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62" r:id="rId4"/>
  </p:sldMasterIdLst>
  <p:notesMasterIdLst>
    <p:notesMasterId r:id="rId32"/>
  </p:notesMasterIdLst>
  <p:handoutMasterIdLst>
    <p:handoutMasterId r:id="rId33"/>
  </p:handoutMasterIdLst>
  <p:sldIdLst>
    <p:sldId id="256" r:id="rId5"/>
    <p:sldId id="259" r:id="rId6"/>
    <p:sldId id="327" r:id="rId7"/>
    <p:sldId id="332" r:id="rId8"/>
    <p:sldId id="333" r:id="rId9"/>
    <p:sldId id="329" r:id="rId10"/>
    <p:sldId id="330" r:id="rId11"/>
    <p:sldId id="260" r:id="rId12"/>
    <p:sldId id="264" r:id="rId13"/>
    <p:sldId id="325" r:id="rId14"/>
    <p:sldId id="342" r:id="rId15"/>
    <p:sldId id="306" r:id="rId16"/>
    <p:sldId id="336" r:id="rId17"/>
    <p:sldId id="284" r:id="rId18"/>
    <p:sldId id="334" r:id="rId19"/>
    <p:sldId id="335" r:id="rId20"/>
    <p:sldId id="338" r:id="rId21"/>
    <p:sldId id="322" r:id="rId22"/>
    <p:sldId id="323" r:id="rId23"/>
    <p:sldId id="317" r:id="rId24"/>
    <p:sldId id="348" r:id="rId25"/>
    <p:sldId id="351" r:id="rId26"/>
    <p:sldId id="295" r:id="rId27"/>
    <p:sldId id="347" r:id="rId28"/>
    <p:sldId id="280" r:id="rId29"/>
    <p:sldId id="339" r:id="rId30"/>
    <p:sldId id="281" r:id="rId31"/>
  </p:sldIdLst>
  <p:sldSz cx="12192000" cy="6858000"/>
  <p:notesSz cx="6858000" cy="9144000"/>
  <p:embeddedFontLst>
    <p:embeddedFont>
      <p:font typeface="ING Me" panose="020B0604020202020204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1" userDrawn="1">
          <p15:clr>
            <a:srgbClr val="A4A3A4"/>
          </p15:clr>
        </p15:guide>
        <p15:guide id="2" orient="horz" pos="813">
          <p15:clr>
            <a:srgbClr val="A4A3A4"/>
          </p15:clr>
        </p15:guide>
        <p15:guide id="3" orient="horz" pos="725">
          <p15:clr>
            <a:srgbClr val="A4A3A4"/>
          </p15:clr>
        </p15:guide>
        <p15:guide id="4" orient="horz" pos="181">
          <p15:clr>
            <a:srgbClr val="A4A3A4"/>
          </p15:clr>
        </p15:guide>
        <p15:guide id="5" orient="horz" pos="3917">
          <p15:clr>
            <a:srgbClr val="A4A3A4"/>
          </p15:clr>
        </p15:guide>
        <p15:guide id="6" pos="3840">
          <p15:clr>
            <a:srgbClr val="A4A3A4"/>
          </p15:clr>
        </p15:guide>
        <p15:guide id="7" pos="7160">
          <p15:clr>
            <a:srgbClr val="A4A3A4"/>
          </p15:clr>
        </p15:guide>
        <p15:guide id="8" pos="544">
          <p15:clr>
            <a:srgbClr val="A4A3A4"/>
          </p15:clr>
        </p15:guide>
        <p15:guide id="9" pos="7509">
          <p15:clr>
            <a:srgbClr val="A4A3A4"/>
          </p15:clr>
        </p15:guide>
        <p15:guide id="10" pos="449">
          <p15:clr>
            <a:srgbClr val="A4A3A4"/>
          </p15:clr>
        </p15:guide>
        <p15:guide id="11" pos="3726">
          <p15:clr>
            <a:srgbClr val="A4A3A4"/>
          </p15:clr>
        </p15:guide>
        <p15:guide id="12" pos="39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0A6DA"/>
    <a:srgbClr val="019649"/>
    <a:srgbClr val="D0D93C"/>
    <a:srgbClr val="FFFFFF"/>
    <a:srgbClr val="B2B2B2"/>
    <a:srgbClr val="D9D9D9"/>
    <a:srgbClr val="FF6200"/>
    <a:srgbClr val="58A8A4"/>
    <a:srgbClr val="F0EFBF"/>
    <a:srgbClr val="3496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18" autoAdjust="0"/>
    <p:restoredTop sz="90698" autoAdjust="0"/>
  </p:normalViewPr>
  <p:slideViewPr>
    <p:cSldViewPr snapToGrid="0" showGuides="1">
      <p:cViewPr varScale="1">
        <p:scale>
          <a:sx n="78" d="100"/>
          <a:sy n="78" d="100"/>
        </p:scale>
        <p:origin x="1037" y="67"/>
      </p:cViewPr>
      <p:guideLst>
        <p:guide orient="horz" pos="2341"/>
        <p:guide orient="horz" pos="813"/>
        <p:guide orient="horz" pos="725"/>
        <p:guide orient="horz" pos="181"/>
        <p:guide orient="horz" pos="3917"/>
        <p:guide pos="3840"/>
        <p:guide pos="7160"/>
        <p:guide pos="544"/>
        <p:guide pos="7509"/>
        <p:guide pos="449"/>
        <p:guide pos="3726"/>
        <p:guide pos="3962"/>
      </p:guideLst>
    </p:cSldViewPr>
  </p:slideViewPr>
  <p:outlineViewPr>
    <p:cViewPr>
      <p:scale>
        <a:sx n="33" d="100"/>
        <a:sy n="33" d="100"/>
      </p:scale>
      <p:origin x="0" y="-31278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0" d="100"/>
        <a:sy n="60" d="100"/>
      </p:scale>
      <p:origin x="0" y="3414"/>
    </p:cViewPr>
  </p:sorterViewPr>
  <p:notesViewPr>
    <p:cSldViewPr snapToGrid="0" showGuides="1">
      <p:cViewPr varScale="1">
        <p:scale>
          <a:sx n="95" d="100"/>
          <a:sy n="95" d="100"/>
        </p:scale>
        <p:origin x="2664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1.fntdata"/><Relationship Id="rId42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4.fntdata"/><Relationship Id="rId40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3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2.fntdata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A06F11-FA24-4C3E-962A-1E08E0E8E16A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E11F27D-A129-4F2B-BD5F-DF5C3FE80184}">
      <dgm:prSet phldrT="[Text]"/>
      <dgm:spPr/>
      <dgm:t>
        <a:bodyPr/>
        <a:lstStyle/>
        <a:p>
          <a:r>
            <a:rPr lang="de-DE" dirty="0"/>
            <a:t>Data Ingestion &amp; </a:t>
          </a:r>
          <a:r>
            <a:rPr lang="de-DE" dirty="0" err="1"/>
            <a:t>Preparation</a:t>
          </a:r>
          <a:endParaRPr lang="de-DE" dirty="0"/>
        </a:p>
      </dgm:t>
    </dgm:pt>
    <dgm:pt modelId="{4C0F5BFB-ACF1-480C-A472-A12F27404487}" type="parTrans" cxnId="{E7064E60-1226-4B5F-9D31-6E0AD70F163B}">
      <dgm:prSet/>
      <dgm:spPr/>
      <dgm:t>
        <a:bodyPr/>
        <a:lstStyle/>
        <a:p>
          <a:endParaRPr lang="nl-NL"/>
        </a:p>
      </dgm:t>
    </dgm:pt>
    <dgm:pt modelId="{7B219EB3-BA1D-4BF7-BA9F-0EBF3734F8F0}" type="sibTrans" cxnId="{E7064E60-1226-4B5F-9D31-6E0AD70F163B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FB69336C-8B1A-410A-A9A2-570C70D0DFC3}">
      <dgm:prSet phldrT="[Text]"/>
      <dgm:spPr/>
      <dgm:t>
        <a:bodyPr/>
        <a:lstStyle/>
        <a:p>
          <a:r>
            <a:rPr lang="de-DE" dirty="0"/>
            <a:t>Feature Engineering</a:t>
          </a:r>
        </a:p>
      </dgm:t>
    </dgm:pt>
    <dgm:pt modelId="{657F50D1-8B83-4068-9AFB-D9475DA36B12}" type="parTrans" cxnId="{0347A8B9-8DAA-4546-90FF-69A4740909BA}">
      <dgm:prSet/>
      <dgm:spPr/>
      <dgm:t>
        <a:bodyPr/>
        <a:lstStyle/>
        <a:p>
          <a:endParaRPr lang="nl-NL"/>
        </a:p>
      </dgm:t>
    </dgm:pt>
    <dgm:pt modelId="{5E804B8F-5A28-4255-A25B-12C91516CA0A}" type="sibTrans" cxnId="{0347A8B9-8DAA-4546-90FF-69A4740909BA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F255FBF3-C905-4FF2-A4DC-94B1E04A34D6}">
      <dgm:prSet phldrT="[Text]"/>
      <dgm:spPr/>
      <dgm:t>
        <a:bodyPr/>
        <a:lstStyle/>
        <a:p>
          <a:r>
            <a:rPr lang="de-DE" dirty="0"/>
            <a:t>Feature &amp; Model </a:t>
          </a:r>
          <a:r>
            <a:rPr lang="de-DE" dirty="0" err="1"/>
            <a:t>Selection</a:t>
          </a:r>
          <a:endParaRPr lang="de-DE" dirty="0"/>
        </a:p>
      </dgm:t>
    </dgm:pt>
    <dgm:pt modelId="{8D41BB4E-3ED0-40A0-B899-1D6FC7E365C6}" type="parTrans" cxnId="{F999C181-CCC5-408B-AC73-A46BBCF8AABA}">
      <dgm:prSet/>
      <dgm:spPr/>
      <dgm:t>
        <a:bodyPr/>
        <a:lstStyle/>
        <a:p>
          <a:endParaRPr lang="nl-NL"/>
        </a:p>
      </dgm:t>
    </dgm:pt>
    <dgm:pt modelId="{F47469EF-EBFC-4453-8667-8D0818DECD70}" type="sibTrans" cxnId="{F999C181-CCC5-408B-AC73-A46BBCF8AABA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42393E0B-A5BD-4576-B5CC-10EE47704C16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Inspection</a:t>
          </a:r>
          <a:endParaRPr lang="de-DE" dirty="0"/>
        </a:p>
      </dgm:t>
    </dgm:pt>
    <dgm:pt modelId="{28FEA75F-CA26-41F0-AF69-D9514C9599B2}" type="parTrans" cxnId="{26DCFAF4-8448-4EA7-B0B7-BC97AE3CD927}">
      <dgm:prSet/>
      <dgm:spPr/>
      <dgm:t>
        <a:bodyPr/>
        <a:lstStyle/>
        <a:p>
          <a:endParaRPr lang="nl-NL"/>
        </a:p>
      </dgm:t>
    </dgm:pt>
    <dgm:pt modelId="{6F198957-FE87-41D3-80D3-8DF7D294E73D}" type="sibTrans" cxnId="{26DCFAF4-8448-4EA7-B0B7-BC97AE3CD927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F404B9B5-003F-49DD-9AC2-33C881A6BDB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Cleaning</a:t>
          </a:r>
          <a:endParaRPr lang="de-DE" dirty="0"/>
        </a:p>
      </dgm:t>
    </dgm:pt>
    <dgm:pt modelId="{359136E2-F2D7-4014-B7A1-8CDE173BDF30}" type="parTrans" cxnId="{A386660A-D721-4707-93BC-D36B0DB6AA4E}">
      <dgm:prSet/>
      <dgm:spPr/>
      <dgm:t>
        <a:bodyPr/>
        <a:lstStyle/>
        <a:p>
          <a:endParaRPr lang="nl-NL"/>
        </a:p>
      </dgm:t>
    </dgm:pt>
    <dgm:pt modelId="{F64430C0-ECBC-49F9-8A82-A42350ED3FAA}" type="sibTrans" cxnId="{A386660A-D721-4707-93BC-D36B0DB6AA4E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1DE16903-F092-4C24-A09E-27F5E39FA0E7}">
      <dgm:prSet phldrT="[Text]"/>
      <dgm:spPr/>
      <dgm:t>
        <a:bodyPr/>
        <a:lstStyle/>
        <a:p>
          <a:r>
            <a:rPr lang="de-DE" dirty="0"/>
            <a:t>Model Explanation</a:t>
          </a:r>
        </a:p>
      </dgm:t>
    </dgm:pt>
    <dgm:pt modelId="{342E91C8-9FBF-448F-AA6F-3508EAE9746B}" type="parTrans" cxnId="{54BD1511-9916-43F4-80E4-83B841816B78}">
      <dgm:prSet/>
      <dgm:spPr/>
      <dgm:t>
        <a:bodyPr/>
        <a:lstStyle/>
        <a:p>
          <a:endParaRPr lang="nl-NL"/>
        </a:p>
      </dgm:t>
    </dgm:pt>
    <dgm:pt modelId="{ED826034-DD46-4CBB-BB6B-3BE8B38CB975}" type="sibTrans" cxnId="{54BD1511-9916-43F4-80E4-83B841816B78}">
      <dgm:prSet/>
      <dgm:spPr/>
      <dgm:t>
        <a:bodyPr/>
        <a:lstStyle/>
        <a:p>
          <a:endParaRPr lang="nl-NL"/>
        </a:p>
      </dgm:t>
    </dgm:pt>
    <dgm:pt modelId="{92177297-CC26-4307-8DFD-C1315B3FD0A2}" type="pres">
      <dgm:prSet presAssocID="{6AA06F11-FA24-4C3E-962A-1E08E0E8E16A}" presName="Name0" presStyleCnt="0">
        <dgm:presLayoutVars>
          <dgm:dir/>
          <dgm:resizeHandles val="exact"/>
        </dgm:presLayoutVars>
      </dgm:prSet>
      <dgm:spPr/>
    </dgm:pt>
    <dgm:pt modelId="{1179586B-091B-4D39-95BE-1FA26B0E086B}" type="pres">
      <dgm:prSet presAssocID="{CE11F27D-A129-4F2B-BD5F-DF5C3FE80184}" presName="node" presStyleLbl="node1" presStyleIdx="0" presStyleCnt="6">
        <dgm:presLayoutVars>
          <dgm:bulletEnabled val="1"/>
        </dgm:presLayoutVars>
      </dgm:prSet>
      <dgm:spPr/>
    </dgm:pt>
    <dgm:pt modelId="{3EF853FC-4C64-40E2-9552-67FEE298B638}" type="pres">
      <dgm:prSet presAssocID="{7B219EB3-BA1D-4BF7-BA9F-0EBF3734F8F0}" presName="sibTrans" presStyleLbl="sibTrans2D1" presStyleIdx="0" presStyleCnt="5"/>
      <dgm:spPr/>
    </dgm:pt>
    <dgm:pt modelId="{F4B2E234-9B5B-4F72-B7C1-E47F5CC6DECA}" type="pres">
      <dgm:prSet presAssocID="{7B219EB3-BA1D-4BF7-BA9F-0EBF3734F8F0}" presName="connectorText" presStyleLbl="sibTrans2D1" presStyleIdx="0" presStyleCnt="5"/>
      <dgm:spPr/>
    </dgm:pt>
    <dgm:pt modelId="{5E33CFBF-472E-459C-B1EF-8712CAF6377A}" type="pres">
      <dgm:prSet presAssocID="{42393E0B-A5BD-4576-B5CC-10EE47704C16}" presName="node" presStyleLbl="node1" presStyleIdx="1" presStyleCnt="6">
        <dgm:presLayoutVars>
          <dgm:bulletEnabled val="1"/>
        </dgm:presLayoutVars>
      </dgm:prSet>
      <dgm:spPr/>
    </dgm:pt>
    <dgm:pt modelId="{839E21A6-EDAC-4601-AB31-645D675BA1A8}" type="pres">
      <dgm:prSet presAssocID="{6F198957-FE87-41D3-80D3-8DF7D294E73D}" presName="sibTrans" presStyleLbl="sibTrans2D1" presStyleIdx="1" presStyleCnt="5"/>
      <dgm:spPr/>
    </dgm:pt>
    <dgm:pt modelId="{08E88201-01D9-459D-8FC9-5E61504F8952}" type="pres">
      <dgm:prSet presAssocID="{6F198957-FE87-41D3-80D3-8DF7D294E73D}" presName="connectorText" presStyleLbl="sibTrans2D1" presStyleIdx="1" presStyleCnt="5"/>
      <dgm:spPr/>
    </dgm:pt>
    <dgm:pt modelId="{E104ED30-4EE4-48C1-B186-E6270F9E7C5C}" type="pres">
      <dgm:prSet presAssocID="{F404B9B5-003F-49DD-9AC2-33C881A6BDB3}" presName="node" presStyleLbl="node1" presStyleIdx="2" presStyleCnt="6">
        <dgm:presLayoutVars>
          <dgm:bulletEnabled val="1"/>
        </dgm:presLayoutVars>
      </dgm:prSet>
      <dgm:spPr/>
    </dgm:pt>
    <dgm:pt modelId="{E5906048-27D1-4F01-BA91-A72A87AECF1F}" type="pres">
      <dgm:prSet presAssocID="{F64430C0-ECBC-49F9-8A82-A42350ED3FAA}" presName="sibTrans" presStyleLbl="sibTrans2D1" presStyleIdx="2" presStyleCnt="5"/>
      <dgm:spPr/>
    </dgm:pt>
    <dgm:pt modelId="{678FB90B-F282-45D7-9B16-33FA4644750A}" type="pres">
      <dgm:prSet presAssocID="{F64430C0-ECBC-49F9-8A82-A42350ED3FAA}" presName="connectorText" presStyleLbl="sibTrans2D1" presStyleIdx="2" presStyleCnt="5"/>
      <dgm:spPr/>
    </dgm:pt>
    <dgm:pt modelId="{7C6D2499-8755-4305-B8E3-2D3180E167D9}" type="pres">
      <dgm:prSet presAssocID="{FB69336C-8B1A-410A-A9A2-570C70D0DFC3}" presName="node" presStyleLbl="node1" presStyleIdx="3" presStyleCnt="6">
        <dgm:presLayoutVars>
          <dgm:bulletEnabled val="1"/>
        </dgm:presLayoutVars>
      </dgm:prSet>
      <dgm:spPr/>
    </dgm:pt>
    <dgm:pt modelId="{F9E084F4-ADCD-41AD-A72D-06232DA60512}" type="pres">
      <dgm:prSet presAssocID="{5E804B8F-5A28-4255-A25B-12C91516CA0A}" presName="sibTrans" presStyleLbl="sibTrans2D1" presStyleIdx="3" presStyleCnt="5"/>
      <dgm:spPr/>
    </dgm:pt>
    <dgm:pt modelId="{234669D9-AFE1-48F6-8A3F-9FFC4C7FCFE2}" type="pres">
      <dgm:prSet presAssocID="{5E804B8F-5A28-4255-A25B-12C91516CA0A}" presName="connectorText" presStyleLbl="sibTrans2D1" presStyleIdx="3" presStyleCnt="5"/>
      <dgm:spPr/>
    </dgm:pt>
    <dgm:pt modelId="{DD8DC33A-9539-4BE1-8691-225ACD934B35}" type="pres">
      <dgm:prSet presAssocID="{F255FBF3-C905-4FF2-A4DC-94B1E04A34D6}" presName="node" presStyleLbl="node1" presStyleIdx="4" presStyleCnt="6">
        <dgm:presLayoutVars>
          <dgm:bulletEnabled val="1"/>
        </dgm:presLayoutVars>
      </dgm:prSet>
      <dgm:spPr/>
    </dgm:pt>
    <dgm:pt modelId="{C9E66E37-47CE-4730-AC14-539B3894809F}" type="pres">
      <dgm:prSet presAssocID="{F47469EF-EBFC-4453-8667-8D0818DECD70}" presName="sibTrans" presStyleLbl="sibTrans2D1" presStyleIdx="4" presStyleCnt="5"/>
      <dgm:spPr/>
    </dgm:pt>
    <dgm:pt modelId="{2C2CE365-98D9-4F64-B3FF-379F4EF70807}" type="pres">
      <dgm:prSet presAssocID="{F47469EF-EBFC-4453-8667-8D0818DECD70}" presName="connectorText" presStyleLbl="sibTrans2D1" presStyleIdx="4" presStyleCnt="5"/>
      <dgm:spPr/>
    </dgm:pt>
    <dgm:pt modelId="{EA79DFE0-6BEF-4481-B8CB-0FD12FE71922}" type="pres">
      <dgm:prSet presAssocID="{1DE16903-F092-4C24-A09E-27F5E39FA0E7}" presName="node" presStyleLbl="node1" presStyleIdx="5" presStyleCnt="6">
        <dgm:presLayoutVars>
          <dgm:bulletEnabled val="1"/>
        </dgm:presLayoutVars>
      </dgm:prSet>
      <dgm:spPr/>
    </dgm:pt>
  </dgm:ptLst>
  <dgm:cxnLst>
    <dgm:cxn modelId="{A50AE900-EB65-4987-AE3D-C0628799AEF6}" type="presOf" srcId="{F47469EF-EBFC-4453-8667-8D0818DECD70}" destId="{C9E66E37-47CE-4730-AC14-539B3894809F}" srcOrd="0" destOrd="0" presId="urn:microsoft.com/office/officeart/2005/8/layout/process1"/>
    <dgm:cxn modelId="{D4246603-370E-4408-B4C0-572E5E60017A}" type="presOf" srcId="{7B219EB3-BA1D-4BF7-BA9F-0EBF3734F8F0}" destId="{F4B2E234-9B5B-4F72-B7C1-E47F5CC6DECA}" srcOrd="1" destOrd="0" presId="urn:microsoft.com/office/officeart/2005/8/layout/process1"/>
    <dgm:cxn modelId="{A386660A-D721-4707-93BC-D36B0DB6AA4E}" srcId="{6AA06F11-FA24-4C3E-962A-1E08E0E8E16A}" destId="{F404B9B5-003F-49DD-9AC2-33C881A6BDB3}" srcOrd="2" destOrd="0" parTransId="{359136E2-F2D7-4014-B7A1-8CDE173BDF30}" sibTransId="{F64430C0-ECBC-49F9-8A82-A42350ED3FAA}"/>
    <dgm:cxn modelId="{1F6A940A-B53A-41DB-AD33-4952CBF370E8}" type="presOf" srcId="{F64430C0-ECBC-49F9-8A82-A42350ED3FAA}" destId="{678FB90B-F282-45D7-9B16-33FA4644750A}" srcOrd="1" destOrd="0" presId="urn:microsoft.com/office/officeart/2005/8/layout/process1"/>
    <dgm:cxn modelId="{54BD1511-9916-43F4-80E4-83B841816B78}" srcId="{6AA06F11-FA24-4C3E-962A-1E08E0E8E16A}" destId="{1DE16903-F092-4C24-A09E-27F5E39FA0E7}" srcOrd="5" destOrd="0" parTransId="{342E91C8-9FBF-448F-AA6F-3508EAE9746B}" sibTransId="{ED826034-DD46-4CBB-BB6B-3BE8B38CB975}"/>
    <dgm:cxn modelId="{0C592A15-D04B-40E1-ADDC-D9C07CD45034}" type="presOf" srcId="{6F198957-FE87-41D3-80D3-8DF7D294E73D}" destId="{839E21A6-EDAC-4601-AB31-645D675BA1A8}" srcOrd="0" destOrd="0" presId="urn:microsoft.com/office/officeart/2005/8/layout/process1"/>
    <dgm:cxn modelId="{B9DE521B-A570-4585-9D30-ED133DCBD8CB}" type="presOf" srcId="{7B219EB3-BA1D-4BF7-BA9F-0EBF3734F8F0}" destId="{3EF853FC-4C64-40E2-9552-67FEE298B638}" srcOrd="0" destOrd="0" presId="urn:microsoft.com/office/officeart/2005/8/layout/process1"/>
    <dgm:cxn modelId="{63FEDF22-92A0-4C06-A772-82C3783F85D9}" type="presOf" srcId="{CE11F27D-A129-4F2B-BD5F-DF5C3FE80184}" destId="{1179586B-091B-4D39-95BE-1FA26B0E086B}" srcOrd="0" destOrd="0" presId="urn:microsoft.com/office/officeart/2005/8/layout/process1"/>
    <dgm:cxn modelId="{5AEE8A2A-B098-44D0-84C6-B4CD81156CBA}" type="presOf" srcId="{F64430C0-ECBC-49F9-8A82-A42350ED3FAA}" destId="{E5906048-27D1-4F01-BA91-A72A87AECF1F}" srcOrd="0" destOrd="0" presId="urn:microsoft.com/office/officeart/2005/8/layout/process1"/>
    <dgm:cxn modelId="{7AC3292B-A828-487E-AFC7-13ED169AC04C}" type="presOf" srcId="{F404B9B5-003F-49DD-9AC2-33C881A6BDB3}" destId="{E104ED30-4EE4-48C1-B186-E6270F9E7C5C}" srcOrd="0" destOrd="0" presId="urn:microsoft.com/office/officeart/2005/8/layout/process1"/>
    <dgm:cxn modelId="{7E409B3F-3960-479A-B5B3-FC7314AAD40F}" type="presOf" srcId="{FB69336C-8B1A-410A-A9A2-570C70D0DFC3}" destId="{7C6D2499-8755-4305-B8E3-2D3180E167D9}" srcOrd="0" destOrd="0" presId="urn:microsoft.com/office/officeart/2005/8/layout/process1"/>
    <dgm:cxn modelId="{E7064E60-1226-4B5F-9D31-6E0AD70F163B}" srcId="{6AA06F11-FA24-4C3E-962A-1E08E0E8E16A}" destId="{CE11F27D-A129-4F2B-BD5F-DF5C3FE80184}" srcOrd="0" destOrd="0" parTransId="{4C0F5BFB-ACF1-480C-A472-A12F27404487}" sibTransId="{7B219EB3-BA1D-4BF7-BA9F-0EBF3734F8F0}"/>
    <dgm:cxn modelId="{EE6E1E57-7968-4E61-B0DA-58DEFFB45D33}" type="presOf" srcId="{42393E0B-A5BD-4576-B5CC-10EE47704C16}" destId="{5E33CFBF-472E-459C-B1EF-8712CAF6377A}" srcOrd="0" destOrd="0" presId="urn:microsoft.com/office/officeart/2005/8/layout/process1"/>
    <dgm:cxn modelId="{F999C181-CCC5-408B-AC73-A46BBCF8AABA}" srcId="{6AA06F11-FA24-4C3E-962A-1E08E0E8E16A}" destId="{F255FBF3-C905-4FF2-A4DC-94B1E04A34D6}" srcOrd="4" destOrd="0" parTransId="{8D41BB4E-3ED0-40A0-B899-1D6FC7E365C6}" sibTransId="{F47469EF-EBFC-4453-8667-8D0818DECD70}"/>
    <dgm:cxn modelId="{BCD59892-CC2F-44FE-95D0-45379B5D25FC}" type="presOf" srcId="{F47469EF-EBFC-4453-8667-8D0818DECD70}" destId="{2C2CE365-98D9-4F64-B3FF-379F4EF70807}" srcOrd="1" destOrd="0" presId="urn:microsoft.com/office/officeart/2005/8/layout/process1"/>
    <dgm:cxn modelId="{A6F3A497-A8E9-4744-8C1B-335FA80CEBAE}" type="presOf" srcId="{1DE16903-F092-4C24-A09E-27F5E39FA0E7}" destId="{EA79DFE0-6BEF-4481-B8CB-0FD12FE71922}" srcOrd="0" destOrd="0" presId="urn:microsoft.com/office/officeart/2005/8/layout/process1"/>
    <dgm:cxn modelId="{81E0C3A1-9A11-4A60-8CD9-5FE6BB2026CB}" type="presOf" srcId="{F255FBF3-C905-4FF2-A4DC-94B1E04A34D6}" destId="{DD8DC33A-9539-4BE1-8691-225ACD934B35}" srcOrd="0" destOrd="0" presId="urn:microsoft.com/office/officeart/2005/8/layout/process1"/>
    <dgm:cxn modelId="{1F0E56B8-94CB-440F-AD74-C0B328DBF2A2}" type="presOf" srcId="{5E804B8F-5A28-4255-A25B-12C91516CA0A}" destId="{F9E084F4-ADCD-41AD-A72D-06232DA60512}" srcOrd="0" destOrd="0" presId="urn:microsoft.com/office/officeart/2005/8/layout/process1"/>
    <dgm:cxn modelId="{0347A8B9-8DAA-4546-90FF-69A4740909BA}" srcId="{6AA06F11-FA24-4C3E-962A-1E08E0E8E16A}" destId="{FB69336C-8B1A-410A-A9A2-570C70D0DFC3}" srcOrd="3" destOrd="0" parTransId="{657F50D1-8B83-4068-9AFB-D9475DA36B12}" sibTransId="{5E804B8F-5A28-4255-A25B-12C91516CA0A}"/>
    <dgm:cxn modelId="{4A9E54CA-08D9-4381-A69F-9B18BAFA1E3B}" type="presOf" srcId="{5E804B8F-5A28-4255-A25B-12C91516CA0A}" destId="{234669D9-AFE1-48F6-8A3F-9FFC4C7FCFE2}" srcOrd="1" destOrd="0" presId="urn:microsoft.com/office/officeart/2005/8/layout/process1"/>
    <dgm:cxn modelId="{744CA9D2-71DC-4AB6-AA18-83ED032786F8}" type="presOf" srcId="{6F198957-FE87-41D3-80D3-8DF7D294E73D}" destId="{08E88201-01D9-459D-8FC9-5E61504F8952}" srcOrd="1" destOrd="0" presId="urn:microsoft.com/office/officeart/2005/8/layout/process1"/>
    <dgm:cxn modelId="{55DAACDD-CE45-4D82-A69D-6A07BC8FECD1}" type="presOf" srcId="{6AA06F11-FA24-4C3E-962A-1E08E0E8E16A}" destId="{92177297-CC26-4307-8DFD-C1315B3FD0A2}" srcOrd="0" destOrd="0" presId="urn:microsoft.com/office/officeart/2005/8/layout/process1"/>
    <dgm:cxn modelId="{26DCFAF4-8448-4EA7-B0B7-BC97AE3CD927}" srcId="{6AA06F11-FA24-4C3E-962A-1E08E0E8E16A}" destId="{42393E0B-A5BD-4576-B5CC-10EE47704C16}" srcOrd="1" destOrd="0" parTransId="{28FEA75F-CA26-41F0-AF69-D9514C9599B2}" sibTransId="{6F198957-FE87-41D3-80D3-8DF7D294E73D}"/>
    <dgm:cxn modelId="{24D3F744-42D1-4A02-9BB1-7387EE1D49AD}" type="presParOf" srcId="{92177297-CC26-4307-8DFD-C1315B3FD0A2}" destId="{1179586B-091B-4D39-95BE-1FA26B0E086B}" srcOrd="0" destOrd="0" presId="urn:microsoft.com/office/officeart/2005/8/layout/process1"/>
    <dgm:cxn modelId="{EAA7D76D-8574-4352-AA09-80065DA366C6}" type="presParOf" srcId="{92177297-CC26-4307-8DFD-C1315B3FD0A2}" destId="{3EF853FC-4C64-40E2-9552-67FEE298B638}" srcOrd="1" destOrd="0" presId="urn:microsoft.com/office/officeart/2005/8/layout/process1"/>
    <dgm:cxn modelId="{426B38D1-B76E-4A72-A8DA-1C3A10447A6F}" type="presParOf" srcId="{3EF853FC-4C64-40E2-9552-67FEE298B638}" destId="{F4B2E234-9B5B-4F72-B7C1-E47F5CC6DECA}" srcOrd="0" destOrd="0" presId="urn:microsoft.com/office/officeart/2005/8/layout/process1"/>
    <dgm:cxn modelId="{967625E9-2A20-46AE-AEB6-82C11117662C}" type="presParOf" srcId="{92177297-CC26-4307-8DFD-C1315B3FD0A2}" destId="{5E33CFBF-472E-459C-B1EF-8712CAF6377A}" srcOrd="2" destOrd="0" presId="urn:microsoft.com/office/officeart/2005/8/layout/process1"/>
    <dgm:cxn modelId="{A00132AB-E4D5-44D6-B88D-4A6AE12441E1}" type="presParOf" srcId="{92177297-CC26-4307-8DFD-C1315B3FD0A2}" destId="{839E21A6-EDAC-4601-AB31-645D675BA1A8}" srcOrd="3" destOrd="0" presId="urn:microsoft.com/office/officeart/2005/8/layout/process1"/>
    <dgm:cxn modelId="{9708E28E-80FE-4701-A909-11E8BA4243F9}" type="presParOf" srcId="{839E21A6-EDAC-4601-AB31-645D675BA1A8}" destId="{08E88201-01D9-459D-8FC9-5E61504F8952}" srcOrd="0" destOrd="0" presId="urn:microsoft.com/office/officeart/2005/8/layout/process1"/>
    <dgm:cxn modelId="{C1D9ABD5-55B1-4D77-8460-B242C09EB87E}" type="presParOf" srcId="{92177297-CC26-4307-8DFD-C1315B3FD0A2}" destId="{E104ED30-4EE4-48C1-B186-E6270F9E7C5C}" srcOrd="4" destOrd="0" presId="urn:microsoft.com/office/officeart/2005/8/layout/process1"/>
    <dgm:cxn modelId="{5FFF3EE9-E1CA-47A9-8321-8436B138D650}" type="presParOf" srcId="{92177297-CC26-4307-8DFD-C1315B3FD0A2}" destId="{E5906048-27D1-4F01-BA91-A72A87AECF1F}" srcOrd="5" destOrd="0" presId="urn:microsoft.com/office/officeart/2005/8/layout/process1"/>
    <dgm:cxn modelId="{C5F24D21-2F68-4EFC-9951-4CD798DB1986}" type="presParOf" srcId="{E5906048-27D1-4F01-BA91-A72A87AECF1F}" destId="{678FB90B-F282-45D7-9B16-33FA4644750A}" srcOrd="0" destOrd="0" presId="urn:microsoft.com/office/officeart/2005/8/layout/process1"/>
    <dgm:cxn modelId="{A1F5BEA2-93BF-422F-9474-84617E3BADDF}" type="presParOf" srcId="{92177297-CC26-4307-8DFD-C1315B3FD0A2}" destId="{7C6D2499-8755-4305-B8E3-2D3180E167D9}" srcOrd="6" destOrd="0" presId="urn:microsoft.com/office/officeart/2005/8/layout/process1"/>
    <dgm:cxn modelId="{8C712C4E-7841-45C2-AD62-691A74B5852A}" type="presParOf" srcId="{92177297-CC26-4307-8DFD-C1315B3FD0A2}" destId="{F9E084F4-ADCD-41AD-A72D-06232DA60512}" srcOrd="7" destOrd="0" presId="urn:microsoft.com/office/officeart/2005/8/layout/process1"/>
    <dgm:cxn modelId="{996FA275-D20B-4CEA-8B7F-86AC776EADFE}" type="presParOf" srcId="{F9E084F4-ADCD-41AD-A72D-06232DA60512}" destId="{234669D9-AFE1-48F6-8A3F-9FFC4C7FCFE2}" srcOrd="0" destOrd="0" presId="urn:microsoft.com/office/officeart/2005/8/layout/process1"/>
    <dgm:cxn modelId="{0F5AFC7C-4E18-4884-9483-4612D7A909B5}" type="presParOf" srcId="{92177297-CC26-4307-8DFD-C1315B3FD0A2}" destId="{DD8DC33A-9539-4BE1-8691-225ACD934B35}" srcOrd="8" destOrd="0" presId="urn:microsoft.com/office/officeart/2005/8/layout/process1"/>
    <dgm:cxn modelId="{61F43667-784F-4EF6-ACEF-F17190909F69}" type="presParOf" srcId="{92177297-CC26-4307-8DFD-C1315B3FD0A2}" destId="{C9E66E37-47CE-4730-AC14-539B3894809F}" srcOrd="9" destOrd="0" presId="urn:microsoft.com/office/officeart/2005/8/layout/process1"/>
    <dgm:cxn modelId="{F2906B84-8246-4149-8BC5-4C8462529F6C}" type="presParOf" srcId="{C9E66E37-47CE-4730-AC14-539B3894809F}" destId="{2C2CE365-98D9-4F64-B3FF-379F4EF70807}" srcOrd="0" destOrd="0" presId="urn:microsoft.com/office/officeart/2005/8/layout/process1"/>
    <dgm:cxn modelId="{D545FDBA-0390-4EC2-8B4E-4D171EC45998}" type="presParOf" srcId="{92177297-CC26-4307-8DFD-C1315B3FD0A2}" destId="{EA79DFE0-6BEF-4481-B8CB-0FD12FE71922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A06F11-FA24-4C3E-962A-1E08E0E8E16A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CE11F27D-A129-4F2B-BD5F-DF5C3FE80184}">
      <dgm:prSet phldrT="[Text]"/>
      <dgm:spPr/>
      <dgm:t>
        <a:bodyPr/>
        <a:lstStyle/>
        <a:p>
          <a:r>
            <a:rPr lang="de-DE" dirty="0"/>
            <a:t>Data Ingestion &amp; </a:t>
          </a:r>
          <a:r>
            <a:rPr lang="de-DE" dirty="0" err="1"/>
            <a:t>Preparation</a:t>
          </a:r>
          <a:endParaRPr lang="de-DE" dirty="0"/>
        </a:p>
      </dgm:t>
    </dgm:pt>
    <dgm:pt modelId="{4C0F5BFB-ACF1-480C-A472-A12F27404487}" type="parTrans" cxnId="{E7064E60-1226-4B5F-9D31-6E0AD70F163B}">
      <dgm:prSet/>
      <dgm:spPr/>
      <dgm:t>
        <a:bodyPr/>
        <a:lstStyle/>
        <a:p>
          <a:endParaRPr lang="nl-NL"/>
        </a:p>
      </dgm:t>
    </dgm:pt>
    <dgm:pt modelId="{7B219EB3-BA1D-4BF7-BA9F-0EBF3734F8F0}" type="sibTrans" cxnId="{E7064E60-1226-4B5F-9D31-6E0AD70F163B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FB69336C-8B1A-410A-A9A2-570C70D0DFC3}">
      <dgm:prSet phldrT="[Text]"/>
      <dgm:spPr/>
      <dgm:t>
        <a:bodyPr/>
        <a:lstStyle/>
        <a:p>
          <a:r>
            <a:rPr lang="de-DE" dirty="0"/>
            <a:t>Feature Engineering</a:t>
          </a:r>
        </a:p>
      </dgm:t>
    </dgm:pt>
    <dgm:pt modelId="{657F50D1-8B83-4068-9AFB-D9475DA36B12}" type="parTrans" cxnId="{0347A8B9-8DAA-4546-90FF-69A4740909BA}">
      <dgm:prSet/>
      <dgm:spPr/>
      <dgm:t>
        <a:bodyPr/>
        <a:lstStyle/>
        <a:p>
          <a:endParaRPr lang="nl-NL"/>
        </a:p>
      </dgm:t>
    </dgm:pt>
    <dgm:pt modelId="{5E804B8F-5A28-4255-A25B-12C91516CA0A}" type="sibTrans" cxnId="{0347A8B9-8DAA-4546-90FF-69A4740909BA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F255FBF3-C905-4FF2-A4DC-94B1E04A34D6}">
      <dgm:prSet phldrT="[Text]"/>
      <dgm:spPr/>
      <dgm:t>
        <a:bodyPr/>
        <a:lstStyle/>
        <a:p>
          <a:r>
            <a:rPr lang="de-DE" dirty="0"/>
            <a:t>Feature &amp; Model </a:t>
          </a:r>
          <a:r>
            <a:rPr lang="de-DE" dirty="0" err="1"/>
            <a:t>Selection</a:t>
          </a:r>
          <a:endParaRPr lang="de-DE" dirty="0"/>
        </a:p>
      </dgm:t>
    </dgm:pt>
    <dgm:pt modelId="{8D41BB4E-3ED0-40A0-B899-1D6FC7E365C6}" type="parTrans" cxnId="{F999C181-CCC5-408B-AC73-A46BBCF8AABA}">
      <dgm:prSet/>
      <dgm:spPr/>
      <dgm:t>
        <a:bodyPr/>
        <a:lstStyle/>
        <a:p>
          <a:endParaRPr lang="nl-NL"/>
        </a:p>
      </dgm:t>
    </dgm:pt>
    <dgm:pt modelId="{F47469EF-EBFC-4453-8667-8D0818DECD70}" type="sibTrans" cxnId="{F999C181-CCC5-408B-AC73-A46BBCF8AABA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42393E0B-A5BD-4576-B5CC-10EE47704C16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Inspection</a:t>
          </a:r>
          <a:endParaRPr lang="de-DE" dirty="0"/>
        </a:p>
      </dgm:t>
    </dgm:pt>
    <dgm:pt modelId="{28FEA75F-CA26-41F0-AF69-D9514C9599B2}" type="parTrans" cxnId="{26DCFAF4-8448-4EA7-B0B7-BC97AE3CD927}">
      <dgm:prSet/>
      <dgm:spPr/>
      <dgm:t>
        <a:bodyPr/>
        <a:lstStyle/>
        <a:p>
          <a:endParaRPr lang="nl-NL"/>
        </a:p>
      </dgm:t>
    </dgm:pt>
    <dgm:pt modelId="{6F198957-FE87-41D3-80D3-8DF7D294E73D}" type="sibTrans" cxnId="{26DCFAF4-8448-4EA7-B0B7-BC97AE3CD927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F404B9B5-003F-49DD-9AC2-33C881A6BDB3}">
      <dgm:prSet phldrT="[Text]"/>
      <dgm:spPr/>
      <dgm:t>
        <a:bodyPr/>
        <a:lstStyle/>
        <a:p>
          <a:r>
            <a:rPr lang="de-DE" dirty="0"/>
            <a:t>Data </a:t>
          </a:r>
          <a:r>
            <a:rPr lang="de-DE" dirty="0" err="1"/>
            <a:t>Cleaning</a:t>
          </a:r>
          <a:endParaRPr lang="de-DE" dirty="0"/>
        </a:p>
      </dgm:t>
    </dgm:pt>
    <dgm:pt modelId="{359136E2-F2D7-4014-B7A1-8CDE173BDF30}" type="parTrans" cxnId="{A386660A-D721-4707-93BC-D36B0DB6AA4E}">
      <dgm:prSet/>
      <dgm:spPr/>
      <dgm:t>
        <a:bodyPr/>
        <a:lstStyle/>
        <a:p>
          <a:endParaRPr lang="nl-NL"/>
        </a:p>
      </dgm:t>
    </dgm:pt>
    <dgm:pt modelId="{F64430C0-ECBC-49F9-8A82-A42350ED3FAA}" type="sibTrans" cxnId="{A386660A-D721-4707-93BC-D36B0DB6AA4E}">
      <dgm:prSet/>
      <dgm:spPr>
        <a:solidFill>
          <a:schemeClr val="accent2"/>
        </a:solidFill>
      </dgm:spPr>
      <dgm:t>
        <a:bodyPr/>
        <a:lstStyle/>
        <a:p>
          <a:endParaRPr lang="de-DE"/>
        </a:p>
      </dgm:t>
    </dgm:pt>
    <dgm:pt modelId="{1DE16903-F092-4C24-A09E-27F5E39FA0E7}">
      <dgm:prSet phldrT="[Text]"/>
      <dgm:spPr/>
      <dgm:t>
        <a:bodyPr/>
        <a:lstStyle/>
        <a:p>
          <a:r>
            <a:rPr lang="de-DE" dirty="0"/>
            <a:t>Model Explanation</a:t>
          </a:r>
        </a:p>
      </dgm:t>
    </dgm:pt>
    <dgm:pt modelId="{342E91C8-9FBF-448F-AA6F-3508EAE9746B}" type="parTrans" cxnId="{54BD1511-9916-43F4-80E4-83B841816B78}">
      <dgm:prSet/>
      <dgm:spPr/>
      <dgm:t>
        <a:bodyPr/>
        <a:lstStyle/>
        <a:p>
          <a:endParaRPr lang="nl-NL"/>
        </a:p>
      </dgm:t>
    </dgm:pt>
    <dgm:pt modelId="{ED826034-DD46-4CBB-BB6B-3BE8B38CB975}" type="sibTrans" cxnId="{54BD1511-9916-43F4-80E4-83B841816B78}">
      <dgm:prSet/>
      <dgm:spPr/>
      <dgm:t>
        <a:bodyPr/>
        <a:lstStyle/>
        <a:p>
          <a:endParaRPr lang="nl-NL"/>
        </a:p>
      </dgm:t>
    </dgm:pt>
    <dgm:pt modelId="{92177297-CC26-4307-8DFD-C1315B3FD0A2}" type="pres">
      <dgm:prSet presAssocID="{6AA06F11-FA24-4C3E-962A-1E08E0E8E16A}" presName="Name0" presStyleCnt="0">
        <dgm:presLayoutVars>
          <dgm:dir/>
          <dgm:resizeHandles val="exact"/>
        </dgm:presLayoutVars>
      </dgm:prSet>
      <dgm:spPr/>
    </dgm:pt>
    <dgm:pt modelId="{1179586B-091B-4D39-95BE-1FA26B0E086B}" type="pres">
      <dgm:prSet presAssocID="{CE11F27D-A129-4F2B-BD5F-DF5C3FE80184}" presName="node" presStyleLbl="node1" presStyleIdx="0" presStyleCnt="6">
        <dgm:presLayoutVars>
          <dgm:bulletEnabled val="1"/>
        </dgm:presLayoutVars>
      </dgm:prSet>
      <dgm:spPr/>
    </dgm:pt>
    <dgm:pt modelId="{3EF853FC-4C64-40E2-9552-67FEE298B638}" type="pres">
      <dgm:prSet presAssocID="{7B219EB3-BA1D-4BF7-BA9F-0EBF3734F8F0}" presName="sibTrans" presStyleLbl="sibTrans2D1" presStyleIdx="0" presStyleCnt="5"/>
      <dgm:spPr/>
    </dgm:pt>
    <dgm:pt modelId="{F4B2E234-9B5B-4F72-B7C1-E47F5CC6DECA}" type="pres">
      <dgm:prSet presAssocID="{7B219EB3-BA1D-4BF7-BA9F-0EBF3734F8F0}" presName="connectorText" presStyleLbl="sibTrans2D1" presStyleIdx="0" presStyleCnt="5"/>
      <dgm:spPr/>
    </dgm:pt>
    <dgm:pt modelId="{5E33CFBF-472E-459C-B1EF-8712CAF6377A}" type="pres">
      <dgm:prSet presAssocID="{42393E0B-A5BD-4576-B5CC-10EE47704C16}" presName="node" presStyleLbl="node1" presStyleIdx="1" presStyleCnt="6">
        <dgm:presLayoutVars>
          <dgm:bulletEnabled val="1"/>
        </dgm:presLayoutVars>
      </dgm:prSet>
      <dgm:spPr/>
    </dgm:pt>
    <dgm:pt modelId="{839E21A6-EDAC-4601-AB31-645D675BA1A8}" type="pres">
      <dgm:prSet presAssocID="{6F198957-FE87-41D3-80D3-8DF7D294E73D}" presName="sibTrans" presStyleLbl="sibTrans2D1" presStyleIdx="1" presStyleCnt="5"/>
      <dgm:spPr/>
    </dgm:pt>
    <dgm:pt modelId="{08E88201-01D9-459D-8FC9-5E61504F8952}" type="pres">
      <dgm:prSet presAssocID="{6F198957-FE87-41D3-80D3-8DF7D294E73D}" presName="connectorText" presStyleLbl="sibTrans2D1" presStyleIdx="1" presStyleCnt="5"/>
      <dgm:spPr/>
    </dgm:pt>
    <dgm:pt modelId="{E104ED30-4EE4-48C1-B186-E6270F9E7C5C}" type="pres">
      <dgm:prSet presAssocID="{F404B9B5-003F-49DD-9AC2-33C881A6BDB3}" presName="node" presStyleLbl="node1" presStyleIdx="2" presStyleCnt="6">
        <dgm:presLayoutVars>
          <dgm:bulletEnabled val="1"/>
        </dgm:presLayoutVars>
      </dgm:prSet>
      <dgm:spPr/>
    </dgm:pt>
    <dgm:pt modelId="{E5906048-27D1-4F01-BA91-A72A87AECF1F}" type="pres">
      <dgm:prSet presAssocID="{F64430C0-ECBC-49F9-8A82-A42350ED3FAA}" presName="sibTrans" presStyleLbl="sibTrans2D1" presStyleIdx="2" presStyleCnt="5"/>
      <dgm:spPr/>
    </dgm:pt>
    <dgm:pt modelId="{678FB90B-F282-45D7-9B16-33FA4644750A}" type="pres">
      <dgm:prSet presAssocID="{F64430C0-ECBC-49F9-8A82-A42350ED3FAA}" presName="connectorText" presStyleLbl="sibTrans2D1" presStyleIdx="2" presStyleCnt="5"/>
      <dgm:spPr/>
    </dgm:pt>
    <dgm:pt modelId="{7C6D2499-8755-4305-B8E3-2D3180E167D9}" type="pres">
      <dgm:prSet presAssocID="{FB69336C-8B1A-410A-A9A2-570C70D0DFC3}" presName="node" presStyleLbl="node1" presStyleIdx="3" presStyleCnt="6">
        <dgm:presLayoutVars>
          <dgm:bulletEnabled val="1"/>
        </dgm:presLayoutVars>
      </dgm:prSet>
      <dgm:spPr/>
    </dgm:pt>
    <dgm:pt modelId="{F9E084F4-ADCD-41AD-A72D-06232DA60512}" type="pres">
      <dgm:prSet presAssocID="{5E804B8F-5A28-4255-A25B-12C91516CA0A}" presName="sibTrans" presStyleLbl="sibTrans2D1" presStyleIdx="3" presStyleCnt="5"/>
      <dgm:spPr/>
    </dgm:pt>
    <dgm:pt modelId="{234669D9-AFE1-48F6-8A3F-9FFC4C7FCFE2}" type="pres">
      <dgm:prSet presAssocID="{5E804B8F-5A28-4255-A25B-12C91516CA0A}" presName="connectorText" presStyleLbl="sibTrans2D1" presStyleIdx="3" presStyleCnt="5"/>
      <dgm:spPr/>
    </dgm:pt>
    <dgm:pt modelId="{DD8DC33A-9539-4BE1-8691-225ACD934B35}" type="pres">
      <dgm:prSet presAssocID="{F255FBF3-C905-4FF2-A4DC-94B1E04A34D6}" presName="node" presStyleLbl="node1" presStyleIdx="4" presStyleCnt="6">
        <dgm:presLayoutVars>
          <dgm:bulletEnabled val="1"/>
        </dgm:presLayoutVars>
      </dgm:prSet>
      <dgm:spPr/>
    </dgm:pt>
    <dgm:pt modelId="{C9E66E37-47CE-4730-AC14-539B3894809F}" type="pres">
      <dgm:prSet presAssocID="{F47469EF-EBFC-4453-8667-8D0818DECD70}" presName="sibTrans" presStyleLbl="sibTrans2D1" presStyleIdx="4" presStyleCnt="5"/>
      <dgm:spPr/>
    </dgm:pt>
    <dgm:pt modelId="{2C2CE365-98D9-4F64-B3FF-379F4EF70807}" type="pres">
      <dgm:prSet presAssocID="{F47469EF-EBFC-4453-8667-8D0818DECD70}" presName="connectorText" presStyleLbl="sibTrans2D1" presStyleIdx="4" presStyleCnt="5"/>
      <dgm:spPr/>
    </dgm:pt>
    <dgm:pt modelId="{EA79DFE0-6BEF-4481-B8CB-0FD12FE71922}" type="pres">
      <dgm:prSet presAssocID="{1DE16903-F092-4C24-A09E-27F5E39FA0E7}" presName="node" presStyleLbl="node1" presStyleIdx="5" presStyleCnt="6">
        <dgm:presLayoutVars>
          <dgm:bulletEnabled val="1"/>
        </dgm:presLayoutVars>
      </dgm:prSet>
      <dgm:spPr/>
    </dgm:pt>
  </dgm:ptLst>
  <dgm:cxnLst>
    <dgm:cxn modelId="{34C35104-CC28-48A3-91FB-ABE908F03100}" type="presOf" srcId="{5E804B8F-5A28-4255-A25B-12C91516CA0A}" destId="{234669D9-AFE1-48F6-8A3F-9FFC4C7FCFE2}" srcOrd="1" destOrd="0" presId="urn:microsoft.com/office/officeart/2005/8/layout/process1"/>
    <dgm:cxn modelId="{0317B807-001E-4447-A577-1BCD6629E97F}" type="presOf" srcId="{F47469EF-EBFC-4453-8667-8D0818DECD70}" destId="{C9E66E37-47CE-4730-AC14-539B3894809F}" srcOrd="0" destOrd="0" presId="urn:microsoft.com/office/officeart/2005/8/layout/process1"/>
    <dgm:cxn modelId="{A386660A-D721-4707-93BC-D36B0DB6AA4E}" srcId="{6AA06F11-FA24-4C3E-962A-1E08E0E8E16A}" destId="{F404B9B5-003F-49DD-9AC2-33C881A6BDB3}" srcOrd="2" destOrd="0" parTransId="{359136E2-F2D7-4014-B7A1-8CDE173BDF30}" sibTransId="{F64430C0-ECBC-49F9-8A82-A42350ED3FAA}"/>
    <dgm:cxn modelId="{7D11520F-2329-47B0-B234-5389DA65902C}" type="presOf" srcId="{F64430C0-ECBC-49F9-8A82-A42350ED3FAA}" destId="{E5906048-27D1-4F01-BA91-A72A87AECF1F}" srcOrd="0" destOrd="0" presId="urn:microsoft.com/office/officeart/2005/8/layout/process1"/>
    <dgm:cxn modelId="{54BD1511-9916-43F4-80E4-83B841816B78}" srcId="{6AA06F11-FA24-4C3E-962A-1E08E0E8E16A}" destId="{1DE16903-F092-4C24-A09E-27F5E39FA0E7}" srcOrd="5" destOrd="0" parTransId="{342E91C8-9FBF-448F-AA6F-3508EAE9746B}" sibTransId="{ED826034-DD46-4CBB-BB6B-3BE8B38CB975}"/>
    <dgm:cxn modelId="{04DB481B-D5F3-4BF4-AE55-A4D129F4861C}" type="presOf" srcId="{1DE16903-F092-4C24-A09E-27F5E39FA0E7}" destId="{EA79DFE0-6BEF-4481-B8CB-0FD12FE71922}" srcOrd="0" destOrd="0" presId="urn:microsoft.com/office/officeart/2005/8/layout/process1"/>
    <dgm:cxn modelId="{C2D0A522-5953-4013-894C-B3A600A63115}" type="presOf" srcId="{42393E0B-A5BD-4576-B5CC-10EE47704C16}" destId="{5E33CFBF-472E-459C-B1EF-8712CAF6377A}" srcOrd="0" destOrd="0" presId="urn:microsoft.com/office/officeart/2005/8/layout/process1"/>
    <dgm:cxn modelId="{E7064E60-1226-4B5F-9D31-6E0AD70F163B}" srcId="{6AA06F11-FA24-4C3E-962A-1E08E0E8E16A}" destId="{CE11F27D-A129-4F2B-BD5F-DF5C3FE80184}" srcOrd="0" destOrd="0" parTransId="{4C0F5BFB-ACF1-480C-A472-A12F27404487}" sibTransId="{7B219EB3-BA1D-4BF7-BA9F-0EBF3734F8F0}"/>
    <dgm:cxn modelId="{48834D63-FB68-4112-9FAF-8A32A82F21FC}" type="presOf" srcId="{F404B9B5-003F-49DD-9AC2-33C881A6BDB3}" destId="{E104ED30-4EE4-48C1-B186-E6270F9E7C5C}" srcOrd="0" destOrd="0" presId="urn:microsoft.com/office/officeart/2005/8/layout/process1"/>
    <dgm:cxn modelId="{2D143245-C09C-413C-988E-461F5FBD67DF}" type="presOf" srcId="{6F198957-FE87-41D3-80D3-8DF7D294E73D}" destId="{08E88201-01D9-459D-8FC9-5E61504F8952}" srcOrd="1" destOrd="0" presId="urn:microsoft.com/office/officeart/2005/8/layout/process1"/>
    <dgm:cxn modelId="{A1B57947-F6D2-4D8A-80AA-F0382333A257}" type="presOf" srcId="{5E804B8F-5A28-4255-A25B-12C91516CA0A}" destId="{F9E084F4-ADCD-41AD-A72D-06232DA60512}" srcOrd="0" destOrd="0" presId="urn:microsoft.com/office/officeart/2005/8/layout/process1"/>
    <dgm:cxn modelId="{3751004B-59F2-4993-AFEF-C9FE02E8820F}" type="presOf" srcId="{F64430C0-ECBC-49F9-8A82-A42350ED3FAA}" destId="{678FB90B-F282-45D7-9B16-33FA4644750A}" srcOrd="1" destOrd="0" presId="urn:microsoft.com/office/officeart/2005/8/layout/process1"/>
    <dgm:cxn modelId="{EB11AC4C-C8B8-4888-A57A-CDD66CAC0CEA}" type="presOf" srcId="{6F198957-FE87-41D3-80D3-8DF7D294E73D}" destId="{839E21A6-EDAC-4601-AB31-645D675BA1A8}" srcOrd="0" destOrd="0" presId="urn:microsoft.com/office/officeart/2005/8/layout/process1"/>
    <dgm:cxn modelId="{6A17D259-8119-4016-ACD6-16455B47EFD1}" type="presOf" srcId="{7B219EB3-BA1D-4BF7-BA9F-0EBF3734F8F0}" destId="{F4B2E234-9B5B-4F72-B7C1-E47F5CC6DECA}" srcOrd="1" destOrd="0" presId="urn:microsoft.com/office/officeart/2005/8/layout/process1"/>
    <dgm:cxn modelId="{D8CB9881-E312-4688-B4A7-2E8FD4D01F0F}" type="presOf" srcId="{7B219EB3-BA1D-4BF7-BA9F-0EBF3734F8F0}" destId="{3EF853FC-4C64-40E2-9552-67FEE298B638}" srcOrd="0" destOrd="0" presId="urn:microsoft.com/office/officeart/2005/8/layout/process1"/>
    <dgm:cxn modelId="{F999C181-CCC5-408B-AC73-A46BBCF8AABA}" srcId="{6AA06F11-FA24-4C3E-962A-1E08E0E8E16A}" destId="{F255FBF3-C905-4FF2-A4DC-94B1E04A34D6}" srcOrd="4" destOrd="0" parTransId="{8D41BB4E-3ED0-40A0-B899-1D6FC7E365C6}" sibTransId="{F47469EF-EBFC-4453-8667-8D0818DECD70}"/>
    <dgm:cxn modelId="{29CD0D82-88FD-43B9-B06B-58D84DF84377}" type="presOf" srcId="{6AA06F11-FA24-4C3E-962A-1E08E0E8E16A}" destId="{92177297-CC26-4307-8DFD-C1315B3FD0A2}" srcOrd="0" destOrd="0" presId="urn:microsoft.com/office/officeart/2005/8/layout/process1"/>
    <dgm:cxn modelId="{21DEA0B7-DA10-401E-81F8-39F9FC8E97FD}" type="presOf" srcId="{CE11F27D-A129-4F2B-BD5F-DF5C3FE80184}" destId="{1179586B-091B-4D39-95BE-1FA26B0E086B}" srcOrd="0" destOrd="0" presId="urn:microsoft.com/office/officeart/2005/8/layout/process1"/>
    <dgm:cxn modelId="{0347A8B9-8DAA-4546-90FF-69A4740909BA}" srcId="{6AA06F11-FA24-4C3E-962A-1E08E0E8E16A}" destId="{FB69336C-8B1A-410A-A9A2-570C70D0DFC3}" srcOrd="3" destOrd="0" parTransId="{657F50D1-8B83-4068-9AFB-D9475DA36B12}" sibTransId="{5E804B8F-5A28-4255-A25B-12C91516CA0A}"/>
    <dgm:cxn modelId="{8AAF32BC-7FCE-473A-A13C-C1812BAFE27A}" type="presOf" srcId="{F47469EF-EBFC-4453-8667-8D0818DECD70}" destId="{2C2CE365-98D9-4F64-B3FF-379F4EF70807}" srcOrd="1" destOrd="0" presId="urn:microsoft.com/office/officeart/2005/8/layout/process1"/>
    <dgm:cxn modelId="{4C3794E2-6B80-48D6-AE0E-EE6C403B43C8}" type="presOf" srcId="{F255FBF3-C905-4FF2-A4DC-94B1E04A34D6}" destId="{DD8DC33A-9539-4BE1-8691-225ACD934B35}" srcOrd="0" destOrd="0" presId="urn:microsoft.com/office/officeart/2005/8/layout/process1"/>
    <dgm:cxn modelId="{26DCFAF4-8448-4EA7-B0B7-BC97AE3CD927}" srcId="{6AA06F11-FA24-4C3E-962A-1E08E0E8E16A}" destId="{42393E0B-A5BD-4576-B5CC-10EE47704C16}" srcOrd="1" destOrd="0" parTransId="{28FEA75F-CA26-41F0-AF69-D9514C9599B2}" sibTransId="{6F198957-FE87-41D3-80D3-8DF7D294E73D}"/>
    <dgm:cxn modelId="{1C7BA0F7-13C6-43A7-9368-A380C23EEDA6}" type="presOf" srcId="{FB69336C-8B1A-410A-A9A2-570C70D0DFC3}" destId="{7C6D2499-8755-4305-B8E3-2D3180E167D9}" srcOrd="0" destOrd="0" presId="urn:microsoft.com/office/officeart/2005/8/layout/process1"/>
    <dgm:cxn modelId="{4E91A86D-85AD-4040-B530-D8670D0AE198}" type="presParOf" srcId="{92177297-CC26-4307-8DFD-C1315B3FD0A2}" destId="{1179586B-091B-4D39-95BE-1FA26B0E086B}" srcOrd="0" destOrd="0" presId="urn:microsoft.com/office/officeart/2005/8/layout/process1"/>
    <dgm:cxn modelId="{2CA42600-F926-4AB3-8482-D05E7829480E}" type="presParOf" srcId="{92177297-CC26-4307-8DFD-C1315B3FD0A2}" destId="{3EF853FC-4C64-40E2-9552-67FEE298B638}" srcOrd="1" destOrd="0" presId="urn:microsoft.com/office/officeart/2005/8/layout/process1"/>
    <dgm:cxn modelId="{4399A231-DC36-4E79-B352-ED10024B0037}" type="presParOf" srcId="{3EF853FC-4C64-40E2-9552-67FEE298B638}" destId="{F4B2E234-9B5B-4F72-B7C1-E47F5CC6DECA}" srcOrd="0" destOrd="0" presId="urn:microsoft.com/office/officeart/2005/8/layout/process1"/>
    <dgm:cxn modelId="{B7489849-4CD7-410D-BABB-B22AA6E678E1}" type="presParOf" srcId="{92177297-CC26-4307-8DFD-C1315B3FD0A2}" destId="{5E33CFBF-472E-459C-B1EF-8712CAF6377A}" srcOrd="2" destOrd="0" presId="urn:microsoft.com/office/officeart/2005/8/layout/process1"/>
    <dgm:cxn modelId="{1DF1E361-08AF-416F-BC37-0334D9FE157B}" type="presParOf" srcId="{92177297-CC26-4307-8DFD-C1315B3FD0A2}" destId="{839E21A6-EDAC-4601-AB31-645D675BA1A8}" srcOrd="3" destOrd="0" presId="urn:microsoft.com/office/officeart/2005/8/layout/process1"/>
    <dgm:cxn modelId="{A690AD04-A244-4F8E-A58D-7690BF913977}" type="presParOf" srcId="{839E21A6-EDAC-4601-AB31-645D675BA1A8}" destId="{08E88201-01D9-459D-8FC9-5E61504F8952}" srcOrd="0" destOrd="0" presId="urn:microsoft.com/office/officeart/2005/8/layout/process1"/>
    <dgm:cxn modelId="{BC2C3F07-EA65-4954-878A-A4598327CC20}" type="presParOf" srcId="{92177297-CC26-4307-8DFD-C1315B3FD0A2}" destId="{E104ED30-4EE4-48C1-B186-E6270F9E7C5C}" srcOrd="4" destOrd="0" presId="urn:microsoft.com/office/officeart/2005/8/layout/process1"/>
    <dgm:cxn modelId="{B9B969A1-4525-4521-88BF-7E4AAE034BDE}" type="presParOf" srcId="{92177297-CC26-4307-8DFD-C1315B3FD0A2}" destId="{E5906048-27D1-4F01-BA91-A72A87AECF1F}" srcOrd="5" destOrd="0" presId="urn:microsoft.com/office/officeart/2005/8/layout/process1"/>
    <dgm:cxn modelId="{0303DE66-17AD-42FB-8493-4186248896F1}" type="presParOf" srcId="{E5906048-27D1-4F01-BA91-A72A87AECF1F}" destId="{678FB90B-F282-45D7-9B16-33FA4644750A}" srcOrd="0" destOrd="0" presId="urn:microsoft.com/office/officeart/2005/8/layout/process1"/>
    <dgm:cxn modelId="{08CE0B31-0586-441A-AD3A-60E661C69151}" type="presParOf" srcId="{92177297-CC26-4307-8DFD-C1315B3FD0A2}" destId="{7C6D2499-8755-4305-B8E3-2D3180E167D9}" srcOrd="6" destOrd="0" presId="urn:microsoft.com/office/officeart/2005/8/layout/process1"/>
    <dgm:cxn modelId="{BCFA9FA7-B686-470D-981A-85E6F6662BA0}" type="presParOf" srcId="{92177297-CC26-4307-8DFD-C1315B3FD0A2}" destId="{F9E084F4-ADCD-41AD-A72D-06232DA60512}" srcOrd="7" destOrd="0" presId="urn:microsoft.com/office/officeart/2005/8/layout/process1"/>
    <dgm:cxn modelId="{B0063E12-3DDD-48C2-AE7D-D1ABCF3010A1}" type="presParOf" srcId="{F9E084F4-ADCD-41AD-A72D-06232DA60512}" destId="{234669D9-AFE1-48F6-8A3F-9FFC4C7FCFE2}" srcOrd="0" destOrd="0" presId="urn:microsoft.com/office/officeart/2005/8/layout/process1"/>
    <dgm:cxn modelId="{F8592787-8D52-42C5-874A-8C271866F286}" type="presParOf" srcId="{92177297-CC26-4307-8DFD-C1315B3FD0A2}" destId="{DD8DC33A-9539-4BE1-8691-225ACD934B35}" srcOrd="8" destOrd="0" presId="urn:microsoft.com/office/officeart/2005/8/layout/process1"/>
    <dgm:cxn modelId="{2E9E3049-A180-455A-BFFD-BE9F6C079CA4}" type="presParOf" srcId="{92177297-CC26-4307-8DFD-C1315B3FD0A2}" destId="{C9E66E37-47CE-4730-AC14-539B3894809F}" srcOrd="9" destOrd="0" presId="urn:microsoft.com/office/officeart/2005/8/layout/process1"/>
    <dgm:cxn modelId="{B4AE977A-A6CF-4657-9631-52CB661D2913}" type="presParOf" srcId="{C9E66E37-47CE-4730-AC14-539B3894809F}" destId="{2C2CE365-98D9-4F64-B3FF-379F4EF70807}" srcOrd="0" destOrd="0" presId="urn:microsoft.com/office/officeart/2005/8/layout/process1"/>
    <dgm:cxn modelId="{1390F9F5-4524-48AE-998D-0B3C57F0B9E6}" type="presParOf" srcId="{92177297-CC26-4307-8DFD-C1315B3FD0A2}" destId="{EA79DFE0-6BEF-4481-B8CB-0FD12FE71922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45A1F6C-D2E0-4B62-894A-B21724451D32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5E066462-1A9D-46A0-93BE-71A873A7E8B5}">
      <dgm:prSet phldrT="[Text]"/>
      <dgm:spPr/>
      <dgm:t>
        <a:bodyPr/>
        <a:lstStyle/>
        <a:p>
          <a:r>
            <a:rPr lang="de-DE" dirty="0"/>
            <a:t>Code Development</a:t>
          </a:r>
        </a:p>
      </dgm:t>
    </dgm:pt>
    <dgm:pt modelId="{04B91356-34F3-4CC6-A71B-CC1F32A552CF}" type="parTrans" cxnId="{98C25683-BBA1-4C29-99DF-7E6AB5E7D9D7}">
      <dgm:prSet/>
      <dgm:spPr/>
      <dgm:t>
        <a:bodyPr/>
        <a:lstStyle/>
        <a:p>
          <a:endParaRPr lang="de-DE"/>
        </a:p>
      </dgm:t>
    </dgm:pt>
    <dgm:pt modelId="{9E81F686-986F-4E3B-9C03-ABE0D6B35996}" type="sibTrans" cxnId="{98C25683-BBA1-4C29-99DF-7E6AB5E7D9D7}">
      <dgm:prSet/>
      <dgm:spPr/>
      <dgm:t>
        <a:bodyPr/>
        <a:lstStyle/>
        <a:p>
          <a:endParaRPr lang="de-DE" dirty="0"/>
        </a:p>
      </dgm:t>
    </dgm:pt>
    <dgm:pt modelId="{1CCA19AC-2130-4386-8F85-170DDD7A5268}">
      <dgm:prSet phldrT="[Text]"/>
      <dgm:spPr/>
      <dgm:t>
        <a:bodyPr/>
        <a:lstStyle/>
        <a:p>
          <a:r>
            <a:rPr lang="de-DE" dirty="0"/>
            <a:t>Manual </a:t>
          </a:r>
          <a:r>
            <a:rPr lang="de-DE" dirty="0" err="1"/>
            <a:t>Testing</a:t>
          </a:r>
          <a:endParaRPr lang="de-DE" dirty="0"/>
        </a:p>
      </dgm:t>
    </dgm:pt>
    <dgm:pt modelId="{EB7B5C9D-EA75-4F46-B118-4AAD733C0EE7}" type="parTrans" cxnId="{1037655B-65B4-447B-B2DC-77A7F1AFE0CA}">
      <dgm:prSet/>
      <dgm:spPr/>
      <dgm:t>
        <a:bodyPr/>
        <a:lstStyle/>
        <a:p>
          <a:endParaRPr lang="de-DE"/>
        </a:p>
      </dgm:t>
    </dgm:pt>
    <dgm:pt modelId="{031263B3-40E3-4148-9EBD-EE484B8FB630}" type="sibTrans" cxnId="{1037655B-65B4-447B-B2DC-77A7F1AFE0CA}">
      <dgm:prSet/>
      <dgm:spPr/>
      <dgm:t>
        <a:bodyPr/>
        <a:lstStyle/>
        <a:p>
          <a:endParaRPr lang="de-DE"/>
        </a:p>
      </dgm:t>
    </dgm:pt>
    <dgm:pt modelId="{78C6BF81-3447-4DB7-A189-EA11DEB8CD12}">
      <dgm:prSet phldrT="[Text]"/>
      <dgm:spPr/>
      <dgm:t>
        <a:bodyPr/>
        <a:lstStyle/>
        <a:p>
          <a:r>
            <a:rPr lang="de-DE" dirty="0"/>
            <a:t>Code </a:t>
          </a:r>
          <a:r>
            <a:rPr lang="de-DE" dirty="0" err="1"/>
            <a:t>Build</a:t>
          </a:r>
          <a:endParaRPr lang="de-DE" dirty="0"/>
        </a:p>
      </dgm:t>
    </dgm:pt>
    <dgm:pt modelId="{D26013D4-C8B4-417E-BA47-3D1B506F1286}" type="parTrans" cxnId="{923B0999-87BC-425F-AC26-54ED08301D41}">
      <dgm:prSet/>
      <dgm:spPr/>
      <dgm:t>
        <a:bodyPr/>
        <a:lstStyle/>
        <a:p>
          <a:endParaRPr lang="de-DE"/>
        </a:p>
      </dgm:t>
    </dgm:pt>
    <dgm:pt modelId="{6AFFA3E0-4E58-4D06-A00C-53CA8E39AB03}" type="sibTrans" cxnId="{923B0999-87BC-425F-AC26-54ED08301D41}">
      <dgm:prSet/>
      <dgm:spPr/>
      <dgm:t>
        <a:bodyPr/>
        <a:lstStyle/>
        <a:p>
          <a:endParaRPr lang="de-DE"/>
        </a:p>
      </dgm:t>
    </dgm:pt>
    <dgm:pt modelId="{35C1818C-C275-4416-850E-F6144F4B14F3}">
      <dgm:prSet phldrT="[Text]"/>
      <dgm:spPr/>
      <dgm:t>
        <a:bodyPr/>
        <a:lstStyle/>
        <a:p>
          <a:r>
            <a:rPr lang="de-DE" dirty="0" err="1"/>
            <a:t>Automated</a:t>
          </a:r>
          <a:r>
            <a:rPr lang="de-DE" dirty="0"/>
            <a:t> Unit </a:t>
          </a:r>
          <a:r>
            <a:rPr lang="de-DE" dirty="0" err="1"/>
            <a:t>Testing</a:t>
          </a:r>
          <a:endParaRPr lang="de-DE" dirty="0"/>
        </a:p>
      </dgm:t>
    </dgm:pt>
    <dgm:pt modelId="{40089DB2-2BE4-46DF-A872-CEBB8C9C5BCD}" type="parTrans" cxnId="{97A0F0CA-31EA-4120-BB78-EC9BC3583E80}">
      <dgm:prSet/>
      <dgm:spPr/>
      <dgm:t>
        <a:bodyPr/>
        <a:lstStyle/>
        <a:p>
          <a:endParaRPr lang="de-DE"/>
        </a:p>
      </dgm:t>
    </dgm:pt>
    <dgm:pt modelId="{9ECBA76B-C429-407E-A4A9-F23790F6307D}" type="sibTrans" cxnId="{97A0F0CA-31EA-4120-BB78-EC9BC3583E80}">
      <dgm:prSet/>
      <dgm:spPr/>
      <dgm:t>
        <a:bodyPr/>
        <a:lstStyle/>
        <a:p>
          <a:endParaRPr lang="de-DE"/>
        </a:p>
      </dgm:t>
    </dgm:pt>
    <dgm:pt modelId="{763FB7B0-86F4-477C-BCFA-33024F53B218}">
      <dgm:prSet phldrT="[Text]"/>
      <dgm:spPr/>
      <dgm:t>
        <a:bodyPr/>
        <a:lstStyle/>
        <a:p>
          <a:r>
            <a:rPr lang="de-DE" dirty="0" err="1"/>
            <a:t>Deployment</a:t>
          </a:r>
          <a:r>
            <a:rPr lang="de-DE" dirty="0"/>
            <a:t> on QA</a:t>
          </a:r>
        </a:p>
      </dgm:t>
    </dgm:pt>
    <dgm:pt modelId="{E6D00CDE-A303-4A54-8798-D3FCB12808D1}" type="parTrans" cxnId="{CFC2685B-B566-47CA-80CB-A82429C9069E}">
      <dgm:prSet/>
      <dgm:spPr/>
      <dgm:t>
        <a:bodyPr/>
        <a:lstStyle/>
        <a:p>
          <a:endParaRPr lang="de-DE"/>
        </a:p>
      </dgm:t>
    </dgm:pt>
    <dgm:pt modelId="{ABDD601E-AF4D-48B0-A683-718FDA0F5C2B}" type="sibTrans" cxnId="{CFC2685B-B566-47CA-80CB-A82429C9069E}">
      <dgm:prSet/>
      <dgm:spPr/>
      <dgm:t>
        <a:bodyPr/>
        <a:lstStyle/>
        <a:p>
          <a:endParaRPr lang="de-DE"/>
        </a:p>
      </dgm:t>
    </dgm:pt>
    <dgm:pt modelId="{8593C07B-85A7-4523-9AB4-0921D184F66E}">
      <dgm:prSet phldrT="[Text]"/>
      <dgm:spPr/>
      <dgm:t>
        <a:bodyPr/>
        <a:lstStyle/>
        <a:p>
          <a:r>
            <a:rPr lang="de-DE" dirty="0"/>
            <a:t>Integration </a:t>
          </a:r>
          <a:r>
            <a:rPr lang="de-DE" dirty="0" err="1"/>
            <a:t>Testing</a:t>
          </a:r>
          <a:endParaRPr lang="de-DE" dirty="0"/>
        </a:p>
      </dgm:t>
    </dgm:pt>
    <dgm:pt modelId="{C89DD782-52A0-403F-A549-D3FC95F20C28}" type="parTrans" cxnId="{9DC6AC37-3915-4BAB-8AFE-56121F1FA25A}">
      <dgm:prSet/>
      <dgm:spPr/>
      <dgm:t>
        <a:bodyPr/>
        <a:lstStyle/>
        <a:p>
          <a:endParaRPr lang="de-DE"/>
        </a:p>
      </dgm:t>
    </dgm:pt>
    <dgm:pt modelId="{208FDCA9-6077-426D-B46F-EEB671140564}" type="sibTrans" cxnId="{9DC6AC37-3915-4BAB-8AFE-56121F1FA25A}">
      <dgm:prSet/>
      <dgm:spPr/>
      <dgm:t>
        <a:bodyPr/>
        <a:lstStyle/>
        <a:p>
          <a:endParaRPr lang="de-DE"/>
        </a:p>
      </dgm:t>
    </dgm:pt>
    <dgm:pt modelId="{5CC4E73A-4105-4CC2-9CC5-22338022A73B}">
      <dgm:prSet phldrT="[Text]"/>
      <dgm:spPr/>
      <dgm:t>
        <a:bodyPr/>
        <a:lstStyle/>
        <a:p>
          <a:r>
            <a:rPr lang="de-DE" dirty="0" err="1"/>
            <a:t>Deployment</a:t>
          </a:r>
          <a:r>
            <a:rPr lang="de-DE" dirty="0"/>
            <a:t> on </a:t>
          </a:r>
          <a:r>
            <a:rPr lang="de-DE" dirty="0" err="1"/>
            <a:t>Production</a:t>
          </a:r>
          <a:endParaRPr lang="de-DE" dirty="0"/>
        </a:p>
      </dgm:t>
    </dgm:pt>
    <dgm:pt modelId="{60C02324-84D5-44C4-9FBF-3EE0340CB65C}" type="parTrans" cxnId="{17A51ADA-93AE-4C73-809F-1DEB7843826C}">
      <dgm:prSet/>
      <dgm:spPr/>
      <dgm:t>
        <a:bodyPr/>
        <a:lstStyle/>
        <a:p>
          <a:endParaRPr lang="de-DE"/>
        </a:p>
      </dgm:t>
    </dgm:pt>
    <dgm:pt modelId="{AC7A5EB6-3572-454F-8FC7-3C458F8BD1C2}" type="sibTrans" cxnId="{17A51ADA-93AE-4C73-809F-1DEB7843826C}">
      <dgm:prSet/>
      <dgm:spPr/>
      <dgm:t>
        <a:bodyPr/>
        <a:lstStyle/>
        <a:p>
          <a:endParaRPr lang="de-DE"/>
        </a:p>
      </dgm:t>
    </dgm:pt>
    <dgm:pt modelId="{A9A10C84-4181-4CDA-A1A5-7F3D3D78354D}">
      <dgm:prSet phldrT="[Text]"/>
      <dgm:spPr/>
      <dgm:t>
        <a:bodyPr/>
        <a:lstStyle/>
        <a:p>
          <a:r>
            <a:rPr lang="de-DE" dirty="0"/>
            <a:t>Live </a:t>
          </a:r>
          <a:r>
            <a:rPr lang="de-DE" dirty="0" err="1"/>
            <a:t>available</a:t>
          </a:r>
          <a:r>
            <a:rPr lang="de-DE" dirty="0"/>
            <a:t> </a:t>
          </a:r>
          <a:r>
            <a:rPr lang="de-DE" dirty="0" err="1"/>
            <a:t>through</a:t>
          </a:r>
          <a:r>
            <a:rPr lang="de-DE" dirty="0"/>
            <a:t> REST APIs</a:t>
          </a:r>
        </a:p>
      </dgm:t>
    </dgm:pt>
    <dgm:pt modelId="{DDA35552-EB00-4BAB-AAB1-DEE90BEA0DA4}" type="parTrans" cxnId="{E202246D-0F69-47C7-BDD0-927047B1B7D5}">
      <dgm:prSet/>
      <dgm:spPr/>
      <dgm:t>
        <a:bodyPr/>
        <a:lstStyle/>
        <a:p>
          <a:endParaRPr lang="de-DE"/>
        </a:p>
      </dgm:t>
    </dgm:pt>
    <dgm:pt modelId="{DF34F5C9-5535-4234-AD21-EA1BFD86C2A8}" type="sibTrans" cxnId="{E202246D-0F69-47C7-BDD0-927047B1B7D5}">
      <dgm:prSet/>
      <dgm:spPr/>
      <dgm:t>
        <a:bodyPr/>
        <a:lstStyle/>
        <a:p>
          <a:endParaRPr lang="de-DE"/>
        </a:p>
      </dgm:t>
    </dgm:pt>
    <dgm:pt modelId="{B68C0E27-E914-4099-8C88-4D3EF9CCE254}" type="pres">
      <dgm:prSet presAssocID="{145A1F6C-D2E0-4B62-894A-B21724451D32}" presName="linearFlow" presStyleCnt="0">
        <dgm:presLayoutVars>
          <dgm:dir/>
          <dgm:animLvl val="lvl"/>
          <dgm:resizeHandles val="exact"/>
        </dgm:presLayoutVars>
      </dgm:prSet>
      <dgm:spPr/>
    </dgm:pt>
    <dgm:pt modelId="{27553DFE-14BD-4435-97E0-A36B3281D437}" type="pres">
      <dgm:prSet presAssocID="{5E066462-1A9D-46A0-93BE-71A873A7E8B5}" presName="composite" presStyleCnt="0"/>
      <dgm:spPr/>
    </dgm:pt>
    <dgm:pt modelId="{4B7E34D1-01DE-41E5-860F-92D947F81717}" type="pres">
      <dgm:prSet presAssocID="{5E066462-1A9D-46A0-93BE-71A873A7E8B5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BDB4628D-16F1-4667-9C18-106DD0638C4E}" type="pres">
      <dgm:prSet presAssocID="{5E066462-1A9D-46A0-93BE-71A873A7E8B5}" presName="parSh" presStyleLbl="node1" presStyleIdx="0" presStyleCnt="4"/>
      <dgm:spPr/>
    </dgm:pt>
    <dgm:pt modelId="{3FBEFBE9-8DCE-4536-A9C6-62DFFBBEB738}" type="pres">
      <dgm:prSet presAssocID="{5E066462-1A9D-46A0-93BE-71A873A7E8B5}" presName="desTx" presStyleLbl="fgAcc1" presStyleIdx="0" presStyleCnt="4">
        <dgm:presLayoutVars>
          <dgm:bulletEnabled val="1"/>
        </dgm:presLayoutVars>
      </dgm:prSet>
      <dgm:spPr/>
    </dgm:pt>
    <dgm:pt modelId="{806471D2-5B98-49FE-8159-7D821119A9B3}" type="pres">
      <dgm:prSet presAssocID="{9E81F686-986F-4E3B-9C03-ABE0D6B35996}" presName="sibTrans" presStyleLbl="sibTrans2D1" presStyleIdx="0" presStyleCnt="3"/>
      <dgm:spPr/>
    </dgm:pt>
    <dgm:pt modelId="{478B9A14-52A1-4B02-A272-89AFC74D7A2D}" type="pres">
      <dgm:prSet presAssocID="{9E81F686-986F-4E3B-9C03-ABE0D6B35996}" presName="connTx" presStyleLbl="sibTrans2D1" presStyleIdx="0" presStyleCnt="3"/>
      <dgm:spPr/>
    </dgm:pt>
    <dgm:pt modelId="{22E7607B-FF56-462F-A4D1-2E36E0BB6D90}" type="pres">
      <dgm:prSet presAssocID="{78C6BF81-3447-4DB7-A189-EA11DEB8CD12}" presName="composite" presStyleCnt="0"/>
      <dgm:spPr/>
    </dgm:pt>
    <dgm:pt modelId="{48C5EE62-EF5E-4092-B0E8-7E93772FB9C5}" type="pres">
      <dgm:prSet presAssocID="{78C6BF81-3447-4DB7-A189-EA11DEB8CD12}" presName="parTx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32C3A640-8B7B-4DBA-A4D8-CFC1F930C78A}" type="pres">
      <dgm:prSet presAssocID="{78C6BF81-3447-4DB7-A189-EA11DEB8CD12}" presName="parSh" presStyleLbl="node1" presStyleIdx="1" presStyleCnt="4"/>
      <dgm:spPr/>
    </dgm:pt>
    <dgm:pt modelId="{CEC714B3-76DB-4DF8-BBAA-07FC04EC22EE}" type="pres">
      <dgm:prSet presAssocID="{78C6BF81-3447-4DB7-A189-EA11DEB8CD12}" presName="desTx" presStyleLbl="fgAcc1" presStyleIdx="1" presStyleCnt="4">
        <dgm:presLayoutVars>
          <dgm:bulletEnabled val="1"/>
        </dgm:presLayoutVars>
      </dgm:prSet>
      <dgm:spPr/>
    </dgm:pt>
    <dgm:pt modelId="{E96C8840-EF0D-4E58-AFD2-74BEFCF915D9}" type="pres">
      <dgm:prSet presAssocID="{6AFFA3E0-4E58-4D06-A00C-53CA8E39AB03}" presName="sibTrans" presStyleLbl="sibTrans2D1" presStyleIdx="1" presStyleCnt="3"/>
      <dgm:spPr/>
    </dgm:pt>
    <dgm:pt modelId="{2BA7613B-8BA3-432F-A252-3D1B6DC475CC}" type="pres">
      <dgm:prSet presAssocID="{6AFFA3E0-4E58-4D06-A00C-53CA8E39AB03}" presName="connTx" presStyleLbl="sibTrans2D1" presStyleIdx="1" presStyleCnt="3"/>
      <dgm:spPr/>
    </dgm:pt>
    <dgm:pt modelId="{657C4FC0-7825-41E0-B788-A8D156771D4D}" type="pres">
      <dgm:prSet presAssocID="{763FB7B0-86F4-477C-BCFA-33024F53B218}" presName="composite" presStyleCnt="0"/>
      <dgm:spPr/>
    </dgm:pt>
    <dgm:pt modelId="{634A774F-DDCB-4DB6-B665-8E1C606C5F64}" type="pres">
      <dgm:prSet presAssocID="{763FB7B0-86F4-477C-BCFA-33024F53B218}" presName="parTx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52D2DBBE-87B8-4DCA-8B2D-DB415C699A68}" type="pres">
      <dgm:prSet presAssocID="{763FB7B0-86F4-477C-BCFA-33024F53B218}" presName="parSh" presStyleLbl="node1" presStyleIdx="2" presStyleCnt="4"/>
      <dgm:spPr/>
    </dgm:pt>
    <dgm:pt modelId="{156C07D1-C2CF-43C5-BE27-6E6B302424F8}" type="pres">
      <dgm:prSet presAssocID="{763FB7B0-86F4-477C-BCFA-33024F53B218}" presName="desTx" presStyleLbl="fgAcc1" presStyleIdx="2" presStyleCnt="4" custLinFactNeighborX="2781">
        <dgm:presLayoutVars>
          <dgm:bulletEnabled val="1"/>
        </dgm:presLayoutVars>
      </dgm:prSet>
      <dgm:spPr/>
    </dgm:pt>
    <dgm:pt modelId="{157C804D-9FB9-49AF-9242-26E1EFA4C6D0}" type="pres">
      <dgm:prSet presAssocID="{ABDD601E-AF4D-48B0-A683-718FDA0F5C2B}" presName="sibTrans" presStyleLbl="sibTrans2D1" presStyleIdx="2" presStyleCnt="3"/>
      <dgm:spPr/>
    </dgm:pt>
    <dgm:pt modelId="{B12C45E0-9A86-4662-A5F8-7AF05500E847}" type="pres">
      <dgm:prSet presAssocID="{ABDD601E-AF4D-48B0-A683-718FDA0F5C2B}" presName="connTx" presStyleLbl="sibTrans2D1" presStyleIdx="2" presStyleCnt="3"/>
      <dgm:spPr/>
    </dgm:pt>
    <dgm:pt modelId="{DE7BEBDD-96CD-4EA9-8F60-81EB7206AACB}" type="pres">
      <dgm:prSet presAssocID="{5CC4E73A-4105-4CC2-9CC5-22338022A73B}" presName="composite" presStyleCnt="0"/>
      <dgm:spPr/>
    </dgm:pt>
    <dgm:pt modelId="{950E7284-0F5A-41D6-B359-BDD68A7D42D2}" type="pres">
      <dgm:prSet presAssocID="{5CC4E73A-4105-4CC2-9CC5-22338022A73B}" presName="parTx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E5E9DD41-B1C2-4C93-8974-580E959A7EE5}" type="pres">
      <dgm:prSet presAssocID="{5CC4E73A-4105-4CC2-9CC5-22338022A73B}" presName="parSh" presStyleLbl="node1" presStyleIdx="3" presStyleCnt="4"/>
      <dgm:spPr/>
    </dgm:pt>
    <dgm:pt modelId="{4351079B-2AC7-495F-9CF7-F396ECC61F4E}" type="pres">
      <dgm:prSet presAssocID="{5CC4E73A-4105-4CC2-9CC5-22338022A73B}" presName="desTx" presStyleLbl="fgAcc1" presStyleIdx="3" presStyleCnt="4">
        <dgm:presLayoutVars>
          <dgm:bulletEnabled val="1"/>
        </dgm:presLayoutVars>
      </dgm:prSet>
      <dgm:spPr/>
    </dgm:pt>
  </dgm:ptLst>
  <dgm:cxnLst>
    <dgm:cxn modelId="{E7C4FE11-D43C-4261-8E55-E0B8D5FAEBD8}" type="presOf" srcId="{9E81F686-986F-4E3B-9C03-ABE0D6B35996}" destId="{478B9A14-52A1-4B02-A272-89AFC74D7A2D}" srcOrd="1" destOrd="0" presId="urn:microsoft.com/office/officeart/2005/8/layout/process3"/>
    <dgm:cxn modelId="{7BC3752C-D70B-4FB8-8122-747D19F9393B}" type="presOf" srcId="{9E81F686-986F-4E3B-9C03-ABE0D6B35996}" destId="{806471D2-5B98-49FE-8159-7D821119A9B3}" srcOrd="0" destOrd="0" presId="urn:microsoft.com/office/officeart/2005/8/layout/process3"/>
    <dgm:cxn modelId="{9DC6AC37-3915-4BAB-8AFE-56121F1FA25A}" srcId="{763FB7B0-86F4-477C-BCFA-33024F53B218}" destId="{8593C07B-85A7-4523-9AB4-0921D184F66E}" srcOrd="0" destOrd="0" parTransId="{C89DD782-52A0-403F-A549-D3FC95F20C28}" sibTransId="{208FDCA9-6077-426D-B46F-EEB671140564}"/>
    <dgm:cxn modelId="{1037655B-65B4-447B-B2DC-77A7F1AFE0CA}" srcId="{5E066462-1A9D-46A0-93BE-71A873A7E8B5}" destId="{1CCA19AC-2130-4386-8F85-170DDD7A5268}" srcOrd="0" destOrd="0" parTransId="{EB7B5C9D-EA75-4F46-B118-4AAD733C0EE7}" sibTransId="{031263B3-40E3-4148-9EBD-EE484B8FB630}"/>
    <dgm:cxn modelId="{CFC2685B-B566-47CA-80CB-A82429C9069E}" srcId="{145A1F6C-D2E0-4B62-894A-B21724451D32}" destId="{763FB7B0-86F4-477C-BCFA-33024F53B218}" srcOrd="2" destOrd="0" parTransId="{E6D00CDE-A303-4A54-8798-D3FCB12808D1}" sibTransId="{ABDD601E-AF4D-48B0-A683-718FDA0F5C2B}"/>
    <dgm:cxn modelId="{3B695B5F-25D7-4BF7-B4A7-5D73F4E8E439}" type="presOf" srcId="{A9A10C84-4181-4CDA-A1A5-7F3D3D78354D}" destId="{4351079B-2AC7-495F-9CF7-F396ECC61F4E}" srcOrd="0" destOrd="0" presId="urn:microsoft.com/office/officeart/2005/8/layout/process3"/>
    <dgm:cxn modelId="{0D080268-7D8F-495D-8A1F-6910EE4B8457}" type="presOf" srcId="{763FB7B0-86F4-477C-BCFA-33024F53B218}" destId="{52D2DBBE-87B8-4DCA-8B2D-DB415C699A68}" srcOrd="1" destOrd="0" presId="urn:microsoft.com/office/officeart/2005/8/layout/process3"/>
    <dgm:cxn modelId="{307FD769-FFDF-417F-904A-9CC6725F5592}" type="presOf" srcId="{5E066462-1A9D-46A0-93BE-71A873A7E8B5}" destId="{4B7E34D1-01DE-41E5-860F-92D947F81717}" srcOrd="0" destOrd="0" presId="urn:microsoft.com/office/officeart/2005/8/layout/process3"/>
    <dgm:cxn modelId="{E202246D-0F69-47C7-BDD0-927047B1B7D5}" srcId="{5CC4E73A-4105-4CC2-9CC5-22338022A73B}" destId="{A9A10C84-4181-4CDA-A1A5-7F3D3D78354D}" srcOrd="0" destOrd="0" parTransId="{DDA35552-EB00-4BAB-AAB1-DEE90BEA0DA4}" sibTransId="{DF34F5C9-5535-4234-AD21-EA1BFD86C2A8}"/>
    <dgm:cxn modelId="{325BC64D-3507-4790-939E-D32964B1F957}" type="presOf" srcId="{78C6BF81-3447-4DB7-A189-EA11DEB8CD12}" destId="{48C5EE62-EF5E-4092-B0E8-7E93772FB9C5}" srcOrd="0" destOrd="0" presId="urn:microsoft.com/office/officeart/2005/8/layout/process3"/>
    <dgm:cxn modelId="{55CE0670-5D53-43B2-B5BD-1C86D538A77C}" type="presOf" srcId="{78C6BF81-3447-4DB7-A189-EA11DEB8CD12}" destId="{32C3A640-8B7B-4DBA-A4D8-CFC1F930C78A}" srcOrd="1" destOrd="0" presId="urn:microsoft.com/office/officeart/2005/8/layout/process3"/>
    <dgm:cxn modelId="{2D57F455-7074-4F9B-9BDA-B3A21B97DD8B}" type="presOf" srcId="{5CC4E73A-4105-4CC2-9CC5-22338022A73B}" destId="{E5E9DD41-B1C2-4C93-8974-580E959A7EE5}" srcOrd="1" destOrd="0" presId="urn:microsoft.com/office/officeart/2005/8/layout/process3"/>
    <dgm:cxn modelId="{98C25683-BBA1-4C29-99DF-7E6AB5E7D9D7}" srcId="{145A1F6C-D2E0-4B62-894A-B21724451D32}" destId="{5E066462-1A9D-46A0-93BE-71A873A7E8B5}" srcOrd="0" destOrd="0" parTransId="{04B91356-34F3-4CC6-A71B-CC1F32A552CF}" sibTransId="{9E81F686-986F-4E3B-9C03-ABE0D6B35996}"/>
    <dgm:cxn modelId="{7D9A188D-8A6F-4E2F-AE7F-A98719A5D752}" type="presOf" srcId="{5CC4E73A-4105-4CC2-9CC5-22338022A73B}" destId="{950E7284-0F5A-41D6-B359-BDD68A7D42D2}" srcOrd="0" destOrd="0" presId="urn:microsoft.com/office/officeart/2005/8/layout/process3"/>
    <dgm:cxn modelId="{64D05692-DEE8-4B8D-8A59-305C41124D72}" type="presOf" srcId="{ABDD601E-AF4D-48B0-A683-718FDA0F5C2B}" destId="{B12C45E0-9A86-4662-A5F8-7AF05500E847}" srcOrd="1" destOrd="0" presId="urn:microsoft.com/office/officeart/2005/8/layout/process3"/>
    <dgm:cxn modelId="{923B0999-87BC-425F-AC26-54ED08301D41}" srcId="{145A1F6C-D2E0-4B62-894A-B21724451D32}" destId="{78C6BF81-3447-4DB7-A189-EA11DEB8CD12}" srcOrd="1" destOrd="0" parTransId="{D26013D4-C8B4-417E-BA47-3D1B506F1286}" sibTransId="{6AFFA3E0-4E58-4D06-A00C-53CA8E39AB03}"/>
    <dgm:cxn modelId="{8AFA53B5-52B1-41A1-AE87-BFC7CDACBB7F}" type="presOf" srcId="{145A1F6C-D2E0-4B62-894A-B21724451D32}" destId="{B68C0E27-E914-4099-8C88-4D3EF9CCE254}" srcOrd="0" destOrd="0" presId="urn:microsoft.com/office/officeart/2005/8/layout/process3"/>
    <dgm:cxn modelId="{8B2637BA-C5ED-473D-8EC5-EC841A33847E}" type="presOf" srcId="{5E066462-1A9D-46A0-93BE-71A873A7E8B5}" destId="{BDB4628D-16F1-4667-9C18-106DD0638C4E}" srcOrd="1" destOrd="0" presId="urn:microsoft.com/office/officeart/2005/8/layout/process3"/>
    <dgm:cxn modelId="{6E186ABF-5273-453A-83BC-F345981E58D6}" type="presOf" srcId="{ABDD601E-AF4D-48B0-A683-718FDA0F5C2B}" destId="{157C804D-9FB9-49AF-9242-26E1EFA4C6D0}" srcOrd="0" destOrd="0" presId="urn:microsoft.com/office/officeart/2005/8/layout/process3"/>
    <dgm:cxn modelId="{3292C5C0-57FC-482B-93F9-72A7966C2623}" type="presOf" srcId="{6AFFA3E0-4E58-4D06-A00C-53CA8E39AB03}" destId="{E96C8840-EF0D-4E58-AFD2-74BEFCF915D9}" srcOrd="0" destOrd="0" presId="urn:microsoft.com/office/officeart/2005/8/layout/process3"/>
    <dgm:cxn modelId="{C5E9F7C3-2ACC-4FE6-8919-395B384034CC}" type="presOf" srcId="{6AFFA3E0-4E58-4D06-A00C-53CA8E39AB03}" destId="{2BA7613B-8BA3-432F-A252-3D1B6DC475CC}" srcOrd="1" destOrd="0" presId="urn:microsoft.com/office/officeart/2005/8/layout/process3"/>
    <dgm:cxn modelId="{97A0F0CA-31EA-4120-BB78-EC9BC3583E80}" srcId="{78C6BF81-3447-4DB7-A189-EA11DEB8CD12}" destId="{35C1818C-C275-4416-850E-F6144F4B14F3}" srcOrd="0" destOrd="0" parTransId="{40089DB2-2BE4-46DF-A872-CEBB8C9C5BCD}" sibTransId="{9ECBA76B-C429-407E-A4A9-F23790F6307D}"/>
    <dgm:cxn modelId="{F0B0CCD3-17CD-4AC0-A559-FB6E09D9AD24}" type="presOf" srcId="{8593C07B-85A7-4523-9AB4-0921D184F66E}" destId="{156C07D1-C2CF-43C5-BE27-6E6B302424F8}" srcOrd="0" destOrd="0" presId="urn:microsoft.com/office/officeart/2005/8/layout/process3"/>
    <dgm:cxn modelId="{17A51ADA-93AE-4C73-809F-1DEB7843826C}" srcId="{145A1F6C-D2E0-4B62-894A-B21724451D32}" destId="{5CC4E73A-4105-4CC2-9CC5-22338022A73B}" srcOrd="3" destOrd="0" parTransId="{60C02324-84D5-44C4-9FBF-3EE0340CB65C}" sibTransId="{AC7A5EB6-3572-454F-8FC7-3C458F8BD1C2}"/>
    <dgm:cxn modelId="{5966D3DD-8F2A-479A-A02A-C531354351C6}" type="presOf" srcId="{763FB7B0-86F4-477C-BCFA-33024F53B218}" destId="{634A774F-DDCB-4DB6-B665-8E1C606C5F64}" srcOrd="0" destOrd="0" presId="urn:microsoft.com/office/officeart/2005/8/layout/process3"/>
    <dgm:cxn modelId="{7904DEDF-E87B-4FD8-9D2D-7380F0FB5B58}" type="presOf" srcId="{35C1818C-C275-4416-850E-F6144F4B14F3}" destId="{CEC714B3-76DB-4DF8-BBAA-07FC04EC22EE}" srcOrd="0" destOrd="0" presId="urn:microsoft.com/office/officeart/2005/8/layout/process3"/>
    <dgm:cxn modelId="{7DC938E6-5BF5-4177-B7FE-AACBF9105538}" type="presOf" srcId="{1CCA19AC-2130-4386-8F85-170DDD7A5268}" destId="{3FBEFBE9-8DCE-4536-A9C6-62DFFBBEB738}" srcOrd="0" destOrd="0" presId="urn:microsoft.com/office/officeart/2005/8/layout/process3"/>
    <dgm:cxn modelId="{20C69C03-253B-4F67-ACCD-634B061CC125}" type="presParOf" srcId="{B68C0E27-E914-4099-8C88-4D3EF9CCE254}" destId="{27553DFE-14BD-4435-97E0-A36B3281D437}" srcOrd="0" destOrd="0" presId="urn:microsoft.com/office/officeart/2005/8/layout/process3"/>
    <dgm:cxn modelId="{A6A479D4-7D13-4541-8EA1-9D2C93157420}" type="presParOf" srcId="{27553DFE-14BD-4435-97E0-A36B3281D437}" destId="{4B7E34D1-01DE-41E5-860F-92D947F81717}" srcOrd="0" destOrd="0" presId="urn:microsoft.com/office/officeart/2005/8/layout/process3"/>
    <dgm:cxn modelId="{F6B2137C-DD55-487A-A7B4-8A41447A6AED}" type="presParOf" srcId="{27553DFE-14BD-4435-97E0-A36B3281D437}" destId="{BDB4628D-16F1-4667-9C18-106DD0638C4E}" srcOrd="1" destOrd="0" presId="urn:microsoft.com/office/officeart/2005/8/layout/process3"/>
    <dgm:cxn modelId="{48894BE2-1CFE-4328-8C23-9FB8FFC8E191}" type="presParOf" srcId="{27553DFE-14BD-4435-97E0-A36B3281D437}" destId="{3FBEFBE9-8DCE-4536-A9C6-62DFFBBEB738}" srcOrd="2" destOrd="0" presId="urn:microsoft.com/office/officeart/2005/8/layout/process3"/>
    <dgm:cxn modelId="{43241DCA-D5AE-4B91-BD79-8080A6940D0A}" type="presParOf" srcId="{B68C0E27-E914-4099-8C88-4D3EF9CCE254}" destId="{806471D2-5B98-49FE-8159-7D821119A9B3}" srcOrd="1" destOrd="0" presId="urn:microsoft.com/office/officeart/2005/8/layout/process3"/>
    <dgm:cxn modelId="{7902A016-7473-41EB-A685-AC386548914A}" type="presParOf" srcId="{806471D2-5B98-49FE-8159-7D821119A9B3}" destId="{478B9A14-52A1-4B02-A272-89AFC74D7A2D}" srcOrd="0" destOrd="0" presId="urn:microsoft.com/office/officeart/2005/8/layout/process3"/>
    <dgm:cxn modelId="{8AA4C793-8071-4743-8626-11307499ADC7}" type="presParOf" srcId="{B68C0E27-E914-4099-8C88-4D3EF9CCE254}" destId="{22E7607B-FF56-462F-A4D1-2E36E0BB6D90}" srcOrd="2" destOrd="0" presId="urn:microsoft.com/office/officeart/2005/8/layout/process3"/>
    <dgm:cxn modelId="{C35EE0B8-2256-4FE6-8319-7CEE66826E45}" type="presParOf" srcId="{22E7607B-FF56-462F-A4D1-2E36E0BB6D90}" destId="{48C5EE62-EF5E-4092-B0E8-7E93772FB9C5}" srcOrd="0" destOrd="0" presId="urn:microsoft.com/office/officeart/2005/8/layout/process3"/>
    <dgm:cxn modelId="{3F50CC20-E827-4DCC-9213-DB3D233D2EAF}" type="presParOf" srcId="{22E7607B-FF56-462F-A4D1-2E36E0BB6D90}" destId="{32C3A640-8B7B-4DBA-A4D8-CFC1F930C78A}" srcOrd="1" destOrd="0" presId="urn:microsoft.com/office/officeart/2005/8/layout/process3"/>
    <dgm:cxn modelId="{0A3550E3-B959-4483-9A97-117B47BF6B19}" type="presParOf" srcId="{22E7607B-FF56-462F-A4D1-2E36E0BB6D90}" destId="{CEC714B3-76DB-4DF8-BBAA-07FC04EC22EE}" srcOrd="2" destOrd="0" presId="urn:microsoft.com/office/officeart/2005/8/layout/process3"/>
    <dgm:cxn modelId="{C1EF2D03-1FF3-4B6F-9A57-FC670680E778}" type="presParOf" srcId="{B68C0E27-E914-4099-8C88-4D3EF9CCE254}" destId="{E96C8840-EF0D-4E58-AFD2-74BEFCF915D9}" srcOrd="3" destOrd="0" presId="urn:microsoft.com/office/officeart/2005/8/layout/process3"/>
    <dgm:cxn modelId="{1F302DA8-D931-4CA9-A118-693556F1A8E9}" type="presParOf" srcId="{E96C8840-EF0D-4E58-AFD2-74BEFCF915D9}" destId="{2BA7613B-8BA3-432F-A252-3D1B6DC475CC}" srcOrd="0" destOrd="0" presId="urn:microsoft.com/office/officeart/2005/8/layout/process3"/>
    <dgm:cxn modelId="{83A536D1-0498-4FB7-A33B-0946B8D7C7AF}" type="presParOf" srcId="{B68C0E27-E914-4099-8C88-4D3EF9CCE254}" destId="{657C4FC0-7825-41E0-B788-A8D156771D4D}" srcOrd="4" destOrd="0" presId="urn:microsoft.com/office/officeart/2005/8/layout/process3"/>
    <dgm:cxn modelId="{04837ACE-2B21-481C-887F-8FDB8FD12663}" type="presParOf" srcId="{657C4FC0-7825-41E0-B788-A8D156771D4D}" destId="{634A774F-DDCB-4DB6-B665-8E1C606C5F64}" srcOrd="0" destOrd="0" presId="urn:microsoft.com/office/officeart/2005/8/layout/process3"/>
    <dgm:cxn modelId="{5A23DC9D-BF54-4A84-9FBF-9C89220F5489}" type="presParOf" srcId="{657C4FC0-7825-41E0-B788-A8D156771D4D}" destId="{52D2DBBE-87B8-4DCA-8B2D-DB415C699A68}" srcOrd="1" destOrd="0" presId="urn:microsoft.com/office/officeart/2005/8/layout/process3"/>
    <dgm:cxn modelId="{9F6B0F9B-A558-4785-BB20-EFA05DBAC42D}" type="presParOf" srcId="{657C4FC0-7825-41E0-B788-A8D156771D4D}" destId="{156C07D1-C2CF-43C5-BE27-6E6B302424F8}" srcOrd="2" destOrd="0" presId="urn:microsoft.com/office/officeart/2005/8/layout/process3"/>
    <dgm:cxn modelId="{98FA6379-DA8C-4FCA-BCCE-E2D8B6A4A5D1}" type="presParOf" srcId="{B68C0E27-E914-4099-8C88-4D3EF9CCE254}" destId="{157C804D-9FB9-49AF-9242-26E1EFA4C6D0}" srcOrd="5" destOrd="0" presId="urn:microsoft.com/office/officeart/2005/8/layout/process3"/>
    <dgm:cxn modelId="{AD1212E1-CEF6-4978-9979-D5EDD15A74AA}" type="presParOf" srcId="{157C804D-9FB9-49AF-9242-26E1EFA4C6D0}" destId="{B12C45E0-9A86-4662-A5F8-7AF05500E847}" srcOrd="0" destOrd="0" presId="urn:microsoft.com/office/officeart/2005/8/layout/process3"/>
    <dgm:cxn modelId="{151DC35D-1F71-484A-B0F6-E5476127F3DD}" type="presParOf" srcId="{B68C0E27-E914-4099-8C88-4D3EF9CCE254}" destId="{DE7BEBDD-96CD-4EA9-8F60-81EB7206AACB}" srcOrd="6" destOrd="0" presId="urn:microsoft.com/office/officeart/2005/8/layout/process3"/>
    <dgm:cxn modelId="{5D19E5D4-1E1E-4B19-9A09-B3F08682CE58}" type="presParOf" srcId="{DE7BEBDD-96CD-4EA9-8F60-81EB7206AACB}" destId="{950E7284-0F5A-41D6-B359-BDD68A7D42D2}" srcOrd="0" destOrd="0" presId="urn:microsoft.com/office/officeart/2005/8/layout/process3"/>
    <dgm:cxn modelId="{66991857-F79C-4B8C-A7FB-3A37B2AF5CB9}" type="presParOf" srcId="{DE7BEBDD-96CD-4EA9-8F60-81EB7206AACB}" destId="{E5E9DD41-B1C2-4C93-8974-580E959A7EE5}" srcOrd="1" destOrd="0" presId="urn:microsoft.com/office/officeart/2005/8/layout/process3"/>
    <dgm:cxn modelId="{261E0069-610C-481A-9188-B72F043DB827}" type="presParOf" srcId="{DE7BEBDD-96CD-4EA9-8F60-81EB7206AACB}" destId="{4351079B-2AC7-495F-9CF7-F396ECC61F4E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79586B-091B-4D39-95BE-1FA26B0E086B}">
      <dsp:nvSpPr>
        <dsp:cNvPr id="0" name=""/>
        <dsp:cNvSpPr/>
      </dsp:nvSpPr>
      <dsp:spPr>
        <a:xfrm>
          <a:off x="0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ta Ingestion &amp; </a:t>
          </a:r>
          <a:r>
            <a:rPr lang="de-DE" sz="1600" kern="1200" dirty="0" err="1"/>
            <a:t>Preparation</a:t>
          </a:r>
          <a:endParaRPr lang="de-DE" sz="1600" kern="1200" dirty="0"/>
        </a:p>
      </dsp:txBody>
      <dsp:txXfrm>
        <a:off x="26280" y="2039064"/>
        <a:ext cx="1258516" cy="844707"/>
      </dsp:txXfrm>
    </dsp:sp>
    <dsp:sp modelId="{3EF853FC-4C64-40E2-9552-67FEE298B638}">
      <dsp:nvSpPr>
        <dsp:cNvPr id="0" name=""/>
        <dsp:cNvSpPr/>
      </dsp:nvSpPr>
      <dsp:spPr>
        <a:xfrm>
          <a:off x="1442184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1442184" y="2363874"/>
        <a:ext cx="194564" cy="195088"/>
      </dsp:txXfrm>
    </dsp:sp>
    <dsp:sp modelId="{5E33CFBF-472E-459C-B1EF-8712CAF6377A}">
      <dsp:nvSpPr>
        <dsp:cNvPr id="0" name=""/>
        <dsp:cNvSpPr/>
      </dsp:nvSpPr>
      <dsp:spPr>
        <a:xfrm>
          <a:off x="1835507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ta </a:t>
          </a:r>
          <a:r>
            <a:rPr lang="de-DE" sz="1600" kern="1200" dirty="0" err="1"/>
            <a:t>Inspection</a:t>
          </a:r>
          <a:endParaRPr lang="de-DE" sz="1600" kern="1200" dirty="0"/>
        </a:p>
      </dsp:txBody>
      <dsp:txXfrm>
        <a:off x="1861787" y="2039064"/>
        <a:ext cx="1258516" cy="844707"/>
      </dsp:txXfrm>
    </dsp:sp>
    <dsp:sp modelId="{839E21A6-EDAC-4601-AB31-645D675BA1A8}">
      <dsp:nvSpPr>
        <dsp:cNvPr id="0" name=""/>
        <dsp:cNvSpPr/>
      </dsp:nvSpPr>
      <dsp:spPr>
        <a:xfrm>
          <a:off x="3277691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3277691" y="2363874"/>
        <a:ext cx="194564" cy="195088"/>
      </dsp:txXfrm>
    </dsp:sp>
    <dsp:sp modelId="{E104ED30-4EE4-48C1-B186-E6270F9E7C5C}">
      <dsp:nvSpPr>
        <dsp:cNvPr id="0" name=""/>
        <dsp:cNvSpPr/>
      </dsp:nvSpPr>
      <dsp:spPr>
        <a:xfrm>
          <a:off x="3671014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ta </a:t>
          </a:r>
          <a:r>
            <a:rPr lang="de-DE" sz="1600" kern="1200" dirty="0" err="1"/>
            <a:t>Cleaning</a:t>
          </a:r>
          <a:endParaRPr lang="de-DE" sz="1600" kern="1200" dirty="0"/>
        </a:p>
      </dsp:txBody>
      <dsp:txXfrm>
        <a:off x="3697294" y="2039064"/>
        <a:ext cx="1258516" cy="844707"/>
      </dsp:txXfrm>
    </dsp:sp>
    <dsp:sp modelId="{E5906048-27D1-4F01-BA91-A72A87AECF1F}">
      <dsp:nvSpPr>
        <dsp:cNvPr id="0" name=""/>
        <dsp:cNvSpPr/>
      </dsp:nvSpPr>
      <dsp:spPr>
        <a:xfrm>
          <a:off x="5113198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5113198" y="2363874"/>
        <a:ext cx="194564" cy="195088"/>
      </dsp:txXfrm>
    </dsp:sp>
    <dsp:sp modelId="{7C6D2499-8755-4305-B8E3-2D3180E167D9}">
      <dsp:nvSpPr>
        <dsp:cNvPr id="0" name=""/>
        <dsp:cNvSpPr/>
      </dsp:nvSpPr>
      <dsp:spPr>
        <a:xfrm>
          <a:off x="5506521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Feature Engineering</a:t>
          </a:r>
        </a:p>
      </dsp:txBody>
      <dsp:txXfrm>
        <a:off x="5532801" y="2039064"/>
        <a:ext cx="1258516" cy="844707"/>
      </dsp:txXfrm>
    </dsp:sp>
    <dsp:sp modelId="{F9E084F4-ADCD-41AD-A72D-06232DA60512}">
      <dsp:nvSpPr>
        <dsp:cNvPr id="0" name=""/>
        <dsp:cNvSpPr/>
      </dsp:nvSpPr>
      <dsp:spPr>
        <a:xfrm>
          <a:off x="6948705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6948705" y="2363874"/>
        <a:ext cx="194564" cy="195088"/>
      </dsp:txXfrm>
    </dsp:sp>
    <dsp:sp modelId="{DD8DC33A-9539-4BE1-8691-225ACD934B35}">
      <dsp:nvSpPr>
        <dsp:cNvPr id="0" name=""/>
        <dsp:cNvSpPr/>
      </dsp:nvSpPr>
      <dsp:spPr>
        <a:xfrm>
          <a:off x="7342028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Feature &amp; Model </a:t>
          </a:r>
          <a:r>
            <a:rPr lang="de-DE" sz="1600" kern="1200" dirty="0" err="1"/>
            <a:t>Selection</a:t>
          </a:r>
          <a:endParaRPr lang="de-DE" sz="1600" kern="1200" dirty="0"/>
        </a:p>
      </dsp:txBody>
      <dsp:txXfrm>
        <a:off x="7368308" y="2039064"/>
        <a:ext cx="1258516" cy="844707"/>
      </dsp:txXfrm>
    </dsp:sp>
    <dsp:sp modelId="{C9E66E37-47CE-4730-AC14-539B3894809F}">
      <dsp:nvSpPr>
        <dsp:cNvPr id="0" name=""/>
        <dsp:cNvSpPr/>
      </dsp:nvSpPr>
      <dsp:spPr>
        <a:xfrm>
          <a:off x="8784212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8784212" y="2363874"/>
        <a:ext cx="194564" cy="195088"/>
      </dsp:txXfrm>
    </dsp:sp>
    <dsp:sp modelId="{EA79DFE0-6BEF-4481-B8CB-0FD12FE71922}">
      <dsp:nvSpPr>
        <dsp:cNvPr id="0" name=""/>
        <dsp:cNvSpPr/>
      </dsp:nvSpPr>
      <dsp:spPr>
        <a:xfrm>
          <a:off x="9177535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Model Explanation</a:t>
          </a:r>
        </a:p>
      </dsp:txBody>
      <dsp:txXfrm>
        <a:off x="9203815" y="2039064"/>
        <a:ext cx="1258516" cy="8447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79586B-091B-4D39-95BE-1FA26B0E086B}">
      <dsp:nvSpPr>
        <dsp:cNvPr id="0" name=""/>
        <dsp:cNvSpPr/>
      </dsp:nvSpPr>
      <dsp:spPr>
        <a:xfrm>
          <a:off x="0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ta Ingestion &amp; </a:t>
          </a:r>
          <a:r>
            <a:rPr lang="de-DE" sz="1600" kern="1200" dirty="0" err="1"/>
            <a:t>Preparation</a:t>
          </a:r>
          <a:endParaRPr lang="de-DE" sz="1600" kern="1200" dirty="0"/>
        </a:p>
      </dsp:txBody>
      <dsp:txXfrm>
        <a:off x="26280" y="2039064"/>
        <a:ext cx="1258516" cy="844707"/>
      </dsp:txXfrm>
    </dsp:sp>
    <dsp:sp modelId="{3EF853FC-4C64-40E2-9552-67FEE298B638}">
      <dsp:nvSpPr>
        <dsp:cNvPr id="0" name=""/>
        <dsp:cNvSpPr/>
      </dsp:nvSpPr>
      <dsp:spPr>
        <a:xfrm>
          <a:off x="1442184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1442184" y="2363874"/>
        <a:ext cx="194564" cy="195088"/>
      </dsp:txXfrm>
    </dsp:sp>
    <dsp:sp modelId="{5E33CFBF-472E-459C-B1EF-8712CAF6377A}">
      <dsp:nvSpPr>
        <dsp:cNvPr id="0" name=""/>
        <dsp:cNvSpPr/>
      </dsp:nvSpPr>
      <dsp:spPr>
        <a:xfrm>
          <a:off x="1835507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ta </a:t>
          </a:r>
          <a:r>
            <a:rPr lang="de-DE" sz="1600" kern="1200" dirty="0" err="1"/>
            <a:t>Inspection</a:t>
          </a:r>
          <a:endParaRPr lang="de-DE" sz="1600" kern="1200" dirty="0"/>
        </a:p>
      </dsp:txBody>
      <dsp:txXfrm>
        <a:off x="1861787" y="2039064"/>
        <a:ext cx="1258516" cy="844707"/>
      </dsp:txXfrm>
    </dsp:sp>
    <dsp:sp modelId="{839E21A6-EDAC-4601-AB31-645D675BA1A8}">
      <dsp:nvSpPr>
        <dsp:cNvPr id="0" name=""/>
        <dsp:cNvSpPr/>
      </dsp:nvSpPr>
      <dsp:spPr>
        <a:xfrm>
          <a:off x="3277691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3277691" y="2363874"/>
        <a:ext cx="194564" cy="195088"/>
      </dsp:txXfrm>
    </dsp:sp>
    <dsp:sp modelId="{E104ED30-4EE4-48C1-B186-E6270F9E7C5C}">
      <dsp:nvSpPr>
        <dsp:cNvPr id="0" name=""/>
        <dsp:cNvSpPr/>
      </dsp:nvSpPr>
      <dsp:spPr>
        <a:xfrm>
          <a:off x="3671014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Data </a:t>
          </a:r>
          <a:r>
            <a:rPr lang="de-DE" sz="1600" kern="1200" dirty="0" err="1"/>
            <a:t>Cleaning</a:t>
          </a:r>
          <a:endParaRPr lang="de-DE" sz="1600" kern="1200" dirty="0"/>
        </a:p>
      </dsp:txBody>
      <dsp:txXfrm>
        <a:off x="3697294" y="2039064"/>
        <a:ext cx="1258516" cy="844707"/>
      </dsp:txXfrm>
    </dsp:sp>
    <dsp:sp modelId="{E5906048-27D1-4F01-BA91-A72A87AECF1F}">
      <dsp:nvSpPr>
        <dsp:cNvPr id="0" name=""/>
        <dsp:cNvSpPr/>
      </dsp:nvSpPr>
      <dsp:spPr>
        <a:xfrm>
          <a:off x="5113198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5113198" y="2363874"/>
        <a:ext cx="194564" cy="195088"/>
      </dsp:txXfrm>
    </dsp:sp>
    <dsp:sp modelId="{7C6D2499-8755-4305-B8E3-2D3180E167D9}">
      <dsp:nvSpPr>
        <dsp:cNvPr id="0" name=""/>
        <dsp:cNvSpPr/>
      </dsp:nvSpPr>
      <dsp:spPr>
        <a:xfrm>
          <a:off x="5506521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Feature Engineering</a:t>
          </a:r>
        </a:p>
      </dsp:txBody>
      <dsp:txXfrm>
        <a:off x="5532801" y="2039064"/>
        <a:ext cx="1258516" cy="844707"/>
      </dsp:txXfrm>
    </dsp:sp>
    <dsp:sp modelId="{F9E084F4-ADCD-41AD-A72D-06232DA60512}">
      <dsp:nvSpPr>
        <dsp:cNvPr id="0" name=""/>
        <dsp:cNvSpPr/>
      </dsp:nvSpPr>
      <dsp:spPr>
        <a:xfrm>
          <a:off x="6948705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6948705" y="2363874"/>
        <a:ext cx="194564" cy="195088"/>
      </dsp:txXfrm>
    </dsp:sp>
    <dsp:sp modelId="{DD8DC33A-9539-4BE1-8691-225ACD934B35}">
      <dsp:nvSpPr>
        <dsp:cNvPr id="0" name=""/>
        <dsp:cNvSpPr/>
      </dsp:nvSpPr>
      <dsp:spPr>
        <a:xfrm>
          <a:off x="7342028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Feature &amp; Model </a:t>
          </a:r>
          <a:r>
            <a:rPr lang="de-DE" sz="1600" kern="1200" dirty="0" err="1"/>
            <a:t>Selection</a:t>
          </a:r>
          <a:endParaRPr lang="de-DE" sz="1600" kern="1200" dirty="0"/>
        </a:p>
      </dsp:txBody>
      <dsp:txXfrm>
        <a:off x="7368308" y="2039064"/>
        <a:ext cx="1258516" cy="844707"/>
      </dsp:txXfrm>
    </dsp:sp>
    <dsp:sp modelId="{C9E66E37-47CE-4730-AC14-539B3894809F}">
      <dsp:nvSpPr>
        <dsp:cNvPr id="0" name=""/>
        <dsp:cNvSpPr/>
      </dsp:nvSpPr>
      <dsp:spPr>
        <a:xfrm>
          <a:off x="8784212" y="2298845"/>
          <a:ext cx="277948" cy="3251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300" kern="1200"/>
        </a:p>
      </dsp:txBody>
      <dsp:txXfrm>
        <a:off x="8784212" y="2363874"/>
        <a:ext cx="194564" cy="195088"/>
      </dsp:txXfrm>
    </dsp:sp>
    <dsp:sp modelId="{EA79DFE0-6BEF-4481-B8CB-0FD12FE71922}">
      <dsp:nvSpPr>
        <dsp:cNvPr id="0" name=""/>
        <dsp:cNvSpPr/>
      </dsp:nvSpPr>
      <dsp:spPr>
        <a:xfrm>
          <a:off x="9177535" y="2012784"/>
          <a:ext cx="1311076" cy="89726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Model Explanation</a:t>
          </a:r>
        </a:p>
      </dsp:txBody>
      <dsp:txXfrm>
        <a:off x="9203815" y="2039064"/>
        <a:ext cx="1258516" cy="84470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B4628D-16F1-4667-9C18-106DD0638C4E}">
      <dsp:nvSpPr>
        <dsp:cNvPr id="0" name=""/>
        <dsp:cNvSpPr/>
      </dsp:nvSpPr>
      <dsp:spPr>
        <a:xfrm>
          <a:off x="667" y="2047332"/>
          <a:ext cx="839385" cy="483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Code Development</a:t>
          </a:r>
        </a:p>
      </dsp:txBody>
      <dsp:txXfrm>
        <a:off x="667" y="2047332"/>
        <a:ext cx="839385" cy="322584"/>
      </dsp:txXfrm>
    </dsp:sp>
    <dsp:sp modelId="{3FBEFBE9-8DCE-4536-A9C6-62DFFBBEB738}">
      <dsp:nvSpPr>
        <dsp:cNvPr id="0" name=""/>
        <dsp:cNvSpPr/>
      </dsp:nvSpPr>
      <dsp:spPr>
        <a:xfrm>
          <a:off x="172590" y="2369917"/>
          <a:ext cx="839385" cy="504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800" kern="1200" dirty="0"/>
            <a:t>Manual </a:t>
          </a:r>
          <a:r>
            <a:rPr lang="de-DE" sz="800" kern="1200" dirty="0" err="1"/>
            <a:t>Testing</a:t>
          </a:r>
          <a:endParaRPr lang="de-DE" sz="800" kern="1200" dirty="0"/>
        </a:p>
      </dsp:txBody>
      <dsp:txXfrm>
        <a:off x="187352" y="2384679"/>
        <a:ext cx="809861" cy="474476"/>
      </dsp:txXfrm>
    </dsp:sp>
    <dsp:sp modelId="{806471D2-5B98-49FE-8159-7D821119A9B3}">
      <dsp:nvSpPr>
        <dsp:cNvPr id="0" name=""/>
        <dsp:cNvSpPr/>
      </dsp:nvSpPr>
      <dsp:spPr>
        <a:xfrm>
          <a:off x="967301" y="2104133"/>
          <a:ext cx="269765" cy="20898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 dirty="0"/>
        </a:p>
      </dsp:txBody>
      <dsp:txXfrm>
        <a:off x="967301" y="2145929"/>
        <a:ext cx="207070" cy="125390"/>
      </dsp:txXfrm>
    </dsp:sp>
    <dsp:sp modelId="{32C3A640-8B7B-4DBA-A4D8-CFC1F930C78A}">
      <dsp:nvSpPr>
        <dsp:cNvPr id="0" name=""/>
        <dsp:cNvSpPr/>
      </dsp:nvSpPr>
      <dsp:spPr>
        <a:xfrm>
          <a:off x="1349044" y="2047332"/>
          <a:ext cx="839385" cy="483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/>
            <a:t>Code </a:t>
          </a:r>
          <a:r>
            <a:rPr lang="de-DE" sz="800" kern="1200" dirty="0" err="1"/>
            <a:t>Build</a:t>
          </a:r>
          <a:endParaRPr lang="de-DE" sz="800" kern="1200" dirty="0"/>
        </a:p>
      </dsp:txBody>
      <dsp:txXfrm>
        <a:off x="1349044" y="2047332"/>
        <a:ext cx="839385" cy="322584"/>
      </dsp:txXfrm>
    </dsp:sp>
    <dsp:sp modelId="{CEC714B3-76DB-4DF8-BBAA-07FC04EC22EE}">
      <dsp:nvSpPr>
        <dsp:cNvPr id="0" name=""/>
        <dsp:cNvSpPr/>
      </dsp:nvSpPr>
      <dsp:spPr>
        <a:xfrm>
          <a:off x="1520967" y="2369917"/>
          <a:ext cx="839385" cy="504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800" kern="1200" dirty="0" err="1"/>
            <a:t>Automated</a:t>
          </a:r>
          <a:r>
            <a:rPr lang="de-DE" sz="800" kern="1200" dirty="0"/>
            <a:t> Unit </a:t>
          </a:r>
          <a:r>
            <a:rPr lang="de-DE" sz="800" kern="1200" dirty="0" err="1"/>
            <a:t>Testing</a:t>
          </a:r>
          <a:endParaRPr lang="de-DE" sz="800" kern="1200" dirty="0"/>
        </a:p>
      </dsp:txBody>
      <dsp:txXfrm>
        <a:off x="1535729" y="2384679"/>
        <a:ext cx="809861" cy="474476"/>
      </dsp:txXfrm>
    </dsp:sp>
    <dsp:sp modelId="{E96C8840-EF0D-4E58-AFD2-74BEFCF915D9}">
      <dsp:nvSpPr>
        <dsp:cNvPr id="0" name=""/>
        <dsp:cNvSpPr/>
      </dsp:nvSpPr>
      <dsp:spPr>
        <a:xfrm>
          <a:off x="2315678" y="2104133"/>
          <a:ext cx="269765" cy="20898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2315678" y="2145929"/>
        <a:ext cx="207070" cy="125390"/>
      </dsp:txXfrm>
    </dsp:sp>
    <dsp:sp modelId="{52D2DBBE-87B8-4DCA-8B2D-DB415C699A68}">
      <dsp:nvSpPr>
        <dsp:cNvPr id="0" name=""/>
        <dsp:cNvSpPr/>
      </dsp:nvSpPr>
      <dsp:spPr>
        <a:xfrm>
          <a:off x="2697421" y="2047332"/>
          <a:ext cx="839385" cy="483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 err="1"/>
            <a:t>Deployment</a:t>
          </a:r>
          <a:r>
            <a:rPr lang="de-DE" sz="800" kern="1200" dirty="0"/>
            <a:t> on QA</a:t>
          </a:r>
        </a:p>
      </dsp:txBody>
      <dsp:txXfrm>
        <a:off x="2697421" y="2047332"/>
        <a:ext cx="839385" cy="322584"/>
      </dsp:txXfrm>
    </dsp:sp>
    <dsp:sp modelId="{156C07D1-C2CF-43C5-BE27-6E6B302424F8}">
      <dsp:nvSpPr>
        <dsp:cNvPr id="0" name=""/>
        <dsp:cNvSpPr/>
      </dsp:nvSpPr>
      <dsp:spPr>
        <a:xfrm>
          <a:off x="2892687" y="2369917"/>
          <a:ext cx="839385" cy="504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800" kern="1200" dirty="0"/>
            <a:t>Integration </a:t>
          </a:r>
          <a:r>
            <a:rPr lang="de-DE" sz="800" kern="1200" dirty="0" err="1"/>
            <a:t>Testing</a:t>
          </a:r>
          <a:endParaRPr lang="de-DE" sz="800" kern="1200" dirty="0"/>
        </a:p>
      </dsp:txBody>
      <dsp:txXfrm>
        <a:off x="2907449" y="2384679"/>
        <a:ext cx="809861" cy="474476"/>
      </dsp:txXfrm>
    </dsp:sp>
    <dsp:sp modelId="{157C804D-9FB9-49AF-9242-26E1EFA4C6D0}">
      <dsp:nvSpPr>
        <dsp:cNvPr id="0" name=""/>
        <dsp:cNvSpPr/>
      </dsp:nvSpPr>
      <dsp:spPr>
        <a:xfrm>
          <a:off x="3664055" y="2104133"/>
          <a:ext cx="269765" cy="208982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600" kern="1200"/>
        </a:p>
      </dsp:txBody>
      <dsp:txXfrm>
        <a:off x="3664055" y="2145929"/>
        <a:ext cx="207070" cy="125390"/>
      </dsp:txXfrm>
    </dsp:sp>
    <dsp:sp modelId="{E5E9DD41-B1C2-4C93-8974-580E959A7EE5}">
      <dsp:nvSpPr>
        <dsp:cNvPr id="0" name=""/>
        <dsp:cNvSpPr/>
      </dsp:nvSpPr>
      <dsp:spPr>
        <a:xfrm>
          <a:off x="4045798" y="2047332"/>
          <a:ext cx="839385" cy="48387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896" tIns="56896" rIns="56896" bIns="30480" numCol="1" spcCol="1270" anchor="t" anchorCtr="0">
          <a:noAutofit/>
        </a:bodyPr>
        <a:lstStyle/>
        <a:p>
          <a:pPr marL="0" lvl="0" indent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800" kern="1200" dirty="0" err="1"/>
            <a:t>Deployment</a:t>
          </a:r>
          <a:r>
            <a:rPr lang="de-DE" sz="800" kern="1200" dirty="0"/>
            <a:t> on </a:t>
          </a:r>
          <a:r>
            <a:rPr lang="de-DE" sz="800" kern="1200" dirty="0" err="1"/>
            <a:t>Production</a:t>
          </a:r>
          <a:endParaRPr lang="de-DE" sz="800" kern="1200" dirty="0"/>
        </a:p>
      </dsp:txBody>
      <dsp:txXfrm>
        <a:off x="4045798" y="2047332"/>
        <a:ext cx="839385" cy="322584"/>
      </dsp:txXfrm>
    </dsp:sp>
    <dsp:sp modelId="{4351079B-2AC7-495F-9CF7-F396ECC61F4E}">
      <dsp:nvSpPr>
        <dsp:cNvPr id="0" name=""/>
        <dsp:cNvSpPr/>
      </dsp:nvSpPr>
      <dsp:spPr>
        <a:xfrm>
          <a:off x="4217721" y="2369917"/>
          <a:ext cx="839385" cy="50400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6896" tIns="56896" rIns="56896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800" kern="1200" dirty="0"/>
            <a:t>Live </a:t>
          </a:r>
          <a:r>
            <a:rPr lang="de-DE" sz="800" kern="1200" dirty="0" err="1"/>
            <a:t>available</a:t>
          </a:r>
          <a:r>
            <a:rPr lang="de-DE" sz="800" kern="1200" dirty="0"/>
            <a:t> </a:t>
          </a:r>
          <a:r>
            <a:rPr lang="de-DE" sz="800" kern="1200" dirty="0" err="1"/>
            <a:t>through</a:t>
          </a:r>
          <a:r>
            <a:rPr lang="de-DE" sz="800" kern="1200" dirty="0"/>
            <a:t> REST APIs</a:t>
          </a:r>
        </a:p>
      </dsp:txBody>
      <dsp:txXfrm>
        <a:off x="4232483" y="2384679"/>
        <a:ext cx="809861" cy="4744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9DD6AA-DA07-4B49-84C4-DD15DC5E0A8E}" type="datetimeFigureOut">
              <a:rPr lang="en-GB" smtClean="0">
                <a:latin typeface="ING Me" pitchFamily="2" charset="0"/>
              </a:rPr>
              <a:t>26/02/2018</a:t>
            </a:fld>
            <a:endParaRPr lang="en-GB">
              <a:latin typeface="ING Me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>
              <a:latin typeface="ING M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732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-1" y="0"/>
            <a:ext cx="5651999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78000" y="0"/>
            <a:ext cx="1080000" cy="3240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</a:defRPr>
            </a:lvl1pPr>
          </a:lstStyle>
          <a:p>
            <a:fld id="{B6962210-35F6-42EB-A3B8-FCE6E13B30BA}" type="datetimeFigureOut">
              <a:rPr lang="en-GB" smtClean="0"/>
              <a:pPr/>
              <a:t>26/02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3943349"/>
            <a:ext cx="5486400" cy="474186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-1" y="8856661"/>
            <a:ext cx="5652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000">
                <a:latin typeface="+mn-lt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78000" y="8856661"/>
            <a:ext cx="1080000" cy="252000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r">
              <a:defRPr sz="1000">
                <a:latin typeface="+mn-lt"/>
              </a:defRPr>
            </a:lvl1pPr>
          </a:lstStyle>
          <a:p>
            <a:fld id="{E762DFE1-544E-4AD0-8AE2-9ADF9877B110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83378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10000"/>
      </a:lnSpc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174625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2pPr>
    <a:lvl3pPr marL="360363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3pPr>
    <a:lvl4pPr marL="53498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4pPr>
    <a:lvl5pPr marL="719138" indent="-174625" algn="l" defTabSz="914400" rtl="0" eaLnBrk="1" latinLnBrk="0" hangingPunct="1">
      <a:lnSpc>
        <a:spcPct val="110000"/>
      </a:lnSpc>
      <a:buFont typeface="ING Me" pitchFamily="2" charset="0"/>
      <a:buChar char="•"/>
      <a:defRPr sz="1000" kern="1200">
        <a:solidFill>
          <a:schemeClr val="tx1"/>
        </a:solidFill>
        <a:latin typeface="ING Me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43261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HDFS‘s</a:t>
            </a:r>
            <a:r>
              <a:rPr lang="de-DE" dirty="0"/>
              <a:t> </a:t>
            </a:r>
            <a:r>
              <a:rPr lang="de-DE" dirty="0" err="1"/>
              <a:t>inherent</a:t>
            </a:r>
            <a:r>
              <a:rPr lang="de-DE" dirty="0"/>
              <a:t> </a:t>
            </a:r>
            <a:r>
              <a:rPr lang="de-DE" dirty="0" err="1"/>
              <a:t>abilit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dentify</a:t>
            </a:r>
            <a:r>
              <a:rPr lang="de-DE" dirty="0"/>
              <a:t> all </a:t>
            </a:r>
            <a:r>
              <a:rPr lang="de-DE" dirty="0" err="1"/>
              <a:t>files</a:t>
            </a:r>
            <a:r>
              <a:rPr lang="de-DE" dirty="0"/>
              <a:t> </a:t>
            </a:r>
            <a:r>
              <a:rPr lang="de-DE" dirty="0" err="1"/>
              <a:t>under</a:t>
            </a:r>
            <a:r>
              <a:rPr lang="de-DE" dirty="0"/>
              <a:t> a </a:t>
            </a:r>
            <a:r>
              <a:rPr lang="de-DE" dirty="0" err="1"/>
              <a:t>certasin</a:t>
            </a:r>
            <a:r>
              <a:rPr lang="de-DE" dirty="0"/>
              <a:t> </a:t>
            </a:r>
            <a:r>
              <a:rPr lang="de-DE" dirty="0" err="1"/>
              <a:t>fold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belonging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ertain</a:t>
            </a:r>
            <a:r>
              <a:rPr lang="de-DE" dirty="0"/>
              <a:t> </a:t>
            </a:r>
            <a:r>
              <a:rPr lang="de-DE" dirty="0" err="1"/>
              <a:t>schema</a:t>
            </a:r>
            <a:r>
              <a:rPr lang="de-DE" dirty="0"/>
              <a:t> </a:t>
            </a:r>
            <a:r>
              <a:rPr lang="de-DE" dirty="0" err="1"/>
              <a:t>helps</a:t>
            </a:r>
            <a:r>
              <a:rPr lang="de-DE" dirty="0"/>
              <a:t> </a:t>
            </a:r>
            <a:r>
              <a:rPr lang="de-DE" dirty="0" err="1"/>
              <a:t>us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. </a:t>
            </a:r>
          </a:p>
          <a:p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on‘t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ssembl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unk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.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6350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68616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r>
              <a:rPr lang="en-GB" sz="900" dirty="0">
                <a:latin typeface="ING Me" pitchFamily="2" charset="0"/>
              </a:rPr>
              <a:t>Move to CI/CD – no need for manual hacks anymore</a:t>
            </a:r>
            <a:endParaRPr lang="de-DE" sz="900" dirty="0">
              <a:latin typeface="ING Me" pitchFamily="2" charset="0"/>
            </a:endParaRPr>
          </a:p>
          <a:p>
            <a:pPr lvl="1"/>
            <a:r>
              <a:rPr lang="en-GB" sz="900" dirty="0">
                <a:latin typeface="ING Me" pitchFamily="2" charset="0"/>
              </a:rPr>
              <a:t>Better test coverage</a:t>
            </a:r>
          </a:p>
          <a:p>
            <a:pPr lvl="1"/>
            <a:r>
              <a:rPr lang="en-GB" sz="900" dirty="0">
                <a:latin typeface="ING Me" pitchFamily="2" charset="0"/>
              </a:rPr>
              <a:t>Integration tests</a:t>
            </a:r>
            <a:endParaRPr lang="de-DE" sz="900" dirty="0">
              <a:latin typeface="ING Me" pitchFamily="2" charset="0"/>
            </a:endParaRPr>
          </a:p>
          <a:p>
            <a:pPr lvl="1"/>
            <a:r>
              <a:rPr lang="en-GB" sz="900" dirty="0">
                <a:latin typeface="ING Me" pitchFamily="2" charset="0"/>
              </a:rPr>
              <a:t>Find ways to test Puppet / infra code</a:t>
            </a:r>
            <a:endParaRPr lang="de-DE" sz="900" dirty="0">
              <a:latin typeface="ING Me" pitchFamily="2" charset="0"/>
            </a:endParaRPr>
          </a:p>
          <a:p>
            <a:pPr lvl="1"/>
            <a:r>
              <a:rPr lang="en-GB" sz="900" dirty="0">
                <a:latin typeface="ING Me" pitchFamily="2" charset="0"/>
              </a:rPr>
              <a:t>Container technologies for easier and fully flexible deployment of tools</a:t>
            </a:r>
          </a:p>
          <a:p>
            <a:pPr lvl="1"/>
            <a:r>
              <a:rPr lang="en-GB" sz="900" dirty="0">
                <a:latin typeface="ING Me" pitchFamily="2" charset="0"/>
              </a:rPr>
              <a:t>Post deployment extensive tests</a:t>
            </a:r>
          </a:p>
          <a:p>
            <a:pPr lvl="1"/>
            <a:r>
              <a:rPr lang="en-GB" sz="900" dirty="0">
                <a:latin typeface="ING Me" pitchFamily="2" charset="0"/>
              </a:rPr>
              <a:t>Applying Six Sigma principles in the product development</a:t>
            </a:r>
            <a:endParaRPr lang="de-DE" sz="900" dirty="0">
              <a:latin typeface="ING Me" pitchFamily="2" charset="0"/>
            </a:endParaRPr>
          </a:p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017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07227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Earlier this year, Global Finance Magazine recognised what we’ve always known: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ING is the ‘Best Bank in the World’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at’s fantastic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F0000"/>
                </a:solidFill>
              </a:rPr>
              <a:t>To celebrate, from head-office in Amsterdam we sent one of these replica awards [hold up ‘tombstone’] to each ING country head-office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F0000"/>
                </a:solidFill>
              </a:rPr>
              <a:t>And special for Poland, this week a box arrived here with one of these awards for every one of the nearly 300 ING Bank </a:t>
            </a:r>
            <a:r>
              <a:rPr lang="en-GB" dirty="0" err="1">
                <a:solidFill>
                  <a:srgbClr val="FF0000"/>
                </a:solidFill>
              </a:rPr>
              <a:t>Śląski</a:t>
            </a:r>
            <a:r>
              <a:rPr lang="en-GB" dirty="0">
                <a:solidFill>
                  <a:srgbClr val="FF0000"/>
                </a:solidFill>
              </a:rPr>
              <a:t> branches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FF0000"/>
                </a:solidFill>
              </a:rPr>
              <a:t>This award is a fantastic achievement, and one we can all be really proud of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 question now is: how hungry are we to stay on top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5392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4027" indent="-164027">
              <a:buFont typeface="Arial" panose="020B0604020202020204" pitchFamily="34" charset="0"/>
              <a:buChar char="•"/>
            </a:pPr>
            <a:r>
              <a:rPr lang="en-US" dirty="0"/>
              <a:t>That’s our new competitive reality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US" dirty="0"/>
              <a:t>What about the reality of our customer’s expectations?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 first thing to recognise is that their expectations for what is possible and reasonable are not set by us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y are set by the Googles, Amazons, </a:t>
            </a:r>
            <a:r>
              <a:rPr lang="en-GB" dirty="0" err="1"/>
              <a:t>Netflixes</a:t>
            </a:r>
            <a:r>
              <a:rPr lang="en-GB" dirty="0"/>
              <a:t> and </a:t>
            </a:r>
            <a:r>
              <a:rPr lang="en-GB" dirty="0" err="1"/>
              <a:t>Ubers</a:t>
            </a:r>
            <a:r>
              <a:rPr lang="en-GB" dirty="0"/>
              <a:t> of this world…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… who have taught people to expect it all from their digital interactions: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Personal, Instant, Relevant and Seamle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8026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4027" indent="-164027">
              <a:buFont typeface="Arial" panose="020B0604020202020204" pitchFamily="34" charset="0"/>
              <a:buChar char="•"/>
            </a:pPr>
            <a:r>
              <a:rPr lang="en-US" dirty="0"/>
              <a:t>For a long time already, smartphones have been our starting point for just about everything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US" dirty="0"/>
              <a:t>We call them a ‘phone’ but we’re hardly using them to call anymore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US" dirty="0"/>
              <a:t>Instead, these pocket-supercomputers are the gateway between the physical world and the digital world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endParaRPr lang="en-GB" dirty="0"/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What’s changed recently is the amount of time we spend on digital platforms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Whether it’s somewhere to go, somewhere to stay, somewhere to eat, someone to meet, someone to love or something to distract us…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… if it can be found on a platform then there’s an approximately 100% chance that this is where we will now be looking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8019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 first thing we need to recognise is that what made us relevant yesterday won’t necessarily guarantee our success tomorrow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Four years ago, before launching Think Forward, customers told us they need banking but not necessarily banks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at’s as true now as it was the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93437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Finding new ways to be relevant increases the number and frequency of interactions our customers have with us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 more often they interact, the more data we collect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 more data we collect, the better we understand their needs and expectations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The better we understand their needs and expectations, the better we can make the experience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And the better the experience, the more they do with us, as primary customers.</a:t>
            </a:r>
          </a:p>
          <a:p>
            <a:pPr marL="164027" indent="-164027">
              <a:buFont typeface="Arial" panose="020B0604020202020204" pitchFamily="34" charset="0"/>
              <a:buChar char="•"/>
            </a:pPr>
            <a:r>
              <a:rPr lang="en-GB" dirty="0"/>
              <a:t>And so the virtuous circle grow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310902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0861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end</a:t>
            </a:r>
            <a:r>
              <a:rPr lang="en-US" baseline="0" dirty="0"/>
              <a:t> 30 seconds on that slide</a:t>
            </a:r>
            <a:endParaRPr lang="en-US" dirty="0"/>
          </a:p>
          <a:p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Courtesy of Dataconomy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ACBBBC85-2E49-43F2-9C50-4F800CB0F8C1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8321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take-aways</a:t>
            </a:r>
            <a:r>
              <a:rPr lang="de-DE" dirty="0"/>
              <a:t>:</a:t>
            </a:r>
          </a:p>
          <a:p>
            <a:endParaRPr lang="de-DE" dirty="0"/>
          </a:p>
          <a:p>
            <a:r>
              <a:rPr lang="de-DE" dirty="0"/>
              <a:t>Separa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ccess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backend </a:t>
            </a:r>
            <a:r>
              <a:rPr lang="de-DE" dirty="0" err="1"/>
              <a:t>cluster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. Not </a:t>
            </a:r>
            <a:r>
              <a:rPr lang="de-DE" dirty="0" err="1"/>
              <a:t>only</a:t>
            </a:r>
            <a:r>
              <a:rPr lang="de-DE" dirty="0"/>
              <a:t> for </a:t>
            </a:r>
            <a:r>
              <a:rPr lang="de-DE" dirty="0" err="1"/>
              <a:t>security</a:t>
            </a:r>
            <a:r>
              <a:rPr lang="de-DE" dirty="0"/>
              <a:t> </a:t>
            </a:r>
            <a:r>
              <a:rPr lang="de-DE" dirty="0" err="1"/>
              <a:t>reasons</a:t>
            </a:r>
            <a:r>
              <a:rPr lang="de-DE" dirty="0"/>
              <a:t> but also for </a:t>
            </a:r>
            <a:r>
              <a:rPr lang="de-DE" dirty="0" err="1"/>
              <a:t>better</a:t>
            </a:r>
            <a:r>
              <a:rPr lang="de-DE" dirty="0"/>
              <a:t> </a:t>
            </a:r>
            <a:r>
              <a:rPr lang="de-DE" dirty="0" err="1"/>
              <a:t>concerns</a:t>
            </a:r>
            <a:r>
              <a:rPr lang="de-DE" dirty="0"/>
              <a:t> </a:t>
            </a:r>
            <a:r>
              <a:rPr lang="de-DE" dirty="0" err="1"/>
              <a:t>isolation</a:t>
            </a:r>
            <a:r>
              <a:rPr lang="de-DE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8174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5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6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1"/>
            <a:ext cx="2196000" cy="1318571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/>
              <a:t>Max.</a:t>
            </a:r>
            <a:r>
              <a:rPr lang="en-GB" sz="1000" baseline="0"/>
              <a:t> width</a:t>
            </a:r>
            <a:endParaRPr lang="en-GB" sz="100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/>
              <a:t>Min.</a:t>
            </a:r>
            <a:r>
              <a:rPr lang="en-GB" sz="1000" baseline="0"/>
              <a:t> height</a:t>
            </a:r>
            <a:endParaRPr lang="en-GB" sz="100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/>
              <a:t>Max.</a:t>
            </a:r>
            <a:r>
              <a:rPr lang="en-GB" sz="1000" baseline="0"/>
              <a:t> height</a:t>
            </a:r>
            <a:endParaRPr lang="en-GB" sz="1000"/>
          </a:p>
        </p:txBody>
      </p:sp>
      <p:grpSp>
        <p:nvGrpSpPr>
          <p:cNvPr id="53" name="Group 52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4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58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60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62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64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5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67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9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0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71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2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73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4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686825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" name="Group 73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75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75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9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2" name="Group 4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4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4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5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5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5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74906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40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5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7" name="Picture 3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3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4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102959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 Alt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oup 78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80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80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30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88369" cy="287825"/>
          </a:xfrm>
          <a:prstGeom prst="rect">
            <a:avLst/>
          </a:prstGeom>
        </p:spPr>
      </p:pic>
      <p:grpSp>
        <p:nvGrpSpPr>
          <p:cNvPr id="48" name="Group 4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5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5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sp>
        <p:nvSpPr>
          <p:cNvPr id="70" name="Picture Placeholder 69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1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2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4698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>
            <a:spLocks noChangeAspect="1"/>
          </p:cNvSpPr>
          <p:nvPr userDrawn="1"/>
        </p:nvSpPr>
        <p:spPr bwMode="gray">
          <a:xfrm>
            <a:off x="696912" y="1201146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50"/>
            <a:ext cx="10489176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8773173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 Picture Righ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/>
          <p:cNvSpPr>
            <a:spLocks noChangeAspect="1"/>
          </p:cNvSpPr>
          <p:nvPr userDrawn="1"/>
        </p:nvSpPr>
        <p:spPr bwMode="gray">
          <a:xfrm>
            <a:off x="696912" y="1201146"/>
            <a:ext cx="11199600" cy="4999653"/>
          </a:xfrm>
          <a:custGeom>
            <a:avLst/>
            <a:gdLst>
              <a:gd name="connsiteX0" fmla="*/ 95997 w 11199600"/>
              <a:gd name="connsiteY0" fmla="*/ 0 h 4999653"/>
              <a:gd name="connsiteX1" fmla="*/ 11103603 w 11199600"/>
              <a:gd name="connsiteY1" fmla="*/ 0 h 4999653"/>
              <a:gd name="connsiteX2" fmla="*/ 11199600 w 11199600"/>
              <a:gd name="connsiteY2" fmla="*/ 96110 h 4999653"/>
              <a:gd name="connsiteX3" fmla="*/ 11199600 w 11199600"/>
              <a:gd name="connsiteY3" fmla="*/ 335165 h 4999653"/>
              <a:gd name="connsiteX4" fmla="*/ 11199600 w 11199600"/>
              <a:gd name="connsiteY4" fmla="*/ 370350 h 4999653"/>
              <a:gd name="connsiteX5" fmla="*/ 11199600 w 11199600"/>
              <a:gd name="connsiteY5" fmla="*/ 379204 h 4999653"/>
              <a:gd name="connsiteX6" fmla="*/ 11199600 w 11199600"/>
              <a:gd name="connsiteY6" fmla="*/ 400048 h 4999653"/>
              <a:gd name="connsiteX7" fmla="*/ 11199600 w 11199600"/>
              <a:gd name="connsiteY7" fmla="*/ 400232 h 4999653"/>
              <a:gd name="connsiteX8" fmla="*/ 11199600 w 11199600"/>
              <a:gd name="connsiteY8" fmla="*/ 471202 h 4999653"/>
              <a:gd name="connsiteX9" fmla="*/ 11199600 w 11199600"/>
              <a:gd name="connsiteY9" fmla="*/ 475721 h 4999653"/>
              <a:gd name="connsiteX10" fmla="*/ 11199600 w 11199600"/>
              <a:gd name="connsiteY10" fmla="*/ 508692 h 4999653"/>
              <a:gd name="connsiteX11" fmla="*/ 11199600 w 11199600"/>
              <a:gd name="connsiteY11" fmla="*/ 554484 h 4999653"/>
              <a:gd name="connsiteX12" fmla="*/ 11199600 w 11199600"/>
              <a:gd name="connsiteY12" fmla="*/ 563015 h 4999653"/>
              <a:gd name="connsiteX13" fmla="*/ 11199600 w 11199600"/>
              <a:gd name="connsiteY13" fmla="*/ 609405 h 4999653"/>
              <a:gd name="connsiteX14" fmla="*/ 11199600 w 11199600"/>
              <a:gd name="connsiteY14" fmla="*/ 662759 h 4999653"/>
              <a:gd name="connsiteX15" fmla="*/ 11199600 w 11199600"/>
              <a:gd name="connsiteY15" fmla="*/ 674288 h 4999653"/>
              <a:gd name="connsiteX16" fmla="*/ 11199600 w 11199600"/>
              <a:gd name="connsiteY16" fmla="*/ 749961 h 4999653"/>
              <a:gd name="connsiteX17" fmla="*/ 11199600 w 11199600"/>
              <a:gd name="connsiteY17" fmla="*/ 775785 h 4999653"/>
              <a:gd name="connsiteX18" fmla="*/ 11199600 w 11199600"/>
              <a:gd name="connsiteY18" fmla="*/ 837255 h 4999653"/>
              <a:gd name="connsiteX19" fmla="*/ 11199600 w 11199600"/>
              <a:gd name="connsiteY19" fmla="*/ 902921 h 4999653"/>
              <a:gd name="connsiteX20" fmla="*/ 11199600 w 11199600"/>
              <a:gd name="connsiteY20" fmla="*/ 936999 h 4999653"/>
              <a:gd name="connsiteX21" fmla="*/ 11199600 w 11199600"/>
              <a:gd name="connsiteY21" fmla="*/ 1044999 h 4999653"/>
              <a:gd name="connsiteX22" fmla="*/ 11199600 w 11199600"/>
              <a:gd name="connsiteY22" fmla="*/ 1050025 h 4999653"/>
              <a:gd name="connsiteX23" fmla="*/ 11199600 w 11199600"/>
              <a:gd name="connsiteY23" fmla="*/ 1177161 h 4999653"/>
              <a:gd name="connsiteX24" fmla="*/ 11199600 w 11199600"/>
              <a:gd name="connsiteY24" fmla="*/ 1202847 h 4999653"/>
              <a:gd name="connsiteX25" fmla="*/ 11199600 w 11199600"/>
              <a:gd name="connsiteY25" fmla="*/ 1319239 h 4999653"/>
              <a:gd name="connsiteX26" fmla="*/ 11199600 w 11199600"/>
              <a:gd name="connsiteY26" fmla="*/ 1377296 h 4999653"/>
              <a:gd name="connsiteX27" fmla="*/ 11199600 w 11199600"/>
              <a:gd name="connsiteY27" fmla="*/ 1477087 h 4999653"/>
              <a:gd name="connsiteX28" fmla="*/ 11199600 w 11199600"/>
              <a:gd name="connsiteY28" fmla="*/ 1569177 h 4999653"/>
              <a:gd name="connsiteX29" fmla="*/ 11199600 w 11199600"/>
              <a:gd name="connsiteY29" fmla="*/ 1651536 h 4999653"/>
              <a:gd name="connsiteX30" fmla="*/ 11199600 w 11199600"/>
              <a:gd name="connsiteY30" fmla="*/ 1779318 h 4999653"/>
              <a:gd name="connsiteX31" fmla="*/ 11199600 w 11199600"/>
              <a:gd name="connsiteY31" fmla="*/ 1843417 h 4999653"/>
              <a:gd name="connsiteX32" fmla="*/ 11199600 w 11199600"/>
              <a:gd name="connsiteY32" fmla="*/ 2008551 h 4999653"/>
              <a:gd name="connsiteX33" fmla="*/ 11199600 w 11199600"/>
              <a:gd name="connsiteY33" fmla="*/ 2053558 h 4999653"/>
              <a:gd name="connsiteX34" fmla="*/ 11199600 w 11199600"/>
              <a:gd name="connsiteY34" fmla="*/ 2257705 h 4999653"/>
              <a:gd name="connsiteX35" fmla="*/ 11199600 w 11199600"/>
              <a:gd name="connsiteY35" fmla="*/ 2282791 h 4999653"/>
              <a:gd name="connsiteX36" fmla="*/ 11199600 w 11199600"/>
              <a:gd name="connsiteY36" fmla="*/ 2527610 h 4999653"/>
              <a:gd name="connsiteX37" fmla="*/ 11199600 w 11199600"/>
              <a:gd name="connsiteY37" fmla="*/ 2531945 h 4999653"/>
              <a:gd name="connsiteX38" fmla="*/ 11199600 w 11199600"/>
              <a:gd name="connsiteY38" fmla="*/ 2801851 h 4999653"/>
              <a:gd name="connsiteX39" fmla="*/ 11199600 w 11199600"/>
              <a:gd name="connsiteY39" fmla="*/ 2819097 h 4999653"/>
              <a:gd name="connsiteX40" fmla="*/ 11199600 w 11199600"/>
              <a:gd name="connsiteY40" fmla="*/ 3093337 h 4999653"/>
              <a:gd name="connsiteX41" fmla="*/ 11199600 w 11199600"/>
              <a:gd name="connsiteY41" fmla="*/ 3132995 h 4999653"/>
              <a:gd name="connsiteX42" fmla="*/ 11199600 w 11199600"/>
              <a:gd name="connsiteY42" fmla="*/ 3407236 h 4999653"/>
              <a:gd name="connsiteX43" fmla="*/ 11199600 w 11199600"/>
              <a:gd name="connsiteY43" fmla="*/ 3470135 h 4999653"/>
              <a:gd name="connsiteX44" fmla="*/ 11199600 w 11199600"/>
              <a:gd name="connsiteY44" fmla="*/ 3744375 h 4999653"/>
              <a:gd name="connsiteX45" fmla="*/ 11199600 w 11199600"/>
              <a:gd name="connsiteY45" fmla="*/ 3831346 h 4999653"/>
              <a:gd name="connsiteX46" fmla="*/ 11199600 w 11199600"/>
              <a:gd name="connsiteY46" fmla="*/ 4105586 h 4999653"/>
              <a:gd name="connsiteX47" fmla="*/ 11199600 w 11199600"/>
              <a:gd name="connsiteY47" fmla="*/ 4217459 h 4999653"/>
              <a:gd name="connsiteX48" fmla="*/ 11199600 w 11199600"/>
              <a:gd name="connsiteY48" fmla="*/ 4491699 h 4999653"/>
              <a:gd name="connsiteX49" fmla="*/ 11199600 w 11199600"/>
              <a:gd name="connsiteY49" fmla="*/ 4629303 h 4999653"/>
              <a:gd name="connsiteX50" fmla="*/ 11199600 w 11199600"/>
              <a:gd name="connsiteY50" fmla="*/ 4903543 h 4999653"/>
              <a:gd name="connsiteX51" fmla="*/ 11103603 w 11199600"/>
              <a:gd name="connsiteY51" fmla="*/ 4999653 h 4999653"/>
              <a:gd name="connsiteX52" fmla="*/ 95997 w 11199600"/>
              <a:gd name="connsiteY52" fmla="*/ 4999653 h 4999653"/>
              <a:gd name="connsiteX53" fmla="*/ 0 w 11199600"/>
              <a:gd name="connsiteY53" fmla="*/ 4903543 h 4999653"/>
              <a:gd name="connsiteX54" fmla="*/ 0 w 11199600"/>
              <a:gd name="connsiteY54" fmla="*/ 4664488 h 4999653"/>
              <a:gd name="connsiteX55" fmla="*/ 0 w 11199600"/>
              <a:gd name="connsiteY55" fmla="*/ 4629303 h 4999653"/>
              <a:gd name="connsiteX56" fmla="*/ 0 w 11199600"/>
              <a:gd name="connsiteY56" fmla="*/ 4628197 h 4999653"/>
              <a:gd name="connsiteX57" fmla="*/ 0 w 11199600"/>
              <a:gd name="connsiteY57" fmla="*/ 4620449 h 4999653"/>
              <a:gd name="connsiteX58" fmla="*/ 0 w 11199600"/>
              <a:gd name="connsiteY58" fmla="*/ 4599606 h 4999653"/>
              <a:gd name="connsiteX59" fmla="*/ 0 w 11199600"/>
              <a:gd name="connsiteY59" fmla="*/ 4599421 h 4999653"/>
              <a:gd name="connsiteX60" fmla="*/ 0 w 11199600"/>
              <a:gd name="connsiteY60" fmla="*/ 4558472 h 4999653"/>
              <a:gd name="connsiteX61" fmla="*/ 0 w 11199600"/>
              <a:gd name="connsiteY61" fmla="*/ 4528452 h 4999653"/>
              <a:gd name="connsiteX62" fmla="*/ 0 w 11199600"/>
              <a:gd name="connsiteY62" fmla="*/ 4523933 h 4999653"/>
              <a:gd name="connsiteX63" fmla="*/ 0 w 11199600"/>
              <a:gd name="connsiteY63" fmla="*/ 4490961 h 4999653"/>
              <a:gd name="connsiteX64" fmla="*/ 0 w 11199600"/>
              <a:gd name="connsiteY64" fmla="*/ 4445170 h 4999653"/>
              <a:gd name="connsiteX65" fmla="*/ 0 w 11199600"/>
              <a:gd name="connsiteY65" fmla="*/ 4436639 h 4999653"/>
              <a:gd name="connsiteX66" fmla="*/ 0 w 11199600"/>
              <a:gd name="connsiteY66" fmla="*/ 4390248 h 4999653"/>
              <a:gd name="connsiteX67" fmla="*/ 0 w 11199600"/>
              <a:gd name="connsiteY67" fmla="*/ 4336894 h 4999653"/>
              <a:gd name="connsiteX68" fmla="*/ 0 w 11199600"/>
              <a:gd name="connsiteY68" fmla="*/ 4325366 h 4999653"/>
              <a:gd name="connsiteX69" fmla="*/ 0 w 11199600"/>
              <a:gd name="connsiteY69" fmla="*/ 4249693 h 4999653"/>
              <a:gd name="connsiteX70" fmla="*/ 0 w 11199600"/>
              <a:gd name="connsiteY70" fmla="*/ 4223869 h 4999653"/>
              <a:gd name="connsiteX71" fmla="*/ 0 w 11199600"/>
              <a:gd name="connsiteY71" fmla="*/ 4162399 h 4999653"/>
              <a:gd name="connsiteX72" fmla="*/ 0 w 11199600"/>
              <a:gd name="connsiteY72" fmla="*/ 4096732 h 4999653"/>
              <a:gd name="connsiteX73" fmla="*/ 0 w 11199600"/>
              <a:gd name="connsiteY73" fmla="*/ 4062654 h 4999653"/>
              <a:gd name="connsiteX74" fmla="*/ 0 w 11199600"/>
              <a:gd name="connsiteY74" fmla="*/ 3954655 h 4999653"/>
              <a:gd name="connsiteX75" fmla="*/ 0 w 11199600"/>
              <a:gd name="connsiteY75" fmla="*/ 3949629 h 4999653"/>
              <a:gd name="connsiteX76" fmla="*/ 0 w 11199600"/>
              <a:gd name="connsiteY76" fmla="*/ 3822492 h 4999653"/>
              <a:gd name="connsiteX77" fmla="*/ 0 w 11199600"/>
              <a:gd name="connsiteY77" fmla="*/ 3796807 h 4999653"/>
              <a:gd name="connsiteX78" fmla="*/ 0 w 11199600"/>
              <a:gd name="connsiteY78" fmla="*/ 3680415 h 4999653"/>
              <a:gd name="connsiteX79" fmla="*/ 0 w 11199600"/>
              <a:gd name="connsiteY79" fmla="*/ 3622357 h 4999653"/>
              <a:gd name="connsiteX80" fmla="*/ 0 w 11199600"/>
              <a:gd name="connsiteY80" fmla="*/ 3522567 h 4999653"/>
              <a:gd name="connsiteX81" fmla="*/ 0 w 11199600"/>
              <a:gd name="connsiteY81" fmla="*/ 3430477 h 4999653"/>
              <a:gd name="connsiteX82" fmla="*/ 0 w 11199600"/>
              <a:gd name="connsiteY82" fmla="*/ 3348117 h 4999653"/>
              <a:gd name="connsiteX83" fmla="*/ 0 w 11199600"/>
              <a:gd name="connsiteY83" fmla="*/ 3220335 h 4999653"/>
              <a:gd name="connsiteX84" fmla="*/ 0 w 11199600"/>
              <a:gd name="connsiteY84" fmla="*/ 3156237 h 4999653"/>
              <a:gd name="connsiteX85" fmla="*/ 0 w 11199600"/>
              <a:gd name="connsiteY85" fmla="*/ 2991102 h 4999653"/>
              <a:gd name="connsiteX86" fmla="*/ 0 w 11199600"/>
              <a:gd name="connsiteY86" fmla="*/ 2946095 h 4999653"/>
              <a:gd name="connsiteX87" fmla="*/ 0 w 11199600"/>
              <a:gd name="connsiteY87" fmla="*/ 2741948 h 4999653"/>
              <a:gd name="connsiteX88" fmla="*/ 0 w 11199600"/>
              <a:gd name="connsiteY88" fmla="*/ 2716862 h 4999653"/>
              <a:gd name="connsiteX89" fmla="*/ 0 w 11199600"/>
              <a:gd name="connsiteY89" fmla="*/ 2472043 h 4999653"/>
              <a:gd name="connsiteX90" fmla="*/ 0 w 11199600"/>
              <a:gd name="connsiteY90" fmla="*/ 2467708 h 4999653"/>
              <a:gd name="connsiteX91" fmla="*/ 0 w 11199600"/>
              <a:gd name="connsiteY91" fmla="*/ 2197803 h 4999653"/>
              <a:gd name="connsiteX92" fmla="*/ 0 w 11199600"/>
              <a:gd name="connsiteY92" fmla="*/ 2180556 h 4999653"/>
              <a:gd name="connsiteX93" fmla="*/ 0 w 11199600"/>
              <a:gd name="connsiteY93" fmla="*/ 1906316 h 4999653"/>
              <a:gd name="connsiteX94" fmla="*/ 0 w 11199600"/>
              <a:gd name="connsiteY94" fmla="*/ 1866658 h 4999653"/>
              <a:gd name="connsiteX95" fmla="*/ 0 w 11199600"/>
              <a:gd name="connsiteY95" fmla="*/ 1592418 h 4999653"/>
              <a:gd name="connsiteX96" fmla="*/ 0 w 11199600"/>
              <a:gd name="connsiteY96" fmla="*/ 1529519 h 4999653"/>
              <a:gd name="connsiteX97" fmla="*/ 0 w 11199600"/>
              <a:gd name="connsiteY97" fmla="*/ 1255278 h 4999653"/>
              <a:gd name="connsiteX98" fmla="*/ 0 w 11199600"/>
              <a:gd name="connsiteY98" fmla="*/ 1168307 h 4999653"/>
              <a:gd name="connsiteX99" fmla="*/ 0 w 11199600"/>
              <a:gd name="connsiteY99" fmla="*/ 894067 h 4999653"/>
              <a:gd name="connsiteX100" fmla="*/ 0 w 11199600"/>
              <a:gd name="connsiteY100" fmla="*/ 782195 h 4999653"/>
              <a:gd name="connsiteX101" fmla="*/ 0 w 11199600"/>
              <a:gd name="connsiteY101" fmla="*/ 507955 h 4999653"/>
              <a:gd name="connsiteX102" fmla="*/ 0 w 11199600"/>
              <a:gd name="connsiteY102" fmla="*/ 370350 h 4999653"/>
              <a:gd name="connsiteX103" fmla="*/ 0 w 11199600"/>
              <a:gd name="connsiteY103" fmla="*/ 96110 h 4999653"/>
              <a:gd name="connsiteX104" fmla="*/ 95997 w 11199600"/>
              <a:gd name="connsiteY104" fmla="*/ 0 h 4999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11199600" h="4999653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51536"/>
                </a:lnTo>
                <a:lnTo>
                  <a:pt x="11199600" y="1779318"/>
                </a:lnTo>
                <a:lnTo>
                  <a:pt x="11199600" y="1843417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527610"/>
                </a:lnTo>
                <a:lnTo>
                  <a:pt x="11199600" y="2531945"/>
                </a:lnTo>
                <a:cubicBezTo>
                  <a:pt x="11199600" y="2618409"/>
                  <a:pt x="11199600" y="2708331"/>
                  <a:pt x="11199600" y="2801851"/>
                </a:cubicBezTo>
                <a:lnTo>
                  <a:pt x="11199600" y="2819097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407236"/>
                </a:lnTo>
                <a:lnTo>
                  <a:pt x="11199600" y="3470135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903543"/>
                </a:lnTo>
                <a:cubicBezTo>
                  <a:pt x="11199600" y="4999653"/>
                  <a:pt x="11103603" y="4999653"/>
                  <a:pt x="11103603" y="4999653"/>
                </a:cubicBezTo>
                <a:cubicBezTo>
                  <a:pt x="11103603" y="4999653"/>
                  <a:pt x="11103603" y="4999653"/>
                  <a:pt x="95997" y="4999653"/>
                </a:cubicBezTo>
                <a:cubicBezTo>
                  <a:pt x="0" y="4999653"/>
                  <a:pt x="0" y="4903543"/>
                  <a:pt x="0" y="4903543"/>
                </a:cubicBezTo>
                <a:cubicBezTo>
                  <a:pt x="0" y="4903543"/>
                  <a:pt x="0" y="4903543"/>
                  <a:pt x="0" y="4664488"/>
                </a:cubicBez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096732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2991102"/>
                </a:lnTo>
                <a:lnTo>
                  <a:pt x="0" y="2946095"/>
                </a:lnTo>
                <a:lnTo>
                  <a:pt x="0" y="2741948"/>
                </a:lnTo>
                <a:lnTo>
                  <a:pt x="0" y="271686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197803"/>
                </a:lnTo>
                <a:lnTo>
                  <a:pt x="0" y="218055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 bwMode="gray">
          <a:xfrm>
            <a:off x="845575" y="1327149"/>
            <a:ext cx="5987025" cy="4752000"/>
          </a:xfrm>
        </p:spPr>
        <p:txBody>
          <a:bodyPr>
            <a:noAutofit/>
          </a:bodyPr>
          <a:lstStyle>
            <a:lvl1pPr marL="432000" marR="0" indent="-432000" algn="l" defTabSz="914377" rtl="0" eaLnBrk="1" fontAlgn="auto" latinLnBrk="0" hangingPunct="1">
              <a:lnSpc>
                <a:spcPts val="2200"/>
              </a:lnSpc>
              <a:spcBef>
                <a:spcPts val="200"/>
              </a:spcBef>
              <a:spcAft>
                <a:spcPts val="800"/>
              </a:spcAft>
              <a:buClrTx/>
              <a:buSzTx/>
              <a:buFont typeface="+mj-lt"/>
              <a:buAutoNum type="arabicPeriod"/>
              <a:tabLst>
                <a:tab pos="355591" algn="l"/>
              </a:tabLst>
              <a:defRPr sz="2000" b="0"/>
            </a:lvl1pPr>
            <a:lvl2pPr>
              <a:defRPr sz="2000"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7296150" y="1201147"/>
            <a:ext cx="4600362" cy="4999652"/>
          </a:xfrm>
          <a:custGeom>
            <a:avLst/>
            <a:gdLst>
              <a:gd name="connsiteX0" fmla="*/ 0 w 4600362"/>
              <a:gd name="connsiteY0" fmla="*/ 0 h 4999652"/>
              <a:gd name="connsiteX1" fmla="*/ 4504373 w 4600362"/>
              <a:gd name="connsiteY1" fmla="*/ 0 h 4999652"/>
              <a:gd name="connsiteX2" fmla="*/ 4536051 w 4600362"/>
              <a:gd name="connsiteY2" fmla="*/ 4129 h 4999652"/>
              <a:gd name="connsiteX3" fmla="*/ 4600362 w 4600362"/>
              <a:gd name="connsiteY3" fmla="*/ 96109 h 4999652"/>
              <a:gd name="connsiteX4" fmla="*/ 4600362 w 4600362"/>
              <a:gd name="connsiteY4" fmla="*/ 335164 h 4999652"/>
              <a:gd name="connsiteX5" fmla="*/ 4600362 w 4600362"/>
              <a:gd name="connsiteY5" fmla="*/ 370349 h 4999652"/>
              <a:gd name="connsiteX6" fmla="*/ 4600362 w 4600362"/>
              <a:gd name="connsiteY6" fmla="*/ 379203 h 4999652"/>
              <a:gd name="connsiteX7" fmla="*/ 4600362 w 4600362"/>
              <a:gd name="connsiteY7" fmla="*/ 400047 h 4999652"/>
              <a:gd name="connsiteX8" fmla="*/ 4600362 w 4600362"/>
              <a:gd name="connsiteY8" fmla="*/ 400231 h 4999652"/>
              <a:gd name="connsiteX9" fmla="*/ 4600362 w 4600362"/>
              <a:gd name="connsiteY9" fmla="*/ 471201 h 4999652"/>
              <a:gd name="connsiteX10" fmla="*/ 4600362 w 4600362"/>
              <a:gd name="connsiteY10" fmla="*/ 475720 h 4999652"/>
              <a:gd name="connsiteX11" fmla="*/ 4600362 w 4600362"/>
              <a:gd name="connsiteY11" fmla="*/ 508691 h 4999652"/>
              <a:gd name="connsiteX12" fmla="*/ 4600362 w 4600362"/>
              <a:gd name="connsiteY12" fmla="*/ 554483 h 4999652"/>
              <a:gd name="connsiteX13" fmla="*/ 4600362 w 4600362"/>
              <a:gd name="connsiteY13" fmla="*/ 563014 h 4999652"/>
              <a:gd name="connsiteX14" fmla="*/ 4600362 w 4600362"/>
              <a:gd name="connsiteY14" fmla="*/ 609404 h 4999652"/>
              <a:gd name="connsiteX15" fmla="*/ 4600362 w 4600362"/>
              <a:gd name="connsiteY15" fmla="*/ 662758 h 4999652"/>
              <a:gd name="connsiteX16" fmla="*/ 4600362 w 4600362"/>
              <a:gd name="connsiteY16" fmla="*/ 674287 h 4999652"/>
              <a:gd name="connsiteX17" fmla="*/ 4600362 w 4600362"/>
              <a:gd name="connsiteY17" fmla="*/ 749960 h 4999652"/>
              <a:gd name="connsiteX18" fmla="*/ 4600362 w 4600362"/>
              <a:gd name="connsiteY18" fmla="*/ 775784 h 4999652"/>
              <a:gd name="connsiteX19" fmla="*/ 4600362 w 4600362"/>
              <a:gd name="connsiteY19" fmla="*/ 837254 h 4999652"/>
              <a:gd name="connsiteX20" fmla="*/ 4600362 w 4600362"/>
              <a:gd name="connsiteY20" fmla="*/ 902920 h 4999652"/>
              <a:gd name="connsiteX21" fmla="*/ 4600362 w 4600362"/>
              <a:gd name="connsiteY21" fmla="*/ 936998 h 4999652"/>
              <a:gd name="connsiteX22" fmla="*/ 4600362 w 4600362"/>
              <a:gd name="connsiteY22" fmla="*/ 1044998 h 4999652"/>
              <a:gd name="connsiteX23" fmla="*/ 4600362 w 4600362"/>
              <a:gd name="connsiteY23" fmla="*/ 1050024 h 4999652"/>
              <a:gd name="connsiteX24" fmla="*/ 4600362 w 4600362"/>
              <a:gd name="connsiteY24" fmla="*/ 1177160 h 4999652"/>
              <a:gd name="connsiteX25" fmla="*/ 4600362 w 4600362"/>
              <a:gd name="connsiteY25" fmla="*/ 1202846 h 4999652"/>
              <a:gd name="connsiteX26" fmla="*/ 4600362 w 4600362"/>
              <a:gd name="connsiteY26" fmla="*/ 1319238 h 4999652"/>
              <a:gd name="connsiteX27" fmla="*/ 4600362 w 4600362"/>
              <a:gd name="connsiteY27" fmla="*/ 1377295 h 4999652"/>
              <a:gd name="connsiteX28" fmla="*/ 4600362 w 4600362"/>
              <a:gd name="connsiteY28" fmla="*/ 1477086 h 4999652"/>
              <a:gd name="connsiteX29" fmla="*/ 4600362 w 4600362"/>
              <a:gd name="connsiteY29" fmla="*/ 1569176 h 4999652"/>
              <a:gd name="connsiteX30" fmla="*/ 4600362 w 4600362"/>
              <a:gd name="connsiteY30" fmla="*/ 1651535 h 4999652"/>
              <a:gd name="connsiteX31" fmla="*/ 4600362 w 4600362"/>
              <a:gd name="connsiteY31" fmla="*/ 1779317 h 4999652"/>
              <a:gd name="connsiteX32" fmla="*/ 4600362 w 4600362"/>
              <a:gd name="connsiteY32" fmla="*/ 1843416 h 4999652"/>
              <a:gd name="connsiteX33" fmla="*/ 4600362 w 4600362"/>
              <a:gd name="connsiteY33" fmla="*/ 2008550 h 4999652"/>
              <a:gd name="connsiteX34" fmla="*/ 4600362 w 4600362"/>
              <a:gd name="connsiteY34" fmla="*/ 2053557 h 4999652"/>
              <a:gd name="connsiteX35" fmla="*/ 4600362 w 4600362"/>
              <a:gd name="connsiteY35" fmla="*/ 2257704 h 4999652"/>
              <a:gd name="connsiteX36" fmla="*/ 4600362 w 4600362"/>
              <a:gd name="connsiteY36" fmla="*/ 2282790 h 4999652"/>
              <a:gd name="connsiteX37" fmla="*/ 4600362 w 4600362"/>
              <a:gd name="connsiteY37" fmla="*/ 2527609 h 4999652"/>
              <a:gd name="connsiteX38" fmla="*/ 4600362 w 4600362"/>
              <a:gd name="connsiteY38" fmla="*/ 2531944 h 4999652"/>
              <a:gd name="connsiteX39" fmla="*/ 4600362 w 4600362"/>
              <a:gd name="connsiteY39" fmla="*/ 2801850 h 4999652"/>
              <a:gd name="connsiteX40" fmla="*/ 4600362 w 4600362"/>
              <a:gd name="connsiteY40" fmla="*/ 2819096 h 4999652"/>
              <a:gd name="connsiteX41" fmla="*/ 4600362 w 4600362"/>
              <a:gd name="connsiteY41" fmla="*/ 3093336 h 4999652"/>
              <a:gd name="connsiteX42" fmla="*/ 4600362 w 4600362"/>
              <a:gd name="connsiteY42" fmla="*/ 3132994 h 4999652"/>
              <a:gd name="connsiteX43" fmla="*/ 4600362 w 4600362"/>
              <a:gd name="connsiteY43" fmla="*/ 3407235 h 4999652"/>
              <a:gd name="connsiteX44" fmla="*/ 4600362 w 4600362"/>
              <a:gd name="connsiteY44" fmla="*/ 3470134 h 4999652"/>
              <a:gd name="connsiteX45" fmla="*/ 4600362 w 4600362"/>
              <a:gd name="connsiteY45" fmla="*/ 3744374 h 4999652"/>
              <a:gd name="connsiteX46" fmla="*/ 4600362 w 4600362"/>
              <a:gd name="connsiteY46" fmla="*/ 3831345 h 4999652"/>
              <a:gd name="connsiteX47" fmla="*/ 4600362 w 4600362"/>
              <a:gd name="connsiteY47" fmla="*/ 4105585 h 4999652"/>
              <a:gd name="connsiteX48" fmla="*/ 4600362 w 4600362"/>
              <a:gd name="connsiteY48" fmla="*/ 4217458 h 4999652"/>
              <a:gd name="connsiteX49" fmla="*/ 4600362 w 4600362"/>
              <a:gd name="connsiteY49" fmla="*/ 4491698 h 4999652"/>
              <a:gd name="connsiteX50" fmla="*/ 4600362 w 4600362"/>
              <a:gd name="connsiteY50" fmla="*/ 4629302 h 4999652"/>
              <a:gd name="connsiteX51" fmla="*/ 4600362 w 4600362"/>
              <a:gd name="connsiteY51" fmla="*/ 4903542 h 4999652"/>
              <a:gd name="connsiteX52" fmla="*/ 4504365 w 4600362"/>
              <a:gd name="connsiteY52" fmla="*/ 4999652 h 4999652"/>
              <a:gd name="connsiteX53" fmla="*/ 144766 w 4600362"/>
              <a:gd name="connsiteY53" fmla="*/ 4999652 h 4999652"/>
              <a:gd name="connsiteX54" fmla="*/ 0 w 4600362"/>
              <a:gd name="connsiteY54" fmla="*/ 4999652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</a:cxnLst>
            <a:rect l="l" t="t" r="r" b="b"/>
            <a:pathLst>
              <a:path w="4600362" h="4999652">
                <a:moveTo>
                  <a:pt x="0" y="0"/>
                </a:moveTo>
                <a:lnTo>
                  <a:pt x="4504373" y="0"/>
                </a:lnTo>
                <a:lnTo>
                  <a:pt x="4536051" y="4129"/>
                </a:lnTo>
                <a:cubicBezTo>
                  <a:pt x="4600362" y="22525"/>
                  <a:pt x="4600362" y="96109"/>
                  <a:pt x="4600362" y="96109"/>
                </a:cubicBezTo>
                <a:cubicBezTo>
                  <a:pt x="4600362" y="96109"/>
                  <a:pt x="4600362" y="96109"/>
                  <a:pt x="4600362" y="335164"/>
                </a:cubicBezTo>
                <a:lnTo>
                  <a:pt x="4600362" y="370349"/>
                </a:lnTo>
                <a:cubicBezTo>
                  <a:pt x="4600362" y="370349"/>
                  <a:pt x="4600362" y="370349"/>
                  <a:pt x="4600362" y="379203"/>
                </a:cubicBezTo>
                <a:lnTo>
                  <a:pt x="4600362" y="400047"/>
                </a:lnTo>
                <a:lnTo>
                  <a:pt x="4600362" y="400231"/>
                </a:lnTo>
                <a:cubicBezTo>
                  <a:pt x="4600362" y="415172"/>
                  <a:pt x="4600362" y="437584"/>
                  <a:pt x="4600362" y="471201"/>
                </a:cubicBezTo>
                <a:lnTo>
                  <a:pt x="4600362" y="475720"/>
                </a:lnTo>
                <a:lnTo>
                  <a:pt x="4600362" y="508691"/>
                </a:lnTo>
                <a:cubicBezTo>
                  <a:pt x="4600362" y="522526"/>
                  <a:pt x="4600362" y="537743"/>
                  <a:pt x="4600362" y="554483"/>
                </a:cubicBezTo>
                <a:lnTo>
                  <a:pt x="4600362" y="563014"/>
                </a:lnTo>
                <a:lnTo>
                  <a:pt x="4600362" y="609404"/>
                </a:lnTo>
                <a:lnTo>
                  <a:pt x="4600362" y="662758"/>
                </a:lnTo>
                <a:lnTo>
                  <a:pt x="4600362" y="674287"/>
                </a:lnTo>
                <a:cubicBezTo>
                  <a:pt x="4600362" y="697667"/>
                  <a:pt x="4600362" y="722845"/>
                  <a:pt x="4600362" y="749960"/>
                </a:cubicBezTo>
                <a:lnTo>
                  <a:pt x="4600362" y="775784"/>
                </a:lnTo>
                <a:lnTo>
                  <a:pt x="4600362" y="837254"/>
                </a:lnTo>
                <a:lnTo>
                  <a:pt x="4600362" y="902920"/>
                </a:lnTo>
                <a:lnTo>
                  <a:pt x="4600362" y="936998"/>
                </a:lnTo>
                <a:lnTo>
                  <a:pt x="4600362" y="1044998"/>
                </a:lnTo>
                <a:lnTo>
                  <a:pt x="4600362" y="1050024"/>
                </a:lnTo>
                <a:cubicBezTo>
                  <a:pt x="4600362" y="1090005"/>
                  <a:pt x="4600362" y="1132337"/>
                  <a:pt x="4600362" y="1177160"/>
                </a:cubicBezTo>
                <a:lnTo>
                  <a:pt x="4600362" y="1202846"/>
                </a:lnTo>
                <a:lnTo>
                  <a:pt x="4600362" y="1319238"/>
                </a:lnTo>
                <a:lnTo>
                  <a:pt x="4600362" y="1377295"/>
                </a:lnTo>
                <a:lnTo>
                  <a:pt x="4600362" y="1477086"/>
                </a:lnTo>
                <a:lnTo>
                  <a:pt x="4600362" y="1569176"/>
                </a:lnTo>
                <a:lnTo>
                  <a:pt x="4600362" y="1651535"/>
                </a:lnTo>
                <a:lnTo>
                  <a:pt x="4600362" y="1779317"/>
                </a:lnTo>
                <a:lnTo>
                  <a:pt x="4600362" y="1843416"/>
                </a:lnTo>
                <a:lnTo>
                  <a:pt x="4600362" y="2008550"/>
                </a:lnTo>
                <a:lnTo>
                  <a:pt x="4600362" y="2053557"/>
                </a:lnTo>
                <a:lnTo>
                  <a:pt x="4600362" y="2257704"/>
                </a:lnTo>
                <a:lnTo>
                  <a:pt x="4600362" y="2282790"/>
                </a:lnTo>
                <a:lnTo>
                  <a:pt x="4600362" y="2527609"/>
                </a:lnTo>
                <a:lnTo>
                  <a:pt x="4600362" y="2531944"/>
                </a:lnTo>
                <a:cubicBezTo>
                  <a:pt x="4600362" y="2618408"/>
                  <a:pt x="4600362" y="2708330"/>
                  <a:pt x="4600362" y="2801850"/>
                </a:cubicBezTo>
                <a:lnTo>
                  <a:pt x="4600362" y="2819096"/>
                </a:lnTo>
                <a:lnTo>
                  <a:pt x="4600362" y="3093336"/>
                </a:lnTo>
                <a:lnTo>
                  <a:pt x="4600362" y="3132994"/>
                </a:lnTo>
                <a:lnTo>
                  <a:pt x="4600362" y="3407235"/>
                </a:lnTo>
                <a:lnTo>
                  <a:pt x="4600362" y="3470134"/>
                </a:lnTo>
                <a:lnTo>
                  <a:pt x="4600362" y="3744374"/>
                </a:lnTo>
                <a:lnTo>
                  <a:pt x="4600362" y="3831345"/>
                </a:lnTo>
                <a:lnTo>
                  <a:pt x="4600362" y="4105585"/>
                </a:lnTo>
                <a:lnTo>
                  <a:pt x="4600362" y="4217458"/>
                </a:lnTo>
                <a:lnTo>
                  <a:pt x="4600362" y="4491698"/>
                </a:lnTo>
                <a:lnTo>
                  <a:pt x="4600362" y="4629302"/>
                </a:lnTo>
                <a:lnTo>
                  <a:pt x="4600362" y="4903542"/>
                </a:lnTo>
                <a:cubicBezTo>
                  <a:pt x="4600362" y="4999652"/>
                  <a:pt x="4504365" y="4999652"/>
                  <a:pt x="4504365" y="4999652"/>
                </a:cubicBezTo>
                <a:cubicBezTo>
                  <a:pt x="4504365" y="4999652"/>
                  <a:pt x="4504365" y="4999652"/>
                  <a:pt x="144766" y="4999652"/>
                </a:cubicBezTo>
                <a:lnTo>
                  <a:pt x="0" y="4999652"/>
                </a:lnTo>
                <a:close/>
              </a:path>
            </a:pathLst>
          </a:custGeom>
          <a:noFill/>
        </p:spPr>
        <p:txBody>
          <a:bodyPr wrap="square" tIns="108000">
            <a:noAutofit/>
          </a:bodyPr>
          <a:lstStyle/>
          <a:p>
            <a:r>
              <a:rPr lang="en-US" noProof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4967414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308" userDrawn="1">
          <p15:clr>
            <a:srgbClr val="FBAE40"/>
          </p15:clr>
        </p15:guide>
        <p15:guide id="2" pos="4596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9"/>
          <p:cNvSpPr>
            <a:spLocks noChangeAspect="1"/>
          </p:cNvSpPr>
          <p:nvPr userDrawn="1"/>
        </p:nvSpPr>
        <p:spPr bwMode="gray">
          <a:xfrm>
            <a:off x="0" y="1695450"/>
            <a:ext cx="11350800" cy="2382290"/>
          </a:xfrm>
          <a:custGeom>
            <a:avLst/>
            <a:gdLst>
              <a:gd name="T0" fmla="*/ 0 w 2680"/>
              <a:gd name="T1" fmla="*/ 560 h 560"/>
              <a:gd name="T2" fmla="*/ 2648 w 2680"/>
              <a:gd name="T3" fmla="*/ 560 h 560"/>
              <a:gd name="T4" fmla="*/ 2680 w 2680"/>
              <a:gd name="T5" fmla="*/ 528 h 560"/>
              <a:gd name="T6" fmla="*/ 2680 w 2680"/>
              <a:gd name="T7" fmla="*/ 32 h 560"/>
              <a:gd name="T8" fmla="*/ 2648 w 2680"/>
              <a:gd name="T9" fmla="*/ 0 h 560"/>
              <a:gd name="T10" fmla="*/ 0 w 2680"/>
              <a:gd name="T11" fmla="*/ 0 h 5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80" h="560">
                <a:moveTo>
                  <a:pt x="0" y="560"/>
                </a:moveTo>
                <a:cubicBezTo>
                  <a:pt x="2648" y="560"/>
                  <a:pt x="2648" y="560"/>
                  <a:pt x="2648" y="560"/>
                </a:cubicBezTo>
                <a:cubicBezTo>
                  <a:pt x="2648" y="560"/>
                  <a:pt x="2680" y="560"/>
                  <a:pt x="2680" y="528"/>
                </a:cubicBezTo>
                <a:cubicBezTo>
                  <a:pt x="2680" y="32"/>
                  <a:pt x="2680" y="32"/>
                  <a:pt x="2680" y="32"/>
                </a:cubicBezTo>
                <a:cubicBezTo>
                  <a:pt x="2680" y="32"/>
                  <a:pt x="2680" y="0"/>
                  <a:pt x="2648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 userDrawn="1">
            <p:ph type="ctrTitle"/>
          </p:nvPr>
        </p:nvSpPr>
        <p:spPr bwMode="gray">
          <a:xfrm>
            <a:off x="842433" y="1695451"/>
            <a:ext cx="10313209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5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16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7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18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9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20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21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2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23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4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25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6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27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8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29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0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69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4871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icture Placeholder 37"/>
          <p:cNvSpPr>
            <a:spLocks noGrp="1"/>
          </p:cNvSpPr>
          <p:nvPr>
            <p:ph type="pic" sz="quarter" idx="16"/>
          </p:nvPr>
        </p:nvSpPr>
        <p:spPr bwMode="gray">
          <a:xfrm>
            <a:off x="696912" y="1696718"/>
            <a:ext cx="11199600" cy="4504080"/>
          </a:xfrm>
          <a:custGeom>
            <a:avLst/>
            <a:gdLst>
              <a:gd name="connsiteX0" fmla="*/ 95997 w 11199600"/>
              <a:gd name="connsiteY0" fmla="*/ 0 h 4504080"/>
              <a:gd name="connsiteX1" fmla="*/ 11103603 w 11199600"/>
              <a:gd name="connsiteY1" fmla="*/ 0 h 4504080"/>
              <a:gd name="connsiteX2" fmla="*/ 11199600 w 11199600"/>
              <a:gd name="connsiteY2" fmla="*/ 96110 h 4504080"/>
              <a:gd name="connsiteX3" fmla="*/ 11199600 w 11199600"/>
              <a:gd name="connsiteY3" fmla="*/ 335165 h 4504080"/>
              <a:gd name="connsiteX4" fmla="*/ 11199600 w 11199600"/>
              <a:gd name="connsiteY4" fmla="*/ 370350 h 4504080"/>
              <a:gd name="connsiteX5" fmla="*/ 11199600 w 11199600"/>
              <a:gd name="connsiteY5" fmla="*/ 379204 h 4504080"/>
              <a:gd name="connsiteX6" fmla="*/ 11199600 w 11199600"/>
              <a:gd name="connsiteY6" fmla="*/ 400048 h 4504080"/>
              <a:gd name="connsiteX7" fmla="*/ 11199600 w 11199600"/>
              <a:gd name="connsiteY7" fmla="*/ 400232 h 4504080"/>
              <a:gd name="connsiteX8" fmla="*/ 11199600 w 11199600"/>
              <a:gd name="connsiteY8" fmla="*/ 471202 h 4504080"/>
              <a:gd name="connsiteX9" fmla="*/ 11199600 w 11199600"/>
              <a:gd name="connsiteY9" fmla="*/ 475721 h 4504080"/>
              <a:gd name="connsiteX10" fmla="*/ 11199600 w 11199600"/>
              <a:gd name="connsiteY10" fmla="*/ 508692 h 4504080"/>
              <a:gd name="connsiteX11" fmla="*/ 11199600 w 11199600"/>
              <a:gd name="connsiteY11" fmla="*/ 554484 h 4504080"/>
              <a:gd name="connsiteX12" fmla="*/ 11199600 w 11199600"/>
              <a:gd name="connsiteY12" fmla="*/ 563015 h 4504080"/>
              <a:gd name="connsiteX13" fmla="*/ 11199600 w 11199600"/>
              <a:gd name="connsiteY13" fmla="*/ 609405 h 4504080"/>
              <a:gd name="connsiteX14" fmla="*/ 11199600 w 11199600"/>
              <a:gd name="connsiteY14" fmla="*/ 662759 h 4504080"/>
              <a:gd name="connsiteX15" fmla="*/ 11199600 w 11199600"/>
              <a:gd name="connsiteY15" fmla="*/ 674288 h 4504080"/>
              <a:gd name="connsiteX16" fmla="*/ 11199600 w 11199600"/>
              <a:gd name="connsiteY16" fmla="*/ 749961 h 4504080"/>
              <a:gd name="connsiteX17" fmla="*/ 11199600 w 11199600"/>
              <a:gd name="connsiteY17" fmla="*/ 775785 h 4504080"/>
              <a:gd name="connsiteX18" fmla="*/ 11199600 w 11199600"/>
              <a:gd name="connsiteY18" fmla="*/ 837255 h 4504080"/>
              <a:gd name="connsiteX19" fmla="*/ 11199600 w 11199600"/>
              <a:gd name="connsiteY19" fmla="*/ 902921 h 4504080"/>
              <a:gd name="connsiteX20" fmla="*/ 11199600 w 11199600"/>
              <a:gd name="connsiteY20" fmla="*/ 936999 h 4504080"/>
              <a:gd name="connsiteX21" fmla="*/ 11199600 w 11199600"/>
              <a:gd name="connsiteY21" fmla="*/ 1044999 h 4504080"/>
              <a:gd name="connsiteX22" fmla="*/ 11199600 w 11199600"/>
              <a:gd name="connsiteY22" fmla="*/ 1050025 h 4504080"/>
              <a:gd name="connsiteX23" fmla="*/ 11199600 w 11199600"/>
              <a:gd name="connsiteY23" fmla="*/ 1177161 h 4504080"/>
              <a:gd name="connsiteX24" fmla="*/ 11199600 w 11199600"/>
              <a:gd name="connsiteY24" fmla="*/ 1202847 h 4504080"/>
              <a:gd name="connsiteX25" fmla="*/ 11199600 w 11199600"/>
              <a:gd name="connsiteY25" fmla="*/ 1319239 h 4504080"/>
              <a:gd name="connsiteX26" fmla="*/ 11199600 w 11199600"/>
              <a:gd name="connsiteY26" fmla="*/ 1377296 h 4504080"/>
              <a:gd name="connsiteX27" fmla="*/ 11199600 w 11199600"/>
              <a:gd name="connsiteY27" fmla="*/ 1477087 h 4504080"/>
              <a:gd name="connsiteX28" fmla="*/ 11199600 w 11199600"/>
              <a:gd name="connsiteY28" fmla="*/ 1569177 h 4504080"/>
              <a:gd name="connsiteX29" fmla="*/ 11199600 w 11199600"/>
              <a:gd name="connsiteY29" fmla="*/ 1626118 h 4504080"/>
              <a:gd name="connsiteX30" fmla="*/ 11199600 w 11199600"/>
              <a:gd name="connsiteY30" fmla="*/ 1651536 h 4504080"/>
              <a:gd name="connsiteX31" fmla="*/ 11199600 w 11199600"/>
              <a:gd name="connsiteY31" fmla="*/ 1762133 h 4504080"/>
              <a:gd name="connsiteX32" fmla="*/ 11199600 w 11199600"/>
              <a:gd name="connsiteY32" fmla="*/ 1779318 h 4504080"/>
              <a:gd name="connsiteX33" fmla="*/ 11199600 w 11199600"/>
              <a:gd name="connsiteY33" fmla="*/ 1787219 h 4504080"/>
              <a:gd name="connsiteX34" fmla="*/ 11199600 w 11199600"/>
              <a:gd name="connsiteY34" fmla="*/ 1843417 h 4504080"/>
              <a:gd name="connsiteX35" fmla="*/ 11199600 w 11199600"/>
              <a:gd name="connsiteY35" fmla="*/ 1984894 h 4504080"/>
              <a:gd name="connsiteX36" fmla="*/ 11199600 w 11199600"/>
              <a:gd name="connsiteY36" fmla="*/ 2032038 h 4504080"/>
              <a:gd name="connsiteX37" fmla="*/ 11199600 w 11199600"/>
              <a:gd name="connsiteY37" fmla="*/ 2036373 h 4504080"/>
              <a:gd name="connsiteX38" fmla="*/ 11199600 w 11199600"/>
              <a:gd name="connsiteY38" fmla="*/ 2306279 h 4504080"/>
              <a:gd name="connsiteX39" fmla="*/ 11199600 w 11199600"/>
              <a:gd name="connsiteY39" fmla="*/ 2323525 h 4504080"/>
              <a:gd name="connsiteX40" fmla="*/ 11199600 w 11199600"/>
              <a:gd name="connsiteY40" fmla="*/ 2597765 h 4504080"/>
              <a:gd name="connsiteX41" fmla="*/ 11199600 w 11199600"/>
              <a:gd name="connsiteY41" fmla="*/ 2637423 h 4504080"/>
              <a:gd name="connsiteX42" fmla="*/ 11199600 w 11199600"/>
              <a:gd name="connsiteY42" fmla="*/ 2911664 h 4504080"/>
              <a:gd name="connsiteX43" fmla="*/ 11199600 w 11199600"/>
              <a:gd name="connsiteY43" fmla="*/ 2974563 h 4504080"/>
              <a:gd name="connsiteX44" fmla="*/ 11199600 w 11199600"/>
              <a:gd name="connsiteY44" fmla="*/ 3248803 h 4504080"/>
              <a:gd name="connsiteX45" fmla="*/ 11199600 w 11199600"/>
              <a:gd name="connsiteY45" fmla="*/ 3335774 h 4504080"/>
              <a:gd name="connsiteX46" fmla="*/ 11199600 w 11199600"/>
              <a:gd name="connsiteY46" fmla="*/ 3610014 h 4504080"/>
              <a:gd name="connsiteX47" fmla="*/ 11199600 w 11199600"/>
              <a:gd name="connsiteY47" fmla="*/ 3721887 h 4504080"/>
              <a:gd name="connsiteX48" fmla="*/ 11199600 w 11199600"/>
              <a:gd name="connsiteY48" fmla="*/ 3996127 h 4504080"/>
              <a:gd name="connsiteX49" fmla="*/ 11199600 w 11199600"/>
              <a:gd name="connsiteY49" fmla="*/ 4133731 h 4504080"/>
              <a:gd name="connsiteX50" fmla="*/ 11199600 w 11199600"/>
              <a:gd name="connsiteY50" fmla="*/ 4407971 h 4504080"/>
              <a:gd name="connsiteX51" fmla="*/ 11118603 w 11199600"/>
              <a:gd name="connsiteY51" fmla="*/ 4502580 h 4504080"/>
              <a:gd name="connsiteX52" fmla="*/ 11103613 w 11199600"/>
              <a:gd name="connsiteY52" fmla="*/ 4504080 h 4504080"/>
              <a:gd name="connsiteX53" fmla="*/ 95989 w 11199600"/>
              <a:gd name="connsiteY53" fmla="*/ 4504080 h 4504080"/>
              <a:gd name="connsiteX54" fmla="*/ 64311 w 11199600"/>
              <a:gd name="connsiteY54" fmla="*/ 4499952 h 4504080"/>
              <a:gd name="connsiteX55" fmla="*/ 0 w 11199600"/>
              <a:gd name="connsiteY55" fmla="*/ 4407971 h 4504080"/>
              <a:gd name="connsiteX56" fmla="*/ 0 w 11199600"/>
              <a:gd name="connsiteY56" fmla="*/ 4404236 h 4504080"/>
              <a:gd name="connsiteX57" fmla="*/ 0 w 11199600"/>
              <a:gd name="connsiteY57" fmla="*/ 4395365 h 4504080"/>
              <a:gd name="connsiteX58" fmla="*/ 0 w 11199600"/>
              <a:gd name="connsiteY58" fmla="*/ 4378089 h 4504080"/>
              <a:gd name="connsiteX59" fmla="*/ 0 w 11199600"/>
              <a:gd name="connsiteY59" fmla="*/ 4349608 h 4504080"/>
              <a:gd name="connsiteX60" fmla="*/ 0 w 11199600"/>
              <a:gd name="connsiteY60" fmla="*/ 4307120 h 4504080"/>
              <a:gd name="connsiteX61" fmla="*/ 0 w 11199600"/>
              <a:gd name="connsiteY61" fmla="*/ 4247823 h 4504080"/>
              <a:gd name="connsiteX62" fmla="*/ 0 w 11199600"/>
              <a:gd name="connsiteY62" fmla="*/ 4168916 h 4504080"/>
              <a:gd name="connsiteX63" fmla="*/ 0 w 11199600"/>
              <a:gd name="connsiteY63" fmla="*/ 4133731 h 4504080"/>
              <a:gd name="connsiteX64" fmla="*/ 0 w 11199600"/>
              <a:gd name="connsiteY64" fmla="*/ 4132625 h 4504080"/>
              <a:gd name="connsiteX65" fmla="*/ 0 w 11199600"/>
              <a:gd name="connsiteY65" fmla="*/ 4124877 h 4504080"/>
              <a:gd name="connsiteX66" fmla="*/ 0 w 11199600"/>
              <a:gd name="connsiteY66" fmla="*/ 4104034 h 4504080"/>
              <a:gd name="connsiteX67" fmla="*/ 0 w 11199600"/>
              <a:gd name="connsiteY67" fmla="*/ 4103849 h 4504080"/>
              <a:gd name="connsiteX68" fmla="*/ 0 w 11199600"/>
              <a:gd name="connsiteY68" fmla="*/ 4062900 h 4504080"/>
              <a:gd name="connsiteX69" fmla="*/ 0 w 11199600"/>
              <a:gd name="connsiteY69" fmla="*/ 4032880 h 4504080"/>
              <a:gd name="connsiteX70" fmla="*/ 0 w 11199600"/>
              <a:gd name="connsiteY70" fmla="*/ 4028361 h 4504080"/>
              <a:gd name="connsiteX71" fmla="*/ 0 w 11199600"/>
              <a:gd name="connsiteY71" fmla="*/ 3995389 h 4504080"/>
              <a:gd name="connsiteX72" fmla="*/ 0 w 11199600"/>
              <a:gd name="connsiteY72" fmla="*/ 3949598 h 4504080"/>
              <a:gd name="connsiteX73" fmla="*/ 0 w 11199600"/>
              <a:gd name="connsiteY73" fmla="*/ 3941067 h 4504080"/>
              <a:gd name="connsiteX74" fmla="*/ 0 w 11199600"/>
              <a:gd name="connsiteY74" fmla="*/ 3894676 h 4504080"/>
              <a:gd name="connsiteX75" fmla="*/ 0 w 11199600"/>
              <a:gd name="connsiteY75" fmla="*/ 3841322 h 4504080"/>
              <a:gd name="connsiteX76" fmla="*/ 0 w 11199600"/>
              <a:gd name="connsiteY76" fmla="*/ 3829794 h 4504080"/>
              <a:gd name="connsiteX77" fmla="*/ 0 w 11199600"/>
              <a:gd name="connsiteY77" fmla="*/ 3754121 h 4504080"/>
              <a:gd name="connsiteX78" fmla="*/ 0 w 11199600"/>
              <a:gd name="connsiteY78" fmla="*/ 3728297 h 4504080"/>
              <a:gd name="connsiteX79" fmla="*/ 0 w 11199600"/>
              <a:gd name="connsiteY79" fmla="*/ 3666827 h 4504080"/>
              <a:gd name="connsiteX80" fmla="*/ 0 w 11199600"/>
              <a:gd name="connsiteY80" fmla="*/ 3601160 h 4504080"/>
              <a:gd name="connsiteX81" fmla="*/ 0 w 11199600"/>
              <a:gd name="connsiteY81" fmla="*/ 3567082 h 4504080"/>
              <a:gd name="connsiteX82" fmla="*/ 0 w 11199600"/>
              <a:gd name="connsiteY82" fmla="*/ 3459083 h 4504080"/>
              <a:gd name="connsiteX83" fmla="*/ 0 w 11199600"/>
              <a:gd name="connsiteY83" fmla="*/ 3454057 h 4504080"/>
              <a:gd name="connsiteX84" fmla="*/ 0 w 11199600"/>
              <a:gd name="connsiteY84" fmla="*/ 3326920 h 4504080"/>
              <a:gd name="connsiteX85" fmla="*/ 0 w 11199600"/>
              <a:gd name="connsiteY85" fmla="*/ 3301235 h 4504080"/>
              <a:gd name="connsiteX86" fmla="*/ 0 w 11199600"/>
              <a:gd name="connsiteY86" fmla="*/ 3184843 h 4504080"/>
              <a:gd name="connsiteX87" fmla="*/ 0 w 11199600"/>
              <a:gd name="connsiteY87" fmla="*/ 3126785 h 4504080"/>
              <a:gd name="connsiteX88" fmla="*/ 0 w 11199600"/>
              <a:gd name="connsiteY88" fmla="*/ 3026995 h 4504080"/>
              <a:gd name="connsiteX89" fmla="*/ 0 w 11199600"/>
              <a:gd name="connsiteY89" fmla="*/ 2934905 h 4504080"/>
              <a:gd name="connsiteX90" fmla="*/ 0 w 11199600"/>
              <a:gd name="connsiteY90" fmla="*/ 2852545 h 4504080"/>
              <a:gd name="connsiteX91" fmla="*/ 0 w 11199600"/>
              <a:gd name="connsiteY91" fmla="*/ 2724763 h 4504080"/>
              <a:gd name="connsiteX92" fmla="*/ 0 w 11199600"/>
              <a:gd name="connsiteY92" fmla="*/ 2660665 h 4504080"/>
              <a:gd name="connsiteX93" fmla="*/ 0 w 11199600"/>
              <a:gd name="connsiteY93" fmla="*/ 2495530 h 4504080"/>
              <a:gd name="connsiteX94" fmla="*/ 0 w 11199600"/>
              <a:gd name="connsiteY94" fmla="*/ 2450523 h 4504080"/>
              <a:gd name="connsiteX95" fmla="*/ 0 w 11199600"/>
              <a:gd name="connsiteY95" fmla="*/ 2246376 h 4504080"/>
              <a:gd name="connsiteX96" fmla="*/ 0 w 11199600"/>
              <a:gd name="connsiteY96" fmla="*/ 2221290 h 4504080"/>
              <a:gd name="connsiteX97" fmla="*/ 0 w 11199600"/>
              <a:gd name="connsiteY97" fmla="*/ 1984894 h 4504080"/>
              <a:gd name="connsiteX98" fmla="*/ 0 w 11199600"/>
              <a:gd name="connsiteY98" fmla="*/ 1976471 h 4504080"/>
              <a:gd name="connsiteX99" fmla="*/ 0 w 11199600"/>
              <a:gd name="connsiteY99" fmla="*/ 1972136 h 4504080"/>
              <a:gd name="connsiteX100" fmla="*/ 0 w 11199600"/>
              <a:gd name="connsiteY100" fmla="*/ 1906316 h 4504080"/>
              <a:gd name="connsiteX101" fmla="*/ 0 w 11199600"/>
              <a:gd name="connsiteY101" fmla="*/ 1866658 h 4504080"/>
              <a:gd name="connsiteX102" fmla="*/ 0 w 11199600"/>
              <a:gd name="connsiteY102" fmla="*/ 1702231 h 4504080"/>
              <a:gd name="connsiteX103" fmla="*/ 0 w 11199600"/>
              <a:gd name="connsiteY103" fmla="*/ 1684984 h 4504080"/>
              <a:gd name="connsiteX104" fmla="*/ 0 w 11199600"/>
              <a:gd name="connsiteY104" fmla="*/ 1626118 h 4504080"/>
              <a:gd name="connsiteX105" fmla="*/ 0 w 11199600"/>
              <a:gd name="connsiteY105" fmla="*/ 1592418 h 4504080"/>
              <a:gd name="connsiteX106" fmla="*/ 0 w 11199600"/>
              <a:gd name="connsiteY106" fmla="*/ 1529519 h 4504080"/>
              <a:gd name="connsiteX107" fmla="*/ 0 w 11199600"/>
              <a:gd name="connsiteY107" fmla="*/ 1255278 h 4504080"/>
              <a:gd name="connsiteX108" fmla="*/ 0 w 11199600"/>
              <a:gd name="connsiteY108" fmla="*/ 1168307 h 4504080"/>
              <a:gd name="connsiteX109" fmla="*/ 0 w 11199600"/>
              <a:gd name="connsiteY109" fmla="*/ 894067 h 4504080"/>
              <a:gd name="connsiteX110" fmla="*/ 0 w 11199600"/>
              <a:gd name="connsiteY110" fmla="*/ 782195 h 4504080"/>
              <a:gd name="connsiteX111" fmla="*/ 0 w 11199600"/>
              <a:gd name="connsiteY111" fmla="*/ 507955 h 4504080"/>
              <a:gd name="connsiteX112" fmla="*/ 0 w 11199600"/>
              <a:gd name="connsiteY112" fmla="*/ 370350 h 4504080"/>
              <a:gd name="connsiteX113" fmla="*/ 0 w 11199600"/>
              <a:gd name="connsiteY113" fmla="*/ 96110 h 4504080"/>
              <a:gd name="connsiteX114" fmla="*/ 95997 w 11199600"/>
              <a:gd name="connsiteY114" fmla="*/ 0 h 4504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1199600" h="4504080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44999"/>
                </a:lnTo>
                <a:lnTo>
                  <a:pt x="11199600" y="1050025"/>
                </a:lnTo>
                <a:cubicBezTo>
                  <a:pt x="11199600" y="1090006"/>
                  <a:pt x="11199600" y="1132338"/>
                  <a:pt x="11199600" y="1177161"/>
                </a:cubicBezTo>
                <a:lnTo>
                  <a:pt x="11199600" y="1202847"/>
                </a:lnTo>
                <a:lnTo>
                  <a:pt x="11199600" y="1319239"/>
                </a:lnTo>
                <a:lnTo>
                  <a:pt x="11199600" y="1377296"/>
                </a:lnTo>
                <a:lnTo>
                  <a:pt x="11199600" y="1477087"/>
                </a:lnTo>
                <a:lnTo>
                  <a:pt x="11199600" y="1569177"/>
                </a:lnTo>
                <a:lnTo>
                  <a:pt x="11199600" y="1626118"/>
                </a:lnTo>
                <a:lnTo>
                  <a:pt x="11199600" y="1651536"/>
                </a:lnTo>
                <a:lnTo>
                  <a:pt x="11199600" y="1762133"/>
                </a:lnTo>
                <a:lnTo>
                  <a:pt x="11199600" y="1779318"/>
                </a:lnTo>
                <a:lnTo>
                  <a:pt x="11199600" y="1787219"/>
                </a:lnTo>
                <a:lnTo>
                  <a:pt x="11199600" y="1843417"/>
                </a:lnTo>
                <a:lnTo>
                  <a:pt x="11199600" y="1984894"/>
                </a:lnTo>
                <a:lnTo>
                  <a:pt x="11199600" y="2032038"/>
                </a:lnTo>
                <a:lnTo>
                  <a:pt x="11199600" y="2036373"/>
                </a:lnTo>
                <a:cubicBezTo>
                  <a:pt x="11199600" y="2122837"/>
                  <a:pt x="11199600" y="2212759"/>
                  <a:pt x="11199600" y="2306279"/>
                </a:cubicBezTo>
                <a:lnTo>
                  <a:pt x="11199600" y="2323525"/>
                </a:lnTo>
                <a:lnTo>
                  <a:pt x="11199600" y="2597765"/>
                </a:lnTo>
                <a:lnTo>
                  <a:pt x="11199600" y="2637423"/>
                </a:lnTo>
                <a:lnTo>
                  <a:pt x="11199600" y="2911664"/>
                </a:lnTo>
                <a:lnTo>
                  <a:pt x="11199600" y="2974563"/>
                </a:lnTo>
                <a:lnTo>
                  <a:pt x="11199600" y="3248803"/>
                </a:lnTo>
                <a:lnTo>
                  <a:pt x="11199600" y="3335774"/>
                </a:lnTo>
                <a:lnTo>
                  <a:pt x="11199600" y="3610014"/>
                </a:lnTo>
                <a:lnTo>
                  <a:pt x="11199600" y="3721887"/>
                </a:lnTo>
                <a:lnTo>
                  <a:pt x="11199600" y="3996127"/>
                </a:lnTo>
                <a:lnTo>
                  <a:pt x="11199600" y="4133731"/>
                </a:lnTo>
                <a:lnTo>
                  <a:pt x="11199600" y="4407971"/>
                </a:lnTo>
                <a:cubicBezTo>
                  <a:pt x="11199600" y="4480054"/>
                  <a:pt x="11145602" y="4498074"/>
                  <a:pt x="11118603" y="4502580"/>
                </a:cubicBezTo>
                <a:lnTo>
                  <a:pt x="11103613" y="4504080"/>
                </a:lnTo>
                <a:lnTo>
                  <a:pt x="95989" y="4504080"/>
                </a:lnTo>
                <a:lnTo>
                  <a:pt x="64311" y="4499952"/>
                </a:lnTo>
                <a:cubicBezTo>
                  <a:pt x="0" y="4481555"/>
                  <a:pt x="0" y="4407971"/>
                  <a:pt x="0" y="4407971"/>
                </a:cubicBezTo>
                <a:lnTo>
                  <a:pt x="0" y="4404236"/>
                </a:lnTo>
                <a:lnTo>
                  <a:pt x="0" y="4395365"/>
                </a:lnTo>
                <a:lnTo>
                  <a:pt x="0" y="4378089"/>
                </a:lnTo>
                <a:lnTo>
                  <a:pt x="0" y="4349608"/>
                </a:lnTo>
                <a:lnTo>
                  <a:pt x="0" y="4307120"/>
                </a:lnTo>
                <a:lnTo>
                  <a:pt x="0" y="4247823"/>
                </a:lnTo>
                <a:lnTo>
                  <a:pt x="0" y="4168916"/>
                </a:lnTo>
                <a:lnTo>
                  <a:pt x="0" y="4133731"/>
                </a:lnTo>
                <a:lnTo>
                  <a:pt x="0" y="4132625"/>
                </a:lnTo>
                <a:lnTo>
                  <a:pt x="0" y="4124877"/>
                </a:lnTo>
                <a:lnTo>
                  <a:pt x="0" y="4104034"/>
                </a:lnTo>
                <a:lnTo>
                  <a:pt x="0" y="4103849"/>
                </a:lnTo>
                <a:lnTo>
                  <a:pt x="0" y="4062900"/>
                </a:lnTo>
                <a:lnTo>
                  <a:pt x="0" y="4032880"/>
                </a:lnTo>
                <a:lnTo>
                  <a:pt x="0" y="4028361"/>
                </a:lnTo>
                <a:lnTo>
                  <a:pt x="0" y="3995389"/>
                </a:lnTo>
                <a:lnTo>
                  <a:pt x="0" y="3949598"/>
                </a:lnTo>
                <a:lnTo>
                  <a:pt x="0" y="3941067"/>
                </a:lnTo>
                <a:lnTo>
                  <a:pt x="0" y="3894676"/>
                </a:lnTo>
                <a:lnTo>
                  <a:pt x="0" y="3841322"/>
                </a:lnTo>
                <a:lnTo>
                  <a:pt x="0" y="3829794"/>
                </a:lnTo>
                <a:lnTo>
                  <a:pt x="0" y="3754121"/>
                </a:lnTo>
                <a:lnTo>
                  <a:pt x="0" y="3728297"/>
                </a:lnTo>
                <a:lnTo>
                  <a:pt x="0" y="3666827"/>
                </a:lnTo>
                <a:lnTo>
                  <a:pt x="0" y="3601160"/>
                </a:lnTo>
                <a:lnTo>
                  <a:pt x="0" y="3567082"/>
                </a:lnTo>
                <a:lnTo>
                  <a:pt x="0" y="3459083"/>
                </a:lnTo>
                <a:lnTo>
                  <a:pt x="0" y="3454057"/>
                </a:lnTo>
                <a:lnTo>
                  <a:pt x="0" y="3326920"/>
                </a:lnTo>
                <a:lnTo>
                  <a:pt x="0" y="3301235"/>
                </a:lnTo>
                <a:lnTo>
                  <a:pt x="0" y="3184843"/>
                </a:lnTo>
                <a:lnTo>
                  <a:pt x="0" y="3126785"/>
                </a:lnTo>
                <a:lnTo>
                  <a:pt x="0" y="3026995"/>
                </a:lnTo>
                <a:lnTo>
                  <a:pt x="0" y="2934905"/>
                </a:lnTo>
                <a:lnTo>
                  <a:pt x="0" y="2852545"/>
                </a:lnTo>
                <a:lnTo>
                  <a:pt x="0" y="2724763"/>
                </a:lnTo>
                <a:lnTo>
                  <a:pt x="0" y="2660665"/>
                </a:lnTo>
                <a:lnTo>
                  <a:pt x="0" y="2495530"/>
                </a:lnTo>
                <a:lnTo>
                  <a:pt x="0" y="2450523"/>
                </a:lnTo>
                <a:lnTo>
                  <a:pt x="0" y="2246376"/>
                </a:lnTo>
                <a:lnTo>
                  <a:pt x="0" y="2221290"/>
                </a:lnTo>
                <a:lnTo>
                  <a:pt x="0" y="1984894"/>
                </a:lnTo>
                <a:lnTo>
                  <a:pt x="0" y="1976471"/>
                </a:lnTo>
                <a:lnTo>
                  <a:pt x="0" y="1972136"/>
                </a:lnTo>
                <a:lnTo>
                  <a:pt x="0" y="1906316"/>
                </a:lnTo>
                <a:lnTo>
                  <a:pt x="0" y="1866658"/>
                </a:lnTo>
                <a:lnTo>
                  <a:pt x="0" y="1702231"/>
                </a:lnTo>
                <a:lnTo>
                  <a:pt x="0" y="1684984"/>
                </a:lnTo>
                <a:lnTo>
                  <a:pt x="0" y="1626118"/>
                </a:lnTo>
                <a:lnTo>
                  <a:pt x="0" y="1592418"/>
                </a:lnTo>
                <a:lnTo>
                  <a:pt x="0" y="1529519"/>
                </a:lnTo>
                <a:lnTo>
                  <a:pt x="0" y="1255278"/>
                </a:lnTo>
                <a:lnTo>
                  <a:pt x="0" y="1168307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 bwMode="gray">
          <a:xfrm>
            <a:off x="838199" y="257725"/>
            <a:ext cx="11059319" cy="11798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lnSpc>
                <a:spcPts val="4600"/>
              </a:lnSpc>
              <a:defRPr sz="4600"/>
            </a:lvl1pPr>
          </a:lstStyle>
          <a:p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itle style</a:t>
            </a:r>
            <a:endParaRPr lang="en-GB" noProof="0" dirty="0"/>
          </a:p>
        </p:txBody>
      </p:sp>
      <p:grpSp>
        <p:nvGrpSpPr>
          <p:cNvPr id="8" name="Group 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1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1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1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1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2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2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2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2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2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2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23433" y="6358069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6751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2520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8961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16123899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000"/>
            <a:ext cx="5058750" cy="4929584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5058000" cy="44039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95906617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6411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660381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tit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795636"/>
            <a:ext cx="5058750" cy="4403948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000"/>
            <a:ext cx="5058000" cy="49295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274825" y="1277982"/>
            <a:ext cx="505992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88639425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>
          <p15:clr>
            <a:srgbClr val="FBAE40"/>
          </p15:clr>
        </p15:guide>
        <p15:guide id="2" pos="39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23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750" y="1278000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Text Placeholder 2"/>
          <p:cNvSpPr>
            <a:spLocks noGrp="1"/>
          </p:cNvSpPr>
          <p:nvPr>
            <p:ph idx="28"/>
          </p:nvPr>
        </p:nvSpPr>
        <p:spPr bwMode="gray">
          <a:xfrm>
            <a:off x="845575" y="1278000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Content Placeholder 3"/>
          <p:cNvSpPr>
            <a:spLocks noGrp="1"/>
          </p:cNvSpPr>
          <p:nvPr>
            <p:ph sz="half" idx="29"/>
          </p:nvPr>
        </p:nvSpPr>
        <p:spPr bwMode="gray">
          <a:xfrm>
            <a:off x="6276750" y="3877591"/>
            <a:ext cx="5058000" cy="233017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6" name="Text Placeholder 2"/>
          <p:cNvSpPr>
            <a:spLocks noGrp="1"/>
          </p:cNvSpPr>
          <p:nvPr>
            <p:ph idx="30"/>
          </p:nvPr>
        </p:nvSpPr>
        <p:spPr bwMode="gray">
          <a:xfrm>
            <a:off x="845575" y="3877591"/>
            <a:ext cx="5058000" cy="233017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87324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0" pos="3948" userDrawn="1">
          <p15:clr>
            <a:srgbClr val="FBAE40"/>
          </p15:clr>
        </p15:guide>
        <p15:guide id="2" orient="horz" pos="2274" userDrawn="1">
          <p15:clr>
            <a:srgbClr val="FBAE40"/>
          </p15:clr>
        </p15:guide>
        <p15:guide id="3" orient="horz" pos="244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278384"/>
            <a:ext cx="3265200" cy="2329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278384"/>
            <a:ext cx="3265200" cy="2329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278384"/>
            <a:ext cx="3265200" cy="2329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3884250"/>
            <a:ext cx="3265200" cy="2329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3884250"/>
            <a:ext cx="3265200" cy="2329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3884250"/>
            <a:ext cx="3265200" cy="2329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2521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91" userDrawn="1">
          <p15:clr>
            <a:srgbClr val="FBAE40"/>
          </p15:clr>
        </p15:guide>
        <p15:guide id="2" pos="2808" userDrawn="1">
          <p15:clr>
            <a:srgbClr val="FBAE40"/>
          </p15:clr>
        </p15:guide>
        <p15:guide id="3" pos="4866" userDrawn="1">
          <p15:clr>
            <a:srgbClr val="FBAE40"/>
          </p15:clr>
        </p15:guide>
        <p15:guide id="4" pos="5082" userDrawn="1">
          <p15:clr>
            <a:srgbClr val="FBAE40"/>
          </p15:clr>
        </p15:guide>
        <p15:guide id="5" orient="horz" pos="2274" userDrawn="1">
          <p15:clr>
            <a:srgbClr val="FBAE40"/>
          </p15:clr>
        </p15:guide>
        <p15:guide id="6" orient="horz" pos="2442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907" y="1795637"/>
            <a:ext cx="3265200" cy="26969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 bwMode="gray">
          <a:xfrm>
            <a:off x="4458228" y="1795637"/>
            <a:ext cx="3265200" cy="26969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4"/>
          </p:nvPr>
        </p:nvSpPr>
        <p:spPr bwMode="gray">
          <a:xfrm>
            <a:off x="8069550" y="1795637"/>
            <a:ext cx="3265200" cy="2696988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 bwMode="gray">
          <a:xfrm>
            <a:off x="846908" y="4760734"/>
            <a:ext cx="3265200" cy="144004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 bwMode="gray">
          <a:xfrm>
            <a:off x="4458229" y="4760734"/>
            <a:ext cx="3265200" cy="144004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 bwMode="gray">
          <a:xfrm>
            <a:off x="8069550" y="4760734"/>
            <a:ext cx="3265200" cy="144004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3265200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4458228" y="1277982"/>
            <a:ext cx="3265200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8069550" y="1277982"/>
            <a:ext cx="3265200" cy="436017"/>
          </a:xfrm>
        </p:spPr>
        <p:txBody>
          <a:bodyPr/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79698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08">
          <p15:clr>
            <a:srgbClr val="FBAE40"/>
          </p15:clr>
        </p15:guide>
        <p15:guide id="3" pos="4866">
          <p15:clr>
            <a:srgbClr val="FBAE40"/>
          </p15:clr>
        </p15:guide>
        <p15:guide id="4" pos="5082">
          <p15:clr>
            <a:srgbClr val="FBAE40"/>
          </p15:clr>
        </p15:guide>
        <p15:guide id="5" orient="horz" pos="2830" userDrawn="1">
          <p15:clr>
            <a:srgbClr val="FBAE40"/>
          </p15:clr>
        </p15:guide>
        <p15:guide id="6" orient="horz" pos="2998" userDrawn="1">
          <p15:clr>
            <a:srgbClr val="FBAE40"/>
          </p15:clr>
        </p15:guide>
        <p15:guide id="7" pos="2592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plit Conten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4561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7590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5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6276750" y="1279981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276750" y="1754561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276750" y="3877590"/>
            <a:ext cx="5058000" cy="324000"/>
          </a:xfrm>
        </p:spPr>
        <p:txBody>
          <a:bodyPr>
            <a:noAutofit/>
          </a:bodyPr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1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276750" y="4346775"/>
            <a:ext cx="5058000" cy="1854000"/>
          </a:xfrm>
        </p:spPr>
        <p:txBody>
          <a:bodyPr/>
          <a:lstStyle>
            <a:lvl3pPr>
              <a:lnSpc>
                <a:spcPts val="2200"/>
              </a:lnSpc>
              <a:defRPr sz="20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6276750" y="1682898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 bwMode="gray">
          <a:xfrm>
            <a:off x="6276750" y="4278810"/>
            <a:ext cx="5058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358644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3720" userDrawn="1">
          <p15:clr>
            <a:srgbClr val="FBAE40"/>
          </p15:clr>
        </p15:guide>
        <p15:guide id="3" pos="3953" userDrawn="1">
          <p15:clr>
            <a:srgbClr val="FBAE40"/>
          </p15:clr>
        </p15:guide>
        <p15:guide id="4" orient="horz" pos="2274" userDrawn="1">
          <p15:clr>
            <a:srgbClr val="FBAE40"/>
          </p15:clr>
        </p15:guide>
        <p15:guide id="5" orient="horz" pos="244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plit 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5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 dirty="0"/>
              <a:t>Click to edit tit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5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5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5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5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5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8069550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1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069550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069550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3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069550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44" name="Straight Connector 43"/>
          <p:cNvCxnSpPr/>
          <p:nvPr userDrawn="1"/>
        </p:nvCxnSpPr>
        <p:spPr bwMode="gray">
          <a:xfrm>
            <a:off x="8069550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 userDrawn="1"/>
        </p:nvCxnSpPr>
        <p:spPr bwMode="gray">
          <a:xfrm>
            <a:off x="8069550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4457562" y="1278384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7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4457562" y="1757278"/>
            <a:ext cx="3265200" cy="1850305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48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4457562" y="3878568"/>
            <a:ext cx="32652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49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4457562" y="4346776"/>
            <a:ext cx="32652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0" name="Straight Connector 49"/>
          <p:cNvCxnSpPr/>
          <p:nvPr userDrawn="1"/>
        </p:nvCxnSpPr>
        <p:spPr bwMode="gray">
          <a:xfrm>
            <a:off x="4457562" y="1685616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 bwMode="gray">
          <a:xfrm>
            <a:off x="4457562" y="4278810"/>
            <a:ext cx="32652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909285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592" userDrawn="1">
          <p15:clr>
            <a:srgbClr val="FBAE40"/>
          </p15:clr>
        </p15:guide>
        <p15:guide id="3" pos="5082" userDrawn="1">
          <p15:clr>
            <a:srgbClr val="FBAE40"/>
          </p15:clr>
        </p15:guide>
        <p15:guide id="4" pos="2803" userDrawn="1">
          <p15:clr>
            <a:srgbClr val="FBAE40"/>
          </p15:clr>
        </p15:guide>
        <p15:guide id="5" pos="4866" userDrawn="1">
          <p15:clr>
            <a:srgbClr val="FBAE40"/>
          </p15:clr>
        </p15:guide>
        <p15:guide id="6" orient="horz" pos="2274" userDrawn="1">
          <p15:clr>
            <a:srgbClr val="FBAE40"/>
          </p15:clr>
        </p15:guide>
        <p15:guide id="7" orient="horz" pos="2442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Spli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845574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" name="Content Placeholder 2"/>
          <p:cNvSpPr>
            <a:spLocks noGrp="1"/>
          </p:cNvSpPr>
          <p:nvPr>
            <p:ph idx="13" hasCustomPrompt="1"/>
          </p:nvPr>
        </p:nvSpPr>
        <p:spPr bwMode="gray">
          <a:xfrm>
            <a:off x="845574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45574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845574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845574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 bwMode="gray">
          <a:xfrm>
            <a:off x="845574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89966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2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3489966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3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3489966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4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3489966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55" name="Straight Connector 54"/>
          <p:cNvCxnSpPr/>
          <p:nvPr userDrawn="1"/>
        </p:nvCxnSpPr>
        <p:spPr bwMode="gray">
          <a:xfrm>
            <a:off x="3489966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 bwMode="gray">
          <a:xfrm>
            <a:off x="3489966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6134358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58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6134358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59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6134358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0" name="Content Placeholder 2"/>
          <p:cNvSpPr>
            <a:spLocks noGrp="1"/>
          </p:cNvSpPr>
          <p:nvPr>
            <p:ph idx="29" hasCustomPrompt="1"/>
          </p:nvPr>
        </p:nvSpPr>
        <p:spPr bwMode="gray">
          <a:xfrm>
            <a:off x="6134358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1" name="Straight Connector 60"/>
          <p:cNvCxnSpPr/>
          <p:nvPr userDrawn="1"/>
        </p:nvCxnSpPr>
        <p:spPr bwMode="gray">
          <a:xfrm>
            <a:off x="6134358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 bwMode="gray">
          <a:xfrm>
            <a:off x="6134358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Content Placeholder 2"/>
          <p:cNvSpPr>
            <a:spLocks noGrp="1"/>
          </p:cNvSpPr>
          <p:nvPr>
            <p:ph idx="30" hasCustomPrompt="1"/>
          </p:nvPr>
        </p:nvSpPr>
        <p:spPr bwMode="gray">
          <a:xfrm>
            <a:off x="8778750" y="1278384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4" name="Content Placeholder 2"/>
          <p:cNvSpPr>
            <a:spLocks noGrp="1"/>
          </p:cNvSpPr>
          <p:nvPr>
            <p:ph idx="31" hasCustomPrompt="1"/>
          </p:nvPr>
        </p:nvSpPr>
        <p:spPr bwMode="gray">
          <a:xfrm>
            <a:off x="8778750" y="1757279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sp>
        <p:nvSpPr>
          <p:cNvPr id="65" name="Content Placeholder 2"/>
          <p:cNvSpPr>
            <a:spLocks noGrp="1"/>
          </p:cNvSpPr>
          <p:nvPr>
            <p:ph idx="32" hasCustomPrompt="1"/>
          </p:nvPr>
        </p:nvSpPr>
        <p:spPr bwMode="gray">
          <a:xfrm>
            <a:off x="8778750" y="3878568"/>
            <a:ext cx="2556000" cy="324000"/>
          </a:xfrm>
        </p:spPr>
        <p:txBody>
          <a:bodyPr/>
          <a:lstStyle>
            <a:lvl1pPr>
              <a:lnSpc>
                <a:spcPts val="2100"/>
              </a:lnSpc>
              <a:defRPr sz="1800" b="1"/>
            </a:lvl1pPr>
          </a:lstStyle>
          <a:p>
            <a:pPr lvl="0"/>
            <a:r>
              <a:rPr lang="en-GB" noProof="0"/>
              <a:t>Click to edit title</a:t>
            </a:r>
            <a:endParaRPr lang="en-GB" noProof="0" dirty="0"/>
          </a:p>
        </p:txBody>
      </p:sp>
      <p:sp>
        <p:nvSpPr>
          <p:cNvPr id="66" name="Content Placeholder 2"/>
          <p:cNvSpPr>
            <a:spLocks noGrp="1"/>
          </p:cNvSpPr>
          <p:nvPr>
            <p:ph idx="33" hasCustomPrompt="1"/>
          </p:nvPr>
        </p:nvSpPr>
        <p:spPr bwMode="gray">
          <a:xfrm>
            <a:off x="8778750" y="4346776"/>
            <a:ext cx="2556000" cy="1850400"/>
          </a:xfrm>
        </p:spPr>
        <p:txBody>
          <a:bodyPr/>
          <a:lstStyle>
            <a:lvl3pPr>
              <a:lnSpc>
                <a:spcPts val="2100"/>
              </a:lnSpc>
              <a:defRPr sz="1800"/>
            </a:lvl3pPr>
          </a:lstStyle>
          <a:p>
            <a:pPr lvl="2"/>
            <a:r>
              <a:rPr lang="en-GB" noProof="0" dirty="0"/>
              <a:t>Text level</a:t>
            </a:r>
          </a:p>
        </p:txBody>
      </p:sp>
      <p:cxnSp>
        <p:nvCxnSpPr>
          <p:cNvPr id="67" name="Straight Connector 66"/>
          <p:cNvCxnSpPr/>
          <p:nvPr userDrawn="1"/>
        </p:nvCxnSpPr>
        <p:spPr bwMode="gray">
          <a:xfrm>
            <a:off x="8778750" y="1685616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 userDrawn="1"/>
        </p:nvCxnSpPr>
        <p:spPr bwMode="gray">
          <a:xfrm>
            <a:off x="8778750" y="4278810"/>
            <a:ext cx="2556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11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43098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149" userDrawn="1">
          <p15:clr>
            <a:srgbClr val="FBAE40"/>
          </p15:clr>
        </p15:guide>
        <p15:guide id="4" pos="5480" userDrawn="1">
          <p15:clr>
            <a:srgbClr val="FBAE40"/>
          </p15:clr>
        </p15:guide>
        <p15:guide id="5" pos="3864" userDrawn="1">
          <p15:clr>
            <a:srgbClr val="FBAE40"/>
          </p15:clr>
        </p15:guide>
        <p15:guide id="6" pos="2196" userDrawn="1">
          <p15:clr>
            <a:srgbClr val="FBAE40"/>
          </p15:clr>
        </p15:guide>
        <p15:guide id="7" pos="3809" userDrawn="1">
          <p15:clr>
            <a:srgbClr val="FBAE40"/>
          </p15:clr>
        </p15:guide>
        <p15:guide id="8" pos="5528" userDrawn="1">
          <p15:clr>
            <a:srgbClr val="FBAE40"/>
          </p15:clr>
        </p15:guide>
        <p15:guide id="9" orient="horz" pos="2274" userDrawn="1">
          <p15:clr>
            <a:srgbClr val="FBAE40"/>
          </p15:clr>
        </p15:guide>
        <p15:guide id="10" orient="horz" pos="2442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547528" y="1270000"/>
            <a:ext cx="6787224" cy="49784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/>
          </p:nvPr>
        </p:nvSpPr>
        <p:spPr bwMode="gray">
          <a:xfrm>
            <a:off x="693739" y="280732"/>
            <a:ext cx="3443287" cy="5920066"/>
          </a:xfrm>
          <a:custGeom>
            <a:avLst/>
            <a:gdLst>
              <a:gd name="connsiteX0" fmla="*/ 95997 w 3443287"/>
              <a:gd name="connsiteY0" fmla="*/ 0 h 5920066"/>
              <a:gd name="connsiteX1" fmla="*/ 3443287 w 3443287"/>
              <a:gd name="connsiteY1" fmla="*/ 0 h 5920066"/>
              <a:gd name="connsiteX2" fmla="*/ 3443287 w 3443287"/>
              <a:gd name="connsiteY2" fmla="*/ 5920066 h 5920066"/>
              <a:gd name="connsiteX3" fmla="*/ 95989 w 3443287"/>
              <a:gd name="connsiteY3" fmla="*/ 5920066 h 5920066"/>
              <a:gd name="connsiteX4" fmla="*/ 64311 w 3443287"/>
              <a:gd name="connsiteY4" fmla="*/ 5915938 h 5920066"/>
              <a:gd name="connsiteX5" fmla="*/ 0 w 3443287"/>
              <a:gd name="connsiteY5" fmla="*/ 5823957 h 5920066"/>
              <a:gd name="connsiteX6" fmla="*/ 0 w 3443287"/>
              <a:gd name="connsiteY6" fmla="*/ 5820222 h 5920066"/>
              <a:gd name="connsiteX7" fmla="*/ 0 w 3443287"/>
              <a:gd name="connsiteY7" fmla="*/ 5811351 h 5920066"/>
              <a:gd name="connsiteX8" fmla="*/ 0 w 3443287"/>
              <a:gd name="connsiteY8" fmla="*/ 5794075 h 5920066"/>
              <a:gd name="connsiteX9" fmla="*/ 0 w 3443287"/>
              <a:gd name="connsiteY9" fmla="*/ 5765594 h 5920066"/>
              <a:gd name="connsiteX10" fmla="*/ 0 w 3443287"/>
              <a:gd name="connsiteY10" fmla="*/ 5723106 h 5920066"/>
              <a:gd name="connsiteX11" fmla="*/ 0 w 3443287"/>
              <a:gd name="connsiteY11" fmla="*/ 5663809 h 5920066"/>
              <a:gd name="connsiteX12" fmla="*/ 0 w 3443287"/>
              <a:gd name="connsiteY12" fmla="*/ 5584902 h 5920066"/>
              <a:gd name="connsiteX13" fmla="*/ 0 w 3443287"/>
              <a:gd name="connsiteY13" fmla="*/ 5549717 h 5920066"/>
              <a:gd name="connsiteX14" fmla="*/ 0 w 3443287"/>
              <a:gd name="connsiteY14" fmla="*/ 5548611 h 5920066"/>
              <a:gd name="connsiteX15" fmla="*/ 0 w 3443287"/>
              <a:gd name="connsiteY15" fmla="*/ 5540863 h 5920066"/>
              <a:gd name="connsiteX16" fmla="*/ 0 w 3443287"/>
              <a:gd name="connsiteY16" fmla="*/ 5520020 h 5920066"/>
              <a:gd name="connsiteX17" fmla="*/ 0 w 3443287"/>
              <a:gd name="connsiteY17" fmla="*/ 5519835 h 5920066"/>
              <a:gd name="connsiteX18" fmla="*/ 0 w 3443287"/>
              <a:gd name="connsiteY18" fmla="*/ 5478886 h 5920066"/>
              <a:gd name="connsiteX19" fmla="*/ 0 w 3443287"/>
              <a:gd name="connsiteY19" fmla="*/ 5448866 h 5920066"/>
              <a:gd name="connsiteX20" fmla="*/ 0 w 3443287"/>
              <a:gd name="connsiteY20" fmla="*/ 5444347 h 5920066"/>
              <a:gd name="connsiteX21" fmla="*/ 0 w 3443287"/>
              <a:gd name="connsiteY21" fmla="*/ 5411375 h 5920066"/>
              <a:gd name="connsiteX22" fmla="*/ 0 w 3443287"/>
              <a:gd name="connsiteY22" fmla="*/ 5365584 h 5920066"/>
              <a:gd name="connsiteX23" fmla="*/ 0 w 3443287"/>
              <a:gd name="connsiteY23" fmla="*/ 5357053 h 5920066"/>
              <a:gd name="connsiteX24" fmla="*/ 0 w 3443287"/>
              <a:gd name="connsiteY24" fmla="*/ 5310662 h 5920066"/>
              <a:gd name="connsiteX25" fmla="*/ 0 w 3443287"/>
              <a:gd name="connsiteY25" fmla="*/ 5257308 h 5920066"/>
              <a:gd name="connsiteX26" fmla="*/ 0 w 3443287"/>
              <a:gd name="connsiteY26" fmla="*/ 5245780 h 5920066"/>
              <a:gd name="connsiteX27" fmla="*/ 0 w 3443287"/>
              <a:gd name="connsiteY27" fmla="*/ 5170107 h 5920066"/>
              <a:gd name="connsiteX28" fmla="*/ 0 w 3443287"/>
              <a:gd name="connsiteY28" fmla="*/ 5144283 h 5920066"/>
              <a:gd name="connsiteX29" fmla="*/ 0 w 3443287"/>
              <a:gd name="connsiteY29" fmla="*/ 5082813 h 5920066"/>
              <a:gd name="connsiteX30" fmla="*/ 0 w 3443287"/>
              <a:gd name="connsiteY30" fmla="*/ 5017146 h 5920066"/>
              <a:gd name="connsiteX31" fmla="*/ 0 w 3443287"/>
              <a:gd name="connsiteY31" fmla="*/ 4983068 h 5920066"/>
              <a:gd name="connsiteX32" fmla="*/ 0 w 3443287"/>
              <a:gd name="connsiteY32" fmla="*/ 4903543 h 5920066"/>
              <a:gd name="connsiteX33" fmla="*/ 0 w 3443287"/>
              <a:gd name="connsiteY33" fmla="*/ 4899808 h 5920066"/>
              <a:gd name="connsiteX34" fmla="*/ 0 w 3443287"/>
              <a:gd name="connsiteY34" fmla="*/ 4890937 h 5920066"/>
              <a:gd name="connsiteX35" fmla="*/ 0 w 3443287"/>
              <a:gd name="connsiteY35" fmla="*/ 4875069 h 5920066"/>
              <a:gd name="connsiteX36" fmla="*/ 0 w 3443287"/>
              <a:gd name="connsiteY36" fmla="*/ 4873661 h 5920066"/>
              <a:gd name="connsiteX37" fmla="*/ 0 w 3443287"/>
              <a:gd name="connsiteY37" fmla="*/ 4870043 h 5920066"/>
              <a:gd name="connsiteX38" fmla="*/ 0 w 3443287"/>
              <a:gd name="connsiteY38" fmla="*/ 4845180 h 5920066"/>
              <a:gd name="connsiteX39" fmla="*/ 0 w 3443287"/>
              <a:gd name="connsiteY39" fmla="*/ 4802692 h 5920066"/>
              <a:gd name="connsiteX40" fmla="*/ 0 w 3443287"/>
              <a:gd name="connsiteY40" fmla="*/ 4743395 h 5920066"/>
              <a:gd name="connsiteX41" fmla="*/ 0 w 3443287"/>
              <a:gd name="connsiteY41" fmla="*/ 4742906 h 5920066"/>
              <a:gd name="connsiteX42" fmla="*/ 0 w 3443287"/>
              <a:gd name="connsiteY42" fmla="*/ 4717221 h 5920066"/>
              <a:gd name="connsiteX43" fmla="*/ 0 w 3443287"/>
              <a:gd name="connsiteY43" fmla="*/ 4664488 h 5920066"/>
              <a:gd name="connsiteX44" fmla="*/ 0 w 3443287"/>
              <a:gd name="connsiteY44" fmla="*/ 4629303 h 5920066"/>
              <a:gd name="connsiteX45" fmla="*/ 0 w 3443287"/>
              <a:gd name="connsiteY45" fmla="*/ 4628197 h 5920066"/>
              <a:gd name="connsiteX46" fmla="*/ 0 w 3443287"/>
              <a:gd name="connsiteY46" fmla="*/ 4620449 h 5920066"/>
              <a:gd name="connsiteX47" fmla="*/ 0 w 3443287"/>
              <a:gd name="connsiteY47" fmla="*/ 4600829 h 5920066"/>
              <a:gd name="connsiteX48" fmla="*/ 0 w 3443287"/>
              <a:gd name="connsiteY48" fmla="*/ 4599606 h 5920066"/>
              <a:gd name="connsiteX49" fmla="*/ 0 w 3443287"/>
              <a:gd name="connsiteY49" fmla="*/ 4599421 h 5920066"/>
              <a:gd name="connsiteX50" fmla="*/ 0 w 3443287"/>
              <a:gd name="connsiteY50" fmla="*/ 4558472 h 5920066"/>
              <a:gd name="connsiteX51" fmla="*/ 0 w 3443287"/>
              <a:gd name="connsiteY51" fmla="*/ 4542771 h 5920066"/>
              <a:gd name="connsiteX52" fmla="*/ 0 w 3443287"/>
              <a:gd name="connsiteY52" fmla="*/ 4528452 h 5920066"/>
              <a:gd name="connsiteX53" fmla="*/ 0 w 3443287"/>
              <a:gd name="connsiteY53" fmla="*/ 4523933 h 5920066"/>
              <a:gd name="connsiteX54" fmla="*/ 0 w 3443287"/>
              <a:gd name="connsiteY54" fmla="*/ 4490961 h 5920066"/>
              <a:gd name="connsiteX55" fmla="*/ 0 w 3443287"/>
              <a:gd name="connsiteY55" fmla="*/ 4445170 h 5920066"/>
              <a:gd name="connsiteX56" fmla="*/ 0 w 3443287"/>
              <a:gd name="connsiteY56" fmla="*/ 4442981 h 5920066"/>
              <a:gd name="connsiteX57" fmla="*/ 0 w 3443287"/>
              <a:gd name="connsiteY57" fmla="*/ 4436639 h 5920066"/>
              <a:gd name="connsiteX58" fmla="*/ 0 w 3443287"/>
              <a:gd name="connsiteY58" fmla="*/ 4390248 h 5920066"/>
              <a:gd name="connsiteX59" fmla="*/ 0 w 3443287"/>
              <a:gd name="connsiteY59" fmla="*/ 4350891 h 5920066"/>
              <a:gd name="connsiteX60" fmla="*/ 0 w 3443287"/>
              <a:gd name="connsiteY60" fmla="*/ 4336894 h 5920066"/>
              <a:gd name="connsiteX61" fmla="*/ 0 w 3443287"/>
              <a:gd name="connsiteY61" fmla="*/ 4325366 h 5920066"/>
              <a:gd name="connsiteX62" fmla="*/ 0 w 3443287"/>
              <a:gd name="connsiteY62" fmla="*/ 4268531 h 5920066"/>
              <a:gd name="connsiteX63" fmla="*/ 0 w 3443287"/>
              <a:gd name="connsiteY63" fmla="*/ 4249693 h 5920066"/>
              <a:gd name="connsiteX64" fmla="*/ 0 w 3443287"/>
              <a:gd name="connsiteY64" fmla="*/ 4223869 h 5920066"/>
              <a:gd name="connsiteX65" fmla="*/ 0 w 3443287"/>
              <a:gd name="connsiteY65" fmla="*/ 4162399 h 5920066"/>
              <a:gd name="connsiteX66" fmla="*/ 0 w 3443287"/>
              <a:gd name="connsiteY66" fmla="*/ 4140749 h 5920066"/>
              <a:gd name="connsiteX67" fmla="*/ 0 w 3443287"/>
              <a:gd name="connsiteY67" fmla="*/ 4096732 h 5920066"/>
              <a:gd name="connsiteX68" fmla="*/ 0 w 3443287"/>
              <a:gd name="connsiteY68" fmla="*/ 4076651 h 5920066"/>
              <a:gd name="connsiteX69" fmla="*/ 0 w 3443287"/>
              <a:gd name="connsiteY69" fmla="*/ 4062654 h 5920066"/>
              <a:gd name="connsiteX70" fmla="*/ 0 w 3443287"/>
              <a:gd name="connsiteY70" fmla="*/ 3954655 h 5920066"/>
              <a:gd name="connsiteX71" fmla="*/ 0 w 3443287"/>
              <a:gd name="connsiteY71" fmla="*/ 3949629 h 5920066"/>
              <a:gd name="connsiteX72" fmla="*/ 0 w 3443287"/>
              <a:gd name="connsiteY72" fmla="*/ 3911516 h 5920066"/>
              <a:gd name="connsiteX73" fmla="*/ 0 w 3443287"/>
              <a:gd name="connsiteY73" fmla="*/ 3866509 h 5920066"/>
              <a:gd name="connsiteX74" fmla="*/ 0 w 3443287"/>
              <a:gd name="connsiteY74" fmla="*/ 3822492 h 5920066"/>
              <a:gd name="connsiteX75" fmla="*/ 0 w 3443287"/>
              <a:gd name="connsiteY75" fmla="*/ 3796807 h 5920066"/>
              <a:gd name="connsiteX76" fmla="*/ 0 w 3443287"/>
              <a:gd name="connsiteY76" fmla="*/ 3680415 h 5920066"/>
              <a:gd name="connsiteX77" fmla="*/ 0 w 3443287"/>
              <a:gd name="connsiteY77" fmla="*/ 3662362 h 5920066"/>
              <a:gd name="connsiteX78" fmla="*/ 0 w 3443287"/>
              <a:gd name="connsiteY78" fmla="*/ 3637276 h 5920066"/>
              <a:gd name="connsiteX79" fmla="*/ 0 w 3443287"/>
              <a:gd name="connsiteY79" fmla="*/ 3622357 h 5920066"/>
              <a:gd name="connsiteX80" fmla="*/ 0 w 3443287"/>
              <a:gd name="connsiteY80" fmla="*/ 3522567 h 5920066"/>
              <a:gd name="connsiteX81" fmla="*/ 0 w 3443287"/>
              <a:gd name="connsiteY81" fmla="*/ 3430477 h 5920066"/>
              <a:gd name="connsiteX82" fmla="*/ 0 w 3443287"/>
              <a:gd name="connsiteY82" fmla="*/ 3392457 h 5920066"/>
              <a:gd name="connsiteX83" fmla="*/ 0 w 3443287"/>
              <a:gd name="connsiteY83" fmla="*/ 3388122 h 5920066"/>
              <a:gd name="connsiteX84" fmla="*/ 0 w 3443287"/>
              <a:gd name="connsiteY84" fmla="*/ 3348117 h 5920066"/>
              <a:gd name="connsiteX85" fmla="*/ 0 w 3443287"/>
              <a:gd name="connsiteY85" fmla="*/ 3220335 h 5920066"/>
              <a:gd name="connsiteX86" fmla="*/ 0 w 3443287"/>
              <a:gd name="connsiteY86" fmla="*/ 3156237 h 5920066"/>
              <a:gd name="connsiteX87" fmla="*/ 0 w 3443287"/>
              <a:gd name="connsiteY87" fmla="*/ 3118217 h 5920066"/>
              <a:gd name="connsiteX88" fmla="*/ 0 w 3443287"/>
              <a:gd name="connsiteY88" fmla="*/ 3100970 h 5920066"/>
              <a:gd name="connsiteX89" fmla="*/ 0 w 3443287"/>
              <a:gd name="connsiteY89" fmla="*/ 2991102 h 5920066"/>
              <a:gd name="connsiteX90" fmla="*/ 0 w 3443287"/>
              <a:gd name="connsiteY90" fmla="*/ 2946095 h 5920066"/>
              <a:gd name="connsiteX91" fmla="*/ 0 w 3443287"/>
              <a:gd name="connsiteY91" fmla="*/ 2826730 h 5920066"/>
              <a:gd name="connsiteX92" fmla="*/ 0 w 3443287"/>
              <a:gd name="connsiteY92" fmla="*/ 2787072 h 5920066"/>
              <a:gd name="connsiteX93" fmla="*/ 0 w 3443287"/>
              <a:gd name="connsiteY93" fmla="*/ 2741948 h 5920066"/>
              <a:gd name="connsiteX94" fmla="*/ 0 w 3443287"/>
              <a:gd name="connsiteY94" fmla="*/ 2716862 h 5920066"/>
              <a:gd name="connsiteX95" fmla="*/ 0 w 3443287"/>
              <a:gd name="connsiteY95" fmla="*/ 2512832 h 5920066"/>
              <a:gd name="connsiteX96" fmla="*/ 0 w 3443287"/>
              <a:gd name="connsiteY96" fmla="*/ 2472043 h 5920066"/>
              <a:gd name="connsiteX97" fmla="*/ 0 w 3443287"/>
              <a:gd name="connsiteY97" fmla="*/ 2467708 h 5920066"/>
              <a:gd name="connsiteX98" fmla="*/ 0 w 3443287"/>
              <a:gd name="connsiteY98" fmla="*/ 2449933 h 5920066"/>
              <a:gd name="connsiteX99" fmla="*/ 0 w 3443287"/>
              <a:gd name="connsiteY99" fmla="*/ 2197803 h 5920066"/>
              <a:gd name="connsiteX100" fmla="*/ 0 w 3443287"/>
              <a:gd name="connsiteY100" fmla="*/ 2180556 h 5920066"/>
              <a:gd name="connsiteX101" fmla="*/ 0 w 3443287"/>
              <a:gd name="connsiteY101" fmla="*/ 2175692 h 5920066"/>
              <a:gd name="connsiteX102" fmla="*/ 0 w 3443287"/>
              <a:gd name="connsiteY102" fmla="*/ 2088721 h 5920066"/>
              <a:gd name="connsiteX103" fmla="*/ 0 w 3443287"/>
              <a:gd name="connsiteY103" fmla="*/ 1906316 h 5920066"/>
              <a:gd name="connsiteX104" fmla="*/ 0 w 3443287"/>
              <a:gd name="connsiteY104" fmla="*/ 1866658 h 5920066"/>
              <a:gd name="connsiteX105" fmla="*/ 0 w 3443287"/>
              <a:gd name="connsiteY105" fmla="*/ 1814481 h 5920066"/>
              <a:gd name="connsiteX106" fmla="*/ 0 w 3443287"/>
              <a:gd name="connsiteY106" fmla="*/ 1702609 h 5920066"/>
              <a:gd name="connsiteX107" fmla="*/ 0 w 3443287"/>
              <a:gd name="connsiteY107" fmla="*/ 1592418 h 5920066"/>
              <a:gd name="connsiteX108" fmla="*/ 0 w 3443287"/>
              <a:gd name="connsiteY108" fmla="*/ 1529519 h 5920066"/>
              <a:gd name="connsiteX109" fmla="*/ 0 w 3443287"/>
              <a:gd name="connsiteY109" fmla="*/ 1428369 h 5920066"/>
              <a:gd name="connsiteX110" fmla="*/ 0 w 3443287"/>
              <a:gd name="connsiteY110" fmla="*/ 1290764 h 5920066"/>
              <a:gd name="connsiteX111" fmla="*/ 0 w 3443287"/>
              <a:gd name="connsiteY111" fmla="*/ 1255278 h 5920066"/>
              <a:gd name="connsiteX112" fmla="*/ 0 w 3443287"/>
              <a:gd name="connsiteY112" fmla="*/ 1168307 h 5920066"/>
              <a:gd name="connsiteX113" fmla="*/ 0 w 3443287"/>
              <a:gd name="connsiteY113" fmla="*/ 1016524 h 5920066"/>
              <a:gd name="connsiteX114" fmla="*/ 0 w 3443287"/>
              <a:gd name="connsiteY114" fmla="*/ 894067 h 5920066"/>
              <a:gd name="connsiteX115" fmla="*/ 0 w 3443287"/>
              <a:gd name="connsiteY115" fmla="*/ 782195 h 5920066"/>
              <a:gd name="connsiteX116" fmla="*/ 0 w 3443287"/>
              <a:gd name="connsiteY116" fmla="*/ 507955 h 5920066"/>
              <a:gd name="connsiteX117" fmla="*/ 0 w 3443287"/>
              <a:gd name="connsiteY117" fmla="*/ 370350 h 5920066"/>
              <a:gd name="connsiteX118" fmla="*/ 0 w 3443287"/>
              <a:gd name="connsiteY118" fmla="*/ 96110 h 5920066"/>
              <a:gd name="connsiteX119" fmla="*/ 95997 w 3443287"/>
              <a:gd name="connsiteY119" fmla="*/ 0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3443287" h="5920066">
                <a:moveTo>
                  <a:pt x="95997" y="0"/>
                </a:moveTo>
                <a:lnTo>
                  <a:pt x="3443287" y="0"/>
                </a:lnTo>
                <a:lnTo>
                  <a:pt x="3443287" y="5920066"/>
                </a:lnTo>
                <a:lnTo>
                  <a:pt x="95989" y="5920066"/>
                </a:lnTo>
                <a:lnTo>
                  <a:pt x="64311" y="5915938"/>
                </a:lnTo>
                <a:cubicBezTo>
                  <a:pt x="0" y="5897541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7527" y="280733"/>
            <a:ext cx="6787223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8666221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54" userDrawn="1">
          <p15:clr>
            <a:srgbClr val="FBAE40"/>
          </p15:clr>
        </p15:guide>
        <p15:guide id="2" pos="261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38200" y="1270000"/>
            <a:ext cx="6786000" cy="49784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/>
          </p:nvPr>
        </p:nvSpPr>
        <p:spPr bwMode="gray">
          <a:xfrm>
            <a:off x="8454232" y="280732"/>
            <a:ext cx="3442280" cy="5920066"/>
          </a:xfrm>
          <a:custGeom>
            <a:avLst/>
            <a:gdLst>
              <a:gd name="connsiteX0" fmla="*/ 0 w 3442280"/>
              <a:gd name="connsiteY0" fmla="*/ 0 h 5920066"/>
              <a:gd name="connsiteX1" fmla="*/ 3346283 w 3442280"/>
              <a:gd name="connsiteY1" fmla="*/ 0 h 5920066"/>
              <a:gd name="connsiteX2" fmla="*/ 3442280 w 3442280"/>
              <a:gd name="connsiteY2" fmla="*/ 96110 h 5920066"/>
              <a:gd name="connsiteX3" fmla="*/ 3442280 w 3442280"/>
              <a:gd name="connsiteY3" fmla="*/ 335165 h 5920066"/>
              <a:gd name="connsiteX4" fmla="*/ 3442280 w 3442280"/>
              <a:gd name="connsiteY4" fmla="*/ 370350 h 5920066"/>
              <a:gd name="connsiteX5" fmla="*/ 3442280 w 3442280"/>
              <a:gd name="connsiteY5" fmla="*/ 379204 h 5920066"/>
              <a:gd name="connsiteX6" fmla="*/ 3442280 w 3442280"/>
              <a:gd name="connsiteY6" fmla="*/ 400048 h 5920066"/>
              <a:gd name="connsiteX7" fmla="*/ 3442280 w 3442280"/>
              <a:gd name="connsiteY7" fmla="*/ 400232 h 5920066"/>
              <a:gd name="connsiteX8" fmla="*/ 3442280 w 3442280"/>
              <a:gd name="connsiteY8" fmla="*/ 471202 h 5920066"/>
              <a:gd name="connsiteX9" fmla="*/ 3442280 w 3442280"/>
              <a:gd name="connsiteY9" fmla="*/ 475721 h 5920066"/>
              <a:gd name="connsiteX10" fmla="*/ 3442280 w 3442280"/>
              <a:gd name="connsiteY10" fmla="*/ 508692 h 5920066"/>
              <a:gd name="connsiteX11" fmla="*/ 3442280 w 3442280"/>
              <a:gd name="connsiteY11" fmla="*/ 554484 h 5920066"/>
              <a:gd name="connsiteX12" fmla="*/ 3442280 w 3442280"/>
              <a:gd name="connsiteY12" fmla="*/ 563015 h 5920066"/>
              <a:gd name="connsiteX13" fmla="*/ 3442280 w 3442280"/>
              <a:gd name="connsiteY13" fmla="*/ 609405 h 5920066"/>
              <a:gd name="connsiteX14" fmla="*/ 3442280 w 3442280"/>
              <a:gd name="connsiteY14" fmla="*/ 662759 h 5920066"/>
              <a:gd name="connsiteX15" fmla="*/ 3442280 w 3442280"/>
              <a:gd name="connsiteY15" fmla="*/ 674288 h 5920066"/>
              <a:gd name="connsiteX16" fmla="*/ 3442280 w 3442280"/>
              <a:gd name="connsiteY16" fmla="*/ 749961 h 5920066"/>
              <a:gd name="connsiteX17" fmla="*/ 3442280 w 3442280"/>
              <a:gd name="connsiteY17" fmla="*/ 775785 h 5920066"/>
              <a:gd name="connsiteX18" fmla="*/ 3442280 w 3442280"/>
              <a:gd name="connsiteY18" fmla="*/ 837255 h 5920066"/>
              <a:gd name="connsiteX19" fmla="*/ 3442280 w 3442280"/>
              <a:gd name="connsiteY19" fmla="*/ 902921 h 5920066"/>
              <a:gd name="connsiteX20" fmla="*/ 3442280 w 3442280"/>
              <a:gd name="connsiteY20" fmla="*/ 936999 h 5920066"/>
              <a:gd name="connsiteX21" fmla="*/ 3442280 w 3442280"/>
              <a:gd name="connsiteY21" fmla="*/ 1016524 h 5920066"/>
              <a:gd name="connsiteX22" fmla="*/ 3442280 w 3442280"/>
              <a:gd name="connsiteY22" fmla="*/ 1029131 h 5920066"/>
              <a:gd name="connsiteX23" fmla="*/ 3442280 w 3442280"/>
              <a:gd name="connsiteY23" fmla="*/ 1044999 h 5920066"/>
              <a:gd name="connsiteX24" fmla="*/ 3442280 w 3442280"/>
              <a:gd name="connsiteY24" fmla="*/ 1046406 h 5920066"/>
              <a:gd name="connsiteX25" fmla="*/ 3442280 w 3442280"/>
              <a:gd name="connsiteY25" fmla="*/ 1050025 h 5920066"/>
              <a:gd name="connsiteX26" fmla="*/ 3442280 w 3442280"/>
              <a:gd name="connsiteY26" fmla="*/ 1074887 h 5920066"/>
              <a:gd name="connsiteX27" fmla="*/ 3442280 w 3442280"/>
              <a:gd name="connsiteY27" fmla="*/ 1176672 h 5920066"/>
              <a:gd name="connsiteX28" fmla="*/ 3442280 w 3442280"/>
              <a:gd name="connsiteY28" fmla="*/ 1177161 h 5920066"/>
              <a:gd name="connsiteX29" fmla="*/ 3442280 w 3442280"/>
              <a:gd name="connsiteY29" fmla="*/ 1202847 h 5920066"/>
              <a:gd name="connsiteX30" fmla="*/ 3442280 w 3442280"/>
              <a:gd name="connsiteY30" fmla="*/ 1255579 h 5920066"/>
              <a:gd name="connsiteX31" fmla="*/ 3442280 w 3442280"/>
              <a:gd name="connsiteY31" fmla="*/ 1290764 h 5920066"/>
              <a:gd name="connsiteX32" fmla="*/ 3442280 w 3442280"/>
              <a:gd name="connsiteY32" fmla="*/ 1299618 h 5920066"/>
              <a:gd name="connsiteX33" fmla="*/ 3442280 w 3442280"/>
              <a:gd name="connsiteY33" fmla="*/ 1319239 h 5920066"/>
              <a:gd name="connsiteX34" fmla="*/ 3442280 w 3442280"/>
              <a:gd name="connsiteY34" fmla="*/ 1320462 h 5920066"/>
              <a:gd name="connsiteX35" fmla="*/ 3442280 w 3442280"/>
              <a:gd name="connsiteY35" fmla="*/ 1320646 h 5920066"/>
              <a:gd name="connsiteX36" fmla="*/ 3442280 w 3442280"/>
              <a:gd name="connsiteY36" fmla="*/ 1349128 h 5920066"/>
              <a:gd name="connsiteX37" fmla="*/ 3442280 w 3442280"/>
              <a:gd name="connsiteY37" fmla="*/ 1377296 h 5920066"/>
              <a:gd name="connsiteX38" fmla="*/ 3442280 w 3442280"/>
              <a:gd name="connsiteY38" fmla="*/ 1391616 h 5920066"/>
              <a:gd name="connsiteX39" fmla="*/ 3442280 w 3442280"/>
              <a:gd name="connsiteY39" fmla="*/ 1396135 h 5920066"/>
              <a:gd name="connsiteX40" fmla="*/ 3442280 w 3442280"/>
              <a:gd name="connsiteY40" fmla="*/ 1429106 h 5920066"/>
              <a:gd name="connsiteX41" fmla="*/ 3442280 w 3442280"/>
              <a:gd name="connsiteY41" fmla="*/ 1474898 h 5920066"/>
              <a:gd name="connsiteX42" fmla="*/ 3442280 w 3442280"/>
              <a:gd name="connsiteY42" fmla="*/ 1477087 h 5920066"/>
              <a:gd name="connsiteX43" fmla="*/ 3442280 w 3442280"/>
              <a:gd name="connsiteY43" fmla="*/ 1483429 h 5920066"/>
              <a:gd name="connsiteX44" fmla="*/ 3442280 w 3442280"/>
              <a:gd name="connsiteY44" fmla="*/ 1529819 h 5920066"/>
              <a:gd name="connsiteX45" fmla="*/ 3442280 w 3442280"/>
              <a:gd name="connsiteY45" fmla="*/ 1569177 h 5920066"/>
              <a:gd name="connsiteX46" fmla="*/ 3442280 w 3442280"/>
              <a:gd name="connsiteY46" fmla="*/ 1583173 h 5920066"/>
              <a:gd name="connsiteX47" fmla="*/ 3442280 w 3442280"/>
              <a:gd name="connsiteY47" fmla="*/ 1594702 h 5920066"/>
              <a:gd name="connsiteX48" fmla="*/ 3442280 w 3442280"/>
              <a:gd name="connsiteY48" fmla="*/ 1651536 h 5920066"/>
              <a:gd name="connsiteX49" fmla="*/ 3442280 w 3442280"/>
              <a:gd name="connsiteY49" fmla="*/ 1670375 h 5920066"/>
              <a:gd name="connsiteX50" fmla="*/ 3442280 w 3442280"/>
              <a:gd name="connsiteY50" fmla="*/ 1696199 h 5920066"/>
              <a:gd name="connsiteX51" fmla="*/ 3442280 w 3442280"/>
              <a:gd name="connsiteY51" fmla="*/ 1757669 h 5920066"/>
              <a:gd name="connsiteX52" fmla="*/ 3442280 w 3442280"/>
              <a:gd name="connsiteY52" fmla="*/ 1779318 h 5920066"/>
              <a:gd name="connsiteX53" fmla="*/ 3442280 w 3442280"/>
              <a:gd name="connsiteY53" fmla="*/ 1823335 h 5920066"/>
              <a:gd name="connsiteX54" fmla="*/ 3442280 w 3442280"/>
              <a:gd name="connsiteY54" fmla="*/ 1843417 h 5920066"/>
              <a:gd name="connsiteX55" fmla="*/ 3442280 w 3442280"/>
              <a:gd name="connsiteY55" fmla="*/ 1857413 h 5920066"/>
              <a:gd name="connsiteX56" fmla="*/ 3442280 w 3442280"/>
              <a:gd name="connsiteY56" fmla="*/ 1965413 h 5920066"/>
              <a:gd name="connsiteX57" fmla="*/ 3442280 w 3442280"/>
              <a:gd name="connsiteY57" fmla="*/ 1970439 h 5920066"/>
              <a:gd name="connsiteX58" fmla="*/ 3442280 w 3442280"/>
              <a:gd name="connsiteY58" fmla="*/ 2008551 h 5920066"/>
              <a:gd name="connsiteX59" fmla="*/ 3442280 w 3442280"/>
              <a:gd name="connsiteY59" fmla="*/ 2053558 h 5920066"/>
              <a:gd name="connsiteX60" fmla="*/ 3442280 w 3442280"/>
              <a:gd name="connsiteY60" fmla="*/ 2097575 h 5920066"/>
              <a:gd name="connsiteX61" fmla="*/ 3442280 w 3442280"/>
              <a:gd name="connsiteY61" fmla="*/ 2123261 h 5920066"/>
              <a:gd name="connsiteX62" fmla="*/ 3442280 w 3442280"/>
              <a:gd name="connsiteY62" fmla="*/ 2239653 h 5920066"/>
              <a:gd name="connsiteX63" fmla="*/ 3442280 w 3442280"/>
              <a:gd name="connsiteY63" fmla="*/ 2257705 h 5920066"/>
              <a:gd name="connsiteX64" fmla="*/ 3442280 w 3442280"/>
              <a:gd name="connsiteY64" fmla="*/ 2282791 h 5920066"/>
              <a:gd name="connsiteX65" fmla="*/ 3442280 w 3442280"/>
              <a:gd name="connsiteY65" fmla="*/ 2297710 h 5920066"/>
              <a:gd name="connsiteX66" fmla="*/ 3442280 w 3442280"/>
              <a:gd name="connsiteY66" fmla="*/ 2397501 h 5920066"/>
              <a:gd name="connsiteX67" fmla="*/ 3442280 w 3442280"/>
              <a:gd name="connsiteY67" fmla="*/ 2489591 h 5920066"/>
              <a:gd name="connsiteX68" fmla="*/ 3442280 w 3442280"/>
              <a:gd name="connsiteY68" fmla="*/ 2527610 h 5920066"/>
              <a:gd name="connsiteX69" fmla="*/ 3442280 w 3442280"/>
              <a:gd name="connsiteY69" fmla="*/ 2531945 h 5920066"/>
              <a:gd name="connsiteX70" fmla="*/ 3442280 w 3442280"/>
              <a:gd name="connsiteY70" fmla="*/ 2571950 h 5920066"/>
              <a:gd name="connsiteX71" fmla="*/ 3442280 w 3442280"/>
              <a:gd name="connsiteY71" fmla="*/ 2699732 h 5920066"/>
              <a:gd name="connsiteX72" fmla="*/ 3442280 w 3442280"/>
              <a:gd name="connsiteY72" fmla="*/ 2763831 h 5920066"/>
              <a:gd name="connsiteX73" fmla="*/ 3442280 w 3442280"/>
              <a:gd name="connsiteY73" fmla="*/ 2801851 h 5920066"/>
              <a:gd name="connsiteX74" fmla="*/ 3442280 w 3442280"/>
              <a:gd name="connsiteY74" fmla="*/ 2819097 h 5920066"/>
              <a:gd name="connsiteX75" fmla="*/ 3442280 w 3442280"/>
              <a:gd name="connsiteY75" fmla="*/ 2928965 h 5920066"/>
              <a:gd name="connsiteX76" fmla="*/ 3442280 w 3442280"/>
              <a:gd name="connsiteY76" fmla="*/ 2973972 h 5920066"/>
              <a:gd name="connsiteX77" fmla="*/ 3442280 w 3442280"/>
              <a:gd name="connsiteY77" fmla="*/ 3093337 h 5920066"/>
              <a:gd name="connsiteX78" fmla="*/ 3442280 w 3442280"/>
              <a:gd name="connsiteY78" fmla="*/ 3132995 h 5920066"/>
              <a:gd name="connsiteX79" fmla="*/ 3442280 w 3442280"/>
              <a:gd name="connsiteY79" fmla="*/ 3178119 h 5920066"/>
              <a:gd name="connsiteX80" fmla="*/ 3442280 w 3442280"/>
              <a:gd name="connsiteY80" fmla="*/ 3203205 h 5920066"/>
              <a:gd name="connsiteX81" fmla="*/ 3442280 w 3442280"/>
              <a:gd name="connsiteY81" fmla="*/ 3407236 h 5920066"/>
              <a:gd name="connsiteX82" fmla="*/ 3442280 w 3442280"/>
              <a:gd name="connsiteY82" fmla="*/ 3448024 h 5920066"/>
              <a:gd name="connsiteX83" fmla="*/ 3442280 w 3442280"/>
              <a:gd name="connsiteY83" fmla="*/ 3452359 h 5920066"/>
              <a:gd name="connsiteX84" fmla="*/ 3442280 w 3442280"/>
              <a:gd name="connsiteY84" fmla="*/ 3470135 h 5920066"/>
              <a:gd name="connsiteX85" fmla="*/ 3442280 w 3442280"/>
              <a:gd name="connsiteY85" fmla="*/ 3722265 h 5920066"/>
              <a:gd name="connsiteX86" fmla="*/ 3442280 w 3442280"/>
              <a:gd name="connsiteY86" fmla="*/ 3739511 h 5920066"/>
              <a:gd name="connsiteX87" fmla="*/ 3442280 w 3442280"/>
              <a:gd name="connsiteY87" fmla="*/ 3744375 h 5920066"/>
              <a:gd name="connsiteX88" fmla="*/ 3442280 w 3442280"/>
              <a:gd name="connsiteY88" fmla="*/ 3831346 h 5920066"/>
              <a:gd name="connsiteX89" fmla="*/ 3442280 w 3442280"/>
              <a:gd name="connsiteY89" fmla="*/ 4013751 h 5920066"/>
              <a:gd name="connsiteX90" fmla="*/ 3442280 w 3442280"/>
              <a:gd name="connsiteY90" fmla="*/ 4053409 h 5920066"/>
              <a:gd name="connsiteX91" fmla="*/ 3442280 w 3442280"/>
              <a:gd name="connsiteY91" fmla="*/ 4105586 h 5920066"/>
              <a:gd name="connsiteX92" fmla="*/ 3442280 w 3442280"/>
              <a:gd name="connsiteY92" fmla="*/ 4217459 h 5920066"/>
              <a:gd name="connsiteX93" fmla="*/ 3442280 w 3442280"/>
              <a:gd name="connsiteY93" fmla="*/ 4327650 h 5920066"/>
              <a:gd name="connsiteX94" fmla="*/ 3442280 w 3442280"/>
              <a:gd name="connsiteY94" fmla="*/ 4390549 h 5920066"/>
              <a:gd name="connsiteX95" fmla="*/ 3442280 w 3442280"/>
              <a:gd name="connsiteY95" fmla="*/ 4491699 h 5920066"/>
              <a:gd name="connsiteX96" fmla="*/ 3442280 w 3442280"/>
              <a:gd name="connsiteY96" fmla="*/ 4629303 h 5920066"/>
              <a:gd name="connsiteX97" fmla="*/ 3442280 w 3442280"/>
              <a:gd name="connsiteY97" fmla="*/ 4664789 h 5920066"/>
              <a:gd name="connsiteX98" fmla="*/ 3442280 w 3442280"/>
              <a:gd name="connsiteY98" fmla="*/ 4751760 h 5920066"/>
              <a:gd name="connsiteX99" fmla="*/ 3442280 w 3442280"/>
              <a:gd name="connsiteY99" fmla="*/ 4903543 h 5920066"/>
              <a:gd name="connsiteX100" fmla="*/ 3442280 w 3442280"/>
              <a:gd name="connsiteY100" fmla="*/ 5026000 h 5920066"/>
              <a:gd name="connsiteX101" fmla="*/ 3442280 w 3442280"/>
              <a:gd name="connsiteY101" fmla="*/ 5137873 h 5920066"/>
              <a:gd name="connsiteX102" fmla="*/ 3442280 w 3442280"/>
              <a:gd name="connsiteY102" fmla="*/ 5412113 h 5920066"/>
              <a:gd name="connsiteX103" fmla="*/ 3442280 w 3442280"/>
              <a:gd name="connsiteY103" fmla="*/ 5549717 h 5920066"/>
              <a:gd name="connsiteX104" fmla="*/ 3442280 w 3442280"/>
              <a:gd name="connsiteY104" fmla="*/ 5823957 h 5920066"/>
              <a:gd name="connsiteX105" fmla="*/ 3361283 w 3442280"/>
              <a:gd name="connsiteY105" fmla="*/ 5918566 h 5920066"/>
              <a:gd name="connsiteX106" fmla="*/ 3346294 w 3442280"/>
              <a:gd name="connsiteY106" fmla="*/ 5920066 h 5920066"/>
              <a:gd name="connsiteX107" fmla="*/ 0 w 3442280"/>
              <a:gd name="connsiteY107" fmla="*/ 5920066 h 5920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3442280" h="5920066">
                <a:moveTo>
                  <a:pt x="0" y="0"/>
                </a:moveTo>
                <a:lnTo>
                  <a:pt x="3346283" y="0"/>
                </a:lnTo>
                <a:cubicBezTo>
                  <a:pt x="3442280" y="0"/>
                  <a:pt x="3442280" y="96110"/>
                  <a:pt x="3442280" y="96110"/>
                </a:cubicBezTo>
                <a:cubicBezTo>
                  <a:pt x="3442280" y="96110"/>
                  <a:pt x="3442280" y="96110"/>
                  <a:pt x="3442280" y="335165"/>
                </a:cubicBezTo>
                <a:lnTo>
                  <a:pt x="3442280" y="370350"/>
                </a:lnTo>
                <a:cubicBezTo>
                  <a:pt x="3442280" y="370350"/>
                  <a:pt x="3442280" y="370350"/>
                  <a:pt x="3442280" y="379204"/>
                </a:cubicBezTo>
                <a:lnTo>
                  <a:pt x="3442280" y="400048"/>
                </a:lnTo>
                <a:lnTo>
                  <a:pt x="3442280" y="400232"/>
                </a:lnTo>
                <a:cubicBezTo>
                  <a:pt x="3442280" y="415173"/>
                  <a:pt x="3442280" y="437585"/>
                  <a:pt x="3442280" y="471202"/>
                </a:cubicBezTo>
                <a:lnTo>
                  <a:pt x="3442280" y="475721"/>
                </a:lnTo>
                <a:lnTo>
                  <a:pt x="3442280" y="508692"/>
                </a:lnTo>
                <a:cubicBezTo>
                  <a:pt x="3442280" y="522527"/>
                  <a:pt x="3442280" y="537744"/>
                  <a:pt x="3442280" y="554484"/>
                </a:cubicBezTo>
                <a:lnTo>
                  <a:pt x="3442280" y="563015"/>
                </a:lnTo>
                <a:lnTo>
                  <a:pt x="3442280" y="609405"/>
                </a:lnTo>
                <a:lnTo>
                  <a:pt x="3442280" y="662759"/>
                </a:lnTo>
                <a:lnTo>
                  <a:pt x="3442280" y="674288"/>
                </a:lnTo>
                <a:cubicBezTo>
                  <a:pt x="3442280" y="697668"/>
                  <a:pt x="3442280" y="722846"/>
                  <a:pt x="3442280" y="749961"/>
                </a:cubicBezTo>
                <a:lnTo>
                  <a:pt x="3442280" y="775785"/>
                </a:lnTo>
                <a:lnTo>
                  <a:pt x="3442280" y="837255"/>
                </a:lnTo>
                <a:lnTo>
                  <a:pt x="3442280" y="902921"/>
                </a:lnTo>
                <a:lnTo>
                  <a:pt x="3442280" y="936999"/>
                </a:lnTo>
                <a:lnTo>
                  <a:pt x="3442280" y="1016524"/>
                </a:lnTo>
                <a:cubicBezTo>
                  <a:pt x="3442280" y="1016524"/>
                  <a:pt x="3442280" y="1016524"/>
                  <a:pt x="3442280" y="1029131"/>
                </a:cubicBezTo>
                <a:lnTo>
                  <a:pt x="3442280" y="1044999"/>
                </a:lnTo>
                <a:lnTo>
                  <a:pt x="3442280" y="1046406"/>
                </a:lnTo>
                <a:lnTo>
                  <a:pt x="3442280" y="1050025"/>
                </a:lnTo>
                <a:lnTo>
                  <a:pt x="3442280" y="1074887"/>
                </a:lnTo>
                <a:cubicBezTo>
                  <a:pt x="3442280" y="1098232"/>
                  <a:pt x="3442280" y="1130916"/>
                  <a:pt x="3442280" y="1176672"/>
                </a:cubicBezTo>
                <a:lnTo>
                  <a:pt x="3442280" y="1177161"/>
                </a:lnTo>
                <a:lnTo>
                  <a:pt x="3442280" y="1202847"/>
                </a:lnTo>
                <a:lnTo>
                  <a:pt x="3442280" y="1255579"/>
                </a:lnTo>
                <a:lnTo>
                  <a:pt x="3442280" y="1290764"/>
                </a:lnTo>
                <a:cubicBezTo>
                  <a:pt x="3442280" y="1290764"/>
                  <a:pt x="3442280" y="1290764"/>
                  <a:pt x="3442280" y="1299618"/>
                </a:cubicBezTo>
                <a:lnTo>
                  <a:pt x="3442280" y="1319239"/>
                </a:lnTo>
                <a:lnTo>
                  <a:pt x="3442280" y="1320462"/>
                </a:lnTo>
                <a:lnTo>
                  <a:pt x="3442280" y="1320646"/>
                </a:lnTo>
                <a:cubicBezTo>
                  <a:pt x="3442280" y="1328117"/>
                  <a:pt x="3442280" y="1337455"/>
                  <a:pt x="3442280" y="1349128"/>
                </a:cubicBezTo>
                <a:lnTo>
                  <a:pt x="3442280" y="1377296"/>
                </a:lnTo>
                <a:lnTo>
                  <a:pt x="3442280" y="1391616"/>
                </a:lnTo>
                <a:lnTo>
                  <a:pt x="3442280" y="1396135"/>
                </a:lnTo>
                <a:lnTo>
                  <a:pt x="3442280" y="1429106"/>
                </a:lnTo>
                <a:cubicBezTo>
                  <a:pt x="3442280" y="1442941"/>
                  <a:pt x="3442280" y="1458158"/>
                  <a:pt x="3442280" y="1474898"/>
                </a:cubicBezTo>
                <a:lnTo>
                  <a:pt x="3442280" y="1477087"/>
                </a:lnTo>
                <a:lnTo>
                  <a:pt x="3442280" y="1483429"/>
                </a:lnTo>
                <a:lnTo>
                  <a:pt x="3442280" y="1529819"/>
                </a:lnTo>
                <a:lnTo>
                  <a:pt x="3442280" y="1569177"/>
                </a:lnTo>
                <a:lnTo>
                  <a:pt x="3442280" y="1583173"/>
                </a:lnTo>
                <a:lnTo>
                  <a:pt x="3442280" y="1594702"/>
                </a:lnTo>
                <a:lnTo>
                  <a:pt x="3442280" y="1651536"/>
                </a:lnTo>
                <a:lnTo>
                  <a:pt x="3442280" y="1670375"/>
                </a:lnTo>
                <a:lnTo>
                  <a:pt x="3442280" y="1696199"/>
                </a:lnTo>
                <a:lnTo>
                  <a:pt x="3442280" y="1757669"/>
                </a:lnTo>
                <a:lnTo>
                  <a:pt x="3442280" y="1779318"/>
                </a:lnTo>
                <a:lnTo>
                  <a:pt x="3442280" y="1823335"/>
                </a:lnTo>
                <a:lnTo>
                  <a:pt x="3442280" y="1843417"/>
                </a:lnTo>
                <a:lnTo>
                  <a:pt x="3442280" y="1857413"/>
                </a:lnTo>
                <a:lnTo>
                  <a:pt x="3442280" y="1965413"/>
                </a:lnTo>
                <a:lnTo>
                  <a:pt x="3442280" y="1970439"/>
                </a:lnTo>
                <a:lnTo>
                  <a:pt x="3442280" y="2008551"/>
                </a:lnTo>
                <a:lnTo>
                  <a:pt x="3442280" y="2053558"/>
                </a:lnTo>
                <a:lnTo>
                  <a:pt x="3442280" y="2097575"/>
                </a:lnTo>
                <a:lnTo>
                  <a:pt x="3442280" y="2123261"/>
                </a:lnTo>
                <a:lnTo>
                  <a:pt x="3442280" y="2239653"/>
                </a:lnTo>
                <a:lnTo>
                  <a:pt x="3442280" y="2257705"/>
                </a:lnTo>
                <a:lnTo>
                  <a:pt x="3442280" y="2282791"/>
                </a:lnTo>
                <a:lnTo>
                  <a:pt x="3442280" y="2297710"/>
                </a:lnTo>
                <a:lnTo>
                  <a:pt x="3442280" y="2397501"/>
                </a:lnTo>
                <a:lnTo>
                  <a:pt x="3442280" y="2489591"/>
                </a:lnTo>
                <a:lnTo>
                  <a:pt x="3442280" y="2527610"/>
                </a:lnTo>
                <a:lnTo>
                  <a:pt x="3442280" y="2531945"/>
                </a:lnTo>
                <a:lnTo>
                  <a:pt x="3442280" y="2571950"/>
                </a:lnTo>
                <a:lnTo>
                  <a:pt x="3442280" y="2699732"/>
                </a:lnTo>
                <a:lnTo>
                  <a:pt x="3442280" y="2763831"/>
                </a:lnTo>
                <a:lnTo>
                  <a:pt x="3442280" y="2801851"/>
                </a:lnTo>
                <a:lnTo>
                  <a:pt x="3442280" y="2819097"/>
                </a:lnTo>
                <a:lnTo>
                  <a:pt x="3442280" y="2928965"/>
                </a:lnTo>
                <a:lnTo>
                  <a:pt x="3442280" y="2973972"/>
                </a:lnTo>
                <a:lnTo>
                  <a:pt x="3442280" y="3093337"/>
                </a:lnTo>
                <a:lnTo>
                  <a:pt x="3442280" y="3132995"/>
                </a:lnTo>
                <a:lnTo>
                  <a:pt x="3442280" y="3178119"/>
                </a:lnTo>
                <a:lnTo>
                  <a:pt x="3442280" y="3203205"/>
                </a:lnTo>
                <a:lnTo>
                  <a:pt x="3442280" y="3407236"/>
                </a:lnTo>
                <a:lnTo>
                  <a:pt x="3442280" y="3448024"/>
                </a:lnTo>
                <a:lnTo>
                  <a:pt x="3442280" y="3452359"/>
                </a:lnTo>
                <a:lnTo>
                  <a:pt x="3442280" y="3470135"/>
                </a:lnTo>
                <a:lnTo>
                  <a:pt x="3442280" y="3722265"/>
                </a:lnTo>
                <a:lnTo>
                  <a:pt x="3442280" y="3739511"/>
                </a:lnTo>
                <a:lnTo>
                  <a:pt x="3442280" y="3744375"/>
                </a:lnTo>
                <a:lnTo>
                  <a:pt x="3442280" y="3831346"/>
                </a:lnTo>
                <a:lnTo>
                  <a:pt x="3442280" y="4013751"/>
                </a:lnTo>
                <a:lnTo>
                  <a:pt x="3442280" y="4053409"/>
                </a:lnTo>
                <a:lnTo>
                  <a:pt x="3442280" y="4105586"/>
                </a:lnTo>
                <a:lnTo>
                  <a:pt x="3442280" y="4217459"/>
                </a:lnTo>
                <a:lnTo>
                  <a:pt x="3442280" y="4327650"/>
                </a:lnTo>
                <a:lnTo>
                  <a:pt x="3442280" y="4390549"/>
                </a:lnTo>
                <a:lnTo>
                  <a:pt x="3442280" y="4491699"/>
                </a:lnTo>
                <a:lnTo>
                  <a:pt x="3442280" y="4629303"/>
                </a:lnTo>
                <a:lnTo>
                  <a:pt x="3442280" y="4664789"/>
                </a:lnTo>
                <a:lnTo>
                  <a:pt x="3442280" y="4751760"/>
                </a:lnTo>
                <a:lnTo>
                  <a:pt x="3442280" y="4903543"/>
                </a:lnTo>
                <a:lnTo>
                  <a:pt x="3442280" y="5026000"/>
                </a:lnTo>
                <a:lnTo>
                  <a:pt x="3442280" y="5137873"/>
                </a:lnTo>
                <a:lnTo>
                  <a:pt x="3442280" y="5412113"/>
                </a:lnTo>
                <a:lnTo>
                  <a:pt x="3442280" y="5549717"/>
                </a:lnTo>
                <a:lnTo>
                  <a:pt x="3442280" y="5823957"/>
                </a:lnTo>
                <a:cubicBezTo>
                  <a:pt x="3442280" y="5896040"/>
                  <a:pt x="3388282" y="5914060"/>
                  <a:pt x="3361283" y="5918566"/>
                </a:cubicBezTo>
                <a:lnTo>
                  <a:pt x="3346294" y="5920066"/>
                </a:lnTo>
                <a:lnTo>
                  <a:pt x="0" y="5920066"/>
                </a:lnTo>
                <a:close/>
              </a:path>
            </a:pathLst>
          </a:custGeom>
          <a:solidFill>
            <a:srgbClr val="EBEBEB">
              <a:alpha val="10000"/>
            </a:srgbClr>
          </a:solidFill>
        </p:spPr>
        <p:txBody>
          <a:bodyPr wrap="square" lIns="360000" tIns="36000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845575" y="280733"/>
            <a:ext cx="6778625" cy="8540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4005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806" userDrawn="1">
          <p15:clr>
            <a:srgbClr val="FBAE40"/>
          </p15:clr>
        </p15:guide>
        <p15:guide id="2" pos="5322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696912" y="1201147"/>
            <a:ext cx="11199600" cy="4999652"/>
          </a:xfrm>
          <a:custGeom>
            <a:avLst/>
            <a:gdLst>
              <a:gd name="connsiteX0" fmla="*/ 95997 w 11199600"/>
              <a:gd name="connsiteY0" fmla="*/ 0 h 4999652"/>
              <a:gd name="connsiteX1" fmla="*/ 11103603 w 11199600"/>
              <a:gd name="connsiteY1" fmla="*/ 0 h 4999652"/>
              <a:gd name="connsiteX2" fmla="*/ 11199600 w 11199600"/>
              <a:gd name="connsiteY2" fmla="*/ 96110 h 4999652"/>
              <a:gd name="connsiteX3" fmla="*/ 11199600 w 11199600"/>
              <a:gd name="connsiteY3" fmla="*/ 335165 h 4999652"/>
              <a:gd name="connsiteX4" fmla="*/ 11199600 w 11199600"/>
              <a:gd name="connsiteY4" fmla="*/ 370350 h 4999652"/>
              <a:gd name="connsiteX5" fmla="*/ 11199600 w 11199600"/>
              <a:gd name="connsiteY5" fmla="*/ 379204 h 4999652"/>
              <a:gd name="connsiteX6" fmla="*/ 11199600 w 11199600"/>
              <a:gd name="connsiteY6" fmla="*/ 400048 h 4999652"/>
              <a:gd name="connsiteX7" fmla="*/ 11199600 w 11199600"/>
              <a:gd name="connsiteY7" fmla="*/ 400232 h 4999652"/>
              <a:gd name="connsiteX8" fmla="*/ 11199600 w 11199600"/>
              <a:gd name="connsiteY8" fmla="*/ 471202 h 4999652"/>
              <a:gd name="connsiteX9" fmla="*/ 11199600 w 11199600"/>
              <a:gd name="connsiteY9" fmla="*/ 475721 h 4999652"/>
              <a:gd name="connsiteX10" fmla="*/ 11199600 w 11199600"/>
              <a:gd name="connsiteY10" fmla="*/ 508692 h 4999652"/>
              <a:gd name="connsiteX11" fmla="*/ 11199600 w 11199600"/>
              <a:gd name="connsiteY11" fmla="*/ 554484 h 4999652"/>
              <a:gd name="connsiteX12" fmla="*/ 11199600 w 11199600"/>
              <a:gd name="connsiteY12" fmla="*/ 563015 h 4999652"/>
              <a:gd name="connsiteX13" fmla="*/ 11199600 w 11199600"/>
              <a:gd name="connsiteY13" fmla="*/ 609405 h 4999652"/>
              <a:gd name="connsiteX14" fmla="*/ 11199600 w 11199600"/>
              <a:gd name="connsiteY14" fmla="*/ 662759 h 4999652"/>
              <a:gd name="connsiteX15" fmla="*/ 11199600 w 11199600"/>
              <a:gd name="connsiteY15" fmla="*/ 674288 h 4999652"/>
              <a:gd name="connsiteX16" fmla="*/ 11199600 w 11199600"/>
              <a:gd name="connsiteY16" fmla="*/ 749961 h 4999652"/>
              <a:gd name="connsiteX17" fmla="*/ 11199600 w 11199600"/>
              <a:gd name="connsiteY17" fmla="*/ 775785 h 4999652"/>
              <a:gd name="connsiteX18" fmla="*/ 11199600 w 11199600"/>
              <a:gd name="connsiteY18" fmla="*/ 837255 h 4999652"/>
              <a:gd name="connsiteX19" fmla="*/ 11199600 w 11199600"/>
              <a:gd name="connsiteY19" fmla="*/ 902921 h 4999652"/>
              <a:gd name="connsiteX20" fmla="*/ 11199600 w 11199600"/>
              <a:gd name="connsiteY20" fmla="*/ 936999 h 4999652"/>
              <a:gd name="connsiteX21" fmla="*/ 11199600 w 11199600"/>
              <a:gd name="connsiteY21" fmla="*/ 1016524 h 4999652"/>
              <a:gd name="connsiteX22" fmla="*/ 11199600 w 11199600"/>
              <a:gd name="connsiteY22" fmla="*/ 1029131 h 4999652"/>
              <a:gd name="connsiteX23" fmla="*/ 11199600 w 11199600"/>
              <a:gd name="connsiteY23" fmla="*/ 1044999 h 4999652"/>
              <a:gd name="connsiteX24" fmla="*/ 11199600 w 11199600"/>
              <a:gd name="connsiteY24" fmla="*/ 1046406 h 4999652"/>
              <a:gd name="connsiteX25" fmla="*/ 11199600 w 11199600"/>
              <a:gd name="connsiteY25" fmla="*/ 1050025 h 4999652"/>
              <a:gd name="connsiteX26" fmla="*/ 11199600 w 11199600"/>
              <a:gd name="connsiteY26" fmla="*/ 1074887 h 4999652"/>
              <a:gd name="connsiteX27" fmla="*/ 11199600 w 11199600"/>
              <a:gd name="connsiteY27" fmla="*/ 1176672 h 4999652"/>
              <a:gd name="connsiteX28" fmla="*/ 11199600 w 11199600"/>
              <a:gd name="connsiteY28" fmla="*/ 1177161 h 4999652"/>
              <a:gd name="connsiteX29" fmla="*/ 11199600 w 11199600"/>
              <a:gd name="connsiteY29" fmla="*/ 1202847 h 4999652"/>
              <a:gd name="connsiteX30" fmla="*/ 11199600 w 11199600"/>
              <a:gd name="connsiteY30" fmla="*/ 1208224 h 4999652"/>
              <a:gd name="connsiteX31" fmla="*/ 11199600 w 11199600"/>
              <a:gd name="connsiteY31" fmla="*/ 1255579 h 4999652"/>
              <a:gd name="connsiteX32" fmla="*/ 11199600 w 11199600"/>
              <a:gd name="connsiteY32" fmla="*/ 1290764 h 4999652"/>
              <a:gd name="connsiteX33" fmla="*/ 11199600 w 11199600"/>
              <a:gd name="connsiteY33" fmla="*/ 1299618 h 4999652"/>
              <a:gd name="connsiteX34" fmla="*/ 11199600 w 11199600"/>
              <a:gd name="connsiteY34" fmla="*/ 1319238 h 4999652"/>
              <a:gd name="connsiteX35" fmla="*/ 11199600 w 11199600"/>
              <a:gd name="connsiteY35" fmla="*/ 1319239 h 4999652"/>
              <a:gd name="connsiteX36" fmla="*/ 11199600 w 11199600"/>
              <a:gd name="connsiteY36" fmla="*/ 1320462 h 4999652"/>
              <a:gd name="connsiteX37" fmla="*/ 11199600 w 11199600"/>
              <a:gd name="connsiteY37" fmla="*/ 1320646 h 4999652"/>
              <a:gd name="connsiteX38" fmla="*/ 11199600 w 11199600"/>
              <a:gd name="connsiteY38" fmla="*/ 1337290 h 4999652"/>
              <a:gd name="connsiteX39" fmla="*/ 11199600 w 11199600"/>
              <a:gd name="connsiteY39" fmla="*/ 1349128 h 4999652"/>
              <a:gd name="connsiteX40" fmla="*/ 11199600 w 11199600"/>
              <a:gd name="connsiteY40" fmla="*/ 1362376 h 4999652"/>
              <a:gd name="connsiteX41" fmla="*/ 11199600 w 11199600"/>
              <a:gd name="connsiteY41" fmla="*/ 1377295 h 4999652"/>
              <a:gd name="connsiteX42" fmla="*/ 11199600 w 11199600"/>
              <a:gd name="connsiteY42" fmla="*/ 1377296 h 4999652"/>
              <a:gd name="connsiteX43" fmla="*/ 11199600 w 11199600"/>
              <a:gd name="connsiteY43" fmla="*/ 1391616 h 4999652"/>
              <a:gd name="connsiteX44" fmla="*/ 11199600 w 11199600"/>
              <a:gd name="connsiteY44" fmla="*/ 1396135 h 4999652"/>
              <a:gd name="connsiteX45" fmla="*/ 11199600 w 11199600"/>
              <a:gd name="connsiteY45" fmla="*/ 1429106 h 4999652"/>
              <a:gd name="connsiteX46" fmla="*/ 11199600 w 11199600"/>
              <a:gd name="connsiteY46" fmla="*/ 1474898 h 4999652"/>
              <a:gd name="connsiteX47" fmla="*/ 11199600 w 11199600"/>
              <a:gd name="connsiteY47" fmla="*/ 1477086 h 4999652"/>
              <a:gd name="connsiteX48" fmla="*/ 11199600 w 11199600"/>
              <a:gd name="connsiteY48" fmla="*/ 1477087 h 4999652"/>
              <a:gd name="connsiteX49" fmla="*/ 11199600 w 11199600"/>
              <a:gd name="connsiteY49" fmla="*/ 1483429 h 4999652"/>
              <a:gd name="connsiteX50" fmla="*/ 11199600 w 11199600"/>
              <a:gd name="connsiteY50" fmla="*/ 1529819 h 4999652"/>
              <a:gd name="connsiteX51" fmla="*/ 11199600 w 11199600"/>
              <a:gd name="connsiteY51" fmla="*/ 1569176 h 4999652"/>
              <a:gd name="connsiteX52" fmla="*/ 11199600 w 11199600"/>
              <a:gd name="connsiteY52" fmla="*/ 1569177 h 4999652"/>
              <a:gd name="connsiteX53" fmla="*/ 11199600 w 11199600"/>
              <a:gd name="connsiteY53" fmla="*/ 1583173 h 4999652"/>
              <a:gd name="connsiteX54" fmla="*/ 11199600 w 11199600"/>
              <a:gd name="connsiteY54" fmla="*/ 1594702 h 4999652"/>
              <a:gd name="connsiteX55" fmla="*/ 11199600 w 11199600"/>
              <a:gd name="connsiteY55" fmla="*/ 1607195 h 4999652"/>
              <a:gd name="connsiteX56" fmla="*/ 11199600 w 11199600"/>
              <a:gd name="connsiteY56" fmla="*/ 1611530 h 4999652"/>
              <a:gd name="connsiteX57" fmla="*/ 11199600 w 11199600"/>
              <a:gd name="connsiteY57" fmla="*/ 1651535 h 4999652"/>
              <a:gd name="connsiteX58" fmla="*/ 11199600 w 11199600"/>
              <a:gd name="connsiteY58" fmla="*/ 1651536 h 4999652"/>
              <a:gd name="connsiteX59" fmla="*/ 11199600 w 11199600"/>
              <a:gd name="connsiteY59" fmla="*/ 1670375 h 4999652"/>
              <a:gd name="connsiteX60" fmla="*/ 11199600 w 11199600"/>
              <a:gd name="connsiteY60" fmla="*/ 1696199 h 4999652"/>
              <a:gd name="connsiteX61" fmla="*/ 11199600 w 11199600"/>
              <a:gd name="connsiteY61" fmla="*/ 1757669 h 4999652"/>
              <a:gd name="connsiteX62" fmla="*/ 11199600 w 11199600"/>
              <a:gd name="connsiteY62" fmla="*/ 1779317 h 4999652"/>
              <a:gd name="connsiteX63" fmla="*/ 11199600 w 11199600"/>
              <a:gd name="connsiteY63" fmla="*/ 1779318 h 4999652"/>
              <a:gd name="connsiteX64" fmla="*/ 11199600 w 11199600"/>
              <a:gd name="connsiteY64" fmla="*/ 1823335 h 4999652"/>
              <a:gd name="connsiteX65" fmla="*/ 11199600 w 11199600"/>
              <a:gd name="connsiteY65" fmla="*/ 1843416 h 4999652"/>
              <a:gd name="connsiteX66" fmla="*/ 11199600 w 11199600"/>
              <a:gd name="connsiteY66" fmla="*/ 1843417 h 4999652"/>
              <a:gd name="connsiteX67" fmla="*/ 11199600 w 11199600"/>
              <a:gd name="connsiteY67" fmla="*/ 1857413 h 4999652"/>
              <a:gd name="connsiteX68" fmla="*/ 11199600 w 11199600"/>
              <a:gd name="connsiteY68" fmla="*/ 1881436 h 4999652"/>
              <a:gd name="connsiteX69" fmla="*/ 11199600 w 11199600"/>
              <a:gd name="connsiteY69" fmla="*/ 1898682 h 4999652"/>
              <a:gd name="connsiteX70" fmla="*/ 11199600 w 11199600"/>
              <a:gd name="connsiteY70" fmla="*/ 1965413 h 4999652"/>
              <a:gd name="connsiteX71" fmla="*/ 11199600 w 11199600"/>
              <a:gd name="connsiteY71" fmla="*/ 1970439 h 4999652"/>
              <a:gd name="connsiteX72" fmla="*/ 11199600 w 11199600"/>
              <a:gd name="connsiteY72" fmla="*/ 2008550 h 4999652"/>
              <a:gd name="connsiteX73" fmla="*/ 11199600 w 11199600"/>
              <a:gd name="connsiteY73" fmla="*/ 2008551 h 4999652"/>
              <a:gd name="connsiteX74" fmla="*/ 11199600 w 11199600"/>
              <a:gd name="connsiteY74" fmla="*/ 2053557 h 4999652"/>
              <a:gd name="connsiteX75" fmla="*/ 11199600 w 11199600"/>
              <a:gd name="connsiteY75" fmla="*/ 2053558 h 4999652"/>
              <a:gd name="connsiteX76" fmla="*/ 11199600 w 11199600"/>
              <a:gd name="connsiteY76" fmla="*/ 2097575 h 4999652"/>
              <a:gd name="connsiteX77" fmla="*/ 11199600 w 11199600"/>
              <a:gd name="connsiteY77" fmla="*/ 2123261 h 4999652"/>
              <a:gd name="connsiteX78" fmla="*/ 11199600 w 11199600"/>
              <a:gd name="connsiteY78" fmla="*/ 2172922 h 4999652"/>
              <a:gd name="connsiteX79" fmla="*/ 11199600 w 11199600"/>
              <a:gd name="connsiteY79" fmla="*/ 2212580 h 4999652"/>
              <a:gd name="connsiteX80" fmla="*/ 11199600 w 11199600"/>
              <a:gd name="connsiteY80" fmla="*/ 2239653 h 4999652"/>
              <a:gd name="connsiteX81" fmla="*/ 11199600 w 11199600"/>
              <a:gd name="connsiteY81" fmla="*/ 2257704 h 4999652"/>
              <a:gd name="connsiteX82" fmla="*/ 11199600 w 11199600"/>
              <a:gd name="connsiteY82" fmla="*/ 2257705 h 4999652"/>
              <a:gd name="connsiteX83" fmla="*/ 11199600 w 11199600"/>
              <a:gd name="connsiteY83" fmla="*/ 2282790 h 4999652"/>
              <a:gd name="connsiteX84" fmla="*/ 11199600 w 11199600"/>
              <a:gd name="connsiteY84" fmla="*/ 2282791 h 4999652"/>
              <a:gd name="connsiteX85" fmla="*/ 11199600 w 11199600"/>
              <a:gd name="connsiteY85" fmla="*/ 2297710 h 4999652"/>
              <a:gd name="connsiteX86" fmla="*/ 11199600 w 11199600"/>
              <a:gd name="connsiteY86" fmla="*/ 2397501 h 4999652"/>
              <a:gd name="connsiteX87" fmla="*/ 11199600 w 11199600"/>
              <a:gd name="connsiteY87" fmla="*/ 2486821 h 4999652"/>
              <a:gd name="connsiteX88" fmla="*/ 11199600 w 11199600"/>
              <a:gd name="connsiteY88" fmla="*/ 2489591 h 4999652"/>
              <a:gd name="connsiteX89" fmla="*/ 11199600 w 11199600"/>
              <a:gd name="connsiteY89" fmla="*/ 2527609 h 4999652"/>
              <a:gd name="connsiteX90" fmla="*/ 11199600 w 11199600"/>
              <a:gd name="connsiteY90" fmla="*/ 2527610 h 4999652"/>
              <a:gd name="connsiteX91" fmla="*/ 11199600 w 11199600"/>
              <a:gd name="connsiteY91" fmla="*/ 2531944 h 4999652"/>
              <a:gd name="connsiteX92" fmla="*/ 11199600 w 11199600"/>
              <a:gd name="connsiteY92" fmla="*/ 2531945 h 4999652"/>
              <a:gd name="connsiteX93" fmla="*/ 11199600 w 11199600"/>
              <a:gd name="connsiteY93" fmla="*/ 2549720 h 4999652"/>
              <a:gd name="connsiteX94" fmla="*/ 11199600 w 11199600"/>
              <a:gd name="connsiteY94" fmla="*/ 2571950 h 4999652"/>
              <a:gd name="connsiteX95" fmla="*/ 11199600 w 11199600"/>
              <a:gd name="connsiteY95" fmla="*/ 2699732 h 4999652"/>
              <a:gd name="connsiteX96" fmla="*/ 11199600 w 11199600"/>
              <a:gd name="connsiteY96" fmla="*/ 2763831 h 4999652"/>
              <a:gd name="connsiteX97" fmla="*/ 11199600 w 11199600"/>
              <a:gd name="connsiteY97" fmla="*/ 2790282 h 4999652"/>
              <a:gd name="connsiteX98" fmla="*/ 11199600 w 11199600"/>
              <a:gd name="connsiteY98" fmla="*/ 2801850 h 4999652"/>
              <a:gd name="connsiteX99" fmla="*/ 11199600 w 11199600"/>
              <a:gd name="connsiteY99" fmla="*/ 2819096 h 4999652"/>
              <a:gd name="connsiteX100" fmla="*/ 11199600 w 11199600"/>
              <a:gd name="connsiteY100" fmla="*/ 2823960 h 4999652"/>
              <a:gd name="connsiteX101" fmla="*/ 11199600 w 11199600"/>
              <a:gd name="connsiteY101" fmla="*/ 2910931 h 4999652"/>
              <a:gd name="connsiteX102" fmla="*/ 11199600 w 11199600"/>
              <a:gd name="connsiteY102" fmla="*/ 3093336 h 4999652"/>
              <a:gd name="connsiteX103" fmla="*/ 11199600 w 11199600"/>
              <a:gd name="connsiteY103" fmla="*/ 3132994 h 4999652"/>
              <a:gd name="connsiteX104" fmla="*/ 11199600 w 11199600"/>
              <a:gd name="connsiteY104" fmla="*/ 3185171 h 4999652"/>
              <a:gd name="connsiteX105" fmla="*/ 11199600 w 11199600"/>
              <a:gd name="connsiteY105" fmla="*/ 3297044 h 4999652"/>
              <a:gd name="connsiteX106" fmla="*/ 11199600 w 11199600"/>
              <a:gd name="connsiteY106" fmla="*/ 3407235 h 4999652"/>
              <a:gd name="connsiteX107" fmla="*/ 11199600 w 11199600"/>
              <a:gd name="connsiteY107" fmla="*/ 3470134 h 4999652"/>
              <a:gd name="connsiteX108" fmla="*/ 11199600 w 11199600"/>
              <a:gd name="connsiteY108" fmla="*/ 3571284 h 4999652"/>
              <a:gd name="connsiteX109" fmla="*/ 11199600 w 11199600"/>
              <a:gd name="connsiteY109" fmla="*/ 3708888 h 4999652"/>
              <a:gd name="connsiteX110" fmla="*/ 11199600 w 11199600"/>
              <a:gd name="connsiteY110" fmla="*/ 3744374 h 4999652"/>
              <a:gd name="connsiteX111" fmla="*/ 11199600 w 11199600"/>
              <a:gd name="connsiteY111" fmla="*/ 3831345 h 4999652"/>
              <a:gd name="connsiteX112" fmla="*/ 11199600 w 11199600"/>
              <a:gd name="connsiteY112" fmla="*/ 3983128 h 4999652"/>
              <a:gd name="connsiteX113" fmla="*/ 11199600 w 11199600"/>
              <a:gd name="connsiteY113" fmla="*/ 4105585 h 4999652"/>
              <a:gd name="connsiteX114" fmla="*/ 11199600 w 11199600"/>
              <a:gd name="connsiteY114" fmla="*/ 4217458 h 4999652"/>
              <a:gd name="connsiteX115" fmla="*/ 11199600 w 11199600"/>
              <a:gd name="connsiteY115" fmla="*/ 4491698 h 4999652"/>
              <a:gd name="connsiteX116" fmla="*/ 11199600 w 11199600"/>
              <a:gd name="connsiteY116" fmla="*/ 4629302 h 4999652"/>
              <a:gd name="connsiteX117" fmla="*/ 11199600 w 11199600"/>
              <a:gd name="connsiteY117" fmla="*/ 4903542 h 4999652"/>
              <a:gd name="connsiteX118" fmla="*/ 11103603 w 11199600"/>
              <a:gd name="connsiteY118" fmla="*/ 4999652 h 4999652"/>
              <a:gd name="connsiteX119" fmla="*/ 95997 w 11199600"/>
              <a:gd name="connsiteY119" fmla="*/ 4999652 h 4999652"/>
              <a:gd name="connsiteX120" fmla="*/ 0 w 11199600"/>
              <a:gd name="connsiteY120" fmla="*/ 4903542 h 4999652"/>
              <a:gd name="connsiteX121" fmla="*/ 0 w 11199600"/>
              <a:gd name="connsiteY121" fmla="*/ 4899807 h 4999652"/>
              <a:gd name="connsiteX122" fmla="*/ 0 w 11199600"/>
              <a:gd name="connsiteY122" fmla="*/ 4890936 h 4999652"/>
              <a:gd name="connsiteX123" fmla="*/ 0 w 11199600"/>
              <a:gd name="connsiteY123" fmla="*/ 4873660 h 4999652"/>
              <a:gd name="connsiteX124" fmla="*/ 0 w 11199600"/>
              <a:gd name="connsiteY124" fmla="*/ 4845179 h 4999652"/>
              <a:gd name="connsiteX125" fmla="*/ 0 w 11199600"/>
              <a:gd name="connsiteY125" fmla="*/ 4802691 h 4999652"/>
              <a:gd name="connsiteX126" fmla="*/ 0 w 11199600"/>
              <a:gd name="connsiteY126" fmla="*/ 4743394 h 4999652"/>
              <a:gd name="connsiteX127" fmla="*/ 0 w 11199600"/>
              <a:gd name="connsiteY127" fmla="*/ 4664487 h 4999652"/>
              <a:gd name="connsiteX128" fmla="*/ 0 w 11199600"/>
              <a:gd name="connsiteY128" fmla="*/ 4629302 h 4999652"/>
              <a:gd name="connsiteX129" fmla="*/ 0 w 11199600"/>
              <a:gd name="connsiteY129" fmla="*/ 4628196 h 4999652"/>
              <a:gd name="connsiteX130" fmla="*/ 0 w 11199600"/>
              <a:gd name="connsiteY130" fmla="*/ 4620448 h 4999652"/>
              <a:gd name="connsiteX131" fmla="*/ 0 w 11199600"/>
              <a:gd name="connsiteY131" fmla="*/ 4599605 h 4999652"/>
              <a:gd name="connsiteX132" fmla="*/ 0 w 11199600"/>
              <a:gd name="connsiteY132" fmla="*/ 4599420 h 4999652"/>
              <a:gd name="connsiteX133" fmla="*/ 0 w 11199600"/>
              <a:gd name="connsiteY133" fmla="*/ 4558471 h 4999652"/>
              <a:gd name="connsiteX134" fmla="*/ 0 w 11199600"/>
              <a:gd name="connsiteY134" fmla="*/ 4528451 h 4999652"/>
              <a:gd name="connsiteX135" fmla="*/ 0 w 11199600"/>
              <a:gd name="connsiteY135" fmla="*/ 4523932 h 4999652"/>
              <a:gd name="connsiteX136" fmla="*/ 0 w 11199600"/>
              <a:gd name="connsiteY136" fmla="*/ 4490960 h 4999652"/>
              <a:gd name="connsiteX137" fmla="*/ 0 w 11199600"/>
              <a:gd name="connsiteY137" fmla="*/ 4445169 h 4999652"/>
              <a:gd name="connsiteX138" fmla="*/ 0 w 11199600"/>
              <a:gd name="connsiteY138" fmla="*/ 4436638 h 4999652"/>
              <a:gd name="connsiteX139" fmla="*/ 0 w 11199600"/>
              <a:gd name="connsiteY139" fmla="*/ 4390247 h 4999652"/>
              <a:gd name="connsiteX140" fmla="*/ 0 w 11199600"/>
              <a:gd name="connsiteY140" fmla="*/ 4336893 h 4999652"/>
              <a:gd name="connsiteX141" fmla="*/ 0 w 11199600"/>
              <a:gd name="connsiteY141" fmla="*/ 4325365 h 4999652"/>
              <a:gd name="connsiteX142" fmla="*/ 0 w 11199600"/>
              <a:gd name="connsiteY142" fmla="*/ 4249692 h 4999652"/>
              <a:gd name="connsiteX143" fmla="*/ 0 w 11199600"/>
              <a:gd name="connsiteY143" fmla="*/ 4223868 h 4999652"/>
              <a:gd name="connsiteX144" fmla="*/ 0 w 11199600"/>
              <a:gd name="connsiteY144" fmla="*/ 4162398 h 4999652"/>
              <a:gd name="connsiteX145" fmla="*/ 0 w 11199600"/>
              <a:gd name="connsiteY145" fmla="*/ 4096731 h 4999652"/>
              <a:gd name="connsiteX146" fmla="*/ 0 w 11199600"/>
              <a:gd name="connsiteY146" fmla="*/ 4062653 h 4999652"/>
              <a:gd name="connsiteX147" fmla="*/ 0 w 11199600"/>
              <a:gd name="connsiteY147" fmla="*/ 3983128 h 4999652"/>
              <a:gd name="connsiteX148" fmla="*/ 0 w 11199600"/>
              <a:gd name="connsiteY148" fmla="*/ 3979393 h 4999652"/>
              <a:gd name="connsiteX149" fmla="*/ 0 w 11199600"/>
              <a:gd name="connsiteY149" fmla="*/ 3970522 h 4999652"/>
              <a:gd name="connsiteX150" fmla="*/ 0 w 11199600"/>
              <a:gd name="connsiteY150" fmla="*/ 3954654 h 4999652"/>
              <a:gd name="connsiteX151" fmla="*/ 0 w 11199600"/>
              <a:gd name="connsiteY151" fmla="*/ 3953246 h 4999652"/>
              <a:gd name="connsiteX152" fmla="*/ 0 w 11199600"/>
              <a:gd name="connsiteY152" fmla="*/ 3949628 h 4999652"/>
              <a:gd name="connsiteX153" fmla="*/ 0 w 11199600"/>
              <a:gd name="connsiteY153" fmla="*/ 3924765 h 4999652"/>
              <a:gd name="connsiteX154" fmla="*/ 0 w 11199600"/>
              <a:gd name="connsiteY154" fmla="*/ 3882277 h 4999652"/>
              <a:gd name="connsiteX155" fmla="*/ 0 w 11199600"/>
              <a:gd name="connsiteY155" fmla="*/ 3822980 h 4999652"/>
              <a:gd name="connsiteX156" fmla="*/ 0 w 11199600"/>
              <a:gd name="connsiteY156" fmla="*/ 3822491 h 4999652"/>
              <a:gd name="connsiteX157" fmla="*/ 0 w 11199600"/>
              <a:gd name="connsiteY157" fmla="*/ 3796806 h 4999652"/>
              <a:gd name="connsiteX158" fmla="*/ 0 w 11199600"/>
              <a:gd name="connsiteY158" fmla="*/ 3744073 h 4999652"/>
              <a:gd name="connsiteX159" fmla="*/ 0 w 11199600"/>
              <a:gd name="connsiteY159" fmla="*/ 3708888 h 4999652"/>
              <a:gd name="connsiteX160" fmla="*/ 0 w 11199600"/>
              <a:gd name="connsiteY160" fmla="*/ 3707782 h 4999652"/>
              <a:gd name="connsiteX161" fmla="*/ 0 w 11199600"/>
              <a:gd name="connsiteY161" fmla="*/ 3700034 h 4999652"/>
              <a:gd name="connsiteX162" fmla="*/ 0 w 11199600"/>
              <a:gd name="connsiteY162" fmla="*/ 3680414 h 4999652"/>
              <a:gd name="connsiteX163" fmla="*/ 0 w 11199600"/>
              <a:gd name="connsiteY163" fmla="*/ 3679191 h 4999652"/>
              <a:gd name="connsiteX164" fmla="*/ 0 w 11199600"/>
              <a:gd name="connsiteY164" fmla="*/ 3679006 h 4999652"/>
              <a:gd name="connsiteX165" fmla="*/ 0 w 11199600"/>
              <a:gd name="connsiteY165" fmla="*/ 3638057 h 4999652"/>
              <a:gd name="connsiteX166" fmla="*/ 0 w 11199600"/>
              <a:gd name="connsiteY166" fmla="*/ 3622356 h 4999652"/>
              <a:gd name="connsiteX167" fmla="*/ 0 w 11199600"/>
              <a:gd name="connsiteY167" fmla="*/ 3608037 h 4999652"/>
              <a:gd name="connsiteX168" fmla="*/ 0 w 11199600"/>
              <a:gd name="connsiteY168" fmla="*/ 3603518 h 4999652"/>
              <a:gd name="connsiteX169" fmla="*/ 0 w 11199600"/>
              <a:gd name="connsiteY169" fmla="*/ 3570546 h 4999652"/>
              <a:gd name="connsiteX170" fmla="*/ 0 w 11199600"/>
              <a:gd name="connsiteY170" fmla="*/ 3524755 h 4999652"/>
              <a:gd name="connsiteX171" fmla="*/ 0 w 11199600"/>
              <a:gd name="connsiteY171" fmla="*/ 3522566 h 4999652"/>
              <a:gd name="connsiteX172" fmla="*/ 0 w 11199600"/>
              <a:gd name="connsiteY172" fmla="*/ 3516224 h 4999652"/>
              <a:gd name="connsiteX173" fmla="*/ 0 w 11199600"/>
              <a:gd name="connsiteY173" fmla="*/ 3469833 h 4999652"/>
              <a:gd name="connsiteX174" fmla="*/ 0 w 11199600"/>
              <a:gd name="connsiteY174" fmla="*/ 3430476 h 4999652"/>
              <a:gd name="connsiteX175" fmla="*/ 0 w 11199600"/>
              <a:gd name="connsiteY175" fmla="*/ 3416479 h 4999652"/>
              <a:gd name="connsiteX176" fmla="*/ 0 w 11199600"/>
              <a:gd name="connsiteY176" fmla="*/ 3404951 h 4999652"/>
              <a:gd name="connsiteX177" fmla="*/ 0 w 11199600"/>
              <a:gd name="connsiteY177" fmla="*/ 3348116 h 4999652"/>
              <a:gd name="connsiteX178" fmla="*/ 0 w 11199600"/>
              <a:gd name="connsiteY178" fmla="*/ 3329278 h 4999652"/>
              <a:gd name="connsiteX179" fmla="*/ 0 w 11199600"/>
              <a:gd name="connsiteY179" fmla="*/ 3303454 h 4999652"/>
              <a:gd name="connsiteX180" fmla="*/ 0 w 11199600"/>
              <a:gd name="connsiteY180" fmla="*/ 3241984 h 4999652"/>
              <a:gd name="connsiteX181" fmla="*/ 0 w 11199600"/>
              <a:gd name="connsiteY181" fmla="*/ 3220334 h 4999652"/>
              <a:gd name="connsiteX182" fmla="*/ 0 w 11199600"/>
              <a:gd name="connsiteY182" fmla="*/ 3176317 h 4999652"/>
              <a:gd name="connsiteX183" fmla="*/ 0 w 11199600"/>
              <a:gd name="connsiteY183" fmla="*/ 3156236 h 4999652"/>
              <a:gd name="connsiteX184" fmla="*/ 0 w 11199600"/>
              <a:gd name="connsiteY184" fmla="*/ 3142239 h 4999652"/>
              <a:gd name="connsiteX185" fmla="*/ 0 w 11199600"/>
              <a:gd name="connsiteY185" fmla="*/ 3034240 h 4999652"/>
              <a:gd name="connsiteX186" fmla="*/ 0 w 11199600"/>
              <a:gd name="connsiteY186" fmla="*/ 3029214 h 4999652"/>
              <a:gd name="connsiteX187" fmla="*/ 0 w 11199600"/>
              <a:gd name="connsiteY187" fmla="*/ 2991101 h 4999652"/>
              <a:gd name="connsiteX188" fmla="*/ 0 w 11199600"/>
              <a:gd name="connsiteY188" fmla="*/ 2946094 h 4999652"/>
              <a:gd name="connsiteX189" fmla="*/ 0 w 11199600"/>
              <a:gd name="connsiteY189" fmla="*/ 2902077 h 4999652"/>
              <a:gd name="connsiteX190" fmla="*/ 0 w 11199600"/>
              <a:gd name="connsiteY190" fmla="*/ 2876392 h 4999652"/>
              <a:gd name="connsiteX191" fmla="*/ 0 w 11199600"/>
              <a:gd name="connsiteY191" fmla="*/ 2790282 h 4999652"/>
              <a:gd name="connsiteX192" fmla="*/ 0 w 11199600"/>
              <a:gd name="connsiteY192" fmla="*/ 2787072 h 4999652"/>
              <a:gd name="connsiteX193" fmla="*/ 0 w 11199600"/>
              <a:gd name="connsiteY193" fmla="*/ 2760000 h 4999652"/>
              <a:gd name="connsiteX194" fmla="*/ 0 w 11199600"/>
              <a:gd name="connsiteY194" fmla="*/ 2741948 h 4999652"/>
              <a:gd name="connsiteX195" fmla="*/ 0 w 11199600"/>
              <a:gd name="connsiteY195" fmla="*/ 2741947 h 4999652"/>
              <a:gd name="connsiteX196" fmla="*/ 0 w 11199600"/>
              <a:gd name="connsiteY196" fmla="*/ 2716862 h 4999652"/>
              <a:gd name="connsiteX197" fmla="*/ 0 w 11199600"/>
              <a:gd name="connsiteY197" fmla="*/ 2716861 h 4999652"/>
              <a:gd name="connsiteX198" fmla="*/ 0 w 11199600"/>
              <a:gd name="connsiteY198" fmla="*/ 2701942 h 4999652"/>
              <a:gd name="connsiteX199" fmla="*/ 0 w 11199600"/>
              <a:gd name="connsiteY199" fmla="*/ 2602152 h 4999652"/>
              <a:gd name="connsiteX200" fmla="*/ 0 w 11199600"/>
              <a:gd name="connsiteY200" fmla="*/ 2512832 h 4999652"/>
              <a:gd name="connsiteX201" fmla="*/ 0 w 11199600"/>
              <a:gd name="connsiteY201" fmla="*/ 2510062 h 4999652"/>
              <a:gd name="connsiteX202" fmla="*/ 0 w 11199600"/>
              <a:gd name="connsiteY202" fmla="*/ 2472043 h 4999652"/>
              <a:gd name="connsiteX203" fmla="*/ 0 w 11199600"/>
              <a:gd name="connsiteY203" fmla="*/ 2472042 h 4999652"/>
              <a:gd name="connsiteX204" fmla="*/ 0 w 11199600"/>
              <a:gd name="connsiteY204" fmla="*/ 2467708 h 4999652"/>
              <a:gd name="connsiteX205" fmla="*/ 0 w 11199600"/>
              <a:gd name="connsiteY205" fmla="*/ 2467707 h 4999652"/>
              <a:gd name="connsiteX206" fmla="*/ 0 w 11199600"/>
              <a:gd name="connsiteY206" fmla="*/ 2449933 h 4999652"/>
              <a:gd name="connsiteX207" fmla="*/ 0 w 11199600"/>
              <a:gd name="connsiteY207" fmla="*/ 2427702 h 4999652"/>
              <a:gd name="connsiteX208" fmla="*/ 0 w 11199600"/>
              <a:gd name="connsiteY208" fmla="*/ 2299920 h 4999652"/>
              <a:gd name="connsiteX209" fmla="*/ 0 w 11199600"/>
              <a:gd name="connsiteY209" fmla="*/ 2235822 h 4999652"/>
              <a:gd name="connsiteX210" fmla="*/ 0 w 11199600"/>
              <a:gd name="connsiteY210" fmla="*/ 2197803 h 4999652"/>
              <a:gd name="connsiteX211" fmla="*/ 0 w 11199600"/>
              <a:gd name="connsiteY211" fmla="*/ 2197802 h 4999652"/>
              <a:gd name="connsiteX212" fmla="*/ 0 w 11199600"/>
              <a:gd name="connsiteY212" fmla="*/ 2180556 h 4999652"/>
              <a:gd name="connsiteX213" fmla="*/ 0 w 11199600"/>
              <a:gd name="connsiteY213" fmla="*/ 2180555 h 4999652"/>
              <a:gd name="connsiteX214" fmla="*/ 0 w 11199600"/>
              <a:gd name="connsiteY214" fmla="*/ 2175692 h 4999652"/>
              <a:gd name="connsiteX215" fmla="*/ 0 w 11199600"/>
              <a:gd name="connsiteY215" fmla="*/ 2088721 h 4999652"/>
              <a:gd name="connsiteX216" fmla="*/ 0 w 11199600"/>
              <a:gd name="connsiteY216" fmla="*/ 2070687 h 4999652"/>
              <a:gd name="connsiteX217" fmla="*/ 0 w 11199600"/>
              <a:gd name="connsiteY217" fmla="*/ 2025680 h 4999652"/>
              <a:gd name="connsiteX218" fmla="*/ 0 w 11199600"/>
              <a:gd name="connsiteY218" fmla="*/ 1906316 h 4999652"/>
              <a:gd name="connsiteX219" fmla="*/ 0 w 11199600"/>
              <a:gd name="connsiteY219" fmla="*/ 1906315 h 4999652"/>
              <a:gd name="connsiteX220" fmla="*/ 0 w 11199600"/>
              <a:gd name="connsiteY220" fmla="*/ 1866658 h 4999652"/>
              <a:gd name="connsiteX221" fmla="*/ 0 w 11199600"/>
              <a:gd name="connsiteY221" fmla="*/ 1866657 h 4999652"/>
              <a:gd name="connsiteX222" fmla="*/ 0 w 11199600"/>
              <a:gd name="connsiteY222" fmla="*/ 1821533 h 4999652"/>
              <a:gd name="connsiteX223" fmla="*/ 0 w 11199600"/>
              <a:gd name="connsiteY223" fmla="*/ 1814481 h 4999652"/>
              <a:gd name="connsiteX224" fmla="*/ 0 w 11199600"/>
              <a:gd name="connsiteY224" fmla="*/ 1796447 h 4999652"/>
              <a:gd name="connsiteX225" fmla="*/ 0 w 11199600"/>
              <a:gd name="connsiteY225" fmla="*/ 1702609 h 4999652"/>
              <a:gd name="connsiteX226" fmla="*/ 0 w 11199600"/>
              <a:gd name="connsiteY226" fmla="*/ 1592418 h 4999652"/>
              <a:gd name="connsiteX227" fmla="*/ 0 w 11199600"/>
              <a:gd name="connsiteY227" fmla="*/ 1592417 h 4999652"/>
              <a:gd name="connsiteX228" fmla="*/ 0 w 11199600"/>
              <a:gd name="connsiteY228" fmla="*/ 1551628 h 4999652"/>
              <a:gd name="connsiteX229" fmla="*/ 0 w 11199600"/>
              <a:gd name="connsiteY229" fmla="*/ 1547293 h 4999652"/>
              <a:gd name="connsiteX230" fmla="*/ 0 w 11199600"/>
              <a:gd name="connsiteY230" fmla="*/ 1529519 h 4999652"/>
              <a:gd name="connsiteX231" fmla="*/ 0 w 11199600"/>
              <a:gd name="connsiteY231" fmla="*/ 1529518 h 4999652"/>
              <a:gd name="connsiteX232" fmla="*/ 0 w 11199600"/>
              <a:gd name="connsiteY232" fmla="*/ 1428369 h 4999652"/>
              <a:gd name="connsiteX233" fmla="*/ 0 w 11199600"/>
              <a:gd name="connsiteY233" fmla="*/ 1290764 h 4999652"/>
              <a:gd name="connsiteX234" fmla="*/ 0 w 11199600"/>
              <a:gd name="connsiteY234" fmla="*/ 1277388 h 4999652"/>
              <a:gd name="connsiteX235" fmla="*/ 0 w 11199600"/>
              <a:gd name="connsiteY235" fmla="*/ 1260141 h 4999652"/>
              <a:gd name="connsiteX236" fmla="*/ 0 w 11199600"/>
              <a:gd name="connsiteY236" fmla="*/ 1255278 h 4999652"/>
              <a:gd name="connsiteX237" fmla="*/ 0 w 11199600"/>
              <a:gd name="connsiteY237" fmla="*/ 1255277 h 4999652"/>
              <a:gd name="connsiteX238" fmla="*/ 0 w 11199600"/>
              <a:gd name="connsiteY238" fmla="*/ 1208224 h 4999652"/>
              <a:gd name="connsiteX239" fmla="*/ 0 w 11199600"/>
              <a:gd name="connsiteY239" fmla="*/ 1168307 h 4999652"/>
              <a:gd name="connsiteX240" fmla="*/ 0 w 11199600"/>
              <a:gd name="connsiteY240" fmla="*/ 1016524 h 4999652"/>
              <a:gd name="connsiteX241" fmla="*/ 0 w 11199600"/>
              <a:gd name="connsiteY241" fmla="*/ 894067 h 4999652"/>
              <a:gd name="connsiteX242" fmla="*/ 0 w 11199600"/>
              <a:gd name="connsiteY242" fmla="*/ 782195 h 4999652"/>
              <a:gd name="connsiteX243" fmla="*/ 0 w 11199600"/>
              <a:gd name="connsiteY243" fmla="*/ 507955 h 4999652"/>
              <a:gd name="connsiteX244" fmla="*/ 0 w 11199600"/>
              <a:gd name="connsiteY244" fmla="*/ 370350 h 4999652"/>
              <a:gd name="connsiteX245" fmla="*/ 0 w 11199600"/>
              <a:gd name="connsiteY245" fmla="*/ 96110 h 4999652"/>
              <a:gd name="connsiteX246" fmla="*/ 95997 w 11199600"/>
              <a:gd name="connsiteY246" fmla="*/ 0 h 49996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</a:cxnLst>
            <a:rect l="l" t="t" r="r" b="b"/>
            <a:pathLst>
              <a:path w="11199600" h="4999652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08224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8"/>
                </a:ln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lnTo>
                  <a:pt x="11199600" y="1337290"/>
                </a:lnTo>
                <a:lnTo>
                  <a:pt x="11199600" y="1349128"/>
                </a:lnTo>
                <a:lnTo>
                  <a:pt x="11199600" y="1362376"/>
                </a:lnTo>
                <a:lnTo>
                  <a:pt x="11199600" y="1377295"/>
                </a:ln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6"/>
                </a:ln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6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07195"/>
                </a:lnTo>
                <a:lnTo>
                  <a:pt x="11199600" y="1611530"/>
                </a:lnTo>
                <a:lnTo>
                  <a:pt x="11199600" y="1651535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7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6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881436"/>
                </a:lnTo>
                <a:lnTo>
                  <a:pt x="11199600" y="1898682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0"/>
                </a:lnTo>
                <a:lnTo>
                  <a:pt x="11199600" y="2008551"/>
                </a:lnTo>
                <a:lnTo>
                  <a:pt x="11199600" y="2053557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172922"/>
                </a:lnTo>
                <a:lnTo>
                  <a:pt x="11199600" y="2212580"/>
                </a:lnTo>
                <a:lnTo>
                  <a:pt x="11199600" y="2239653"/>
                </a:lnTo>
                <a:lnTo>
                  <a:pt x="11199600" y="2257704"/>
                </a:lnTo>
                <a:lnTo>
                  <a:pt x="11199600" y="2257705"/>
                </a:lnTo>
                <a:lnTo>
                  <a:pt x="11199600" y="2282790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6821"/>
                </a:lnTo>
                <a:lnTo>
                  <a:pt x="11199600" y="2489591"/>
                </a:lnTo>
                <a:lnTo>
                  <a:pt x="11199600" y="2527609"/>
                </a:lnTo>
                <a:lnTo>
                  <a:pt x="11199600" y="2527610"/>
                </a:lnTo>
                <a:lnTo>
                  <a:pt x="11199600" y="2531944"/>
                </a:lnTo>
                <a:lnTo>
                  <a:pt x="11199600" y="2531945"/>
                </a:lnTo>
                <a:lnTo>
                  <a:pt x="11199600" y="2549720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790282"/>
                </a:lnTo>
                <a:lnTo>
                  <a:pt x="11199600" y="2801850"/>
                </a:lnTo>
                <a:lnTo>
                  <a:pt x="11199600" y="2819096"/>
                </a:lnTo>
                <a:lnTo>
                  <a:pt x="11199600" y="2823960"/>
                </a:lnTo>
                <a:lnTo>
                  <a:pt x="11199600" y="2910931"/>
                </a:lnTo>
                <a:lnTo>
                  <a:pt x="11199600" y="3093336"/>
                </a:lnTo>
                <a:lnTo>
                  <a:pt x="11199600" y="3132994"/>
                </a:lnTo>
                <a:lnTo>
                  <a:pt x="11199600" y="3185171"/>
                </a:lnTo>
                <a:lnTo>
                  <a:pt x="11199600" y="3297044"/>
                </a:lnTo>
                <a:lnTo>
                  <a:pt x="11199600" y="3407235"/>
                </a:lnTo>
                <a:lnTo>
                  <a:pt x="11199600" y="3470134"/>
                </a:lnTo>
                <a:lnTo>
                  <a:pt x="11199600" y="3571284"/>
                </a:lnTo>
                <a:lnTo>
                  <a:pt x="11199600" y="3708888"/>
                </a:lnTo>
                <a:lnTo>
                  <a:pt x="11199600" y="3744374"/>
                </a:lnTo>
                <a:lnTo>
                  <a:pt x="11199600" y="3831345"/>
                </a:lnTo>
                <a:lnTo>
                  <a:pt x="11199600" y="3983128"/>
                </a:lnTo>
                <a:lnTo>
                  <a:pt x="11199600" y="4105585"/>
                </a:lnTo>
                <a:lnTo>
                  <a:pt x="11199600" y="4217458"/>
                </a:lnTo>
                <a:lnTo>
                  <a:pt x="11199600" y="4491698"/>
                </a:lnTo>
                <a:lnTo>
                  <a:pt x="11199600" y="4629302"/>
                </a:lnTo>
                <a:lnTo>
                  <a:pt x="11199600" y="4903542"/>
                </a:lnTo>
                <a:cubicBezTo>
                  <a:pt x="11199600" y="4999652"/>
                  <a:pt x="11103603" y="4999652"/>
                  <a:pt x="11103603" y="4999652"/>
                </a:cubicBezTo>
                <a:cubicBezTo>
                  <a:pt x="11103603" y="4999652"/>
                  <a:pt x="11103603" y="4999652"/>
                  <a:pt x="95997" y="4999652"/>
                </a:cubicBezTo>
                <a:cubicBezTo>
                  <a:pt x="0" y="4999652"/>
                  <a:pt x="0" y="4903542"/>
                  <a:pt x="0" y="4903542"/>
                </a:cubicBezTo>
                <a:lnTo>
                  <a:pt x="0" y="4899807"/>
                </a:lnTo>
                <a:lnTo>
                  <a:pt x="0" y="4890936"/>
                </a:lnTo>
                <a:lnTo>
                  <a:pt x="0" y="4873660"/>
                </a:lnTo>
                <a:lnTo>
                  <a:pt x="0" y="4845179"/>
                </a:lnTo>
                <a:lnTo>
                  <a:pt x="0" y="4802691"/>
                </a:lnTo>
                <a:lnTo>
                  <a:pt x="0" y="4743394"/>
                </a:lnTo>
                <a:lnTo>
                  <a:pt x="0" y="4664487"/>
                </a:lnTo>
                <a:lnTo>
                  <a:pt x="0" y="4629302"/>
                </a:lnTo>
                <a:lnTo>
                  <a:pt x="0" y="4628196"/>
                </a:lnTo>
                <a:lnTo>
                  <a:pt x="0" y="4620448"/>
                </a:lnTo>
                <a:lnTo>
                  <a:pt x="0" y="4599605"/>
                </a:lnTo>
                <a:lnTo>
                  <a:pt x="0" y="4599420"/>
                </a:lnTo>
                <a:lnTo>
                  <a:pt x="0" y="4558471"/>
                </a:lnTo>
                <a:lnTo>
                  <a:pt x="0" y="4528451"/>
                </a:lnTo>
                <a:lnTo>
                  <a:pt x="0" y="4523932"/>
                </a:lnTo>
                <a:lnTo>
                  <a:pt x="0" y="4490960"/>
                </a:lnTo>
                <a:lnTo>
                  <a:pt x="0" y="4445169"/>
                </a:lnTo>
                <a:lnTo>
                  <a:pt x="0" y="4436638"/>
                </a:lnTo>
                <a:lnTo>
                  <a:pt x="0" y="4390247"/>
                </a:lnTo>
                <a:lnTo>
                  <a:pt x="0" y="4336893"/>
                </a:lnTo>
                <a:lnTo>
                  <a:pt x="0" y="4325365"/>
                </a:lnTo>
                <a:lnTo>
                  <a:pt x="0" y="4249692"/>
                </a:lnTo>
                <a:lnTo>
                  <a:pt x="0" y="4223868"/>
                </a:lnTo>
                <a:lnTo>
                  <a:pt x="0" y="4162398"/>
                </a:lnTo>
                <a:lnTo>
                  <a:pt x="0" y="4096731"/>
                </a:lnTo>
                <a:lnTo>
                  <a:pt x="0" y="4062653"/>
                </a:lnTo>
                <a:lnTo>
                  <a:pt x="0" y="3983128"/>
                </a:lnTo>
                <a:lnTo>
                  <a:pt x="0" y="3979393"/>
                </a:lnTo>
                <a:lnTo>
                  <a:pt x="0" y="3970522"/>
                </a:lnTo>
                <a:lnTo>
                  <a:pt x="0" y="3954654"/>
                </a:lnTo>
                <a:lnTo>
                  <a:pt x="0" y="3953246"/>
                </a:lnTo>
                <a:lnTo>
                  <a:pt x="0" y="3949628"/>
                </a:lnTo>
                <a:lnTo>
                  <a:pt x="0" y="3924765"/>
                </a:lnTo>
                <a:lnTo>
                  <a:pt x="0" y="3882277"/>
                </a:lnTo>
                <a:lnTo>
                  <a:pt x="0" y="3822980"/>
                </a:lnTo>
                <a:lnTo>
                  <a:pt x="0" y="3822491"/>
                </a:lnTo>
                <a:lnTo>
                  <a:pt x="0" y="3796806"/>
                </a:lnTo>
                <a:lnTo>
                  <a:pt x="0" y="3744073"/>
                </a:lnTo>
                <a:lnTo>
                  <a:pt x="0" y="3708888"/>
                </a:lnTo>
                <a:lnTo>
                  <a:pt x="0" y="3707782"/>
                </a:lnTo>
                <a:lnTo>
                  <a:pt x="0" y="3700034"/>
                </a:lnTo>
                <a:lnTo>
                  <a:pt x="0" y="3680414"/>
                </a:lnTo>
                <a:lnTo>
                  <a:pt x="0" y="3679191"/>
                </a:lnTo>
                <a:lnTo>
                  <a:pt x="0" y="3679006"/>
                </a:lnTo>
                <a:lnTo>
                  <a:pt x="0" y="3638057"/>
                </a:lnTo>
                <a:lnTo>
                  <a:pt x="0" y="3622356"/>
                </a:lnTo>
                <a:lnTo>
                  <a:pt x="0" y="3608037"/>
                </a:lnTo>
                <a:lnTo>
                  <a:pt x="0" y="3603518"/>
                </a:lnTo>
                <a:lnTo>
                  <a:pt x="0" y="3570546"/>
                </a:lnTo>
                <a:lnTo>
                  <a:pt x="0" y="3524755"/>
                </a:lnTo>
                <a:lnTo>
                  <a:pt x="0" y="3522566"/>
                </a:lnTo>
                <a:lnTo>
                  <a:pt x="0" y="3516224"/>
                </a:lnTo>
                <a:lnTo>
                  <a:pt x="0" y="3469833"/>
                </a:lnTo>
                <a:lnTo>
                  <a:pt x="0" y="3430476"/>
                </a:lnTo>
                <a:lnTo>
                  <a:pt x="0" y="3416479"/>
                </a:lnTo>
                <a:lnTo>
                  <a:pt x="0" y="3404951"/>
                </a:lnTo>
                <a:lnTo>
                  <a:pt x="0" y="3348116"/>
                </a:lnTo>
                <a:lnTo>
                  <a:pt x="0" y="3329278"/>
                </a:lnTo>
                <a:lnTo>
                  <a:pt x="0" y="3303454"/>
                </a:lnTo>
                <a:lnTo>
                  <a:pt x="0" y="3241984"/>
                </a:lnTo>
                <a:lnTo>
                  <a:pt x="0" y="3220334"/>
                </a:lnTo>
                <a:lnTo>
                  <a:pt x="0" y="3176317"/>
                </a:lnTo>
                <a:lnTo>
                  <a:pt x="0" y="3156236"/>
                </a:lnTo>
                <a:lnTo>
                  <a:pt x="0" y="3142239"/>
                </a:lnTo>
                <a:lnTo>
                  <a:pt x="0" y="3034240"/>
                </a:lnTo>
                <a:lnTo>
                  <a:pt x="0" y="3029214"/>
                </a:lnTo>
                <a:lnTo>
                  <a:pt x="0" y="2991101"/>
                </a:lnTo>
                <a:lnTo>
                  <a:pt x="0" y="2946094"/>
                </a:lnTo>
                <a:lnTo>
                  <a:pt x="0" y="2902077"/>
                </a:lnTo>
                <a:lnTo>
                  <a:pt x="0" y="2876392"/>
                </a:lnTo>
                <a:lnTo>
                  <a:pt x="0" y="2790282"/>
                </a:lnTo>
                <a:lnTo>
                  <a:pt x="0" y="2787072"/>
                </a:lnTo>
                <a:lnTo>
                  <a:pt x="0" y="2760000"/>
                </a:lnTo>
                <a:lnTo>
                  <a:pt x="0" y="2741948"/>
                </a:lnTo>
                <a:lnTo>
                  <a:pt x="0" y="2741947"/>
                </a:lnTo>
                <a:lnTo>
                  <a:pt x="0" y="2716862"/>
                </a:lnTo>
                <a:lnTo>
                  <a:pt x="0" y="2716861"/>
                </a:lnTo>
                <a:lnTo>
                  <a:pt x="0" y="2701942"/>
                </a:lnTo>
                <a:lnTo>
                  <a:pt x="0" y="2602152"/>
                </a:lnTo>
                <a:lnTo>
                  <a:pt x="0" y="2512832"/>
                </a:lnTo>
                <a:lnTo>
                  <a:pt x="0" y="2510062"/>
                </a:lnTo>
                <a:lnTo>
                  <a:pt x="0" y="2472043"/>
                </a:lnTo>
                <a:lnTo>
                  <a:pt x="0" y="2472042"/>
                </a:lnTo>
                <a:lnTo>
                  <a:pt x="0" y="2467708"/>
                </a:lnTo>
                <a:lnTo>
                  <a:pt x="0" y="2467707"/>
                </a:lnTo>
                <a:lnTo>
                  <a:pt x="0" y="2449933"/>
                </a:lnTo>
                <a:lnTo>
                  <a:pt x="0" y="2427702"/>
                </a:lnTo>
                <a:lnTo>
                  <a:pt x="0" y="2299920"/>
                </a:lnTo>
                <a:lnTo>
                  <a:pt x="0" y="2235822"/>
                </a:lnTo>
                <a:lnTo>
                  <a:pt x="0" y="2197803"/>
                </a:lnTo>
                <a:lnTo>
                  <a:pt x="0" y="2197802"/>
                </a:lnTo>
                <a:lnTo>
                  <a:pt x="0" y="2180556"/>
                </a:lnTo>
                <a:lnTo>
                  <a:pt x="0" y="2180555"/>
                </a:lnTo>
                <a:lnTo>
                  <a:pt x="0" y="2175692"/>
                </a:lnTo>
                <a:lnTo>
                  <a:pt x="0" y="2088721"/>
                </a:lnTo>
                <a:lnTo>
                  <a:pt x="0" y="2070687"/>
                </a:lnTo>
                <a:lnTo>
                  <a:pt x="0" y="2025680"/>
                </a:lnTo>
                <a:lnTo>
                  <a:pt x="0" y="1906316"/>
                </a:lnTo>
                <a:lnTo>
                  <a:pt x="0" y="1906315"/>
                </a:lnTo>
                <a:lnTo>
                  <a:pt x="0" y="1866658"/>
                </a:lnTo>
                <a:lnTo>
                  <a:pt x="0" y="1866657"/>
                </a:lnTo>
                <a:lnTo>
                  <a:pt x="0" y="1821533"/>
                </a:lnTo>
                <a:lnTo>
                  <a:pt x="0" y="1814481"/>
                </a:lnTo>
                <a:lnTo>
                  <a:pt x="0" y="1796447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92417"/>
                </a:lnTo>
                <a:lnTo>
                  <a:pt x="0" y="1551628"/>
                </a:lnTo>
                <a:lnTo>
                  <a:pt x="0" y="1547293"/>
                </a:lnTo>
                <a:lnTo>
                  <a:pt x="0" y="1529519"/>
                </a:lnTo>
                <a:lnTo>
                  <a:pt x="0" y="1529518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77388"/>
                </a:lnTo>
                <a:lnTo>
                  <a:pt x="0" y="1260141"/>
                </a:lnTo>
                <a:lnTo>
                  <a:pt x="0" y="1255278"/>
                </a:lnTo>
                <a:lnTo>
                  <a:pt x="0" y="1255277"/>
                </a:lnTo>
                <a:lnTo>
                  <a:pt x="0" y="1208224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1">
              <a:lumMod val="95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065940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795636"/>
            <a:ext cx="10489175" cy="44051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536575" indent="-266700">
              <a:buClr>
                <a:schemeClr val="accent2"/>
              </a:buClr>
              <a:defRPr/>
            </a:lvl3pPr>
            <a:lvl4pPr marL="808038" indent="-260350">
              <a:buClr>
                <a:schemeClr val="accent3"/>
              </a:buClr>
              <a:defRPr/>
            </a:lvl4pPr>
            <a:lvl5pPr marL="1071563" indent="-252413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845574" y="1277982"/>
            <a:ext cx="10489175" cy="436017"/>
          </a:xfrm>
        </p:spPr>
        <p:txBody>
          <a:bodyPr>
            <a:noAutofit/>
          </a:bodyPr>
          <a:lstStyle>
            <a:lvl1pPr>
              <a:lnSpc>
                <a:spcPts val="1700"/>
              </a:lnSpc>
              <a:defRPr sz="15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9998665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 bwMode="gray">
          <a:xfrm>
            <a:off x="696912" y="280733"/>
            <a:ext cx="11199600" cy="5920067"/>
          </a:xfrm>
          <a:custGeom>
            <a:avLst/>
            <a:gdLst>
              <a:gd name="connsiteX0" fmla="*/ 95997 w 11199600"/>
              <a:gd name="connsiteY0" fmla="*/ 0 h 5920067"/>
              <a:gd name="connsiteX1" fmla="*/ 11103603 w 11199600"/>
              <a:gd name="connsiteY1" fmla="*/ 0 h 5920067"/>
              <a:gd name="connsiteX2" fmla="*/ 11199600 w 11199600"/>
              <a:gd name="connsiteY2" fmla="*/ 96110 h 5920067"/>
              <a:gd name="connsiteX3" fmla="*/ 11199600 w 11199600"/>
              <a:gd name="connsiteY3" fmla="*/ 335165 h 5920067"/>
              <a:gd name="connsiteX4" fmla="*/ 11199600 w 11199600"/>
              <a:gd name="connsiteY4" fmla="*/ 370350 h 5920067"/>
              <a:gd name="connsiteX5" fmla="*/ 11199600 w 11199600"/>
              <a:gd name="connsiteY5" fmla="*/ 379204 h 5920067"/>
              <a:gd name="connsiteX6" fmla="*/ 11199600 w 11199600"/>
              <a:gd name="connsiteY6" fmla="*/ 400048 h 5920067"/>
              <a:gd name="connsiteX7" fmla="*/ 11199600 w 11199600"/>
              <a:gd name="connsiteY7" fmla="*/ 400232 h 5920067"/>
              <a:gd name="connsiteX8" fmla="*/ 11199600 w 11199600"/>
              <a:gd name="connsiteY8" fmla="*/ 471202 h 5920067"/>
              <a:gd name="connsiteX9" fmla="*/ 11199600 w 11199600"/>
              <a:gd name="connsiteY9" fmla="*/ 475721 h 5920067"/>
              <a:gd name="connsiteX10" fmla="*/ 11199600 w 11199600"/>
              <a:gd name="connsiteY10" fmla="*/ 508692 h 5920067"/>
              <a:gd name="connsiteX11" fmla="*/ 11199600 w 11199600"/>
              <a:gd name="connsiteY11" fmla="*/ 554484 h 5920067"/>
              <a:gd name="connsiteX12" fmla="*/ 11199600 w 11199600"/>
              <a:gd name="connsiteY12" fmla="*/ 563015 h 5920067"/>
              <a:gd name="connsiteX13" fmla="*/ 11199600 w 11199600"/>
              <a:gd name="connsiteY13" fmla="*/ 609405 h 5920067"/>
              <a:gd name="connsiteX14" fmla="*/ 11199600 w 11199600"/>
              <a:gd name="connsiteY14" fmla="*/ 662759 h 5920067"/>
              <a:gd name="connsiteX15" fmla="*/ 11199600 w 11199600"/>
              <a:gd name="connsiteY15" fmla="*/ 674288 h 5920067"/>
              <a:gd name="connsiteX16" fmla="*/ 11199600 w 11199600"/>
              <a:gd name="connsiteY16" fmla="*/ 749961 h 5920067"/>
              <a:gd name="connsiteX17" fmla="*/ 11199600 w 11199600"/>
              <a:gd name="connsiteY17" fmla="*/ 775785 h 5920067"/>
              <a:gd name="connsiteX18" fmla="*/ 11199600 w 11199600"/>
              <a:gd name="connsiteY18" fmla="*/ 837255 h 5920067"/>
              <a:gd name="connsiteX19" fmla="*/ 11199600 w 11199600"/>
              <a:gd name="connsiteY19" fmla="*/ 902921 h 5920067"/>
              <a:gd name="connsiteX20" fmla="*/ 11199600 w 11199600"/>
              <a:gd name="connsiteY20" fmla="*/ 936999 h 5920067"/>
              <a:gd name="connsiteX21" fmla="*/ 11199600 w 11199600"/>
              <a:gd name="connsiteY21" fmla="*/ 1016524 h 5920067"/>
              <a:gd name="connsiteX22" fmla="*/ 11199600 w 11199600"/>
              <a:gd name="connsiteY22" fmla="*/ 1029131 h 5920067"/>
              <a:gd name="connsiteX23" fmla="*/ 11199600 w 11199600"/>
              <a:gd name="connsiteY23" fmla="*/ 1044999 h 5920067"/>
              <a:gd name="connsiteX24" fmla="*/ 11199600 w 11199600"/>
              <a:gd name="connsiteY24" fmla="*/ 1046406 h 5920067"/>
              <a:gd name="connsiteX25" fmla="*/ 11199600 w 11199600"/>
              <a:gd name="connsiteY25" fmla="*/ 1050025 h 5920067"/>
              <a:gd name="connsiteX26" fmla="*/ 11199600 w 11199600"/>
              <a:gd name="connsiteY26" fmla="*/ 1074887 h 5920067"/>
              <a:gd name="connsiteX27" fmla="*/ 11199600 w 11199600"/>
              <a:gd name="connsiteY27" fmla="*/ 1176672 h 5920067"/>
              <a:gd name="connsiteX28" fmla="*/ 11199600 w 11199600"/>
              <a:gd name="connsiteY28" fmla="*/ 1177161 h 5920067"/>
              <a:gd name="connsiteX29" fmla="*/ 11199600 w 11199600"/>
              <a:gd name="connsiteY29" fmla="*/ 1202847 h 5920067"/>
              <a:gd name="connsiteX30" fmla="*/ 11199600 w 11199600"/>
              <a:gd name="connsiteY30" fmla="*/ 1255579 h 5920067"/>
              <a:gd name="connsiteX31" fmla="*/ 11199600 w 11199600"/>
              <a:gd name="connsiteY31" fmla="*/ 1290764 h 5920067"/>
              <a:gd name="connsiteX32" fmla="*/ 11199600 w 11199600"/>
              <a:gd name="connsiteY32" fmla="*/ 1299618 h 5920067"/>
              <a:gd name="connsiteX33" fmla="*/ 11199600 w 11199600"/>
              <a:gd name="connsiteY33" fmla="*/ 1319239 h 5920067"/>
              <a:gd name="connsiteX34" fmla="*/ 11199600 w 11199600"/>
              <a:gd name="connsiteY34" fmla="*/ 1320462 h 5920067"/>
              <a:gd name="connsiteX35" fmla="*/ 11199600 w 11199600"/>
              <a:gd name="connsiteY35" fmla="*/ 1320646 h 5920067"/>
              <a:gd name="connsiteX36" fmla="*/ 11199600 w 11199600"/>
              <a:gd name="connsiteY36" fmla="*/ 1349128 h 5920067"/>
              <a:gd name="connsiteX37" fmla="*/ 11199600 w 11199600"/>
              <a:gd name="connsiteY37" fmla="*/ 1377296 h 5920067"/>
              <a:gd name="connsiteX38" fmla="*/ 11199600 w 11199600"/>
              <a:gd name="connsiteY38" fmla="*/ 1391616 h 5920067"/>
              <a:gd name="connsiteX39" fmla="*/ 11199600 w 11199600"/>
              <a:gd name="connsiteY39" fmla="*/ 1396135 h 5920067"/>
              <a:gd name="connsiteX40" fmla="*/ 11199600 w 11199600"/>
              <a:gd name="connsiteY40" fmla="*/ 1429106 h 5920067"/>
              <a:gd name="connsiteX41" fmla="*/ 11199600 w 11199600"/>
              <a:gd name="connsiteY41" fmla="*/ 1474898 h 5920067"/>
              <a:gd name="connsiteX42" fmla="*/ 11199600 w 11199600"/>
              <a:gd name="connsiteY42" fmla="*/ 1477087 h 5920067"/>
              <a:gd name="connsiteX43" fmla="*/ 11199600 w 11199600"/>
              <a:gd name="connsiteY43" fmla="*/ 1483429 h 5920067"/>
              <a:gd name="connsiteX44" fmla="*/ 11199600 w 11199600"/>
              <a:gd name="connsiteY44" fmla="*/ 1529819 h 5920067"/>
              <a:gd name="connsiteX45" fmla="*/ 11199600 w 11199600"/>
              <a:gd name="connsiteY45" fmla="*/ 1569177 h 5920067"/>
              <a:gd name="connsiteX46" fmla="*/ 11199600 w 11199600"/>
              <a:gd name="connsiteY46" fmla="*/ 1583173 h 5920067"/>
              <a:gd name="connsiteX47" fmla="*/ 11199600 w 11199600"/>
              <a:gd name="connsiteY47" fmla="*/ 1594702 h 5920067"/>
              <a:gd name="connsiteX48" fmla="*/ 11199600 w 11199600"/>
              <a:gd name="connsiteY48" fmla="*/ 1651536 h 5920067"/>
              <a:gd name="connsiteX49" fmla="*/ 11199600 w 11199600"/>
              <a:gd name="connsiteY49" fmla="*/ 1670375 h 5920067"/>
              <a:gd name="connsiteX50" fmla="*/ 11199600 w 11199600"/>
              <a:gd name="connsiteY50" fmla="*/ 1696199 h 5920067"/>
              <a:gd name="connsiteX51" fmla="*/ 11199600 w 11199600"/>
              <a:gd name="connsiteY51" fmla="*/ 1757669 h 5920067"/>
              <a:gd name="connsiteX52" fmla="*/ 11199600 w 11199600"/>
              <a:gd name="connsiteY52" fmla="*/ 1779318 h 5920067"/>
              <a:gd name="connsiteX53" fmla="*/ 11199600 w 11199600"/>
              <a:gd name="connsiteY53" fmla="*/ 1823335 h 5920067"/>
              <a:gd name="connsiteX54" fmla="*/ 11199600 w 11199600"/>
              <a:gd name="connsiteY54" fmla="*/ 1843417 h 5920067"/>
              <a:gd name="connsiteX55" fmla="*/ 11199600 w 11199600"/>
              <a:gd name="connsiteY55" fmla="*/ 1857413 h 5920067"/>
              <a:gd name="connsiteX56" fmla="*/ 11199600 w 11199600"/>
              <a:gd name="connsiteY56" fmla="*/ 1965413 h 5920067"/>
              <a:gd name="connsiteX57" fmla="*/ 11199600 w 11199600"/>
              <a:gd name="connsiteY57" fmla="*/ 1970439 h 5920067"/>
              <a:gd name="connsiteX58" fmla="*/ 11199600 w 11199600"/>
              <a:gd name="connsiteY58" fmla="*/ 2008551 h 5920067"/>
              <a:gd name="connsiteX59" fmla="*/ 11199600 w 11199600"/>
              <a:gd name="connsiteY59" fmla="*/ 2053558 h 5920067"/>
              <a:gd name="connsiteX60" fmla="*/ 11199600 w 11199600"/>
              <a:gd name="connsiteY60" fmla="*/ 2097575 h 5920067"/>
              <a:gd name="connsiteX61" fmla="*/ 11199600 w 11199600"/>
              <a:gd name="connsiteY61" fmla="*/ 2123261 h 5920067"/>
              <a:gd name="connsiteX62" fmla="*/ 11199600 w 11199600"/>
              <a:gd name="connsiteY62" fmla="*/ 2239653 h 5920067"/>
              <a:gd name="connsiteX63" fmla="*/ 11199600 w 11199600"/>
              <a:gd name="connsiteY63" fmla="*/ 2257705 h 5920067"/>
              <a:gd name="connsiteX64" fmla="*/ 11199600 w 11199600"/>
              <a:gd name="connsiteY64" fmla="*/ 2282791 h 5920067"/>
              <a:gd name="connsiteX65" fmla="*/ 11199600 w 11199600"/>
              <a:gd name="connsiteY65" fmla="*/ 2297710 h 5920067"/>
              <a:gd name="connsiteX66" fmla="*/ 11199600 w 11199600"/>
              <a:gd name="connsiteY66" fmla="*/ 2397501 h 5920067"/>
              <a:gd name="connsiteX67" fmla="*/ 11199600 w 11199600"/>
              <a:gd name="connsiteY67" fmla="*/ 2489591 h 5920067"/>
              <a:gd name="connsiteX68" fmla="*/ 11199600 w 11199600"/>
              <a:gd name="connsiteY68" fmla="*/ 2527610 h 5920067"/>
              <a:gd name="connsiteX69" fmla="*/ 11199600 w 11199600"/>
              <a:gd name="connsiteY69" fmla="*/ 2531945 h 5920067"/>
              <a:gd name="connsiteX70" fmla="*/ 11199600 w 11199600"/>
              <a:gd name="connsiteY70" fmla="*/ 2571950 h 5920067"/>
              <a:gd name="connsiteX71" fmla="*/ 11199600 w 11199600"/>
              <a:gd name="connsiteY71" fmla="*/ 2699732 h 5920067"/>
              <a:gd name="connsiteX72" fmla="*/ 11199600 w 11199600"/>
              <a:gd name="connsiteY72" fmla="*/ 2763831 h 5920067"/>
              <a:gd name="connsiteX73" fmla="*/ 11199600 w 11199600"/>
              <a:gd name="connsiteY73" fmla="*/ 2801851 h 5920067"/>
              <a:gd name="connsiteX74" fmla="*/ 11199600 w 11199600"/>
              <a:gd name="connsiteY74" fmla="*/ 2819097 h 5920067"/>
              <a:gd name="connsiteX75" fmla="*/ 11199600 w 11199600"/>
              <a:gd name="connsiteY75" fmla="*/ 2928965 h 5920067"/>
              <a:gd name="connsiteX76" fmla="*/ 11199600 w 11199600"/>
              <a:gd name="connsiteY76" fmla="*/ 2973972 h 5920067"/>
              <a:gd name="connsiteX77" fmla="*/ 11199600 w 11199600"/>
              <a:gd name="connsiteY77" fmla="*/ 3093337 h 5920067"/>
              <a:gd name="connsiteX78" fmla="*/ 11199600 w 11199600"/>
              <a:gd name="connsiteY78" fmla="*/ 3132995 h 5920067"/>
              <a:gd name="connsiteX79" fmla="*/ 11199600 w 11199600"/>
              <a:gd name="connsiteY79" fmla="*/ 3178119 h 5920067"/>
              <a:gd name="connsiteX80" fmla="*/ 11199600 w 11199600"/>
              <a:gd name="connsiteY80" fmla="*/ 3203205 h 5920067"/>
              <a:gd name="connsiteX81" fmla="*/ 11199600 w 11199600"/>
              <a:gd name="connsiteY81" fmla="*/ 3407236 h 5920067"/>
              <a:gd name="connsiteX82" fmla="*/ 11199600 w 11199600"/>
              <a:gd name="connsiteY82" fmla="*/ 3448024 h 5920067"/>
              <a:gd name="connsiteX83" fmla="*/ 11199600 w 11199600"/>
              <a:gd name="connsiteY83" fmla="*/ 3452359 h 5920067"/>
              <a:gd name="connsiteX84" fmla="*/ 11199600 w 11199600"/>
              <a:gd name="connsiteY84" fmla="*/ 3470135 h 5920067"/>
              <a:gd name="connsiteX85" fmla="*/ 11199600 w 11199600"/>
              <a:gd name="connsiteY85" fmla="*/ 3722265 h 5920067"/>
              <a:gd name="connsiteX86" fmla="*/ 11199600 w 11199600"/>
              <a:gd name="connsiteY86" fmla="*/ 3739511 h 5920067"/>
              <a:gd name="connsiteX87" fmla="*/ 11199600 w 11199600"/>
              <a:gd name="connsiteY87" fmla="*/ 3744375 h 5920067"/>
              <a:gd name="connsiteX88" fmla="*/ 11199600 w 11199600"/>
              <a:gd name="connsiteY88" fmla="*/ 3831346 h 5920067"/>
              <a:gd name="connsiteX89" fmla="*/ 11199600 w 11199600"/>
              <a:gd name="connsiteY89" fmla="*/ 4013751 h 5920067"/>
              <a:gd name="connsiteX90" fmla="*/ 11199600 w 11199600"/>
              <a:gd name="connsiteY90" fmla="*/ 4053409 h 5920067"/>
              <a:gd name="connsiteX91" fmla="*/ 11199600 w 11199600"/>
              <a:gd name="connsiteY91" fmla="*/ 4105586 h 5920067"/>
              <a:gd name="connsiteX92" fmla="*/ 11199600 w 11199600"/>
              <a:gd name="connsiteY92" fmla="*/ 4217459 h 5920067"/>
              <a:gd name="connsiteX93" fmla="*/ 11199600 w 11199600"/>
              <a:gd name="connsiteY93" fmla="*/ 4327650 h 5920067"/>
              <a:gd name="connsiteX94" fmla="*/ 11199600 w 11199600"/>
              <a:gd name="connsiteY94" fmla="*/ 4390549 h 5920067"/>
              <a:gd name="connsiteX95" fmla="*/ 11199600 w 11199600"/>
              <a:gd name="connsiteY95" fmla="*/ 4491699 h 5920067"/>
              <a:gd name="connsiteX96" fmla="*/ 11199600 w 11199600"/>
              <a:gd name="connsiteY96" fmla="*/ 4629303 h 5920067"/>
              <a:gd name="connsiteX97" fmla="*/ 11199600 w 11199600"/>
              <a:gd name="connsiteY97" fmla="*/ 4664789 h 5920067"/>
              <a:gd name="connsiteX98" fmla="*/ 11199600 w 11199600"/>
              <a:gd name="connsiteY98" fmla="*/ 4751760 h 5920067"/>
              <a:gd name="connsiteX99" fmla="*/ 11199600 w 11199600"/>
              <a:gd name="connsiteY99" fmla="*/ 4903543 h 5920067"/>
              <a:gd name="connsiteX100" fmla="*/ 11199600 w 11199600"/>
              <a:gd name="connsiteY100" fmla="*/ 5026000 h 5920067"/>
              <a:gd name="connsiteX101" fmla="*/ 11199600 w 11199600"/>
              <a:gd name="connsiteY101" fmla="*/ 5137873 h 5920067"/>
              <a:gd name="connsiteX102" fmla="*/ 11199600 w 11199600"/>
              <a:gd name="connsiteY102" fmla="*/ 5412113 h 5920067"/>
              <a:gd name="connsiteX103" fmla="*/ 11199600 w 11199600"/>
              <a:gd name="connsiteY103" fmla="*/ 5549717 h 5920067"/>
              <a:gd name="connsiteX104" fmla="*/ 11199600 w 11199600"/>
              <a:gd name="connsiteY104" fmla="*/ 5823957 h 5920067"/>
              <a:gd name="connsiteX105" fmla="*/ 11103603 w 11199600"/>
              <a:gd name="connsiteY105" fmla="*/ 5920067 h 5920067"/>
              <a:gd name="connsiteX106" fmla="*/ 95997 w 11199600"/>
              <a:gd name="connsiteY106" fmla="*/ 5920067 h 5920067"/>
              <a:gd name="connsiteX107" fmla="*/ 0 w 11199600"/>
              <a:gd name="connsiteY107" fmla="*/ 5823957 h 5920067"/>
              <a:gd name="connsiteX108" fmla="*/ 0 w 11199600"/>
              <a:gd name="connsiteY108" fmla="*/ 5820222 h 5920067"/>
              <a:gd name="connsiteX109" fmla="*/ 0 w 11199600"/>
              <a:gd name="connsiteY109" fmla="*/ 5811351 h 5920067"/>
              <a:gd name="connsiteX110" fmla="*/ 0 w 11199600"/>
              <a:gd name="connsiteY110" fmla="*/ 5794075 h 5920067"/>
              <a:gd name="connsiteX111" fmla="*/ 0 w 11199600"/>
              <a:gd name="connsiteY111" fmla="*/ 5765594 h 5920067"/>
              <a:gd name="connsiteX112" fmla="*/ 0 w 11199600"/>
              <a:gd name="connsiteY112" fmla="*/ 5723106 h 5920067"/>
              <a:gd name="connsiteX113" fmla="*/ 0 w 11199600"/>
              <a:gd name="connsiteY113" fmla="*/ 5663809 h 5920067"/>
              <a:gd name="connsiteX114" fmla="*/ 0 w 11199600"/>
              <a:gd name="connsiteY114" fmla="*/ 5584902 h 5920067"/>
              <a:gd name="connsiteX115" fmla="*/ 0 w 11199600"/>
              <a:gd name="connsiteY115" fmla="*/ 5549717 h 5920067"/>
              <a:gd name="connsiteX116" fmla="*/ 0 w 11199600"/>
              <a:gd name="connsiteY116" fmla="*/ 5548611 h 5920067"/>
              <a:gd name="connsiteX117" fmla="*/ 0 w 11199600"/>
              <a:gd name="connsiteY117" fmla="*/ 5540863 h 5920067"/>
              <a:gd name="connsiteX118" fmla="*/ 0 w 11199600"/>
              <a:gd name="connsiteY118" fmla="*/ 5520020 h 5920067"/>
              <a:gd name="connsiteX119" fmla="*/ 0 w 11199600"/>
              <a:gd name="connsiteY119" fmla="*/ 5519835 h 5920067"/>
              <a:gd name="connsiteX120" fmla="*/ 0 w 11199600"/>
              <a:gd name="connsiteY120" fmla="*/ 5478886 h 5920067"/>
              <a:gd name="connsiteX121" fmla="*/ 0 w 11199600"/>
              <a:gd name="connsiteY121" fmla="*/ 5448866 h 5920067"/>
              <a:gd name="connsiteX122" fmla="*/ 0 w 11199600"/>
              <a:gd name="connsiteY122" fmla="*/ 5444347 h 5920067"/>
              <a:gd name="connsiteX123" fmla="*/ 0 w 11199600"/>
              <a:gd name="connsiteY123" fmla="*/ 5411375 h 5920067"/>
              <a:gd name="connsiteX124" fmla="*/ 0 w 11199600"/>
              <a:gd name="connsiteY124" fmla="*/ 5365584 h 5920067"/>
              <a:gd name="connsiteX125" fmla="*/ 0 w 11199600"/>
              <a:gd name="connsiteY125" fmla="*/ 5357053 h 5920067"/>
              <a:gd name="connsiteX126" fmla="*/ 0 w 11199600"/>
              <a:gd name="connsiteY126" fmla="*/ 5310662 h 5920067"/>
              <a:gd name="connsiteX127" fmla="*/ 0 w 11199600"/>
              <a:gd name="connsiteY127" fmla="*/ 5257308 h 5920067"/>
              <a:gd name="connsiteX128" fmla="*/ 0 w 11199600"/>
              <a:gd name="connsiteY128" fmla="*/ 5245780 h 5920067"/>
              <a:gd name="connsiteX129" fmla="*/ 0 w 11199600"/>
              <a:gd name="connsiteY129" fmla="*/ 5170107 h 5920067"/>
              <a:gd name="connsiteX130" fmla="*/ 0 w 11199600"/>
              <a:gd name="connsiteY130" fmla="*/ 5144283 h 5920067"/>
              <a:gd name="connsiteX131" fmla="*/ 0 w 11199600"/>
              <a:gd name="connsiteY131" fmla="*/ 5082813 h 5920067"/>
              <a:gd name="connsiteX132" fmla="*/ 0 w 11199600"/>
              <a:gd name="connsiteY132" fmla="*/ 5017146 h 5920067"/>
              <a:gd name="connsiteX133" fmla="*/ 0 w 11199600"/>
              <a:gd name="connsiteY133" fmla="*/ 4983068 h 5920067"/>
              <a:gd name="connsiteX134" fmla="*/ 0 w 11199600"/>
              <a:gd name="connsiteY134" fmla="*/ 4903543 h 5920067"/>
              <a:gd name="connsiteX135" fmla="*/ 0 w 11199600"/>
              <a:gd name="connsiteY135" fmla="*/ 4899808 h 5920067"/>
              <a:gd name="connsiteX136" fmla="*/ 0 w 11199600"/>
              <a:gd name="connsiteY136" fmla="*/ 4890937 h 5920067"/>
              <a:gd name="connsiteX137" fmla="*/ 0 w 11199600"/>
              <a:gd name="connsiteY137" fmla="*/ 4875069 h 5920067"/>
              <a:gd name="connsiteX138" fmla="*/ 0 w 11199600"/>
              <a:gd name="connsiteY138" fmla="*/ 4873661 h 5920067"/>
              <a:gd name="connsiteX139" fmla="*/ 0 w 11199600"/>
              <a:gd name="connsiteY139" fmla="*/ 4870043 h 5920067"/>
              <a:gd name="connsiteX140" fmla="*/ 0 w 11199600"/>
              <a:gd name="connsiteY140" fmla="*/ 4845180 h 5920067"/>
              <a:gd name="connsiteX141" fmla="*/ 0 w 11199600"/>
              <a:gd name="connsiteY141" fmla="*/ 4802692 h 5920067"/>
              <a:gd name="connsiteX142" fmla="*/ 0 w 11199600"/>
              <a:gd name="connsiteY142" fmla="*/ 4743395 h 5920067"/>
              <a:gd name="connsiteX143" fmla="*/ 0 w 11199600"/>
              <a:gd name="connsiteY143" fmla="*/ 4742906 h 5920067"/>
              <a:gd name="connsiteX144" fmla="*/ 0 w 11199600"/>
              <a:gd name="connsiteY144" fmla="*/ 4717221 h 5920067"/>
              <a:gd name="connsiteX145" fmla="*/ 0 w 11199600"/>
              <a:gd name="connsiteY145" fmla="*/ 4664488 h 5920067"/>
              <a:gd name="connsiteX146" fmla="*/ 0 w 11199600"/>
              <a:gd name="connsiteY146" fmla="*/ 4629303 h 5920067"/>
              <a:gd name="connsiteX147" fmla="*/ 0 w 11199600"/>
              <a:gd name="connsiteY147" fmla="*/ 4628197 h 5920067"/>
              <a:gd name="connsiteX148" fmla="*/ 0 w 11199600"/>
              <a:gd name="connsiteY148" fmla="*/ 4620449 h 5920067"/>
              <a:gd name="connsiteX149" fmla="*/ 0 w 11199600"/>
              <a:gd name="connsiteY149" fmla="*/ 4600829 h 5920067"/>
              <a:gd name="connsiteX150" fmla="*/ 0 w 11199600"/>
              <a:gd name="connsiteY150" fmla="*/ 4599606 h 5920067"/>
              <a:gd name="connsiteX151" fmla="*/ 0 w 11199600"/>
              <a:gd name="connsiteY151" fmla="*/ 4599421 h 5920067"/>
              <a:gd name="connsiteX152" fmla="*/ 0 w 11199600"/>
              <a:gd name="connsiteY152" fmla="*/ 4558472 h 5920067"/>
              <a:gd name="connsiteX153" fmla="*/ 0 w 11199600"/>
              <a:gd name="connsiteY153" fmla="*/ 4542771 h 5920067"/>
              <a:gd name="connsiteX154" fmla="*/ 0 w 11199600"/>
              <a:gd name="connsiteY154" fmla="*/ 4528452 h 5920067"/>
              <a:gd name="connsiteX155" fmla="*/ 0 w 11199600"/>
              <a:gd name="connsiteY155" fmla="*/ 4523933 h 5920067"/>
              <a:gd name="connsiteX156" fmla="*/ 0 w 11199600"/>
              <a:gd name="connsiteY156" fmla="*/ 4490961 h 5920067"/>
              <a:gd name="connsiteX157" fmla="*/ 0 w 11199600"/>
              <a:gd name="connsiteY157" fmla="*/ 4445170 h 5920067"/>
              <a:gd name="connsiteX158" fmla="*/ 0 w 11199600"/>
              <a:gd name="connsiteY158" fmla="*/ 4442981 h 5920067"/>
              <a:gd name="connsiteX159" fmla="*/ 0 w 11199600"/>
              <a:gd name="connsiteY159" fmla="*/ 4436639 h 5920067"/>
              <a:gd name="connsiteX160" fmla="*/ 0 w 11199600"/>
              <a:gd name="connsiteY160" fmla="*/ 4390248 h 5920067"/>
              <a:gd name="connsiteX161" fmla="*/ 0 w 11199600"/>
              <a:gd name="connsiteY161" fmla="*/ 4350891 h 5920067"/>
              <a:gd name="connsiteX162" fmla="*/ 0 w 11199600"/>
              <a:gd name="connsiteY162" fmla="*/ 4336894 h 5920067"/>
              <a:gd name="connsiteX163" fmla="*/ 0 w 11199600"/>
              <a:gd name="connsiteY163" fmla="*/ 4325366 h 5920067"/>
              <a:gd name="connsiteX164" fmla="*/ 0 w 11199600"/>
              <a:gd name="connsiteY164" fmla="*/ 4268531 h 5920067"/>
              <a:gd name="connsiteX165" fmla="*/ 0 w 11199600"/>
              <a:gd name="connsiteY165" fmla="*/ 4249693 h 5920067"/>
              <a:gd name="connsiteX166" fmla="*/ 0 w 11199600"/>
              <a:gd name="connsiteY166" fmla="*/ 4223869 h 5920067"/>
              <a:gd name="connsiteX167" fmla="*/ 0 w 11199600"/>
              <a:gd name="connsiteY167" fmla="*/ 4162399 h 5920067"/>
              <a:gd name="connsiteX168" fmla="*/ 0 w 11199600"/>
              <a:gd name="connsiteY168" fmla="*/ 4140749 h 5920067"/>
              <a:gd name="connsiteX169" fmla="*/ 0 w 11199600"/>
              <a:gd name="connsiteY169" fmla="*/ 4096732 h 5920067"/>
              <a:gd name="connsiteX170" fmla="*/ 0 w 11199600"/>
              <a:gd name="connsiteY170" fmla="*/ 4076651 h 5920067"/>
              <a:gd name="connsiteX171" fmla="*/ 0 w 11199600"/>
              <a:gd name="connsiteY171" fmla="*/ 4062654 h 5920067"/>
              <a:gd name="connsiteX172" fmla="*/ 0 w 11199600"/>
              <a:gd name="connsiteY172" fmla="*/ 3954655 h 5920067"/>
              <a:gd name="connsiteX173" fmla="*/ 0 w 11199600"/>
              <a:gd name="connsiteY173" fmla="*/ 3949629 h 5920067"/>
              <a:gd name="connsiteX174" fmla="*/ 0 w 11199600"/>
              <a:gd name="connsiteY174" fmla="*/ 3911516 h 5920067"/>
              <a:gd name="connsiteX175" fmla="*/ 0 w 11199600"/>
              <a:gd name="connsiteY175" fmla="*/ 3866509 h 5920067"/>
              <a:gd name="connsiteX176" fmla="*/ 0 w 11199600"/>
              <a:gd name="connsiteY176" fmla="*/ 3822492 h 5920067"/>
              <a:gd name="connsiteX177" fmla="*/ 0 w 11199600"/>
              <a:gd name="connsiteY177" fmla="*/ 3796807 h 5920067"/>
              <a:gd name="connsiteX178" fmla="*/ 0 w 11199600"/>
              <a:gd name="connsiteY178" fmla="*/ 3680415 h 5920067"/>
              <a:gd name="connsiteX179" fmla="*/ 0 w 11199600"/>
              <a:gd name="connsiteY179" fmla="*/ 3662362 h 5920067"/>
              <a:gd name="connsiteX180" fmla="*/ 0 w 11199600"/>
              <a:gd name="connsiteY180" fmla="*/ 3637276 h 5920067"/>
              <a:gd name="connsiteX181" fmla="*/ 0 w 11199600"/>
              <a:gd name="connsiteY181" fmla="*/ 3622357 h 5920067"/>
              <a:gd name="connsiteX182" fmla="*/ 0 w 11199600"/>
              <a:gd name="connsiteY182" fmla="*/ 3522567 h 5920067"/>
              <a:gd name="connsiteX183" fmla="*/ 0 w 11199600"/>
              <a:gd name="connsiteY183" fmla="*/ 3430477 h 5920067"/>
              <a:gd name="connsiteX184" fmla="*/ 0 w 11199600"/>
              <a:gd name="connsiteY184" fmla="*/ 3392457 h 5920067"/>
              <a:gd name="connsiteX185" fmla="*/ 0 w 11199600"/>
              <a:gd name="connsiteY185" fmla="*/ 3388122 h 5920067"/>
              <a:gd name="connsiteX186" fmla="*/ 0 w 11199600"/>
              <a:gd name="connsiteY186" fmla="*/ 3348117 h 5920067"/>
              <a:gd name="connsiteX187" fmla="*/ 0 w 11199600"/>
              <a:gd name="connsiteY187" fmla="*/ 3220335 h 5920067"/>
              <a:gd name="connsiteX188" fmla="*/ 0 w 11199600"/>
              <a:gd name="connsiteY188" fmla="*/ 3156237 h 5920067"/>
              <a:gd name="connsiteX189" fmla="*/ 0 w 11199600"/>
              <a:gd name="connsiteY189" fmla="*/ 3118217 h 5920067"/>
              <a:gd name="connsiteX190" fmla="*/ 0 w 11199600"/>
              <a:gd name="connsiteY190" fmla="*/ 3100970 h 5920067"/>
              <a:gd name="connsiteX191" fmla="*/ 0 w 11199600"/>
              <a:gd name="connsiteY191" fmla="*/ 2991102 h 5920067"/>
              <a:gd name="connsiteX192" fmla="*/ 0 w 11199600"/>
              <a:gd name="connsiteY192" fmla="*/ 2946095 h 5920067"/>
              <a:gd name="connsiteX193" fmla="*/ 0 w 11199600"/>
              <a:gd name="connsiteY193" fmla="*/ 2826730 h 5920067"/>
              <a:gd name="connsiteX194" fmla="*/ 0 w 11199600"/>
              <a:gd name="connsiteY194" fmla="*/ 2787072 h 5920067"/>
              <a:gd name="connsiteX195" fmla="*/ 0 w 11199600"/>
              <a:gd name="connsiteY195" fmla="*/ 2741948 h 5920067"/>
              <a:gd name="connsiteX196" fmla="*/ 0 w 11199600"/>
              <a:gd name="connsiteY196" fmla="*/ 2716862 h 5920067"/>
              <a:gd name="connsiteX197" fmla="*/ 0 w 11199600"/>
              <a:gd name="connsiteY197" fmla="*/ 2512832 h 5920067"/>
              <a:gd name="connsiteX198" fmla="*/ 0 w 11199600"/>
              <a:gd name="connsiteY198" fmla="*/ 2472043 h 5920067"/>
              <a:gd name="connsiteX199" fmla="*/ 0 w 11199600"/>
              <a:gd name="connsiteY199" fmla="*/ 2467708 h 5920067"/>
              <a:gd name="connsiteX200" fmla="*/ 0 w 11199600"/>
              <a:gd name="connsiteY200" fmla="*/ 2449933 h 5920067"/>
              <a:gd name="connsiteX201" fmla="*/ 0 w 11199600"/>
              <a:gd name="connsiteY201" fmla="*/ 2197803 h 5920067"/>
              <a:gd name="connsiteX202" fmla="*/ 0 w 11199600"/>
              <a:gd name="connsiteY202" fmla="*/ 2180556 h 5920067"/>
              <a:gd name="connsiteX203" fmla="*/ 0 w 11199600"/>
              <a:gd name="connsiteY203" fmla="*/ 2175692 h 5920067"/>
              <a:gd name="connsiteX204" fmla="*/ 0 w 11199600"/>
              <a:gd name="connsiteY204" fmla="*/ 2088721 h 5920067"/>
              <a:gd name="connsiteX205" fmla="*/ 0 w 11199600"/>
              <a:gd name="connsiteY205" fmla="*/ 1906316 h 5920067"/>
              <a:gd name="connsiteX206" fmla="*/ 0 w 11199600"/>
              <a:gd name="connsiteY206" fmla="*/ 1866658 h 5920067"/>
              <a:gd name="connsiteX207" fmla="*/ 0 w 11199600"/>
              <a:gd name="connsiteY207" fmla="*/ 1814481 h 5920067"/>
              <a:gd name="connsiteX208" fmla="*/ 0 w 11199600"/>
              <a:gd name="connsiteY208" fmla="*/ 1702609 h 5920067"/>
              <a:gd name="connsiteX209" fmla="*/ 0 w 11199600"/>
              <a:gd name="connsiteY209" fmla="*/ 1592418 h 5920067"/>
              <a:gd name="connsiteX210" fmla="*/ 0 w 11199600"/>
              <a:gd name="connsiteY210" fmla="*/ 1529519 h 5920067"/>
              <a:gd name="connsiteX211" fmla="*/ 0 w 11199600"/>
              <a:gd name="connsiteY211" fmla="*/ 1428369 h 5920067"/>
              <a:gd name="connsiteX212" fmla="*/ 0 w 11199600"/>
              <a:gd name="connsiteY212" fmla="*/ 1290764 h 5920067"/>
              <a:gd name="connsiteX213" fmla="*/ 0 w 11199600"/>
              <a:gd name="connsiteY213" fmla="*/ 1255278 h 5920067"/>
              <a:gd name="connsiteX214" fmla="*/ 0 w 11199600"/>
              <a:gd name="connsiteY214" fmla="*/ 1168307 h 5920067"/>
              <a:gd name="connsiteX215" fmla="*/ 0 w 11199600"/>
              <a:gd name="connsiteY215" fmla="*/ 1016524 h 5920067"/>
              <a:gd name="connsiteX216" fmla="*/ 0 w 11199600"/>
              <a:gd name="connsiteY216" fmla="*/ 894067 h 5920067"/>
              <a:gd name="connsiteX217" fmla="*/ 0 w 11199600"/>
              <a:gd name="connsiteY217" fmla="*/ 782195 h 5920067"/>
              <a:gd name="connsiteX218" fmla="*/ 0 w 11199600"/>
              <a:gd name="connsiteY218" fmla="*/ 507955 h 5920067"/>
              <a:gd name="connsiteX219" fmla="*/ 0 w 11199600"/>
              <a:gd name="connsiteY219" fmla="*/ 370350 h 5920067"/>
              <a:gd name="connsiteX220" fmla="*/ 0 w 11199600"/>
              <a:gd name="connsiteY220" fmla="*/ 96110 h 5920067"/>
              <a:gd name="connsiteX221" fmla="*/ 95997 w 11199600"/>
              <a:gd name="connsiteY221" fmla="*/ 0 h 592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</a:cxnLst>
            <a:rect l="l" t="t" r="r" b="b"/>
            <a:pathLst>
              <a:path w="11199600" h="5920067">
                <a:moveTo>
                  <a:pt x="95997" y="0"/>
                </a:moveTo>
                <a:lnTo>
                  <a:pt x="11103603" y="0"/>
                </a:lnTo>
                <a:cubicBezTo>
                  <a:pt x="11199600" y="0"/>
                  <a:pt x="11199600" y="96110"/>
                  <a:pt x="11199600" y="96110"/>
                </a:cubicBezTo>
                <a:cubicBezTo>
                  <a:pt x="11199600" y="96110"/>
                  <a:pt x="11199600" y="96110"/>
                  <a:pt x="11199600" y="335165"/>
                </a:cubicBezTo>
                <a:lnTo>
                  <a:pt x="11199600" y="370350"/>
                </a:lnTo>
                <a:cubicBezTo>
                  <a:pt x="11199600" y="370350"/>
                  <a:pt x="11199600" y="370350"/>
                  <a:pt x="11199600" y="379204"/>
                </a:cubicBezTo>
                <a:lnTo>
                  <a:pt x="11199600" y="400048"/>
                </a:lnTo>
                <a:lnTo>
                  <a:pt x="11199600" y="400232"/>
                </a:lnTo>
                <a:cubicBezTo>
                  <a:pt x="11199600" y="415173"/>
                  <a:pt x="11199600" y="437585"/>
                  <a:pt x="11199600" y="471202"/>
                </a:cubicBezTo>
                <a:lnTo>
                  <a:pt x="11199600" y="475721"/>
                </a:lnTo>
                <a:lnTo>
                  <a:pt x="11199600" y="508692"/>
                </a:lnTo>
                <a:cubicBezTo>
                  <a:pt x="11199600" y="522527"/>
                  <a:pt x="11199600" y="537744"/>
                  <a:pt x="11199600" y="554484"/>
                </a:cubicBezTo>
                <a:lnTo>
                  <a:pt x="11199600" y="563015"/>
                </a:lnTo>
                <a:lnTo>
                  <a:pt x="11199600" y="609405"/>
                </a:lnTo>
                <a:lnTo>
                  <a:pt x="11199600" y="662759"/>
                </a:lnTo>
                <a:lnTo>
                  <a:pt x="11199600" y="674288"/>
                </a:lnTo>
                <a:cubicBezTo>
                  <a:pt x="11199600" y="697668"/>
                  <a:pt x="11199600" y="722846"/>
                  <a:pt x="11199600" y="749961"/>
                </a:cubicBezTo>
                <a:lnTo>
                  <a:pt x="11199600" y="775785"/>
                </a:lnTo>
                <a:lnTo>
                  <a:pt x="11199600" y="837255"/>
                </a:lnTo>
                <a:lnTo>
                  <a:pt x="11199600" y="902921"/>
                </a:lnTo>
                <a:lnTo>
                  <a:pt x="11199600" y="936999"/>
                </a:lnTo>
                <a:lnTo>
                  <a:pt x="11199600" y="1016524"/>
                </a:lnTo>
                <a:cubicBezTo>
                  <a:pt x="11199600" y="1016524"/>
                  <a:pt x="11199600" y="1016524"/>
                  <a:pt x="11199600" y="1029131"/>
                </a:cubicBezTo>
                <a:lnTo>
                  <a:pt x="11199600" y="1044999"/>
                </a:lnTo>
                <a:lnTo>
                  <a:pt x="11199600" y="1046406"/>
                </a:lnTo>
                <a:lnTo>
                  <a:pt x="11199600" y="1050025"/>
                </a:lnTo>
                <a:lnTo>
                  <a:pt x="11199600" y="1074887"/>
                </a:lnTo>
                <a:cubicBezTo>
                  <a:pt x="11199600" y="1098232"/>
                  <a:pt x="11199600" y="1130916"/>
                  <a:pt x="11199600" y="1176672"/>
                </a:cubicBezTo>
                <a:lnTo>
                  <a:pt x="11199600" y="1177161"/>
                </a:lnTo>
                <a:lnTo>
                  <a:pt x="11199600" y="1202847"/>
                </a:lnTo>
                <a:lnTo>
                  <a:pt x="11199600" y="1255579"/>
                </a:lnTo>
                <a:lnTo>
                  <a:pt x="11199600" y="1290764"/>
                </a:lnTo>
                <a:cubicBezTo>
                  <a:pt x="11199600" y="1290764"/>
                  <a:pt x="11199600" y="1290764"/>
                  <a:pt x="11199600" y="1299618"/>
                </a:cubicBezTo>
                <a:lnTo>
                  <a:pt x="11199600" y="1319239"/>
                </a:lnTo>
                <a:lnTo>
                  <a:pt x="11199600" y="1320462"/>
                </a:lnTo>
                <a:lnTo>
                  <a:pt x="11199600" y="1320646"/>
                </a:lnTo>
                <a:cubicBezTo>
                  <a:pt x="11199600" y="1328117"/>
                  <a:pt x="11199600" y="1337455"/>
                  <a:pt x="11199600" y="1349128"/>
                </a:cubicBezTo>
                <a:lnTo>
                  <a:pt x="11199600" y="1377296"/>
                </a:lnTo>
                <a:lnTo>
                  <a:pt x="11199600" y="1391616"/>
                </a:lnTo>
                <a:lnTo>
                  <a:pt x="11199600" y="1396135"/>
                </a:lnTo>
                <a:lnTo>
                  <a:pt x="11199600" y="1429106"/>
                </a:lnTo>
                <a:cubicBezTo>
                  <a:pt x="11199600" y="1442941"/>
                  <a:pt x="11199600" y="1458158"/>
                  <a:pt x="11199600" y="1474898"/>
                </a:cubicBezTo>
                <a:lnTo>
                  <a:pt x="11199600" y="1477087"/>
                </a:lnTo>
                <a:lnTo>
                  <a:pt x="11199600" y="1483429"/>
                </a:lnTo>
                <a:lnTo>
                  <a:pt x="11199600" y="1529819"/>
                </a:lnTo>
                <a:lnTo>
                  <a:pt x="11199600" y="1569177"/>
                </a:lnTo>
                <a:lnTo>
                  <a:pt x="11199600" y="1583173"/>
                </a:lnTo>
                <a:lnTo>
                  <a:pt x="11199600" y="1594702"/>
                </a:lnTo>
                <a:lnTo>
                  <a:pt x="11199600" y="1651536"/>
                </a:lnTo>
                <a:lnTo>
                  <a:pt x="11199600" y="1670375"/>
                </a:lnTo>
                <a:lnTo>
                  <a:pt x="11199600" y="1696199"/>
                </a:lnTo>
                <a:lnTo>
                  <a:pt x="11199600" y="1757669"/>
                </a:lnTo>
                <a:lnTo>
                  <a:pt x="11199600" y="1779318"/>
                </a:lnTo>
                <a:lnTo>
                  <a:pt x="11199600" y="1823335"/>
                </a:lnTo>
                <a:lnTo>
                  <a:pt x="11199600" y="1843417"/>
                </a:lnTo>
                <a:lnTo>
                  <a:pt x="11199600" y="1857413"/>
                </a:lnTo>
                <a:lnTo>
                  <a:pt x="11199600" y="1965413"/>
                </a:lnTo>
                <a:lnTo>
                  <a:pt x="11199600" y="1970439"/>
                </a:lnTo>
                <a:lnTo>
                  <a:pt x="11199600" y="2008551"/>
                </a:lnTo>
                <a:lnTo>
                  <a:pt x="11199600" y="2053558"/>
                </a:lnTo>
                <a:lnTo>
                  <a:pt x="11199600" y="2097575"/>
                </a:lnTo>
                <a:lnTo>
                  <a:pt x="11199600" y="2123261"/>
                </a:lnTo>
                <a:lnTo>
                  <a:pt x="11199600" y="2239653"/>
                </a:lnTo>
                <a:lnTo>
                  <a:pt x="11199600" y="2257705"/>
                </a:lnTo>
                <a:lnTo>
                  <a:pt x="11199600" y="2282791"/>
                </a:lnTo>
                <a:lnTo>
                  <a:pt x="11199600" y="2297710"/>
                </a:lnTo>
                <a:lnTo>
                  <a:pt x="11199600" y="2397501"/>
                </a:lnTo>
                <a:lnTo>
                  <a:pt x="11199600" y="2489591"/>
                </a:lnTo>
                <a:lnTo>
                  <a:pt x="11199600" y="2527610"/>
                </a:lnTo>
                <a:lnTo>
                  <a:pt x="11199600" y="2531945"/>
                </a:lnTo>
                <a:lnTo>
                  <a:pt x="11199600" y="2571950"/>
                </a:lnTo>
                <a:lnTo>
                  <a:pt x="11199600" y="2699732"/>
                </a:lnTo>
                <a:lnTo>
                  <a:pt x="11199600" y="2763831"/>
                </a:lnTo>
                <a:lnTo>
                  <a:pt x="11199600" y="2801851"/>
                </a:lnTo>
                <a:lnTo>
                  <a:pt x="11199600" y="2819097"/>
                </a:lnTo>
                <a:lnTo>
                  <a:pt x="11199600" y="2928965"/>
                </a:lnTo>
                <a:lnTo>
                  <a:pt x="11199600" y="2973972"/>
                </a:lnTo>
                <a:lnTo>
                  <a:pt x="11199600" y="3093337"/>
                </a:lnTo>
                <a:lnTo>
                  <a:pt x="11199600" y="3132995"/>
                </a:lnTo>
                <a:lnTo>
                  <a:pt x="11199600" y="3178119"/>
                </a:lnTo>
                <a:lnTo>
                  <a:pt x="11199600" y="3203205"/>
                </a:lnTo>
                <a:lnTo>
                  <a:pt x="11199600" y="3407236"/>
                </a:lnTo>
                <a:lnTo>
                  <a:pt x="11199600" y="3448024"/>
                </a:lnTo>
                <a:lnTo>
                  <a:pt x="11199600" y="3452359"/>
                </a:lnTo>
                <a:lnTo>
                  <a:pt x="11199600" y="3470135"/>
                </a:lnTo>
                <a:lnTo>
                  <a:pt x="11199600" y="3722265"/>
                </a:lnTo>
                <a:lnTo>
                  <a:pt x="11199600" y="3739511"/>
                </a:lnTo>
                <a:lnTo>
                  <a:pt x="11199600" y="3744375"/>
                </a:lnTo>
                <a:lnTo>
                  <a:pt x="11199600" y="3831346"/>
                </a:lnTo>
                <a:lnTo>
                  <a:pt x="11199600" y="4013751"/>
                </a:lnTo>
                <a:lnTo>
                  <a:pt x="11199600" y="4053409"/>
                </a:lnTo>
                <a:lnTo>
                  <a:pt x="11199600" y="4105586"/>
                </a:lnTo>
                <a:lnTo>
                  <a:pt x="11199600" y="4217459"/>
                </a:lnTo>
                <a:lnTo>
                  <a:pt x="11199600" y="4327650"/>
                </a:lnTo>
                <a:lnTo>
                  <a:pt x="11199600" y="4390549"/>
                </a:lnTo>
                <a:lnTo>
                  <a:pt x="11199600" y="4491699"/>
                </a:lnTo>
                <a:lnTo>
                  <a:pt x="11199600" y="4629303"/>
                </a:lnTo>
                <a:lnTo>
                  <a:pt x="11199600" y="4664789"/>
                </a:lnTo>
                <a:lnTo>
                  <a:pt x="11199600" y="4751760"/>
                </a:lnTo>
                <a:lnTo>
                  <a:pt x="11199600" y="4903543"/>
                </a:lnTo>
                <a:lnTo>
                  <a:pt x="11199600" y="5026000"/>
                </a:lnTo>
                <a:lnTo>
                  <a:pt x="11199600" y="5137873"/>
                </a:lnTo>
                <a:lnTo>
                  <a:pt x="11199600" y="5412113"/>
                </a:lnTo>
                <a:lnTo>
                  <a:pt x="11199600" y="5549717"/>
                </a:lnTo>
                <a:lnTo>
                  <a:pt x="11199600" y="5823957"/>
                </a:lnTo>
                <a:cubicBezTo>
                  <a:pt x="11199600" y="5920067"/>
                  <a:pt x="11103603" y="5920067"/>
                  <a:pt x="11103603" y="5920067"/>
                </a:cubicBezTo>
                <a:cubicBezTo>
                  <a:pt x="11103603" y="5920067"/>
                  <a:pt x="11103603" y="5920067"/>
                  <a:pt x="95997" y="5920067"/>
                </a:cubicBezTo>
                <a:cubicBezTo>
                  <a:pt x="0" y="5920067"/>
                  <a:pt x="0" y="5823957"/>
                  <a:pt x="0" y="5823957"/>
                </a:cubicBezTo>
                <a:lnTo>
                  <a:pt x="0" y="5820222"/>
                </a:lnTo>
                <a:lnTo>
                  <a:pt x="0" y="5811351"/>
                </a:lnTo>
                <a:lnTo>
                  <a:pt x="0" y="5794075"/>
                </a:lnTo>
                <a:lnTo>
                  <a:pt x="0" y="5765594"/>
                </a:lnTo>
                <a:lnTo>
                  <a:pt x="0" y="5723106"/>
                </a:lnTo>
                <a:lnTo>
                  <a:pt x="0" y="5663809"/>
                </a:lnTo>
                <a:lnTo>
                  <a:pt x="0" y="5584902"/>
                </a:lnTo>
                <a:lnTo>
                  <a:pt x="0" y="5549717"/>
                </a:lnTo>
                <a:lnTo>
                  <a:pt x="0" y="5548611"/>
                </a:lnTo>
                <a:lnTo>
                  <a:pt x="0" y="5540863"/>
                </a:lnTo>
                <a:lnTo>
                  <a:pt x="0" y="5520020"/>
                </a:lnTo>
                <a:lnTo>
                  <a:pt x="0" y="5519835"/>
                </a:lnTo>
                <a:lnTo>
                  <a:pt x="0" y="5478886"/>
                </a:lnTo>
                <a:lnTo>
                  <a:pt x="0" y="5448866"/>
                </a:lnTo>
                <a:lnTo>
                  <a:pt x="0" y="5444347"/>
                </a:lnTo>
                <a:lnTo>
                  <a:pt x="0" y="5411375"/>
                </a:lnTo>
                <a:lnTo>
                  <a:pt x="0" y="5365584"/>
                </a:lnTo>
                <a:lnTo>
                  <a:pt x="0" y="5357053"/>
                </a:lnTo>
                <a:lnTo>
                  <a:pt x="0" y="5310662"/>
                </a:lnTo>
                <a:lnTo>
                  <a:pt x="0" y="5257308"/>
                </a:lnTo>
                <a:lnTo>
                  <a:pt x="0" y="5245780"/>
                </a:lnTo>
                <a:lnTo>
                  <a:pt x="0" y="5170107"/>
                </a:lnTo>
                <a:lnTo>
                  <a:pt x="0" y="5144283"/>
                </a:lnTo>
                <a:lnTo>
                  <a:pt x="0" y="5082813"/>
                </a:lnTo>
                <a:lnTo>
                  <a:pt x="0" y="5017146"/>
                </a:lnTo>
                <a:lnTo>
                  <a:pt x="0" y="4983068"/>
                </a:lnTo>
                <a:lnTo>
                  <a:pt x="0" y="4903543"/>
                </a:lnTo>
                <a:lnTo>
                  <a:pt x="0" y="4899808"/>
                </a:lnTo>
                <a:lnTo>
                  <a:pt x="0" y="4890937"/>
                </a:lnTo>
                <a:lnTo>
                  <a:pt x="0" y="4875069"/>
                </a:lnTo>
                <a:lnTo>
                  <a:pt x="0" y="4873661"/>
                </a:lnTo>
                <a:lnTo>
                  <a:pt x="0" y="4870043"/>
                </a:lnTo>
                <a:lnTo>
                  <a:pt x="0" y="4845180"/>
                </a:lnTo>
                <a:lnTo>
                  <a:pt x="0" y="4802692"/>
                </a:lnTo>
                <a:lnTo>
                  <a:pt x="0" y="4743395"/>
                </a:lnTo>
                <a:lnTo>
                  <a:pt x="0" y="4742906"/>
                </a:lnTo>
                <a:lnTo>
                  <a:pt x="0" y="4717221"/>
                </a:lnTo>
                <a:lnTo>
                  <a:pt x="0" y="4664488"/>
                </a:lnTo>
                <a:lnTo>
                  <a:pt x="0" y="4629303"/>
                </a:lnTo>
                <a:lnTo>
                  <a:pt x="0" y="4628197"/>
                </a:lnTo>
                <a:lnTo>
                  <a:pt x="0" y="4620449"/>
                </a:lnTo>
                <a:lnTo>
                  <a:pt x="0" y="4600829"/>
                </a:lnTo>
                <a:lnTo>
                  <a:pt x="0" y="4599606"/>
                </a:lnTo>
                <a:lnTo>
                  <a:pt x="0" y="4599421"/>
                </a:lnTo>
                <a:lnTo>
                  <a:pt x="0" y="4558472"/>
                </a:lnTo>
                <a:lnTo>
                  <a:pt x="0" y="4542771"/>
                </a:lnTo>
                <a:lnTo>
                  <a:pt x="0" y="4528452"/>
                </a:lnTo>
                <a:lnTo>
                  <a:pt x="0" y="4523933"/>
                </a:lnTo>
                <a:lnTo>
                  <a:pt x="0" y="4490961"/>
                </a:lnTo>
                <a:lnTo>
                  <a:pt x="0" y="4445170"/>
                </a:lnTo>
                <a:lnTo>
                  <a:pt x="0" y="4442981"/>
                </a:lnTo>
                <a:lnTo>
                  <a:pt x="0" y="4436639"/>
                </a:lnTo>
                <a:lnTo>
                  <a:pt x="0" y="4390248"/>
                </a:lnTo>
                <a:lnTo>
                  <a:pt x="0" y="4350891"/>
                </a:lnTo>
                <a:lnTo>
                  <a:pt x="0" y="4336894"/>
                </a:lnTo>
                <a:lnTo>
                  <a:pt x="0" y="4325366"/>
                </a:lnTo>
                <a:lnTo>
                  <a:pt x="0" y="4268531"/>
                </a:lnTo>
                <a:lnTo>
                  <a:pt x="0" y="4249693"/>
                </a:lnTo>
                <a:lnTo>
                  <a:pt x="0" y="4223869"/>
                </a:lnTo>
                <a:lnTo>
                  <a:pt x="0" y="4162399"/>
                </a:lnTo>
                <a:lnTo>
                  <a:pt x="0" y="4140749"/>
                </a:lnTo>
                <a:lnTo>
                  <a:pt x="0" y="4096732"/>
                </a:lnTo>
                <a:lnTo>
                  <a:pt x="0" y="4076651"/>
                </a:lnTo>
                <a:lnTo>
                  <a:pt x="0" y="4062654"/>
                </a:lnTo>
                <a:lnTo>
                  <a:pt x="0" y="3954655"/>
                </a:lnTo>
                <a:lnTo>
                  <a:pt x="0" y="3949629"/>
                </a:lnTo>
                <a:lnTo>
                  <a:pt x="0" y="3911516"/>
                </a:lnTo>
                <a:lnTo>
                  <a:pt x="0" y="3866509"/>
                </a:lnTo>
                <a:lnTo>
                  <a:pt x="0" y="3822492"/>
                </a:lnTo>
                <a:lnTo>
                  <a:pt x="0" y="3796807"/>
                </a:lnTo>
                <a:lnTo>
                  <a:pt x="0" y="3680415"/>
                </a:lnTo>
                <a:lnTo>
                  <a:pt x="0" y="3662362"/>
                </a:lnTo>
                <a:lnTo>
                  <a:pt x="0" y="3637276"/>
                </a:lnTo>
                <a:lnTo>
                  <a:pt x="0" y="3622357"/>
                </a:lnTo>
                <a:lnTo>
                  <a:pt x="0" y="3522567"/>
                </a:lnTo>
                <a:lnTo>
                  <a:pt x="0" y="3430477"/>
                </a:lnTo>
                <a:lnTo>
                  <a:pt x="0" y="3392457"/>
                </a:lnTo>
                <a:lnTo>
                  <a:pt x="0" y="3388122"/>
                </a:lnTo>
                <a:lnTo>
                  <a:pt x="0" y="3348117"/>
                </a:lnTo>
                <a:lnTo>
                  <a:pt x="0" y="3220335"/>
                </a:lnTo>
                <a:lnTo>
                  <a:pt x="0" y="3156237"/>
                </a:lnTo>
                <a:lnTo>
                  <a:pt x="0" y="3118217"/>
                </a:lnTo>
                <a:lnTo>
                  <a:pt x="0" y="3100970"/>
                </a:lnTo>
                <a:lnTo>
                  <a:pt x="0" y="2991102"/>
                </a:lnTo>
                <a:lnTo>
                  <a:pt x="0" y="2946095"/>
                </a:lnTo>
                <a:lnTo>
                  <a:pt x="0" y="2826730"/>
                </a:lnTo>
                <a:lnTo>
                  <a:pt x="0" y="2787072"/>
                </a:lnTo>
                <a:lnTo>
                  <a:pt x="0" y="2741948"/>
                </a:lnTo>
                <a:lnTo>
                  <a:pt x="0" y="2716862"/>
                </a:lnTo>
                <a:lnTo>
                  <a:pt x="0" y="2512832"/>
                </a:lnTo>
                <a:lnTo>
                  <a:pt x="0" y="2472043"/>
                </a:lnTo>
                <a:lnTo>
                  <a:pt x="0" y="2467708"/>
                </a:lnTo>
                <a:lnTo>
                  <a:pt x="0" y="2449933"/>
                </a:lnTo>
                <a:lnTo>
                  <a:pt x="0" y="2197803"/>
                </a:lnTo>
                <a:lnTo>
                  <a:pt x="0" y="2180556"/>
                </a:lnTo>
                <a:lnTo>
                  <a:pt x="0" y="2175692"/>
                </a:lnTo>
                <a:lnTo>
                  <a:pt x="0" y="2088721"/>
                </a:lnTo>
                <a:lnTo>
                  <a:pt x="0" y="1906316"/>
                </a:lnTo>
                <a:lnTo>
                  <a:pt x="0" y="1866658"/>
                </a:lnTo>
                <a:lnTo>
                  <a:pt x="0" y="1814481"/>
                </a:lnTo>
                <a:lnTo>
                  <a:pt x="0" y="1702609"/>
                </a:lnTo>
                <a:lnTo>
                  <a:pt x="0" y="1592418"/>
                </a:lnTo>
                <a:lnTo>
                  <a:pt x="0" y="1529519"/>
                </a:lnTo>
                <a:lnTo>
                  <a:pt x="0" y="1428369"/>
                </a:lnTo>
                <a:lnTo>
                  <a:pt x="0" y="1290764"/>
                </a:lnTo>
                <a:lnTo>
                  <a:pt x="0" y="1255278"/>
                </a:lnTo>
                <a:lnTo>
                  <a:pt x="0" y="1168307"/>
                </a:lnTo>
                <a:lnTo>
                  <a:pt x="0" y="1016524"/>
                </a:lnTo>
                <a:lnTo>
                  <a:pt x="0" y="894067"/>
                </a:lnTo>
                <a:lnTo>
                  <a:pt x="0" y="782195"/>
                </a:lnTo>
                <a:lnTo>
                  <a:pt x="0" y="507955"/>
                </a:lnTo>
                <a:lnTo>
                  <a:pt x="0" y="370350"/>
                </a:lnTo>
                <a:lnTo>
                  <a:pt x="0" y="96110"/>
                </a:lnTo>
                <a:cubicBezTo>
                  <a:pt x="0" y="0"/>
                  <a:pt x="95997" y="0"/>
                  <a:pt x="95997" y="0"/>
                </a:cubicBezTo>
                <a:close/>
              </a:path>
            </a:pathLst>
          </a:custGeom>
          <a:solidFill>
            <a:schemeClr val="bg2">
              <a:lumMod val="20000"/>
              <a:lumOff val="80000"/>
              <a:alpha val="10000"/>
            </a:schemeClr>
          </a:solidFill>
        </p:spPr>
        <p:txBody>
          <a:bodyPr wrap="square" lIns="3240000" tIns="36000" rIns="36000" bIns="3600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7967333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06601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846826" y="1270000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 bwMode="gray">
          <a:xfrm>
            <a:off x="6276750" y="1270000"/>
            <a:ext cx="5058000" cy="5004000"/>
          </a:xfrm>
        </p:spPr>
        <p:txBody>
          <a:bodyPr/>
          <a:lstStyle>
            <a:lvl1pPr>
              <a:lnSpc>
                <a:spcPts val="1400"/>
              </a:lnSpc>
              <a:spcAft>
                <a:spcPts val="0"/>
              </a:spcAft>
              <a:defRPr sz="1300" b="0"/>
            </a:lvl1pPr>
            <a:lvl2pPr>
              <a:lnSpc>
                <a:spcPts val="1400"/>
              </a:lnSpc>
              <a:spcAft>
                <a:spcPts val="0"/>
              </a:spcAft>
              <a:defRPr sz="1300"/>
            </a:lvl2pPr>
            <a:lvl3pPr>
              <a:lnSpc>
                <a:spcPts val="1400"/>
              </a:lnSpc>
              <a:spcAft>
                <a:spcPts val="0"/>
              </a:spcAft>
              <a:defRPr sz="1300"/>
            </a:lvl3pPr>
            <a:lvl4pPr>
              <a:lnSpc>
                <a:spcPts val="1400"/>
              </a:lnSpc>
              <a:spcAft>
                <a:spcPts val="0"/>
              </a:spcAft>
              <a:defRPr sz="1300"/>
            </a:lvl4pPr>
            <a:lvl5pPr>
              <a:lnSpc>
                <a:spcPts val="1400"/>
              </a:lnSpc>
              <a:spcAft>
                <a:spcPts val="0"/>
              </a:spcAft>
              <a:defRPr sz="13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873764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DD2A080-DA64-4F5C-9131-47EB793B4410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9075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31"/>
          <p:cNvSpPr>
            <a:spLocks noChangeAspect="1"/>
          </p:cNvSpPr>
          <p:nvPr userDrawn="1"/>
        </p:nvSpPr>
        <p:spPr bwMode="gray">
          <a:xfrm>
            <a:off x="693738" y="1695449"/>
            <a:ext cx="10641600" cy="2630915"/>
          </a:xfrm>
          <a:custGeom>
            <a:avLst/>
            <a:gdLst>
              <a:gd name="T0" fmla="*/ 2480 w 2480"/>
              <a:gd name="T1" fmla="*/ 528 h 611"/>
              <a:gd name="T2" fmla="*/ 2480 w 2480"/>
              <a:gd name="T3" fmla="*/ 32 h 611"/>
              <a:gd name="T4" fmla="*/ 2448 w 2480"/>
              <a:gd name="T5" fmla="*/ 0 h 611"/>
              <a:gd name="T6" fmla="*/ 32 w 2480"/>
              <a:gd name="T7" fmla="*/ 0 h 611"/>
              <a:gd name="T8" fmla="*/ 0 w 2480"/>
              <a:gd name="T9" fmla="*/ 32 h 611"/>
              <a:gd name="T10" fmla="*/ 0 w 2480"/>
              <a:gd name="T11" fmla="*/ 528 h 611"/>
              <a:gd name="T12" fmla="*/ 32 w 2480"/>
              <a:gd name="T13" fmla="*/ 560 h 611"/>
              <a:gd name="T14" fmla="*/ 237 w 2480"/>
              <a:gd name="T15" fmla="*/ 560 h 611"/>
              <a:gd name="T16" fmla="*/ 271 w 2480"/>
              <a:gd name="T17" fmla="*/ 604 h 611"/>
              <a:gd name="T18" fmla="*/ 289 w 2480"/>
              <a:gd name="T19" fmla="*/ 604 h 611"/>
              <a:gd name="T20" fmla="*/ 323 w 2480"/>
              <a:gd name="T21" fmla="*/ 560 h 611"/>
              <a:gd name="T22" fmla="*/ 2448 w 2480"/>
              <a:gd name="T23" fmla="*/ 560 h 611"/>
              <a:gd name="T24" fmla="*/ 2480 w 2480"/>
              <a:gd name="T25" fmla="*/ 528 h 6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480" h="611">
                <a:moveTo>
                  <a:pt x="2480" y="528"/>
                </a:moveTo>
                <a:cubicBezTo>
                  <a:pt x="2480" y="32"/>
                  <a:pt x="2480" y="32"/>
                  <a:pt x="2480" y="32"/>
                </a:cubicBezTo>
                <a:cubicBezTo>
                  <a:pt x="2480" y="32"/>
                  <a:pt x="2480" y="0"/>
                  <a:pt x="2448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32" y="0"/>
                  <a:pt x="0" y="0"/>
                  <a:pt x="0" y="32"/>
                </a:cubicBezTo>
                <a:cubicBezTo>
                  <a:pt x="0" y="528"/>
                  <a:pt x="0" y="528"/>
                  <a:pt x="0" y="528"/>
                </a:cubicBezTo>
                <a:cubicBezTo>
                  <a:pt x="0" y="528"/>
                  <a:pt x="0" y="560"/>
                  <a:pt x="32" y="560"/>
                </a:cubicBezTo>
                <a:cubicBezTo>
                  <a:pt x="237" y="560"/>
                  <a:pt x="237" y="560"/>
                  <a:pt x="237" y="560"/>
                </a:cubicBezTo>
                <a:cubicBezTo>
                  <a:pt x="271" y="604"/>
                  <a:pt x="271" y="604"/>
                  <a:pt x="271" y="604"/>
                </a:cubicBezTo>
                <a:cubicBezTo>
                  <a:pt x="276" y="611"/>
                  <a:pt x="284" y="611"/>
                  <a:pt x="289" y="604"/>
                </a:cubicBezTo>
                <a:cubicBezTo>
                  <a:pt x="323" y="560"/>
                  <a:pt x="323" y="560"/>
                  <a:pt x="323" y="560"/>
                </a:cubicBezTo>
                <a:cubicBezTo>
                  <a:pt x="2448" y="560"/>
                  <a:pt x="2448" y="560"/>
                  <a:pt x="2448" y="560"/>
                </a:cubicBezTo>
                <a:cubicBezTo>
                  <a:pt x="2448" y="560"/>
                  <a:pt x="2480" y="560"/>
                  <a:pt x="2480" y="528"/>
                </a:cubicBezTo>
              </a:path>
            </a:pathLst>
          </a:custGeom>
          <a:solidFill>
            <a:srgbClr val="FF62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1172150" y="1695451"/>
            <a:ext cx="10162600" cy="2368549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grpSp>
        <p:nvGrpSpPr>
          <p:cNvPr id="36" name="Group 3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3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3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4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4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4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4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4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5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5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5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5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86184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gray">
          <a:xfrm>
            <a:off x="6276000" y="1278384"/>
            <a:ext cx="5058750" cy="4921200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5058000" cy="492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  <a:prstGeom prst="rect">
            <a:avLst/>
          </a:prstGeom>
        </p:spPr>
        <p:txBody>
          <a:bodyPr/>
          <a:lstStyle/>
          <a:p>
            <a:fld id="{DDD2A080-DA64-4F5C-9131-47EB793B4410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845575" y="280733"/>
            <a:ext cx="10489175" cy="854075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6557798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0" userDrawn="1">
          <p15:clr>
            <a:srgbClr val="FBAE40"/>
          </p15:clr>
        </p15:guide>
        <p15:guide id="2" pos="394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914400" y="2655749"/>
            <a:ext cx="10363200" cy="1546400"/>
          </a:xfrm>
          <a:prstGeom prst="rect">
            <a:avLst/>
          </a:prstGeom>
        </p:spPr>
        <p:txBody>
          <a:bodyPr lIns="121897" tIns="121897" rIns="121897" bIns="121897" anchor="ctr" anchorCtr="0"/>
          <a:lstStyle>
            <a:lvl1pPr lvl="0" algn="ctr" rtl="0">
              <a:spcBef>
                <a:spcPts val="0"/>
              </a:spcBef>
              <a:buSzPct val="100000"/>
              <a:defRPr sz="8000"/>
            </a:lvl1pPr>
            <a:lvl2pPr lvl="1" algn="ctr" rtl="0">
              <a:spcBef>
                <a:spcPts val="0"/>
              </a:spcBef>
              <a:buSzPct val="100000"/>
              <a:defRPr sz="8000"/>
            </a:lvl2pPr>
            <a:lvl3pPr lvl="2" algn="ctr" rtl="0">
              <a:spcBef>
                <a:spcPts val="0"/>
              </a:spcBef>
              <a:buSzPct val="100000"/>
              <a:defRPr sz="8000"/>
            </a:lvl3pPr>
            <a:lvl4pPr lvl="3" algn="ctr" rtl="0">
              <a:spcBef>
                <a:spcPts val="0"/>
              </a:spcBef>
              <a:buSzPct val="100000"/>
              <a:defRPr sz="8000"/>
            </a:lvl4pPr>
            <a:lvl5pPr lvl="4" algn="ctr" rtl="0">
              <a:spcBef>
                <a:spcPts val="0"/>
              </a:spcBef>
              <a:buSzPct val="100000"/>
              <a:defRPr sz="8000"/>
            </a:lvl5pPr>
            <a:lvl6pPr lvl="5" algn="ctr" rtl="0">
              <a:spcBef>
                <a:spcPts val="0"/>
              </a:spcBef>
              <a:buSzPct val="100000"/>
              <a:defRPr sz="8000"/>
            </a:lvl6pPr>
            <a:lvl7pPr lvl="6" algn="ctr" rtl="0">
              <a:spcBef>
                <a:spcPts val="0"/>
              </a:spcBef>
              <a:buSzPct val="100000"/>
              <a:defRPr sz="8000"/>
            </a:lvl7pPr>
            <a:lvl8pPr lvl="7" algn="ctr" rtl="0">
              <a:spcBef>
                <a:spcPts val="0"/>
              </a:spcBef>
              <a:buSzPct val="100000"/>
              <a:defRPr sz="8000"/>
            </a:lvl8pPr>
            <a:lvl9pPr lvl="8" algn="ctr" rtl="0">
              <a:spcBef>
                <a:spcPts val="0"/>
              </a:spcBef>
              <a:buSzPct val="100000"/>
              <a:defRPr sz="80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1171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68288" indent="-268288">
              <a:buClr>
                <a:schemeClr val="accent1"/>
              </a:buClr>
              <a:buFont typeface="ING Me" pitchFamily="2" charset="0"/>
              <a:buChar char="•"/>
              <a:defRPr/>
            </a:lvl1pPr>
            <a:lvl2pPr marL="538163" indent="-268288">
              <a:buClr>
                <a:schemeClr val="accent2"/>
              </a:buClr>
              <a:buFont typeface="ING Me" pitchFamily="2" charset="0"/>
              <a:buChar char="•"/>
              <a:defRPr/>
            </a:lvl2pPr>
            <a:lvl3pPr marL="804863" indent="-266700">
              <a:buClr>
                <a:schemeClr val="accent3"/>
              </a:buClr>
              <a:defRPr/>
            </a:lvl3pPr>
            <a:lvl4pPr marL="1077913" indent="-260350">
              <a:buClr>
                <a:schemeClr val="accent4"/>
              </a:buClr>
              <a:defRPr/>
            </a:lvl4pPr>
            <a:lvl5pPr marL="1341438" indent="-252413">
              <a:buClr>
                <a:schemeClr val="accent5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199510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845575" y="1278384"/>
            <a:ext cx="10489175" cy="492239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Nr.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026862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67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67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Picture Placeholder 64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0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/>
              <a:t>Max.</a:t>
            </a:r>
            <a:r>
              <a:rPr lang="en-GB" sz="1000" baseline="0"/>
              <a:t> width</a:t>
            </a:r>
            <a:endParaRPr lang="en-GB" sz="1000"/>
          </a:p>
        </p:txBody>
      </p:sp>
      <p:sp>
        <p:nvSpPr>
          <p:cNvPr id="23" name="TextBox 22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/>
              <a:t>Max.</a:t>
            </a:r>
            <a:r>
              <a:rPr lang="en-GB" sz="1000" baseline="0"/>
              <a:t> height</a:t>
            </a:r>
            <a:endParaRPr lang="en-GB" sz="1000"/>
          </a:p>
        </p:txBody>
      </p:sp>
      <p:cxnSp>
        <p:nvCxnSpPr>
          <p:cNvPr id="24" name="Straight Connector 23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78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0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1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82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3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84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5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86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87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88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89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0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91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2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93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4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95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6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97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98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1" name="Picture 4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2510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nfidential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51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5242062"/>
            <a:ext cx="2196000" cy="1317138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6" name="Straight Connector 15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/>
              <a:t>Max.</a:t>
            </a:r>
            <a:r>
              <a:rPr lang="en-GB" sz="1000" baseline="0"/>
              <a:t> width</a:t>
            </a:r>
            <a:endParaRPr lang="en-GB" sz="1000"/>
          </a:p>
        </p:txBody>
      </p:sp>
      <p:sp>
        <p:nvSpPr>
          <p:cNvPr id="22" name="TextBox 21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/>
              <a:t>Min.</a:t>
            </a:r>
            <a:r>
              <a:rPr lang="en-GB" sz="1000" baseline="0"/>
              <a:t> height</a:t>
            </a:r>
            <a:endParaRPr lang="en-GB" sz="1000"/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-426676" y="5242062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 userDrawn="1"/>
        </p:nvSpPr>
        <p:spPr>
          <a:xfrm>
            <a:off x="-1506676" y="5297118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/>
              <a:t>Max.</a:t>
            </a:r>
            <a:r>
              <a:rPr lang="en-GB" sz="1000" baseline="0"/>
              <a:t> height</a:t>
            </a:r>
            <a:endParaRPr lang="en-GB" sz="1000"/>
          </a:p>
        </p:txBody>
      </p:sp>
      <p:cxnSp>
        <p:nvCxnSpPr>
          <p:cNvPr id="33" name="Straight Connector 32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Group 57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9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63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65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67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8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69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70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72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74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76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78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9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6" name="Group 45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8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9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/>
                <a:t>Confidential</a:t>
              </a:r>
              <a:endParaRPr lang="en-GB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63800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  <p15:guide id="2" orient="horz" pos="330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Picture 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" name="Group 79"/>
          <p:cNvGrpSpPr>
            <a:grpSpLocks noChangeAspect="1"/>
          </p:cNvGrpSpPr>
          <p:nvPr userDrawn="1"/>
        </p:nvGrpSpPr>
        <p:grpSpPr bwMode="gray">
          <a:xfrm>
            <a:off x="0" y="1643199"/>
            <a:ext cx="5909320" cy="3045600"/>
            <a:chOff x="3465513" y="2070100"/>
            <a:chExt cx="5260975" cy="2711450"/>
          </a:xfrm>
        </p:grpSpPr>
        <p:sp>
          <p:nvSpPr>
            <p:cNvPr id="81" name="Freeform 5"/>
            <p:cNvSpPr>
              <a:spLocks/>
            </p:cNvSpPr>
            <p:nvPr userDrawn="1"/>
          </p:nvSpPr>
          <p:spPr bwMode="gray">
            <a:xfrm>
              <a:off x="3465513" y="4095750"/>
              <a:ext cx="5260975" cy="685800"/>
            </a:xfrm>
            <a:custGeom>
              <a:avLst/>
              <a:gdLst>
                <a:gd name="T0" fmla="*/ 0 w 1400"/>
                <a:gd name="T1" fmla="*/ 0 h 182"/>
                <a:gd name="T2" fmla="*/ 0 w 1400"/>
                <a:gd name="T3" fmla="*/ 182 h 182"/>
                <a:gd name="T4" fmla="*/ 1376 w 1400"/>
                <a:gd name="T5" fmla="*/ 182 h 182"/>
                <a:gd name="T6" fmla="*/ 1400 w 1400"/>
                <a:gd name="T7" fmla="*/ 158 h 182"/>
                <a:gd name="T8" fmla="*/ 1400 w 1400"/>
                <a:gd name="T9" fmla="*/ 0 h 182"/>
                <a:gd name="T10" fmla="*/ 0 w 1400"/>
                <a:gd name="T11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182">
                  <a:moveTo>
                    <a:pt x="0" y="0"/>
                  </a:moveTo>
                  <a:cubicBezTo>
                    <a:pt x="0" y="182"/>
                    <a:pt x="0" y="182"/>
                    <a:pt x="0" y="182"/>
                  </a:cubicBezTo>
                  <a:cubicBezTo>
                    <a:pt x="1376" y="182"/>
                    <a:pt x="1376" y="182"/>
                    <a:pt x="1376" y="182"/>
                  </a:cubicBezTo>
                  <a:cubicBezTo>
                    <a:pt x="1376" y="182"/>
                    <a:pt x="1400" y="182"/>
                    <a:pt x="1400" y="158"/>
                  </a:cubicBezTo>
                  <a:cubicBezTo>
                    <a:pt x="1400" y="0"/>
                    <a:pt x="1400" y="0"/>
                    <a:pt x="140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rgbClr val="EAEAEA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84"/>
            <p:cNvSpPr>
              <a:spLocks/>
            </p:cNvSpPr>
            <p:nvPr userDrawn="1"/>
          </p:nvSpPr>
          <p:spPr bwMode="gray">
            <a:xfrm>
              <a:off x="3465513" y="2070100"/>
              <a:ext cx="5260975" cy="2025650"/>
            </a:xfrm>
            <a:custGeom>
              <a:avLst/>
              <a:gdLst>
                <a:gd name="T0" fmla="*/ 0 w 1400"/>
                <a:gd name="T1" fmla="*/ 0 h 538"/>
                <a:gd name="T2" fmla="*/ 0 w 1400"/>
                <a:gd name="T3" fmla="*/ 538 h 538"/>
                <a:gd name="T4" fmla="*/ 1400 w 1400"/>
                <a:gd name="T5" fmla="*/ 538 h 538"/>
                <a:gd name="T6" fmla="*/ 1400 w 1400"/>
                <a:gd name="T7" fmla="*/ 24 h 538"/>
                <a:gd name="T8" fmla="*/ 1376 w 1400"/>
                <a:gd name="T9" fmla="*/ 0 h 538"/>
                <a:gd name="T10" fmla="*/ 0 w 1400"/>
                <a:gd name="T11" fmla="*/ 0 h 5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0" h="538">
                  <a:moveTo>
                    <a:pt x="0" y="0"/>
                  </a:moveTo>
                  <a:cubicBezTo>
                    <a:pt x="0" y="538"/>
                    <a:pt x="0" y="538"/>
                    <a:pt x="0" y="538"/>
                  </a:cubicBezTo>
                  <a:cubicBezTo>
                    <a:pt x="1400" y="538"/>
                    <a:pt x="1400" y="538"/>
                    <a:pt x="1400" y="538"/>
                  </a:cubicBezTo>
                  <a:cubicBezTo>
                    <a:pt x="1400" y="24"/>
                    <a:pt x="1400" y="24"/>
                    <a:pt x="1400" y="24"/>
                  </a:cubicBezTo>
                  <a:cubicBezTo>
                    <a:pt x="1400" y="24"/>
                    <a:pt x="1400" y="0"/>
                    <a:pt x="137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 w="9525">
              <a:solidFill>
                <a:srgbClr val="FF62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842434" y="2012286"/>
            <a:ext cx="4877966" cy="1461600"/>
          </a:xfrm>
        </p:spPr>
        <p:txBody>
          <a:bodyPr anchor="ctr" anchorCtr="0">
            <a:noAutofit/>
          </a:bodyPr>
          <a:lstStyle>
            <a:lvl1pPr algn="l">
              <a:lnSpc>
                <a:spcPts val="38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4" y="4031478"/>
            <a:ext cx="4877966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17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34" y="3603486"/>
            <a:ext cx="4877966" cy="290712"/>
          </a:xfrm>
        </p:spPr>
        <p:txBody>
          <a:bodyPr bIns="0">
            <a:noAutofit/>
          </a:bodyPr>
          <a:lstStyle>
            <a:lvl1pPr algn="l">
              <a:lnSpc>
                <a:spcPts val="1700"/>
              </a:lnSpc>
              <a:defRPr sz="17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838200" y="6055200"/>
            <a:ext cx="2196000" cy="504000"/>
          </a:xfrm>
        </p:spPr>
        <p:txBody>
          <a:bodyPr lIns="0" anchor="ctr" anchorCtr="0"/>
          <a:lstStyle>
            <a:lvl1pPr algn="l">
              <a:lnSpc>
                <a:spcPct val="100000"/>
              </a:lnSpc>
              <a:defRPr sz="900" b="0"/>
            </a:lvl1pPr>
          </a:lstStyle>
          <a:p>
            <a:r>
              <a:rPr lang="en-GB" dirty="0"/>
              <a:t>Click to insert project logo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015150" y="6953250"/>
            <a:ext cx="0" cy="36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-426676" y="6200775"/>
            <a:ext cx="3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1206675" y="7019955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000"/>
              <a:t>Max.</a:t>
            </a:r>
            <a:r>
              <a:rPr lang="en-GB" sz="1000" baseline="0"/>
              <a:t> width</a:t>
            </a:r>
            <a:endParaRPr lang="en-GB" sz="1000"/>
          </a:p>
        </p:txBody>
      </p:sp>
      <p:sp>
        <p:nvSpPr>
          <p:cNvPr id="27" name="TextBox 26"/>
          <p:cNvSpPr txBox="1"/>
          <p:nvPr userDrawn="1"/>
        </p:nvSpPr>
        <p:spPr>
          <a:xfrm>
            <a:off x="-1506676" y="6266692"/>
            <a:ext cx="144000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r"/>
            <a:r>
              <a:rPr lang="en-GB" sz="1000"/>
              <a:t>Max.</a:t>
            </a:r>
            <a:r>
              <a:rPr lang="en-GB" sz="1000" baseline="0"/>
              <a:t> height</a:t>
            </a:r>
            <a:endParaRPr lang="en-GB" sz="1000"/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838200" y="6953250"/>
            <a:ext cx="0" cy="360000"/>
          </a:xfrm>
          <a:prstGeom prst="line">
            <a:avLst/>
          </a:prstGeom>
          <a:ln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-426676" y="6559200"/>
            <a:ext cx="360000" cy="0"/>
          </a:xfrm>
          <a:prstGeom prst="line">
            <a:avLst/>
          </a:prstGeom>
          <a:ln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Group 55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57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8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0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61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2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63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4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65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6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67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68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9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70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1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72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3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74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5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76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77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44" name="Picture 4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4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42434" y="4381898"/>
            <a:ext cx="4878000" cy="216000"/>
          </a:xfrm>
        </p:spPr>
        <p:txBody>
          <a:bodyPr tIns="0" bIns="0"/>
          <a:lstStyle>
            <a:lvl1pPr marL="0" indent="0" algn="l">
              <a:lnSpc>
                <a:spcPts val="1350"/>
              </a:lnSpc>
              <a:buNone/>
              <a:defRPr sz="135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  <p:grpSp>
        <p:nvGrpSpPr>
          <p:cNvPr id="45" name="Group 44"/>
          <p:cNvGrpSpPr/>
          <p:nvPr userDrawn="1"/>
        </p:nvGrpSpPr>
        <p:grpSpPr>
          <a:xfrm>
            <a:off x="10749167" y="-133099"/>
            <a:ext cx="1441027" cy="1565166"/>
            <a:chOff x="5364088" y="4720073"/>
            <a:chExt cx="1441027" cy="1565166"/>
          </a:xfrm>
        </p:grpSpPr>
        <p:sp>
          <p:nvSpPr>
            <p:cNvPr id="47" name="Freeform 5"/>
            <p:cNvSpPr>
              <a:spLocks/>
            </p:cNvSpPr>
            <p:nvPr/>
          </p:nvSpPr>
          <p:spPr bwMode="gray">
            <a:xfrm>
              <a:off x="5364088" y="4844212"/>
              <a:ext cx="1441027" cy="1441027"/>
            </a:xfrm>
            <a:custGeom>
              <a:avLst/>
              <a:gdLst>
                <a:gd name="T0" fmla="*/ 0 w 810"/>
                <a:gd name="T1" fmla="*/ 0 h 810"/>
                <a:gd name="T2" fmla="*/ 810 w 810"/>
                <a:gd name="T3" fmla="*/ 810 h 810"/>
                <a:gd name="T4" fmla="*/ 810 w 810"/>
                <a:gd name="T5" fmla="*/ 536 h 810"/>
                <a:gd name="T6" fmla="*/ 274 w 810"/>
                <a:gd name="T7" fmla="*/ 0 h 810"/>
                <a:gd name="T8" fmla="*/ 0 w 810"/>
                <a:gd name="T9" fmla="*/ 0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10" h="810">
                  <a:moveTo>
                    <a:pt x="0" y="0"/>
                  </a:moveTo>
                  <a:lnTo>
                    <a:pt x="810" y="810"/>
                  </a:lnTo>
                  <a:lnTo>
                    <a:pt x="810" y="536"/>
                  </a:lnTo>
                  <a:lnTo>
                    <a:pt x="27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A7DC"/>
            </a:solidFill>
            <a:ln w="3175">
              <a:solidFill>
                <a:srgbClr val="17A7DC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3200"/>
            </a:p>
          </p:txBody>
        </p:sp>
        <p:sp>
          <p:nvSpPr>
            <p:cNvPr id="48" name="Title 14"/>
            <p:cNvSpPr txBox="1">
              <a:spLocks/>
            </p:cNvSpPr>
            <p:nvPr userDrawn="1"/>
          </p:nvSpPr>
          <p:spPr bwMode="gray">
            <a:xfrm rot="2700000">
              <a:off x="5481455" y="5320862"/>
              <a:ext cx="1447800" cy="246221"/>
            </a:xfrm>
            <a:prstGeom prst="rect">
              <a:avLst/>
            </a:prstGeom>
          </p:spPr>
          <p:txBody>
            <a:bodyPr vert="horz" wrap="none" lIns="0" tIns="0" rIns="0" bIns="0" rtlCol="0" anchor="ctr" anchorCtr="0">
              <a:noAutofit/>
            </a:bodyPr>
            <a:lstStyle>
              <a:lvl1pPr algn="l" defTabSz="914400" rtl="0" eaLnBrk="1" latinLnBrk="0" hangingPunct="1">
                <a:lnSpc>
                  <a:spcPts val="4600"/>
                </a:lnSpc>
                <a:spcBef>
                  <a:spcPct val="0"/>
                </a:spcBef>
                <a:buNone/>
                <a:defRPr sz="4400" b="1" kern="1200" baseline="0">
                  <a:solidFill>
                    <a:schemeClr val="bg1"/>
                  </a:solidFill>
                  <a:latin typeface="+mj-lt"/>
                  <a:ea typeface="+mj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00000"/>
                </a:lnSpc>
              </a:pPr>
              <a:r>
                <a:rPr lang="en-US" sz="1600"/>
                <a:t>Confidential</a:t>
              </a:r>
              <a:endParaRPr lang="en-GB" sz="1600" dirty="0"/>
            </a:p>
          </p:txBody>
        </p:sp>
      </p:grpSp>
      <p:sp>
        <p:nvSpPr>
          <p:cNvPr id="54" name="Picture Placeholder 53"/>
          <p:cNvSpPr>
            <a:spLocks noGrp="1"/>
          </p:cNvSpPr>
          <p:nvPr>
            <p:ph type="pic" sz="quarter" idx="12"/>
          </p:nvPr>
        </p:nvSpPr>
        <p:spPr bwMode="gray">
          <a:xfrm>
            <a:off x="-3176" y="1"/>
            <a:ext cx="12195175" cy="6024879"/>
          </a:xfrm>
          <a:custGeom>
            <a:avLst/>
            <a:gdLst>
              <a:gd name="connsiteX0" fmla="*/ 11239226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955949 h 6024879"/>
              <a:gd name="connsiteX3" fmla="*/ 0 w 12195175"/>
              <a:gd name="connsiteY3" fmla="*/ 0 h 6024879"/>
              <a:gd name="connsiteX4" fmla="*/ 10750550 w 12195175"/>
              <a:gd name="connsiteY4" fmla="*/ 0 h 6024879"/>
              <a:gd name="connsiteX5" fmla="*/ 12195175 w 12195175"/>
              <a:gd name="connsiteY5" fmla="*/ 1444625 h 6024879"/>
              <a:gd name="connsiteX6" fmla="*/ 12195175 w 12195175"/>
              <a:gd name="connsiteY6" fmla="*/ 6024879 h 6024879"/>
              <a:gd name="connsiteX7" fmla="*/ 0 w 12195175"/>
              <a:gd name="connsiteY7" fmla="*/ 6024879 h 6024879"/>
              <a:gd name="connsiteX8" fmla="*/ 0 w 12195175"/>
              <a:gd name="connsiteY8" fmla="*/ 4688798 h 6024879"/>
              <a:gd name="connsiteX9" fmla="*/ 3176 w 12195175"/>
              <a:gd name="connsiteY9" fmla="*/ 4688798 h 6024879"/>
              <a:gd name="connsiteX10" fmla="*/ 61412 w 12195175"/>
              <a:gd name="connsiteY10" fmla="*/ 4688798 h 6024879"/>
              <a:gd name="connsiteX11" fmla="*/ 530839 w 12195175"/>
              <a:gd name="connsiteY11" fmla="*/ 4688798 h 6024879"/>
              <a:gd name="connsiteX12" fmla="*/ 5811194 w 12195175"/>
              <a:gd name="connsiteY12" fmla="*/ 4688798 h 6024879"/>
              <a:gd name="connsiteX13" fmla="*/ 5912496 w 12195175"/>
              <a:gd name="connsiteY13" fmla="*/ 4587218 h 6024879"/>
              <a:gd name="connsiteX14" fmla="*/ 5912496 w 12195175"/>
              <a:gd name="connsiteY14" fmla="*/ 3918482 h 6024879"/>
              <a:gd name="connsiteX15" fmla="*/ 5912496 w 12195175"/>
              <a:gd name="connsiteY15" fmla="*/ 1744697 h 6024879"/>
              <a:gd name="connsiteX16" fmla="*/ 5811194 w 12195175"/>
              <a:gd name="connsiteY16" fmla="*/ 1643198 h 6024879"/>
              <a:gd name="connsiteX17" fmla="*/ 61412 w 12195175"/>
              <a:gd name="connsiteY17" fmla="*/ 1643198 h 6024879"/>
              <a:gd name="connsiteX18" fmla="*/ 3176 w 12195175"/>
              <a:gd name="connsiteY18" fmla="*/ 1643198 h 6024879"/>
              <a:gd name="connsiteX19" fmla="*/ 0 w 12195175"/>
              <a:gd name="connsiteY19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5175" h="6024879">
                <a:moveTo>
                  <a:pt x="11239226" y="0"/>
                </a:moveTo>
                <a:lnTo>
                  <a:pt x="12195175" y="0"/>
                </a:lnTo>
                <a:lnTo>
                  <a:pt x="12195175" y="955949"/>
                </a:lnTo>
                <a:close/>
                <a:moveTo>
                  <a:pt x="0" y="0"/>
                </a:moveTo>
                <a:lnTo>
                  <a:pt x="10750550" y="0"/>
                </a:lnTo>
                <a:lnTo>
                  <a:pt x="12195175" y="1444625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  <a:solidFill>
            <a:srgbClr val="E9E9E9">
              <a:alpha val="10000"/>
            </a:srgbClr>
          </a:solidFill>
        </p:spPr>
        <p:txBody>
          <a:bodyPr wrap="square" lIns="2880000" tIns="0" anchor="ctr" anchorCtr="0">
            <a:noAutofit/>
          </a:bodyPr>
          <a:lstStyle>
            <a:lvl1pPr algn="ctr">
              <a:defRPr sz="1400" b="0"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55011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F Title Sl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 userDrawn="1"/>
        </p:nvGrpSpPr>
        <p:grpSpPr bwMode="gray">
          <a:xfrm>
            <a:off x="0" y="1643199"/>
            <a:ext cx="11339513" cy="3055937"/>
            <a:chOff x="409575" y="3144838"/>
            <a:chExt cx="11339513" cy="3055937"/>
          </a:xfrm>
        </p:grpSpPr>
        <p:sp>
          <p:nvSpPr>
            <p:cNvPr id="37" name="Freeform 5"/>
            <p:cNvSpPr>
              <a:spLocks/>
            </p:cNvSpPr>
            <p:nvPr/>
          </p:nvSpPr>
          <p:spPr bwMode="gray">
            <a:xfrm>
              <a:off x="409575" y="5521325"/>
              <a:ext cx="11339513" cy="679450"/>
            </a:xfrm>
            <a:custGeom>
              <a:avLst/>
              <a:gdLst>
                <a:gd name="T0" fmla="*/ 0 w 2680"/>
                <a:gd name="T1" fmla="*/ 0 h 160"/>
                <a:gd name="T2" fmla="*/ 0 w 2680"/>
                <a:gd name="T3" fmla="*/ 160 h 160"/>
                <a:gd name="T4" fmla="*/ 2656 w 2680"/>
                <a:gd name="T5" fmla="*/ 160 h 160"/>
                <a:gd name="T6" fmla="*/ 2680 w 2680"/>
                <a:gd name="T7" fmla="*/ 136 h 160"/>
                <a:gd name="T8" fmla="*/ 2680 w 2680"/>
                <a:gd name="T9" fmla="*/ 0 h 160"/>
                <a:gd name="T10" fmla="*/ 0 w 2680"/>
                <a:gd name="T11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2656" y="160"/>
                    <a:pt x="2656" y="160"/>
                    <a:pt x="2656" y="160"/>
                  </a:cubicBezTo>
                  <a:cubicBezTo>
                    <a:pt x="2656" y="160"/>
                    <a:pt x="2680" y="160"/>
                    <a:pt x="2680" y="136"/>
                  </a:cubicBezTo>
                  <a:cubicBezTo>
                    <a:pt x="2680" y="0"/>
                    <a:pt x="2680" y="0"/>
                    <a:pt x="268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6"/>
            <p:cNvSpPr>
              <a:spLocks/>
            </p:cNvSpPr>
            <p:nvPr/>
          </p:nvSpPr>
          <p:spPr bwMode="gray">
            <a:xfrm>
              <a:off x="409575" y="3144838"/>
              <a:ext cx="11339513" cy="2376487"/>
            </a:xfrm>
            <a:custGeom>
              <a:avLst/>
              <a:gdLst>
                <a:gd name="T0" fmla="*/ 0 w 2680"/>
                <a:gd name="T1" fmla="*/ 0 h 560"/>
                <a:gd name="T2" fmla="*/ 0 w 2680"/>
                <a:gd name="T3" fmla="*/ 560 h 560"/>
                <a:gd name="T4" fmla="*/ 2680 w 2680"/>
                <a:gd name="T5" fmla="*/ 560 h 560"/>
                <a:gd name="T6" fmla="*/ 2680 w 2680"/>
                <a:gd name="T7" fmla="*/ 24 h 560"/>
                <a:gd name="T8" fmla="*/ 2656 w 2680"/>
                <a:gd name="T9" fmla="*/ 0 h 560"/>
                <a:gd name="T10" fmla="*/ 0 w 2680"/>
                <a:gd name="T11" fmla="*/ 0 h 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0" h="560">
                  <a:moveTo>
                    <a:pt x="0" y="0"/>
                  </a:moveTo>
                  <a:cubicBezTo>
                    <a:pt x="0" y="560"/>
                    <a:pt x="0" y="560"/>
                    <a:pt x="0" y="560"/>
                  </a:cubicBezTo>
                  <a:cubicBezTo>
                    <a:pt x="2680" y="560"/>
                    <a:pt x="2680" y="560"/>
                    <a:pt x="2680" y="560"/>
                  </a:cubicBezTo>
                  <a:cubicBezTo>
                    <a:pt x="2680" y="24"/>
                    <a:pt x="2680" y="24"/>
                    <a:pt x="2680" y="24"/>
                  </a:cubicBezTo>
                  <a:cubicBezTo>
                    <a:pt x="2680" y="24"/>
                    <a:pt x="2680" y="0"/>
                    <a:pt x="2656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6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" name="Rectangle 7"/>
          <p:cNvSpPr/>
          <p:nvPr userDrawn="1"/>
        </p:nvSpPr>
        <p:spPr bwMode="gray">
          <a:xfrm>
            <a:off x="1" y="6024880"/>
            <a:ext cx="12190193" cy="833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  <p:sp>
        <p:nvSpPr>
          <p:cNvPr id="25" name="Title 1"/>
          <p:cNvSpPr>
            <a:spLocks noGrp="1"/>
          </p:cNvSpPr>
          <p:nvPr>
            <p:ph type="ctrTitle"/>
          </p:nvPr>
        </p:nvSpPr>
        <p:spPr bwMode="gray">
          <a:xfrm>
            <a:off x="842433" y="2116800"/>
            <a:ext cx="10313209" cy="1227573"/>
          </a:xfrm>
        </p:spPr>
        <p:txBody>
          <a:bodyPr anchor="ctr" anchorCtr="0">
            <a:noAutofit/>
          </a:bodyPr>
          <a:lstStyle>
            <a:lvl1pPr algn="l">
              <a:lnSpc>
                <a:spcPts val="460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gray">
          <a:xfrm>
            <a:off x="842433" y="4240704"/>
            <a:ext cx="7082733" cy="306798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ts val="2200"/>
              </a:lnSpc>
              <a:buNone/>
              <a:defRPr sz="2000" b="0" i="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11"/>
          </p:nvPr>
        </p:nvSpPr>
        <p:spPr bwMode="gray">
          <a:xfrm>
            <a:off x="842400" y="3556800"/>
            <a:ext cx="10305675" cy="385233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2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38" name="Picture 3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73167" y="6203775"/>
            <a:ext cx="1518197" cy="378000"/>
          </a:xfrm>
          <a:prstGeom prst="rect">
            <a:avLst/>
          </a:prstGeom>
        </p:spPr>
      </p:pic>
      <p:pic>
        <p:nvPicPr>
          <p:cNvPr id="13" name="Picture Placeholder 36"/>
          <p:cNvPicPr>
            <a:picLocks noChangeAspect="1"/>
          </p:cNvPicPr>
          <p:nvPr userDrawn="1"/>
        </p:nvPicPr>
        <p:blipFill rotWithShape="1">
          <a:blip r:embed="rId3"/>
          <a:stretch/>
        </p:blipFill>
        <p:spPr bwMode="gray">
          <a:xfrm>
            <a:off x="838200" y="6291857"/>
            <a:ext cx="2196000" cy="287825"/>
          </a:xfrm>
          <a:prstGeom prst="rect">
            <a:avLst/>
          </a:prstGeom>
        </p:spPr>
      </p:pic>
      <p:grpSp>
        <p:nvGrpSpPr>
          <p:cNvPr id="44" name="Group 43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45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6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7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48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49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0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51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2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53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4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55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56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7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58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59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60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1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62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3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64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65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sp>
        <p:nvSpPr>
          <p:cNvPr id="36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8167642" y="4291504"/>
            <a:ext cx="2988000" cy="275612"/>
          </a:xfrm>
        </p:spPr>
        <p:txBody>
          <a:bodyPr tIns="0" bIns="0"/>
          <a:lstStyle>
            <a:lvl1pPr marL="0" indent="0" algn="r">
              <a:lnSpc>
                <a:spcPct val="100000"/>
              </a:lnSpc>
              <a:buNone/>
              <a:defRPr sz="1500">
                <a:solidFill>
                  <a:srgbClr val="000000"/>
                </a:solidFill>
                <a:latin typeface="+mn-lt"/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/>
              <a:t>Click to edit location and date</a:t>
            </a:r>
          </a:p>
        </p:txBody>
      </p:sp>
    </p:spTree>
    <p:extLst>
      <p:ext uri="{BB962C8B-B14F-4D97-AF65-F5344CB8AC3E}">
        <p14:creationId xmlns:p14="http://schemas.microsoft.com/office/powerpoint/2010/main" val="218941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3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204762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" name="think-cell Slide" r:id="rId40" imgW="360" imgH="360" progId="TCLayout.ActiveDocument.1">
                  <p:embed/>
                </p:oleObj>
              </mc:Choice>
              <mc:Fallback>
                <p:oleObj name="think-cell Slide" r:id="rId4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6" name="Group 35"/>
          <p:cNvGrpSpPr/>
          <p:nvPr userDrawn="1"/>
        </p:nvGrpSpPr>
        <p:grpSpPr>
          <a:xfrm>
            <a:off x="693738" y="6230179"/>
            <a:ext cx="11498262" cy="627821"/>
            <a:chOff x="693738" y="6230179"/>
            <a:chExt cx="11498262" cy="627821"/>
          </a:xfrm>
        </p:grpSpPr>
        <p:sp>
          <p:nvSpPr>
            <p:cNvPr id="37" name="Freeform 9"/>
            <p:cNvSpPr>
              <a:spLocks/>
            </p:cNvSpPr>
            <p:nvPr userDrawn="1"/>
          </p:nvSpPr>
          <p:spPr bwMode="auto">
            <a:xfrm>
              <a:off x="693738" y="6432353"/>
              <a:ext cx="10988675" cy="131762"/>
            </a:xfrm>
            <a:custGeom>
              <a:avLst/>
              <a:gdLst>
                <a:gd name="T0" fmla="*/ 2927 w 2927"/>
                <a:gd name="T1" fmla="*/ 0 h 32"/>
                <a:gd name="T2" fmla="*/ 32 w 2927"/>
                <a:gd name="T3" fmla="*/ 0 h 32"/>
                <a:gd name="T4" fmla="*/ 0 w 2927"/>
                <a:gd name="T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27" h="32">
                  <a:moveTo>
                    <a:pt x="2927" y="0"/>
                  </a:moveTo>
                  <a:cubicBezTo>
                    <a:pt x="32" y="0"/>
                    <a:pt x="32" y="0"/>
                    <a:pt x="32" y="0"/>
                  </a:cubicBezTo>
                  <a:cubicBezTo>
                    <a:pt x="0" y="0"/>
                    <a:pt x="0" y="32"/>
                    <a:pt x="0" y="32"/>
                  </a:cubicBezTo>
                </a:path>
              </a:pathLst>
            </a:custGeom>
            <a:noFill/>
            <a:ln w="3175" cap="flat">
              <a:solidFill>
                <a:srgbClr val="33333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Rectangle 37"/>
            <p:cNvSpPr/>
            <p:nvPr userDrawn="1"/>
          </p:nvSpPr>
          <p:spPr bwMode="white">
            <a:xfrm>
              <a:off x="10419789" y="6230179"/>
              <a:ext cx="1772211" cy="627821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GB" sz="160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845575" y="280733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45575" y="1278000"/>
            <a:ext cx="10489175" cy="49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838200" y="6498809"/>
            <a:ext cx="495300" cy="18811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fld id="{DDD2A080-DA64-4F5C-9131-47EB793B4410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102" name="Group 101"/>
          <p:cNvGrpSpPr/>
          <p:nvPr userDrawn="1"/>
        </p:nvGrpSpPr>
        <p:grpSpPr bwMode="gray">
          <a:xfrm>
            <a:off x="-2035175" y="0"/>
            <a:ext cx="1872000" cy="4689612"/>
            <a:chOff x="-2581275" y="595116"/>
            <a:chExt cx="1872000" cy="4689612"/>
          </a:xfrm>
        </p:grpSpPr>
        <p:sp>
          <p:nvSpPr>
            <p:cNvPr id="103" name="Rectangle 104"/>
            <p:cNvSpPr>
              <a:spLocks noChangeArrowheads="1"/>
            </p:cNvSpPr>
            <p:nvPr/>
          </p:nvSpPr>
          <p:spPr bwMode="gray">
            <a:xfrm>
              <a:off x="-2581275" y="4276728"/>
              <a:ext cx="1872000" cy="1008000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4" name="Rectangle 104"/>
            <p:cNvSpPr>
              <a:spLocks noChangeArrowheads="1"/>
            </p:cNvSpPr>
            <p:nvPr userDrawn="1"/>
          </p:nvSpPr>
          <p:spPr bwMode="gray">
            <a:xfrm>
              <a:off x="-2581275" y="595116"/>
              <a:ext cx="1872000" cy="3672087"/>
            </a:xfrm>
            <a:prstGeom prst="rect">
              <a:avLst/>
            </a:prstGeom>
            <a:solidFill>
              <a:srgbClr val="EAEAEA"/>
            </a:solidFill>
            <a:ln>
              <a:noFill/>
            </a:ln>
            <a:effectLst/>
          </p:spPr>
          <p:txBody>
            <a:bodyPr wrap="square" lIns="180000" tIns="180000" rIns="180000" bIns="180000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5" name="Rectangle 105"/>
            <p:cNvSpPr>
              <a:spLocks noChangeArrowheads="1"/>
            </p:cNvSpPr>
            <p:nvPr userDrawn="1"/>
          </p:nvSpPr>
          <p:spPr bwMode="gray">
            <a:xfrm>
              <a:off x="-2449513" y="1136650"/>
              <a:ext cx="215900" cy="215900"/>
            </a:xfrm>
            <a:prstGeom prst="rect">
              <a:avLst/>
            </a:prstGeom>
            <a:solidFill>
              <a:srgbClr val="FF6200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6" name="Rectangle 106"/>
            <p:cNvSpPr>
              <a:spLocks noChangeArrowheads="1"/>
            </p:cNvSpPr>
            <p:nvPr userDrawn="1"/>
          </p:nvSpPr>
          <p:spPr bwMode="gray">
            <a:xfrm>
              <a:off x="-2159000" y="1146175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Orang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55, 98, 0</a:t>
              </a:r>
            </a:p>
          </p:txBody>
        </p:sp>
        <p:sp>
          <p:nvSpPr>
            <p:cNvPr id="107" name="Rectangle 107"/>
            <p:cNvSpPr>
              <a:spLocks noChangeArrowheads="1"/>
            </p:cNvSpPr>
            <p:nvPr userDrawn="1"/>
          </p:nvSpPr>
          <p:spPr bwMode="gray">
            <a:xfrm>
              <a:off x="-2449513" y="1571626"/>
              <a:ext cx="215900" cy="215900"/>
            </a:xfrm>
            <a:prstGeom prst="rect">
              <a:avLst/>
            </a:prstGeom>
            <a:solidFill>
              <a:srgbClr val="A8A8A8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08" name="Rectangle 108"/>
            <p:cNvSpPr>
              <a:spLocks noChangeArrowheads="1"/>
            </p:cNvSpPr>
            <p:nvPr userDrawn="1"/>
          </p:nvSpPr>
          <p:spPr bwMode="gray">
            <a:xfrm>
              <a:off x="-2159000" y="15970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ght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68, 168, 168</a:t>
              </a:r>
            </a:p>
          </p:txBody>
        </p:sp>
        <p:sp>
          <p:nvSpPr>
            <p:cNvPr id="109" name="Rectangle 109"/>
            <p:cNvSpPr>
              <a:spLocks noChangeArrowheads="1"/>
            </p:cNvSpPr>
            <p:nvPr userDrawn="1"/>
          </p:nvSpPr>
          <p:spPr bwMode="gray">
            <a:xfrm>
              <a:off x="-2449513" y="2058988"/>
              <a:ext cx="215900" cy="215900"/>
            </a:xfrm>
            <a:prstGeom prst="rect">
              <a:avLst/>
            </a:prstGeom>
            <a:solidFill>
              <a:srgbClr val="52519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0" name="Rectangle 110"/>
            <p:cNvSpPr>
              <a:spLocks noChangeArrowheads="1"/>
            </p:cNvSpPr>
            <p:nvPr userDrawn="1"/>
          </p:nvSpPr>
          <p:spPr bwMode="gray">
            <a:xfrm>
              <a:off x="-2159000" y="2068513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Indigo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82, 81, 153</a:t>
              </a:r>
            </a:p>
          </p:txBody>
        </p:sp>
        <p:sp>
          <p:nvSpPr>
            <p:cNvPr id="111" name="Rectangle 111"/>
            <p:cNvSpPr>
              <a:spLocks noChangeArrowheads="1"/>
            </p:cNvSpPr>
            <p:nvPr userDrawn="1"/>
          </p:nvSpPr>
          <p:spPr bwMode="gray">
            <a:xfrm>
              <a:off x="-2449513" y="2527301"/>
              <a:ext cx="215900" cy="215900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2" name="Rectangle 112"/>
            <p:cNvSpPr>
              <a:spLocks noChangeArrowheads="1"/>
            </p:cNvSpPr>
            <p:nvPr userDrawn="1"/>
          </p:nvSpPr>
          <p:spPr bwMode="gray">
            <a:xfrm>
              <a:off x="-2159000" y="2536826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Sk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96, 166, 218</a:t>
              </a:r>
            </a:p>
          </p:txBody>
        </p:sp>
        <p:sp>
          <p:nvSpPr>
            <p:cNvPr id="113" name="Rectangle 113"/>
            <p:cNvSpPr>
              <a:spLocks noChangeArrowheads="1"/>
            </p:cNvSpPr>
            <p:nvPr userDrawn="1"/>
          </p:nvSpPr>
          <p:spPr bwMode="gray">
            <a:xfrm>
              <a:off x="-2449513" y="762000"/>
              <a:ext cx="1692000" cy="165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200" b="1">
                  <a:solidFill>
                    <a:srgbClr val="333333"/>
                  </a:solidFill>
                </a:rPr>
                <a:t>Colour Guidelines</a:t>
              </a:r>
            </a:p>
          </p:txBody>
        </p:sp>
        <p:sp>
          <p:nvSpPr>
            <p:cNvPr id="114" name="Rectangle 107"/>
            <p:cNvSpPr>
              <a:spLocks noChangeArrowheads="1"/>
            </p:cNvSpPr>
            <p:nvPr/>
          </p:nvSpPr>
          <p:spPr bwMode="gray">
            <a:xfrm>
              <a:off x="-2449513" y="2962277"/>
              <a:ext cx="215900" cy="215900"/>
            </a:xfrm>
            <a:prstGeom prst="rect">
              <a:avLst/>
            </a:prstGeom>
            <a:solidFill>
              <a:srgbClr val="AB006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5" name="Rectangle 108"/>
            <p:cNvSpPr>
              <a:spLocks noChangeArrowheads="1"/>
            </p:cNvSpPr>
            <p:nvPr/>
          </p:nvSpPr>
          <p:spPr bwMode="gray">
            <a:xfrm>
              <a:off x="-2159000" y="29876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Fuchsia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71, 0, 102</a:t>
              </a:r>
            </a:p>
          </p:txBody>
        </p:sp>
        <p:sp>
          <p:nvSpPr>
            <p:cNvPr id="116" name="Rectangle 109"/>
            <p:cNvSpPr>
              <a:spLocks noChangeArrowheads="1"/>
            </p:cNvSpPr>
            <p:nvPr/>
          </p:nvSpPr>
          <p:spPr bwMode="gray">
            <a:xfrm>
              <a:off x="-2449513" y="3449639"/>
              <a:ext cx="215900" cy="215900"/>
            </a:xfrm>
            <a:prstGeom prst="rect">
              <a:avLst/>
            </a:prstGeom>
            <a:solidFill>
              <a:srgbClr val="D0D93C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7" name="Rectangle 110"/>
            <p:cNvSpPr>
              <a:spLocks noChangeArrowheads="1"/>
            </p:cNvSpPr>
            <p:nvPr/>
          </p:nvSpPr>
          <p:spPr bwMode="gray">
            <a:xfrm>
              <a:off x="-2159000" y="3459164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ime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208, 217, 60</a:t>
              </a:r>
            </a:p>
          </p:txBody>
        </p:sp>
        <p:sp>
          <p:nvSpPr>
            <p:cNvPr id="118" name="Rectangle 111"/>
            <p:cNvSpPr>
              <a:spLocks noChangeArrowheads="1"/>
            </p:cNvSpPr>
            <p:nvPr/>
          </p:nvSpPr>
          <p:spPr bwMode="gray">
            <a:xfrm>
              <a:off x="-2449513" y="3917952"/>
              <a:ext cx="215900" cy="215900"/>
            </a:xfrm>
            <a:prstGeom prst="rect">
              <a:avLst/>
            </a:prstGeom>
            <a:solidFill>
              <a:srgbClr val="019649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19" name="Rectangle 112"/>
            <p:cNvSpPr>
              <a:spLocks noChangeArrowheads="1"/>
            </p:cNvSpPr>
            <p:nvPr/>
          </p:nvSpPr>
          <p:spPr bwMode="gray">
            <a:xfrm>
              <a:off x="-2159000" y="3927477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Leaf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2, 150, 81</a:t>
              </a:r>
            </a:p>
          </p:txBody>
        </p:sp>
        <p:sp>
          <p:nvSpPr>
            <p:cNvPr id="120" name="Rectangle 109"/>
            <p:cNvSpPr>
              <a:spLocks noChangeArrowheads="1"/>
            </p:cNvSpPr>
            <p:nvPr/>
          </p:nvSpPr>
          <p:spPr bwMode="gray">
            <a:xfrm>
              <a:off x="-2449513" y="4405314"/>
              <a:ext cx="215900" cy="215900"/>
            </a:xfrm>
            <a:prstGeom prst="rect">
              <a:avLst/>
            </a:prstGeom>
            <a:solidFill>
              <a:srgbClr val="767676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1" name="Rectangle 110"/>
            <p:cNvSpPr>
              <a:spLocks noChangeArrowheads="1"/>
            </p:cNvSpPr>
            <p:nvPr/>
          </p:nvSpPr>
          <p:spPr bwMode="gray">
            <a:xfrm>
              <a:off x="-2159000" y="4414839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ING Mid Grey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118, 118, 118</a:t>
              </a:r>
            </a:p>
          </p:txBody>
        </p:sp>
        <p:sp>
          <p:nvSpPr>
            <p:cNvPr id="122" name="Rectangle 111"/>
            <p:cNvSpPr>
              <a:spLocks noChangeArrowheads="1"/>
            </p:cNvSpPr>
            <p:nvPr/>
          </p:nvSpPr>
          <p:spPr bwMode="gray">
            <a:xfrm>
              <a:off x="-2449513" y="4873627"/>
              <a:ext cx="215900" cy="215900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endParaRPr lang="en-GB" sz="1000"/>
            </a:p>
          </p:txBody>
        </p:sp>
        <p:sp>
          <p:nvSpPr>
            <p:cNvPr id="123" name="Rectangle 112"/>
            <p:cNvSpPr>
              <a:spLocks noChangeArrowheads="1"/>
            </p:cNvSpPr>
            <p:nvPr/>
          </p:nvSpPr>
          <p:spPr bwMode="gray">
            <a:xfrm>
              <a:off x="-2159000" y="4883152"/>
              <a:ext cx="1368000" cy="285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DCF0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6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Text Colour</a:t>
              </a:r>
            </a:p>
            <a:p>
              <a:pPr>
                <a:lnSpc>
                  <a:spcPct val="65000"/>
                </a:lnSpc>
                <a:spcBef>
                  <a:spcPct val="20000"/>
                </a:spcBef>
                <a:spcAft>
                  <a:spcPct val="20000"/>
                </a:spcAft>
              </a:pPr>
              <a:r>
                <a:rPr lang="en-GB" altLang="en-US" sz="1000">
                  <a:solidFill>
                    <a:srgbClr val="333333"/>
                  </a:solidFill>
                </a:rPr>
                <a:t>RGB= 51, 51, 51</a:t>
              </a:r>
            </a:p>
          </p:txBody>
        </p:sp>
      </p:grpSp>
      <p:grpSp>
        <p:nvGrpSpPr>
          <p:cNvPr id="46" name="Group 45"/>
          <p:cNvGrpSpPr/>
          <p:nvPr userDrawn="1"/>
        </p:nvGrpSpPr>
        <p:grpSpPr>
          <a:xfrm>
            <a:off x="-2040443" y="6362700"/>
            <a:ext cx="1872000" cy="500063"/>
            <a:chOff x="-2040443" y="6445247"/>
            <a:chExt cx="1872000" cy="417516"/>
          </a:xfrm>
        </p:grpSpPr>
        <p:sp>
          <p:nvSpPr>
            <p:cNvPr id="47" name="Rectangle 104"/>
            <p:cNvSpPr>
              <a:spLocks noChangeArrowheads="1"/>
            </p:cNvSpPr>
            <p:nvPr userDrawn="1"/>
          </p:nvSpPr>
          <p:spPr bwMode="gray">
            <a:xfrm>
              <a:off x="-2040443" y="6445247"/>
              <a:ext cx="1462593" cy="417516"/>
            </a:xfrm>
            <a:prstGeom prst="rect">
              <a:avLst/>
            </a:prstGeom>
            <a:solidFill>
              <a:srgbClr val="60A6DA"/>
            </a:solidFill>
            <a:ln>
              <a:noFill/>
            </a:ln>
            <a:effectLst/>
          </p:spPr>
          <p:txBody>
            <a:bodyPr wrap="square" lIns="72000" tIns="180000" rIns="72000" bIns="18000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20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en-US" sz="1200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No content below </a:t>
              </a:r>
              <a:br>
                <a:rPr kumimoji="0" lang="en-GB" altLang="en-US" sz="1200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</a:br>
              <a:r>
                <a:rPr kumimoji="0" lang="en-GB" altLang="en-US" sz="1200" b="1" i="0" u="none" strike="noStrike" kern="0" cap="none" spc="0" normalizeH="0" baseline="0" dirty="0">
                  <a:ln>
                    <a:noFill/>
                  </a:ln>
                  <a:solidFill>
                    <a:srgbClr val="FDFDFD"/>
                  </a:solidFill>
                  <a:effectLst/>
                  <a:uLnTx/>
                  <a:uFillTx/>
                  <a:latin typeface="+mn-lt"/>
                </a:rPr>
                <a:t>the grey line</a:t>
              </a:r>
            </a:p>
          </p:txBody>
        </p:sp>
        <p:grpSp>
          <p:nvGrpSpPr>
            <p:cNvPr id="48" name="Group 47"/>
            <p:cNvGrpSpPr/>
            <p:nvPr userDrawn="1"/>
          </p:nvGrpSpPr>
          <p:grpSpPr bwMode="gray">
            <a:xfrm>
              <a:off x="-546100" y="6452392"/>
              <a:ext cx="377657" cy="403227"/>
              <a:chOff x="-2035174" y="6454773"/>
              <a:chExt cx="1872000" cy="403227"/>
            </a:xfrm>
          </p:grpSpPr>
          <p:cxnSp>
            <p:nvCxnSpPr>
              <p:cNvPr id="49" name="Straight Connector 48"/>
              <p:cNvCxnSpPr/>
              <p:nvPr userDrawn="1"/>
            </p:nvCxnSpPr>
            <p:spPr bwMode="gray">
              <a:xfrm>
                <a:off x="-2035174" y="6858000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  <p:cxnSp>
            <p:nvCxnSpPr>
              <p:cNvPr id="50" name="Straight Connector 49"/>
              <p:cNvCxnSpPr/>
              <p:nvPr userDrawn="1"/>
            </p:nvCxnSpPr>
            <p:spPr bwMode="gray">
              <a:xfrm>
                <a:off x="-2035174" y="6454773"/>
                <a:ext cx="1872000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C90068"/>
                </a:solidFill>
                <a:prstDash val="dash"/>
                <a:miter lim="800000"/>
              </a:ln>
              <a:effectLst/>
            </p:spPr>
          </p:cxnSp>
        </p:grpSp>
      </p:grp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-1804990" y="4402733"/>
            <a:ext cx="154783" cy="13890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10723433" y="6358069"/>
            <a:ext cx="1183250" cy="29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96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685" r:id="rId2"/>
    <p:sldLayoutId id="2147483737" r:id="rId3"/>
    <p:sldLayoutId id="2147483729" r:id="rId4"/>
    <p:sldLayoutId id="2147483730" r:id="rId5"/>
    <p:sldLayoutId id="2147483725" r:id="rId6"/>
    <p:sldLayoutId id="2147483727" r:id="rId7"/>
    <p:sldLayoutId id="2147483728" r:id="rId8"/>
    <p:sldLayoutId id="2147483732" r:id="rId9"/>
    <p:sldLayoutId id="2147483733" r:id="rId10"/>
    <p:sldLayoutId id="2147483734" r:id="rId11"/>
    <p:sldLayoutId id="2147483735" r:id="rId12"/>
    <p:sldLayoutId id="2147483692" r:id="rId13"/>
    <p:sldLayoutId id="2147483711" r:id="rId14"/>
    <p:sldLayoutId id="2147483694" r:id="rId15"/>
    <p:sldLayoutId id="2147483695" r:id="rId16"/>
    <p:sldLayoutId id="2147483696" r:id="rId17"/>
    <p:sldLayoutId id="2147483736" r:id="rId18"/>
    <p:sldLayoutId id="2147483738" r:id="rId19"/>
    <p:sldLayoutId id="2147483739" r:id="rId20"/>
    <p:sldLayoutId id="2147483731" r:id="rId21"/>
    <p:sldLayoutId id="2147483697" r:id="rId22"/>
    <p:sldLayoutId id="2147483740" r:id="rId23"/>
    <p:sldLayoutId id="2147483716" r:id="rId24"/>
    <p:sldLayoutId id="2147483718" r:id="rId25"/>
    <p:sldLayoutId id="2147483719" r:id="rId26"/>
    <p:sldLayoutId id="2147483700" r:id="rId27"/>
    <p:sldLayoutId id="2147483743" r:id="rId28"/>
    <p:sldLayoutId id="2147483742" r:id="rId29"/>
    <p:sldLayoutId id="2147483741" r:id="rId30"/>
    <p:sldLayoutId id="2147483702" r:id="rId31"/>
    <p:sldLayoutId id="2147483721" r:id="rId32"/>
    <p:sldLayoutId id="2147483706" r:id="rId33"/>
    <p:sldLayoutId id="2147483726" r:id="rId34"/>
    <p:sldLayoutId id="2147483746" r:id="rId35"/>
    <p:sldLayoutId id="2147483747" r:id="rId36"/>
  </p:sldLayoutIdLst>
  <p:hf hdr="0" ftr="0"/>
  <p:txStyles>
    <p:titleStyle>
      <a:lvl1pPr algn="l" defTabSz="914400" rtl="0" eaLnBrk="1" latinLnBrk="0" hangingPunct="1">
        <a:lnSpc>
          <a:spcPts val="2800"/>
        </a:lnSpc>
        <a:spcBef>
          <a:spcPct val="0"/>
        </a:spcBef>
        <a:buNone/>
        <a:defRPr sz="2800" b="1" kern="1200" baseline="0">
          <a:solidFill>
            <a:schemeClr val="tx2"/>
          </a:solidFill>
          <a:latin typeface="+mj-lt"/>
          <a:ea typeface="+mj-ea"/>
          <a:cs typeface="ING Me" pitchFamily="2" charset="0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b="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1pPr>
      <a:lvl2pPr marL="0" indent="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2pPr>
      <a:lvl3pPr marL="266700" indent="-26670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tx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3pPr>
      <a:lvl4pPr marL="512763" indent="-260350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bg2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4pPr>
      <a:lvl5pPr marL="762000" indent="-252413" algn="l" defTabSz="914400" rtl="0" eaLnBrk="1" latinLnBrk="0" hangingPunct="1">
        <a:lnSpc>
          <a:spcPts val="2400"/>
        </a:lnSpc>
        <a:spcBef>
          <a:spcPts val="0"/>
        </a:spcBef>
        <a:spcAft>
          <a:spcPts val="0"/>
        </a:spcAft>
        <a:buClr>
          <a:schemeClr val="accent3"/>
        </a:buClr>
        <a:buFont typeface="ING Me" pitchFamily="2" charset="0"/>
        <a:buChar char="•"/>
        <a:defRPr sz="2000" kern="1200" baseline="0">
          <a:solidFill>
            <a:schemeClr val="tx1"/>
          </a:solidFill>
          <a:latin typeface="+mn-lt"/>
          <a:ea typeface="+mn-ea"/>
          <a:cs typeface="ING Me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721" userDrawn="1">
          <p15:clr>
            <a:srgbClr val="F26B43"/>
          </p15:clr>
        </p15:guide>
        <p15:guide id="6" pos="7140" userDrawn="1">
          <p15:clr>
            <a:srgbClr val="F26B43"/>
          </p15:clr>
        </p15:guide>
        <p15:guide id="8" pos="528" userDrawn="1">
          <p15:clr>
            <a:srgbClr val="F26B43"/>
          </p15:clr>
        </p15:guide>
        <p15:guide id="9" orient="horz" pos="173" userDrawn="1">
          <p15:clr>
            <a:srgbClr val="F26B43"/>
          </p15:clr>
        </p15:guide>
        <p15:guide id="10" orient="horz" pos="4008" userDrawn="1">
          <p15:clr>
            <a:srgbClr val="F26B43"/>
          </p15:clr>
        </p15:guide>
        <p15:guide id="11" orient="horz" pos="3906" userDrawn="1">
          <p15:clr>
            <a:srgbClr val="F26B43"/>
          </p15:clr>
        </p15:guide>
        <p15:guide id="12" orient="horz" pos="800" userDrawn="1">
          <p15:clr>
            <a:srgbClr val="F26B43"/>
          </p15:clr>
        </p15:guide>
        <p15:guide id="13" pos="7491" userDrawn="1">
          <p15:clr>
            <a:srgbClr val="F26B43"/>
          </p15:clr>
        </p15:guide>
        <p15:guide id="14" pos="437" userDrawn="1">
          <p15:clr>
            <a:srgbClr val="F26B43"/>
          </p15:clr>
        </p15:guide>
        <p15:guide id="15" pos="3834" userDrawn="1">
          <p15:clr>
            <a:srgbClr val="F26B43"/>
          </p15:clr>
        </p15:guide>
        <p15:guide id="16" orient="horz" pos="2358" userDrawn="1">
          <p15:clr>
            <a:srgbClr val="F26B43"/>
          </p15:clr>
        </p15:guide>
        <p15:guide id="17" pos="739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4.emf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3" b="103"/>
          <a:stretch>
            <a:fillRect/>
          </a:stretch>
        </p:blipFill>
        <p:spPr>
          <a:xfrm>
            <a:off x="-3176" y="1"/>
            <a:ext cx="12195175" cy="6024879"/>
          </a:xfrm>
          <a:custGeom>
            <a:avLst/>
            <a:gdLst>
              <a:gd name="connsiteX0" fmla="*/ 0 w 12195175"/>
              <a:gd name="connsiteY0" fmla="*/ 0 h 6024879"/>
              <a:gd name="connsiteX1" fmla="*/ 12195175 w 12195175"/>
              <a:gd name="connsiteY1" fmla="*/ 0 h 6024879"/>
              <a:gd name="connsiteX2" fmla="*/ 12195175 w 12195175"/>
              <a:gd name="connsiteY2" fmla="*/ 6024879 h 6024879"/>
              <a:gd name="connsiteX3" fmla="*/ 0 w 12195175"/>
              <a:gd name="connsiteY3" fmla="*/ 6024879 h 6024879"/>
              <a:gd name="connsiteX4" fmla="*/ 0 w 12195175"/>
              <a:gd name="connsiteY4" fmla="*/ 4688798 h 6024879"/>
              <a:gd name="connsiteX5" fmla="*/ 3176 w 12195175"/>
              <a:gd name="connsiteY5" fmla="*/ 4688798 h 6024879"/>
              <a:gd name="connsiteX6" fmla="*/ 61412 w 12195175"/>
              <a:gd name="connsiteY6" fmla="*/ 4688798 h 6024879"/>
              <a:gd name="connsiteX7" fmla="*/ 530839 w 12195175"/>
              <a:gd name="connsiteY7" fmla="*/ 4688798 h 6024879"/>
              <a:gd name="connsiteX8" fmla="*/ 5811194 w 12195175"/>
              <a:gd name="connsiteY8" fmla="*/ 4688798 h 6024879"/>
              <a:gd name="connsiteX9" fmla="*/ 5912496 w 12195175"/>
              <a:gd name="connsiteY9" fmla="*/ 4587218 h 6024879"/>
              <a:gd name="connsiteX10" fmla="*/ 5912496 w 12195175"/>
              <a:gd name="connsiteY10" fmla="*/ 3918482 h 6024879"/>
              <a:gd name="connsiteX11" fmla="*/ 5912496 w 12195175"/>
              <a:gd name="connsiteY11" fmla="*/ 1744697 h 6024879"/>
              <a:gd name="connsiteX12" fmla="*/ 5811194 w 12195175"/>
              <a:gd name="connsiteY12" fmla="*/ 1643198 h 6024879"/>
              <a:gd name="connsiteX13" fmla="*/ 61412 w 12195175"/>
              <a:gd name="connsiteY13" fmla="*/ 1643198 h 6024879"/>
              <a:gd name="connsiteX14" fmla="*/ 3176 w 12195175"/>
              <a:gd name="connsiteY14" fmla="*/ 1643198 h 6024879"/>
              <a:gd name="connsiteX15" fmla="*/ 0 w 12195175"/>
              <a:gd name="connsiteY15" fmla="*/ 1643198 h 60248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5175" h="6024879">
                <a:moveTo>
                  <a:pt x="0" y="0"/>
                </a:moveTo>
                <a:lnTo>
                  <a:pt x="12195175" y="0"/>
                </a:lnTo>
                <a:lnTo>
                  <a:pt x="12195175" y="6024879"/>
                </a:lnTo>
                <a:lnTo>
                  <a:pt x="0" y="6024879"/>
                </a:lnTo>
                <a:lnTo>
                  <a:pt x="0" y="4688798"/>
                </a:lnTo>
                <a:lnTo>
                  <a:pt x="3176" y="4688798"/>
                </a:lnTo>
                <a:lnTo>
                  <a:pt x="61412" y="4688798"/>
                </a:lnTo>
                <a:lnTo>
                  <a:pt x="530839" y="4688798"/>
                </a:lnTo>
                <a:cubicBezTo>
                  <a:pt x="5811194" y="4688798"/>
                  <a:pt x="5811194" y="4688798"/>
                  <a:pt x="5811194" y="4688798"/>
                </a:cubicBezTo>
                <a:cubicBezTo>
                  <a:pt x="5811194" y="4688798"/>
                  <a:pt x="5912496" y="4688798"/>
                  <a:pt x="5912496" y="4587218"/>
                </a:cubicBezTo>
                <a:cubicBezTo>
                  <a:pt x="5912496" y="3918482"/>
                  <a:pt x="5912496" y="3918482"/>
                  <a:pt x="5912496" y="3918482"/>
                </a:cubicBezTo>
                <a:cubicBezTo>
                  <a:pt x="5912496" y="1744697"/>
                  <a:pt x="5912496" y="1744697"/>
                  <a:pt x="5912496" y="1744697"/>
                </a:cubicBezTo>
                <a:cubicBezTo>
                  <a:pt x="5912496" y="1744697"/>
                  <a:pt x="5912496" y="1643198"/>
                  <a:pt x="5811194" y="1643198"/>
                </a:cubicBezTo>
                <a:lnTo>
                  <a:pt x="61412" y="1643198"/>
                </a:lnTo>
                <a:lnTo>
                  <a:pt x="3176" y="1643198"/>
                </a:lnTo>
                <a:lnTo>
                  <a:pt x="0" y="1643198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5269" y="2131321"/>
            <a:ext cx="10313209" cy="1227573"/>
          </a:xfrm>
        </p:spPr>
        <p:txBody>
          <a:bodyPr/>
          <a:lstStyle/>
          <a:p>
            <a:r>
              <a:rPr lang="de-DE" sz="4400" dirty="0" err="1"/>
              <a:t>Architecting</a:t>
            </a:r>
            <a:r>
              <a:rPr lang="de-DE" sz="4400" dirty="0"/>
              <a:t> an</a:t>
            </a:r>
            <a:br>
              <a:rPr lang="de-DE" sz="4400" dirty="0"/>
            </a:br>
            <a:r>
              <a:rPr lang="de-DE" sz="4400" dirty="0" err="1"/>
              <a:t>Advanced</a:t>
            </a:r>
            <a:r>
              <a:rPr lang="de-DE" sz="4400" dirty="0"/>
              <a:t> Analytics </a:t>
            </a:r>
            <a:br>
              <a:rPr lang="de-DE" sz="4400" dirty="0"/>
            </a:br>
            <a:r>
              <a:rPr lang="de-DE" sz="4400" dirty="0" err="1"/>
              <a:t>Platform</a:t>
            </a:r>
            <a:endParaRPr lang="en-GB" sz="4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5269" y="4127179"/>
            <a:ext cx="7082733" cy="451287"/>
          </a:xfrm>
        </p:spPr>
        <p:txBody>
          <a:bodyPr/>
          <a:lstStyle/>
          <a:p>
            <a:r>
              <a:rPr lang="en-GB" dirty="0"/>
              <a:t>Georgios </a:t>
            </a:r>
            <a:r>
              <a:rPr lang="en-GB" dirty="0" err="1"/>
              <a:t>Gkekas</a:t>
            </a:r>
            <a:endParaRPr lang="en-GB" dirty="0"/>
          </a:p>
          <a:p>
            <a:r>
              <a:rPr lang="en-GB" dirty="0"/>
              <a:t>ING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5269" y="3607662"/>
            <a:ext cx="10305675" cy="385233"/>
          </a:xfrm>
        </p:spPr>
        <p:txBody>
          <a:bodyPr/>
          <a:lstStyle/>
          <a:p>
            <a:r>
              <a:rPr lang="en-GB" sz="2000" dirty="0"/>
              <a:t>Enabling Machine and Deep Learning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2855809" y="4302854"/>
            <a:ext cx="2988000" cy="275612"/>
          </a:xfrm>
        </p:spPr>
        <p:txBody>
          <a:bodyPr/>
          <a:lstStyle/>
          <a:p>
            <a:r>
              <a:rPr lang="de-DE" dirty="0"/>
              <a:t>New York, 27 </a:t>
            </a:r>
            <a:r>
              <a:rPr lang="de-DE" dirty="0" err="1"/>
              <a:t>February</a:t>
            </a:r>
            <a:r>
              <a:rPr lang="de-DE" dirty="0"/>
              <a:t> 2018</a:t>
            </a:r>
          </a:p>
        </p:txBody>
      </p:sp>
    </p:spTree>
    <p:extLst>
      <p:ext uri="{BB962C8B-B14F-4D97-AF65-F5344CB8AC3E}">
        <p14:creationId xmlns:p14="http://schemas.microsoft.com/office/powerpoint/2010/main" val="11302810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4875"/>
    </mc:Choice>
    <mc:Fallback>
      <p:transition spd="slow" advTm="94875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72"/>
          <a:stretch/>
        </p:blipFill>
        <p:spPr>
          <a:xfrm>
            <a:off x="659245" y="531448"/>
            <a:ext cx="10858500" cy="5426006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ow </a:t>
            </a:r>
            <a:r>
              <a:rPr lang="de-DE" dirty="0" err="1"/>
              <a:t>m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latform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0</a:t>
            </a:fld>
            <a:endParaRPr lang="en-GB" noProof="0" dirty="0"/>
          </a:p>
        </p:txBody>
      </p:sp>
      <p:grpSp>
        <p:nvGrpSpPr>
          <p:cNvPr id="18" name="Group 17"/>
          <p:cNvGrpSpPr/>
          <p:nvPr/>
        </p:nvGrpSpPr>
        <p:grpSpPr>
          <a:xfrm>
            <a:off x="2415035" y="1772829"/>
            <a:ext cx="6901790" cy="3585898"/>
            <a:chOff x="2186553" y="1754377"/>
            <a:chExt cx="7749378" cy="4026271"/>
          </a:xfrm>
        </p:grpSpPr>
        <p:sp>
          <p:nvSpPr>
            <p:cNvPr id="7" name="Rectangle 6"/>
            <p:cNvSpPr/>
            <p:nvPr/>
          </p:nvSpPr>
          <p:spPr>
            <a:xfrm>
              <a:off x="2186553" y="1754377"/>
              <a:ext cx="3252712" cy="4492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de-DE" sz="2000" b="1" dirty="0">
                  <a:solidFill>
                    <a:schemeClr val="bg1"/>
                  </a:solidFill>
                </a:rPr>
                <a:t>High-level architecture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2243248" y="3486271"/>
              <a:ext cx="2548966" cy="4492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2000" b="1" dirty="0">
                  <a:solidFill>
                    <a:schemeClr val="bg1"/>
                  </a:solidFill>
                </a:rPr>
                <a:t>Data </a:t>
              </a:r>
              <a:r>
                <a:rPr lang="de-DE" sz="2000" b="1" dirty="0" err="1">
                  <a:solidFill>
                    <a:schemeClr val="bg1"/>
                  </a:solidFill>
                </a:rPr>
                <a:t>architecture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2243248" y="5331402"/>
              <a:ext cx="2833345" cy="4492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de-DE" sz="2000" b="1" dirty="0" err="1">
                  <a:solidFill>
                    <a:schemeClr val="bg1"/>
                  </a:solidFill>
                </a:rPr>
                <a:t>Going</a:t>
              </a:r>
              <a:r>
                <a:rPr lang="de-DE" sz="2000" b="1" dirty="0">
                  <a:solidFill>
                    <a:schemeClr val="bg1"/>
                  </a:solidFill>
                </a:rPr>
                <a:t> to </a:t>
              </a:r>
              <a:r>
                <a:rPr lang="de-DE" sz="2000" b="1" dirty="0" err="1">
                  <a:solidFill>
                    <a:schemeClr val="bg1"/>
                  </a:solidFill>
                </a:rPr>
                <a:t>production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7034191" y="1754377"/>
              <a:ext cx="2901740" cy="4492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2000" b="1" dirty="0">
                  <a:solidFill>
                    <a:schemeClr val="bg1"/>
                  </a:solidFill>
                </a:rPr>
                <a:t>Data </a:t>
              </a:r>
              <a:r>
                <a:rPr lang="de-DE" sz="2000" b="1" dirty="0" err="1">
                  <a:solidFill>
                    <a:schemeClr val="bg1"/>
                  </a:solidFill>
                </a:rPr>
                <a:t>science</a:t>
              </a:r>
              <a:r>
                <a:rPr lang="de-DE" sz="2000" b="1" dirty="0">
                  <a:solidFill>
                    <a:schemeClr val="bg1"/>
                  </a:solidFill>
                </a:rPr>
                <a:t> </a:t>
              </a:r>
              <a:r>
                <a:rPr lang="de-DE" sz="2000" b="1" dirty="0" err="1">
                  <a:solidFill>
                    <a:schemeClr val="bg1"/>
                  </a:solidFill>
                </a:rPr>
                <a:t>tooling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7034190" y="3486271"/>
              <a:ext cx="1301661" cy="4492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de-DE" sz="2000" b="1" dirty="0">
                  <a:solidFill>
                    <a:schemeClr val="bg1"/>
                  </a:solidFill>
                </a:rPr>
                <a:t>Security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034190" y="5331402"/>
              <a:ext cx="1879417" cy="4492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de-DE" sz="2000" b="1" dirty="0">
                  <a:solidFill>
                    <a:schemeClr val="bg1"/>
                  </a:solidFill>
                </a:rPr>
                <a:t>Future </a:t>
              </a:r>
              <a:r>
                <a:rPr lang="de-DE" sz="2000" b="1" dirty="0" err="1">
                  <a:solidFill>
                    <a:schemeClr val="bg1"/>
                  </a:solidFill>
                </a:rPr>
                <a:t>Steps</a:t>
              </a:r>
              <a:endParaRPr lang="de-DE" sz="20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7578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4809"/>
    </mc:Choice>
    <mc:Fallback>
      <p:transition spd="slow" advTm="84809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Rounded Rectangle 79"/>
          <p:cNvSpPr/>
          <p:nvPr/>
        </p:nvSpPr>
        <p:spPr>
          <a:xfrm>
            <a:off x="428686" y="6068437"/>
            <a:ext cx="11582400" cy="782668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apability</a:t>
            </a:r>
            <a:r>
              <a:rPr lang="de-DE" dirty="0"/>
              <a:t> </a:t>
            </a:r>
            <a:r>
              <a:rPr lang="de-DE" dirty="0" err="1"/>
              <a:t>Architecture</a:t>
            </a:r>
            <a:endParaRPr lang="de-DE" dirty="0"/>
          </a:p>
        </p:txBody>
      </p:sp>
      <p:sp>
        <p:nvSpPr>
          <p:cNvPr id="6" name="Rounded Rectangle 5"/>
          <p:cNvSpPr/>
          <p:nvPr/>
        </p:nvSpPr>
        <p:spPr>
          <a:xfrm>
            <a:off x="982210" y="1092457"/>
            <a:ext cx="9120647" cy="4248472"/>
          </a:xfrm>
          <a:prstGeom prst="roundRect">
            <a:avLst>
              <a:gd name="adj" fmla="val 2753"/>
            </a:avLst>
          </a:prstGeom>
          <a:noFill/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7" name="Rounded Rectangle 6"/>
          <p:cNvSpPr/>
          <p:nvPr/>
        </p:nvSpPr>
        <p:spPr>
          <a:xfrm>
            <a:off x="10415258" y="3612737"/>
            <a:ext cx="1003443" cy="1728192"/>
          </a:xfrm>
          <a:prstGeom prst="roundRect">
            <a:avLst>
              <a:gd name="adj" fmla="val 11144"/>
            </a:avLst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dirty="0"/>
          </a:p>
        </p:txBody>
      </p:sp>
      <p:sp>
        <p:nvSpPr>
          <p:cNvPr id="8" name="Rounded Rectangle 7"/>
          <p:cNvSpPr/>
          <p:nvPr/>
        </p:nvSpPr>
        <p:spPr>
          <a:xfrm>
            <a:off x="1126227" y="3612737"/>
            <a:ext cx="8939185" cy="1656184"/>
          </a:xfrm>
          <a:prstGeom prst="roundRect">
            <a:avLst>
              <a:gd name="adj" fmla="val 6629"/>
            </a:avLst>
          </a:prstGeom>
          <a:solidFill>
            <a:srgbClr val="D0D93C"/>
          </a:solidFill>
          <a:ln w="63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</p:txBody>
      </p:sp>
      <p:sp>
        <p:nvSpPr>
          <p:cNvPr id="9" name="Rounded Rectangle 8"/>
          <p:cNvSpPr/>
          <p:nvPr/>
        </p:nvSpPr>
        <p:spPr>
          <a:xfrm>
            <a:off x="1944912" y="1438703"/>
            <a:ext cx="8113066" cy="1913875"/>
          </a:xfrm>
          <a:prstGeom prst="roundRect">
            <a:avLst>
              <a:gd name="adj" fmla="val 6533"/>
            </a:avLst>
          </a:pr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2011951" y="2848521"/>
            <a:ext cx="740469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</a:rPr>
              <a:t>Data Acces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011951" y="2339011"/>
            <a:ext cx="884485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</a:rPr>
              <a:t>Data Processing</a:t>
            </a:r>
          </a:p>
        </p:txBody>
      </p:sp>
      <p:sp>
        <p:nvSpPr>
          <p:cNvPr id="16" name="Rounded Rectangle 15"/>
          <p:cNvSpPr/>
          <p:nvPr/>
        </p:nvSpPr>
        <p:spPr>
          <a:xfrm>
            <a:off x="4713238" y="1992810"/>
            <a:ext cx="771698" cy="288032"/>
          </a:xfrm>
          <a:prstGeom prst="roundRect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Sqoop</a:t>
            </a:r>
            <a:endParaRPr lang="de-DE" sz="1200" dirty="0"/>
          </a:p>
        </p:txBody>
      </p:sp>
      <p:sp>
        <p:nvSpPr>
          <p:cNvPr id="20" name="TextBox 19"/>
          <p:cNvSpPr txBox="1"/>
          <p:nvPr/>
        </p:nvSpPr>
        <p:spPr>
          <a:xfrm rot="16200000">
            <a:off x="1179230" y="4194820"/>
            <a:ext cx="1188393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de-DE" sz="1400" b="1" dirty="0"/>
              <a:t>Data Science </a:t>
            </a:r>
          </a:p>
          <a:p>
            <a:pPr algn="ctr"/>
            <a:r>
              <a:rPr lang="de-DE" sz="1400" b="1" dirty="0"/>
              <a:t>in a Box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132943" y="3765181"/>
            <a:ext cx="2304256" cy="13727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2" name="Rectangle 21"/>
          <p:cNvSpPr/>
          <p:nvPr/>
        </p:nvSpPr>
        <p:spPr>
          <a:xfrm>
            <a:off x="5360182" y="3760245"/>
            <a:ext cx="1557790" cy="13727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3" name="Rectangle 22"/>
          <p:cNvSpPr/>
          <p:nvPr/>
        </p:nvSpPr>
        <p:spPr>
          <a:xfrm>
            <a:off x="7894978" y="3765181"/>
            <a:ext cx="1728192" cy="13727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63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</p:txBody>
      </p:sp>
      <p:sp>
        <p:nvSpPr>
          <p:cNvPr id="24" name="TextBox 23"/>
          <p:cNvSpPr txBox="1"/>
          <p:nvPr/>
        </p:nvSpPr>
        <p:spPr>
          <a:xfrm rot="16200000">
            <a:off x="4445036" y="4225038"/>
            <a:ext cx="1140303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de-DE" sz="1400" b="1" dirty="0" err="1"/>
              <a:t>Presentation</a:t>
            </a:r>
            <a:endParaRPr lang="de-DE" sz="1400" b="1" dirty="0"/>
          </a:p>
          <a:p>
            <a:pPr algn="ctr"/>
            <a:r>
              <a:rPr lang="de-DE" sz="1400" b="1" dirty="0"/>
              <a:t>Layer</a:t>
            </a:r>
          </a:p>
        </p:txBody>
      </p:sp>
      <p:sp>
        <p:nvSpPr>
          <p:cNvPr id="25" name="TextBox 24"/>
          <p:cNvSpPr txBox="1"/>
          <p:nvPr/>
        </p:nvSpPr>
        <p:spPr>
          <a:xfrm rot="16200000">
            <a:off x="7091905" y="4332759"/>
            <a:ext cx="92710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de-DE" sz="1400" b="1" dirty="0"/>
              <a:t>ELT &amp; API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132943" y="1135050"/>
            <a:ext cx="6499857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400" b="1" dirty="0" err="1"/>
              <a:t>Hadoop</a:t>
            </a:r>
            <a:r>
              <a:rPr lang="de-DE" sz="1400" b="1" dirty="0"/>
              <a:t> Data Storage </a:t>
            </a:r>
            <a:r>
              <a:rPr lang="de-DE" sz="1400" b="1" dirty="0" err="1"/>
              <a:t>and</a:t>
            </a:r>
            <a:r>
              <a:rPr lang="de-DE" sz="1400" b="1" dirty="0"/>
              <a:t> Data Processing </a:t>
            </a:r>
            <a:r>
              <a:rPr lang="de-DE" sz="1400" b="1" dirty="0">
                <a:solidFill>
                  <a:schemeClr val="bg1"/>
                </a:solidFill>
              </a:rPr>
              <a:t>Service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017808" y="1954901"/>
            <a:ext cx="872772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</a:rPr>
              <a:t>Higher-level </a:t>
            </a:r>
            <a:r>
              <a:rPr lang="de-DE" sz="1100" b="1" dirty="0" err="1">
                <a:solidFill>
                  <a:schemeClr val="bg1"/>
                </a:solidFill>
              </a:rPr>
              <a:t>frameworks</a:t>
            </a:r>
            <a:endParaRPr lang="de-DE" sz="1100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017808" y="1593498"/>
            <a:ext cx="1074134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100" b="1" dirty="0">
                <a:solidFill>
                  <a:schemeClr val="bg1"/>
                </a:solidFill>
              </a:rPr>
              <a:t>Administration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251122" y="3385031"/>
            <a:ext cx="6499857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400" b="1" dirty="0"/>
              <a:t>Edge Area (User Access)</a:t>
            </a:r>
          </a:p>
        </p:txBody>
      </p:sp>
      <p:sp>
        <p:nvSpPr>
          <p:cNvPr id="34" name="Up-Down Arrow 33"/>
          <p:cNvSpPr/>
          <p:nvPr/>
        </p:nvSpPr>
        <p:spPr>
          <a:xfrm>
            <a:off x="6047985" y="3380748"/>
            <a:ext cx="167313" cy="247030"/>
          </a:xfrm>
          <a:prstGeom prst="upDownArrow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grpSp>
        <p:nvGrpSpPr>
          <p:cNvPr id="79" name="Group 78"/>
          <p:cNvGrpSpPr/>
          <p:nvPr/>
        </p:nvGrpSpPr>
        <p:grpSpPr>
          <a:xfrm>
            <a:off x="2737748" y="1534468"/>
            <a:ext cx="7320230" cy="3509851"/>
            <a:chOff x="1740790" y="1608690"/>
            <a:chExt cx="7320230" cy="3509851"/>
          </a:xfrm>
        </p:grpSpPr>
        <p:sp>
          <p:nvSpPr>
            <p:cNvPr id="10" name="Rounded Rectangle 9"/>
            <p:cNvSpPr/>
            <p:nvPr/>
          </p:nvSpPr>
          <p:spPr>
            <a:xfrm>
              <a:off x="1740790" y="4794369"/>
              <a:ext cx="654307" cy="324172"/>
            </a:xfrm>
            <a:prstGeom prst="round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000" dirty="0"/>
                <a:t>GPUs</a:t>
              </a: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2094984" y="2922743"/>
              <a:ext cx="5400600" cy="360040"/>
            </a:xfrm>
            <a:prstGeom prst="roundRect">
              <a:avLst/>
            </a:prstGeom>
            <a:solidFill>
              <a:schemeClr val="accent4">
                <a:lumMod val="50000"/>
              </a:schemeClr>
            </a:solidFill>
            <a:ln w="63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 err="1"/>
                <a:t>Hadoop</a:t>
              </a:r>
              <a:r>
                <a:rPr lang="de-DE" sz="1200" dirty="0"/>
                <a:t> Distributed File System 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2094984" y="2418687"/>
              <a:ext cx="3384376" cy="360040"/>
            </a:xfrm>
            <a:prstGeom prst="round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 err="1"/>
                <a:t>MapReduce</a:t>
              </a:r>
              <a:endParaRPr lang="de-DE" sz="1200" dirty="0"/>
            </a:p>
          </p:txBody>
        </p:sp>
        <p:sp>
          <p:nvSpPr>
            <p:cNvPr id="15" name="Rounded Rectangle 14"/>
            <p:cNvSpPr/>
            <p:nvPr/>
          </p:nvSpPr>
          <p:spPr>
            <a:xfrm>
              <a:off x="2094983" y="2058647"/>
              <a:ext cx="1471067" cy="288032"/>
            </a:xfrm>
            <a:prstGeom prst="round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 err="1"/>
                <a:t>Hive</a:t>
              </a:r>
              <a:endParaRPr lang="de-DE" sz="1200" dirty="0"/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4693146" y="2067031"/>
              <a:ext cx="771698" cy="288032"/>
            </a:xfrm>
            <a:prstGeom prst="round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/>
                <a:t>PIG</a:t>
              </a: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5595756" y="2088388"/>
              <a:ext cx="891716" cy="690339"/>
            </a:xfrm>
            <a:prstGeom prst="round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/>
                <a:t>Spark</a:t>
              </a: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6598970" y="2088388"/>
              <a:ext cx="896614" cy="690339"/>
            </a:xfrm>
            <a:prstGeom prst="roundRect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/>
                <a:t>Flink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660116" y="2088388"/>
              <a:ext cx="843580" cy="1194395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63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de-DE" sz="1600"/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2103660" y="1608690"/>
              <a:ext cx="6400036" cy="360040"/>
            </a:xfrm>
            <a:prstGeom prst="roundRect">
              <a:avLst/>
            </a:prstGeom>
            <a:solidFill>
              <a:srgbClr val="349651"/>
            </a:solidFill>
            <a:ln w="6350">
              <a:solidFill>
                <a:srgbClr val="3496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/>
                <a:t>Administration &amp; Monitoring (</a:t>
              </a:r>
              <a:r>
                <a:rPr lang="de-DE" sz="1200" dirty="0" err="1"/>
                <a:t>Ambari</a:t>
              </a:r>
              <a:r>
                <a:rPr lang="de-DE" sz="1200" dirty="0"/>
                <a:t> + </a:t>
              </a:r>
              <a:r>
                <a:rPr lang="de-DE" sz="1200" dirty="0" err="1"/>
                <a:t>Icinga</a:t>
              </a:r>
              <a:r>
                <a:rPr lang="de-DE" sz="1200" dirty="0"/>
                <a:t>)</a:t>
              </a:r>
            </a:p>
          </p:txBody>
        </p:sp>
        <p:sp>
          <p:nvSpPr>
            <p:cNvPr id="31" name="Rounded Rectangle 30"/>
            <p:cNvSpPr/>
            <p:nvPr/>
          </p:nvSpPr>
          <p:spPr>
            <a:xfrm>
              <a:off x="7724514" y="2202663"/>
              <a:ext cx="734171" cy="396044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12700">
              <a:noFill/>
              <a:prstDash val="lg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/>
                <a:t>Atlas</a:t>
              </a:r>
            </a:p>
            <a:p>
              <a:pPr algn="ctr">
                <a:lnSpc>
                  <a:spcPct val="90000"/>
                </a:lnSpc>
              </a:pPr>
              <a:r>
                <a:rPr lang="de-DE" sz="1000" dirty="0"/>
                <a:t>(</a:t>
              </a:r>
              <a:r>
                <a:rPr lang="de-DE" sz="1000" dirty="0" err="1"/>
                <a:t>planned</a:t>
              </a:r>
              <a:r>
                <a:rPr lang="de-DE" sz="1000" dirty="0"/>
                <a:t>)</a:t>
              </a:r>
            </a:p>
          </p:txBody>
        </p:sp>
        <p:sp>
          <p:nvSpPr>
            <p:cNvPr id="32" name="Rounded Rectangle 31"/>
            <p:cNvSpPr/>
            <p:nvPr/>
          </p:nvSpPr>
          <p:spPr>
            <a:xfrm>
              <a:off x="7724515" y="2724721"/>
              <a:ext cx="734170" cy="396044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/>
                <a:t>Ranger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 rot="16200000">
              <a:off x="8328510" y="2434453"/>
              <a:ext cx="884485" cy="580534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1100" b="1" dirty="0">
                  <a:solidFill>
                    <a:schemeClr val="bg1"/>
                  </a:solidFill>
                </a:rPr>
                <a:t>Data </a:t>
              </a:r>
              <a:r>
                <a:rPr lang="de-DE" sz="1100" b="1" dirty="0" err="1">
                  <a:solidFill>
                    <a:schemeClr val="bg1"/>
                  </a:solidFill>
                </a:rPr>
                <a:t>Governance</a:t>
              </a:r>
              <a:r>
                <a:rPr lang="de-DE" sz="1100" b="1" dirty="0">
                  <a:solidFill>
                    <a:schemeClr val="bg1"/>
                  </a:solidFill>
                </a:rPr>
                <a:t> &amp; </a:t>
              </a:r>
              <a:r>
                <a:rPr lang="de-DE" sz="1100" b="1" dirty="0" err="1">
                  <a:solidFill>
                    <a:schemeClr val="bg1"/>
                  </a:solidFill>
                </a:rPr>
                <a:t>Lineage</a:t>
              </a:r>
              <a:endParaRPr lang="de-DE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7" name="Rounded Rectangle 46"/>
          <p:cNvSpPr/>
          <p:nvPr/>
        </p:nvSpPr>
        <p:spPr>
          <a:xfrm>
            <a:off x="2245385" y="4724126"/>
            <a:ext cx="417617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000" dirty="0"/>
              <a:t>IDEs</a:t>
            </a:r>
          </a:p>
        </p:txBody>
      </p:sp>
      <p:sp>
        <p:nvSpPr>
          <p:cNvPr id="48" name="Rounded Rectangle 47"/>
          <p:cNvSpPr/>
          <p:nvPr/>
        </p:nvSpPr>
        <p:spPr>
          <a:xfrm>
            <a:off x="3441963" y="4724126"/>
            <a:ext cx="924817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000" dirty="0" err="1"/>
              <a:t>Jupyter</a:t>
            </a:r>
            <a:endParaRPr lang="de-DE" sz="1000" dirty="0"/>
          </a:p>
          <a:p>
            <a:pPr algn="ctr">
              <a:lnSpc>
                <a:spcPct val="90000"/>
              </a:lnSpc>
            </a:pPr>
            <a:r>
              <a:rPr lang="de-DE" sz="1000" dirty="0"/>
              <a:t>Notebooks</a:t>
            </a:r>
          </a:p>
        </p:txBody>
      </p:sp>
      <p:sp>
        <p:nvSpPr>
          <p:cNvPr id="49" name="Rounded Rectangle 48"/>
          <p:cNvSpPr/>
          <p:nvPr/>
        </p:nvSpPr>
        <p:spPr>
          <a:xfrm>
            <a:off x="2376171" y="3843180"/>
            <a:ext cx="1868580" cy="698809"/>
          </a:xfrm>
          <a:prstGeom prst="roundRect">
            <a:avLst>
              <a:gd name="adj" fmla="val 8736"/>
            </a:avLst>
          </a:prstGeom>
          <a:solidFill>
            <a:schemeClr val="accent4"/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50" name="Rounded Rectangle 49"/>
          <p:cNvSpPr/>
          <p:nvPr/>
        </p:nvSpPr>
        <p:spPr>
          <a:xfrm>
            <a:off x="2534896" y="3909085"/>
            <a:ext cx="623794" cy="246329"/>
          </a:xfrm>
          <a:prstGeom prst="round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Java</a:t>
            </a:r>
          </a:p>
        </p:txBody>
      </p:sp>
      <p:sp>
        <p:nvSpPr>
          <p:cNvPr id="51" name="Rounded Rectangle 50"/>
          <p:cNvSpPr/>
          <p:nvPr/>
        </p:nvSpPr>
        <p:spPr>
          <a:xfrm>
            <a:off x="2534896" y="4252058"/>
            <a:ext cx="623794" cy="224775"/>
          </a:xfrm>
          <a:prstGeom prst="round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Scala</a:t>
            </a:r>
          </a:p>
        </p:txBody>
      </p:sp>
      <p:sp>
        <p:nvSpPr>
          <p:cNvPr id="52" name="Rounded Rectangle 51"/>
          <p:cNvSpPr/>
          <p:nvPr/>
        </p:nvSpPr>
        <p:spPr>
          <a:xfrm>
            <a:off x="3432426" y="3909085"/>
            <a:ext cx="623794" cy="253763"/>
          </a:xfrm>
          <a:prstGeom prst="round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Python</a:t>
            </a:r>
          </a:p>
        </p:txBody>
      </p:sp>
      <p:sp>
        <p:nvSpPr>
          <p:cNvPr id="53" name="Rounded Rectangle 52"/>
          <p:cNvSpPr/>
          <p:nvPr/>
        </p:nvSpPr>
        <p:spPr>
          <a:xfrm>
            <a:off x="3432426" y="4252058"/>
            <a:ext cx="623794" cy="218078"/>
          </a:xfrm>
          <a:prstGeom prst="round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R</a:t>
            </a:r>
          </a:p>
        </p:txBody>
      </p:sp>
      <p:sp>
        <p:nvSpPr>
          <p:cNvPr id="54" name="Rounded Rectangle 53"/>
          <p:cNvSpPr/>
          <p:nvPr/>
        </p:nvSpPr>
        <p:spPr>
          <a:xfrm>
            <a:off x="5686874" y="3902964"/>
            <a:ext cx="978870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Visualization</a:t>
            </a:r>
            <a:endParaRPr lang="de-DE" sz="1200" dirty="0"/>
          </a:p>
        </p:txBody>
      </p:sp>
      <p:sp>
        <p:nvSpPr>
          <p:cNvPr id="55" name="Rounded Rectangle 54"/>
          <p:cNvSpPr/>
          <p:nvPr/>
        </p:nvSpPr>
        <p:spPr>
          <a:xfrm>
            <a:off x="5695938" y="4541989"/>
            <a:ext cx="969805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Dashboards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10478370" y="2039252"/>
            <a:ext cx="884485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900" b="1" dirty="0"/>
              <a:t>Administrators</a:t>
            </a:r>
          </a:p>
        </p:txBody>
      </p:sp>
      <p:sp>
        <p:nvSpPr>
          <p:cNvPr id="59" name="Can 58"/>
          <p:cNvSpPr/>
          <p:nvPr/>
        </p:nvSpPr>
        <p:spPr>
          <a:xfrm>
            <a:off x="10686438" y="4583670"/>
            <a:ext cx="468351" cy="597649"/>
          </a:xfrm>
          <a:prstGeom prst="can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SQL</a:t>
            </a:r>
          </a:p>
          <a:p>
            <a:pPr algn="ctr">
              <a:lnSpc>
                <a:spcPct val="90000"/>
              </a:lnSpc>
            </a:pPr>
            <a:r>
              <a:rPr lang="de-DE" sz="1200" dirty="0"/>
              <a:t>DBs</a:t>
            </a:r>
          </a:p>
        </p:txBody>
      </p:sp>
      <p:sp>
        <p:nvSpPr>
          <p:cNvPr id="60" name="Can 59"/>
          <p:cNvSpPr/>
          <p:nvPr/>
        </p:nvSpPr>
        <p:spPr>
          <a:xfrm>
            <a:off x="10682803" y="3843180"/>
            <a:ext cx="468351" cy="597649"/>
          </a:xfrm>
          <a:prstGeom prst="can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Data</a:t>
            </a:r>
          </a:p>
          <a:p>
            <a:pPr algn="ctr">
              <a:lnSpc>
                <a:spcPct val="90000"/>
              </a:lnSpc>
            </a:pPr>
            <a:r>
              <a:rPr lang="de-DE" sz="1200" dirty="0" err="1"/>
              <a:t>Lakes</a:t>
            </a:r>
            <a:endParaRPr lang="de-DE" sz="1200" dirty="0"/>
          </a:p>
        </p:txBody>
      </p:sp>
      <p:sp>
        <p:nvSpPr>
          <p:cNvPr id="61" name="Left-Right Arrow 60"/>
          <p:cNvSpPr/>
          <p:nvPr/>
        </p:nvSpPr>
        <p:spPr>
          <a:xfrm>
            <a:off x="9623170" y="4361097"/>
            <a:ext cx="792088" cy="222573"/>
          </a:xfrm>
          <a:prstGeom prst="leftRightArrow">
            <a:avLst/>
          </a:prstGeom>
          <a:solidFill>
            <a:schemeClr val="bg1">
              <a:lumMod val="65000"/>
            </a:schemeClr>
          </a:solidFill>
          <a:ln w="635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grpSp>
        <p:nvGrpSpPr>
          <p:cNvPr id="78" name="Group 77"/>
          <p:cNvGrpSpPr/>
          <p:nvPr/>
        </p:nvGrpSpPr>
        <p:grpSpPr>
          <a:xfrm>
            <a:off x="2137270" y="5434087"/>
            <a:ext cx="7920708" cy="845554"/>
            <a:chOff x="1958998" y="5538439"/>
            <a:chExt cx="7920708" cy="845554"/>
          </a:xfrm>
        </p:grpSpPr>
        <p:sp>
          <p:nvSpPr>
            <p:cNvPr id="37" name="Up Arrow 36"/>
            <p:cNvSpPr/>
            <p:nvPr/>
          </p:nvSpPr>
          <p:spPr>
            <a:xfrm>
              <a:off x="2835790" y="5538439"/>
              <a:ext cx="274389" cy="396470"/>
            </a:xfrm>
            <a:prstGeom prst="upArrow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de-DE" sz="1600" dirty="0"/>
            </a:p>
          </p:txBody>
        </p:sp>
        <p:sp>
          <p:nvSpPr>
            <p:cNvPr id="38" name="Up Arrow 37"/>
            <p:cNvSpPr/>
            <p:nvPr/>
          </p:nvSpPr>
          <p:spPr>
            <a:xfrm>
              <a:off x="5816176" y="5538439"/>
              <a:ext cx="274389" cy="396470"/>
            </a:xfrm>
            <a:prstGeom prst="upArrow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de-DE" sz="1600"/>
            </a:p>
          </p:txBody>
        </p:sp>
        <p:sp>
          <p:nvSpPr>
            <p:cNvPr id="39" name="Up Arrow 38"/>
            <p:cNvSpPr/>
            <p:nvPr/>
          </p:nvSpPr>
          <p:spPr>
            <a:xfrm>
              <a:off x="8496262" y="5538439"/>
              <a:ext cx="274389" cy="396470"/>
            </a:xfrm>
            <a:prstGeom prst="upArrow">
              <a:avLst/>
            </a:prstGeom>
            <a:solidFill>
              <a:schemeClr val="accent2"/>
            </a:solidFill>
            <a:ln w="63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de-DE" sz="160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263692" y="6172790"/>
              <a:ext cx="88448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900" b="1" dirty="0"/>
                <a:t>Data </a:t>
              </a:r>
              <a:r>
                <a:rPr lang="de-DE" sz="900" b="1" dirty="0" err="1"/>
                <a:t>Scientists</a:t>
              </a:r>
              <a:endParaRPr lang="de-DE" sz="900" b="1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320731" y="6172790"/>
              <a:ext cx="88448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900" b="1" dirty="0"/>
                <a:t>Business Users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8995221" y="6172789"/>
              <a:ext cx="884485" cy="211203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900" b="1" dirty="0"/>
                <a:t>Data </a:t>
              </a:r>
              <a:r>
                <a:rPr lang="de-DE" sz="900" b="1" dirty="0" err="1"/>
                <a:t>Owners</a:t>
              </a:r>
              <a:endParaRPr lang="de-DE" sz="900" b="1" dirty="0"/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1958998" y="5729281"/>
              <a:ext cx="1074134" cy="41125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1100" b="1" dirty="0"/>
                <a:t>Models Development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5114242" y="5729881"/>
              <a:ext cx="730236" cy="41125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1100" b="1" dirty="0" err="1"/>
                <a:t>Decision</a:t>
              </a:r>
              <a:r>
                <a:rPr lang="de-DE" sz="1100" b="1" dirty="0"/>
                <a:t> </a:t>
              </a:r>
            </a:p>
            <a:p>
              <a:r>
                <a:rPr lang="de-DE" sz="1100" b="1" dirty="0"/>
                <a:t>Making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7526162" y="5724128"/>
              <a:ext cx="1074134" cy="411257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r>
                <a:rPr lang="de-DE" sz="1100" b="1" dirty="0"/>
                <a:t>Data </a:t>
              </a:r>
            </a:p>
            <a:p>
              <a:r>
                <a:rPr lang="de-DE" sz="1100" b="1" dirty="0"/>
                <a:t>Management</a:t>
              </a:r>
            </a:p>
          </p:txBody>
        </p:sp>
      </p:grpSp>
      <p:sp>
        <p:nvSpPr>
          <p:cNvPr id="65" name="Rounded Rectangle 64"/>
          <p:cNvSpPr/>
          <p:nvPr/>
        </p:nvSpPr>
        <p:spPr>
          <a:xfrm>
            <a:off x="8316182" y="3906681"/>
            <a:ext cx="895341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000" dirty="0"/>
              <a:t>ETL</a:t>
            </a:r>
          </a:p>
          <a:p>
            <a:pPr algn="ctr">
              <a:lnSpc>
                <a:spcPct val="90000"/>
              </a:lnSpc>
            </a:pPr>
            <a:r>
              <a:rPr lang="de-DE" sz="1000" dirty="0"/>
              <a:t>Service</a:t>
            </a:r>
          </a:p>
        </p:txBody>
      </p:sp>
      <p:sp>
        <p:nvSpPr>
          <p:cNvPr id="66" name="Rounded Rectangle 65"/>
          <p:cNvSpPr/>
          <p:nvPr/>
        </p:nvSpPr>
        <p:spPr>
          <a:xfrm>
            <a:off x="8315936" y="4722813"/>
            <a:ext cx="886276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000" dirty="0"/>
              <a:t>Export</a:t>
            </a:r>
          </a:p>
        </p:txBody>
      </p:sp>
      <p:sp>
        <p:nvSpPr>
          <p:cNvPr id="67" name="Rounded Rectangle 66"/>
          <p:cNvSpPr/>
          <p:nvPr/>
        </p:nvSpPr>
        <p:spPr>
          <a:xfrm>
            <a:off x="8325247" y="4314747"/>
            <a:ext cx="886276" cy="324172"/>
          </a:xfrm>
          <a:prstGeom prst="roundRect">
            <a:avLst/>
          </a:prstGeom>
          <a:solidFill>
            <a:srgbClr val="01964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050" dirty="0"/>
              <a:t>Semi-</a:t>
            </a:r>
            <a:r>
              <a:rPr lang="de-DE" sz="1050" dirty="0" err="1"/>
              <a:t>production</a:t>
            </a:r>
            <a:endParaRPr lang="de-DE" sz="1050" dirty="0"/>
          </a:p>
        </p:txBody>
      </p:sp>
      <p:sp>
        <p:nvSpPr>
          <p:cNvPr id="69" name="Rounded Rectangle 68"/>
          <p:cNvSpPr/>
          <p:nvPr/>
        </p:nvSpPr>
        <p:spPr>
          <a:xfrm>
            <a:off x="2132943" y="5215139"/>
            <a:ext cx="4785030" cy="218948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Remote Desktop</a:t>
            </a:r>
          </a:p>
        </p:txBody>
      </p:sp>
      <p:sp>
        <p:nvSpPr>
          <p:cNvPr id="70" name="Rounded Rectangle 69"/>
          <p:cNvSpPr/>
          <p:nvPr/>
        </p:nvSpPr>
        <p:spPr>
          <a:xfrm>
            <a:off x="7894978" y="5213460"/>
            <a:ext cx="1728192" cy="218948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API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10555646" y="2958334"/>
            <a:ext cx="729934" cy="654401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1400" dirty="0" err="1"/>
              <a:t>External</a:t>
            </a:r>
            <a:endParaRPr lang="de-DE" sz="1400" dirty="0"/>
          </a:p>
          <a:p>
            <a:pPr algn="ctr">
              <a:lnSpc>
                <a:spcPct val="90000"/>
              </a:lnSpc>
            </a:pPr>
            <a:r>
              <a:rPr lang="de-DE" sz="1400" dirty="0"/>
              <a:t>Data </a:t>
            </a:r>
          </a:p>
          <a:p>
            <a:pPr algn="ctr">
              <a:lnSpc>
                <a:spcPct val="90000"/>
              </a:lnSpc>
            </a:pPr>
            <a:r>
              <a:rPr lang="de-DE" sz="1400" dirty="0" err="1"/>
              <a:t>Sources</a:t>
            </a:r>
            <a:endParaRPr lang="de-DE" sz="1400" dirty="0"/>
          </a:p>
        </p:txBody>
      </p:sp>
      <p:sp>
        <p:nvSpPr>
          <p:cNvPr id="73" name="TextBox 72"/>
          <p:cNvSpPr txBox="1"/>
          <p:nvPr/>
        </p:nvSpPr>
        <p:spPr>
          <a:xfrm rot="16200000">
            <a:off x="7599919" y="4339192"/>
            <a:ext cx="1196409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/>
            <a:r>
              <a:rPr lang="de-DE" sz="1400" b="1" dirty="0" err="1"/>
              <a:t>Microservices</a:t>
            </a:r>
            <a:endParaRPr lang="de-DE" sz="1400" b="1" dirty="0"/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63177" y="5937289"/>
            <a:ext cx="428879" cy="684702"/>
          </a:xfrm>
          <a:prstGeom prst="rect">
            <a:avLst/>
          </a:prstGeom>
        </p:spPr>
      </p:pic>
      <p:pic>
        <p:nvPicPr>
          <p:cNvPr id="75" name="Picture 7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8621" y="5895966"/>
            <a:ext cx="428879" cy="684702"/>
          </a:xfrm>
          <a:prstGeom prst="rect">
            <a:avLst/>
          </a:prstGeom>
        </p:spPr>
      </p:pic>
      <p:pic>
        <p:nvPicPr>
          <p:cNvPr id="76" name="Picture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15489" y="5909967"/>
            <a:ext cx="428879" cy="684702"/>
          </a:xfrm>
          <a:prstGeom prst="rect">
            <a:avLst/>
          </a:prstGeom>
        </p:spPr>
      </p:pic>
      <p:pic>
        <p:nvPicPr>
          <p:cNvPr id="77" name="Picture 7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89822" y="1230489"/>
            <a:ext cx="428879" cy="684702"/>
          </a:xfrm>
          <a:prstGeom prst="rect">
            <a:avLst/>
          </a:prstGeom>
        </p:spPr>
      </p:pic>
      <p:sp>
        <p:nvSpPr>
          <p:cNvPr id="74" name="Slide Number Placeholder 3">
            <a:extLst>
              <a:ext uri="{FF2B5EF4-FFF2-40B4-BE49-F238E27FC236}">
                <a16:creationId xmlns:a16="http://schemas.microsoft.com/office/drawing/2014/main" id="{CEEF5723-0819-4A56-B21D-1005A73A77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2" name="Rectangle 1"/>
          <p:cNvSpPr/>
          <p:nvPr/>
        </p:nvSpPr>
        <p:spPr>
          <a:xfrm>
            <a:off x="1126227" y="1432564"/>
            <a:ext cx="691341" cy="1913875"/>
          </a:xfrm>
          <a:prstGeom prst="rect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/>
              <a:t>Jenkins</a:t>
            </a:r>
          </a:p>
          <a:p>
            <a:pPr algn="ctr">
              <a:lnSpc>
                <a:spcPct val="90000"/>
              </a:lnSpc>
            </a:pPr>
            <a:r>
              <a:rPr lang="de-DE" sz="1200" dirty="0" err="1"/>
              <a:t>Git</a:t>
            </a: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/>
              <a:t>Sonar</a:t>
            </a:r>
          </a:p>
          <a:p>
            <a:pPr algn="ctr">
              <a:lnSpc>
                <a:spcPct val="90000"/>
              </a:lnSpc>
            </a:pPr>
            <a:r>
              <a:rPr lang="de-DE" sz="1200" dirty="0" err="1"/>
              <a:t>QRadar</a:t>
            </a: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 err="1"/>
              <a:t>Fortify</a:t>
            </a: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 err="1"/>
              <a:t>e.t.c</a:t>
            </a:r>
            <a:r>
              <a:rPr lang="de-DE" sz="1200" dirty="0"/>
              <a:t>.</a:t>
            </a:r>
          </a:p>
        </p:txBody>
      </p:sp>
      <p:sp>
        <p:nvSpPr>
          <p:cNvPr id="81" name="Left Arrow 80"/>
          <p:cNvSpPr/>
          <p:nvPr/>
        </p:nvSpPr>
        <p:spPr>
          <a:xfrm>
            <a:off x="9557468" y="1578756"/>
            <a:ext cx="1065780" cy="211203"/>
          </a:xfrm>
          <a:prstGeom prst="leftArrow">
            <a:avLst/>
          </a:prstGeom>
          <a:solidFill>
            <a:srgbClr val="00B050"/>
          </a:solidFill>
          <a:ln w="63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" name="TextBox 3"/>
          <p:cNvSpPr txBox="1"/>
          <p:nvPr/>
        </p:nvSpPr>
        <p:spPr>
          <a:xfrm>
            <a:off x="982210" y="1181334"/>
            <a:ext cx="104091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200" b="1" dirty="0"/>
              <a:t>Support Tools</a:t>
            </a:r>
          </a:p>
        </p:txBody>
      </p:sp>
    </p:spTree>
    <p:extLst>
      <p:ext uri="{BB962C8B-B14F-4D97-AF65-F5344CB8AC3E}">
        <p14:creationId xmlns:p14="http://schemas.microsoft.com/office/powerpoint/2010/main" val="40425830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82369"/>
    </mc:Choice>
    <mc:Fallback>
      <p:transition spd="slow" advTm="182369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53513438"/>
              </p:ext>
            </p:extLst>
          </p:nvPr>
        </p:nvGraphicFramePr>
        <p:xfrm>
          <a:off x="732903" y="1305647"/>
          <a:ext cx="10488612" cy="4922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Model Development Lifecyc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2</a:t>
            </a:fld>
            <a:endParaRPr lang="en-GB" noProof="0" dirty="0"/>
          </a:p>
        </p:txBody>
      </p:sp>
      <p:sp>
        <p:nvSpPr>
          <p:cNvPr id="7" name="Can 6"/>
          <p:cNvSpPr/>
          <p:nvPr/>
        </p:nvSpPr>
        <p:spPr>
          <a:xfrm>
            <a:off x="955962" y="1584518"/>
            <a:ext cx="839585" cy="806334"/>
          </a:xfrm>
          <a:prstGeom prst="can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Data</a:t>
            </a:r>
          </a:p>
          <a:p>
            <a:pPr algn="ctr">
              <a:lnSpc>
                <a:spcPct val="90000"/>
              </a:lnSpc>
            </a:pPr>
            <a:r>
              <a:rPr lang="de-DE" sz="1600" dirty="0" err="1"/>
              <a:t>Sources</a:t>
            </a:r>
            <a:endParaRPr lang="de-DE" sz="1600" dirty="0"/>
          </a:p>
        </p:txBody>
      </p:sp>
      <p:sp>
        <p:nvSpPr>
          <p:cNvPr id="8" name="Right Arrow 7"/>
          <p:cNvSpPr/>
          <p:nvPr/>
        </p:nvSpPr>
        <p:spPr>
          <a:xfrm rot="5400000">
            <a:off x="1043244" y="2666558"/>
            <a:ext cx="665018" cy="266007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2840883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4383"/>
    </mc:Choice>
    <mc:Fallback>
      <p:transition spd="slow" advTm="144383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3130140"/>
              </p:ext>
            </p:extLst>
          </p:nvPr>
        </p:nvGraphicFramePr>
        <p:xfrm>
          <a:off x="732903" y="1305647"/>
          <a:ext cx="10488612" cy="49228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Science Model Development Lifecyc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3</a:t>
            </a:fld>
            <a:endParaRPr lang="en-GB" noProof="0" dirty="0"/>
          </a:p>
        </p:txBody>
      </p:sp>
      <p:sp>
        <p:nvSpPr>
          <p:cNvPr id="7" name="Can 6"/>
          <p:cNvSpPr/>
          <p:nvPr/>
        </p:nvSpPr>
        <p:spPr>
          <a:xfrm>
            <a:off x="955962" y="1584518"/>
            <a:ext cx="839585" cy="806334"/>
          </a:xfrm>
          <a:prstGeom prst="can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Data</a:t>
            </a:r>
          </a:p>
          <a:p>
            <a:pPr algn="ctr">
              <a:lnSpc>
                <a:spcPct val="90000"/>
              </a:lnSpc>
            </a:pPr>
            <a:r>
              <a:rPr lang="de-DE" sz="1600" dirty="0" err="1"/>
              <a:t>Sources</a:t>
            </a:r>
            <a:endParaRPr lang="de-DE" sz="1600" dirty="0"/>
          </a:p>
        </p:txBody>
      </p:sp>
      <p:sp>
        <p:nvSpPr>
          <p:cNvPr id="8" name="Right Arrow 7"/>
          <p:cNvSpPr/>
          <p:nvPr/>
        </p:nvSpPr>
        <p:spPr>
          <a:xfrm rot="5400000">
            <a:off x="1043244" y="2666558"/>
            <a:ext cx="665018" cy="266007"/>
          </a:xfrm>
          <a:prstGeom prst="rightArrow">
            <a:avLst/>
          </a:prstGeom>
          <a:solidFill>
            <a:schemeClr val="bg1">
              <a:lumMod val="6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grpSp>
        <p:nvGrpSpPr>
          <p:cNvPr id="9" name="Group 8"/>
          <p:cNvGrpSpPr/>
          <p:nvPr/>
        </p:nvGrpSpPr>
        <p:grpSpPr>
          <a:xfrm>
            <a:off x="1091586" y="4132300"/>
            <a:ext cx="1134951" cy="752400"/>
            <a:chOff x="235134" y="2305778"/>
            <a:chExt cx="1134951" cy="752400"/>
          </a:xfrm>
        </p:grpSpPr>
        <p:sp>
          <p:nvSpPr>
            <p:cNvPr id="26" name="Rounded Rectangle 25"/>
            <p:cNvSpPr/>
            <p:nvPr/>
          </p:nvSpPr>
          <p:spPr>
            <a:xfrm>
              <a:off x="235134" y="2305778"/>
              <a:ext cx="1134951" cy="752400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Rounded Rectangle 4"/>
            <p:cNvSpPr/>
            <p:nvPr/>
          </p:nvSpPr>
          <p:spPr>
            <a:xfrm>
              <a:off x="257171" y="2327815"/>
              <a:ext cx="1090877" cy="7083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ETL Service</a:t>
              </a:r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API-</a:t>
              </a:r>
              <a:r>
                <a:rPr lang="de-DE" sz="1100" kern="1200" dirty="0" err="1"/>
                <a:t>based</a:t>
              </a:r>
              <a:endParaRPr lang="de-DE" sz="1100" kern="1200" dirty="0"/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 err="1"/>
                <a:t>Microservice</a:t>
              </a:r>
              <a:endParaRPr lang="de-DE" sz="1100" kern="12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914756" y="4132300"/>
            <a:ext cx="1134951" cy="752400"/>
            <a:chOff x="2058304" y="2305778"/>
            <a:chExt cx="1134951" cy="752400"/>
          </a:xfrm>
        </p:grpSpPr>
        <p:sp>
          <p:nvSpPr>
            <p:cNvPr id="24" name="Rounded Rectangle 23"/>
            <p:cNvSpPr/>
            <p:nvPr/>
          </p:nvSpPr>
          <p:spPr>
            <a:xfrm>
              <a:off x="2058304" y="2305778"/>
              <a:ext cx="1134951" cy="752400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Rounded Rectangle 6"/>
            <p:cNvSpPr/>
            <p:nvPr/>
          </p:nvSpPr>
          <p:spPr>
            <a:xfrm>
              <a:off x="2080341" y="2327815"/>
              <a:ext cx="1090877" cy="7083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Table </a:t>
              </a:r>
              <a:r>
                <a:rPr lang="de-DE" sz="1100" kern="1200" dirty="0" err="1"/>
                <a:t>Profiler</a:t>
              </a:r>
              <a:endParaRPr lang="de-DE" sz="1100" kern="1200" dirty="0"/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API-</a:t>
              </a:r>
              <a:r>
                <a:rPr lang="de-DE" sz="1100" kern="1200" dirty="0" err="1"/>
                <a:t>based</a:t>
              </a:r>
              <a:endParaRPr lang="de-DE" sz="1100" kern="1200" dirty="0"/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Utility</a:t>
              </a:r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dirty="0"/>
                <a:t>Library</a:t>
              </a:r>
              <a:endParaRPr lang="de-DE" sz="1100" kern="1200" dirty="0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4737927" y="4132300"/>
            <a:ext cx="1134951" cy="752400"/>
            <a:chOff x="3881475" y="2305778"/>
            <a:chExt cx="1134951" cy="752400"/>
          </a:xfrm>
        </p:grpSpPr>
        <p:sp>
          <p:nvSpPr>
            <p:cNvPr id="22" name="Rounded Rectangle 21"/>
            <p:cNvSpPr/>
            <p:nvPr/>
          </p:nvSpPr>
          <p:spPr>
            <a:xfrm>
              <a:off x="3881475" y="2305778"/>
              <a:ext cx="1134951" cy="752400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Rounded Rectangle 8"/>
            <p:cNvSpPr/>
            <p:nvPr/>
          </p:nvSpPr>
          <p:spPr>
            <a:xfrm>
              <a:off x="3903512" y="2327815"/>
              <a:ext cx="1090877" cy="7083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Manual </a:t>
              </a:r>
              <a:r>
                <a:rPr lang="de-DE" sz="1100" kern="1200" dirty="0" err="1"/>
                <a:t>work</a:t>
              </a:r>
              <a:endParaRPr lang="de-DE" sz="1100" kern="1200" dirty="0"/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561097" y="4132300"/>
            <a:ext cx="1134951" cy="752400"/>
            <a:chOff x="5704645" y="2305778"/>
            <a:chExt cx="1134951" cy="752400"/>
          </a:xfrm>
        </p:grpSpPr>
        <p:sp>
          <p:nvSpPr>
            <p:cNvPr id="20" name="Rounded Rectangle 19"/>
            <p:cNvSpPr/>
            <p:nvPr/>
          </p:nvSpPr>
          <p:spPr>
            <a:xfrm>
              <a:off x="5704645" y="2305778"/>
              <a:ext cx="1134951" cy="752400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Rounded Rectangle 10"/>
            <p:cNvSpPr/>
            <p:nvPr/>
          </p:nvSpPr>
          <p:spPr>
            <a:xfrm>
              <a:off x="5726682" y="2327815"/>
              <a:ext cx="1090877" cy="7083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 err="1"/>
                <a:t>Autofeat</a:t>
              </a:r>
              <a:endParaRPr lang="de-DE" sz="1100" kern="1200" dirty="0"/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 err="1"/>
                <a:t>Api-based</a:t>
              </a:r>
              <a:endParaRPr lang="de-DE" sz="1100" kern="1200" dirty="0"/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dirty="0"/>
                <a:t>Utility</a:t>
              </a:r>
              <a:endParaRPr lang="de-DE" sz="1100" kern="1200" dirty="0"/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Library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8384267" y="4132300"/>
            <a:ext cx="1134951" cy="752400"/>
            <a:chOff x="7527815" y="2305778"/>
            <a:chExt cx="1134951" cy="752400"/>
          </a:xfrm>
        </p:grpSpPr>
        <p:sp>
          <p:nvSpPr>
            <p:cNvPr id="18" name="Rounded Rectangle 17"/>
            <p:cNvSpPr/>
            <p:nvPr/>
          </p:nvSpPr>
          <p:spPr>
            <a:xfrm>
              <a:off x="7527815" y="2305778"/>
              <a:ext cx="1134951" cy="752400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ounded Rectangle 12"/>
            <p:cNvSpPr/>
            <p:nvPr/>
          </p:nvSpPr>
          <p:spPr>
            <a:xfrm>
              <a:off x="7549852" y="2327815"/>
              <a:ext cx="1090877" cy="7083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ZIP</a:t>
              </a:r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Library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0207437" y="4132300"/>
            <a:ext cx="1134951" cy="752400"/>
            <a:chOff x="9350985" y="2305778"/>
            <a:chExt cx="1134951" cy="752400"/>
          </a:xfrm>
        </p:grpSpPr>
        <p:sp>
          <p:nvSpPr>
            <p:cNvPr id="16" name="Rounded Rectangle 15"/>
            <p:cNvSpPr/>
            <p:nvPr/>
          </p:nvSpPr>
          <p:spPr>
            <a:xfrm>
              <a:off x="9350985" y="2305778"/>
              <a:ext cx="1134951" cy="752400"/>
            </a:xfrm>
            <a:prstGeom prst="roundRect">
              <a:avLst>
                <a:gd name="adj" fmla="val 10000"/>
              </a:avLst>
            </a:prstGeom>
            <a:solidFill>
              <a:schemeClr val="bg1">
                <a:alpha val="9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Rounded Rectangle 14"/>
            <p:cNvSpPr/>
            <p:nvPr/>
          </p:nvSpPr>
          <p:spPr>
            <a:xfrm>
              <a:off x="9373022" y="2327815"/>
              <a:ext cx="1090877" cy="7083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232" tIns="78232" rIns="78232" bIns="78232" numCol="1" spcCol="1270" anchor="t" anchorCtr="0">
              <a:noAutofit/>
            </a:bodyPr>
            <a:lstStyle/>
            <a:p>
              <a:pPr marL="57150" lvl="1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FIT</a:t>
              </a:r>
            </a:p>
            <a:p>
              <a:pPr marL="114300" lvl="2" indent="-57150" algn="l" defTabSz="4889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de-DE" sz="1100" kern="1200" dirty="0"/>
                <a:t>Utilit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65873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65215"/>
    </mc:Choice>
    <mc:Fallback>
      <p:transition spd="slow" advTm="165215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LT Servi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4</a:t>
            </a:fld>
            <a:endParaRPr lang="en-GB" noProof="0" dirty="0"/>
          </a:p>
        </p:txBody>
      </p:sp>
      <p:sp>
        <p:nvSpPr>
          <p:cNvPr id="7" name="Abgerundetes Rechteck 41"/>
          <p:cNvSpPr/>
          <p:nvPr/>
        </p:nvSpPr>
        <p:spPr>
          <a:xfrm>
            <a:off x="2664692" y="2313738"/>
            <a:ext cx="1332401" cy="1746657"/>
          </a:xfrm>
          <a:prstGeom prst="roundRect">
            <a:avLst>
              <a:gd name="adj" fmla="val 11815"/>
            </a:avLst>
          </a:prstGeom>
          <a:solidFill>
            <a:srgbClr val="FF620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100" b="1" dirty="0"/>
              <a:t>ETL</a:t>
            </a:r>
          </a:p>
          <a:p>
            <a:pPr algn="ctr">
              <a:lnSpc>
                <a:spcPct val="90000"/>
              </a:lnSpc>
            </a:pPr>
            <a:r>
              <a:rPr lang="de-DE" sz="1100" b="1" dirty="0" err="1"/>
              <a:t>Microservice</a:t>
            </a:r>
            <a:endParaRPr lang="de-DE" sz="1100" b="1" dirty="0"/>
          </a:p>
          <a:p>
            <a:pPr algn="ctr">
              <a:lnSpc>
                <a:spcPct val="90000"/>
              </a:lnSpc>
            </a:pPr>
            <a:r>
              <a:rPr lang="de-DE" sz="1100" b="1" dirty="0"/>
              <a:t>Layer</a:t>
            </a:r>
            <a:endParaRPr lang="en-US" sz="1100" b="1" dirty="0"/>
          </a:p>
        </p:txBody>
      </p:sp>
      <p:sp>
        <p:nvSpPr>
          <p:cNvPr id="8" name="Abgerundetes Rechteck 44"/>
          <p:cNvSpPr/>
          <p:nvPr/>
        </p:nvSpPr>
        <p:spPr>
          <a:xfrm>
            <a:off x="6018618" y="2255000"/>
            <a:ext cx="2808312" cy="1746656"/>
          </a:xfrm>
          <a:prstGeom prst="roundRect">
            <a:avLst>
              <a:gd name="adj" fmla="val 9264"/>
            </a:avLst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400" b="1" dirty="0"/>
              <a:t>HDFS</a:t>
            </a:r>
          </a:p>
          <a:p>
            <a:pPr algn="ctr">
              <a:lnSpc>
                <a:spcPct val="90000"/>
              </a:lnSpc>
            </a:pPr>
            <a:endParaRPr lang="de-DE" sz="1400" b="1" dirty="0"/>
          </a:p>
          <a:p>
            <a:pPr algn="ctr">
              <a:lnSpc>
                <a:spcPct val="90000"/>
              </a:lnSpc>
            </a:pPr>
            <a:r>
              <a:rPr lang="de-DE" sz="1400" b="1" dirty="0"/>
              <a:t>/</a:t>
            </a:r>
            <a:r>
              <a:rPr lang="de-DE" sz="1400" b="1" dirty="0" err="1"/>
              <a:t>filepath</a:t>
            </a:r>
            <a:r>
              <a:rPr lang="de-DE" sz="1400" b="1" dirty="0"/>
              <a:t>/</a:t>
            </a:r>
            <a:r>
              <a:rPr lang="de-DE" sz="1400" b="1" dirty="0" err="1"/>
              <a:t>partition</a:t>
            </a:r>
            <a:r>
              <a:rPr lang="de-DE" sz="1400" b="1" dirty="0"/>
              <a:t>=&lt;</a:t>
            </a:r>
            <a:r>
              <a:rPr lang="de-DE" sz="1400" b="1" dirty="0" err="1"/>
              <a:t>value</a:t>
            </a:r>
            <a:r>
              <a:rPr lang="de-DE" sz="1400" b="1" dirty="0"/>
              <a:t>&gt;</a:t>
            </a:r>
          </a:p>
          <a:p>
            <a:pPr algn="ctr">
              <a:lnSpc>
                <a:spcPct val="90000"/>
              </a:lnSpc>
            </a:pPr>
            <a:r>
              <a:rPr lang="de-DE" sz="1400" b="1" dirty="0"/>
              <a:t>                   |___part1</a:t>
            </a:r>
          </a:p>
          <a:p>
            <a:pPr algn="ctr">
              <a:lnSpc>
                <a:spcPct val="90000"/>
              </a:lnSpc>
            </a:pPr>
            <a:r>
              <a:rPr lang="de-DE" sz="1400" b="1" dirty="0"/>
              <a:t>                   |___part2</a:t>
            </a:r>
          </a:p>
          <a:p>
            <a:pPr algn="ctr">
              <a:lnSpc>
                <a:spcPct val="90000"/>
              </a:lnSpc>
            </a:pPr>
            <a:r>
              <a:rPr lang="de-DE" sz="1400" b="1" dirty="0"/>
              <a:t>    …</a:t>
            </a:r>
            <a:endParaRPr lang="en-US" sz="1400" b="1" dirty="0"/>
          </a:p>
          <a:p>
            <a:pPr algn="ctr">
              <a:lnSpc>
                <a:spcPct val="90000"/>
              </a:lnSpc>
            </a:pPr>
            <a:r>
              <a:rPr lang="de-DE" sz="1400" b="1" dirty="0"/>
              <a:t>                    |___</a:t>
            </a:r>
            <a:r>
              <a:rPr lang="de-DE" sz="1400" b="1" dirty="0" err="1"/>
              <a:t>partN</a:t>
            </a:r>
            <a:endParaRPr lang="en-US" sz="1400" b="1" dirty="0"/>
          </a:p>
          <a:p>
            <a:pPr algn="ctr">
              <a:lnSpc>
                <a:spcPct val="90000"/>
              </a:lnSpc>
            </a:pPr>
            <a:endParaRPr lang="en-US" sz="1400" b="1" dirty="0"/>
          </a:p>
        </p:txBody>
      </p:sp>
      <p:sp>
        <p:nvSpPr>
          <p:cNvPr id="2" name="Right Arrow 1"/>
          <p:cNvSpPr/>
          <p:nvPr/>
        </p:nvSpPr>
        <p:spPr>
          <a:xfrm>
            <a:off x="4663657" y="3066380"/>
            <a:ext cx="937885" cy="196343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8" name="Rounded Rectangle 17"/>
          <p:cNvSpPr/>
          <p:nvPr/>
        </p:nvSpPr>
        <p:spPr>
          <a:xfrm>
            <a:off x="3436179" y="3682722"/>
            <a:ext cx="907810" cy="564995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9" name="Rounded Rectangle 18"/>
          <p:cNvSpPr/>
          <p:nvPr/>
        </p:nvSpPr>
        <p:spPr>
          <a:xfrm>
            <a:off x="3603423" y="3826953"/>
            <a:ext cx="907810" cy="564995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0" name="Rounded Rectangle 19"/>
          <p:cNvSpPr/>
          <p:nvPr/>
        </p:nvSpPr>
        <p:spPr>
          <a:xfrm>
            <a:off x="3755847" y="4001656"/>
            <a:ext cx="907810" cy="564995"/>
          </a:xfrm>
          <a:prstGeom prst="roundRect">
            <a:avLst/>
          </a:prstGeom>
          <a:solidFill>
            <a:schemeClr val="tx2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100" dirty="0" err="1"/>
              <a:t>Pluggable</a:t>
            </a:r>
            <a:endParaRPr lang="de-DE" sz="1100" dirty="0"/>
          </a:p>
          <a:p>
            <a:pPr algn="ctr">
              <a:lnSpc>
                <a:spcPct val="90000"/>
              </a:lnSpc>
            </a:pPr>
            <a:r>
              <a:rPr lang="de-DE" sz="1100" dirty="0"/>
              <a:t>post-upload</a:t>
            </a:r>
          </a:p>
          <a:p>
            <a:pPr algn="ctr">
              <a:lnSpc>
                <a:spcPct val="90000"/>
              </a:lnSpc>
            </a:pPr>
            <a:r>
              <a:rPr lang="de-DE" sz="1100" dirty="0" err="1"/>
              <a:t>actions</a:t>
            </a:r>
            <a:endParaRPr lang="de-DE" sz="1100" dirty="0"/>
          </a:p>
        </p:txBody>
      </p:sp>
      <p:sp>
        <p:nvSpPr>
          <p:cNvPr id="6" name="TextBox 5"/>
          <p:cNvSpPr txBox="1"/>
          <p:nvPr/>
        </p:nvSpPr>
        <p:spPr>
          <a:xfrm>
            <a:off x="4519969" y="2247015"/>
            <a:ext cx="1225263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Split </a:t>
            </a:r>
            <a:r>
              <a:rPr lang="de-DE" sz="1400" dirty="0" err="1"/>
              <a:t>file</a:t>
            </a:r>
            <a:r>
              <a:rPr lang="de-DE" sz="1400" dirty="0"/>
              <a:t> </a:t>
            </a:r>
            <a:r>
              <a:rPr lang="de-DE" sz="1400" dirty="0" err="1"/>
              <a:t>into</a:t>
            </a:r>
            <a:endParaRPr lang="de-DE" sz="1400" dirty="0"/>
          </a:p>
          <a:p>
            <a:r>
              <a:rPr lang="de-DE" sz="1400" dirty="0" err="1"/>
              <a:t>small</a:t>
            </a:r>
            <a:r>
              <a:rPr lang="de-DE" sz="1400" dirty="0"/>
              <a:t> </a:t>
            </a:r>
            <a:r>
              <a:rPr lang="de-DE" sz="1400" dirty="0" err="1"/>
              <a:t>bunches</a:t>
            </a:r>
            <a:endParaRPr lang="de-DE" sz="1400" dirty="0"/>
          </a:p>
        </p:txBody>
      </p:sp>
      <p:sp>
        <p:nvSpPr>
          <p:cNvPr id="5" name="Bent-Up Arrow 4"/>
          <p:cNvSpPr/>
          <p:nvPr/>
        </p:nvSpPr>
        <p:spPr>
          <a:xfrm>
            <a:off x="4830832" y="4001656"/>
            <a:ext cx="2591942" cy="410343"/>
          </a:xfrm>
          <a:prstGeom prst="bentUp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2" name="TextBox 11"/>
          <p:cNvSpPr txBox="1"/>
          <p:nvPr/>
        </p:nvSpPr>
        <p:spPr>
          <a:xfrm>
            <a:off x="5514171" y="4566651"/>
            <a:ext cx="1632425" cy="50359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Distribute</a:t>
            </a:r>
            <a:r>
              <a:rPr lang="de-DE" sz="1400" dirty="0"/>
              <a:t> </a:t>
            </a:r>
            <a:r>
              <a:rPr lang="de-DE" sz="1400" dirty="0" err="1"/>
              <a:t>workload</a:t>
            </a:r>
            <a:endParaRPr lang="de-DE" sz="1400" dirty="0"/>
          </a:p>
          <a:p>
            <a:r>
              <a:rPr lang="de-DE" sz="1400" dirty="0"/>
              <a:t>on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cluster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772039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0382"/>
    </mc:Choice>
    <mc:Fallback>
      <p:transition spd="slow" advTm="120382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le </a:t>
            </a:r>
            <a:r>
              <a:rPr lang="de-DE" dirty="0" err="1"/>
              <a:t>Profiler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5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2305050" y="1765300"/>
            <a:ext cx="2044700" cy="123190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Driver</a:t>
            </a:r>
          </a:p>
        </p:txBody>
      </p:sp>
      <p:sp>
        <p:nvSpPr>
          <p:cNvPr id="8" name="Rectangle 7"/>
          <p:cNvSpPr/>
          <p:nvPr/>
        </p:nvSpPr>
        <p:spPr>
          <a:xfrm>
            <a:off x="2305050" y="3575050"/>
            <a:ext cx="2044700" cy="1231900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HTML Generator</a:t>
            </a:r>
          </a:p>
        </p:txBody>
      </p:sp>
      <p:sp>
        <p:nvSpPr>
          <p:cNvPr id="6" name="Rectangle 5"/>
          <p:cNvSpPr/>
          <p:nvPr/>
        </p:nvSpPr>
        <p:spPr>
          <a:xfrm>
            <a:off x="6889750" y="22796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9" name="Rounded Rectangle 8"/>
          <p:cNvSpPr/>
          <p:nvPr/>
        </p:nvSpPr>
        <p:spPr>
          <a:xfrm>
            <a:off x="1409700" y="1104900"/>
            <a:ext cx="3784600" cy="4064000"/>
          </a:xfrm>
          <a:prstGeom prst="round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>
                <a:solidFill>
                  <a:schemeClr val="tx2"/>
                </a:solidFill>
              </a:rPr>
              <a:t>User Area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146800" y="1104900"/>
            <a:ext cx="3784600" cy="4064000"/>
          </a:xfrm>
          <a:prstGeom prst="roundRect">
            <a:avLst/>
          </a:prstGeom>
          <a:noFill/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>
                <a:solidFill>
                  <a:schemeClr val="accent3"/>
                </a:solidFill>
              </a:rPr>
              <a:t>Cluster Are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042150" y="24320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14" name="Rectangle 13"/>
          <p:cNvSpPr/>
          <p:nvPr/>
        </p:nvSpPr>
        <p:spPr>
          <a:xfrm>
            <a:off x="7194550" y="25844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15" name="Rectangle 14"/>
          <p:cNvSpPr/>
          <p:nvPr/>
        </p:nvSpPr>
        <p:spPr>
          <a:xfrm>
            <a:off x="7346950" y="27368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16" name="Rectangle 15"/>
          <p:cNvSpPr/>
          <p:nvPr/>
        </p:nvSpPr>
        <p:spPr>
          <a:xfrm>
            <a:off x="7499350" y="28892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17" name="Rectangle 16"/>
          <p:cNvSpPr/>
          <p:nvPr/>
        </p:nvSpPr>
        <p:spPr>
          <a:xfrm>
            <a:off x="7651750" y="30416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18" name="Rectangle 17"/>
          <p:cNvSpPr/>
          <p:nvPr/>
        </p:nvSpPr>
        <p:spPr>
          <a:xfrm>
            <a:off x="7804150" y="3194050"/>
            <a:ext cx="1460500" cy="838200"/>
          </a:xfrm>
          <a:prstGeom prst="rect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Aggregation </a:t>
            </a:r>
            <a:r>
              <a:rPr lang="de-DE" sz="1600" dirty="0" err="1"/>
              <a:t>Functions</a:t>
            </a:r>
            <a:endParaRPr lang="de-DE" sz="1600" dirty="0"/>
          </a:p>
        </p:txBody>
      </p:sp>
      <p:sp>
        <p:nvSpPr>
          <p:cNvPr id="10" name="Right Arrow 9"/>
          <p:cNvSpPr/>
          <p:nvPr/>
        </p:nvSpPr>
        <p:spPr>
          <a:xfrm>
            <a:off x="4597400" y="2127250"/>
            <a:ext cx="2120900" cy="457200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Orchestrates</a:t>
            </a:r>
            <a:endParaRPr lang="de-DE" sz="1600" dirty="0"/>
          </a:p>
        </p:txBody>
      </p:sp>
      <p:sp>
        <p:nvSpPr>
          <p:cNvPr id="11" name="Left Arrow 10"/>
          <p:cNvSpPr/>
          <p:nvPr/>
        </p:nvSpPr>
        <p:spPr>
          <a:xfrm>
            <a:off x="4597400" y="2698750"/>
            <a:ext cx="2120900" cy="419100"/>
          </a:xfrm>
          <a:prstGeom prst="leftArrow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Results</a:t>
            </a:r>
            <a:endParaRPr lang="de-DE" sz="1600" dirty="0"/>
          </a:p>
        </p:txBody>
      </p:sp>
      <p:sp>
        <p:nvSpPr>
          <p:cNvPr id="19" name="Down Arrow 18"/>
          <p:cNvSpPr/>
          <p:nvPr/>
        </p:nvSpPr>
        <p:spPr>
          <a:xfrm>
            <a:off x="3162300" y="3041650"/>
            <a:ext cx="342900" cy="476250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3505200" y="3155950"/>
            <a:ext cx="89825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Generates</a:t>
            </a:r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193" y="5400675"/>
            <a:ext cx="9231313" cy="78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68485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79995"/>
    </mc:Choice>
    <mc:Fallback>
      <p:transition spd="slow" advTm="379995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gregation </a:t>
            </a:r>
            <a:r>
              <a:rPr lang="de-DE" dirty="0" err="1"/>
              <a:t>Principle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6</a:t>
            </a:fld>
            <a:endParaRPr lang="en-GB" noProof="0" dirty="0"/>
          </a:p>
        </p:txBody>
      </p:sp>
      <p:sp>
        <p:nvSpPr>
          <p:cNvPr id="5" name="Oval 4"/>
          <p:cNvSpPr/>
          <p:nvPr/>
        </p:nvSpPr>
        <p:spPr>
          <a:xfrm>
            <a:off x="2095500" y="1714500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cc1, v1</a:t>
            </a:r>
          </a:p>
        </p:txBody>
      </p:sp>
      <p:sp>
        <p:nvSpPr>
          <p:cNvPr id="6" name="Oval 5"/>
          <p:cNvSpPr/>
          <p:nvPr/>
        </p:nvSpPr>
        <p:spPr>
          <a:xfrm>
            <a:off x="2095500" y="2798372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cc2, v2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38185" y="1964126"/>
            <a:ext cx="808482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educe</a:t>
            </a:r>
            <a:r>
              <a:rPr lang="de-DE" sz="1400" dirty="0"/>
              <a:t> 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38185" y="3035297"/>
            <a:ext cx="808482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educe</a:t>
            </a:r>
            <a:r>
              <a:rPr lang="de-DE" sz="1400" dirty="0"/>
              <a:t> 2</a:t>
            </a:r>
          </a:p>
        </p:txBody>
      </p:sp>
      <p:sp>
        <p:nvSpPr>
          <p:cNvPr id="9" name="Right Arrow 8"/>
          <p:cNvSpPr/>
          <p:nvPr/>
        </p:nvSpPr>
        <p:spPr>
          <a:xfrm>
            <a:off x="3543300" y="1964126"/>
            <a:ext cx="990600" cy="288147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0" name="Oval 9"/>
          <p:cNvSpPr/>
          <p:nvPr/>
        </p:nvSpPr>
        <p:spPr>
          <a:xfrm>
            <a:off x="4610100" y="1714500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cc11</a:t>
            </a:r>
          </a:p>
        </p:txBody>
      </p:sp>
      <p:sp>
        <p:nvSpPr>
          <p:cNvPr id="11" name="Oval 10"/>
          <p:cNvSpPr/>
          <p:nvPr/>
        </p:nvSpPr>
        <p:spPr>
          <a:xfrm>
            <a:off x="4610100" y="2798372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cc22</a:t>
            </a:r>
          </a:p>
        </p:txBody>
      </p:sp>
      <p:sp>
        <p:nvSpPr>
          <p:cNvPr id="12" name="Right Arrow 11"/>
          <p:cNvSpPr/>
          <p:nvPr/>
        </p:nvSpPr>
        <p:spPr>
          <a:xfrm>
            <a:off x="3543300" y="3035297"/>
            <a:ext cx="990600" cy="288147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5" name="Oval 14"/>
          <p:cNvSpPr/>
          <p:nvPr/>
        </p:nvSpPr>
        <p:spPr>
          <a:xfrm>
            <a:off x="6515100" y="2305813"/>
            <a:ext cx="1892300" cy="677473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cc11, acc22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521700" y="2516781"/>
            <a:ext cx="930310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Combine 1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48100" y="3585772"/>
            <a:ext cx="128809" cy="90370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b="1" dirty="0"/>
              <a:t>.</a:t>
            </a:r>
          </a:p>
          <a:p>
            <a:r>
              <a:rPr lang="de-DE" b="1" dirty="0"/>
              <a:t>.</a:t>
            </a:r>
          </a:p>
          <a:p>
            <a:r>
              <a:rPr lang="de-DE" b="1" dirty="0"/>
              <a:t>.</a:t>
            </a:r>
          </a:p>
        </p:txBody>
      </p:sp>
      <p:sp>
        <p:nvSpPr>
          <p:cNvPr id="23" name="Right Arrow 22"/>
          <p:cNvSpPr/>
          <p:nvPr/>
        </p:nvSpPr>
        <p:spPr>
          <a:xfrm rot="2062762">
            <a:off x="6007099" y="2215716"/>
            <a:ext cx="571500" cy="180194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4" name="Right Arrow 23"/>
          <p:cNvSpPr/>
          <p:nvPr/>
        </p:nvSpPr>
        <p:spPr>
          <a:xfrm rot="19891427">
            <a:off x="5986971" y="2923716"/>
            <a:ext cx="571500" cy="180194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9" name="Oval 28"/>
          <p:cNvSpPr/>
          <p:nvPr/>
        </p:nvSpPr>
        <p:spPr>
          <a:xfrm>
            <a:off x="2095500" y="4216400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accX</a:t>
            </a:r>
            <a:r>
              <a:rPr lang="de-DE" sz="1600" dirty="0"/>
              <a:t>, </a:t>
            </a:r>
            <a:r>
              <a:rPr lang="de-DE" sz="1600" dirty="0" err="1"/>
              <a:t>vX</a:t>
            </a:r>
            <a:endParaRPr lang="de-DE" sz="1600" dirty="0"/>
          </a:p>
        </p:txBody>
      </p:sp>
      <p:sp>
        <p:nvSpPr>
          <p:cNvPr id="30" name="Oval 29"/>
          <p:cNvSpPr/>
          <p:nvPr/>
        </p:nvSpPr>
        <p:spPr>
          <a:xfrm>
            <a:off x="2095500" y="5300272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accN</a:t>
            </a:r>
            <a:r>
              <a:rPr lang="de-DE" sz="1600" dirty="0"/>
              <a:t>, </a:t>
            </a:r>
            <a:r>
              <a:rPr lang="de-DE" sz="1600" dirty="0" err="1"/>
              <a:t>vN</a:t>
            </a:r>
            <a:endParaRPr lang="de-DE" sz="1600" dirty="0"/>
          </a:p>
        </p:txBody>
      </p:sp>
      <p:sp>
        <p:nvSpPr>
          <p:cNvPr id="31" name="TextBox 30"/>
          <p:cNvSpPr txBox="1"/>
          <p:nvPr/>
        </p:nvSpPr>
        <p:spPr>
          <a:xfrm>
            <a:off x="1038184" y="4466025"/>
            <a:ext cx="999239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educe</a:t>
            </a:r>
            <a:r>
              <a:rPr lang="de-DE" sz="1400" dirty="0"/>
              <a:t> N-1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1038185" y="5549898"/>
            <a:ext cx="83092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educe</a:t>
            </a:r>
            <a:r>
              <a:rPr lang="de-DE" sz="1400" dirty="0"/>
              <a:t> N</a:t>
            </a:r>
          </a:p>
        </p:txBody>
      </p:sp>
      <p:sp>
        <p:nvSpPr>
          <p:cNvPr id="33" name="Right Arrow 32"/>
          <p:cNvSpPr/>
          <p:nvPr/>
        </p:nvSpPr>
        <p:spPr>
          <a:xfrm>
            <a:off x="3543300" y="4466026"/>
            <a:ext cx="990600" cy="288147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4" name="Oval 33"/>
          <p:cNvSpPr/>
          <p:nvPr/>
        </p:nvSpPr>
        <p:spPr>
          <a:xfrm>
            <a:off x="4610100" y="4216400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accXX</a:t>
            </a:r>
            <a:endParaRPr lang="de-DE" sz="1600" dirty="0"/>
          </a:p>
        </p:txBody>
      </p:sp>
      <p:sp>
        <p:nvSpPr>
          <p:cNvPr id="35" name="Oval 34"/>
          <p:cNvSpPr/>
          <p:nvPr/>
        </p:nvSpPr>
        <p:spPr>
          <a:xfrm>
            <a:off x="4610100" y="5300272"/>
            <a:ext cx="1308100" cy="787400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accNN</a:t>
            </a:r>
            <a:endParaRPr lang="de-DE" sz="1600" dirty="0"/>
          </a:p>
        </p:txBody>
      </p:sp>
      <p:sp>
        <p:nvSpPr>
          <p:cNvPr id="36" name="Right Arrow 35"/>
          <p:cNvSpPr/>
          <p:nvPr/>
        </p:nvSpPr>
        <p:spPr>
          <a:xfrm>
            <a:off x="3543300" y="5537197"/>
            <a:ext cx="990600" cy="288147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7" name="Oval 36"/>
          <p:cNvSpPr/>
          <p:nvPr/>
        </p:nvSpPr>
        <p:spPr>
          <a:xfrm>
            <a:off x="6515100" y="4807713"/>
            <a:ext cx="1892300" cy="677473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accXX</a:t>
            </a:r>
            <a:r>
              <a:rPr lang="de-DE" sz="1600" dirty="0"/>
              <a:t>, </a:t>
            </a:r>
            <a:r>
              <a:rPr lang="de-DE" sz="1600" dirty="0" err="1"/>
              <a:t>accNN</a:t>
            </a:r>
            <a:endParaRPr lang="de-DE" sz="1600" dirty="0"/>
          </a:p>
        </p:txBody>
      </p:sp>
      <p:sp>
        <p:nvSpPr>
          <p:cNvPr id="38" name="TextBox 37"/>
          <p:cNvSpPr txBox="1"/>
          <p:nvPr/>
        </p:nvSpPr>
        <p:spPr>
          <a:xfrm>
            <a:off x="8521700" y="5018681"/>
            <a:ext cx="968782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Combine M</a:t>
            </a:r>
          </a:p>
        </p:txBody>
      </p:sp>
      <p:sp>
        <p:nvSpPr>
          <p:cNvPr id="39" name="Right Arrow 38"/>
          <p:cNvSpPr/>
          <p:nvPr/>
        </p:nvSpPr>
        <p:spPr>
          <a:xfrm rot="2062762">
            <a:off x="6007099" y="4717616"/>
            <a:ext cx="571500" cy="180194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0" name="Right Arrow 39"/>
          <p:cNvSpPr/>
          <p:nvPr/>
        </p:nvSpPr>
        <p:spPr>
          <a:xfrm rot="19891427">
            <a:off x="5986971" y="5425616"/>
            <a:ext cx="571500" cy="180194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1" name="Oval 40"/>
          <p:cNvSpPr/>
          <p:nvPr/>
        </p:nvSpPr>
        <p:spPr>
          <a:xfrm>
            <a:off x="9490482" y="3644303"/>
            <a:ext cx="1892300" cy="677473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accM-1, </a:t>
            </a:r>
            <a:r>
              <a:rPr lang="de-DE" sz="1600" dirty="0" err="1"/>
              <a:t>accM</a:t>
            </a:r>
            <a:endParaRPr lang="de-DE" sz="1600" dirty="0"/>
          </a:p>
        </p:txBody>
      </p:sp>
      <p:sp>
        <p:nvSpPr>
          <p:cNvPr id="42" name="Right Arrow 41"/>
          <p:cNvSpPr/>
          <p:nvPr/>
        </p:nvSpPr>
        <p:spPr>
          <a:xfrm rot="2062762">
            <a:off x="8382062" y="3022562"/>
            <a:ext cx="1373631" cy="237597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3" name="Right Arrow 42"/>
          <p:cNvSpPr/>
          <p:nvPr/>
        </p:nvSpPr>
        <p:spPr>
          <a:xfrm rot="19891427">
            <a:off x="8369825" y="4665335"/>
            <a:ext cx="1351533" cy="214352"/>
          </a:xfrm>
          <a:prstGeom prst="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4" name="TextBox 43"/>
          <p:cNvSpPr txBox="1"/>
          <p:nvPr/>
        </p:nvSpPr>
        <p:spPr>
          <a:xfrm>
            <a:off x="10756900" y="3324634"/>
            <a:ext cx="980003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Final </a:t>
            </a:r>
            <a:r>
              <a:rPr lang="de-DE" sz="1400" dirty="0" err="1"/>
              <a:t>Result</a:t>
            </a:r>
            <a:endParaRPr lang="de-DE" sz="1400" dirty="0"/>
          </a:p>
        </p:txBody>
      </p:sp>
    </p:spTree>
    <p:extLst>
      <p:ext uri="{BB962C8B-B14F-4D97-AF65-F5344CB8AC3E}">
        <p14:creationId xmlns:p14="http://schemas.microsoft.com/office/powerpoint/2010/main" val="4034982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1126"/>
    </mc:Choice>
    <mc:Fallback>
      <p:transition spd="slow" advTm="141126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62878465"/>
              </p:ext>
            </p:extLst>
          </p:nvPr>
        </p:nvGraphicFramePr>
        <p:xfrm>
          <a:off x="782639" y="2078038"/>
          <a:ext cx="9720261" cy="32686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3240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0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00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53732">
                <a:tc>
                  <a:txBody>
                    <a:bodyPr/>
                    <a:lstStyle/>
                    <a:p>
                      <a:r>
                        <a:rPr lang="de-DE" dirty="0"/>
                        <a:t>Column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Column2                …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err="1"/>
                        <a:t>ColumnN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53732">
                <a:tc>
                  <a:txBody>
                    <a:bodyPr/>
                    <a:lstStyle/>
                    <a:p>
                      <a:r>
                        <a:rPr lang="de-DE" dirty="0"/>
                        <a:t>(acc111,</a:t>
                      </a:r>
                      <a:r>
                        <a:rPr lang="de-DE" baseline="0" dirty="0"/>
                        <a:t> acc211, …, accK11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(acc121,</a:t>
                      </a:r>
                      <a:r>
                        <a:rPr lang="de-DE" baseline="0" dirty="0"/>
                        <a:t> acc221, …, accK21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/>
                        <a:t>(acc1N1,</a:t>
                      </a:r>
                      <a:r>
                        <a:rPr lang="de-DE" baseline="0" dirty="0"/>
                        <a:t> acc2N1, …, accKN1)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537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(acc112,</a:t>
                      </a:r>
                      <a:r>
                        <a:rPr lang="de-DE" baseline="0" dirty="0"/>
                        <a:t> acc212, …, accK12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(acc122,</a:t>
                      </a:r>
                      <a:r>
                        <a:rPr lang="de-DE" baseline="0" dirty="0"/>
                        <a:t> acc222, …, accK22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(acc1N2,</a:t>
                      </a:r>
                      <a:r>
                        <a:rPr lang="de-DE" baseline="0" dirty="0"/>
                        <a:t> acc2N2, …, accKN2)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3732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37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(acc11M,</a:t>
                      </a:r>
                      <a:r>
                        <a:rPr lang="de-DE" baseline="0" dirty="0"/>
                        <a:t> acc21M, …, accK1M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(acc12M,</a:t>
                      </a:r>
                      <a:r>
                        <a:rPr lang="de-DE" baseline="0" dirty="0"/>
                        <a:t> acc22M, …, accK2M)</a:t>
                      </a:r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dirty="0"/>
                        <a:t>(acc1NM,</a:t>
                      </a:r>
                      <a:r>
                        <a:rPr lang="de-DE" baseline="0" dirty="0"/>
                        <a:t> acc2NM, …, </a:t>
                      </a:r>
                      <a:r>
                        <a:rPr lang="de-DE" baseline="0" dirty="0" err="1"/>
                        <a:t>accKNM</a:t>
                      </a:r>
                      <a:r>
                        <a:rPr lang="de-DE" baseline="0" dirty="0"/>
                        <a:t>)</a:t>
                      </a:r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ne Super-aggregate </a:t>
            </a:r>
            <a:r>
              <a:rPr lang="de-DE" dirty="0" err="1"/>
              <a:t>Function</a:t>
            </a:r>
            <a:r>
              <a:rPr lang="de-DE" dirty="0"/>
              <a:t> (one-pass </a:t>
            </a:r>
            <a:r>
              <a:rPr lang="de-DE" dirty="0" err="1"/>
              <a:t>over</a:t>
            </a:r>
            <a:r>
              <a:rPr lang="de-DE" dirty="0"/>
              <a:t> all </a:t>
            </a:r>
            <a:r>
              <a:rPr lang="de-DE" dirty="0" err="1"/>
              <a:t>data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7</a:t>
            </a:fld>
            <a:endParaRPr lang="en-GB" noProof="0" dirty="0"/>
          </a:p>
        </p:txBody>
      </p:sp>
      <p:sp>
        <p:nvSpPr>
          <p:cNvPr id="6" name="TextBox 5"/>
          <p:cNvSpPr txBox="1"/>
          <p:nvPr/>
        </p:nvSpPr>
        <p:spPr>
          <a:xfrm>
            <a:off x="168294" y="2781299"/>
            <a:ext cx="560016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ow</a:t>
            </a:r>
            <a:r>
              <a:rPr lang="de-DE" sz="1400" dirty="0"/>
              <a:t> 1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68294" y="3477100"/>
            <a:ext cx="560016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ow</a:t>
            </a:r>
            <a:r>
              <a:rPr lang="de-DE" sz="1400" dirty="0"/>
              <a:t> 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49058" y="4734400"/>
            <a:ext cx="598488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 err="1"/>
              <a:t>Row</a:t>
            </a:r>
            <a:r>
              <a:rPr lang="de-DE" sz="1400" dirty="0"/>
              <a:t> M</a:t>
            </a:r>
          </a:p>
        </p:txBody>
      </p:sp>
      <p:sp>
        <p:nvSpPr>
          <p:cNvPr id="10" name="Down Arrow 9"/>
          <p:cNvSpPr/>
          <p:nvPr/>
        </p:nvSpPr>
        <p:spPr>
          <a:xfrm>
            <a:off x="10629900" y="2781298"/>
            <a:ext cx="317500" cy="2489201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1" name="TextBox 10"/>
          <p:cNvSpPr txBox="1"/>
          <p:nvPr/>
        </p:nvSpPr>
        <p:spPr>
          <a:xfrm>
            <a:off x="10979561" y="3399197"/>
            <a:ext cx="1206027" cy="90370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dirty="0"/>
              <a:t>Distributed</a:t>
            </a:r>
          </a:p>
          <a:p>
            <a:r>
              <a:rPr lang="de-DE" dirty="0" err="1"/>
              <a:t>aggregate</a:t>
            </a:r>
            <a:endParaRPr lang="de-DE" dirty="0"/>
          </a:p>
          <a:p>
            <a:r>
              <a:rPr lang="de-DE" dirty="0" err="1"/>
              <a:t>step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832874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9363"/>
    </mc:Choice>
    <mc:Fallback>
      <p:transition spd="slow" advTm="149363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6276000" y="988843"/>
            <a:ext cx="5058750" cy="4921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Window-based</a:t>
            </a:r>
            <a:r>
              <a:rPr lang="en-US" sz="1400" dirty="0"/>
              <a:t>: Features based on SQL window functions are fully supporte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Grouping-based</a:t>
            </a:r>
            <a:r>
              <a:rPr lang="en-US" sz="1400" dirty="0"/>
              <a:t>: Features generated for a whole group of data are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Historical</a:t>
            </a:r>
            <a:r>
              <a:rPr lang="en-US" sz="1400" dirty="0"/>
              <a:t>: </a:t>
            </a:r>
            <a:r>
              <a:rPr lang="en-US" sz="1400" i="1" dirty="0" err="1"/>
              <a:t>TimeSince</a:t>
            </a:r>
            <a:r>
              <a:rPr lang="en-US" sz="1400" dirty="0"/>
              <a:t> and </a:t>
            </a:r>
            <a:r>
              <a:rPr lang="en-US" sz="1400" i="1" dirty="0" err="1"/>
              <a:t>LastValue</a:t>
            </a:r>
            <a:r>
              <a:rPr lang="en-US" sz="1400" dirty="0"/>
              <a:t> are the two implemented historical features.</a:t>
            </a:r>
          </a:p>
          <a:p>
            <a:pPr marL="552450" lvl="2" indent="-285750">
              <a:buFont typeface="Arial" panose="020B0604020202020204" pitchFamily="34" charset="0"/>
              <a:buChar char="•"/>
            </a:pPr>
            <a:r>
              <a:rPr lang="en-US" sz="1400" b="1" dirty="0" err="1"/>
              <a:t>TimeSince</a:t>
            </a:r>
            <a:r>
              <a:rPr lang="en-US" sz="1400" dirty="0"/>
              <a:t>: The amount of time since the same values in the data previously appeared, given a certain condition.</a:t>
            </a:r>
          </a:p>
          <a:p>
            <a:pPr marL="552450" lvl="2" indent="-285750">
              <a:buFont typeface="Arial" panose="020B0604020202020204" pitchFamily="34" charset="0"/>
              <a:buChar char="•"/>
            </a:pPr>
            <a:r>
              <a:rPr lang="en-US" sz="1400" b="1" dirty="0" err="1"/>
              <a:t>LastValue</a:t>
            </a:r>
            <a:r>
              <a:rPr lang="en-US" sz="1400" dirty="0"/>
              <a:t>: Similar to </a:t>
            </a:r>
            <a:r>
              <a:rPr lang="en-US" sz="1400" i="1" dirty="0" err="1"/>
              <a:t>TimeSince</a:t>
            </a:r>
            <a:r>
              <a:rPr lang="en-US" sz="1400" dirty="0"/>
              <a:t>, but this copies the previous value instead of calculating the time differen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Direct</a:t>
            </a:r>
            <a:r>
              <a:rPr lang="en-US" sz="1400" dirty="0"/>
              <a:t>: Features that transform a column in the original </a:t>
            </a:r>
            <a:r>
              <a:rPr lang="en-US" sz="1400" dirty="0" err="1"/>
              <a:t>dataframe</a:t>
            </a:r>
            <a:r>
              <a:rPr lang="en-US" sz="1400" dirty="0"/>
              <a:t> into one or more new columns are supported. At the moment, one-hot encoding and numeric binning are availab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 dirty="0"/>
              <a:t>Custom</a:t>
            </a:r>
            <a:r>
              <a:rPr lang="en-US" sz="1400" dirty="0"/>
              <a:t>: Users can define their own feature types and plug those into </a:t>
            </a:r>
            <a:r>
              <a:rPr lang="en-US" sz="1400" dirty="0" err="1"/>
              <a:t>autofeat</a:t>
            </a:r>
            <a:r>
              <a:rPr lang="en-US" sz="1400" dirty="0"/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8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Automatic</a:t>
            </a:r>
            <a:r>
              <a:rPr lang="de-DE" dirty="0"/>
              <a:t> Feature Generation</a:t>
            </a:r>
          </a:p>
        </p:txBody>
      </p:sp>
      <p:sp>
        <p:nvSpPr>
          <p:cNvPr id="7" name="Can 6"/>
          <p:cNvSpPr/>
          <p:nvPr/>
        </p:nvSpPr>
        <p:spPr>
          <a:xfrm>
            <a:off x="906966" y="3159512"/>
            <a:ext cx="996175" cy="959005"/>
          </a:xfrm>
          <a:prstGeom prst="can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Data</a:t>
            </a:r>
          </a:p>
        </p:txBody>
      </p:sp>
      <p:sp>
        <p:nvSpPr>
          <p:cNvPr id="8" name="Down Arrow Callout 7"/>
          <p:cNvSpPr/>
          <p:nvPr/>
        </p:nvSpPr>
        <p:spPr>
          <a:xfrm>
            <a:off x="2743201" y="2022088"/>
            <a:ext cx="1293540" cy="959005"/>
          </a:xfrm>
          <a:prstGeom prst="downArrowCallout">
            <a:avLst/>
          </a:prstGeom>
          <a:solidFill>
            <a:schemeClr val="bg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Features</a:t>
            </a:r>
          </a:p>
          <a:p>
            <a:pPr algn="ctr">
              <a:lnSpc>
                <a:spcPct val="90000"/>
              </a:lnSpc>
            </a:pPr>
            <a:r>
              <a:rPr lang="de-DE" sz="1600" dirty="0" err="1"/>
              <a:t>Specification</a:t>
            </a:r>
            <a:endParaRPr lang="de-DE" sz="1600" dirty="0"/>
          </a:p>
        </p:txBody>
      </p:sp>
      <p:sp>
        <p:nvSpPr>
          <p:cNvPr id="9" name="Rounded Rectangle 8"/>
          <p:cNvSpPr/>
          <p:nvPr/>
        </p:nvSpPr>
        <p:spPr>
          <a:xfrm>
            <a:off x="2743202" y="3159512"/>
            <a:ext cx="1293540" cy="921834"/>
          </a:xfrm>
          <a:prstGeom prst="roundRect">
            <a:avLst>
              <a:gd name="adj" fmla="val 10966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Autofeat</a:t>
            </a: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1600" dirty="0"/>
              <a:t>Generation</a:t>
            </a:r>
          </a:p>
          <a:p>
            <a:pPr algn="ctr">
              <a:lnSpc>
                <a:spcPct val="90000"/>
              </a:lnSpc>
            </a:pPr>
            <a:r>
              <a:rPr lang="de-DE" sz="1600" dirty="0"/>
              <a:t>Utility</a:t>
            </a:r>
          </a:p>
        </p:txBody>
      </p:sp>
      <p:sp>
        <p:nvSpPr>
          <p:cNvPr id="10" name="Right Arrow 9"/>
          <p:cNvSpPr/>
          <p:nvPr/>
        </p:nvSpPr>
        <p:spPr>
          <a:xfrm>
            <a:off x="4125951" y="3430858"/>
            <a:ext cx="609600" cy="37914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1" name="Right Arrow 10"/>
          <p:cNvSpPr/>
          <p:nvPr/>
        </p:nvSpPr>
        <p:spPr>
          <a:xfrm>
            <a:off x="1955180" y="3449443"/>
            <a:ext cx="735981" cy="379142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3" name="Flowchart: Multidocument 12"/>
          <p:cNvSpPr/>
          <p:nvPr/>
        </p:nvSpPr>
        <p:spPr>
          <a:xfrm>
            <a:off x="4787590" y="3282175"/>
            <a:ext cx="1204331" cy="713678"/>
          </a:xfrm>
          <a:prstGeom prst="flowChartMultidocumen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Enhanced</a:t>
            </a:r>
          </a:p>
          <a:p>
            <a:pPr algn="ctr">
              <a:lnSpc>
                <a:spcPct val="90000"/>
              </a:lnSpc>
            </a:pPr>
            <a:r>
              <a:rPr lang="de-DE" sz="1600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31802426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80280"/>
    </mc:Choice>
    <mc:Fallback>
      <p:transition spd="slow" advTm="8028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9</a:t>
            </a:fld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eature </a:t>
            </a:r>
            <a:r>
              <a:rPr lang="de-DE" dirty="0" err="1"/>
              <a:t>Specification</a:t>
            </a:r>
            <a:r>
              <a:rPr lang="de-DE" dirty="0"/>
              <a:t> File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9675" y="1701800"/>
            <a:ext cx="7231063" cy="3457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06206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2567"/>
    </mc:Choice>
    <mc:Fallback>
      <p:transition spd="slow" advTm="92567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ING is a global financial service provider </a:t>
            </a:r>
            <a:r>
              <a:rPr lang="en-US" sz="2000"/>
              <a:t>servicing 37 million </a:t>
            </a:r>
            <a:r>
              <a:rPr lang="en-US" sz="2000" dirty="0"/>
              <a:t>customers. In the Netherlands we are the banking sector market leader with 10 million primary customers</a:t>
            </a:r>
            <a:endParaRPr lang="nl-NL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</a:t>
            </a:fld>
            <a:endParaRPr lang="en-GB" noProof="0" dirty="0"/>
          </a:p>
        </p:txBody>
      </p:sp>
      <p:grpSp>
        <p:nvGrpSpPr>
          <p:cNvPr id="9" name="Group 8"/>
          <p:cNvGrpSpPr/>
          <p:nvPr/>
        </p:nvGrpSpPr>
        <p:grpSpPr>
          <a:xfrm>
            <a:off x="845576" y="1098738"/>
            <a:ext cx="10690436" cy="5310117"/>
            <a:chOff x="845576" y="865259"/>
            <a:chExt cx="10690436" cy="5310117"/>
          </a:xfrm>
        </p:grpSpPr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8034338" y="1849912"/>
              <a:ext cx="1800225" cy="1312863"/>
            </a:xfrm>
            <a:custGeom>
              <a:avLst/>
              <a:gdLst>
                <a:gd name="T0" fmla="*/ 837 w 1134"/>
                <a:gd name="T1" fmla="*/ 795 h 827"/>
                <a:gd name="T2" fmla="*/ 781 w 1134"/>
                <a:gd name="T3" fmla="*/ 757 h 827"/>
                <a:gd name="T4" fmla="*/ 720 w 1134"/>
                <a:gd name="T5" fmla="*/ 769 h 827"/>
                <a:gd name="T6" fmla="*/ 690 w 1134"/>
                <a:gd name="T7" fmla="*/ 803 h 827"/>
                <a:gd name="T8" fmla="*/ 640 w 1134"/>
                <a:gd name="T9" fmla="*/ 755 h 827"/>
                <a:gd name="T10" fmla="*/ 604 w 1134"/>
                <a:gd name="T11" fmla="*/ 699 h 827"/>
                <a:gd name="T12" fmla="*/ 588 w 1134"/>
                <a:gd name="T13" fmla="*/ 627 h 827"/>
                <a:gd name="T14" fmla="*/ 528 w 1134"/>
                <a:gd name="T15" fmla="*/ 603 h 827"/>
                <a:gd name="T16" fmla="*/ 458 w 1134"/>
                <a:gd name="T17" fmla="*/ 639 h 827"/>
                <a:gd name="T18" fmla="*/ 367 w 1134"/>
                <a:gd name="T19" fmla="*/ 637 h 827"/>
                <a:gd name="T20" fmla="*/ 309 w 1134"/>
                <a:gd name="T21" fmla="*/ 621 h 827"/>
                <a:gd name="T22" fmla="*/ 243 w 1134"/>
                <a:gd name="T23" fmla="*/ 583 h 827"/>
                <a:gd name="T24" fmla="*/ 171 w 1134"/>
                <a:gd name="T25" fmla="*/ 555 h 827"/>
                <a:gd name="T26" fmla="*/ 142 w 1134"/>
                <a:gd name="T27" fmla="*/ 471 h 827"/>
                <a:gd name="T28" fmla="*/ 34 w 1134"/>
                <a:gd name="T29" fmla="*/ 400 h 827"/>
                <a:gd name="T30" fmla="*/ 2 w 1134"/>
                <a:gd name="T31" fmla="*/ 332 h 827"/>
                <a:gd name="T32" fmla="*/ 104 w 1134"/>
                <a:gd name="T33" fmla="*/ 280 h 827"/>
                <a:gd name="T34" fmla="*/ 116 w 1134"/>
                <a:gd name="T35" fmla="*/ 180 h 827"/>
                <a:gd name="T36" fmla="*/ 191 w 1134"/>
                <a:gd name="T37" fmla="*/ 114 h 827"/>
                <a:gd name="T38" fmla="*/ 289 w 1134"/>
                <a:gd name="T39" fmla="*/ 196 h 827"/>
                <a:gd name="T40" fmla="*/ 700 w 1134"/>
                <a:gd name="T41" fmla="*/ 270 h 827"/>
                <a:gd name="T42" fmla="*/ 811 w 1134"/>
                <a:gd name="T43" fmla="*/ 168 h 827"/>
                <a:gd name="T44" fmla="*/ 763 w 1134"/>
                <a:gd name="T45" fmla="*/ 96 h 827"/>
                <a:gd name="T46" fmla="*/ 775 w 1134"/>
                <a:gd name="T47" fmla="*/ 44 h 827"/>
                <a:gd name="T48" fmla="*/ 809 w 1134"/>
                <a:gd name="T49" fmla="*/ 2 h 827"/>
                <a:gd name="T50" fmla="*/ 911 w 1134"/>
                <a:gd name="T51" fmla="*/ 54 h 827"/>
                <a:gd name="T52" fmla="*/ 1005 w 1134"/>
                <a:gd name="T53" fmla="*/ 108 h 827"/>
                <a:gd name="T54" fmla="*/ 1094 w 1134"/>
                <a:gd name="T55" fmla="*/ 130 h 827"/>
                <a:gd name="T56" fmla="*/ 1132 w 1134"/>
                <a:gd name="T57" fmla="*/ 186 h 827"/>
                <a:gd name="T58" fmla="*/ 1126 w 1134"/>
                <a:gd name="T59" fmla="*/ 260 h 827"/>
                <a:gd name="T60" fmla="*/ 1098 w 1134"/>
                <a:gd name="T61" fmla="*/ 280 h 827"/>
                <a:gd name="T62" fmla="*/ 1056 w 1134"/>
                <a:gd name="T63" fmla="*/ 298 h 827"/>
                <a:gd name="T64" fmla="*/ 1020 w 1134"/>
                <a:gd name="T65" fmla="*/ 336 h 827"/>
                <a:gd name="T66" fmla="*/ 989 w 1134"/>
                <a:gd name="T67" fmla="*/ 356 h 827"/>
                <a:gd name="T68" fmla="*/ 979 w 1134"/>
                <a:gd name="T69" fmla="*/ 334 h 827"/>
                <a:gd name="T70" fmla="*/ 945 w 1134"/>
                <a:gd name="T71" fmla="*/ 328 h 827"/>
                <a:gd name="T72" fmla="*/ 933 w 1134"/>
                <a:gd name="T73" fmla="*/ 378 h 827"/>
                <a:gd name="T74" fmla="*/ 1011 w 1134"/>
                <a:gd name="T75" fmla="*/ 394 h 827"/>
                <a:gd name="T76" fmla="*/ 1018 w 1134"/>
                <a:gd name="T77" fmla="*/ 408 h 827"/>
                <a:gd name="T78" fmla="*/ 997 w 1134"/>
                <a:gd name="T79" fmla="*/ 430 h 827"/>
                <a:gd name="T80" fmla="*/ 991 w 1134"/>
                <a:gd name="T81" fmla="*/ 465 h 827"/>
                <a:gd name="T82" fmla="*/ 1066 w 1134"/>
                <a:gd name="T83" fmla="*/ 541 h 827"/>
                <a:gd name="T84" fmla="*/ 1062 w 1134"/>
                <a:gd name="T85" fmla="*/ 571 h 827"/>
                <a:gd name="T86" fmla="*/ 1082 w 1134"/>
                <a:gd name="T87" fmla="*/ 597 h 827"/>
                <a:gd name="T88" fmla="*/ 1084 w 1134"/>
                <a:gd name="T89" fmla="*/ 599 h 827"/>
                <a:gd name="T90" fmla="*/ 1088 w 1134"/>
                <a:gd name="T91" fmla="*/ 621 h 827"/>
                <a:gd name="T92" fmla="*/ 1080 w 1134"/>
                <a:gd name="T93" fmla="*/ 647 h 827"/>
                <a:gd name="T94" fmla="*/ 1070 w 1134"/>
                <a:gd name="T95" fmla="*/ 661 h 827"/>
                <a:gd name="T96" fmla="*/ 1066 w 1134"/>
                <a:gd name="T97" fmla="*/ 667 h 827"/>
                <a:gd name="T98" fmla="*/ 1068 w 1134"/>
                <a:gd name="T99" fmla="*/ 689 h 827"/>
                <a:gd name="T100" fmla="*/ 1066 w 1134"/>
                <a:gd name="T101" fmla="*/ 701 h 827"/>
                <a:gd name="T102" fmla="*/ 1052 w 1134"/>
                <a:gd name="T103" fmla="*/ 713 h 827"/>
                <a:gd name="T104" fmla="*/ 1040 w 1134"/>
                <a:gd name="T105" fmla="*/ 731 h 827"/>
                <a:gd name="T106" fmla="*/ 1014 w 1134"/>
                <a:gd name="T107" fmla="*/ 753 h 827"/>
                <a:gd name="T108" fmla="*/ 989 w 1134"/>
                <a:gd name="T109" fmla="*/ 763 h 827"/>
                <a:gd name="T110" fmla="*/ 967 w 1134"/>
                <a:gd name="T111" fmla="*/ 767 h 827"/>
                <a:gd name="T112" fmla="*/ 953 w 1134"/>
                <a:gd name="T113" fmla="*/ 769 h 827"/>
                <a:gd name="T114" fmla="*/ 927 w 1134"/>
                <a:gd name="T115" fmla="*/ 789 h 827"/>
                <a:gd name="T116" fmla="*/ 901 w 1134"/>
                <a:gd name="T117" fmla="*/ 799 h 827"/>
                <a:gd name="T118" fmla="*/ 889 w 1134"/>
                <a:gd name="T119" fmla="*/ 811 h 827"/>
                <a:gd name="T120" fmla="*/ 879 w 1134"/>
                <a:gd name="T121" fmla="*/ 817 h 827"/>
                <a:gd name="T122" fmla="*/ 869 w 1134"/>
                <a:gd name="T123" fmla="*/ 793 h 827"/>
                <a:gd name="T124" fmla="*/ 851 w 1134"/>
                <a:gd name="T125" fmla="*/ 791 h 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34" h="827">
                  <a:moveTo>
                    <a:pt x="847" y="791"/>
                  </a:move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9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7" y="793"/>
                  </a:lnTo>
                  <a:lnTo>
                    <a:pt x="847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3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5" y="791"/>
                  </a:lnTo>
                  <a:lnTo>
                    <a:pt x="841" y="791"/>
                  </a:lnTo>
                  <a:lnTo>
                    <a:pt x="841" y="791"/>
                  </a:lnTo>
                  <a:lnTo>
                    <a:pt x="841" y="789"/>
                  </a:lnTo>
                  <a:lnTo>
                    <a:pt x="841" y="791"/>
                  </a:lnTo>
                  <a:lnTo>
                    <a:pt x="841" y="791"/>
                  </a:lnTo>
                  <a:lnTo>
                    <a:pt x="841" y="791"/>
                  </a:lnTo>
                  <a:lnTo>
                    <a:pt x="841" y="791"/>
                  </a:lnTo>
                  <a:lnTo>
                    <a:pt x="841" y="791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5"/>
                  </a:lnTo>
                  <a:lnTo>
                    <a:pt x="841" y="795"/>
                  </a:lnTo>
                  <a:lnTo>
                    <a:pt x="841" y="795"/>
                  </a:lnTo>
                  <a:lnTo>
                    <a:pt x="841" y="795"/>
                  </a:lnTo>
                  <a:lnTo>
                    <a:pt x="841" y="795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3"/>
                  </a:lnTo>
                  <a:lnTo>
                    <a:pt x="841" y="791"/>
                  </a:lnTo>
                  <a:lnTo>
                    <a:pt x="841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1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9" y="793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5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3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7" y="799"/>
                  </a:lnTo>
                  <a:lnTo>
                    <a:pt x="835" y="799"/>
                  </a:lnTo>
                  <a:lnTo>
                    <a:pt x="835" y="795"/>
                  </a:lnTo>
                  <a:lnTo>
                    <a:pt x="835" y="795"/>
                  </a:lnTo>
                  <a:lnTo>
                    <a:pt x="837" y="795"/>
                  </a:lnTo>
                  <a:lnTo>
                    <a:pt x="837" y="795"/>
                  </a:lnTo>
                  <a:lnTo>
                    <a:pt x="835" y="795"/>
                  </a:lnTo>
                  <a:lnTo>
                    <a:pt x="835" y="795"/>
                  </a:lnTo>
                  <a:lnTo>
                    <a:pt x="835" y="793"/>
                  </a:lnTo>
                  <a:lnTo>
                    <a:pt x="831" y="793"/>
                  </a:lnTo>
                  <a:lnTo>
                    <a:pt x="831" y="793"/>
                  </a:lnTo>
                  <a:lnTo>
                    <a:pt x="831" y="793"/>
                  </a:lnTo>
                  <a:lnTo>
                    <a:pt x="831" y="793"/>
                  </a:lnTo>
                  <a:lnTo>
                    <a:pt x="831" y="791"/>
                  </a:lnTo>
                  <a:lnTo>
                    <a:pt x="831" y="791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9" y="791"/>
                  </a:lnTo>
                  <a:lnTo>
                    <a:pt x="829" y="793"/>
                  </a:lnTo>
                  <a:lnTo>
                    <a:pt x="827" y="793"/>
                  </a:lnTo>
                  <a:lnTo>
                    <a:pt x="827" y="793"/>
                  </a:lnTo>
                  <a:lnTo>
                    <a:pt x="827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5" y="793"/>
                  </a:lnTo>
                  <a:lnTo>
                    <a:pt x="823" y="791"/>
                  </a:lnTo>
                  <a:lnTo>
                    <a:pt x="823" y="791"/>
                  </a:lnTo>
                  <a:lnTo>
                    <a:pt x="823" y="791"/>
                  </a:lnTo>
                  <a:lnTo>
                    <a:pt x="823" y="791"/>
                  </a:lnTo>
                  <a:lnTo>
                    <a:pt x="823" y="793"/>
                  </a:lnTo>
                  <a:lnTo>
                    <a:pt x="823" y="793"/>
                  </a:lnTo>
                  <a:lnTo>
                    <a:pt x="821" y="793"/>
                  </a:lnTo>
                  <a:lnTo>
                    <a:pt x="821" y="791"/>
                  </a:lnTo>
                  <a:lnTo>
                    <a:pt x="821" y="791"/>
                  </a:lnTo>
                  <a:lnTo>
                    <a:pt x="819" y="791"/>
                  </a:lnTo>
                  <a:lnTo>
                    <a:pt x="819" y="791"/>
                  </a:lnTo>
                  <a:lnTo>
                    <a:pt x="819" y="791"/>
                  </a:lnTo>
                  <a:lnTo>
                    <a:pt x="815" y="789"/>
                  </a:lnTo>
                  <a:lnTo>
                    <a:pt x="815" y="789"/>
                  </a:lnTo>
                  <a:lnTo>
                    <a:pt x="813" y="789"/>
                  </a:lnTo>
                  <a:lnTo>
                    <a:pt x="813" y="789"/>
                  </a:lnTo>
                  <a:lnTo>
                    <a:pt x="813" y="785"/>
                  </a:lnTo>
                  <a:lnTo>
                    <a:pt x="813" y="785"/>
                  </a:lnTo>
                  <a:lnTo>
                    <a:pt x="813" y="785"/>
                  </a:lnTo>
                  <a:lnTo>
                    <a:pt x="813" y="785"/>
                  </a:lnTo>
                  <a:lnTo>
                    <a:pt x="813" y="785"/>
                  </a:lnTo>
                  <a:lnTo>
                    <a:pt x="813" y="785"/>
                  </a:lnTo>
                  <a:lnTo>
                    <a:pt x="813" y="783"/>
                  </a:lnTo>
                  <a:lnTo>
                    <a:pt x="813" y="783"/>
                  </a:lnTo>
                  <a:lnTo>
                    <a:pt x="811" y="783"/>
                  </a:lnTo>
                  <a:lnTo>
                    <a:pt x="811" y="783"/>
                  </a:lnTo>
                  <a:lnTo>
                    <a:pt x="811" y="783"/>
                  </a:lnTo>
                  <a:lnTo>
                    <a:pt x="811" y="783"/>
                  </a:lnTo>
                  <a:lnTo>
                    <a:pt x="811" y="783"/>
                  </a:lnTo>
                  <a:lnTo>
                    <a:pt x="811" y="783"/>
                  </a:lnTo>
                  <a:lnTo>
                    <a:pt x="811" y="783"/>
                  </a:lnTo>
                  <a:lnTo>
                    <a:pt x="809" y="783"/>
                  </a:lnTo>
                  <a:lnTo>
                    <a:pt x="809" y="783"/>
                  </a:lnTo>
                  <a:lnTo>
                    <a:pt x="809" y="783"/>
                  </a:lnTo>
                  <a:lnTo>
                    <a:pt x="809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7" y="783"/>
                  </a:lnTo>
                  <a:lnTo>
                    <a:pt x="805" y="783"/>
                  </a:lnTo>
                  <a:lnTo>
                    <a:pt x="805" y="783"/>
                  </a:lnTo>
                  <a:lnTo>
                    <a:pt x="805" y="783"/>
                  </a:lnTo>
                  <a:lnTo>
                    <a:pt x="805" y="783"/>
                  </a:lnTo>
                  <a:lnTo>
                    <a:pt x="805" y="781"/>
                  </a:lnTo>
                  <a:lnTo>
                    <a:pt x="805" y="781"/>
                  </a:lnTo>
                  <a:lnTo>
                    <a:pt x="805" y="781"/>
                  </a:lnTo>
                  <a:lnTo>
                    <a:pt x="805" y="781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9"/>
                  </a:lnTo>
                  <a:lnTo>
                    <a:pt x="805" y="777"/>
                  </a:lnTo>
                  <a:lnTo>
                    <a:pt x="805" y="777"/>
                  </a:lnTo>
                  <a:lnTo>
                    <a:pt x="805" y="777"/>
                  </a:lnTo>
                  <a:lnTo>
                    <a:pt x="805" y="775"/>
                  </a:lnTo>
                  <a:lnTo>
                    <a:pt x="805" y="775"/>
                  </a:lnTo>
                  <a:lnTo>
                    <a:pt x="805" y="775"/>
                  </a:lnTo>
                  <a:lnTo>
                    <a:pt x="801" y="775"/>
                  </a:lnTo>
                  <a:lnTo>
                    <a:pt x="801" y="775"/>
                  </a:lnTo>
                  <a:lnTo>
                    <a:pt x="801" y="775"/>
                  </a:lnTo>
                  <a:lnTo>
                    <a:pt x="801" y="775"/>
                  </a:lnTo>
                  <a:lnTo>
                    <a:pt x="801" y="771"/>
                  </a:lnTo>
                  <a:lnTo>
                    <a:pt x="801" y="771"/>
                  </a:lnTo>
                  <a:lnTo>
                    <a:pt x="799" y="771"/>
                  </a:lnTo>
                  <a:lnTo>
                    <a:pt x="799" y="771"/>
                  </a:lnTo>
                  <a:lnTo>
                    <a:pt x="801" y="771"/>
                  </a:lnTo>
                  <a:lnTo>
                    <a:pt x="801" y="771"/>
                  </a:lnTo>
                  <a:lnTo>
                    <a:pt x="801" y="767"/>
                  </a:lnTo>
                  <a:lnTo>
                    <a:pt x="801" y="767"/>
                  </a:lnTo>
                  <a:lnTo>
                    <a:pt x="801" y="767"/>
                  </a:lnTo>
                  <a:lnTo>
                    <a:pt x="801" y="767"/>
                  </a:lnTo>
                  <a:lnTo>
                    <a:pt x="801" y="767"/>
                  </a:lnTo>
                  <a:lnTo>
                    <a:pt x="801" y="767"/>
                  </a:lnTo>
                  <a:lnTo>
                    <a:pt x="801" y="769"/>
                  </a:lnTo>
                  <a:lnTo>
                    <a:pt x="805" y="769"/>
                  </a:lnTo>
                  <a:lnTo>
                    <a:pt x="805" y="767"/>
                  </a:lnTo>
                  <a:lnTo>
                    <a:pt x="805" y="767"/>
                  </a:lnTo>
                  <a:lnTo>
                    <a:pt x="805" y="767"/>
                  </a:lnTo>
                  <a:lnTo>
                    <a:pt x="805" y="765"/>
                  </a:lnTo>
                  <a:lnTo>
                    <a:pt x="805" y="765"/>
                  </a:lnTo>
                  <a:lnTo>
                    <a:pt x="805" y="765"/>
                  </a:lnTo>
                  <a:lnTo>
                    <a:pt x="805" y="765"/>
                  </a:lnTo>
                  <a:lnTo>
                    <a:pt x="805" y="765"/>
                  </a:lnTo>
                  <a:lnTo>
                    <a:pt x="805" y="763"/>
                  </a:lnTo>
                  <a:lnTo>
                    <a:pt x="805" y="763"/>
                  </a:lnTo>
                  <a:lnTo>
                    <a:pt x="805" y="763"/>
                  </a:lnTo>
                  <a:lnTo>
                    <a:pt x="805" y="763"/>
                  </a:lnTo>
                  <a:lnTo>
                    <a:pt x="805" y="763"/>
                  </a:lnTo>
                  <a:lnTo>
                    <a:pt x="805" y="763"/>
                  </a:lnTo>
                  <a:lnTo>
                    <a:pt x="805" y="763"/>
                  </a:lnTo>
                  <a:lnTo>
                    <a:pt x="801" y="763"/>
                  </a:lnTo>
                  <a:lnTo>
                    <a:pt x="801" y="763"/>
                  </a:lnTo>
                  <a:lnTo>
                    <a:pt x="801" y="761"/>
                  </a:lnTo>
                  <a:lnTo>
                    <a:pt x="801" y="761"/>
                  </a:lnTo>
                  <a:lnTo>
                    <a:pt x="801" y="761"/>
                  </a:lnTo>
                  <a:lnTo>
                    <a:pt x="801" y="761"/>
                  </a:lnTo>
                  <a:lnTo>
                    <a:pt x="801" y="763"/>
                  </a:lnTo>
                  <a:lnTo>
                    <a:pt x="801" y="763"/>
                  </a:lnTo>
                  <a:lnTo>
                    <a:pt x="799" y="763"/>
                  </a:lnTo>
                  <a:lnTo>
                    <a:pt x="799" y="761"/>
                  </a:lnTo>
                  <a:lnTo>
                    <a:pt x="799" y="761"/>
                  </a:lnTo>
                  <a:lnTo>
                    <a:pt x="799" y="761"/>
                  </a:lnTo>
                  <a:lnTo>
                    <a:pt x="799" y="761"/>
                  </a:lnTo>
                  <a:lnTo>
                    <a:pt x="799" y="761"/>
                  </a:lnTo>
                  <a:lnTo>
                    <a:pt x="797" y="761"/>
                  </a:lnTo>
                  <a:lnTo>
                    <a:pt x="797" y="761"/>
                  </a:lnTo>
                  <a:lnTo>
                    <a:pt x="797" y="761"/>
                  </a:lnTo>
                  <a:lnTo>
                    <a:pt x="797" y="761"/>
                  </a:lnTo>
                  <a:lnTo>
                    <a:pt x="797" y="761"/>
                  </a:lnTo>
                  <a:lnTo>
                    <a:pt x="795" y="763"/>
                  </a:lnTo>
                  <a:lnTo>
                    <a:pt x="795" y="763"/>
                  </a:lnTo>
                  <a:lnTo>
                    <a:pt x="791" y="763"/>
                  </a:lnTo>
                  <a:lnTo>
                    <a:pt x="791" y="763"/>
                  </a:lnTo>
                  <a:lnTo>
                    <a:pt x="791" y="761"/>
                  </a:lnTo>
                  <a:lnTo>
                    <a:pt x="791" y="761"/>
                  </a:lnTo>
                  <a:lnTo>
                    <a:pt x="791" y="761"/>
                  </a:lnTo>
                  <a:lnTo>
                    <a:pt x="791" y="761"/>
                  </a:lnTo>
                  <a:lnTo>
                    <a:pt x="789" y="757"/>
                  </a:lnTo>
                  <a:lnTo>
                    <a:pt x="789" y="757"/>
                  </a:lnTo>
                  <a:lnTo>
                    <a:pt x="787" y="757"/>
                  </a:lnTo>
                  <a:lnTo>
                    <a:pt x="787" y="757"/>
                  </a:lnTo>
                  <a:lnTo>
                    <a:pt x="787" y="757"/>
                  </a:lnTo>
                  <a:lnTo>
                    <a:pt x="787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5" y="761"/>
                  </a:lnTo>
                  <a:lnTo>
                    <a:pt x="783" y="761"/>
                  </a:lnTo>
                  <a:lnTo>
                    <a:pt x="783" y="761"/>
                  </a:lnTo>
                  <a:lnTo>
                    <a:pt x="783" y="757"/>
                  </a:lnTo>
                  <a:lnTo>
                    <a:pt x="783" y="757"/>
                  </a:lnTo>
                  <a:lnTo>
                    <a:pt x="783" y="757"/>
                  </a:lnTo>
                  <a:lnTo>
                    <a:pt x="783" y="757"/>
                  </a:lnTo>
                  <a:lnTo>
                    <a:pt x="783" y="757"/>
                  </a:lnTo>
                  <a:lnTo>
                    <a:pt x="781" y="757"/>
                  </a:lnTo>
                  <a:lnTo>
                    <a:pt x="781" y="757"/>
                  </a:lnTo>
                  <a:lnTo>
                    <a:pt x="781" y="757"/>
                  </a:lnTo>
                  <a:lnTo>
                    <a:pt x="781" y="757"/>
                  </a:lnTo>
                  <a:lnTo>
                    <a:pt x="781" y="757"/>
                  </a:lnTo>
                  <a:lnTo>
                    <a:pt x="781" y="757"/>
                  </a:lnTo>
                  <a:lnTo>
                    <a:pt x="779" y="757"/>
                  </a:lnTo>
                  <a:lnTo>
                    <a:pt x="779" y="755"/>
                  </a:lnTo>
                  <a:lnTo>
                    <a:pt x="779" y="755"/>
                  </a:lnTo>
                  <a:lnTo>
                    <a:pt x="775" y="755"/>
                  </a:lnTo>
                  <a:lnTo>
                    <a:pt x="775" y="755"/>
                  </a:lnTo>
                  <a:lnTo>
                    <a:pt x="775" y="755"/>
                  </a:lnTo>
                  <a:lnTo>
                    <a:pt x="775" y="755"/>
                  </a:lnTo>
                  <a:lnTo>
                    <a:pt x="775" y="753"/>
                  </a:lnTo>
                  <a:lnTo>
                    <a:pt x="775" y="753"/>
                  </a:lnTo>
                  <a:lnTo>
                    <a:pt x="773" y="753"/>
                  </a:lnTo>
                  <a:lnTo>
                    <a:pt x="773" y="753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3" y="751"/>
                  </a:lnTo>
                  <a:lnTo>
                    <a:pt x="771" y="751"/>
                  </a:lnTo>
                  <a:lnTo>
                    <a:pt x="771" y="751"/>
                  </a:lnTo>
                  <a:lnTo>
                    <a:pt x="771" y="751"/>
                  </a:lnTo>
                  <a:lnTo>
                    <a:pt x="771" y="751"/>
                  </a:lnTo>
                  <a:lnTo>
                    <a:pt x="771" y="747"/>
                  </a:lnTo>
                  <a:lnTo>
                    <a:pt x="771" y="747"/>
                  </a:lnTo>
                  <a:lnTo>
                    <a:pt x="771" y="747"/>
                  </a:lnTo>
                  <a:lnTo>
                    <a:pt x="771" y="747"/>
                  </a:lnTo>
                  <a:lnTo>
                    <a:pt x="769" y="747"/>
                  </a:lnTo>
                  <a:lnTo>
                    <a:pt x="769" y="747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9" y="751"/>
                  </a:lnTo>
                  <a:lnTo>
                    <a:pt x="767" y="751"/>
                  </a:lnTo>
                  <a:lnTo>
                    <a:pt x="767" y="751"/>
                  </a:lnTo>
                  <a:lnTo>
                    <a:pt x="767" y="751"/>
                  </a:lnTo>
                  <a:lnTo>
                    <a:pt x="767" y="751"/>
                  </a:lnTo>
                  <a:lnTo>
                    <a:pt x="767" y="751"/>
                  </a:lnTo>
                  <a:lnTo>
                    <a:pt x="767" y="751"/>
                  </a:lnTo>
                  <a:lnTo>
                    <a:pt x="767" y="753"/>
                  </a:lnTo>
                  <a:lnTo>
                    <a:pt x="767" y="753"/>
                  </a:lnTo>
                  <a:lnTo>
                    <a:pt x="763" y="753"/>
                  </a:lnTo>
                  <a:lnTo>
                    <a:pt x="763" y="753"/>
                  </a:lnTo>
                  <a:lnTo>
                    <a:pt x="763" y="753"/>
                  </a:lnTo>
                  <a:lnTo>
                    <a:pt x="763" y="753"/>
                  </a:lnTo>
                  <a:lnTo>
                    <a:pt x="761" y="753"/>
                  </a:lnTo>
                  <a:lnTo>
                    <a:pt x="761" y="753"/>
                  </a:lnTo>
                  <a:lnTo>
                    <a:pt x="761" y="753"/>
                  </a:lnTo>
                  <a:lnTo>
                    <a:pt x="761" y="753"/>
                  </a:lnTo>
                  <a:lnTo>
                    <a:pt x="761" y="753"/>
                  </a:lnTo>
                  <a:lnTo>
                    <a:pt x="761" y="755"/>
                  </a:lnTo>
                  <a:lnTo>
                    <a:pt x="761" y="755"/>
                  </a:lnTo>
                  <a:lnTo>
                    <a:pt x="761" y="755"/>
                  </a:lnTo>
                  <a:lnTo>
                    <a:pt x="761" y="755"/>
                  </a:lnTo>
                  <a:lnTo>
                    <a:pt x="761" y="755"/>
                  </a:lnTo>
                  <a:lnTo>
                    <a:pt x="761" y="757"/>
                  </a:lnTo>
                  <a:lnTo>
                    <a:pt x="761" y="761"/>
                  </a:lnTo>
                  <a:lnTo>
                    <a:pt x="761" y="761"/>
                  </a:lnTo>
                  <a:lnTo>
                    <a:pt x="761" y="761"/>
                  </a:lnTo>
                  <a:lnTo>
                    <a:pt x="761" y="761"/>
                  </a:lnTo>
                  <a:lnTo>
                    <a:pt x="759" y="763"/>
                  </a:lnTo>
                  <a:lnTo>
                    <a:pt x="759" y="763"/>
                  </a:lnTo>
                  <a:lnTo>
                    <a:pt x="759" y="763"/>
                  </a:lnTo>
                  <a:lnTo>
                    <a:pt x="759" y="763"/>
                  </a:lnTo>
                  <a:lnTo>
                    <a:pt x="759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7" y="763"/>
                  </a:lnTo>
                  <a:lnTo>
                    <a:pt x="753" y="763"/>
                  </a:lnTo>
                  <a:lnTo>
                    <a:pt x="753" y="765"/>
                  </a:lnTo>
                  <a:lnTo>
                    <a:pt x="751" y="765"/>
                  </a:lnTo>
                  <a:lnTo>
                    <a:pt x="751" y="765"/>
                  </a:lnTo>
                  <a:lnTo>
                    <a:pt x="751" y="765"/>
                  </a:lnTo>
                  <a:lnTo>
                    <a:pt x="751" y="765"/>
                  </a:lnTo>
                  <a:lnTo>
                    <a:pt x="749" y="765"/>
                  </a:lnTo>
                  <a:lnTo>
                    <a:pt x="749" y="765"/>
                  </a:lnTo>
                  <a:lnTo>
                    <a:pt x="749" y="763"/>
                  </a:lnTo>
                  <a:lnTo>
                    <a:pt x="749" y="763"/>
                  </a:lnTo>
                  <a:lnTo>
                    <a:pt x="749" y="763"/>
                  </a:lnTo>
                  <a:lnTo>
                    <a:pt x="749" y="763"/>
                  </a:lnTo>
                  <a:lnTo>
                    <a:pt x="749" y="763"/>
                  </a:lnTo>
                  <a:lnTo>
                    <a:pt x="747" y="763"/>
                  </a:lnTo>
                  <a:lnTo>
                    <a:pt x="747" y="763"/>
                  </a:lnTo>
                  <a:lnTo>
                    <a:pt x="747" y="763"/>
                  </a:lnTo>
                  <a:lnTo>
                    <a:pt x="745" y="763"/>
                  </a:lnTo>
                  <a:lnTo>
                    <a:pt x="745" y="763"/>
                  </a:lnTo>
                  <a:lnTo>
                    <a:pt x="745" y="765"/>
                  </a:lnTo>
                  <a:lnTo>
                    <a:pt x="745" y="765"/>
                  </a:lnTo>
                  <a:lnTo>
                    <a:pt x="745" y="765"/>
                  </a:lnTo>
                  <a:lnTo>
                    <a:pt x="745" y="765"/>
                  </a:lnTo>
                  <a:lnTo>
                    <a:pt x="745" y="767"/>
                  </a:lnTo>
                  <a:lnTo>
                    <a:pt x="745" y="767"/>
                  </a:lnTo>
                  <a:lnTo>
                    <a:pt x="745" y="767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5" y="769"/>
                  </a:lnTo>
                  <a:lnTo>
                    <a:pt x="743" y="769"/>
                  </a:lnTo>
                  <a:lnTo>
                    <a:pt x="743" y="769"/>
                  </a:lnTo>
                  <a:lnTo>
                    <a:pt x="743" y="769"/>
                  </a:lnTo>
                  <a:lnTo>
                    <a:pt x="743" y="767"/>
                  </a:lnTo>
                  <a:lnTo>
                    <a:pt x="743" y="767"/>
                  </a:lnTo>
                  <a:lnTo>
                    <a:pt x="743" y="767"/>
                  </a:lnTo>
                  <a:lnTo>
                    <a:pt x="743" y="767"/>
                  </a:lnTo>
                  <a:lnTo>
                    <a:pt x="743" y="767"/>
                  </a:lnTo>
                  <a:lnTo>
                    <a:pt x="743" y="767"/>
                  </a:lnTo>
                  <a:lnTo>
                    <a:pt x="741" y="767"/>
                  </a:lnTo>
                  <a:lnTo>
                    <a:pt x="741" y="767"/>
                  </a:lnTo>
                  <a:lnTo>
                    <a:pt x="741" y="767"/>
                  </a:lnTo>
                  <a:lnTo>
                    <a:pt x="739" y="765"/>
                  </a:lnTo>
                  <a:lnTo>
                    <a:pt x="739" y="763"/>
                  </a:lnTo>
                  <a:lnTo>
                    <a:pt x="735" y="763"/>
                  </a:lnTo>
                  <a:lnTo>
                    <a:pt x="735" y="763"/>
                  </a:lnTo>
                  <a:lnTo>
                    <a:pt x="735" y="763"/>
                  </a:lnTo>
                  <a:lnTo>
                    <a:pt x="735" y="765"/>
                  </a:lnTo>
                  <a:lnTo>
                    <a:pt x="735" y="765"/>
                  </a:lnTo>
                  <a:lnTo>
                    <a:pt x="735" y="765"/>
                  </a:lnTo>
                  <a:lnTo>
                    <a:pt x="735" y="765"/>
                  </a:lnTo>
                  <a:lnTo>
                    <a:pt x="735" y="765"/>
                  </a:lnTo>
                  <a:lnTo>
                    <a:pt x="735" y="767"/>
                  </a:lnTo>
                  <a:lnTo>
                    <a:pt x="735" y="767"/>
                  </a:lnTo>
                  <a:lnTo>
                    <a:pt x="735" y="767"/>
                  </a:lnTo>
                  <a:lnTo>
                    <a:pt x="735" y="767"/>
                  </a:lnTo>
                  <a:lnTo>
                    <a:pt x="733" y="767"/>
                  </a:lnTo>
                  <a:lnTo>
                    <a:pt x="733" y="767"/>
                  </a:lnTo>
                  <a:lnTo>
                    <a:pt x="733" y="767"/>
                  </a:lnTo>
                  <a:lnTo>
                    <a:pt x="733" y="765"/>
                  </a:lnTo>
                  <a:lnTo>
                    <a:pt x="731" y="765"/>
                  </a:lnTo>
                  <a:lnTo>
                    <a:pt x="731" y="765"/>
                  </a:lnTo>
                  <a:lnTo>
                    <a:pt x="731" y="765"/>
                  </a:lnTo>
                  <a:lnTo>
                    <a:pt x="731" y="765"/>
                  </a:lnTo>
                  <a:lnTo>
                    <a:pt x="731" y="765"/>
                  </a:lnTo>
                  <a:lnTo>
                    <a:pt x="731" y="765"/>
                  </a:lnTo>
                  <a:lnTo>
                    <a:pt x="731" y="763"/>
                  </a:lnTo>
                  <a:lnTo>
                    <a:pt x="731" y="763"/>
                  </a:lnTo>
                  <a:lnTo>
                    <a:pt x="731" y="763"/>
                  </a:lnTo>
                  <a:lnTo>
                    <a:pt x="731" y="763"/>
                  </a:lnTo>
                  <a:lnTo>
                    <a:pt x="728" y="763"/>
                  </a:lnTo>
                  <a:lnTo>
                    <a:pt x="728" y="765"/>
                  </a:lnTo>
                  <a:lnTo>
                    <a:pt x="728" y="765"/>
                  </a:lnTo>
                  <a:lnTo>
                    <a:pt x="728" y="765"/>
                  </a:lnTo>
                  <a:lnTo>
                    <a:pt x="728" y="767"/>
                  </a:lnTo>
                  <a:lnTo>
                    <a:pt x="724" y="767"/>
                  </a:lnTo>
                  <a:lnTo>
                    <a:pt x="724" y="767"/>
                  </a:lnTo>
                  <a:lnTo>
                    <a:pt x="724" y="767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69"/>
                  </a:lnTo>
                  <a:lnTo>
                    <a:pt x="724" y="771"/>
                  </a:lnTo>
                  <a:lnTo>
                    <a:pt x="724" y="771"/>
                  </a:lnTo>
                  <a:lnTo>
                    <a:pt x="724" y="771"/>
                  </a:lnTo>
                  <a:lnTo>
                    <a:pt x="724" y="771"/>
                  </a:lnTo>
                  <a:lnTo>
                    <a:pt x="722" y="771"/>
                  </a:lnTo>
                  <a:lnTo>
                    <a:pt x="722" y="771"/>
                  </a:lnTo>
                  <a:lnTo>
                    <a:pt x="722" y="771"/>
                  </a:lnTo>
                  <a:lnTo>
                    <a:pt x="720" y="771"/>
                  </a:lnTo>
                  <a:lnTo>
                    <a:pt x="720" y="769"/>
                  </a:lnTo>
                  <a:lnTo>
                    <a:pt x="720" y="769"/>
                  </a:lnTo>
                  <a:lnTo>
                    <a:pt x="720" y="769"/>
                  </a:lnTo>
                  <a:lnTo>
                    <a:pt x="720" y="769"/>
                  </a:lnTo>
                  <a:lnTo>
                    <a:pt x="720" y="767"/>
                  </a:lnTo>
                  <a:lnTo>
                    <a:pt x="718" y="767"/>
                  </a:lnTo>
                  <a:lnTo>
                    <a:pt x="718" y="767"/>
                  </a:lnTo>
                  <a:lnTo>
                    <a:pt x="718" y="767"/>
                  </a:lnTo>
                  <a:lnTo>
                    <a:pt x="718" y="767"/>
                  </a:lnTo>
                  <a:lnTo>
                    <a:pt x="714" y="765"/>
                  </a:lnTo>
                  <a:lnTo>
                    <a:pt x="714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2" y="765"/>
                  </a:lnTo>
                  <a:lnTo>
                    <a:pt x="710" y="765"/>
                  </a:lnTo>
                  <a:lnTo>
                    <a:pt x="710" y="765"/>
                  </a:lnTo>
                  <a:lnTo>
                    <a:pt x="710" y="765"/>
                  </a:lnTo>
                  <a:lnTo>
                    <a:pt x="710" y="763"/>
                  </a:lnTo>
                  <a:lnTo>
                    <a:pt x="710" y="763"/>
                  </a:lnTo>
                  <a:lnTo>
                    <a:pt x="710" y="763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5"/>
                  </a:lnTo>
                  <a:lnTo>
                    <a:pt x="708" y="767"/>
                  </a:lnTo>
                  <a:lnTo>
                    <a:pt x="708" y="767"/>
                  </a:lnTo>
                  <a:lnTo>
                    <a:pt x="708" y="767"/>
                  </a:lnTo>
                  <a:lnTo>
                    <a:pt x="708" y="767"/>
                  </a:lnTo>
                  <a:lnTo>
                    <a:pt x="708" y="767"/>
                  </a:lnTo>
                  <a:lnTo>
                    <a:pt x="708" y="767"/>
                  </a:lnTo>
                  <a:lnTo>
                    <a:pt x="708" y="767"/>
                  </a:lnTo>
                  <a:lnTo>
                    <a:pt x="706" y="769"/>
                  </a:lnTo>
                  <a:lnTo>
                    <a:pt x="706" y="769"/>
                  </a:lnTo>
                  <a:lnTo>
                    <a:pt x="706" y="771"/>
                  </a:lnTo>
                  <a:lnTo>
                    <a:pt x="706" y="771"/>
                  </a:lnTo>
                  <a:lnTo>
                    <a:pt x="706" y="771"/>
                  </a:lnTo>
                  <a:lnTo>
                    <a:pt x="706" y="771"/>
                  </a:lnTo>
                  <a:lnTo>
                    <a:pt x="706" y="771"/>
                  </a:lnTo>
                  <a:lnTo>
                    <a:pt x="706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4" y="771"/>
                  </a:lnTo>
                  <a:lnTo>
                    <a:pt x="702" y="771"/>
                  </a:lnTo>
                  <a:lnTo>
                    <a:pt x="702" y="771"/>
                  </a:lnTo>
                  <a:lnTo>
                    <a:pt x="702" y="771"/>
                  </a:lnTo>
                  <a:lnTo>
                    <a:pt x="702" y="771"/>
                  </a:lnTo>
                  <a:lnTo>
                    <a:pt x="700" y="771"/>
                  </a:lnTo>
                  <a:lnTo>
                    <a:pt x="700" y="771"/>
                  </a:lnTo>
                  <a:lnTo>
                    <a:pt x="700" y="771"/>
                  </a:lnTo>
                  <a:lnTo>
                    <a:pt x="700" y="771"/>
                  </a:lnTo>
                  <a:lnTo>
                    <a:pt x="700" y="775"/>
                  </a:lnTo>
                  <a:lnTo>
                    <a:pt x="700" y="771"/>
                  </a:lnTo>
                  <a:lnTo>
                    <a:pt x="696" y="771"/>
                  </a:lnTo>
                  <a:lnTo>
                    <a:pt x="696" y="771"/>
                  </a:lnTo>
                  <a:lnTo>
                    <a:pt x="696" y="769"/>
                  </a:lnTo>
                  <a:lnTo>
                    <a:pt x="696" y="769"/>
                  </a:lnTo>
                  <a:lnTo>
                    <a:pt x="696" y="769"/>
                  </a:lnTo>
                  <a:lnTo>
                    <a:pt x="694" y="769"/>
                  </a:lnTo>
                  <a:lnTo>
                    <a:pt x="694" y="769"/>
                  </a:lnTo>
                  <a:lnTo>
                    <a:pt x="694" y="771"/>
                  </a:lnTo>
                  <a:lnTo>
                    <a:pt x="694" y="771"/>
                  </a:lnTo>
                  <a:lnTo>
                    <a:pt x="694" y="771"/>
                  </a:lnTo>
                  <a:lnTo>
                    <a:pt x="694" y="771"/>
                  </a:lnTo>
                  <a:lnTo>
                    <a:pt x="694" y="771"/>
                  </a:lnTo>
                  <a:lnTo>
                    <a:pt x="694" y="775"/>
                  </a:lnTo>
                  <a:lnTo>
                    <a:pt x="694" y="775"/>
                  </a:lnTo>
                  <a:lnTo>
                    <a:pt x="694" y="775"/>
                  </a:lnTo>
                  <a:lnTo>
                    <a:pt x="694" y="775"/>
                  </a:lnTo>
                  <a:lnTo>
                    <a:pt x="694" y="775"/>
                  </a:lnTo>
                  <a:lnTo>
                    <a:pt x="694" y="777"/>
                  </a:lnTo>
                  <a:lnTo>
                    <a:pt x="694" y="777"/>
                  </a:lnTo>
                  <a:lnTo>
                    <a:pt x="694" y="777"/>
                  </a:lnTo>
                  <a:lnTo>
                    <a:pt x="692" y="777"/>
                  </a:lnTo>
                  <a:lnTo>
                    <a:pt x="692" y="777"/>
                  </a:lnTo>
                  <a:lnTo>
                    <a:pt x="692" y="777"/>
                  </a:lnTo>
                  <a:lnTo>
                    <a:pt x="692" y="777"/>
                  </a:lnTo>
                  <a:lnTo>
                    <a:pt x="692" y="777"/>
                  </a:lnTo>
                  <a:lnTo>
                    <a:pt x="692" y="777"/>
                  </a:lnTo>
                  <a:lnTo>
                    <a:pt x="692" y="777"/>
                  </a:lnTo>
                  <a:lnTo>
                    <a:pt x="692" y="779"/>
                  </a:lnTo>
                  <a:lnTo>
                    <a:pt x="694" y="779"/>
                  </a:lnTo>
                  <a:lnTo>
                    <a:pt x="694" y="779"/>
                  </a:lnTo>
                  <a:lnTo>
                    <a:pt x="694" y="779"/>
                  </a:lnTo>
                  <a:lnTo>
                    <a:pt x="694" y="779"/>
                  </a:lnTo>
                  <a:lnTo>
                    <a:pt x="694" y="781"/>
                  </a:lnTo>
                  <a:lnTo>
                    <a:pt x="694" y="781"/>
                  </a:lnTo>
                  <a:lnTo>
                    <a:pt x="694" y="781"/>
                  </a:lnTo>
                  <a:lnTo>
                    <a:pt x="694" y="781"/>
                  </a:lnTo>
                  <a:lnTo>
                    <a:pt x="694" y="783"/>
                  </a:lnTo>
                  <a:lnTo>
                    <a:pt x="694" y="783"/>
                  </a:lnTo>
                  <a:lnTo>
                    <a:pt x="696" y="783"/>
                  </a:lnTo>
                  <a:lnTo>
                    <a:pt x="696" y="783"/>
                  </a:lnTo>
                  <a:lnTo>
                    <a:pt x="696" y="783"/>
                  </a:lnTo>
                  <a:lnTo>
                    <a:pt x="696" y="783"/>
                  </a:lnTo>
                  <a:lnTo>
                    <a:pt x="696" y="785"/>
                  </a:lnTo>
                  <a:lnTo>
                    <a:pt x="696" y="785"/>
                  </a:lnTo>
                  <a:lnTo>
                    <a:pt x="696" y="785"/>
                  </a:lnTo>
                  <a:lnTo>
                    <a:pt x="700" y="785"/>
                  </a:lnTo>
                  <a:lnTo>
                    <a:pt x="700" y="785"/>
                  </a:lnTo>
                  <a:lnTo>
                    <a:pt x="700" y="785"/>
                  </a:lnTo>
                  <a:lnTo>
                    <a:pt x="700" y="789"/>
                  </a:lnTo>
                  <a:lnTo>
                    <a:pt x="700" y="789"/>
                  </a:lnTo>
                  <a:lnTo>
                    <a:pt x="700" y="789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0" y="791"/>
                  </a:lnTo>
                  <a:lnTo>
                    <a:pt x="702" y="791"/>
                  </a:lnTo>
                  <a:lnTo>
                    <a:pt x="702" y="793"/>
                  </a:lnTo>
                  <a:lnTo>
                    <a:pt x="702" y="793"/>
                  </a:lnTo>
                  <a:lnTo>
                    <a:pt x="702" y="793"/>
                  </a:lnTo>
                  <a:lnTo>
                    <a:pt x="700" y="793"/>
                  </a:lnTo>
                  <a:lnTo>
                    <a:pt x="700" y="793"/>
                  </a:lnTo>
                  <a:lnTo>
                    <a:pt x="700" y="793"/>
                  </a:lnTo>
                  <a:lnTo>
                    <a:pt x="700" y="793"/>
                  </a:lnTo>
                  <a:lnTo>
                    <a:pt x="700" y="795"/>
                  </a:lnTo>
                  <a:lnTo>
                    <a:pt x="700" y="795"/>
                  </a:lnTo>
                  <a:lnTo>
                    <a:pt x="700" y="795"/>
                  </a:lnTo>
                  <a:lnTo>
                    <a:pt x="700" y="799"/>
                  </a:lnTo>
                  <a:lnTo>
                    <a:pt x="700" y="801"/>
                  </a:lnTo>
                  <a:lnTo>
                    <a:pt x="700" y="801"/>
                  </a:lnTo>
                  <a:lnTo>
                    <a:pt x="702" y="801"/>
                  </a:lnTo>
                  <a:lnTo>
                    <a:pt x="702" y="801"/>
                  </a:lnTo>
                  <a:lnTo>
                    <a:pt x="702" y="801"/>
                  </a:lnTo>
                  <a:lnTo>
                    <a:pt x="702" y="801"/>
                  </a:lnTo>
                  <a:lnTo>
                    <a:pt x="702" y="801"/>
                  </a:lnTo>
                  <a:lnTo>
                    <a:pt x="702" y="803"/>
                  </a:lnTo>
                  <a:lnTo>
                    <a:pt x="704" y="803"/>
                  </a:lnTo>
                  <a:lnTo>
                    <a:pt x="704" y="803"/>
                  </a:lnTo>
                  <a:lnTo>
                    <a:pt x="704" y="803"/>
                  </a:lnTo>
                  <a:lnTo>
                    <a:pt x="702" y="803"/>
                  </a:lnTo>
                  <a:lnTo>
                    <a:pt x="702" y="803"/>
                  </a:lnTo>
                  <a:lnTo>
                    <a:pt x="702" y="803"/>
                  </a:lnTo>
                  <a:lnTo>
                    <a:pt x="702" y="803"/>
                  </a:lnTo>
                  <a:lnTo>
                    <a:pt x="702" y="803"/>
                  </a:lnTo>
                  <a:lnTo>
                    <a:pt x="702" y="803"/>
                  </a:lnTo>
                  <a:lnTo>
                    <a:pt x="702" y="803"/>
                  </a:lnTo>
                  <a:lnTo>
                    <a:pt x="702" y="805"/>
                  </a:lnTo>
                  <a:lnTo>
                    <a:pt x="702" y="805"/>
                  </a:lnTo>
                  <a:lnTo>
                    <a:pt x="702" y="805"/>
                  </a:lnTo>
                  <a:lnTo>
                    <a:pt x="702" y="805"/>
                  </a:lnTo>
                  <a:lnTo>
                    <a:pt x="702" y="805"/>
                  </a:lnTo>
                  <a:lnTo>
                    <a:pt x="700" y="805"/>
                  </a:lnTo>
                  <a:lnTo>
                    <a:pt x="700" y="803"/>
                  </a:lnTo>
                  <a:lnTo>
                    <a:pt x="700" y="803"/>
                  </a:lnTo>
                  <a:lnTo>
                    <a:pt x="700" y="803"/>
                  </a:lnTo>
                  <a:lnTo>
                    <a:pt x="700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6" y="803"/>
                  </a:lnTo>
                  <a:lnTo>
                    <a:pt x="694" y="803"/>
                  </a:lnTo>
                  <a:lnTo>
                    <a:pt x="692" y="803"/>
                  </a:lnTo>
                  <a:lnTo>
                    <a:pt x="692" y="803"/>
                  </a:lnTo>
                  <a:lnTo>
                    <a:pt x="692" y="803"/>
                  </a:lnTo>
                  <a:lnTo>
                    <a:pt x="692" y="803"/>
                  </a:lnTo>
                  <a:lnTo>
                    <a:pt x="690" y="803"/>
                  </a:lnTo>
                  <a:lnTo>
                    <a:pt x="690" y="803"/>
                  </a:lnTo>
                  <a:lnTo>
                    <a:pt x="690" y="803"/>
                  </a:lnTo>
                  <a:lnTo>
                    <a:pt x="690" y="803"/>
                  </a:lnTo>
                  <a:lnTo>
                    <a:pt x="690" y="803"/>
                  </a:lnTo>
                  <a:lnTo>
                    <a:pt x="690" y="801"/>
                  </a:lnTo>
                  <a:lnTo>
                    <a:pt x="690" y="801"/>
                  </a:lnTo>
                  <a:lnTo>
                    <a:pt x="690" y="801"/>
                  </a:lnTo>
                  <a:lnTo>
                    <a:pt x="690" y="801"/>
                  </a:lnTo>
                  <a:lnTo>
                    <a:pt x="690" y="801"/>
                  </a:lnTo>
                  <a:lnTo>
                    <a:pt x="690" y="801"/>
                  </a:lnTo>
                  <a:lnTo>
                    <a:pt x="690" y="799"/>
                  </a:lnTo>
                  <a:lnTo>
                    <a:pt x="690" y="799"/>
                  </a:lnTo>
                  <a:lnTo>
                    <a:pt x="690" y="799"/>
                  </a:lnTo>
                  <a:lnTo>
                    <a:pt x="690" y="799"/>
                  </a:lnTo>
                  <a:lnTo>
                    <a:pt x="690" y="799"/>
                  </a:lnTo>
                  <a:lnTo>
                    <a:pt x="686" y="799"/>
                  </a:lnTo>
                  <a:lnTo>
                    <a:pt x="686" y="799"/>
                  </a:lnTo>
                  <a:lnTo>
                    <a:pt x="686" y="799"/>
                  </a:lnTo>
                  <a:lnTo>
                    <a:pt x="686" y="795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3"/>
                  </a:lnTo>
                  <a:lnTo>
                    <a:pt x="686" y="791"/>
                  </a:lnTo>
                  <a:lnTo>
                    <a:pt x="686" y="791"/>
                  </a:lnTo>
                  <a:lnTo>
                    <a:pt x="686" y="791"/>
                  </a:lnTo>
                  <a:lnTo>
                    <a:pt x="684" y="791"/>
                  </a:lnTo>
                  <a:lnTo>
                    <a:pt x="684" y="791"/>
                  </a:lnTo>
                  <a:lnTo>
                    <a:pt x="684" y="789"/>
                  </a:lnTo>
                  <a:lnTo>
                    <a:pt x="684" y="789"/>
                  </a:lnTo>
                  <a:lnTo>
                    <a:pt x="684" y="789"/>
                  </a:lnTo>
                  <a:lnTo>
                    <a:pt x="684" y="789"/>
                  </a:lnTo>
                  <a:lnTo>
                    <a:pt x="684" y="789"/>
                  </a:lnTo>
                  <a:lnTo>
                    <a:pt x="684" y="789"/>
                  </a:lnTo>
                  <a:lnTo>
                    <a:pt x="682" y="791"/>
                  </a:lnTo>
                  <a:lnTo>
                    <a:pt x="682" y="791"/>
                  </a:lnTo>
                  <a:lnTo>
                    <a:pt x="680" y="791"/>
                  </a:lnTo>
                  <a:lnTo>
                    <a:pt x="680" y="791"/>
                  </a:lnTo>
                  <a:lnTo>
                    <a:pt x="678" y="793"/>
                  </a:lnTo>
                  <a:lnTo>
                    <a:pt x="678" y="793"/>
                  </a:lnTo>
                  <a:lnTo>
                    <a:pt x="678" y="795"/>
                  </a:lnTo>
                  <a:lnTo>
                    <a:pt x="674" y="795"/>
                  </a:lnTo>
                  <a:lnTo>
                    <a:pt x="674" y="795"/>
                  </a:lnTo>
                  <a:lnTo>
                    <a:pt x="674" y="795"/>
                  </a:lnTo>
                  <a:lnTo>
                    <a:pt x="674" y="795"/>
                  </a:lnTo>
                  <a:lnTo>
                    <a:pt x="674" y="795"/>
                  </a:lnTo>
                  <a:lnTo>
                    <a:pt x="674" y="795"/>
                  </a:lnTo>
                  <a:lnTo>
                    <a:pt x="674" y="795"/>
                  </a:lnTo>
                  <a:lnTo>
                    <a:pt x="672" y="795"/>
                  </a:lnTo>
                  <a:lnTo>
                    <a:pt x="672" y="795"/>
                  </a:lnTo>
                  <a:lnTo>
                    <a:pt x="672" y="795"/>
                  </a:lnTo>
                  <a:lnTo>
                    <a:pt x="672" y="795"/>
                  </a:lnTo>
                  <a:lnTo>
                    <a:pt x="672" y="795"/>
                  </a:lnTo>
                  <a:lnTo>
                    <a:pt x="670" y="795"/>
                  </a:lnTo>
                  <a:lnTo>
                    <a:pt x="670" y="795"/>
                  </a:lnTo>
                  <a:lnTo>
                    <a:pt x="670" y="795"/>
                  </a:lnTo>
                  <a:lnTo>
                    <a:pt x="670" y="795"/>
                  </a:lnTo>
                  <a:lnTo>
                    <a:pt x="670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8" y="795"/>
                  </a:lnTo>
                  <a:lnTo>
                    <a:pt x="666" y="799"/>
                  </a:lnTo>
                  <a:lnTo>
                    <a:pt x="666" y="799"/>
                  </a:lnTo>
                  <a:lnTo>
                    <a:pt x="666" y="799"/>
                  </a:lnTo>
                  <a:lnTo>
                    <a:pt x="666" y="795"/>
                  </a:lnTo>
                  <a:lnTo>
                    <a:pt x="664" y="795"/>
                  </a:lnTo>
                  <a:lnTo>
                    <a:pt x="664" y="795"/>
                  </a:lnTo>
                  <a:lnTo>
                    <a:pt x="664" y="795"/>
                  </a:lnTo>
                  <a:lnTo>
                    <a:pt x="664" y="793"/>
                  </a:lnTo>
                  <a:lnTo>
                    <a:pt x="664" y="793"/>
                  </a:lnTo>
                  <a:lnTo>
                    <a:pt x="664" y="793"/>
                  </a:lnTo>
                  <a:lnTo>
                    <a:pt x="664" y="793"/>
                  </a:lnTo>
                  <a:lnTo>
                    <a:pt x="664" y="793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2" y="791"/>
                  </a:lnTo>
                  <a:lnTo>
                    <a:pt x="662" y="791"/>
                  </a:lnTo>
                  <a:lnTo>
                    <a:pt x="662" y="791"/>
                  </a:lnTo>
                  <a:lnTo>
                    <a:pt x="658" y="789"/>
                  </a:lnTo>
                  <a:lnTo>
                    <a:pt x="658" y="789"/>
                  </a:lnTo>
                  <a:lnTo>
                    <a:pt x="658" y="785"/>
                  </a:lnTo>
                  <a:lnTo>
                    <a:pt x="658" y="785"/>
                  </a:lnTo>
                  <a:lnTo>
                    <a:pt x="658" y="783"/>
                  </a:lnTo>
                  <a:lnTo>
                    <a:pt x="658" y="783"/>
                  </a:lnTo>
                  <a:lnTo>
                    <a:pt x="658" y="783"/>
                  </a:lnTo>
                  <a:lnTo>
                    <a:pt x="658" y="783"/>
                  </a:lnTo>
                  <a:lnTo>
                    <a:pt x="658" y="781"/>
                  </a:lnTo>
                  <a:lnTo>
                    <a:pt x="658" y="781"/>
                  </a:lnTo>
                  <a:lnTo>
                    <a:pt x="658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6" y="781"/>
                  </a:lnTo>
                  <a:lnTo>
                    <a:pt x="654" y="781"/>
                  </a:lnTo>
                  <a:lnTo>
                    <a:pt x="654" y="781"/>
                  </a:lnTo>
                  <a:lnTo>
                    <a:pt x="654" y="781"/>
                  </a:lnTo>
                  <a:lnTo>
                    <a:pt x="654" y="781"/>
                  </a:lnTo>
                  <a:lnTo>
                    <a:pt x="654" y="781"/>
                  </a:lnTo>
                  <a:lnTo>
                    <a:pt x="652" y="781"/>
                  </a:lnTo>
                  <a:lnTo>
                    <a:pt x="652" y="781"/>
                  </a:lnTo>
                  <a:lnTo>
                    <a:pt x="652" y="781"/>
                  </a:lnTo>
                  <a:lnTo>
                    <a:pt x="652" y="781"/>
                  </a:lnTo>
                  <a:lnTo>
                    <a:pt x="652" y="781"/>
                  </a:lnTo>
                  <a:lnTo>
                    <a:pt x="650" y="779"/>
                  </a:lnTo>
                  <a:lnTo>
                    <a:pt x="650" y="779"/>
                  </a:lnTo>
                  <a:lnTo>
                    <a:pt x="650" y="779"/>
                  </a:lnTo>
                  <a:lnTo>
                    <a:pt x="646" y="779"/>
                  </a:lnTo>
                  <a:lnTo>
                    <a:pt x="646" y="779"/>
                  </a:lnTo>
                  <a:lnTo>
                    <a:pt x="646" y="781"/>
                  </a:lnTo>
                  <a:lnTo>
                    <a:pt x="644" y="781"/>
                  </a:lnTo>
                  <a:lnTo>
                    <a:pt x="644" y="779"/>
                  </a:lnTo>
                  <a:lnTo>
                    <a:pt x="642" y="779"/>
                  </a:lnTo>
                  <a:lnTo>
                    <a:pt x="642" y="779"/>
                  </a:lnTo>
                  <a:lnTo>
                    <a:pt x="640" y="779"/>
                  </a:lnTo>
                  <a:lnTo>
                    <a:pt x="642" y="779"/>
                  </a:lnTo>
                  <a:lnTo>
                    <a:pt x="642" y="779"/>
                  </a:lnTo>
                  <a:lnTo>
                    <a:pt x="642" y="777"/>
                  </a:lnTo>
                  <a:lnTo>
                    <a:pt x="642" y="777"/>
                  </a:lnTo>
                  <a:lnTo>
                    <a:pt x="642" y="777"/>
                  </a:lnTo>
                  <a:lnTo>
                    <a:pt x="642" y="775"/>
                  </a:lnTo>
                  <a:lnTo>
                    <a:pt x="642" y="775"/>
                  </a:lnTo>
                  <a:lnTo>
                    <a:pt x="642" y="775"/>
                  </a:lnTo>
                  <a:lnTo>
                    <a:pt x="642" y="775"/>
                  </a:lnTo>
                  <a:lnTo>
                    <a:pt x="642" y="775"/>
                  </a:lnTo>
                  <a:lnTo>
                    <a:pt x="642" y="775"/>
                  </a:lnTo>
                  <a:lnTo>
                    <a:pt x="642" y="775"/>
                  </a:lnTo>
                  <a:lnTo>
                    <a:pt x="642" y="771"/>
                  </a:lnTo>
                  <a:lnTo>
                    <a:pt x="642" y="771"/>
                  </a:lnTo>
                  <a:lnTo>
                    <a:pt x="644" y="771"/>
                  </a:lnTo>
                  <a:lnTo>
                    <a:pt x="644" y="769"/>
                  </a:lnTo>
                  <a:lnTo>
                    <a:pt x="644" y="769"/>
                  </a:lnTo>
                  <a:lnTo>
                    <a:pt x="644" y="769"/>
                  </a:lnTo>
                  <a:lnTo>
                    <a:pt x="644" y="769"/>
                  </a:lnTo>
                  <a:lnTo>
                    <a:pt x="644" y="769"/>
                  </a:lnTo>
                  <a:lnTo>
                    <a:pt x="644" y="769"/>
                  </a:lnTo>
                  <a:lnTo>
                    <a:pt x="644" y="767"/>
                  </a:lnTo>
                  <a:lnTo>
                    <a:pt x="644" y="767"/>
                  </a:lnTo>
                  <a:lnTo>
                    <a:pt x="642" y="765"/>
                  </a:lnTo>
                  <a:lnTo>
                    <a:pt x="642" y="765"/>
                  </a:lnTo>
                  <a:lnTo>
                    <a:pt x="642" y="765"/>
                  </a:lnTo>
                  <a:lnTo>
                    <a:pt x="642" y="765"/>
                  </a:lnTo>
                  <a:lnTo>
                    <a:pt x="642" y="763"/>
                  </a:lnTo>
                  <a:lnTo>
                    <a:pt x="642" y="763"/>
                  </a:lnTo>
                  <a:lnTo>
                    <a:pt x="642" y="763"/>
                  </a:lnTo>
                  <a:lnTo>
                    <a:pt x="642" y="763"/>
                  </a:lnTo>
                  <a:lnTo>
                    <a:pt x="644" y="763"/>
                  </a:lnTo>
                  <a:lnTo>
                    <a:pt x="644" y="761"/>
                  </a:lnTo>
                  <a:lnTo>
                    <a:pt x="644" y="761"/>
                  </a:lnTo>
                  <a:lnTo>
                    <a:pt x="644" y="761"/>
                  </a:lnTo>
                  <a:lnTo>
                    <a:pt x="644" y="761"/>
                  </a:lnTo>
                  <a:lnTo>
                    <a:pt x="644" y="761"/>
                  </a:lnTo>
                  <a:lnTo>
                    <a:pt x="644" y="761"/>
                  </a:lnTo>
                  <a:lnTo>
                    <a:pt x="646" y="761"/>
                  </a:lnTo>
                  <a:lnTo>
                    <a:pt x="646" y="761"/>
                  </a:lnTo>
                  <a:lnTo>
                    <a:pt x="646" y="761"/>
                  </a:lnTo>
                  <a:lnTo>
                    <a:pt x="644" y="757"/>
                  </a:lnTo>
                  <a:lnTo>
                    <a:pt x="644" y="757"/>
                  </a:lnTo>
                  <a:lnTo>
                    <a:pt x="644" y="757"/>
                  </a:lnTo>
                  <a:lnTo>
                    <a:pt x="644" y="757"/>
                  </a:lnTo>
                  <a:lnTo>
                    <a:pt x="644" y="755"/>
                  </a:lnTo>
                  <a:lnTo>
                    <a:pt x="644" y="755"/>
                  </a:lnTo>
                  <a:lnTo>
                    <a:pt x="642" y="755"/>
                  </a:lnTo>
                  <a:lnTo>
                    <a:pt x="642" y="755"/>
                  </a:lnTo>
                  <a:lnTo>
                    <a:pt x="642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40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8" y="755"/>
                  </a:lnTo>
                  <a:lnTo>
                    <a:pt x="634" y="755"/>
                  </a:lnTo>
                  <a:lnTo>
                    <a:pt x="634" y="755"/>
                  </a:lnTo>
                  <a:lnTo>
                    <a:pt x="634" y="755"/>
                  </a:lnTo>
                  <a:lnTo>
                    <a:pt x="634" y="755"/>
                  </a:lnTo>
                  <a:lnTo>
                    <a:pt x="634" y="753"/>
                  </a:lnTo>
                  <a:lnTo>
                    <a:pt x="634" y="753"/>
                  </a:lnTo>
                  <a:lnTo>
                    <a:pt x="632" y="753"/>
                  </a:lnTo>
                  <a:lnTo>
                    <a:pt x="632" y="753"/>
                  </a:lnTo>
                  <a:lnTo>
                    <a:pt x="632" y="753"/>
                  </a:lnTo>
                  <a:lnTo>
                    <a:pt x="632" y="753"/>
                  </a:lnTo>
                  <a:lnTo>
                    <a:pt x="630" y="753"/>
                  </a:lnTo>
                  <a:lnTo>
                    <a:pt x="630" y="753"/>
                  </a:lnTo>
                  <a:lnTo>
                    <a:pt x="630" y="751"/>
                  </a:lnTo>
                  <a:lnTo>
                    <a:pt x="630" y="751"/>
                  </a:lnTo>
                  <a:lnTo>
                    <a:pt x="630" y="751"/>
                  </a:lnTo>
                  <a:lnTo>
                    <a:pt x="630" y="751"/>
                  </a:lnTo>
                  <a:lnTo>
                    <a:pt x="630" y="747"/>
                  </a:lnTo>
                  <a:lnTo>
                    <a:pt x="630" y="747"/>
                  </a:lnTo>
                  <a:lnTo>
                    <a:pt x="630" y="747"/>
                  </a:lnTo>
                  <a:lnTo>
                    <a:pt x="630" y="747"/>
                  </a:lnTo>
                  <a:lnTo>
                    <a:pt x="630" y="747"/>
                  </a:lnTo>
                  <a:lnTo>
                    <a:pt x="630" y="747"/>
                  </a:lnTo>
                  <a:lnTo>
                    <a:pt x="630" y="747"/>
                  </a:lnTo>
                  <a:lnTo>
                    <a:pt x="630" y="745"/>
                  </a:lnTo>
                  <a:lnTo>
                    <a:pt x="630" y="745"/>
                  </a:lnTo>
                  <a:lnTo>
                    <a:pt x="628" y="745"/>
                  </a:lnTo>
                  <a:lnTo>
                    <a:pt x="628" y="745"/>
                  </a:lnTo>
                  <a:lnTo>
                    <a:pt x="628" y="745"/>
                  </a:lnTo>
                  <a:lnTo>
                    <a:pt x="628" y="745"/>
                  </a:lnTo>
                  <a:lnTo>
                    <a:pt x="628" y="743"/>
                  </a:lnTo>
                  <a:lnTo>
                    <a:pt x="628" y="743"/>
                  </a:lnTo>
                  <a:lnTo>
                    <a:pt x="628" y="743"/>
                  </a:lnTo>
                  <a:lnTo>
                    <a:pt x="628" y="743"/>
                  </a:lnTo>
                  <a:lnTo>
                    <a:pt x="628" y="743"/>
                  </a:lnTo>
                  <a:lnTo>
                    <a:pt x="628" y="743"/>
                  </a:lnTo>
                  <a:lnTo>
                    <a:pt x="628" y="741"/>
                  </a:lnTo>
                  <a:lnTo>
                    <a:pt x="628" y="741"/>
                  </a:lnTo>
                  <a:lnTo>
                    <a:pt x="628" y="741"/>
                  </a:lnTo>
                  <a:lnTo>
                    <a:pt x="628" y="741"/>
                  </a:lnTo>
                  <a:lnTo>
                    <a:pt x="628" y="739"/>
                  </a:lnTo>
                  <a:lnTo>
                    <a:pt x="626" y="739"/>
                  </a:lnTo>
                  <a:lnTo>
                    <a:pt x="626" y="739"/>
                  </a:lnTo>
                  <a:lnTo>
                    <a:pt x="626" y="739"/>
                  </a:lnTo>
                  <a:lnTo>
                    <a:pt x="626" y="739"/>
                  </a:lnTo>
                  <a:lnTo>
                    <a:pt x="624" y="739"/>
                  </a:lnTo>
                  <a:lnTo>
                    <a:pt x="624" y="739"/>
                  </a:lnTo>
                  <a:lnTo>
                    <a:pt x="624" y="739"/>
                  </a:lnTo>
                  <a:lnTo>
                    <a:pt x="624" y="737"/>
                  </a:lnTo>
                  <a:lnTo>
                    <a:pt x="624" y="737"/>
                  </a:lnTo>
                  <a:lnTo>
                    <a:pt x="624" y="737"/>
                  </a:lnTo>
                  <a:lnTo>
                    <a:pt x="624" y="737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5"/>
                  </a:lnTo>
                  <a:lnTo>
                    <a:pt x="624" y="731"/>
                  </a:lnTo>
                  <a:lnTo>
                    <a:pt x="626" y="731"/>
                  </a:lnTo>
                  <a:lnTo>
                    <a:pt x="626" y="729"/>
                  </a:lnTo>
                  <a:lnTo>
                    <a:pt x="628" y="729"/>
                  </a:lnTo>
                  <a:lnTo>
                    <a:pt x="626" y="729"/>
                  </a:lnTo>
                  <a:lnTo>
                    <a:pt x="626" y="729"/>
                  </a:lnTo>
                  <a:lnTo>
                    <a:pt x="626" y="729"/>
                  </a:lnTo>
                  <a:lnTo>
                    <a:pt x="626" y="729"/>
                  </a:lnTo>
                  <a:lnTo>
                    <a:pt x="624" y="729"/>
                  </a:lnTo>
                  <a:lnTo>
                    <a:pt x="624" y="729"/>
                  </a:lnTo>
                  <a:lnTo>
                    <a:pt x="622" y="729"/>
                  </a:lnTo>
                  <a:lnTo>
                    <a:pt x="622" y="729"/>
                  </a:lnTo>
                  <a:lnTo>
                    <a:pt x="622" y="729"/>
                  </a:lnTo>
                  <a:lnTo>
                    <a:pt x="622" y="731"/>
                  </a:lnTo>
                  <a:lnTo>
                    <a:pt x="622" y="729"/>
                  </a:lnTo>
                  <a:lnTo>
                    <a:pt x="622" y="729"/>
                  </a:lnTo>
                  <a:lnTo>
                    <a:pt x="618" y="729"/>
                  </a:lnTo>
                  <a:lnTo>
                    <a:pt x="618" y="729"/>
                  </a:lnTo>
                  <a:lnTo>
                    <a:pt x="618" y="729"/>
                  </a:lnTo>
                  <a:lnTo>
                    <a:pt x="616" y="729"/>
                  </a:lnTo>
                  <a:lnTo>
                    <a:pt x="616" y="729"/>
                  </a:lnTo>
                  <a:lnTo>
                    <a:pt x="616" y="729"/>
                  </a:lnTo>
                  <a:lnTo>
                    <a:pt x="616" y="729"/>
                  </a:lnTo>
                  <a:lnTo>
                    <a:pt x="614" y="729"/>
                  </a:lnTo>
                  <a:lnTo>
                    <a:pt x="614" y="729"/>
                  </a:lnTo>
                  <a:lnTo>
                    <a:pt x="612" y="729"/>
                  </a:lnTo>
                  <a:lnTo>
                    <a:pt x="612" y="729"/>
                  </a:lnTo>
                  <a:lnTo>
                    <a:pt x="606" y="731"/>
                  </a:lnTo>
                  <a:lnTo>
                    <a:pt x="606" y="731"/>
                  </a:lnTo>
                  <a:lnTo>
                    <a:pt x="604" y="735"/>
                  </a:lnTo>
                  <a:lnTo>
                    <a:pt x="604" y="735"/>
                  </a:lnTo>
                  <a:lnTo>
                    <a:pt x="604" y="735"/>
                  </a:lnTo>
                  <a:lnTo>
                    <a:pt x="604" y="735"/>
                  </a:lnTo>
                  <a:lnTo>
                    <a:pt x="604" y="735"/>
                  </a:lnTo>
                  <a:lnTo>
                    <a:pt x="604" y="735"/>
                  </a:lnTo>
                  <a:lnTo>
                    <a:pt x="602" y="737"/>
                  </a:lnTo>
                  <a:lnTo>
                    <a:pt x="602" y="737"/>
                  </a:lnTo>
                  <a:lnTo>
                    <a:pt x="602" y="737"/>
                  </a:lnTo>
                  <a:lnTo>
                    <a:pt x="602" y="737"/>
                  </a:lnTo>
                  <a:lnTo>
                    <a:pt x="602" y="737"/>
                  </a:lnTo>
                  <a:lnTo>
                    <a:pt x="602" y="737"/>
                  </a:lnTo>
                  <a:lnTo>
                    <a:pt x="602" y="737"/>
                  </a:lnTo>
                  <a:lnTo>
                    <a:pt x="600" y="737"/>
                  </a:lnTo>
                  <a:lnTo>
                    <a:pt x="600" y="735"/>
                  </a:lnTo>
                  <a:lnTo>
                    <a:pt x="600" y="735"/>
                  </a:lnTo>
                  <a:lnTo>
                    <a:pt x="598" y="735"/>
                  </a:lnTo>
                  <a:lnTo>
                    <a:pt x="602" y="729"/>
                  </a:lnTo>
                  <a:lnTo>
                    <a:pt x="602" y="729"/>
                  </a:lnTo>
                  <a:lnTo>
                    <a:pt x="602" y="729"/>
                  </a:lnTo>
                  <a:lnTo>
                    <a:pt x="602" y="727"/>
                  </a:lnTo>
                  <a:lnTo>
                    <a:pt x="602" y="727"/>
                  </a:lnTo>
                  <a:lnTo>
                    <a:pt x="602" y="727"/>
                  </a:lnTo>
                  <a:lnTo>
                    <a:pt x="602" y="727"/>
                  </a:lnTo>
                  <a:lnTo>
                    <a:pt x="602" y="727"/>
                  </a:lnTo>
                  <a:lnTo>
                    <a:pt x="602" y="727"/>
                  </a:lnTo>
                  <a:lnTo>
                    <a:pt x="602" y="727"/>
                  </a:lnTo>
                  <a:lnTo>
                    <a:pt x="602" y="725"/>
                  </a:lnTo>
                  <a:lnTo>
                    <a:pt x="600" y="725"/>
                  </a:lnTo>
                  <a:lnTo>
                    <a:pt x="600" y="725"/>
                  </a:lnTo>
                  <a:lnTo>
                    <a:pt x="600" y="725"/>
                  </a:lnTo>
                  <a:lnTo>
                    <a:pt x="600" y="725"/>
                  </a:lnTo>
                  <a:lnTo>
                    <a:pt x="600" y="725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600" y="723"/>
                  </a:lnTo>
                  <a:lnTo>
                    <a:pt x="598" y="723"/>
                  </a:lnTo>
                  <a:lnTo>
                    <a:pt x="598" y="723"/>
                  </a:lnTo>
                  <a:lnTo>
                    <a:pt x="598" y="723"/>
                  </a:lnTo>
                  <a:lnTo>
                    <a:pt x="598" y="719"/>
                  </a:lnTo>
                  <a:lnTo>
                    <a:pt x="598" y="717"/>
                  </a:lnTo>
                  <a:lnTo>
                    <a:pt x="594" y="715"/>
                  </a:lnTo>
                  <a:lnTo>
                    <a:pt x="594" y="713"/>
                  </a:lnTo>
                  <a:lnTo>
                    <a:pt x="594" y="713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598" y="713"/>
                  </a:lnTo>
                  <a:lnTo>
                    <a:pt x="600" y="713"/>
                  </a:lnTo>
                  <a:lnTo>
                    <a:pt x="600" y="713"/>
                  </a:lnTo>
                  <a:lnTo>
                    <a:pt x="600" y="713"/>
                  </a:lnTo>
                  <a:lnTo>
                    <a:pt x="600" y="709"/>
                  </a:lnTo>
                  <a:lnTo>
                    <a:pt x="600" y="709"/>
                  </a:lnTo>
                  <a:lnTo>
                    <a:pt x="600" y="709"/>
                  </a:lnTo>
                  <a:lnTo>
                    <a:pt x="598" y="709"/>
                  </a:lnTo>
                  <a:lnTo>
                    <a:pt x="598" y="707"/>
                  </a:lnTo>
                  <a:lnTo>
                    <a:pt x="598" y="705"/>
                  </a:lnTo>
                  <a:lnTo>
                    <a:pt x="598" y="705"/>
                  </a:lnTo>
                  <a:lnTo>
                    <a:pt x="598" y="705"/>
                  </a:lnTo>
                  <a:lnTo>
                    <a:pt x="598" y="705"/>
                  </a:lnTo>
                  <a:lnTo>
                    <a:pt x="598" y="705"/>
                  </a:lnTo>
                  <a:lnTo>
                    <a:pt x="600" y="705"/>
                  </a:lnTo>
                  <a:lnTo>
                    <a:pt x="600" y="703"/>
                  </a:lnTo>
                  <a:lnTo>
                    <a:pt x="600" y="701"/>
                  </a:lnTo>
                  <a:lnTo>
                    <a:pt x="600" y="701"/>
                  </a:lnTo>
                  <a:lnTo>
                    <a:pt x="600" y="701"/>
                  </a:lnTo>
                  <a:lnTo>
                    <a:pt x="600" y="701"/>
                  </a:lnTo>
                  <a:lnTo>
                    <a:pt x="600" y="703"/>
                  </a:lnTo>
                  <a:lnTo>
                    <a:pt x="602" y="703"/>
                  </a:lnTo>
                  <a:lnTo>
                    <a:pt x="602" y="703"/>
                  </a:lnTo>
                  <a:lnTo>
                    <a:pt x="602" y="701"/>
                  </a:lnTo>
                  <a:lnTo>
                    <a:pt x="602" y="701"/>
                  </a:lnTo>
                  <a:lnTo>
                    <a:pt x="602" y="701"/>
                  </a:lnTo>
                  <a:lnTo>
                    <a:pt x="604" y="701"/>
                  </a:lnTo>
                  <a:lnTo>
                    <a:pt x="604" y="699"/>
                  </a:lnTo>
                  <a:lnTo>
                    <a:pt x="604" y="699"/>
                  </a:lnTo>
                  <a:lnTo>
                    <a:pt x="604" y="699"/>
                  </a:lnTo>
                  <a:lnTo>
                    <a:pt x="604" y="699"/>
                  </a:lnTo>
                  <a:lnTo>
                    <a:pt x="604" y="699"/>
                  </a:lnTo>
                  <a:lnTo>
                    <a:pt x="604" y="699"/>
                  </a:lnTo>
                  <a:lnTo>
                    <a:pt x="604" y="697"/>
                  </a:lnTo>
                  <a:lnTo>
                    <a:pt x="604" y="697"/>
                  </a:lnTo>
                  <a:lnTo>
                    <a:pt x="604" y="697"/>
                  </a:lnTo>
                  <a:lnTo>
                    <a:pt x="604" y="697"/>
                  </a:lnTo>
                  <a:lnTo>
                    <a:pt x="604" y="697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1"/>
                  </a:lnTo>
                  <a:lnTo>
                    <a:pt x="604" y="691"/>
                  </a:lnTo>
                  <a:lnTo>
                    <a:pt x="604" y="691"/>
                  </a:lnTo>
                  <a:lnTo>
                    <a:pt x="606" y="695"/>
                  </a:lnTo>
                  <a:lnTo>
                    <a:pt x="606" y="695"/>
                  </a:lnTo>
                  <a:lnTo>
                    <a:pt x="606" y="695"/>
                  </a:lnTo>
                  <a:lnTo>
                    <a:pt x="606" y="695"/>
                  </a:lnTo>
                  <a:lnTo>
                    <a:pt x="608" y="695"/>
                  </a:lnTo>
                  <a:lnTo>
                    <a:pt x="608" y="695"/>
                  </a:lnTo>
                  <a:lnTo>
                    <a:pt x="608" y="695"/>
                  </a:lnTo>
                  <a:lnTo>
                    <a:pt x="608" y="695"/>
                  </a:lnTo>
                  <a:lnTo>
                    <a:pt x="608" y="691"/>
                  </a:lnTo>
                  <a:lnTo>
                    <a:pt x="608" y="691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08" y="689"/>
                  </a:lnTo>
                  <a:lnTo>
                    <a:pt x="612" y="687"/>
                  </a:lnTo>
                  <a:lnTo>
                    <a:pt x="612" y="687"/>
                  </a:lnTo>
                  <a:lnTo>
                    <a:pt x="612" y="687"/>
                  </a:lnTo>
                  <a:lnTo>
                    <a:pt x="612" y="687"/>
                  </a:lnTo>
                  <a:lnTo>
                    <a:pt x="612" y="687"/>
                  </a:lnTo>
                  <a:lnTo>
                    <a:pt x="612" y="687"/>
                  </a:lnTo>
                  <a:lnTo>
                    <a:pt x="612" y="687"/>
                  </a:lnTo>
                  <a:lnTo>
                    <a:pt x="614" y="687"/>
                  </a:lnTo>
                  <a:lnTo>
                    <a:pt x="614" y="687"/>
                  </a:lnTo>
                  <a:lnTo>
                    <a:pt x="614" y="687"/>
                  </a:lnTo>
                  <a:lnTo>
                    <a:pt x="614" y="687"/>
                  </a:lnTo>
                  <a:lnTo>
                    <a:pt x="614" y="687"/>
                  </a:lnTo>
                  <a:lnTo>
                    <a:pt x="614" y="687"/>
                  </a:lnTo>
                  <a:lnTo>
                    <a:pt x="614" y="687"/>
                  </a:lnTo>
                  <a:lnTo>
                    <a:pt x="614" y="685"/>
                  </a:lnTo>
                  <a:lnTo>
                    <a:pt x="614" y="685"/>
                  </a:lnTo>
                  <a:lnTo>
                    <a:pt x="614" y="685"/>
                  </a:lnTo>
                  <a:lnTo>
                    <a:pt x="614" y="685"/>
                  </a:lnTo>
                  <a:lnTo>
                    <a:pt x="614" y="685"/>
                  </a:lnTo>
                  <a:lnTo>
                    <a:pt x="614" y="685"/>
                  </a:lnTo>
                  <a:lnTo>
                    <a:pt x="614" y="685"/>
                  </a:lnTo>
                  <a:lnTo>
                    <a:pt x="614" y="681"/>
                  </a:lnTo>
                  <a:lnTo>
                    <a:pt x="612" y="681"/>
                  </a:lnTo>
                  <a:lnTo>
                    <a:pt x="612" y="681"/>
                  </a:lnTo>
                  <a:lnTo>
                    <a:pt x="612" y="681"/>
                  </a:lnTo>
                  <a:lnTo>
                    <a:pt x="612" y="681"/>
                  </a:lnTo>
                  <a:lnTo>
                    <a:pt x="612" y="681"/>
                  </a:lnTo>
                  <a:lnTo>
                    <a:pt x="612" y="681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2" y="679"/>
                  </a:lnTo>
                  <a:lnTo>
                    <a:pt x="614" y="679"/>
                  </a:lnTo>
                  <a:lnTo>
                    <a:pt x="614" y="679"/>
                  </a:lnTo>
                  <a:lnTo>
                    <a:pt x="614" y="679"/>
                  </a:lnTo>
                  <a:lnTo>
                    <a:pt x="614" y="679"/>
                  </a:lnTo>
                  <a:lnTo>
                    <a:pt x="614" y="679"/>
                  </a:lnTo>
                  <a:lnTo>
                    <a:pt x="614" y="677"/>
                  </a:lnTo>
                  <a:lnTo>
                    <a:pt x="614" y="677"/>
                  </a:lnTo>
                  <a:lnTo>
                    <a:pt x="614" y="677"/>
                  </a:lnTo>
                  <a:lnTo>
                    <a:pt x="614" y="677"/>
                  </a:lnTo>
                  <a:lnTo>
                    <a:pt x="612" y="677"/>
                  </a:lnTo>
                  <a:lnTo>
                    <a:pt x="612" y="677"/>
                  </a:lnTo>
                  <a:lnTo>
                    <a:pt x="612" y="677"/>
                  </a:lnTo>
                  <a:lnTo>
                    <a:pt x="612" y="675"/>
                  </a:lnTo>
                  <a:lnTo>
                    <a:pt x="612" y="675"/>
                  </a:lnTo>
                  <a:lnTo>
                    <a:pt x="612" y="675"/>
                  </a:lnTo>
                  <a:lnTo>
                    <a:pt x="612" y="671"/>
                  </a:lnTo>
                  <a:lnTo>
                    <a:pt x="612" y="671"/>
                  </a:lnTo>
                  <a:lnTo>
                    <a:pt x="614" y="671"/>
                  </a:lnTo>
                  <a:lnTo>
                    <a:pt x="612" y="671"/>
                  </a:lnTo>
                  <a:lnTo>
                    <a:pt x="612" y="667"/>
                  </a:lnTo>
                  <a:lnTo>
                    <a:pt x="612" y="667"/>
                  </a:lnTo>
                  <a:lnTo>
                    <a:pt x="612" y="667"/>
                  </a:lnTo>
                  <a:lnTo>
                    <a:pt x="612" y="667"/>
                  </a:lnTo>
                  <a:lnTo>
                    <a:pt x="612" y="665"/>
                  </a:lnTo>
                  <a:lnTo>
                    <a:pt x="612" y="665"/>
                  </a:lnTo>
                  <a:lnTo>
                    <a:pt x="612" y="665"/>
                  </a:lnTo>
                  <a:lnTo>
                    <a:pt x="612" y="665"/>
                  </a:lnTo>
                  <a:lnTo>
                    <a:pt x="612" y="665"/>
                  </a:lnTo>
                  <a:lnTo>
                    <a:pt x="612" y="665"/>
                  </a:lnTo>
                  <a:lnTo>
                    <a:pt x="612" y="663"/>
                  </a:lnTo>
                  <a:lnTo>
                    <a:pt x="612" y="663"/>
                  </a:lnTo>
                  <a:lnTo>
                    <a:pt x="612" y="663"/>
                  </a:lnTo>
                  <a:lnTo>
                    <a:pt x="612" y="663"/>
                  </a:lnTo>
                  <a:lnTo>
                    <a:pt x="612" y="661"/>
                  </a:lnTo>
                  <a:lnTo>
                    <a:pt x="608" y="661"/>
                  </a:lnTo>
                  <a:lnTo>
                    <a:pt x="608" y="661"/>
                  </a:lnTo>
                  <a:lnTo>
                    <a:pt x="612" y="661"/>
                  </a:lnTo>
                  <a:lnTo>
                    <a:pt x="612" y="661"/>
                  </a:lnTo>
                  <a:lnTo>
                    <a:pt x="612" y="661"/>
                  </a:lnTo>
                  <a:lnTo>
                    <a:pt x="608" y="659"/>
                  </a:lnTo>
                  <a:lnTo>
                    <a:pt x="608" y="657"/>
                  </a:lnTo>
                  <a:lnTo>
                    <a:pt x="608" y="657"/>
                  </a:lnTo>
                  <a:lnTo>
                    <a:pt x="608" y="657"/>
                  </a:lnTo>
                  <a:lnTo>
                    <a:pt x="608" y="657"/>
                  </a:lnTo>
                  <a:lnTo>
                    <a:pt x="608" y="657"/>
                  </a:lnTo>
                  <a:lnTo>
                    <a:pt x="608" y="657"/>
                  </a:lnTo>
                  <a:lnTo>
                    <a:pt x="608" y="657"/>
                  </a:lnTo>
                  <a:lnTo>
                    <a:pt x="608" y="653"/>
                  </a:lnTo>
                  <a:lnTo>
                    <a:pt x="606" y="653"/>
                  </a:lnTo>
                  <a:lnTo>
                    <a:pt x="606" y="651"/>
                  </a:lnTo>
                  <a:lnTo>
                    <a:pt x="606" y="651"/>
                  </a:lnTo>
                  <a:lnTo>
                    <a:pt x="606" y="649"/>
                  </a:lnTo>
                  <a:lnTo>
                    <a:pt x="606" y="649"/>
                  </a:lnTo>
                  <a:lnTo>
                    <a:pt x="606" y="649"/>
                  </a:lnTo>
                  <a:lnTo>
                    <a:pt x="606" y="649"/>
                  </a:lnTo>
                  <a:lnTo>
                    <a:pt x="606" y="649"/>
                  </a:lnTo>
                  <a:lnTo>
                    <a:pt x="606" y="649"/>
                  </a:lnTo>
                  <a:lnTo>
                    <a:pt x="606" y="649"/>
                  </a:lnTo>
                  <a:lnTo>
                    <a:pt x="606" y="647"/>
                  </a:lnTo>
                  <a:lnTo>
                    <a:pt x="604" y="643"/>
                  </a:lnTo>
                  <a:lnTo>
                    <a:pt x="604" y="643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4" y="641"/>
                  </a:lnTo>
                  <a:lnTo>
                    <a:pt x="602" y="641"/>
                  </a:lnTo>
                  <a:lnTo>
                    <a:pt x="602" y="641"/>
                  </a:lnTo>
                  <a:lnTo>
                    <a:pt x="602" y="641"/>
                  </a:lnTo>
                  <a:lnTo>
                    <a:pt x="602" y="641"/>
                  </a:lnTo>
                  <a:lnTo>
                    <a:pt x="602" y="641"/>
                  </a:lnTo>
                  <a:lnTo>
                    <a:pt x="600" y="641"/>
                  </a:lnTo>
                  <a:lnTo>
                    <a:pt x="600" y="639"/>
                  </a:lnTo>
                  <a:lnTo>
                    <a:pt x="600" y="639"/>
                  </a:lnTo>
                  <a:lnTo>
                    <a:pt x="600" y="639"/>
                  </a:lnTo>
                  <a:lnTo>
                    <a:pt x="600" y="641"/>
                  </a:lnTo>
                  <a:lnTo>
                    <a:pt x="600" y="641"/>
                  </a:lnTo>
                  <a:lnTo>
                    <a:pt x="600" y="641"/>
                  </a:lnTo>
                  <a:lnTo>
                    <a:pt x="600" y="643"/>
                  </a:lnTo>
                  <a:lnTo>
                    <a:pt x="600" y="643"/>
                  </a:lnTo>
                  <a:lnTo>
                    <a:pt x="598" y="643"/>
                  </a:lnTo>
                  <a:lnTo>
                    <a:pt x="598" y="643"/>
                  </a:lnTo>
                  <a:lnTo>
                    <a:pt x="598" y="643"/>
                  </a:lnTo>
                  <a:lnTo>
                    <a:pt x="594" y="641"/>
                  </a:lnTo>
                  <a:lnTo>
                    <a:pt x="594" y="639"/>
                  </a:lnTo>
                  <a:lnTo>
                    <a:pt x="594" y="639"/>
                  </a:lnTo>
                  <a:lnTo>
                    <a:pt x="594" y="639"/>
                  </a:lnTo>
                  <a:lnTo>
                    <a:pt x="594" y="639"/>
                  </a:lnTo>
                  <a:lnTo>
                    <a:pt x="594" y="637"/>
                  </a:lnTo>
                  <a:lnTo>
                    <a:pt x="594" y="637"/>
                  </a:lnTo>
                  <a:lnTo>
                    <a:pt x="594" y="637"/>
                  </a:lnTo>
                  <a:lnTo>
                    <a:pt x="594" y="637"/>
                  </a:lnTo>
                  <a:lnTo>
                    <a:pt x="594" y="637"/>
                  </a:lnTo>
                  <a:lnTo>
                    <a:pt x="592" y="637"/>
                  </a:lnTo>
                  <a:lnTo>
                    <a:pt x="592" y="637"/>
                  </a:lnTo>
                  <a:lnTo>
                    <a:pt x="592" y="635"/>
                  </a:lnTo>
                  <a:lnTo>
                    <a:pt x="592" y="635"/>
                  </a:lnTo>
                  <a:lnTo>
                    <a:pt x="592" y="635"/>
                  </a:lnTo>
                  <a:lnTo>
                    <a:pt x="592" y="635"/>
                  </a:lnTo>
                  <a:lnTo>
                    <a:pt x="592" y="635"/>
                  </a:lnTo>
                  <a:lnTo>
                    <a:pt x="592" y="635"/>
                  </a:lnTo>
                  <a:lnTo>
                    <a:pt x="592" y="635"/>
                  </a:lnTo>
                  <a:lnTo>
                    <a:pt x="590" y="631"/>
                  </a:lnTo>
                  <a:lnTo>
                    <a:pt x="590" y="631"/>
                  </a:lnTo>
                  <a:lnTo>
                    <a:pt x="590" y="631"/>
                  </a:lnTo>
                  <a:lnTo>
                    <a:pt x="590" y="631"/>
                  </a:lnTo>
                  <a:lnTo>
                    <a:pt x="590" y="629"/>
                  </a:lnTo>
                  <a:lnTo>
                    <a:pt x="590" y="629"/>
                  </a:lnTo>
                  <a:lnTo>
                    <a:pt x="590" y="629"/>
                  </a:lnTo>
                  <a:lnTo>
                    <a:pt x="588" y="627"/>
                  </a:lnTo>
                  <a:lnTo>
                    <a:pt x="588" y="627"/>
                  </a:lnTo>
                  <a:lnTo>
                    <a:pt x="588" y="627"/>
                  </a:lnTo>
                  <a:lnTo>
                    <a:pt x="588" y="627"/>
                  </a:lnTo>
                  <a:lnTo>
                    <a:pt x="588" y="625"/>
                  </a:lnTo>
                  <a:lnTo>
                    <a:pt x="588" y="625"/>
                  </a:lnTo>
                  <a:lnTo>
                    <a:pt x="586" y="625"/>
                  </a:lnTo>
                  <a:lnTo>
                    <a:pt x="586" y="625"/>
                  </a:lnTo>
                  <a:lnTo>
                    <a:pt x="584" y="623"/>
                  </a:lnTo>
                  <a:lnTo>
                    <a:pt x="584" y="623"/>
                  </a:lnTo>
                  <a:lnTo>
                    <a:pt x="584" y="623"/>
                  </a:lnTo>
                  <a:lnTo>
                    <a:pt x="580" y="623"/>
                  </a:lnTo>
                  <a:lnTo>
                    <a:pt x="580" y="623"/>
                  </a:lnTo>
                  <a:lnTo>
                    <a:pt x="578" y="621"/>
                  </a:lnTo>
                  <a:lnTo>
                    <a:pt x="578" y="621"/>
                  </a:lnTo>
                  <a:lnTo>
                    <a:pt x="578" y="621"/>
                  </a:lnTo>
                  <a:lnTo>
                    <a:pt x="578" y="621"/>
                  </a:lnTo>
                  <a:lnTo>
                    <a:pt x="576" y="621"/>
                  </a:lnTo>
                  <a:lnTo>
                    <a:pt x="576" y="619"/>
                  </a:lnTo>
                  <a:lnTo>
                    <a:pt x="576" y="619"/>
                  </a:lnTo>
                  <a:lnTo>
                    <a:pt x="576" y="619"/>
                  </a:lnTo>
                  <a:lnTo>
                    <a:pt x="576" y="621"/>
                  </a:lnTo>
                  <a:lnTo>
                    <a:pt x="576" y="621"/>
                  </a:lnTo>
                  <a:lnTo>
                    <a:pt x="576" y="621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4" y="623"/>
                  </a:lnTo>
                  <a:lnTo>
                    <a:pt x="576" y="625"/>
                  </a:lnTo>
                  <a:lnTo>
                    <a:pt x="576" y="625"/>
                  </a:lnTo>
                  <a:lnTo>
                    <a:pt x="574" y="625"/>
                  </a:lnTo>
                  <a:lnTo>
                    <a:pt x="574" y="625"/>
                  </a:lnTo>
                  <a:lnTo>
                    <a:pt x="574" y="625"/>
                  </a:lnTo>
                  <a:lnTo>
                    <a:pt x="574" y="625"/>
                  </a:lnTo>
                  <a:lnTo>
                    <a:pt x="574" y="625"/>
                  </a:lnTo>
                  <a:lnTo>
                    <a:pt x="574" y="625"/>
                  </a:lnTo>
                  <a:lnTo>
                    <a:pt x="574" y="627"/>
                  </a:lnTo>
                  <a:lnTo>
                    <a:pt x="574" y="627"/>
                  </a:lnTo>
                  <a:lnTo>
                    <a:pt x="570" y="627"/>
                  </a:lnTo>
                  <a:lnTo>
                    <a:pt x="570" y="625"/>
                  </a:lnTo>
                  <a:lnTo>
                    <a:pt x="568" y="625"/>
                  </a:lnTo>
                  <a:lnTo>
                    <a:pt x="568" y="625"/>
                  </a:lnTo>
                  <a:lnTo>
                    <a:pt x="568" y="625"/>
                  </a:lnTo>
                  <a:lnTo>
                    <a:pt x="568" y="625"/>
                  </a:lnTo>
                  <a:lnTo>
                    <a:pt x="568" y="625"/>
                  </a:lnTo>
                  <a:lnTo>
                    <a:pt x="566" y="623"/>
                  </a:lnTo>
                  <a:lnTo>
                    <a:pt x="566" y="623"/>
                  </a:lnTo>
                  <a:lnTo>
                    <a:pt x="566" y="623"/>
                  </a:lnTo>
                  <a:lnTo>
                    <a:pt x="564" y="623"/>
                  </a:lnTo>
                  <a:lnTo>
                    <a:pt x="564" y="625"/>
                  </a:lnTo>
                  <a:lnTo>
                    <a:pt x="564" y="623"/>
                  </a:lnTo>
                  <a:lnTo>
                    <a:pt x="562" y="623"/>
                  </a:lnTo>
                  <a:lnTo>
                    <a:pt x="562" y="623"/>
                  </a:lnTo>
                  <a:lnTo>
                    <a:pt x="560" y="623"/>
                  </a:lnTo>
                  <a:lnTo>
                    <a:pt x="560" y="623"/>
                  </a:lnTo>
                  <a:lnTo>
                    <a:pt x="560" y="623"/>
                  </a:lnTo>
                  <a:lnTo>
                    <a:pt x="558" y="621"/>
                  </a:lnTo>
                  <a:lnTo>
                    <a:pt x="558" y="621"/>
                  </a:lnTo>
                  <a:lnTo>
                    <a:pt x="554" y="621"/>
                  </a:lnTo>
                  <a:lnTo>
                    <a:pt x="554" y="621"/>
                  </a:lnTo>
                  <a:lnTo>
                    <a:pt x="554" y="621"/>
                  </a:lnTo>
                  <a:lnTo>
                    <a:pt x="554" y="621"/>
                  </a:lnTo>
                  <a:lnTo>
                    <a:pt x="554" y="623"/>
                  </a:lnTo>
                  <a:lnTo>
                    <a:pt x="552" y="623"/>
                  </a:lnTo>
                  <a:lnTo>
                    <a:pt x="552" y="623"/>
                  </a:lnTo>
                  <a:lnTo>
                    <a:pt x="552" y="623"/>
                  </a:lnTo>
                  <a:lnTo>
                    <a:pt x="552" y="623"/>
                  </a:lnTo>
                  <a:lnTo>
                    <a:pt x="552" y="623"/>
                  </a:lnTo>
                  <a:lnTo>
                    <a:pt x="552" y="623"/>
                  </a:lnTo>
                  <a:lnTo>
                    <a:pt x="552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50" y="623"/>
                  </a:lnTo>
                  <a:lnTo>
                    <a:pt x="548" y="623"/>
                  </a:lnTo>
                  <a:lnTo>
                    <a:pt x="550" y="623"/>
                  </a:lnTo>
                  <a:lnTo>
                    <a:pt x="550" y="621"/>
                  </a:lnTo>
                  <a:lnTo>
                    <a:pt x="550" y="621"/>
                  </a:lnTo>
                  <a:lnTo>
                    <a:pt x="550" y="621"/>
                  </a:lnTo>
                  <a:lnTo>
                    <a:pt x="550" y="621"/>
                  </a:lnTo>
                  <a:lnTo>
                    <a:pt x="550" y="619"/>
                  </a:lnTo>
                  <a:lnTo>
                    <a:pt x="550" y="619"/>
                  </a:lnTo>
                  <a:lnTo>
                    <a:pt x="550" y="619"/>
                  </a:lnTo>
                  <a:lnTo>
                    <a:pt x="550" y="619"/>
                  </a:lnTo>
                  <a:lnTo>
                    <a:pt x="550" y="619"/>
                  </a:lnTo>
                  <a:lnTo>
                    <a:pt x="550" y="619"/>
                  </a:lnTo>
                  <a:lnTo>
                    <a:pt x="552" y="619"/>
                  </a:lnTo>
                  <a:lnTo>
                    <a:pt x="552" y="615"/>
                  </a:lnTo>
                  <a:lnTo>
                    <a:pt x="552" y="615"/>
                  </a:lnTo>
                  <a:lnTo>
                    <a:pt x="552" y="615"/>
                  </a:lnTo>
                  <a:lnTo>
                    <a:pt x="552" y="615"/>
                  </a:lnTo>
                  <a:lnTo>
                    <a:pt x="552" y="613"/>
                  </a:lnTo>
                  <a:lnTo>
                    <a:pt x="554" y="613"/>
                  </a:lnTo>
                  <a:lnTo>
                    <a:pt x="552" y="611"/>
                  </a:lnTo>
                  <a:lnTo>
                    <a:pt x="552" y="611"/>
                  </a:lnTo>
                  <a:lnTo>
                    <a:pt x="552" y="611"/>
                  </a:lnTo>
                  <a:lnTo>
                    <a:pt x="550" y="609"/>
                  </a:lnTo>
                  <a:lnTo>
                    <a:pt x="550" y="609"/>
                  </a:lnTo>
                  <a:lnTo>
                    <a:pt x="550" y="609"/>
                  </a:lnTo>
                  <a:lnTo>
                    <a:pt x="550" y="609"/>
                  </a:lnTo>
                  <a:lnTo>
                    <a:pt x="550" y="609"/>
                  </a:lnTo>
                  <a:lnTo>
                    <a:pt x="550" y="609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50" y="605"/>
                  </a:lnTo>
                  <a:lnTo>
                    <a:pt x="548" y="605"/>
                  </a:lnTo>
                  <a:lnTo>
                    <a:pt x="546" y="605"/>
                  </a:lnTo>
                  <a:lnTo>
                    <a:pt x="546" y="605"/>
                  </a:lnTo>
                  <a:lnTo>
                    <a:pt x="546" y="605"/>
                  </a:lnTo>
                  <a:lnTo>
                    <a:pt x="546" y="605"/>
                  </a:lnTo>
                  <a:lnTo>
                    <a:pt x="546" y="609"/>
                  </a:lnTo>
                  <a:lnTo>
                    <a:pt x="542" y="611"/>
                  </a:lnTo>
                  <a:lnTo>
                    <a:pt x="542" y="609"/>
                  </a:lnTo>
                  <a:lnTo>
                    <a:pt x="542" y="609"/>
                  </a:lnTo>
                  <a:lnTo>
                    <a:pt x="542" y="609"/>
                  </a:lnTo>
                  <a:lnTo>
                    <a:pt x="542" y="605"/>
                  </a:lnTo>
                  <a:lnTo>
                    <a:pt x="542" y="605"/>
                  </a:lnTo>
                  <a:lnTo>
                    <a:pt x="542" y="605"/>
                  </a:lnTo>
                  <a:lnTo>
                    <a:pt x="540" y="605"/>
                  </a:lnTo>
                  <a:lnTo>
                    <a:pt x="542" y="605"/>
                  </a:lnTo>
                  <a:lnTo>
                    <a:pt x="542" y="603"/>
                  </a:lnTo>
                  <a:lnTo>
                    <a:pt x="542" y="603"/>
                  </a:lnTo>
                  <a:lnTo>
                    <a:pt x="542" y="603"/>
                  </a:lnTo>
                  <a:lnTo>
                    <a:pt x="542" y="603"/>
                  </a:lnTo>
                  <a:lnTo>
                    <a:pt x="542" y="603"/>
                  </a:lnTo>
                  <a:lnTo>
                    <a:pt x="546" y="603"/>
                  </a:lnTo>
                  <a:lnTo>
                    <a:pt x="546" y="603"/>
                  </a:lnTo>
                  <a:lnTo>
                    <a:pt x="546" y="601"/>
                  </a:lnTo>
                  <a:lnTo>
                    <a:pt x="546" y="601"/>
                  </a:lnTo>
                  <a:lnTo>
                    <a:pt x="546" y="601"/>
                  </a:lnTo>
                  <a:lnTo>
                    <a:pt x="546" y="601"/>
                  </a:lnTo>
                  <a:lnTo>
                    <a:pt x="546" y="599"/>
                  </a:lnTo>
                  <a:lnTo>
                    <a:pt x="546" y="601"/>
                  </a:lnTo>
                  <a:lnTo>
                    <a:pt x="546" y="601"/>
                  </a:lnTo>
                  <a:lnTo>
                    <a:pt x="546" y="601"/>
                  </a:lnTo>
                  <a:lnTo>
                    <a:pt x="542" y="601"/>
                  </a:lnTo>
                  <a:lnTo>
                    <a:pt x="542" y="601"/>
                  </a:lnTo>
                  <a:lnTo>
                    <a:pt x="542" y="599"/>
                  </a:lnTo>
                  <a:lnTo>
                    <a:pt x="540" y="599"/>
                  </a:lnTo>
                  <a:lnTo>
                    <a:pt x="540" y="599"/>
                  </a:lnTo>
                  <a:lnTo>
                    <a:pt x="540" y="599"/>
                  </a:lnTo>
                  <a:lnTo>
                    <a:pt x="540" y="597"/>
                  </a:lnTo>
                  <a:lnTo>
                    <a:pt x="540" y="597"/>
                  </a:lnTo>
                  <a:lnTo>
                    <a:pt x="538" y="597"/>
                  </a:lnTo>
                  <a:lnTo>
                    <a:pt x="538" y="597"/>
                  </a:lnTo>
                  <a:lnTo>
                    <a:pt x="538" y="597"/>
                  </a:lnTo>
                  <a:lnTo>
                    <a:pt x="538" y="597"/>
                  </a:lnTo>
                  <a:lnTo>
                    <a:pt x="538" y="597"/>
                  </a:lnTo>
                  <a:lnTo>
                    <a:pt x="536" y="597"/>
                  </a:lnTo>
                  <a:lnTo>
                    <a:pt x="536" y="597"/>
                  </a:lnTo>
                  <a:lnTo>
                    <a:pt x="536" y="597"/>
                  </a:lnTo>
                  <a:lnTo>
                    <a:pt x="536" y="597"/>
                  </a:lnTo>
                  <a:lnTo>
                    <a:pt x="532" y="597"/>
                  </a:lnTo>
                  <a:lnTo>
                    <a:pt x="532" y="599"/>
                  </a:lnTo>
                  <a:lnTo>
                    <a:pt x="532" y="599"/>
                  </a:lnTo>
                  <a:lnTo>
                    <a:pt x="532" y="599"/>
                  </a:lnTo>
                  <a:lnTo>
                    <a:pt x="530" y="599"/>
                  </a:lnTo>
                  <a:lnTo>
                    <a:pt x="530" y="599"/>
                  </a:lnTo>
                  <a:lnTo>
                    <a:pt x="530" y="599"/>
                  </a:lnTo>
                  <a:lnTo>
                    <a:pt x="530" y="599"/>
                  </a:lnTo>
                  <a:lnTo>
                    <a:pt x="530" y="599"/>
                  </a:lnTo>
                  <a:lnTo>
                    <a:pt x="530" y="599"/>
                  </a:lnTo>
                  <a:lnTo>
                    <a:pt x="530" y="599"/>
                  </a:lnTo>
                  <a:lnTo>
                    <a:pt x="530" y="601"/>
                  </a:lnTo>
                  <a:lnTo>
                    <a:pt x="530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1"/>
                  </a:lnTo>
                  <a:lnTo>
                    <a:pt x="528" y="603"/>
                  </a:lnTo>
                  <a:lnTo>
                    <a:pt x="528" y="603"/>
                  </a:lnTo>
                  <a:lnTo>
                    <a:pt x="528" y="603"/>
                  </a:lnTo>
                  <a:lnTo>
                    <a:pt x="528" y="603"/>
                  </a:lnTo>
                  <a:lnTo>
                    <a:pt x="528" y="603"/>
                  </a:lnTo>
                  <a:lnTo>
                    <a:pt x="528" y="605"/>
                  </a:lnTo>
                  <a:lnTo>
                    <a:pt x="528" y="605"/>
                  </a:lnTo>
                  <a:lnTo>
                    <a:pt x="528" y="605"/>
                  </a:lnTo>
                  <a:lnTo>
                    <a:pt x="526" y="605"/>
                  </a:lnTo>
                  <a:lnTo>
                    <a:pt x="526" y="605"/>
                  </a:lnTo>
                  <a:lnTo>
                    <a:pt x="526" y="605"/>
                  </a:lnTo>
                  <a:lnTo>
                    <a:pt x="526" y="605"/>
                  </a:lnTo>
                  <a:lnTo>
                    <a:pt x="524" y="605"/>
                  </a:lnTo>
                  <a:lnTo>
                    <a:pt x="524" y="605"/>
                  </a:lnTo>
                  <a:lnTo>
                    <a:pt x="524" y="605"/>
                  </a:lnTo>
                  <a:lnTo>
                    <a:pt x="522" y="605"/>
                  </a:lnTo>
                  <a:lnTo>
                    <a:pt x="522" y="605"/>
                  </a:lnTo>
                  <a:lnTo>
                    <a:pt x="522" y="605"/>
                  </a:lnTo>
                  <a:lnTo>
                    <a:pt x="522" y="605"/>
                  </a:lnTo>
                  <a:lnTo>
                    <a:pt x="522" y="603"/>
                  </a:lnTo>
                  <a:lnTo>
                    <a:pt x="522" y="603"/>
                  </a:lnTo>
                  <a:lnTo>
                    <a:pt x="520" y="603"/>
                  </a:lnTo>
                  <a:lnTo>
                    <a:pt x="520" y="603"/>
                  </a:lnTo>
                  <a:lnTo>
                    <a:pt x="520" y="603"/>
                  </a:lnTo>
                  <a:lnTo>
                    <a:pt x="518" y="603"/>
                  </a:lnTo>
                  <a:lnTo>
                    <a:pt x="518" y="603"/>
                  </a:lnTo>
                  <a:lnTo>
                    <a:pt x="518" y="603"/>
                  </a:lnTo>
                  <a:lnTo>
                    <a:pt x="518" y="603"/>
                  </a:lnTo>
                  <a:lnTo>
                    <a:pt x="518" y="603"/>
                  </a:lnTo>
                  <a:lnTo>
                    <a:pt x="518" y="603"/>
                  </a:lnTo>
                  <a:lnTo>
                    <a:pt x="518" y="603"/>
                  </a:lnTo>
                  <a:lnTo>
                    <a:pt x="514" y="603"/>
                  </a:lnTo>
                  <a:lnTo>
                    <a:pt x="514" y="603"/>
                  </a:lnTo>
                  <a:lnTo>
                    <a:pt x="514" y="603"/>
                  </a:lnTo>
                  <a:lnTo>
                    <a:pt x="512" y="603"/>
                  </a:lnTo>
                  <a:lnTo>
                    <a:pt x="512" y="603"/>
                  </a:lnTo>
                  <a:lnTo>
                    <a:pt x="512" y="603"/>
                  </a:lnTo>
                  <a:lnTo>
                    <a:pt x="512" y="601"/>
                  </a:lnTo>
                  <a:lnTo>
                    <a:pt x="512" y="601"/>
                  </a:lnTo>
                  <a:lnTo>
                    <a:pt x="510" y="599"/>
                  </a:lnTo>
                  <a:lnTo>
                    <a:pt x="510" y="599"/>
                  </a:lnTo>
                  <a:lnTo>
                    <a:pt x="510" y="599"/>
                  </a:lnTo>
                  <a:lnTo>
                    <a:pt x="508" y="599"/>
                  </a:lnTo>
                  <a:lnTo>
                    <a:pt x="508" y="599"/>
                  </a:lnTo>
                  <a:lnTo>
                    <a:pt x="508" y="601"/>
                  </a:lnTo>
                  <a:lnTo>
                    <a:pt x="508" y="601"/>
                  </a:lnTo>
                  <a:lnTo>
                    <a:pt x="508" y="601"/>
                  </a:lnTo>
                  <a:lnTo>
                    <a:pt x="504" y="601"/>
                  </a:lnTo>
                  <a:lnTo>
                    <a:pt x="504" y="601"/>
                  </a:lnTo>
                  <a:lnTo>
                    <a:pt x="504" y="601"/>
                  </a:lnTo>
                  <a:lnTo>
                    <a:pt x="504" y="601"/>
                  </a:lnTo>
                  <a:lnTo>
                    <a:pt x="502" y="601"/>
                  </a:lnTo>
                  <a:lnTo>
                    <a:pt x="502" y="603"/>
                  </a:lnTo>
                  <a:lnTo>
                    <a:pt x="502" y="603"/>
                  </a:lnTo>
                  <a:lnTo>
                    <a:pt x="502" y="603"/>
                  </a:lnTo>
                  <a:lnTo>
                    <a:pt x="502" y="603"/>
                  </a:lnTo>
                  <a:lnTo>
                    <a:pt x="502" y="603"/>
                  </a:lnTo>
                  <a:lnTo>
                    <a:pt x="500" y="609"/>
                  </a:lnTo>
                  <a:lnTo>
                    <a:pt x="500" y="609"/>
                  </a:lnTo>
                  <a:lnTo>
                    <a:pt x="500" y="609"/>
                  </a:lnTo>
                  <a:lnTo>
                    <a:pt x="498" y="609"/>
                  </a:lnTo>
                  <a:lnTo>
                    <a:pt x="498" y="609"/>
                  </a:lnTo>
                  <a:lnTo>
                    <a:pt x="498" y="609"/>
                  </a:lnTo>
                  <a:lnTo>
                    <a:pt x="498" y="609"/>
                  </a:lnTo>
                  <a:lnTo>
                    <a:pt x="498" y="609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8" y="611"/>
                  </a:lnTo>
                  <a:lnTo>
                    <a:pt x="494" y="611"/>
                  </a:lnTo>
                  <a:lnTo>
                    <a:pt x="494" y="611"/>
                  </a:lnTo>
                  <a:lnTo>
                    <a:pt x="494" y="611"/>
                  </a:lnTo>
                  <a:lnTo>
                    <a:pt x="494" y="611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4" y="613"/>
                  </a:lnTo>
                  <a:lnTo>
                    <a:pt x="492" y="613"/>
                  </a:lnTo>
                  <a:lnTo>
                    <a:pt x="492" y="615"/>
                  </a:lnTo>
                  <a:lnTo>
                    <a:pt x="492" y="615"/>
                  </a:lnTo>
                  <a:lnTo>
                    <a:pt x="492" y="615"/>
                  </a:lnTo>
                  <a:lnTo>
                    <a:pt x="490" y="615"/>
                  </a:lnTo>
                  <a:lnTo>
                    <a:pt x="490" y="615"/>
                  </a:lnTo>
                  <a:lnTo>
                    <a:pt x="490" y="615"/>
                  </a:lnTo>
                  <a:lnTo>
                    <a:pt x="490" y="615"/>
                  </a:lnTo>
                  <a:lnTo>
                    <a:pt x="490" y="615"/>
                  </a:lnTo>
                  <a:lnTo>
                    <a:pt x="488" y="615"/>
                  </a:lnTo>
                  <a:lnTo>
                    <a:pt x="488" y="615"/>
                  </a:lnTo>
                  <a:lnTo>
                    <a:pt x="486" y="615"/>
                  </a:lnTo>
                  <a:lnTo>
                    <a:pt x="486" y="615"/>
                  </a:lnTo>
                  <a:lnTo>
                    <a:pt x="486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4" y="615"/>
                  </a:lnTo>
                  <a:lnTo>
                    <a:pt x="482" y="615"/>
                  </a:lnTo>
                  <a:lnTo>
                    <a:pt x="482" y="615"/>
                  </a:lnTo>
                  <a:lnTo>
                    <a:pt x="482" y="619"/>
                  </a:lnTo>
                  <a:lnTo>
                    <a:pt x="482" y="619"/>
                  </a:lnTo>
                  <a:lnTo>
                    <a:pt x="482" y="621"/>
                  </a:lnTo>
                  <a:lnTo>
                    <a:pt x="482" y="621"/>
                  </a:lnTo>
                  <a:lnTo>
                    <a:pt x="482" y="621"/>
                  </a:lnTo>
                  <a:lnTo>
                    <a:pt x="482" y="623"/>
                  </a:lnTo>
                  <a:lnTo>
                    <a:pt x="482" y="623"/>
                  </a:lnTo>
                  <a:lnTo>
                    <a:pt x="482" y="623"/>
                  </a:lnTo>
                  <a:lnTo>
                    <a:pt x="480" y="625"/>
                  </a:lnTo>
                  <a:lnTo>
                    <a:pt x="480" y="625"/>
                  </a:lnTo>
                  <a:lnTo>
                    <a:pt x="480" y="625"/>
                  </a:lnTo>
                  <a:lnTo>
                    <a:pt x="480" y="625"/>
                  </a:lnTo>
                  <a:lnTo>
                    <a:pt x="480" y="625"/>
                  </a:lnTo>
                  <a:lnTo>
                    <a:pt x="480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6" y="627"/>
                  </a:lnTo>
                  <a:lnTo>
                    <a:pt x="474" y="627"/>
                  </a:lnTo>
                  <a:lnTo>
                    <a:pt x="474" y="629"/>
                  </a:lnTo>
                  <a:lnTo>
                    <a:pt x="474" y="629"/>
                  </a:lnTo>
                  <a:lnTo>
                    <a:pt x="474" y="629"/>
                  </a:lnTo>
                  <a:lnTo>
                    <a:pt x="474" y="629"/>
                  </a:lnTo>
                  <a:lnTo>
                    <a:pt x="474" y="629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1"/>
                  </a:lnTo>
                  <a:lnTo>
                    <a:pt x="474" y="635"/>
                  </a:lnTo>
                  <a:lnTo>
                    <a:pt x="474" y="635"/>
                  </a:lnTo>
                  <a:lnTo>
                    <a:pt x="474" y="635"/>
                  </a:lnTo>
                  <a:lnTo>
                    <a:pt x="472" y="635"/>
                  </a:lnTo>
                  <a:lnTo>
                    <a:pt x="472" y="635"/>
                  </a:lnTo>
                  <a:lnTo>
                    <a:pt x="472" y="635"/>
                  </a:lnTo>
                  <a:lnTo>
                    <a:pt x="472" y="637"/>
                  </a:lnTo>
                  <a:lnTo>
                    <a:pt x="472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70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5"/>
                  </a:lnTo>
                  <a:lnTo>
                    <a:pt x="468" y="635"/>
                  </a:lnTo>
                  <a:lnTo>
                    <a:pt x="464" y="637"/>
                  </a:lnTo>
                  <a:lnTo>
                    <a:pt x="464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8" y="637"/>
                  </a:lnTo>
                  <a:lnTo>
                    <a:pt x="464" y="637"/>
                  </a:lnTo>
                  <a:lnTo>
                    <a:pt x="464" y="637"/>
                  </a:lnTo>
                  <a:lnTo>
                    <a:pt x="462" y="637"/>
                  </a:lnTo>
                  <a:lnTo>
                    <a:pt x="462" y="637"/>
                  </a:lnTo>
                  <a:lnTo>
                    <a:pt x="462" y="639"/>
                  </a:lnTo>
                  <a:lnTo>
                    <a:pt x="460" y="639"/>
                  </a:lnTo>
                  <a:lnTo>
                    <a:pt x="460" y="639"/>
                  </a:lnTo>
                  <a:lnTo>
                    <a:pt x="460" y="639"/>
                  </a:lnTo>
                  <a:lnTo>
                    <a:pt x="458" y="639"/>
                  </a:lnTo>
                  <a:lnTo>
                    <a:pt x="458" y="639"/>
                  </a:lnTo>
                  <a:lnTo>
                    <a:pt x="458" y="639"/>
                  </a:lnTo>
                  <a:lnTo>
                    <a:pt x="458" y="639"/>
                  </a:lnTo>
                  <a:lnTo>
                    <a:pt x="452" y="639"/>
                  </a:lnTo>
                  <a:lnTo>
                    <a:pt x="452" y="637"/>
                  </a:lnTo>
                  <a:lnTo>
                    <a:pt x="452" y="637"/>
                  </a:lnTo>
                  <a:lnTo>
                    <a:pt x="452" y="635"/>
                  </a:lnTo>
                  <a:lnTo>
                    <a:pt x="452" y="635"/>
                  </a:lnTo>
                  <a:lnTo>
                    <a:pt x="452" y="635"/>
                  </a:lnTo>
                  <a:lnTo>
                    <a:pt x="452" y="635"/>
                  </a:lnTo>
                  <a:lnTo>
                    <a:pt x="452" y="635"/>
                  </a:lnTo>
                  <a:lnTo>
                    <a:pt x="452" y="631"/>
                  </a:lnTo>
                  <a:lnTo>
                    <a:pt x="450" y="631"/>
                  </a:lnTo>
                  <a:lnTo>
                    <a:pt x="450" y="631"/>
                  </a:lnTo>
                  <a:lnTo>
                    <a:pt x="450" y="631"/>
                  </a:lnTo>
                  <a:lnTo>
                    <a:pt x="448" y="631"/>
                  </a:lnTo>
                  <a:lnTo>
                    <a:pt x="448" y="631"/>
                  </a:lnTo>
                  <a:lnTo>
                    <a:pt x="448" y="631"/>
                  </a:lnTo>
                  <a:lnTo>
                    <a:pt x="445" y="631"/>
                  </a:lnTo>
                  <a:lnTo>
                    <a:pt x="445" y="629"/>
                  </a:lnTo>
                  <a:lnTo>
                    <a:pt x="443" y="629"/>
                  </a:lnTo>
                  <a:lnTo>
                    <a:pt x="443" y="629"/>
                  </a:lnTo>
                  <a:lnTo>
                    <a:pt x="443" y="629"/>
                  </a:lnTo>
                  <a:lnTo>
                    <a:pt x="443" y="629"/>
                  </a:lnTo>
                  <a:lnTo>
                    <a:pt x="443" y="629"/>
                  </a:lnTo>
                  <a:lnTo>
                    <a:pt x="441" y="629"/>
                  </a:lnTo>
                  <a:lnTo>
                    <a:pt x="441" y="631"/>
                  </a:lnTo>
                  <a:lnTo>
                    <a:pt x="441" y="631"/>
                  </a:lnTo>
                  <a:lnTo>
                    <a:pt x="441" y="631"/>
                  </a:lnTo>
                  <a:lnTo>
                    <a:pt x="441" y="631"/>
                  </a:lnTo>
                  <a:lnTo>
                    <a:pt x="441" y="631"/>
                  </a:lnTo>
                  <a:lnTo>
                    <a:pt x="441" y="631"/>
                  </a:lnTo>
                  <a:lnTo>
                    <a:pt x="439" y="631"/>
                  </a:lnTo>
                  <a:lnTo>
                    <a:pt x="439" y="631"/>
                  </a:lnTo>
                  <a:lnTo>
                    <a:pt x="439" y="631"/>
                  </a:lnTo>
                  <a:lnTo>
                    <a:pt x="435" y="631"/>
                  </a:lnTo>
                  <a:lnTo>
                    <a:pt x="435" y="631"/>
                  </a:lnTo>
                  <a:lnTo>
                    <a:pt x="433" y="631"/>
                  </a:lnTo>
                  <a:lnTo>
                    <a:pt x="431" y="629"/>
                  </a:lnTo>
                  <a:lnTo>
                    <a:pt x="431" y="629"/>
                  </a:lnTo>
                  <a:lnTo>
                    <a:pt x="431" y="629"/>
                  </a:lnTo>
                  <a:lnTo>
                    <a:pt x="431" y="629"/>
                  </a:lnTo>
                  <a:lnTo>
                    <a:pt x="429" y="629"/>
                  </a:lnTo>
                  <a:lnTo>
                    <a:pt x="429" y="629"/>
                  </a:lnTo>
                  <a:lnTo>
                    <a:pt x="429" y="629"/>
                  </a:lnTo>
                  <a:lnTo>
                    <a:pt x="425" y="629"/>
                  </a:lnTo>
                  <a:lnTo>
                    <a:pt x="425" y="629"/>
                  </a:lnTo>
                  <a:lnTo>
                    <a:pt x="425" y="629"/>
                  </a:lnTo>
                  <a:lnTo>
                    <a:pt x="425" y="629"/>
                  </a:lnTo>
                  <a:lnTo>
                    <a:pt x="423" y="629"/>
                  </a:lnTo>
                  <a:lnTo>
                    <a:pt x="423" y="629"/>
                  </a:lnTo>
                  <a:lnTo>
                    <a:pt x="423" y="629"/>
                  </a:lnTo>
                  <a:lnTo>
                    <a:pt x="423" y="629"/>
                  </a:lnTo>
                  <a:lnTo>
                    <a:pt x="423" y="627"/>
                  </a:lnTo>
                  <a:lnTo>
                    <a:pt x="423" y="627"/>
                  </a:lnTo>
                  <a:lnTo>
                    <a:pt x="423" y="625"/>
                  </a:lnTo>
                  <a:lnTo>
                    <a:pt x="421" y="625"/>
                  </a:lnTo>
                  <a:lnTo>
                    <a:pt x="421" y="625"/>
                  </a:lnTo>
                  <a:lnTo>
                    <a:pt x="419" y="625"/>
                  </a:lnTo>
                  <a:lnTo>
                    <a:pt x="413" y="625"/>
                  </a:lnTo>
                  <a:lnTo>
                    <a:pt x="413" y="625"/>
                  </a:lnTo>
                  <a:lnTo>
                    <a:pt x="413" y="625"/>
                  </a:lnTo>
                  <a:lnTo>
                    <a:pt x="413" y="625"/>
                  </a:lnTo>
                  <a:lnTo>
                    <a:pt x="413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11" y="625"/>
                  </a:lnTo>
                  <a:lnTo>
                    <a:pt x="409" y="627"/>
                  </a:lnTo>
                  <a:lnTo>
                    <a:pt x="409" y="627"/>
                  </a:lnTo>
                  <a:lnTo>
                    <a:pt x="409" y="627"/>
                  </a:lnTo>
                  <a:lnTo>
                    <a:pt x="409" y="627"/>
                  </a:lnTo>
                  <a:lnTo>
                    <a:pt x="407" y="627"/>
                  </a:lnTo>
                  <a:lnTo>
                    <a:pt x="407" y="627"/>
                  </a:lnTo>
                  <a:lnTo>
                    <a:pt x="407" y="629"/>
                  </a:lnTo>
                  <a:lnTo>
                    <a:pt x="405" y="629"/>
                  </a:lnTo>
                  <a:lnTo>
                    <a:pt x="405" y="629"/>
                  </a:lnTo>
                  <a:lnTo>
                    <a:pt x="405" y="629"/>
                  </a:lnTo>
                  <a:lnTo>
                    <a:pt x="405" y="631"/>
                  </a:lnTo>
                  <a:lnTo>
                    <a:pt x="405" y="631"/>
                  </a:lnTo>
                  <a:lnTo>
                    <a:pt x="405" y="631"/>
                  </a:lnTo>
                  <a:lnTo>
                    <a:pt x="405" y="631"/>
                  </a:lnTo>
                  <a:lnTo>
                    <a:pt x="405" y="635"/>
                  </a:lnTo>
                  <a:lnTo>
                    <a:pt x="403" y="635"/>
                  </a:lnTo>
                  <a:lnTo>
                    <a:pt x="403" y="637"/>
                  </a:lnTo>
                  <a:lnTo>
                    <a:pt x="403" y="637"/>
                  </a:lnTo>
                  <a:lnTo>
                    <a:pt x="401" y="637"/>
                  </a:lnTo>
                  <a:lnTo>
                    <a:pt x="401" y="637"/>
                  </a:lnTo>
                  <a:lnTo>
                    <a:pt x="401" y="639"/>
                  </a:lnTo>
                  <a:lnTo>
                    <a:pt x="401" y="641"/>
                  </a:lnTo>
                  <a:lnTo>
                    <a:pt x="401" y="641"/>
                  </a:lnTo>
                  <a:lnTo>
                    <a:pt x="401" y="641"/>
                  </a:lnTo>
                  <a:lnTo>
                    <a:pt x="401" y="641"/>
                  </a:lnTo>
                  <a:lnTo>
                    <a:pt x="401" y="643"/>
                  </a:lnTo>
                  <a:lnTo>
                    <a:pt x="401" y="643"/>
                  </a:lnTo>
                  <a:lnTo>
                    <a:pt x="397" y="643"/>
                  </a:lnTo>
                  <a:lnTo>
                    <a:pt x="397" y="643"/>
                  </a:lnTo>
                  <a:lnTo>
                    <a:pt x="397" y="643"/>
                  </a:lnTo>
                  <a:lnTo>
                    <a:pt x="397" y="643"/>
                  </a:lnTo>
                  <a:lnTo>
                    <a:pt x="397" y="647"/>
                  </a:lnTo>
                  <a:lnTo>
                    <a:pt x="397" y="647"/>
                  </a:lnTo>
                  <a:lnTo>
                    <a:pt x="397" y="647"/>
                  </a:lnTo>
                  <a:lnTo>
                    <a:pt x="397" y="647"/>
                  </a:lnTo>
                  <a:lnTo>
                    <a:pt x="395" y="649"/>
                  </a:lnTo>
                  <a:lnTo>
                    <a:pt x="395" y="649"/>
                  </a:lnTo>
                  <a:lnTo>
                    <a:pt x="395" y="649"/>
                  </a:lnTo>
                  <a:lnTo>
                    <a:pt x="395" y="649"/>
                  </a:lnTo>
                  <a:lnTo>
                    <a:pt x="395" y="649"/>
                  </a:lnTo>
                  <a:lnTo>
                    <a:pt x="395" y="649"/>
                  </a:lnTo>
                  <a:lnTo>
                    <a:pt x="395" y="649"/>
                  </a:lnTo>
                  <a:lnTo>
                    <a:pt x="393" y="649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7"/>
                  </a:lnTo>
                  <a:lnTo>
                    <a:pt x="393" y="643"/>
                  </a:lnTo>
                  <a:lnTo>
                    <a:pt x="393" y="643"/>
                  </a:lnTo>
                  <a:lnTo>
                    <a:pt x="393" y="643"/>
                  </a:lnTo>
                  <a:lnTo>
                    <a:pt x="393" y="643"/>
                  </a:lnTo>
                  <a:lnTo>
                    <a:pt x="393" y="643"/>
                  </a:lnTo>
                  <a:lnTo>
                    <a:pt x="393" y="641"/>
                  </a:lnTo>
                  <a:lnTo>
                    <a:pt x="393" y="641"/>
                  </a:lnTo>
                  <a:lnTo>
                    <a:pt x="393" y="641"/>
                  </a:lnTo>
                  <a:lnTo>
                    <a:pt x="393" y="637"/>
                  </a:lnTo>
                  <a:lnTo>
                    <a:pt x="393" y="635"/>
                  </a:lnTo>
                  <a:lnTo>
                    <a:pt x="393" y="635"/>
                  </a:lnTo>
                  <a:lnTo>
                    <a:pt x="393" y="635"/>
                  </a:lnTo>
                  <a:lnTo>
                    <a:pt x="393" y="635"/>
                  </a:lnTo>
                  <a:lnTo>
                    <a:pt x="391" y="635"/>
                  </a:lnTo>
                  <a:lnTo>
                    <a:pt x="391" y="635"/>
                  </a:lnTo>
                  <a:lnTo>
                    <a:pt x="391" y="631"/>
                  </a:lnTo>
                  <a:lnTo>
                    <a:pt x="391" y="631"/>
                  </a:lnTo>
                  <a:lnTo>
                    <a:pt x="391" y="631"/>
                  </a:lnTo>
                  <a:lnTo>
                    <a:pt x="391" y="631"/>
                  </a:lnTo>
                  <a:lnTo>
                    <a:pt x="391" y="631"/>
                  </a:lnTo>
                  <a:lnTo>
                    <a:pt x="391" y="631"/>
                  </a:lnTo>
                  <a:lnTo>
                    <a:pt x="387" y="629"/>
                  </a:lnTo>
                  <a:lnTo>
                    <a:pt x="387" y="629"/>
                  </a:lnTo>
                  <a:lnTo>
                    <a:pt x="387" y="629"/>
                  </a:lnTo>
                  <a:lnTo>
                    <a:pt x="385" y="629"/>
                  </a:lnTo>
                  <a:lnTo>
                    <a:pt x="385" y="629"/>
                  </a:lnTo>
                  <a:lnTo>
                    <a:pt x="385" y="629"/>
                  </a:lnTo>
                  <a:lnTo>
                    <a:pt x="385" y="629"/>
                  </a:lnTo>
                  <a:lnTo>
                    <a:pt x="385" y="629"/>
                  </a:lnTo>
                  <a:lnTo>
                    <a:pt x="385" y="631"/>
                  </a:lnTo>
                  <a:lnTo>
                    <a:pt x="383" y="631"/>
                  </a:lnTo>
                  <a:lnTo>
                    <a:pt x="383" y="631"/>
                  </a:lnTo>
                  <a:lnTo>
                    <a:pt x="383" y="631"/>
                  </a:lnTo>
                  <a:lnTo>
                    <a:pt x="383" y="631"/>
                  </a:lnTo>
                  <a:lnTo>
                    <a:pt x="383" y="631"/>
                  </a:lnTo>
                  <a:lnTo>
                    <a:pt x="383" y="631"/>
                  </a:lnTo>
                  <a:lnTo>
                    <a:pt x="383" y="631"/>
                  </a:lnTo>
                  <a:lnTo>
                    <a:pt x="381" y="631"/>
                  </a:lnTo>
                  <a:lnTo>
                    <a:pt x="379" y="631"/>
                  </a:lnTo>
                  <a:lnTo>
                    <a:pt x="379" y="635"/>
                  </a:lnTo>
                  <a:lnTo>
                    <a:pt x="379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5" y="635"/>
                  </a:lnTo>
                  <a:lnTo>
                    <a:pt x="373" y="635"/>
                  </a:lnTo>
                  <a:lnTo>
                    <a:pt x="373" y="635"/>
                  </a:lnTo>
                  <a:lnTo>
                    <a:pt x="373" y="635"/>
                  </a:lnTo>
                  <a:lnTo>
                    <a:pt x="373" y="635"/>
                  </a:lnTo>
                  <a:lnTo>
                    <a:pt x="373" y="635"/>
                  </a:lnTo>
                  <a:lnTo>
                    <a:pt x="373" y="635"/>
                  </a:lnTo>
                  <a:lnTo>
                    <a:pt x="373" y="635"/>
                  </a:lnTo>
                  <a:lnTo>
                    <a:pt x="371" y="635"/>
                  </a:lnTo>
                  <a:lnTo>
                    <a:pt x="371" y="635"/>
                  </a:lnTo>
                  <a:lnTo>
                    <a:pt x="371" y="635"/>
                  </a:lnTo>
                  <a:lnTo>
                    <a:pt x="369" y="635"/>
                  </a:lnTo>
                  <a:lnTo>
                    <a:pt x="369" y="635"/>
                  </a:lnTo>
                  <a:lnTo>
                    <a:pt x="369" y="637"/>
                  </a:lnTo>
                  <a:lnTo>
                    <a:pt x="369" y="637"/>
                  </a:lnTo>
                  <a:lnTo>
                    <a:pt x="369" y="637"/>
                  </a:lnTo>
                  <a:lnTo>
                    <a:pt x="369" y="637"/>
                  </a:lnTo>
                  <a:lnTo>
                    <a:pt x="367" y="637"/>
                  </a:lnTo>
                  <a:lnTo>
                    <a:pt x="367" y="637"/>
                  </a:lnTo>
                  <a:lnTo>
                    <a:pt x="367" y="637"/>
                  </a:lnTo>
                  <a:lnTo>
                    <a:pt x="367" y="637"/>
                  </a:lnTo>
                  <a:lnTo>
                    <a:pt x="367" y="637"/>
                  </a:lnTo>
                  <a:lnTo>
                    <a:pt x="365" y="637"/>
                  </a:lnTo>
                  <a:lnTo>
                    <a:pt x="365" y="637"/>
                  </a:lnTo>
                  <a:lnTo>
                    <a:pt x="365" y="637"/>
                  </a:lnTo>
                  <a:lnTo>
                    <a:pt x="365" y="637"/>
                  </a:lnTo>
                  <a:lnTo>
                    <a:pt x="365" y="637"/>
                  </a:lnTo>
                  <a:lnTo>
                    <a:pt x="365" y="637"/>
                  </a:lnTo>
                  <a:lnTo>
                    <a:pt x="365" y="637"/>
                  </a:lnTo>
                  <a:lnTo>
                    <a:pt x="363" y="637"/>
                  </a:lnTo>
                  <a:lnTo>
                    <a:pt x="363" y="637"/>
                  </a:lnTo>
                  <a:lnTo>
                    <a:pt x="363" y="637"/>
                  </a:lnTo>
                  <a:lnTo>
                    <a:pt x="363" y="637"/>
                  </a:lnTo>
                  <a:lnTo>
                    <a:pt x="363" y="637"/>
                  </a:lnTo>
                  <a:lnTo>
                    <a:pt x="363" y="637"/>
                  </a:lnTo>
                  <a:lnTo>
                    <a:pt x="359" y="637"/>
                  </a:lnTo>
                  <a:lnTo>
                    <a:pt x="359" y="637"/>
                  </a:lnTo>
                  <a:lnTo>
                    <a:pt x="359" y="637"/>
                  </a:lnTo>
                  <a:lnTo>
                    <a:pt x="357" y="637"/>
                  </a:lnTo>
                  <a:lnTo>
                    <a:pt x="357" y="637"/>
                  </a:lnTo>
                  <a:lnTo>
                    <a:pt x="357" y="637"/>
                  </a:lnTo>
                  <a:lnTo>
                    <a:pt x="355" y="637"/>
                  </a:lnTo>
                  <a:lnTo>
                    <a:pt x="355" y="635"/>
                  </a:lnTo>
                  <a:lnTo>
                    <a:pt x="353" y="635"/>
                  </a:lnTo>
                  <a:lnTo>
                    <a:pt x="353" y="631"/>
                  </a:lnTo>
                  <a:lnTo>
                    <a:pt x="353" y="631"/>
                  </a:lnTo>
                  <a:lnTo>
                    <a:pt x="353" y="635"/>
                  </a:lnTo>
                  <a:lnTo>
                    <a:pt x="349" y="635"/>
                  </a:lnTo>
                  <a:lnTo>
                    <a:pt x="349" y="635"/>
                  </a:lnTo>
                  <a:lnTo>
                    <a:pt x="349" y="631"/>
                  </a:lnTo>
                  <a:lnTo>
                    <a:pt x="349" y="631"/>
                  </a:lnTo>
                  <a:lnTo>
                    <a:pt x="349" y="631"/>
                  </a:lnTo>
                  <a:lnTo>
                    <a:pt x="349" y="631"/>
                  </a:lnTo>
                  <a:lnTo>
                    <a:pt x="347" y="631"/>
                  </a:lnTo>
                  <a:lnTo>
                    <a:pt x="347" y="631"/>
                  </a:lnTo>
                  <a:lnTo>
                    <a:pt x="347" y="631"/>
                  </a:lnTo>
                  <a:lnTo>
                    <a:pt x="345" y="631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5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29"/>
                  </a:lnTo>
                  <a:lnTo>
                    <a:pt x="343" y="631"/>
                  </a:lnTo>
                  <a:lnTo>
                    <a:pt x="343" y="631"/>
                  </a:lnTo>
                  <a:lnTo>
                    <a:pt x="343" y="631"/>
                  </a:lnTo>
                  <a:lnTo>
                    <a:pt x="343" y="631"/>
                  </a:lnTo>
                  <a:lnTo>
                    <a:pt x="343" y="631"/>
                  </a:lnTo>
                  <a:lnTo>
                    <a:pt x="343" y="635"/>
                  </a:lnTo>
                  <a:lnTo>
                    <a:pt x="341" y="635"/>
                  </a:lnTo>
                  <a:lnTo>
                    <a:pt x="341" y="635"/>
                  </a:lnTo>
                  <a:lnTo>
                    <a:pt x="341" y="635"/>
                  </a:lnTo>
                  <a:lnTo>
                    <a:pt x="341" y="635"/>
                  </a:lnTo>
                  <a:lnTo>
                    <a:pt x="341" y="635"/>
                  </a:lnTo>
                  <a:lnTo>
                    <a:pt x="339" y="635"/>
                  </a:lnTo>
                  <a:lnTo>
                    <a:pt x="339" y="635"/>
                  </a:lnTo>
                  <a:lnTo>
                    <a:pt x="339" y="635"/>
                  </a:lnTo>
                  <a:lnTo>
                    <a:pt x="339" y="635"/>
                  </a:lnTo>
                  <a:lnTo>
                    <a:pt x="339" y="635"/>
                  </a:lnTo>
                  <a:lnTo>
                    <a:pt x="339" y="635"/>
                  </a:lnTo>
                  <a:lnTo>
                    <a:pt x="339" y="635"/>
                  </a:lnTo>
                  <a:lnTo>
                    <a:pt x="339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5" y="631"/>
                  </a:lnTo>
                  <a:lnTo>
                    <a:pt x="333" y="631"/>
                  </a:lnTo>
                  <a:lnTo>
                    <a:pt x="333" y="629"/>
                  </a:lnTo>
                  <a:lnTo>
                    <a:pt x="333" y="629"/>
                  </a:lnTo>
                  <a:lnTo>
                    <a:pt x="333" y="629"/>
                  </a:lnTo>
                  <a:lnTo>
                    <a:pt x="333" y="629"/>
                  </a:lnTo>
                  <a:lnTo>
                    <a:pt x="333" y="629"/>
                  </a:lnTo>
                  <a:lnTo>
                    <a:pt x="333" y="629"/>
                  </a:lnTo>
                  <a:lnTo>
                    <a:pt x="333" y="627"/>
                  </a:lnTo>
                  <a:lnTo>
                    <a:pt x="333" y="627"/>
                  </a:lnTo>
                  <a:lnTo>
                    <a:pt x="331" y="629"/>
                  </a:lnTo>
                  <a:lnTo>
                    <a:pt x="331" y="629"/>
                  </a:lnTo>
                  <a:lnTo>
                    <a:pt x="333" y="629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1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3" y="635"/>
                  </a:lnTo>
                  <a:lnTo>
                    <a:pt x="331" y="635"/>
                  </a:lnTo>
                  <a:lnTo>
                    <a:pt x="331" y="635"/>
                  </a:lnTo>
                  <a:lnTo>
                    <a:pt x="331" y="635"/>
                  </a:lnTo>
                  <a:lnTo>
                    <a:pt x="331" y="635"/>
                  </a:lnTo>
                  <a:lnTo>
                    <a:pt x="331" y="635"/>
                  </a:lnTo>
                  <a:lnTo>
                    <a:pt x="331" y="631"/>
                  </a:lnTo>
                  <a:lnTo>
                    <a:pt x="331" y="631"/>
                  </a:lnTo>
                  <a:lnTo>
                    <a:pt x="329" y="631"/>
                  </a:lnTo>
                  <a:lnTo>
                    <a:pt x="329" y="631"/>
                  </a:lnTo>
                  <a:lnTo>
                    <a:pt x="329" y="631"/>
                  </a:lnTo>
                  <a:lnTo>
                    <a:pt x="329" y="629"/>
                  </a:lnTo>
                  <a:lnTo>
                    <a:pt x="329" y="629"/>
                  </a:lnTo>
                  <a:lnTo>
                    <a:pt x="329" y="629"/>
                  </a:lnTo>
                  <a:lnTo>
                    <a:pt x="329" y="629"/>
                  </a:lnTo>
                  <a:lnTo>
                    <a:pt x="327" y="629"/>
                  </a:lnTo>
                  <a:lnTo>
                    <a:pt x="327" y="629"/>
                  </a:lnTo>
                  <a:lnTo>
                    <a:pt x="327" y="627"/>
                  </a:lnTo>
                  <a:lnTo>
                    <a:pt x="327" y="627"/>
                  </a:lnTo>
                  <a:lnTo>
                    <a:pt x="327" y="627"/>
                  </a:lnTo>
                  <a:lnTo>
                    <a:pt x="327" y="627"/>
                  </a:lnTo>
                  <a:lnTo>
                    <a:pt x="325" y="627"/>
                  </a:lnTo>
                  <a:lnTo>
                    <a:pt x="325" y="627"/>
                  </a:lnTo>
                  <a:lnTo>
                    <a:pt x="325" y="625"/>
                  </a:lnTo>
                  <a:lnTo>
                    <a:pt x="325" y="625"/>
                  </a:lnTo>
                  <a:lnTo>
                    <a:pt x="321" y="625"/>
                  </a:lnTo>
                  <a:lnTo>
                    <a:pt x="321" y="623"/>
                  </a:lnTo>
                  <a:lnTo>
                    <a:pt x="321" y="623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21" y="625"/>
                  </a:lnTo>
                  <a:lnTo>
                    <a:pt x="319" y="625"/>
                  </a:lnTo>
                  <a:lnTo>
                    <a:pt x="319" y="625"/>
                  </a:lnTo>
                  <a:lnTo>
                    <a:pt x="319" y="625"/>
                  </a:lnTo>
                  <a:lnTo>
                    <a:pt x="319" y="625"/>
                  </a:lnTo>
                  <a:lnTo>
                    <a:pt x="319" y="625"/>
                  </a:lnTo>
                  <a:lnTo>
                    <a:pt x="317" y="625"/>
                  </a:lnTo>
                  <a:lnTo>
                    <a:pt x="317" y="625"/>
                  </a:lnTo>
                  <a:lnTo>
                    <a:pt x="317" y="625"/>
                  </a:lnTo>
                  <a:lnTo>
                    <a:pt x="317" y="625"/>
                  </a:lnTo>
                  <a:lnTo>
                    <a:pt x="317" y="625"/>
                  </a:lnTo>
                  <a:lnTo>
                    <a:pt x="317" y="625"/>
                  </a:lnTo>
                  <a:lnTo>
                    <a:pt x="315" y="625"/>
                  </a:lnTo>
                  <a:lnTo>
                    <a:pt x="315" y="625"/>
                  </a:lnTo>
                  <a:lnTo>
                    <a:pt x="315" y="625"/>
                  </a:lnTo>
                  <a:lnTo>
                    <a:pt x="315" y="625"/>
                  </a:lnTo>
                  <a:lnTo>
                    <a:pt x="315" y="625"/>
                  </a:lnTo>
                  <a:lnTo>
                    <a:pt x="315" y="625"/>
                  </a:lnTo>
                  <a:lnTo>
                    <a:pt x="315" y="625"/>
                  </a:lnTo>
                  <a:lnTo>
                    <a:pt x="311" y="625"/>
                  </a:lnTo>
                  <a:lnTo>
                    <a:pt x="311" y="625"/>
                  </a:lnTo>
                  <a:lnTo>
                    <a:pt x="311" y="625"/>
                  </a:lnTo>
                  <a:lnTo>
                    <a:pt x="311" y="625"/>
                  </a:lnTo>
                  <a:lnTo>
                    <a:pt x="311" y="625"/>
                  </a:lnTo>
                  <a:lnTo>
                    <a:pt x="309" y="625"/>
                  </a:lnTo>
                  <a:lnTo>
                    <a:pt x="309" y="625"/>
                  </a:lnTo>
                  <a:lnTo>
                    <a:pt x="309" y="625"/>
                  </a:lnTo>
                  <a:lnTo>
                    <a:pt x="309" y="625"/>
                  </a:lnTo>
                  <a:lnTo>
                    <a:pt x="309" y="623"/>
                  </a:lnTo>
                  <a:lnTo>
                    <a:pt x="309" y="623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21"/>
                  </a:lnTo>
                  <a:lnTo>
                    <a:pt x="309" y="619"/>
                  </a:lnTo>
                  <a:lnTo>
                    <a:pt x="309" y="619"/>
                  </a:lnTo>
                  <a:lnTo>
                    <a:pt x="309" y="619"/>
                  </a:lnTo>
                  <a:lnTo>
                    <a:pt x="309" y="619"/>
                  </a:lnTo>
                  <a:lnTo>
                    <a:pt x="309" y="619"/>
                  </a:lnTo>
                  <a:lnTo>
                    <a:pt x="307" y="615"/>
                  </a:lnTo>
                  <a:lnTo>
                    <a:pt x="307" y="615"/>
                  </a:lnTo>
                  <a:lnTo>
                    <a:pt x="307" y="615"/>
                  </a:lnTo>
                  <a:lnTo>
                    <a:pt x="307" y="615"/>
                  </a:lnTo>
                  <a:lnTo>
                    <a:pt x="307" y="615"/>
                  </a:lnTo>
                  <a:lnTo>
                    <a:pt x="307" y="619"/>
                  </a:lnTo>
                  <a:lnTo>
                    <a:pt x="307" y="619"/>
                  </a:lnTo>
                  <a:lnTo>
                    <a:pt x="307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5" y="619"/>
                  </a:lnTo>
                  <a:lnTo>
                    <a:pt x="303" y="619"/>
                  </a:lnTo>
                  <a:lnTo>
                    <a:pt x="303" y="619"/>
                  </a:lnTo>
                  <a:lnTo>
                    <a:pt x="303" y="619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19"/>
                  </a:lnTo>
                  <a:lnTo>
                    <a:pt x="301" y="619"/>
                  </a:lnTo>
                  <a:lnTo>
                    <a:pt x="301" y="619"/>
                  </a:lnTo>
                  <a:lnTo>
                    <a:pt x="301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9" y="615"/>
                  </a:lnTo>
                  <a:lnTo>
                    <a:pt x="295" y="615"/>
                  </a:lnTo>
                  <a:lnTo>
                    <a:pt x="295" y="613"/>
                  </a:lnTo>
                  <a:lnTo>
                    <a:pt x="295" y="613"/>
                  </a:lnTo>
                  <a:lnTo>
                    <a:pt x="295" y="613"/>
                  </a:lnTo>
                  <a:lnTo>
                    <a:pt x="295" y="613"/>
                  </a:lnTo>
                  <a:lnTo>
                    <a:pt x="293" y="613"/>
                  </a:lnTo>
                  <a:lnTo>
                    <a:pt x="293" y="613"/>
                  </a:lnTo>
                  <a:lnTo>
                    <a:pt x="293" y="613"/>
                  </a:lnTo>
                  <a:lnTo>
                    <a:pt x="293" y="611"/>
                  </a:lnTo>
                  <a:lnTo>
                    <a:pt x="293" y="611"/>
                  </a:lnTo>
                  <a:lnTo>
                    <a:pt x="291" y="611"/>
                  </a:lnTo>
                  <a:lnTo>
                    <a:pt x="291" y="611"/>
                  </a:lnTo>
                  <a:lnTo>
                    <a:pt x="291" y="611"/>
                  </a:lnTo>
                  <a:lnTo>
                    <a:pt x="291" y="611"/>
                  </a:lnTo>
                  <a:lnTo>
                    <a:pt x="289" y="609"/>
                  </a:lnTo>
                  <a:lnTo>
                    <a:pt x="289" y="609"/>
                  </a:lnTo>
                  <a:lnTo>
                    <a:pt x="289" y="605"/>
                  </a:lnTo>
                  <a:lnTo>
                    <a:pt x="289" y="605"/>
                  </a:lnTo>
                  <a:lnTo>
                    <a:pt x="287" y="605"/>
                  </a:lnTo>
                  <a:lnTo>
                    <a:pt x="287" y="605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3"/>
                  </a:lnTo>
                  <a:lnTo>
                    <a:pt x="287" y="601"/>
                  </a:lnTo>
                  <a:lnTo>
                    <a:pt x="287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5" y="601"/>
                  </a:lnTo>
                  <a:lnTo>
                    <a:pt x="281" y="601"/>
                  </a:lnTo>
                  <a:lnTo>
                    <a:pt x="281" y="601"/>
                  </a:lnTo>
                  <a:lnTo>
                    <a:pt x="281" y="601"/>
                  </a:lnTo>
                  <a:lnTo>
                    <a:pt x="281" y="601"/>
                  </a:lnTo>
                  <a:lnTo>
                    <a:pt x="281" y="601"/>
                  </a:lnTo>
                  <a:lnTo>
                    <a:pt x="281" y="601"/>
                  </a:lnTo>
                  <a:lnTo>
                    <a:pt x="281" y="599"/>
                  </a:lnTo>
                  <a:lnTo>
                    <a:pt x="281" y="599"/>
                  </a:lnTo>
                  <a:lnTo>
                    <a:pt x="281" y="599"/>
                  </a:lnTo>
                  <a:lnTo>
                    <a:pt x="281" y="599"/>
                  </a:lnTo>
                  <a:lnTo>
                    <a:pt x="279" y="599"/>
                  </a:lnTo>
                  <a:lnTo>
                    <a:pt x="279" y="599"/>
                  </a:lnTo>
                  <a:lnTo>
                    <a:pt x="279" y="599"/>
                  </a:lnTo>
                  <a:lnTo>
                    <a:pt x="279" y="599"/>
                  </a:lnTo>
                  <a:lnTo>
                    <a:pt x="279" y="601"/>
                  </a:lnTo>
                  <a:lnTo>
                    <a:pt x="279" y="601"/>
                  </a:lnTo>
                  <a:lnTo>
                    <a:pt x="279" y="601"/>
                  </a:lnTo>
                  <a:lnTo>
                    <a:pt x="277" y="601"/>
                  </a:lnTo>
                  <a:lnTo>
                    <a:pt x="277" y="601"/>
                  </a:lnTo>
                  <a:lnTo>
                    <a:pt x="277" y="601"/>
                  </a:lnTo>
                  <a:lnTo>
                    <a:pt x="277" y="601"/>
                  </a:lnTo>
                  <a:lnTo>
                    <a:pt x="275" y="601"/>
                  </a:lnTo>
                  <a:lnTo>
                    <a:pt x="275" y="601"/>
                  </a:lnTo>
                  <a:lnTo>
                    <a:pt x="275" y="601"/>
                  </a:lnTo>
                  <a:lnTo>
                    <a:pt x="275" y="603"/>
                  </a:lnTo>
                  <a:lnTo>
                    <a:pt x="275" y="603"/>
                  </a:lnTo>
                  <a:lnTo>
                    <a:pt x="275" y="603"/>
                  </a:lnTo>
                  <a:lnTo>
                    <a:pt x="275" y="603"/>
                  </a:lnTo>
                  <a:lnTo>
                    <a:pt x="275" y="603"/>
                  </a:lnTo>
                  <a:lnTo>
                    <a:pt x="271" y="603"/>
                  </a:lnTo>
                  <a:lnTo>
                    <a:pt x="271" y="603"/>
                  </a:lnTo>
                  <a:lnTo>
                    <a:pt x="271" y="603"/>
                  </a:lnTo>
                  <a:lnTo>
                    <a:pt x="271" y="601"/>
                  </a:lnTo>
                  <a:lnTo>
                    <a:pt x="271" y="601"/>
                  </a:lnTo>
                  <a:lnTo>
                    <a:pt x="271" y="601"/>
                  </a:lnTo>
                  <a:lnTo>
                    <a:pt x="271" y="601"/>
                  </a:lnTo>
                  <a:lnTo>
                    <a:pt x="271" y="601"/>
                  </a:lnTo>
                  <a:lnTo>
                    <a:pt x="269" y="599"/>
                  </a:lnTo>
                  <a:lnTo>
                    <a:pt x="269" y="599"/>
                  </a:lnTo>
                  <a:lnTo>
                    <a:pt x="269" y="599"/>
                  </a:lnTo>
                  <a:lnTo>
                    <a:pt x="269" y="599"/>
                  </a:lnTo>
                  <a:lnTo>
                    <a:pt x="269" y="599"/>
                  </a:lnTo>
                  <a:lnTo>
                    <a:pt x="269" y="599"/>
                  </a:lnTo>
                  <a:lnTo>
                    <a:pt x="269" y="599"/>
                  </a:lnTo>
                  <a:lnTo>
                    <a:pt x="267" y="599"/>
                  </a:lnTo>
                  <a:lnTo>
                    <a:pt x="267" y="599"/>
                  </a:lnTo>
                  <a:lnTo>
                    <a:pt x="267" y="597"/>
                  </a:lnTo>
                  <a:lnTo>
                    <a:pt x="267" y="597"/>
                  </a:lnTo>
                  <a:lnTo>
                    <a:pt x="267" y="597"/>
                  </a:lnTo>
                  <a:lnTo>
                    <a:pt x="267" y="597"/>
                  </a:lnTo>
                  <a:lnTo>
                    <a:pt x="267" y="597"/>
                  </a:lnTo>
                  <a:lnTo>
                    <a:pt x="267" y="597"/>
                  </a:lnTo>
                  <a:lnTo>
                    <a:pt x="267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5" y="595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3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61" y="593"/>
                  </a:lnTo>
                  <a:lnTo>
                    <a:pt x="259" y="589"/>
                  </a:lnTo>
                  <a:lnTo>
                    <a:pt x="259" y="589"/>
                  </a:lnTo>
                  <a:lnTo>
                    <a:pt x="259" y="589"/>
                  </a:lnTo>
                  <a:lnTo>
                    <a:pt x="259" y="589"/>
                  </a:lnTo>
                  <a:lnTo>
                    <a:pt x="255" y="589"/>
                  </a:lnTo>
                  <a:lnTo>
                    <a:pt x="255" y="589"/>
                  </a:lnTo>
                  <a:lnTo>
                    <a:pt x="255" y="589"/>
                  </a:lnTo>
                  <a:lnTo>
                    <a:pt x="255" y="589"/>
                  </a:lnTo>
                  <a:lnTo>
                    <a:pt x="255" y="589"/>
                  </a:lnTo>
                  <a:lnTo>
                    <a:pt x="255" y="589"/>
                  </a:lnTo>
                  <a:lnTo>
                    <a:pt x="255" y="589"/>
                  </a:lnTo>
                  <a:lnTo>
                    <a:pt x="253" y="589"/>
                  </a:lnTo>
                  <a:lnTo>
                    <a:pt x="253" y="589"/>
                  </a:lnTo>
                  <a:lnTo>
                    <a:pt x="253" y="589"/>
                  </a:lnTo>
                  <a:lnTo>
                    <a:pt x="253" y="589"/>
                  </a:lnTo>
                  <a:lnTo>
                    <a:pt x="253" y="589"/>
                  </a:lnTo>
                  <a:lnTo>
                    <a:pt x="253" y="589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51" y="587"/>
                  </a:lnTo>
                  <a:lnTo>
                    <a:pt x="249" y="587"/>
                  </a:lnTo>
                  <a:lnTo>
                    <a:pt x="247" y="585"/>
                  </a:lnTo>
                  <a:lnTo>
                    <a:pt x="247" y="585"/>
                  </a:lnTo>
                  <a:lnTo>
                    <a:pt x="247" y="583"/>
                  </a:lnTo>
                  <a:lnTo>
                    <a:pt x="247" y="583"/>
                  </a:lnTo>
                  <a:lnTo>
                    <a:pt x="243" y="583"/>
                  </a:lnTo>
                  <a:lnTo>
                    <a:pt x="243" y="583"/>
                  </a:lnTo>
                  <a:lnTo>
                    <a:pt x="243" y="583"/>
                  </a:lnTo>
                  <a:lnTo>
                    <a:pt x="243" y="583"/>
                  </a:lnTo>
                  <a:lnTo>
                    <a:pt x="243" y="583"/>
                  </a:lnTo>
                  <a:lnTo>
                    <a:pt x="243" y="583"/>
                  </a:lnTo>
                  <a:lnTo>
                    <a:pt x="243" y="583"/>
                  </a:lnTo>
                  <a:lnTo>
                    <a:pt x="241" y="583"/>
                  </a:lnTo>
                  <a:lnTo>
                    <a:pt x="241" y="583"/>
                  </a:lnTo>
                  <a:lnTo>
                    <a:pt x="241" y="583"/>
                  </a:lnTo>
                  <a:lnTo>
                    <a:pt x="241" y="581"/>
                  </a:lnTo>
                  <a:lnTo>
                    <a:pt x="241" y="581"/>
                  </a:lnTo>
                  <a:lnTo>
                    <a:pt x="241" y="581"/>
                  </a:lnTo>
                  <a:lnTo>
                    <a:pt x="239" y="581"/>
                  </a:lnTo>
                  <a:lnTo>
                    <a:pt x="239" y="581"/>
                  </a:lnTo>
                  <a:lnTo>
                    <a:pt x="239" y="581"/>
                  </a:lnTo>
                  <a:lnTo>
                    <a:pt x="239" y="581"/>
                  </a:lnTo>
                  <a:lnTo>
                    <a:pt x="239" y="581"/>
                  </a:lnTo>
                  <a:lnTo>
                    <a:pt x="237" y="581"/>
                  </a:lnTo>
                  <a:lnTo>
                    <a:pt x="237" y="581"/>
                  </a:lnTo>
                  <a:lnTo>
                    <a:pt x="237" y="581"/>
                  </a:lnTo>
                  <a:lnTo>
                    <a:pt x="237" y="577"/>
                  </a:lnTo>
                  <a:lnTo>
                    <a:pt x="237" y="577"/>
                  </a:lnTo>
                  <a:lnTo>
                    <a:pt x="237" y="577"/>
                  </a:lnTo>
                  <a:lnTo>
                    <a:pt x="237" y="577"/>
                  </a:lnTo>
                  <a:lnTo>
                    <a:pt x="237" y="577"/>
                  </a:lnTo>
                  <a:lnTo>
                    <a:pt x="237" y="575"/>
                  </a:lnTo>
                  <a:lnTo>
                    <a:pt x="237" y="575"/>
                  </a:lnTo>
                  <a:lnTo>
                    <a:pt x="237" y="575"/>
                  </a:lnTo>
                  <a:lnTo>
                    <a:pt x="233" y="573"/>
                  </a:lnTo>
                  <a:lnTo>
                    <a:pt x="233" y="573"/>
                  </a:lnTo>
                  <a:lnTo>
                    <a:pt x="233" y="573"/>
                  </a:lnTo>
                  <a:lnTo>
                    <a:pt x="233" y="573"/>
                  </a:lnTo>
                  <a:lnTo>
                    <a:pt x="233" y="573"/>
                  </a:lnTo>
                  <a:lnTo>
                    <a:pt x="233" y="573"/>
                  </a:lnTo>
                  <a:lnTo>
                    <a:pt x="231" y="573"/>
                  </a:lnTo>
                  <a:lnTo>
                    <a:pt x="231" y="573"/>
                  </a:lnTo>
                  <a:lnTo>
                    <a:pt x="231" y="573"/>
                  </a:lnTo>
                  <a:lnTo>
                    <a:pt x="231" y="573"/>
                  </a:lnTo>
                  <a:lnTo>
                    <a:pt x="231" y="573"/>
                  </a:lnTo>
                  <a:lnTo>
                    <a:pt x="231" y="573"/>
                  </a:lnTo>
                  <a:lnTo>
                    <a:pt x="231" y="573"/>
                  </a:lnTo>
                  <a:lnTo>
                    <a:pt x="229" y="573"/>
                  </a:lnTo>
                  <a:lnTo>
                    <a:pt x="229" y="573"/>
                  </a:lnTo>
                  <a:lnTo>
                    <a:pt x="229" y="573"/>
                  </a:lnTo>
                  <a:lnTo>
                    <a:pt x="229" y="573"/>
                  </a:lnTo>
                  <a:lnTo>
                    <a:pt x="227" y="573"/>
                  </a:lnTo>
                  <a:lnTo>
                    <a:pt x="225" y="571"/>
                  </a:lnTo>
                  <a:lnTo>
                    <a:pt x="225" y="571"/>
                  </a:lnTo>
                  <a:lnTo>
                    <a:pt x="225" y="571"/>
                  </a:lnTo>
                  <a:lnTo>
                    <a:pt x="225" y="573"/>
                  </a:lnTo>
                  <a:lnTo>
                    <a:pt x="225" y="573"/>
                  </a:lnTo>
                  <a:lnTo>
                    <a:pt x="225" y="573"/>
                  </a:lnTo>
                  <a:lnTo>
                    <a:pt x="225" y="573"/>
                  </a:lnTo>
                  <a:lnTo>
                    <a:pt x="223" y="573"/>
                  </a:lnTo>
                  <a:lnTo>
                    <a:pt x="223" y="573"/>
                  </a:lnTo>
                  <a:lnTo>
                    <a:pt x="223" y="573"/>
                  </a:lnTo>
                  <a:lnTo>
                    <a:pt x="223" y="573"/>
                  </a:lnTo>
                  <a:lnTo>
                    <a:pt x="223" y="573"/>
                  </a:lnTo>
                  <a:lnTo>
                    <a:pt x="223" y="573"/>
                  </a:lnTo>
                  <a:lnTo>
                    <a:pt x="223" y="573"/>
                  </a:lnTo>
                  <a:lnTo>
                    <a:pt x="221" y="573"/>
                  </a:lnTo>
                  <a:lnTo>
                    <a:pt x="221" y="573"/>
                  </a:lnTo>
                  <a:lnTo>
                    <a:pt x="221" y="573"/>
                  </a:lnTo>
                  <a:lnTo>
                    <a:pt x="221" y="573"/>
                  </a:lnTo>
                  <a:lnTo>
                    <a:pt x="221" y="573"/>
                  </a:lnTo>
                  <a:lnTo>
                    <a:pt x="221" y="573"/>
                  </a:lnTo>
                  <a:lnTo>
                    <a:pt x="221" y="573"/>
                  </a:lnTo>
                  <a:lnTo>
                    <a:pt x="221" y="575"/>
                  </a:lnTo>
                  <a:lnTo>
                    <a:pt x="221" y="575"/>
                  </a:lnTo>
                  <a:lnTo>
                    <a:pt x="221" y="575"/>
                  </a:lnTo>
                  <a:lnTo>
                    <a:pt x="221" y="575"/>
                  </a:lnTo>
                  <a:lnTo>
                    <a:pt x="221" y="575"/>
                  </a:lnTo>
                  <a:lnTo>
                    <a:pt x="221" y="575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77"/>
                  </a:lnTo>
                  <a:lnTo>
                    <a:pt x="221" y="581"/>
                  </a:lnTo>
                  <a:lnTo>
                    <a:pt x="221" y="581"/>
                  </a:lnTo>
                  <a:lnTo>
                    <a:pt x="221" y="581"/>
                  </a:lnTo>
                  <a:lnTo>
                    <a:pt x="221" y="581"/>
                  </a:lnTo>
                  <a:lnTo>
                    <a:pt x="221" y="581"/>
                  </a:lnTo>
                  <a:lnTo>
                    <a:pt x="221" y="581"/>
                  </a:lnTo>
                  <a:lnTo>
                    <a:pt x="221" y="581"/>
                  </a:lnTo>
                  <a:lnTo>
                    <a:pt x="219" y="581"/>
                  </a:lnTo>
                  <a:lnTo>
                    <a:pt x="219" y="581"/>
                  </a:lnTo>
                  <a:lnTo>
                    <a:pt x="219" y="583"/>
                  </a:lnTo>
                  <a:lnTo>
                    <a:pt x="219" y="583"/>
                  </a:lnTo>
                  <a:lnTo>
                    <a:pt x="219" y="583"/>
                  </a:lnTo>
                  <a:lnTo>
                    <a:pt x="219" y="583"/>
                  </a:lnTo>
                  <a:lnTo>
                    <a:pt x="215" y="583"/>
                  </a:lnTo>
                  <a:lnTo>
                    <a:pt x="215" y="583"/>
                  </a:lnTo>
                  <a:lnTo>
                    <a:pt x="215" y="583"/>
                  </a:lnTo>
                  <a:lnTo>
                    <a:pt x="215" y="581"/>
                  </a:lnTo>
                  <a:lnTo>
                    <a:pt x="215" y="581"/>
                  </a:lnTo>
                  <a:lnTo>
                    <a:pt x="215" y="581"/>
                  </a:lnTo>
                  <a:lnTo>
                    <a:pt x="213" y="577"/>
                  </a:lnTo>
                  <a:lnTo>
                    <a:pt x="213" y="577"/>
                  </a:lnTo>
                  <a:lnTo>
                    <a:pt x="213" y="577"/>
                  </a:lnTo>
                  <a:lnTo>
                    <a:pt x="213" y="577"/>
                  </a:lnTo>
                  <a:lnTo>
                    <a:pt x="213" y="577"/>
                  </a:lnTo>
                  <a:lnTo>
                    <a:pt x="213" y="577"/>
                  </a:lnTo>
                  <a:lnTo>
                    <a:pt x="213" y="575"/>
                  </a:lnTo>
                  <a:lnTo>
                    <a:pt x="213" y="575"/>
                  </a:lnTo>
                  <a:lnTo>
                    <a:pt x="211" y="575"/>
                  </a:lnTo>
                  <a:lnTo>
                    <a:pt x="211" y="575"/>
                  </a:lnTo>
                  <a:lnTo>
                    <a:pt x="209" y="573"/>
                  </a:lnTo>
                  <a:lnTo>
                    <a:pt x="209" y="573"/>
                  </a:lnTo>
                  <a:lnTo>
                    <a:pt x="205" y="573"/>
                  </a:lnTo>
                  <a:lnTo>
                    <a:pt x="205" y="573"/>
                  </a:lnTo>
                  <a:lnTo>
                    <a:pt x="205" y="573"/>
                  </a:lnTo>
                  <a:lnTo>
                    <a:pt x="205" y="571"/>
                  </a:lnTo>
                  <a:lnTo>
                    <a:pt x="203" y="571"/>
                  </a:lnTo>
                  <a:lnTo>
                    <a:pt x="203" y="571"/>
                  </a:lnTo>
                  <a:lnTo>
                    <a:pt x="201" y="571"/>
                  </a:lnTo>
                  <a:lnTo>
                    <a:pt x="201" y="571"/>
                  </a:lnTo>
                  <a:lnTo>
                    <a:pt x="201" y="571"/>
                  </a:lnTo>
                  <a:lnTo>
                    <a:pt x="201" y="571"/>
                  </a:lnTo>
                  <a:lnTo>
                    <a:pt x="201" y="571"/>
                  </a:lnTo>
                  <a:lnTo>
                    <a:pt x="199" y="571"/>
                  </a:lnTo>
                  <a:lnTo>
                    <a:pt x="195" y="569"/>
                  </a:lnTo>
                  <a:lnTo>
                    <a:pt x="193" y="569"/>
                  </a:lnTo>
                  <a:lnTo>
                    <a:pt x="193" y="569"/>
                  </a:lnTo>
                  <a:lnTo>
                    <a:pt x="193" y="569"/>
                  </a:lnTo>
                  <a:lnTo>
                    <a:pt x="193" y="569"/>
                  </a:lnTo>
                  <a:lnTo>
                    <a:pt x="193" y="569"/>
                  </a:lnTo>
                  <a:lnTo>
                    <a:pt x="193" y="565"/>
                  </a:lnTo>
                  <a:lnTo>
                    <a:pt x="193" y="565"/>
                  </a:lnTo>
                  <a:lnTo>
                    <a:pt x="193" y="565"/>
                  </a:lnTo>
                  <a:lnTo>
                    <a:pt x="193" y="565"/>
                  </a:lnTo>
                  <a:lnTo>
                    <a:pt x="191" y="565"/>
                  </a:lnTo>
                  <a:lnTo>
                    <a:pt x="191" y="565"/>
                  </a:lnTo>
                  <a:lnTo>
                    <a:pt x="191" y="565"/>
                  </a:lnTo>
                  <a:lnTo>
                    <a:pt x="193" y="565"/>
                  </a:lnTo>
                  <a:lnTo>
                    <a:pt x="193" y="565"/>
                  </a:lnTo>
                  <a:lnTo>
                    <a:pt x="193" y="565"/>
                  </a:lnTo>
                  <a:lnTo>
                    <a:pt x="193" y="565"/>
                  </a:lnTo>
                  <a:lnTo>
                    <a:pt x="193" y="563"/>
                  </a:lnTo>
                  <a:lnTo>
                    <a:pt x="193" y="563"/>
                  </a:lnTo>
                  <a:lnTo>
                    <a:pt x="191" y="563"/>
                  </a:lnTo>
                  <a:lnTo>
                    <a:pt x="191" y="563"/>
                  </a:lnTo>
                  <a:lnTo>
                    <a:pt x="191" y="561"/>
                  </a:lnTo>
                  <a:lnTo>
                    <a:pt x="191" y="561"/>
                  </a:lnTo>
                  <a:lnTo>
                    <a:pt x="191" y="563"/>
                  </a:lnTo>
                  <a:lnTo>
                    <a:pt x="189" y="563"/>
                  </a:lnTo>
                  <a:lnTo>
                    <a:pt x="189" y="563"/>
                  </a:lnTo>
                  <a:lnTo>
                    <a:pt x="189" y="561"/>
                  </a:lnTo>
                  <a:lnTo>
                    <a:pt x="189" y="561"/>
                  </a:lnTo>
                  <a:lnTo>
                    <a:pt x="189" y="561"/>
                  </a:lnTo>
                  <a:lnTo>
                    <a:pt x="187" y="561"/>
                  </a:lnTo>
                  <a:lnTo>
                    <a:pt x="187" y="559"/>
                  </a:lnTo>
                  <a:lnTo>
                    <a:pt x="185" y="559"/>
                  </a:lnTo>
                  <a:lnTo>
                    <a:pt x="185" y="559"/>
                  </a:lnTo>
                  <a:lnTo>
                    <a:pt x="185" y="559"/>
                  </a:lnTo>
                  <a:lnTo>
                    <a:pt x="185" y="559"/>
                  </a:lnTo>
                  <a:lnTo>
                    <a:pt x="183" y="557"/>
                  </a:lnTo>
                  <a:lnTo>
                    <a:pt x="183" y="557"/>
                  </a:lnTo>
                  <a:lnTo>
                    <a:pt x="181" y="559"/>
                  </a:lnTo>
                  <a:lnTo>
                    <a:pt x="181" y="559"/>
                  </a:lnTo>
                  <a:lnTo>
                    <a:pt x="181" y="559"/>
                  </a:lnTo>
                  <a:lnTo>
                    <a:pt x="181" y="559"/>
                  </a:lnTo>
                  <a:lnTo>
                    <a:pt x="177" y="559"/>
                  </a:lnTo>
                  <a:lnTo>
                    <a:pt x="177" y="559"/>
                  </a:lnTo>
                  <a:lnTo>
                    <a:pt x="177" y="559"/>
                  </a:lnTo>
                  <a:lnTo>
                    <a:pt x="177" y="559"/>
                  </a:lnTo>
                  <a:lnTo>
                    <a:pt x="177" y="559"/>
                  </a:lnTo>
                  <a:lnTo>
                    <a:pt x="177" y="557"/>
                  </a:lnTo>
                  <a:lnTo>
                    <a:pt x="177" y="557"/>
                  </a:lnTo>
                  <a:lnTo>
                    <a:pt x="177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3" y="557"/>
                  </a:lnTo>
                  <a:lnTo>
                    <a:pt x="173" y="555"/>
                  </a:lnTo>
                  <a:lnTo>
                    <a:pt x="173" y="555"/>
                  </a:lnTo>
                  <a:lnTo>
                    <a:pt x="173" y="555"/>
                  </a:lnTo>
                  <a:lnTo>
                    <a:pt x="173" y="555"/>
                  </a:lnTo>
                  <a:lnTo>
                    <a:pt x="171" y="555"/>
                  </a:lnTo>
                  <a:lnTo>
                    <a:pt x="171" y="555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9"/>
                  </a:lnTo>
                  <a:lnTo>
                    <a:pt x="167" y="547"/>
                  </a:lnTo>
                  <a:lnTo>
                    <a:pt x="167" y="547"/>
                  </a:lnTo>
                  <a:lnTo>
                    <a:pt x="165" y="547"/>
                  </a:lnTo>
                  <a:lnTo>
                    <a:pt x="165" y="547"/>
                  </a:lnTo>
                  <a:lnTo>
                    <a:pt x="165" y="547"/>
                  </a:lnTo>
                  <a:lnTo>
                    <a:pt x="165" y="547"/>
                  </a:lnTo>
                  <a:lnTo>
                    <a:pt x="162" y="547"/>
                  </a:lnTo>
                  <a:lnTo>
                    <a:pt x="162" y="547"/>
                  </a:lnTo>
                  <a:lnTo>
                    <a:pt x="162" y="549"/>
                  </a:lnTo>
                  <a:lnTo>
                    <a:pt x="162" y="549"/>
                  </a:lnTo>
                  <a:lnTo>
                    <a:pt x="162" y="549"/>
                  </a:lnTo>
                  <a:lnTo>
                    <a:pt x="162" y="549"/>
                  </a:lnTo>
                  <a:lnTo>
                    <a:pt x="162" y="547"/>
                  </a:lnTo>
                  <a:lnTo>
                    <a:pt x="162" y="549"/>
                  </a:lnTo>
                  <a:lnTo>
                    <a:pt x="160" y="549"/>
                  </a:lnTo>
                  <a:lnTo>
                    <a:pt x="160" y="549"/>
                  </a:lnTo>
                  <a:lnTo>
                    <a:pt x="160" y="549"/>
                  </a:lnTo>
                  <a:lnTo>
                    <a:pt x="160" y="549"/>
                  </a:lnTo>
                  <a:lnTo>
                    <a:pt x="160" y="549"/>
                  </a:lnTo>
                  <a:lnTo>
                    <a:pt x="160" y="549"/>
                  </a:lnTo>
                  <a:lnTo>
                    <a:pt x="160" y="549"/>
                  </a:lnTo>
                  <a:lnTo>
                    <a:pt x="158" y="549"/>
                  </a:lnTo>
                  <a:lnTo>
                    <a:pt x="158" y="549"/>
                  </a:lnTo>
                  <a:lnTo>
                    <a:pt x="158" y="549"/>
                  </a:lnTo>
                  <a:lnTo>
                    <a:pt x="158" y="549"/>
                  </a:lnTo>
                  <a:lnTo>
                    <a:pt x="158" y="547"/>
                  </a:lnTo>
                  <a:lnTo>
                    <a:pt x="158" y="547"/>
                  </a:lnTo>
                  <a:lnTo>
                    <a:pt x="158" y="547"/>
                  </a:lnTo>
                  <a:lnTo>
                    <a:pt x="158" y="545"/>
                  </a:lnTo>
                  <a:lnTo>
                    <a:pt x="154" y="545"/>
                  </a:lnTo>
                  <a:lnTo>
                    <a:pt x="154" y="545"/>
                  </a:lnTo>
                  <a:lnTo>
                    <a:pt x="158" y="543"/>
                  </a:lnTo>
                  <a:lnTo>
                    <a:pt x="158" y="543"/>
                  </a:lnTo>
                  <a:lnTo>
                    <a:pt x="158" y="543"/>
                  </a:lnTo>
                  <a:lnTo>
                    <a:pt x="158" y="543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41"/>
                  </a:lnTo>
                  <a:lnTo>
                    <a:pt x="154" y="537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2" y="537"/>
                  </a:lnTo>
                  <a:lnTo>
                    <a:pt x="152" y="537"/>
                  </a:lnTo>
                  <a:lnTo>
                    <a:pt x="154" y="535"/>
                  </a:lnTo>
                  <a:lnTo>
                    <a:pt x="152" y="535"/>
                  </a:lnTo>
                  <a:lnTo>
                    <a:pt x="152" y="535"/>
                  </a:lnTo>
                  <a:lnTo>
                    <a:pt x="154" y="533"/>
                  </a:lnTo>
                  <a:lnTo>
                    <a:pt x="154" y="533"/>
                  </a:lnTo>
                  <a:lnTo>
                    <a:pt x="152" y="533"/>
                  </a:lnTo>
                  <a:lnTo>
                    <a:pt x="152" y="533"/>
                  </a:lnTo>
                  <a:lnTo>
                    <a:pt x="152" y="531"/>
                  </a:lnTo>
                  <a:lnTo>
                    <a:pt x="152" y="531"/>
                  </a:lnTo>
                  <a:lnTo>
                    <a:pt x="148" y="527"/>
                  </a:lnTo>
                  <a:lnTo>
                    <a:pt x="148" y="527"/>
                  </a:lnTo>
                  <a:lnTo>
                    <a:pt x="148" y="525"/>
                  </a:lnTo>
                  <a:lnTo>
                    <a:pt x="146" y="525"/>
                  </a:lnTo>
                  <a:lnTo>
                    <a:pt x="146" y="525"/>
                  </a:lnTo>
                  <a:lnTo>
                    <a:pt x="146" y="525"/>
                  </a:lnTo>
                  <a:lnTo>
                    <a:pt x="146" y="525"/>
                  </a:lnTo>
                  <a:lnTo>
                    <a:pt x="146" y="525"/>
                  </a:lnTo>
                  <a:lnTo>
                    <a:pt x="146" y="523"/>
                  </a:lnTo>
                  <a:lnTo>
                    <a:pt x="146" y="523"/>
                  </a:lnTo>
                  <a:lnTo>
                    <a:pt x="146" y="523"/>
                  </a:lnTo>
                  <a:lnTo>
                    <a:pt x="146" y="521"/>
                  </a:lnTo>
                  <a:lnTo>
                    <a:pt x="146" y="521"/>
                  </a:lnTo>
                  <a:lnTo>
                    <a:pt x="146" y="521"/>
                  </a:lnTo>
                  <a:lnTo>
                    <a:pt x="146" y="521"/>
                  </a:lnTo>
                  <a:lnTo>
                    <a:pt x="146" y="521"/>
                  </a:lnTo>
                  <a:lnTo>
                    <a:pt x="144" y="521"/>
                  </a:lnTo>
                  <a:lnTo>
                    <a:pt x="144" y="519"/>
                  </a:lnTo>
                  <a:lnTo>
                    <a:pt x="144" y="519"/>
                  </a:lnTo>
                  <a:lnTo>
                    <a:pt x="144" y="519"/>
                  </a:lnTo>
                  <a:lnTo>
                    <a:pt x="144" y="519"/>
                  </a:lnTo>
                  <a:lnTo>
                    <a:pt x="148" y="519"/>
                  </a:lnTo>
                  <a:lnTo>
                    <a:pt x="148" y="519"/>
                  </a:lnTo>
                  <a:lnTo>
                    <a:pt x="148" y="517"/>
                  </a:lnTo>
                  <a:lnTo>
                    <a:pt x="148" y="517"/>
                  </a:lnTo>
                  <a:lnTo>
                    <a:pt x="148" y="517"/>
                  </a:lnTo>
                  <a:lnTo>
                    <a:pt x="150" y="517"/>
                  </a:lnTo>
                  <a:lnTo>
                    <a:pt x="150" y="517"/>
                  </a:lnTo>
                  <a:lnTo>
                    <a:pt x="150" y="517"/>
                  </a:lnTo>
                  <a:lnTo>
                    <a:pt x="150" y="517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0" y="519"/>
                  </a:lnTo>
                  <a:lnTo>
                    <a:pt x="152" y="521"/>
                  </a:lnTo>
                  <a:lnTo>
                    <a:pt x="152" y="521"/>
                  </a:lnTo>
                  <a:lnTo>
                    <a:pt x="154" y="523"/>
                  </a:lnTo>
                  <a:lnTo>
                    <a:pt x="154" y="523"/>
                  </a:lnTo>
                  <a:lnTo>
                    <a:pt x="154" y="523"/>
                  </a:lnTo>
                  <a:lnTo>
                    <a:pt x="158" y="523"/>
                  </a:lnTo>
                  <a:lnTo>
                    <a:pt x="158" y="523"/>
                  </a:lnTo>
                  <a:lnTo>
                    <a:pt x="158" y="523"/>
                  </a:lnTo>
                  <a:lnTo>
                    <a:pt x="158" y="523"/>
                  </a:lnTo>
                  <a:lnTo>
                    <a:pt x="158" y="523"/>
                  </a:lnTo>
                  <a:lnTo>
                    <a:pt x="158" y="523"/>
                  </a:lnTo>
                  <a:lnTo>
                    <a:pt x="158" y="523"/>
                  </a:lnTo>
                  <a:lnTo>
                    <a:pt x="160" y="523"/>
                  </a:lnTo>
                  <a:lnTo>
                    <a:pt x="158" y="521"/>
                  </a:lnTo>
                  <a:lnTo>
                    <a:pt x="160" y="521"/>
                  </a:lnTo>
                  <a:lnTo>
                    <a:pt x="160" y="521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2" y="519"/>
                  </a:lnTo>
                  <a:lnTo>
                    <a:pt x="162" y="519"/>
                  </a:lnTo>
                  <a:lnTo>
                    <a:pt x="162" y="519"/>
                  </a:lnTo>
                  <a:lnTo>
                    <a:pt x="162" y="519"/>
                  </a:lnTo>
                  <a:lnTo>
                    <a:pt x="162" y="519"/>
                  </a:lnTo>
                  <a:lnTo>
                    <a:pt x="165" y="517"/>
                  </a:lnTo>
                  <a:lnTo>
                    <a:pt x="165" y="517"/>
                  </a:lnTo>
                  <a:lnTo>
                    <a:pt x="165" y="515"/>
                  </a:lnTo>
                  <a:lnTo>
                    <a:pt x="165" y="515"/>
                  </a:lnTo>
                  <a:lnTo>
                    <a:pt x="165" y="515"/>
                  </a:lnTo>
                  <a:lnTo>
                    <a:pt x="165" y="515"/>
                  </a:lnTo>
                  <a:lnTo>
                    <a:pt x="165" y="513"/>
                  </a:lnTo>
                  <a:lnTo>
                    <a:pt x="165" y="513"/>
                  </a:lnTo>
                  <a:lnTo>
                    <a:pt x="162" y="513"/>
                  </a:lnTo>
                  <a:lnTo>
                    <a:pt x="162" y="509"/>
                  </a:lnTo>
                  <a:lnTo>
                    <a:pt x="160" y="509"/>
                  </a:lnTo>
                  <a:lnTo>
                    <a:pt x="160" y="509"/>
                  </a:lnTo>
                  <a:lnTo>
                    <a:pt x="160" y="507"/>
                  </a:lnTo>
                  <a:lnTo>
                    <a:pt x="160" y="507"/>
                  </a:lnTo>
                  <a:lnTo>
                    <a:pt x="160" y="505"/>
                  </a:lnTo>
                  <a:lnTo>
                    <a:pt x="160" y="505"/>
                  </a:lnTo>
                  <a:lnTo>
                    <a:pt x="160" y="505"/>
                  </a:lnTo>
                  <a:lnTo>
                    <a:pt x="160" y="505"/>
                  </a:lnTo>
                  <a:lnTo>
                    <a:pt x="160" y="503"/>
                  </a:lnTo>
                  <a:lnTo>
                    <a:pt x="160" y="503"/>
                  </a:lnTo>
                  <a:lnTo>
                    <a:pt x="158" y="503"/>
                  </a:lnTo>
                  <a:lnTo>
                    <a:pt x="158" y="503"/>
                  </a:lnTo>
                  <a:lnTo>
                    <a:pt x="154" y="503"/>
                  </a:lnTo>
                  <a:lnTo>
                    <a:pt x="154" y="503"/>
                  </a:lnTo>
                  <a:lnTo>
                    <a:pt x="152" y="503"/>
                  </a:lnTo>
                  <a:lnTo>
                    <a:pt x="152" y="503"/>
                  </a:lnTo>
                  <a:lnTo>
                    <a:pt x="152" y="499"/>
                  </a:lnTo>
                  <a:lnTo>
                    <a:pt x="152" y="499"/>
                  </a:lnTo>
                  <a:lnTo>
                    <a:pt x="152" y="499"/>
                  </a:lnTo>
                  <a:lnTo>
                    <a:pt x="152" y="499"/>
                  </a:lnTo>
                  <a:lnTo>
                    <a:pt x="152" y="499"/>
                  </a:lnTo>
                  <a:lnTo>
                    <a:pt x="150" y="499"/>
                  </a:lnTo>
                  <a:lnTo>
                    <a:pt x="150" y="499"/>
                  </a:lnTo>
                  <a:lnTo>
                    <a:pt x="148" y="497"/>
                  </a:lnTo>
                  <a:lnTo>
                    <a:pt x="146" y="495"/>
                  </a:lnTo>
                  <a:lnTo>
                    <a:pt x="146" y="495"/>
                  </a:lnTo>
                  <a:lnTo>
                    <a:pt x="146" y="493"/>
                  </a:lnTo>
                  <a:lnTo>
                    <a:pt x="144" y="487"/>
                  </a:lnTo>
                  <a:lnTo>
                    <a:pt x="144" y="487"/>
                  </a:lnTo>
                  <a:lnTo>
                    <a:pt x="144" y="485"/>
                  </a:lnTo>
                  <a:lnTo>
                    <a:pt x="142" y="483"/>
                  </a:lnTo>
                  <a:lnTo>
                    <a:pt x="142" y="481"/>
                  </a:lnTo>
                  <a:lnTo>
                    <a:pt x="142" y="479"/>
                  </a:lnTo>
                  <a:lnTo>
                    <a:pt x="144" y="479"/>
                  </a:lnTo>
                  <a:lnTo>
                    <a:pt x="146" y="477"/>
                  </a:lnTo>
                  <a:lnTo>
                    <a:pt x="146" y="477"/>
                  </a:lnTo>
                  <a:lnTo>
                    <a:pt x="146" y="477"/>
                  </a:lnTo>
                  <a:lnTo>
                    <a:pt x="146" y="475"/>
                  </a:lnTo>
                  <a:lnTo>
                    <a:pt x="144" y="475"/>
                  </a:lnTo>
                  <a:lnTo>
                    <a:pt x="144" y="475"/>
                  </a:lnTo>
                  <a:lnTo>
                    <a:pt x="144" y="475"/>
                  </a:lnTo>
                  <a:lnTo>
                    <a:pt x="142" y="471"/>
                  </a:lnTo>
                  <a:lnTo>
                    <a:pt x="142" y="471"/>
                  </a:lnTo>
                  <a:lnTo>
                    <a:pt x="142" y="471"/>
                  </a:lnTo>
                  <a:lnTo>
                    <a:pt x="138" y="469"/>
                  </a:lnTo>
                  <a:lnTo>
                    <a:pt x="136" y="469"/>
                  </a:lnTo>
                  <a:lnTo>
                    <a:pt x="136" y="469"/>
                  </a:lnTo>
                  <a:lnTo>
                    <a:pt x="130" y="467"/>
                  </a:lnTo>
                  <a:lnTo>
                    <a:pt x="130" y="467"/>
                  </a:lnTo>
                  <a:lnTo>
                    <a:pt x="130" y="467"/>
                  </a:lnTo>
                  <a:lnTo>
                    <a:pt x="126" y="465"/>
                  </a:lnTo>
                  <a:lnTo>
                    <a:pt x="124" y="459"/>
                  </a:lnTo>
                  <a:lnTo>
                    <a:pt x="124" y="459"/>
                  </a:lnTo>
                  <a:lnTo>
                    <a:pt x="124" y="459"/>
                  </a:lnTo>
                  <a:lnTo>
                    <a:pt x="122" y="457"/>
                  </a:lnTo>
                  <a:lnTo>
                    <a:pt x="122" y="457"/>
                  </a:lnTo>
                  <a:lnTo>
                    <a:pt x="122" y="455"/>
                  </a:lnTo>
                  <a:lnTo>
                    <a:pt x="120" y="453"/>
                  </a:lnTo>
                  <a:lnTo>
                    <a:pt x="116" y="449"/>
                  </a:lnTo>
                  <a:lnTo>
                    <a:pt x="116" y="447"/>
                  </a:lnTo>
                  <a:lnTo>
                    <a:pt x="116" y="447"/>
                  </a:lnTo>
                  <a:lnTo>
                    <a:pt x="116" y="445"/>
                  </a:lnTo>
                  <a:lnTo>
                    <a:pt x="116" y="445"/>
                  </a:lnTo>
                  <a:lnTo>
                    <a:pt x="114" y="445"/>
                  </a:lnTo>
                  <a:lnTo>
                    <a:pt x="114" y="445"/>
                  </a:lnTo>
                  <a:lnTo>
                    <a:pt x="114" y="445"/>
                  </a:lnTo>
                  <a:lnTo>
                    <a:pt x="114" y="445"/>
                  </a:lnTo>
                  <a:lnTo>
                    <a:pt x="112" y="445"/>
                  </a:lnTo>
                  <a:lnTo>
                    <a:pt x="112" y="445"/>
                  </a:lnTo>
                  <a:lnTo>
                    <a:pt x="112" y="445"/>
                  </a:lnTo>
                  <a:lnTo>
                    <a:pt x="112" y="445"/>
                  </a:lnTo>
                  <a:lnTo>
                    <a:pt x="110" y="445"/>
                  </a:lnTo>
                  <a:lnTo>
                    <a:pt x="110" y="445"/>
                  </a:lnTo>
                  <a:lnTo>
                    <a:pt x="110" y="445"/>
                  </a:lnTo>
                  <a:lnTo>
                    <a:pt x="110" y="445"/>
                  </a:lnTo>
                  <a:lnTo>
                    <a:pt x="110" y="445"/>
                  </a:lnTo>
                  <a:lnTo>
                    <a:pt x="110" y="445"/>
                  </a:lnTo>
                  <a:lnTo>
                    <a:pt x="106" y="445"/>
                  </a:lnTo>
                  <a:lnTo>
                    <a:pt x="106" y="445"/>
                  </a:lnTo>
                  <a:lnTo>
                    <a:pt x="104" y="445"/>
                  </a:lnTo>
                  <a:lnTo>
                    <a:pt x="104" y="445"/>
                  </a:lnTo>
                  <a:lnTo>
                    <a:pt x="104" y="445"/>
                  </a:lnTo>
                  <a:lnTo>
                    <a:pt x="102" y="442"/>
                  </a:lnTo>
                  <a:lnTo>
                    <a:pt x="102" y="442"/>
                  </a:lnTo>
                  <a:lnTo>
                    <a:pt x="102" y="442"/>
                  </a:lnTo>
                  <a:lnTo>
                    <a:pt x="98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6" y="442"/>
                  </a:lnTo>
                  <a:lnTo>
                    <a:pt x="96" y="442"/>
                  </a:lnTo>
                  <a:lnTo>
                    <a:pt x="96" y="442"/>
                  </a:lnTo>
                  <a:lnTo>
                    <a:pt x="96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2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0"/>
                  </a:lnTo>
                  <a:lnTo>
                    <a:pt x="92" y="440"/>
                  </a:lnTo>
                  <a:lnTo>
                    <a:pt x="88" y="440"/>
                  </a:lnTo>
                  <a:lnTo>
                    <a:pt x="88" y="440"/>
                  </a:lnTo>
                  <a:lnTo>
                    <a:pt x="88" y="440"/>
                  </a:lnTo>
                  <a:lnTo>
                    <a:pt x="88" y="440"/>
                  </a:lnTo>
                  <a:lnTo>
                    <a:pt x="88" y="440"/>
                  </a:lnTo>
                  <a:lnTo>
                    <a:pt x="86" y="438"/>
                  </a:lnTo>
                  <a:lnTo>
                    <a:pt x="84" y="438"/>
                  </a:lnTo>
                  <a:lnTo>
                    <a:pt x="84" y="438"/>
                  </a:lnTo>
                  <a:lnTo>
                    <a:pt x="84" y="438"/>
                  </a:lnTo>
                  <a:lnTo>
                    <a:pt x="84" y="436"/>
                  </a:lnTo>
                  <a:lnTo>
                    <a:pt x="84" y="432"/>
                  </a:lnTo>
                  <a:lnTo>
                    <a:pt x="82" y="432"/>
                  </a:lnTo>
                  <a:lnTo>
                    <a:pt x="82" y="436"/>
                  </a:lnTo>
                  <a:lnTo>
                    <a:pt x="82" y="436"/>
                  </a:lnTo>
                  <a:lnTo>
                    <a:pt x="82" y="436"/>
                  </a:lnTo>
                  <a:lnTo>
                    <a:pt x="82" y="436"/>
                  </a:lnTo>
                  <a:lnTo>
                    <a:pt x="82" y="436"/>
                  </a:lnTo>
                  <a:lnTo>
                    <a:pt x="82" y="436"/>
                  </a:lnTo>
                  <a:lnTo>
                    <a:pt x="82" y="436"/>
                  </a:lnTo>
                  <a:lnTo>
                    <a:pt x="80" y="436"/>
                  </a:lnTo>
                  <a:lnTo>
                    <a:pt x="80" y="436"/>
                  </a:lnTo>
                  <a:lnTo>
                    <a:pt x="80" y="436"/>
                  </a:lnTo>
                  <a:lnTo>
                    <a:pt x="80" y="436"/>
                  </a:lnTo>
                  <a:lnTo>
                    <a:pt x="80" y="436"/>
                  </a:lnTo>
                  <a:lnTo>
                    <a:pt x="80" y="436"/>
                  </a:lnTo>
                  <a:lnTo>
                    <a:pt x="76" y="436"/>
                  </a:lnTo>
                  <a:lnTo>
                    <a:pt x="76" y="436"/>
                  </a:lnTo>
                  <a:lnTo>
                    <a:pt x="76" y="436"/>
                  </a:lnTo>
                  <a:lnTo>
                    <a:pt x="76" y="436"/>
                  </a:lnTo>
                  <a:lnTo>
                    <a:pt x="74" y="436"/>
                  </a:lnTo>
                  <a:lnTo>
                    <a:pt x="74" y="436"/>
                  </a:lnTo>
                  <a:lnTo>
                    <a:pt x="74" y="436"/>
                  </a:lnTo>
                  <a:lnTo>
                    <a:pt x="74" y="432"/>
                  </a:lnTo>
                  <a:lnTo>
                    <a:pt x="74" y="432"/>
                  </a:lnTo>
                  <a:lnTo>
                    <a:pt x="72" y="432"/>
                  </a:lnTo>
                  <a:lnTo>
                    <a:pt x="72" y="430"/>
                  </a:lnTo>
                  <a:lnTo>
                    <a:pt x="70" y="430"/>
                  </a:lnTo>
                  <a:lnTo>
                    <a:pt x="70" y="430"/>
                  </a:lnTo>
                  <a:lnTo>
                    <a:pt x="70" y="430"/>
                  </a:lnTo>
                  <a:lnTo>
                    <a:pt x="68" y="430"/>
                  </a:lnTo>
                  <a:lnTo>
                    <a:pt x="68" y="428"/>
                  </a:lnTo>
                  <a:lnTo>
                    <a:pt x="68" y="428"/>
                  </a:lnTo>
                  <a:lnTo>
                    <a:pt x="68" y="428"/>
                  </a:lnTo>
                  <a:lnTo>
                    <a:pt x="70" y="428"/>
                  </a:lnTo>
                  <a:lnTo>
                    <a:pt x="70" y="428"/>
                  </a:lnTo>
                  <a:lnTo>
                    <a:pt x="70" y="428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70" y="426"/>
                  </a:lnTo>
                  <a:lnTo>
                    <a:pt x="68" y="422"/>
                  </a:lnTo>
                  <a:lnTo>
                    <a:pt x="68" y="422"/>
                  </a:lnTo>
                  <a:lnTo>
                    <a:pt x="68" y="422"/>
                  </a:lnTo>
                  <a:lnTo>
                    <a:pt x="68" y="420"/>
                  </a:lnTo>
                  <a:lnTo>
                    <a:pt x="68" y="418"/>
                  </a:lnTo>
                  <a:lnTo>
                    <a:pt x="66" y="416"/>
                  </a:lnTo>
                  <a:lnTo>
                    <a:pt x="64" y="414"/>
                  </a:lnTo>
                  <a:lnTo>
                    <a:pt x="64" y="414"/>
                  </a:lnTo>
                  <a:lnTo>
                    <a:pt x="60" y="414"/>
                  </a:lnTo>
                  <a:lnTo>
                    <a:pt x="58" y="412"/>
                  </a:lnTo>
                  <a:lnTo>
                    <a:pt x="56" y="412"/>
                  </a:lnTo>
                  <a:lnTo>
                    <a:pt x="56" y="412"/>
                  </a:lnTo>
                  <a:lnTo>
                    <a:pt x="56" y="414"/>
                  </a:lnTo>
                  <a:lnTo>
                    <a:pt x="56" y="414"/>
                  </a:lnTo>
                  <a:lnTo>
                    <a:pt x="56" y="414"/>
                  </a:lnTo>
                  <a:lnTo>
                    <a:pt x="54" y="414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54" y="412"/>
                  </a:lnTo>
                  <a:lnTo>
                    <a:pt x="54" y="408"/>
                  </a:lnTo>
                  <a:lnTo>
                    <a:pt x="50" y="408"/>
                  </a:lnTo>
                  <a:lnTo>
                    <a:pt x="50" y="408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46" y="406"/>
                  </a:lnTo>
                  <a:lnTo>
                    <a:pt x="46" y="406"/>
                  </a:lnTo>
                  <a:lnTo>
                    <a:pt x="46" y="406"/>
                  </a:lnTo>
                  <a:lnTo>
                    <a:pt x="46" y="406"/>
                  </a:lnTo>
                  <a:lnTo>
                    <a:pt x="44" y="406"/>
                  </a:lnTo>
                  <a:lnTo>
                    <a:pt x="44" y="406"/>
                  </a:lnTo>
                  <a:lnTo>
                    <a:pt x="42" y="406"/>
                  </a:lnTo>
                  <a:lnTo>
                    <a:pt x="42" y="406"/>
                  </a:lnTo>
                  <a:lnTo>
                    <a:pt x="42" y="406"/>
                  </a:lnTo>
                  <a:lnTo>
                    <a:pt x="42" y="406"/>
                  </a:lnTo>
                  <a:lnTo>
                    <a:pt x="42" y="408"/>
                  </a:lnTo>
                  <a:lnTo>
                    <a:pt x="42" y="408"/>
                  </a:lnTo>
                  <a:lnTo>
                    <a:pt x="42" y="408"/>
                  </a:lnTo>
                  <a:lnTo>
                    <a:pt x="42" y="408"/>
                  </a:lnTo>
                  <a:lnTo>
                    <a:pt x="42" y="406"/>
                  </a:lnTo>
                  <a:lnTo>
                    <a:pt x="42" y="406"/>
                  </a:lnTo>
                  <a:lnTo>
                    <a:pt x="40" y="406"/>
                  </a:lnTo>
                  <a:lnTo>
                    <a:pt x="40" y="406"/>
                  </a:lnTo>
                  <a:lnTo>
                    <a:pt x="40" y="406"/>
                  </a:lnTo>
                  <a:lnTo>
                    <a:pt x="36" y="406"/>
                  </a:lnTo>
                  <a:lnTo>
                    <a:pt x="36" y="404"/>
                  </a:lnTo>
                  <a:lnTo>
                    <a:pt x="36" y="404"/>
                  </a:lnTo>
                  <a:lnTo>
                    <a:pt x="36" y="404"/>
                  </a:lnTo>
                  <a:lnTo>
                    <a:pt x="34" y="404"/>
                  </a:lnTo>
                  <a:lnTo>
                    <a:pt x="34" y="404"/>
                  </a:lnTo>
                  <a:lnTo>
                    <a:pt x="34" y="406"/>
                  </a:lnTo>
                  <a:lnTo>
                    <a:pt x="34" y="404"/>
                  </a:lnTo>
                  <a:lnTo>
                    <a:pt x="32" y="404"/>
                  </a:lnTo>
                  <a:lnTo>
                    <a:pt x="32" y="404"/>
                  </a:lnTo>
                  <a:lnTo>
                    <a:pt x="32" y="404"/>
                  </a:lnTo>
                  <a:lnTo>
                    <a:pt x="30" y="404"/>
                  </a:lnTo>
                  <a:lnTo>
                    <a:pt x="30" y="402"/>
                  </a:lnTo>
                  <a:lnTo>
                    <a:pt x="30" y="402"/>
                  </a:lnTo>
                  <a:lnTo>
                    <a:pt x="30" y="402"/>
                  </a:lnTo>
                  <a:lnTo>
                    <a:pt x="30" y="402"/>
                  </a:lnTo>
                  <a:lnTo>
                    <a:pt x="30" y="402"/>
                  </a:lnTo>
                  <a:lnTo>
                    <a:pt x="30" y="402"/>
                  </a:lnTo>
                  <a:lnTo>
                    <a:pt x="32" y="402"/>
                  </a:lnTo>
                  <a:lnTo>
                    <a:pt x="32" y="402"/>
                  </a:lnTo>
                  <a:lnTo>
                    <a:pt x="32" y="402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4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0" y="400"/>
                  </a:lnTo>
                  <a:lnTo>
                    <a:pt x="42" y="400"/>
                  </a:lnTo>
                  <a:lnTo>
                    <a:pt x="42" y="400"/>
                  </a:lnTo>
                  <a:lnTo>
                    <a:pt x="44" y="398"/>
                  </a:lnTo>
                  <a:lnTo>
                    <a:pt x="44" y="398"/>
                  </a:lnTo>
                  <a:lnTo>
                    <a:pt x="42" y="398"/>
                  </a:lnTo>
                  <a:lnTo>
                    <a:pt x="44" y="398"/>
                  </a:lnTo>
                  <a:lnTo>
                    <a:pt x="44" y="398"/>
                  </a:lnTo>
                  <a:lnTo>
                    <a:pt x="44" y="398"/>
                  </a:lnTo>
                  <a:lnTo>
                    <a:pt x="44" y="394"/>
                  </a:lnTo>
                  <a:lnTo>
                    <a:pt x="42" y="394"/>
                  </a:lnTo>
                  <a:lnTo>
                    <a:pt x="42" y="394"/>
                  </a:lnTo>
                  <a:lnTo>
                    <a:pt x="42" y="392"/>
                  </a:lnTo>
                  <a:lnTo>
                    <a:pt x="40" y="392"/>
                  </a:lnTo>
                  <a:lnTo>
                    <a:pt x="36" y="392"/>
                  </a:lnTo>
                  <a:lnTo>
                    <a:pt x="36" y="390"/>
                  </a:lnTo>
                  <a:lnTo>
                    <a:pt x="36" y="390"/>
                  </a:lnTo>
                  <a:lnTo>
                    <a:pt x="36" y="390"/>
                  </a:lnTo>
                  <a:lnTo>
                    <a:pt x="36" y="390"/>
                  </a:lnTo>
                  <a:lnTo>
                    <a:pt x="36" y="390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4"/>
                  </a:lnTo>
                  <a:lnTo>
                    <a:pt x="36" y="384"/>
                  </a:lnTo>
                  <a:lnTo>
                    <a:pt x="36" y="384"/>
                  </a:lnTo>
                  <a:lnTo>
                    <a:pt x="34" y="384"/>
                  </a:lnTo>
                  <a:lnTo>
                    <a:pt x="34" y="384"/>
                  </a:lnTo>
                  <a:lnTo>
                    <a:pt x="34" y="384"/>
                  </a:lnTo>
                  <a:lnTo>
                    <a:pt x="34" y="384"/>
                  </a:lnTo>
                  <a:lnTo>
                    <a:pt x="34" y="384"/>
                  </a:lnTo>
                  <a:lnTo>
                    <a:pt x="34" y="384"/>
                  </a:lnTo>
                  <a:lnTo>
                    <a:pt x="34" y="382"/>
                  </a:lnTo>
                  <a:lnTo>
                    <a:pt x="34" y="382"/>
                  </a:lnTo>
                  <a:lnTo>
                    <a:pt x="34" y="382"/>
                  </a:lnTo>
                  <a:lnTo>
                    <a:pt x="34" y="382"/>
                  </a:lnTo>
                  <a:lnTo>
                    <a:pt x="34" y="382"/>
                  </a:lnTo>
                  <a:lnTo>
                    <a:pt x="34" y="382"/>
                  </a:lnTo>
                  <a:lnTo>
                    <a:pt x="34" y="380"/>
                  </a:lnTo>
                  <a:lnTo>
                    <a:pt x="34" y="380"/>
                  </a:lnTo>
                  <a:lnTo>
                    <a:pt x="32" y="380"/>
                  </a:lnTo>
                  <a:lnTo>
                    <a:pt x="32" y="378"/>
                  </a:lnTo>
                  <a:lnTo>
                    <a:pt x="30" y="376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4"/>
                  </a:lnTo>
                  <a:lnTo>
                    <a:pt x="30" y="372"/>
                  </a:lnTo>
                  <a:lnTo>
                    <a:pt x="30" y="372"/>
                  </a:lnTo>
                  <a:lnTo>
                    <a:pt x="30" y="372"/>
                  </a:lnTo>
                  <a:lnTo>
                    <a:pt x="30" y="372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30" y="370"/>
                  </a:lnTo>
                  <a:lnTo>
                    <a:pt x="28" y="370"/>
                  </a:lnTo>
                  <a:lnTo>
                    <a:pt x="28" y="370"/>
                  </a:lnTo>
                  <a:lnTo>
                    <a:pt x="28" y="370"/>
                  </a:lnTo>
                  <a:lnTo>
                    <a:pt x="28" y="370"/>
                  </a:lnTo>
                  <a:lnTo>
                    <a:pt x="28" y="370"/>
                  </a:lnTo>
                  <a:lnTo>
                    <a:pt x="26" y="370"/>
                  </a:lnTo>
                  <a:lnTo>
                    <a:pt x="26" y="366"/>
                  </a:lnTo>
                  <a:lnTo>
                    <a:pt x="26" y="366"/>
                  </a:lnTo>
                  <a:lnTo>
                    <a:pt x="20" y="366"/>
                  </a:lnTo>
                  <a:lnTo>
                    <a:pt x="18" y="364"/>
                  </a:lnTo>
                  <a:lnTo>
                    <a:pt x="18" y="364"/>
                  </a:lnTo>
                  <a:lnTo>
                    <a:pt x="16" y="364"/>
                  </a:lnTo>
                  <a:lnTo>
                    <a:pt x="16" y="364"/>
                  </a:lnTo>
                  <a:lnTo>
                    <a:pt x="16" y="364"/>
                  </a:lnTo>
                  <a:lnTo>
                    <a:pt x="12" y="364"/>
                  </a:lnTo>
                  <a:lnTo>
                    <a:pt x="12" y="364"/>
                  </a:lnTo>
                  <a:lnTo>
                    <a:pt x="12" y="364"/>
                  </a:lnTo>
                  <a:lnTo>
                    <a:pt x="12" y="364"/>
                  </a:lnTo>
                  <a:lnTo>
                    <a:pt x="12" y="364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66"/>
                  </a:lnTo>
                  <a:lnTo>
                    <a:pt x="12" y="370"/>
                  </a:lnTo>
                  <a:lnTo>
                    <a:pt x="12" y="370"/>
                  </a:lnTo>
                  <a:lnTo>
                    <a:pt x="10" y="370"/>
                  </a:lnTo>
                  <a:lnTo>
                    <a:pt x="10" y="370"/>
                  </a:lnTo>
                  <a:lnTo>
                    <a:pt x="8" y="366"/>
                  </a:lnTo>
                  <a:lnTo>
                    <a:pt x="8" y="366"/>
                  </a:lnTo>
                  <a:lnTo>
                    <a:pt x="8" y="366"/>
                  </a:lnTo>
                  <a:lnTo>
                    <a:pt x="8" y="366"/>
                  </a:lnTo>
                  <a:lnTo>
                    <a:pt x="8" y="366"/>
                  </a:lnTo>
                  <a:lnTo>
                    <a:pt x="6" y="366"/>
                  </a:lnTo>
                  <a:lnTo>
                    <a:pt x="6" y="364"/>
                  </a:lnTo>
                  <a:lnTo>
                    <a:pt x="6" y="364"/>
                  </a:lnTo>
                  <a:lnTo>
                    <a:pt x="6" y="364"/>
                  </a:lnTo>
                  <a:lnTo>
                    <a:pt x="6" y="362"/>
                  </a:lnTo>
                  <a:lnTo>
                    <a:pt x="6" y="362"/>
                  </a:lnTo>
                  <a:lnTo>
                    <a:pt x="4" y="362"/>
                  </a:lnTo>
                  <a:lnTo>
                    <a:pt x="4" y="362"/>
                  </a:lnTo>
                  <a:lnTo>
                    <a:pt x="4" y="360"/>
                  </a:lnTo>
                  <a:lnTo>
                    <a:pt x="4" y="360"/>
                  </a:lnTo>
                  <a:lnTo>
                    <a:pt x="4" y="360"/>
                  </a:lnTo>
                  <a:lnTo>
                    <a:pt x="4" y="360"/>
                  </a:lnTo>
                  <a:lnTo>
                    <a:pt x="4" y="360"/>
                  </a:lnTo>
                  <a:lnTo>
                    <a:pt x="4" y="360"/>
                  </a:lnTo>
                  <a:lnTo>
                    <a:pt x="4" y="356"/>
                  </a:lnTo>
                  <a:lnTo>
                    <a:pt x="6" y="356"/>
                  </a:lnTo>
                  <a:lnTo>
                    <a:pt x="6" y="356"/>
                  </a:lnTo>
                  <a:lnTo>
                    <a:pt x="6" y="356"/>
                  </a:lnTo>
                  <a:lnTo>
                    <a:pt x="6" y="356"/>
                  </a:lnTo>
                  <a:lnTo>
                    <a:pt x="6" y="356"/>
                  </a:lnTo>
                  <a:lnTo>
                    <a:pt x="6" y="356"/>
                  </a:lnTo>
                  <a:lnTo>
                    <a:pt x="4" y="356"/>
                  </a:lnTo>
                  <a:lnTo>
                    <a:pt x="4" y="354"/>
                  </a:lnTo>
                  <a:lnTo>
                    <a:pt x="2" y="354"/>
                  </a:lnTo>
                  <a:lnTo>
                    <a:pt x="2" y="354"/>
                  </a:lnTo>
                  <a:lnTo>
                    <a:pt x="2" y="354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0" y="352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0" y="350"/>
                  </a:lnTo>
                  <a:lnTo>
                    <a:pt x="0" y="346"/>
                  </a:lnTo>
                  <a:lnTo>
                    <a:pt x="0" y="346"/>
                  </a:lnTo>
                  <a:lnTo>
                    <a:pt x="0" y="346"/>
                  </a:lnTo>
                  <a:lnTo>
                    <a:pt x="0" y="344"/>
                  </a:lnTo>
                  <a:lnTo>
                    <a:pt x="0" y="344"/>
                  </a:lnTo>
                  <a:lnTo>
                    <a:pt x="2" y="344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2" y="342"/>
                  </a:lnTo>
                  <a:lnTo>
                    <a:pt x="4" y="340"/>
                  </a:lnTo>
                  <a:lnTo>
                    <a:pt x="4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8"/>
                  </a:lnTo>
                  <a:lnTo>
                    <a:pt x="2" y="338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0" y="338"/>
                  </a:lnTo>
                  <a:lnTo>
                    <a:pt x="0" y="336"/>
                  </a:lnTo>
                  <a:lnTo>
                    <a:pt x="0" y="336"/>
                  </a:lnTo>
                  <a:lnTo>
                    <a:pt x="0" y="336"/>
                  </a:lnTo>
                  <a:lnTo>
                    <a:pt x="0" y="336"/>
                  </a:lnTo>
                  <a:lnTo>
                    <a:pt x="0" y="336"/>
                  </a:lnTo>
                  <a:lnTo>
                    <a:pt x="0" y="336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2" y="332"/>
                  </a:lnTo>
                  <a:lnTo>
                    <a:pt x="2" y="332"/>
                  </a:lnTo>
                  <a:lnTo>
                    <a:pt x="2" y="332"/>
                  </a:lnTo>
                  <a:lnTo>
                    <a:pt x="2" y="332"/>
                  </a:lnTo>
                  <a:lnTo>
                    <a:pt x="2" y="332"/>
                  </a:lnTo>
                  <a:lnTo>
                    <a:pt x="2" y="328"/>
                  </a:lnTo>
                  <a:lnTo>
                    <a:pt x="2" y="328"/>
                  </a:lnTo>
                  <a:lnTo>
                    <a:pt x="4" y="328"/>
                  </a:lnTo>
                  <a:lnTo>
                    <a:pt x="4" y="328"/>
                  </a:lnTo>
                  <a:lnTo>
                    <a:pt x="4" y="328"/>
                  </a:lnTo>
                  <a:lnTo>
                    <a:pt x="4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6" y="328"/>
                  </a:lnTo>
                  <a:lnTo>
                    <a:pt x="8" y="328"/>
                  </a:lnTo>
                  <a:lnTo>
                    <a:pt x="8" y="328"/>
                  </a:lnTo>
                  <a:lnTo>
                    <a:pt x="10" y="326"/>
                  </a:lnTo>
                  <a:lnTo>
                    <a:pt x="10" y="324"/>
                  </a:lnTo>
                  <a:lnTo>
                    <a:pt x="10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6" y="322"/>
                  </a:lnTo>
                  <a:lnTo>
                    <a:pt x="16" y="322"/>
                  </a:lnTo>
                  <a:lnTo>
                    <a:pt x="16" y="322"/>
                  </a:lnTo>
                  <a:lnTo>
                    <a:pt x="12" y="322"/>
                  </a:lnTo>
                  <a:lnTo>
                    <a:pt x="12" y="318"/>
                  </a:lnTo>
                  <a:lnTo>
                    <a:pt x="12" y="318"/>
                  </a:lnTo>
                  <a:lnTo>
                    <a:pt x="12" y="318"/>
                  </a:lnTo>
                  <a:lnTo>
                    <a:pt x="12" y="318"/>
                  </a:lnTo>
                  <a:lnTo>
                    <a:pt x="12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6" y="318"/>
                  </a:lnTo>
                  <a:lnTo>
                    <a:pt x="18" y="318"/>
                  </a:lnTo>
                  <a:lnTo>
                    <a:pt x="18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8" y="316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8"/>
                  </a:lnTo>
                  <a:lnTo>
                    <a:pt x="30" y="318"/>
                  </a:lnTo>
                  <a:lnTo>
                    <a:pt x="30" y="318"/>
                  </a:lnTo>
                  <a:lnTo>
                    <a:pt x="32" y="318"/>
                  </a:lnTo>
                  <a:lnTo>
                    <a:pt x="32" y="318"/>
                  </a:lnTo>
                  <a:lnTo>
                    <a:pt x="32" y="322"/>
                  </a:lnTo>
                  <a:lnTo>
                    <a:pt x="32" y="322"/>
                  </a:lnTo>
                  <a:lnTo>
                    <a:pt x="32" y="322"/>
                  </a:lnTo>
                  <a:lnTo>
                    <a:pt x="32" y="322"/>
                  </a:lnTo>
                  <a:lnTo>
                    <a:pt x="32" y="322"/>
                  </a:lnTo>
                  <a:lnTo>
                    <a:pt x="32" y="324"/>
                  </a:lnTo>
                  <a:lnTo>
                    <a:pt x="32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6" y="324"/>
                  </a:lnTo>
                  <a:lnTo>
                    <a:pt x="36" y="324"/>
                  </a:lnTo>
                  <a:lnTo>
                    <a:pt x="40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2" y="322"/>
                  </a:lnTo>
                  <a:lnTo>
                    <a:pt x="42" y="322"/>
                  </a:lnTo>
                  <a:lnTo>
                    <a:pt x="42" y="322"/>
                  </a:lnTo>
                  <a:lnTo>
                    <a:pt x="42" y="322"/>
                  </a:lnTo>
                  <a:lnTo>
                    <a:pt x="44" y="322"/>
                  </a:lnTo>
                  <a:lnTo>
                    <a:pt x="44" y="322"/>
                  </a:lnTo>
                  <a:lnTo>
                    <a:pt x="44" y="318"/>
                  </a:lnTo>
                  <a:lnTo>
                    <a:pt x="44" y="322"/>
                  </a:lnTo>
                  <a:lnTo>
                    <a:pt x="44" y="322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46" y="322"/>
                  </a:lnTo>
                  <a:lnTo>
                    <a:pt x="48" y="322"/>
                  </a:lnTo>
                  <a:lnTo>
                    <a:pt x="48" y="322"/>
                  </a:lnTo>
                  <a:lnTo>
                    <a:pt x="48" y="318"/>
                  </a:lnTo>
                  <a:lnTo>
                    <a:pt x="48" y="316"/>
                  </a:lnTo>
                  <a:lnTo>
                    <a:pt x="48" y="316"/>
                  </a:lnTo>
                  <a:lnTo>
                    <a:pt x="48" y="316"/>
                  </a:lnTo>
                  <a:lnTo>
                    <a:pt x="50" y="316"/>
                  </a:lnTo>
                  <a:lnTo>
                    <a:pt x="50" y="316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48" y="312"/>
                  </a:lnTo>
                  <a:lnTo>
                    <a:pt x="50" y="312"/>
                  </a:lnTo>
                  <a:lnTo>
                    <a:pt x="50" y="310"/>
                  </a:lnTo>
                  <a:lnTo>
                    <a:pt x="50" y="310"/>
                  </a:lnTo>
                  <a:lnTo>
                    <a:pt x="50" y="310"/>
                  </a:lnTo>
                  <a:lnTo>
                    <a:pt x="50" y="310"/>
                  </a:lnTo>
                  <a:lnTo>
                    <a:pt x="50" y="310"/>
                  </a:lnTo>
                  <a:lnTo>
                    <a:pt x="50" y="306"/>
                  </a:lnTo>
                  <a:lnTo>
                    <a:pt x="50" y="306"/>
                  </a:lnTo>
                  <a:lnTo>
                    <a:pt x="50" y="306"/>
                  </a:lnTo>
                  <a:lnTo>
                    <a:pt x="50" y="306"/>
                  </a:lnTo>
                  <a:lnTo>
                    <a:pt x="50" y="306"/>
                  </a:lnTo>
                  <a:lnTo>
                    <a:pt x="50" y="304"/>
                  </a:lnTo>
                  <a:lnTo>
                    <a:pt x="54" y="304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4"/>
                  </a:lnTo>
                  <a:lnTo>
                    <a:pt x="56" y="304"/>
                  </a:lnTo>
                  <a:lnTo>
                    <a:pt x="60" y="306"/>
                  </a:lnTo>
                  <a:lnTo>
                    <a:pt x="60" y="304"/>
                  </a:lnTo>
                  <a:lnTo>
                    <a:pt x="60" y="304"/>
                  </a:lnTo>
                  <a:lnTo>
                    <a:pt x="64" y="304"/>
                  </a:lnTo>
                  <a:lnTo>
                    <a:pt x="64" y="306"/>
                  </a:lnTo>
                  <a:lnTo>
                    <a:pt x="66" y="306"/>
                  </a:lnTo>
                  <a:lnTo>
                    <a:pt x="66" y="306"/>
                  </a:lnTo>
                  <a:lnTo>
                    <a:pt x="66" y="306"/>
                  </a:lnTo>
                  <a:lnTo>
                    <a:pt x="68" y="306"/>
                  </a:lnTo>
                  <a:lnTo>
                    <a:pt x="68" y="306"/>
                  </a:lnTo>
                  <a:lnTo>
                    <a:pt x="68" y="306"/>
                  </a:lnTo>
                  <a:lnTo>
                    <a:pt x="70" y="304"/>
                  </a:lnTo>
                  <a:lnTo>
                    <a:pt x="70" y="304"/>
                  </a:lnTo>
                  <a:lnTo>
                    <a:pt x="72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6" y="304"/>
                  </a:lnTo>
                  <a:lnTo>
                    <a:pt x="76" y="302"/>
                  </a:lnTo>
                  <a:lnTo>
                    <a:pt x="76" y="302"/>
                  </a:lnTo>
                  <a:lnTo>
                    <a:pt x="76" y="302"/>
                  </a:lnTo>
                  <a:lnTo>
                    <a:pt x="76" y="302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80" y="300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0" y="298"/>
                  </a:lnTo>
                  <a:lnTo>
                    <a:pt x="80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4" y="296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4" y="294"/>
                  </a:lnTo>
                  <a:lnTo>
                    <a:pt x="86" y="294"/>
                  </a:lnTo>
                  <a:lnTo>
                    <a:pt x="86" y="290"/>
                  </a:lnTo>
                  <a:lnTo>
                    <a:pt x="88" y="290"/>
                  </a:lnTo>
                  <a:lnTo>
                    <a:pt x="88" y="290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4" y="288"/>
                  </a:lnTo>
                  <a:lnTo>
                    <a:pt x="94" y="288"/>
                  </a:lnTo>
                  <a:lnTo>
                    <a:pt x="94" y="286"/>
                  </a:lnTo>
                  <a:lnTo>
                    <a:pt x="94" y="286"/>
                  </a:lnTo>
                  <a:lnTo>
                    <a:pt x="94" y="286"/>
                  </a:lnTo>
                  <a:lnTo>
                    <a:pt x="96" y="286"/>
                  </a:lnTo>
                  <a:lnTo>
                    <a:pt x="96" y="286"/>
                  </a:lnTo>
                  <a:lnTo>
                    <a:pt x="96" y="286"/>
                  </a:lnTo>
                  <a:lnTo>
                    <a:pt x="98" y="286"/>
                  </a:lnTo>
                  <a:lnTo>
                    <a:pt x="98" y="286"/>
                  </a:lnTo>
                  <a:lnTo>
                    <a:pt x="102" y="284"/>
                  </a:lnTo>
                  <a:lnTo>
                    <a:pt x="102" y="284"/>
                  </a:lnTo>
                  <a:lnTo>
                    <a:pt x="102" y="284"/>
                  </a:lnTo>
                  <a:lnTo>
                    <a:pt x="104" y="284"/>
                  </a:lnTo>
                  <a:lnTo>
                    <a:pt x="104" y="284"/>
                  </a:lnTo>
                  <a:lnTo>
                    <a:pt x="104" y="284"/>
                  </a:lnTo>
                  <a:lnTo>
                    <a:pt x="104" y="284"/>
                  </a:lnTo>
                  <a:lnTo>
                    <a:pt x="104" y="280"/>
                  </a:lnTo>
                  <a:lnTo>
                    <a:pt x="104" y="280"/>
                  </a:lnTo>
                  <a:lnTo>
                    <a:pt x="104" y="280"/>
                  </a:lnTo>
                  <a:lnTo>
                    <a:pt x="104" y="280"/>
                  </a:lnTo>
                  <a:lnTo>
                    <a:pt x="106" y="280"/>
                  </a:lnTo>
                  <a:lnTo>
                    <a:pt x="110" y="280"/>
                  </a:lnTo>
                  <a:lnTo>
                    <a:pt x="110" y="280"/>
                  </a:lnTo>
                  <a:lnTo>
                    <a:pt x="110" y="278"/>
                  </a:lnTo>
                  <a:lnTo>
                    <a:pt x="110" y="278"/>
                  </a:lnTo>
                  <a:lnTo>
                    <a:pt x="110" y="278"/>
                  </a:lnTo>
                  <a:lnTo>
                    <a:pt x="110" y="278"/>
                  </a:lnTo>
                  <a:lnTo>
                    <a:pt x="110" y="278"/>
                  </a:lnTo>
                  <a:lnTo>
                    <a:pt x="110" y="278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08" y="274"/>
                  </a:lnTo>
                  <a:lnTo>
                    <a:pt x="108" y="274"/>
                  </a:lnTo>
                  <a:lnTo>
                    <a:pt x="108" y="274"/>
                  </a:lnTo>
                  <a:lnTo>
                    <a:pt x="108" y="272"/>
                  </a:lnTo>
                  <a:lnTo>
                    <a:pt x="108" y="272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70"/>
                  </a:lnTo>
                  <a:lnTo>
                    <a:pt x="106" y="266"/>
                  </a:lnTo>
                  <a:lnTo>
                    <a:pt x="106" y="266"/>
                  </a:lnTo>
                  <a:lnTo>
                    <a:pt x="106" y="266"/>
                  </a:lnTo>
                  <a:lnTo>
                    <a:pt x="104" y="266"/>
                  </a:lnTo>
                  <a:lnTo>
                    <a:pt x="104" y="266"/>
                  </a:lnTo>
                  <a:lnTo>
                    <a:pt x="104" y="264"/>
                  </a:lnTo>
                  <a:lnTo>
                    <a:pt x="104" y="264"/>
                  </a:lnTo>
                  <a:lnTo>
                    <a:pt x="104" y="264"/>
                  </a:lnTo>
                  <a:lnTo>
                    <a:pt x="104" y="262"/>
                  </a:lnTo>
                  <a:lnTo>
                    <a:pt x="104" y="262"/>
                  </a:lnTo>
                  <a:lnTo>
                    <a:pt x="106" y="262"/>
                  </a:lnTo>
                  <a:lnTo>
                    <a:pt x="106" y="260"/>
                  </a:lnTo>
                  <a:lnTo>
                    <a:pt x="106" y="260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08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0" y="260"/>
                  </a:lnTo>
                  <a:lnTo>
                    <a:pt x="110" y="258"/>
                  </a:lnTo>
                  <a:lnTo>
                    <a:pt x="108" y="258"/>
                  </a:lnTo>
                  <a:lnTo>
                    <a:pt x="108" y="258"/>
                  </a:lnTo>
                  <a:lnTo>
                    <a:pt x="106" y="258"/>
                  </a:lnTo>
                  <a:lnTo>
                    <a:pt x="106" y="258"/>
                  </a:lnTo>
                  <a:lnTo>
                    <a:pt x="106" y="258"/>
                  </a:lnTo>
                  <a:lnTo>
                    <a:pt x="106" y="256"/>
                  </a:lnTo>
                  <a:lnTo>
                    <a:pt x="106" y="256"/>
                  </a:lnTo>
                  <a:lnTo>
                    <a:pt x="108" y="256"/>
                  </a:lnTo>
                  <a:lnTo>
                    <a:pt x="108" y="252"/>
                  </a:lnTo>
                  <a:lnTo>
                    <a:pt x="108" y="252"/>
                  </a:lnTo>
                  <a:lnTo>
                    <a:pt x="110" y="252"/>
                  </a:lnTo>
                  <a:lnTo>
                    <a:pt x="110" y="256"/>
                  </a:lnTo>
                  <a:lnTo>
                    <a:pt x="112" y="256"/>
                  </a:lnTo>
                  <a:lnTo>
                    <a:pt x="112" y="256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0" y="252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08" y="248"/>
                  </a:lnTo>
                  <a:lnTo>
                    <a:pt x="108" y="246"/>
                  </a:lnTo>
                  <a:lnTo>
                    <a:pt x="108" y="246"/>
                  </a:lnTo>
                  <a:lnTo>
                    <a:pt x="108" y="246"/>
                  </a:lnTo>
                  <a:lnTo>
                    <a:pt x="98" y="234"/>
                  </a:lnTo>
                  <a:lnTo>
                    <a:pt x="98" y="234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30"/>
                  </a:lnTo>
                  <a:lnTo>
                    <a:pt x="94" y="226"/>
                  </a:lnTo>
                  <a:lnTo>
                    <a:pt x="94" y="224"/>
                  </a:lnTo>
                  <a:lnTo>
                    <a:pt x="92" y="222"/>
                  </a:lnTo>
                  <a:lnTo>
                    <a:pt x="92" y="220"/>
                  </a:lnTo>
                  <a:lnTo>
                    <a:pt x="92" y="220"/>
                  </a:lnTo>
                  <a:lnTo>
                    <a:pt x="92" y="218"/>
                  </a:lnTo>
                  <a:lnTo>
                    <a:pt x="92" y="218"/>
                  </a:lnTo>
                  <a:lnTo>
                    <a:pt x="92" y="218"/>
                  </a:lnTo>
                  <a:lnTo>
                    <a:pt x="88" y="218"/>
                  </a:lnTo>
                  <a:lnTo>
                    <a:pt x="88" y="218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88" y="214"/>
                  </a:lnTo>
                  <a:lnTo>
                    <a:pt x="92" y="214"/>
                  </a:lnTo>
                  <a:lnTo>
                    <a:pt x="92" y="214"/>
                  </a:lnTo>
                  <a:lnTo>
                    <a:pt x="92" y="214"/>
                  </a:lnTo>
                  <a:lnTo>
                    <a:pt x="92" y="214"/>
                  </a:lnTo>
                  <a:lnTo>
                    <a:pt x="92" y="212"/>
                  </a:lnTo>
                  <a:lnTo>
                    <a:pt x="86" y="212"/>
                  </a:lnTo>
                  <a:lnTo>
                    <a:pt x="86" y="212"/>
                  </a:lnTo>
                  <a:lnTo>
                    <a:pt x="86" y="212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0" y="212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8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0" y="208"/>
                  </a:lnTo>
                  <a:lnTo>
                    <a:pt x="80" y="204"/>
                  </a:lnTo>
                  <a:lnTo>
                    <a:pt x="82" y="204"/>
                  </a:lnTo>
                  <a:lnTo>
                    <a:pt x="82" y="204"/>
                  </a:lnTo>
                  <a:lnTo>
                    <a:pt x="84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8" y="204"/>
                  </a:lnTo>
                  <a:lnTo>
                    <a:pt x="92" y="202"/>
                  </a:lnTo>
                  <a:lnTo>
                    <a:pt x="92" y="202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106" y="200"/>
                  </a:lnTo>
                  <a:lnTo>
                    <a:pt x="108" y="198"/>
                  </a:lnTo>
                  <a:lnTo>
                    <a:pt x="108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200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4" y="202"/>
                  </a:lnTo>
                  <a:lnTo>
                    <a:pt x="114" y="202"/>
                  </a:lnTo>
                  <a:lnTo>
                    <a:pt x="114" y="202"/>
                  </a:lnTo>
                  <a:lnTo>
                    <a:pt x="114" y="202"/>
                  </a:lnTo>
                  <a:lnTo>
                    <a:pt x="116" y="202"/>
                  </a:lnTo>
                  <a:lnTo>
                    <a:pt x="120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2"/>
                  </a:lnTo>
                  <a:lnTo>
                    <a:pt x="124" y="202"/>
                  </a:lnTo>
                  <a:lnTo>
                    <a:pt x="126" y="204"/>
                  </a:lnTo>
                  <a:lnTo>
                    <a:pt x="126" y="202"/>
                  </a:lnTo>
                  <a:lnTo>
                    <a:pt x="130" y="202"/>
                  </a:lnTo>
                  <a:lnTo>
                    <a:pt x="130" y="200"/>
                  </a:lnTo>
                  <a:lnTo>
                    <a:pt x="126" y="198"/>
                  </a:lnTo>
                  <a:lnTo>
                    <a:pt x="126" y="198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4" y="196"/>
                  </a:lnTo>
                  <a:lnTo>
                    <a:pt x="122" y="196"/>
                  </a:lnTo>
                  <a:lnTo>
                    <a:pt x="120" y="196"/>
                  </a:lnTo>
                  <a:lnTo>
                    <a:pt x="120" y="196"/>
                  </a:lnTo>
                  <a:lnTo>
                    <a:pt x="120" y="196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20" y="192"/>
                  </a:lnTo>
                  <a:lnTo>
                    <a:pt x="120" y="190"/>
                  </a:lnTo>
                  <a:lnTo>
                    <a:pt x="120" y="186"/>
                  </a:lnTo>
                  <a:lnTo>
                    <a:pt x="120" y="186"/>
                  </a:lnTo>
                  <a:lnTo>
                    <a:pt x="120" y="184"/>
                  </a:lnTo>
                  <a:lnTo>
                    <a:pt x="120" y="182"/>
                  </a:lnTo>
                  <a:lnTo>
                    <a:pt x="120" y="182"/>
                  </a:lnTo>
                  <a:lnTo>
                    <a:pt x="116" y="180"/>
                  </a:lnTo>
                  <a:lnTo>
                    <a:pt x="116" y="176"/>
                  </a:lnTo>
                  <a:lnTo>
                    <a:pt x="116" y="176"/>
                  </a:lnTo>
                  <a:lnTo>
                    <a:pt x="120" y="174"/>
                  </a:lnTo>
                  <a:lnTo>
                    <a:pt x="120" y="174"/>
                  </a:lnTo>
                  <a:lnTo>
                    <a:pt x="116" y="172"/>
                  </a:lnTo>
                  <a:lnTo>
                    <a:pt x="116" y="172"/>
                  </a:lnTo>
                  <a:lnTo>
                    <a:pt x="116" y="170"/>
                  </a:lnTo>
                  <a:lnTo>
                    <a:pt x="116" y="164"/>
                  </a:lnTo>
                  <a:lnTo>
                    <a:pt x="116" y="160"/>
                  </a:lnTo>
                  <a:lnTo>
                    <a:pt x="116" y="158"/>
                  </a:lnTo>
                  <a:lnTo>
                    <a:pt x="116" y="158"/>
                  </a:lnTo>
                  <a:lnTo>
                    <a:pt x="116" y="158"/>
                  </a:lnTo>
                  <a:lnTo>
                    <a:pt x="116" y="158"/>
                  </a:lnTo>
                  <a:lnTo>
                    <a:pt x="116" y="158"/>
                  </a:ln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lnTo>
                    <a:pt x="116" y="154"/>
                  </a:lnTo>
                  <a:lnTo>
                    <a:pt x="116" y="154"/>
                  </a:lnTo>
                  <a:lnTo>
                    <a:pt x="116" y="154"/>
                  </a:lnTo>
                  <a:lnTo>
                    <a:pt x="116" y="154"/>
                  </a:lnTo>
                  <a:lnTo>
                    <a:pt x="116" y="154"/>
                  </a:lnTo>
                  <a:lnTo>
                    <a:pt x="116" y="154"/>
                  </a:lnTo>
                  <a:lnTo>
                    <a:pt x="116" y="154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22" y="154"/>
                  </a:lnTo>
                  <a:lnTo>
                    <a:pt x="124" y="156"/>
                  </a:lnTo>
                  <a:lnTo>
                    <a:pt x="126" y="156"/>
                  </a:lnTo>
                  <a:lnTo>
                    <a:pt x="136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2" y="158"/>
                  </a:lnTo>
                  <a:lnTo>
                    <a:pt x="144" y="158"/>
                  </a:lnTo>
                  <a:lnTo>
                    <a:pt x="146" y="158"/>
                  </a:lnTo>
                  <a:lnTo>
                    <a:pt x="146" y="158"/>
                  </a:lnTo>
                  <a:lnTo>
                    <a:pt x="146" y="158"/>
                  </a:lnTo>
                  <a:lnTo>
                    <a:pt x="146" y="158"/>
                  </a:lnTo>
                  <a:lnTo>
                    <a:pt x="148" y="158"/>
                  </a:lnTo>
                  <a:lnTo>
                    <a:pt x="148" y="158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2" y="158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2" y="160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4" y="162"/>
                  </a:lnTo>
                  <a:lnTo>
                    <a:pt x="158" y="162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60" y="158"/>
                  </a:lnTo>
                  <a:lnTo>
                    <a:pt x="160" y="158"/>
                  </a:lnTo>
                  <a:lnTo>
                    <a:pt x="160" y="158"/>
                  </a:lnTo>
                  <a:lnTo>
                    <a:pt x="160" y="158"/>
                  </a:lnTo>
                  <a:lnTo>
                    <a:pt x="162" y="158"/>
                  </a:lnTo>
                  <a:lnTo>
                    <a:pt x="162" y="158"/>
                  </a:lnTo>
                  <a:lnTo>
                    <a:pt x="162" y="158"/>
                  </a:lnTo>
                  <a:lnTo>
                    <a:pt x="165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4"/>
                  </a:lnTo>
                  <a:lnTo>
                    <a:pt x="167" y="152"/>
                  </a:lnTo>
                  <a:lnTo>
                    <a:pt x="167" y="152"/>
                  </a:lnTo>
                  <a:lnTo>
                    <a:pt x="167" y="152"/>
                  </a:lnTo>
                  <a:lnTo>
                    <a:pt x="167" y="152"/>
                  </a:lnTo>
                  <a:lnTo>
                    <a:pt x="167" y="150"/>
                  </a:lnTo>
                  <a:lnTo>
                    <a:pt x="167" y="150"/>
                  </a:lnTo>
                  <a:lnTo>
                    <a:pt x="167" y="150"/>
                  </a:lnTo>
                  <a:lnTo>
                    <a:pt x="165" y="146"/>
                  </a:lnTo>
                  <a:lnTo>
                    <a:pt x="165" y="146"/>
                  </a:lnTo>
                  <a:lnTo>
                    <a:pt x="165" y="146"/>
                  </a:lnTo>
                  <a:lnTo>
                    <a:pt x="162" y="146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58" y="136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58" y="134"/>
                  </a:lnTo>
                  <a:lnTo>
                    <a:pt x="158" y="132"/>
                  </a:lnTo>
                  <a:lnTo>
                    <a:pt x="158" y="130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8" y="122"/>
                  </a:lnTo>
                  <a:lnTo>
                    <a:pt x="162" y="122"/>
                  </a:lnTo>
                  <a:lnTo>
                    <a:pt x="165" y="122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71" y="122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3" y="120"/>
                  </a:lnTo>
                  <a:lnTo>
                    <a:pt x="173" y="118"/>
                  </a:lnTo>
                  <a:lnTo>
                    <a:pt x="173" y="118"/>
                  </a:lnTo>
                  <a:lnTo>
                    <a:pt x="173" y="116"/>
                  </a:lnTo>
                  <a:lnTo>
                    <a:pt x="173" y="116"/>
                  </a:lnTo>
                  <a:lnTo>
                    <a:pt x="173" y="116"/>
                  </a:lnTo>
                  <a:lnTo>
                    <a:pt x="173" y="116"/>
                  </a:lnTo>
                  <a:lnTo>
                    <a:pt x="173" y="116"/>
                  </a:lnTo>
                  <a:lnTo>
                    <a:pt x="173" y="116"/>
                  </a:lnTo>
                  <a:lnTo>
                    <a:pt x="173" y="114"/>
                  </a:lnTo>
                  <a:lnTo>
                    <a:pt x="173" y="114"/>
                  </a:lnTo>
                  <a:lnTo>
                    <a:pt x="173" y="114"/>
                  </a:lnTo>
                  <a:lnTo>
                    <a:pt x="173" y="114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71" y="112"/>
                  </a:lnTo>
                  <a:lnTo>
                    <a:pt x="171" y="108"/>
                  </a:lnTo>
                  <a:lnTo>
                    <a:pt x="171" y="108"/>
                  </a:lnTo>
                  <a:lnTo>
                    <a:pt x="171" y="108"/>
                  </a:lnTo>
                  <a:lnTo>
                    <a:pt x="171" y="108"/>
                  </a:lnTo>
                  <a:lnTo>
                    <a:pt x="171" y="108"/>
                  </a:lnTo>
                  <a:lnTo>
                    <a:pt x="171" y="106"/>
                  </a:lnTo>
                  <a:lnTo>
                    <a:pt x="173" y="106"/>
                  </a:lnTo>
                  <a:lnTo>
                    <a:pt x="173" y="106"/>
                  </a:lnTo>
                  <a:lnTo>
                    <a:pt x="173" y="106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81" y="108"/>
                  </a:lnTo>
                  <a:lnTo>
                    <a:pt x="183" y="108"/>
                  </a:lnTo>
                  <a:lnTo>
                    <a:pt x="183" y="108"/>
                  </a:lnTo>
                  <a:lnTo>
                    <a:pt x="183" y="108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7" y="106"/>
                  </a:lnTo>
                  <a:lnTo>
                    <a:pt x="189" y="106"/>
                  </a:lnTo>
                  <a:lnTo>
                    <a:pt x="189" y="106"/>
                  </a:lnTo>
                  <a:lnTo>
                    <a:pt x="189" y="106"/>
                  </a:lnTo>
                  <a:lnTo>
                    <a:pt x="191" y="106"/>
                  </a:lnTo>
                  <a:lnTo>
                    <a:pt x="191" y="106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91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9" y="116"/>
                  </a:lnTo>
                  <a:lnTo>
                    <a:pt x="199" y="116"/>
                  </a:lnTo>
                  <a:lnTo>
                    <a:pt x="199" y="118"/>
                  </a:lnTo>
                  <a:lnTo>
                    <a:pt x="199" y="118"/>
                  </a:lnTo>
                  <a:lnTo>
                    <a:pt x="199" y="118"/>
                  </a:lnTo>
                  <a:lnTo>
                    <a:pt x="199" y="118"/>
                  </a:lnTo>
                  <a:lnTo>
                    <a:pt x="199" y="118"/>
                  </a:lnTo>
                  <a:lnTo>
                    <a:pt x="199" y="118"/>
                  </a:lnTo>
                  <a:lnTo>
                    <a:pt x="199" y="118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199" y="120"/>
                  </a:lnTo>
                  <a:lnTo>
                    <a:pt x="201" y="120"/>
                  </a:lnTo>
                  <a:lnTo>
                    <a:pt x="201" y="120"/>
                  </a:lnTo>
                  <a:lnTo>
                    <a:pt x="201" y="120"/>
                  </a:lnTo>
                  <a:lnTo>
                    <a:pt x="201" y="120"/>
                  </a:lnTo>
                  <a:lnTo>
                    <a:pt x="201" y="120"/>
                  </a:lnTo>
                  <a:lnTo>
                    <a:pt x="201" y="120"/>
                  </a:lnTo>
                  <a:lnTo>
                    <a:pt x="203" y="120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5" y="122"/>
                  </a:lnTo>
                  <a:lnTo>
                    <a:pt x="205" y="122"/>
                  </a:lnTo>
                  <a:lnTo>
                    <a:pt x="205" y="122"/>
                  </a:lnTo>
                  <a:lnTo>
                    <a:pt x="209" y="122"/>
                  </a:lnTo>
                  <a:lnTo>
                    <a:pt x="209" y="122"/>
                  </a:lnTo>
                  <a:lnTo>
                    <a:pt x="211" y="124"/>
                  </a:lnTo>
                  <a:lnTo>
                    <a:pt x="211" y="124"/>
                  </a:lnTo>
                  <a:lnTo>
                    <a:pt x="211" y="124"/>
                  </a:lnTo>
                  <a:lnTo>
                    <a:pt x="211" y="124"/>
                  </a:lnTo>
                  <a:lnTo>
                    <a:pt x="211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5" y="128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5" y="130"/>
                  </a:lnTo>
                  <a:lnTo>
                    <a:pt x="215" y="130"/>
                  </a:lnTo>
                  <a:lnTo>
                    <a:pt x="219" y="130"/>
                  </a:lnTo>
                  <a:lnTo>
                    <a:pt x="219" y="130"/>
                  </a:lnTo>
                  <a:lnTo>
                    <a:pt x="219" y="130"/>
                  </a:lnTo>
                  <a:lnTo>
                    <a:pt x="221" y="130"/>
                  </a:lnTo>
                  <a:lnTo>
                    <a:pt x="221" y="132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3" y="132"/>
                  </a:lnTo>
                  <a:lnTo>
                    <a:pt x="223" y="132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9" y="134"/>
                  </a:lnTo>
                  <a:lnTo>
                    <a:pt x="229" y="134"/>
                  </a:lnTo>
                  <a:lnTo>
                    <a:pt x="229" y="134"/>
                  </a:lnTo>
                  <a:lnTo>
                    <a:pt x="231" y="134"/>
                  </a:lnTo>
                  <a:lnTo>
                    <a:pt x="231" y="134"/>
                  </a:lnTo>
                  <a:lnTo>
                    <a:pt x="231" y="132"/>
                  </a:lnTo>
                  <a:lnTo>
                    <a:pt x="231" y="132"/>
                  </a:lnTo>
                  <a:lnTo>
                    <a:pt x="231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7" y="132"/>
                  </a:lnTo>
                  <a:lnTo>
                    <a:pt x="237" y="132"/>
                  </a:lnTo>
                  <a:lnTo>
                    <a:pt x="237" y="134"/>
                  </a:lnTo>
                  <a:lnTo>
                    <a:pt x="237" y="134"/>
                  </a:lnTo>
                  <a:lnTo>
                    <a:pt x="237" y="134"/>
                  </a:lnTo>
                  <a:lnTo>
                    <a:pt x="237" y="134"/>
                  </a:lnTo>
                  <a:lnTo>
                    <a:pt x="239" y="134"/>
                  </a:lnTo>
                  <a:lnTo>
                    <a:pt x="239" y="134"/>
                  </a:lnTo>
                  <a:lnTo>
                    <a:pt x="239" y="134"/>
                  </a:lnTo>
                  <a:lnTo>
                    <a:pt x="239" y="136"/>
                  </a:lnTo>
                  <a:lnTo>
                    <a:pt x="239" y="136"/>
                  </a:lnTo>
                  <a:lnTo>
                    <a:pt x="239" y="136"/>
                  </a:lnTo>
                  <a:lnTo>
                    <a:pt x="241" y="136"/>
                  </a:lnTo>
                  <a:lnTo>
                    <a:pt x="241" y="136"/>
                  </a:lnTo>
                  <a:lnTo>
                    <a:pt x="241" y="136"/>
                  </a:lnTo>
                  <a:lnTo>
                    <a:pt x="241" y="136"/>
                  </a:lnTo>
                  <a:lnTo>
                    <a:pt x="241" y="140"/>
                  </a:lnTo>
                  <a:lnTo>
                    <a:pt x="243" y="140"/>
                  </a:lnTo>
                  <a:lnTo>
                    <a:pt x="243" y="140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6"/>
                  </a:lnTo>
                  <a:lnTo>
                    <a:pt x="249" y="136"/>
                  </a:lnTo>
                  <a:lnTo>
                    <a:pt x="249" y="140"/>
                  </a:lnTo>
                  <a:lnTo>
                    <a:pt x="249" y="140"/>
                  </a:lnTo>
                  <a:lnTo>
                    <a:pt x="249" y="140"/>
                  </a:lnTo>
                  <a:lnTo>
                    <a:pt x="249" y="140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5" y="144"/>
                  </a:lnTo>
                  <a:lnTo>
                    <a:pt x="255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50"/>
                  </a:lnTo>
                  <a:lnTo>
                    <a:pt x="261" y="150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9" y="158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58"/>
                  </a:lnTo>
                  <a:lnTo>
                    <a:pt x="271" y="158"/>
                  </a:lnTo>
                  <a:lnTo>
                    <a:pt x="271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7" y="160"/>
                  </a:lnTo>
                  <a:lnTo>
                    <a:pt x="277" y="160"/>
                  </a:lnTo>
                  <a:lnTo>
                    <a:pt x="277" y="162"/>
                  </a:lnTo>
                  <a:lnTo>
                    <a:pt x="277" y="162"/>
                  </a:lnTo>
                  <a:lnTo>
                    <a:pt x="277" y="162"/>
                  </a:lnTo>
                  <a:lnTo>
                    <a:pt x="277" y="162"/>
                  </a:lnTo>
                  <a:lnTo>
                    <a:pt x="277" y="162"/>
                  </a:lnTo>
                  <a:lnTo>
                    <a:pt x="277" y="162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68"/>
                  </a:lnTo>
                  <a:lnTo>
                    <a:pt x="279" y="168"/>
                  </a:lnTo>
                  <a:lnTo>
                    <a:pt x="281" y="168"/>
                  </a:lnTo>
                  <a:lnTo>
                    <a:pt x="281" y="168"/>
                  </a:lnTo>
                  <a:lnTo>
                    <a:pt x="281" y="170"/>
                  </a:lnTo>
                  <a:lnTo>
                    <a:pt x="281" y="170"/>
                  </a:lnTo>
                  <a:lnTo>
                    <a:pt x="281" y="170"/>
                  </a:lnTo>
                  <a:lnTo>
                    <a:pt x="281" y="170"/>
                  </a:lnTo>
                  <a:lnTo>
                    <a:pt x="281" y="170"/>
                  </a:lnTo>
                  <a:lnTo>
                    <a:pt x="281" y="172"/>
                  </a:lnTo>
                  <a:lnTo>
                    <a:pt x="281" y="172"/>
                  </a:lnTo>
                  <a:lnTo>
                    <a:pt x="281" y="174"/>
                  </a:lnTo>
                  <a:lnTo>
                    <a:pt x="281" y="174"/>
                  </a:lnTo>
                  <a:lnTo>
                    <a:pt x="281" y="174"/>
                  </a:lnTo>
                  <a:lnTo>
                    <a:pt x="281" y="174"/>
                  </a:lnTo>
                  <a:lnTo>
                    <a:pt x="285" y="180"/>
                  </a:lnTo>
                  <a:lnTo>
                    <a:pt x="285" y="180"/>
                  </a:lnTo>
                  <a:lnTo>
                    <a:pt x="287" y="180"/>
                  </a:lnTo>
                  <a:lnTo>
                    <a:pt x="287" y="182"/>
                  </a:lnTo>
                  <a:lnTo>
                    <a:pt x="287" y="182"/>
                  </a:lnTo>
                  <a:lnTo>
                    <a:pt x="287" y="182"/>
                  </a:lnTo>
                  <a:lnTo>
                    <a:pt x="287" y="184"/>
                  </a:lnTo>
                  <a:lnTo>
                    <a:pt x="287" y="184"/>
                  </a:lnTo>
                  <a:lnTo>
                    <a:pt x="285" y="190"/>
                  </a:lnTo>
                  <a:lnTo>
                    <a:pt x="285" y="190"/>
                  </a:lnTo>
                  <a:lnTo>
                    <a:pt x="287" y="196"/>
                  </a:lnTo>
                  <a:lnTo>
                    <a:pt x="287" y="196"/>
                  </a:lnTo>
                  <a:lnTo>
                    <a:pt x="289" y="196"/>
                  </a:lnTo>
                  <a:lnTo>
                    <a:pt x="289" y="196"/>
                  </a:lnTo>
                  <a:lnTo>
                    <a:pt x="289" y="198"/>
                  </a:lnTo>
                  <a:lnTo>
                    <a:pt x="289" y="198"/>
                  </a:lnTo>
                  <a:lnTo>
                    <a:pt x="291" y="198"/>
                  </a:lnTo>
                  <a:lnTo>
                    <a:pt x="291" y="200"/>
                  </a:lnTo>
                  <a:lnTo>
                    <a:pt x="291" y="200"/>
                  </a:lnTo>
                  <a:lnTo>
                    <a:pt x="291" y="200"/>
                  </a:lnTo>
                  <a:lnTo>
                    <a:pt x="291" y="200"/>
                  </a:lnTo>
                  <a:lnTo>
                    <a:pt x="293" y="200"/>
                  </a:lnTo>
                  <a:lnTo>
                    <a:pt x="293" y="200"/>
                  </a:lnTo>
                  <a:lnTo>
                    <a:pt x="293" y="200"/>
                  </a:lnTo>
                  <a:lnTo>
                    <a:pt x="293" y="202"/>
                  </a:lnTo>
                  <a:lnTo>
                    <a:pt x="293" y="202"/>
                  </a:lnTo>
                  <a:lnTo>
                    <a:pt x="293" y="202"/>
                  </a:lnTo>
                  <a:lnTo>
                    <a:pt x="295" y="202"/>
                  </a:lnTo>
                  <a:lnTo>
                    <a:pt x="295" y="200"/>
                  </a:lnTo>
                  <a:lnTo>
                    <a:pt x="295" y="202"/>
                  </a:lnTo>
                  <a:lnTo>
                    <a:pt x="299" y="202"/>
                  </a:lnTo>
                  <a:lnTo>
                    <a:pt x="299" y="202"/>
                  </a:lnTo>
                  <a:lnTo>
                    <a:pt x="299" y="202"/>
                  </a:lnTo>
                  <a:lnTo>
                    <a:pt x="301" y="202"/>
                  </a:lnTo>
                  <a:lnTo>
                    <a:pt x="301" y="202"/>
                  </a:lnTo>
                  <a:lnTo>
                    <a:pt x="301" y="202"/>
                  </a:lnTo>
                  <a:lnTo>
                    <a:pt x="303" y="204"/>
                  </a:lnTo>
                  <a:lnTo>
                    <a:pt x="303" y="204"/>
                  </a:lnTo>
                  <a:lnTo>
                    <a:pt x="305" y="202"/>
                  </a:lnTo>
                  <a:lnTo>
                    <a:pt x="305" y="202"/>
                  </a:lnTo>
                  <a:lnTo>
                    <a:pt x="305" y="202"/>
                  </a:lnTo>
                  <a:lnTo>
                    <a:pt x="305" y="202"/>
                  </a:lnTo>
                  <a:lnTo>
                    <a:pt x="305" y="202"/>
                  </a:lnTo>
                  <a:lnTo>
                    <a:pt x="307" y="204"/>
                  </a:lnTo>
                  <a:lnTo>
                    <a:pt x="307" y="204"/>
                  </a:lnTo>
                  <a:lnTo>
                    <a:pt x="307" y="204"/>
                  </a:lnTo>
                  <a:lnTo>
                    <a:pt x="307" y="204"/>
                  </a:lnTo>
                  <a:lnTo>
                    <a:pt x="307" y="204"/>
                  </a:lnTo>
                  <a:lnTo>
                    <a:pt x="309" y="204"/>
                  </a:lnTo>
                  <a:lnTo>
                    <a:pt x="309" y="204"/>
                  </a:lnTo>
                  <a:lnTo>
                    <a:pt x="311" y="204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7" y="204"/>
                  </a:lnTo>
                  <a:lnTo>
                    <a:pt x="317" y="204"/>
                  </a:lnTo>
                  <a:lnTo>
                    <a:pt x="317" y="204"/>
                  </a:lnTo>
                  <a:lnTo>
                    <a:pt x="319" y="204"/>
                  </a:lnTo>
                  <a:lnTo>
                    <a:pt x="319" y="204"/>
                  </a:lnTo>
                  <a:lnTo>
                    <a:pt x="321" y="208"/>
                  </a:lnTo>
                  <a:lnTo>
                    <a:pt x="321" y="208"/>
                  </a:lnTo>
                  <a:lnTo>
                    <a:pt x="321" y="208"/>
                  </a:lnTo>
                  <a:lnTo>
                    <a:pt x="325" y="208"/>
                  </a:lnTo>
                  <a:lnTo>
                    <a:pt x="325" y="208"/>
                  </a:lnTo>
                  <a:lnTo>
                    <a:pt x="325" y="208"/>
                  </a:lnTo>
                  <a:lnTo>
                    <a:pt x="327" y="208"/>
                  </a:lnTo>
                  <a:lnTo>
                    <a:pt x="327" y="208"/>
                  </a:lnTo>
                  <a:lnTo>
                    <a:pt x="327" y="208"/>
                  </a:lnTo>
                  <a:lnTo>
                    <a:pt x="327" y="208"/>
                  </a:lnTo>
                  <a:lnTo>
                    <a:pt x="329" y="208"/>
                  </a:lnTo>
                  <a:lnTo>
                    <a:pt x="331" y="208"/>
                  </a:lnTo>
                  <a:lnTo>
                    <a:pt x="331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5" y="208"/>
                  </a:lnTo>
                  <a:lnTo>
                    <a:pt x="335" y="208"/>
                  </a:lnTo>
                  <a:lnTo>
                    <a:pt x="335" y="208"/>
                  </a:lnTo>
                  <a:lnTo>
                    <a:pt x="339" y="208"/>
                  </a:lnTo>
                  <a:lnTo>
                    <a:pt x="339" y="208"/>
                  </a:lnTo>
                  <a:lnTo>
                    <a:pt x="339" y="208"/>
                  </a:lnTo>
                  <a:lnTo>
                    <a:pt x="339" y="208"/>
                  </a:lnTo>
                  <a:lnTo>
                    <a:pt x="341" y="208"/>
                  </a:lnTo>
                  <a:lnTo>
                    <a:pt x="341" y="208"/>
                  </a:lnTo>
                  <a:lnTo>
                    <a:pt x="343" y="208"/>
                  </a:lnTo>
                  <a:lnTo>
                    <a:pt x="343" y="208"/>
                  </a:lnTo>
                  <a:lnTo>
                    <a:pt x="343" y="208"/>
                  </a:lnTo>
                  <a:lnTo>
                    <a:pt x="345" y="208"/>
                  </a:lnTo>
                  <a:lnTo>
                    <a:pt x="345" y="208"/>
                  </a:lnTo>
                  <a:lnTo>
                    <a:pt x="345" y="208"/>
                  </a:lnTo>
                  <a:lnTo>
                    <a:pt x="345" y="208"/>
                  </a:lnTo>
                  <a:lnTo>
                    <a:pt x="347" y="208"/>
                  </a:lnTo>
                  <a:lnTo>
                    <a:pt x="353" y="210"/>
                  </a:lnTo>
                  <a:lnTo>
                    <a:pt x="353" y="210"/>
                  </a:lnTo>
                  <a:lnTo>
                    <a:pt x="357" y="214"/>
                  </a:lnTo>
                  <a:lnTo>
                    <a:pt x="359" y="214"/>
                  </a:lnTo>
                  <a:lnTo>
                    <a:pt x="359" y="214"/>
                  </a:lnTo>
                  <a:lnTo>
                    <a:pt x="363" y="214"/>
                  </a:lnTo>
                  <a:lnTo>
                    <a:pt x="365" y="214"/>
                  </a:lnTo>
                  <a:lnTo>
                    <a:pt x="365" y="214"/>
                  </a:lnTo>
                  <a:lnTo>
                    <a:pt x="365" y="214"/>
                  </a:lnTo>
                  <a:lnTo>
                    <a:pt x="365" y="214"/>
                  </a:lnTo>
                  <a:lnTo>
                    <a:pt x="365" y="214"/>
                  </a:lnTo>
                  <a:lnTo>
                    <a:pt x="367" y="218"/>
                  </a:lnTo>
                  <a:lnTo>
                    <a:pt x="369" y="218"/>
                  </a:lnTo>
                  <a:lnTo>
                    <a:pt x="369" y="220"/>
                  </a:lnTo>
                  <a:lnTo>
                    <a:pt x="369" y="220"/>
                  </a:lnTo>
                  <a:lnTo>
                    <a:pt x="371" y="220"/>
                  </a:lnTo>
                  <a:lnTo>
                    <a:pt x="371" y="220"/>
                  </a:lnTo>
                  <a:lnTo>
                    <a:pt x="371" y="220"/>
                  </a:lnTo>
                  <a:lnTo>
                    <a:pt x="375" y="222"/>
                  </a:lnTo>
                  <a:lnTo>
                    <a:pt x="379" y="222"/>
                  </a:lnTo>
                  <a:lnTo>
                    <a:pt x="379" y="222"/>
                  </a:lnTo>
                  <a:lnTo>
                    <a:pt x="379" y="222"/>
                  </a:lnTo>
                  <a:lnTo>
                    <a:pt x="379" y="224"/>
                  </a:lnTo>
                  <a:lnTo>
                    <a:pt x="379" y="224"/>
                  </a:lnTo>
                  <a:lnTo>
                    <a:pt x="383" y="224"/>
                  </a:lnTo>
                  <a:lnTo>
                    <a:pt x="385" y="224"/>
                  </a:lnTo>
                  <a:lnTo>
                    <a:pt x="385" y="226"/>
                  </a:lnTo>
                  <a:lnTo>
                    <a:pt x="393" y="224"/>
                  </a:lnTo>
                  <a:lnTo>
                    <a:pt x="393" y="224"/>
                  </a:lnTo>
                  <a:lnTo>
                    <a:pt x="393" y="224"/>
                  </a:lnTo>
                  <a:lnTo>
                    <a:pt x="393" y="226"/>
                  </a:lnTo>
                  <a:lnTo>
                    <a:pt x="393" y="226"/>
                  </a:lnTo>
                  <a:lnTo>
                    <a:pt x="393" y="226"/>
                  </a:lnTo>
                  <a:lnTo>
                    <a:pt x="393" y="226"/>
                  </a:lnTo>
                  <a:lnTo>
                    <a:pt x="393" y="230"/>
                  </a:lnTo>
                  <a:lnTo>
                    <a:pt x="393" y="230"/>
                  </a:lnTo>
                  <a:lnTo>
                    <a:pt x="395" y="230"/>
                  </a:lnTo>
                  <a:lnTo>
                    <a:pt x="395" y="232"/>
                  </a:lnTo>
                  <a:lnTo>
                    <a:pt x="395" y="232"/>
                  </a:lnTo>
                  <a:lnTo>
                    <a:pt x="395" y="232"/>
                  </a:lnTo>
                  <a:lnTo>
                    <a:pt x="397" y="232"/>
                  </a:lnTo>
                  <a:lnTo>
                    <a:pt x="397" y="232"/>
                  </a:lnTo>
                  <a:lnTo>
                    <a:pt x="401" y="232"/>
                  </a:lnTo>
                  <a:lnTo>
                    <a:pt x="401" y="234"/>
                  </a:lnTo>
                  <a:lnTo>
                    <a:pt x="403" y="236"/>
                  </a:lnTo>
                  <a:lnTo>
                    <a:pt x="407" y="240"/>
                  </a:lnTo>
                  <a:lnTo>
                    <a:pt x="411" y="246"/>
                  </a:lnTo>
                  <a:lnTo>
                    <a:pt x="411" y="248"/>
                  </a:lnTo>
                  <a:lnTo>
                    <a:pt x="413" y="248"/>
                  </a:lnTo>
                  <a:lnTo>
                    <a:pt x="413" y="250"/>
                  </a:lnTo>
                  <a:lnTo>
                    <a:pt x="413" y="250"/>
                  </a:lnTo>
                  <a:lnTo>
                    <a:pt x="415" y="250"/>
                  </a:lnTo>
                  <a:lnTo>
                    <a:pt x="425" y="258"/>
                  </a:lnTo>
                  <a:lnTo>
                    <a:pt x="429" y="260"/>
                  </a:lnTo>
                  <a:lnTo>
                    <a:pt x="429" y="260"/>
                  </a:lnTo>
                  <a:lnTo>
                    <a:pt x="429" y="260"/>
                  </a:lnTo>
                  <a:lnTo>
                    <a:pt x="431" y="262"/>
                  </a:lnTo>
                  <a:lnTo>
                    <a:pt x="431" y="264"/>
                  </a:lnTo>
                  <a:lnTo>
                    <a:pt x="431" y="264"/>
                  </a:lnTo>
                  <a:lnTo>
                    <a:pt x="433" y="262"/>
                  </a:lnTo>
                  <a:lnTo>
                    <a:pt x="448" y="262"/>
                  </a:lnTo>
                  <a:lnTo>
                    <a:pt x="494" y="266"/>
                  </a:lnTo>
                  <a:lnTo>
                    <a:pt x="504" y="264"/>
                  </a:lnTo>
                  <a:lnTo>
                    <a:pt x="504" y="264"/>
                  </a:lnTo>
                  <a:lnTo>
                    <a:pt x="530" y="270"/>
                  </a:lnTo>
                  <a:lnTo>
                    <a:pt x="536" y="266"/>
                  </a:lnTo>
                  <a:lnTo>
                    <a:pt x="538" y="266"/>
                  </a:lnTo>
                  <a:lnTo>
                    <a:pt x="540" y="270"/>
                  </a:lnTo>
                  <a:lnTo>
                    <a:pt x="542" y="270"/>
                  </a:lnTo>
                  <a:lnTo>
                    <a:pt x="548" y="274"/>
                  </a:lnTo>
                  <a:lnTo>
                    <a:pt x="550" y="276"/>
                  </a:lnTo>
                  <a:lnTo>
                    <a:pt x="552" y="276"/>
                  </a:lnTo>
                  <a:lnTo>
                    <a:pt x="574" y="280"/>
                  </a:lnTo>
                  <a:lnTo>
                    <a:pt x="576" y="280"/>
                  </a:lnTo>
                  <a:lnTo>
                    <a:pt x="576" y="280"/>
                  </a:lnTo>
                  <a:lnTo>
                    <a:pt x="576" y="280"/>
                  </a:lnTo>
                  <a:lnTo>
                    <a:pt x="590" y="288"/>
                  </a:lnTo>
                  <a:lnTo>
                    <a:pt x="590" y="288"/>
                  </a:lnTo>
                  <a:lnTo>
                    <a:pt x="604" y="284"/>
                  </a:lnTo>
                  <a:lnTo>
                    <a:pt x="606" y="290"/>
                  </a:lnTo>
                  <a:lnTo>
                    <a:pt x="606" y="290"/>
                  </a:lnTo>
                  <a:lnTo>
                    <a:pt x="608" y="290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6" y="290"/>
                  </a:lnTo>
                  <a:lnTo>
                    <a:pt x="618" y="290"/>
                  </a:lnTo>
                  <a:lnTo>
                    <a:pt x="618" y="290"/>
                  </a:lnTo>
                  <a:lnTo>
                    <a:pt x="622" y="288"/>
                  </a:lnTo>
                  <a:lnTo>
                    <a:pt x="622" y="288"/>
                  </a:lnTo>
                  <a:lnTo>
                    <a:pt x="622" y="288"/>
                  </a:lnTo>
                  <a:lnTo>
                    <a:pt x="624" y="286"/>
                  </a:lnTo>
                  <a:lnTo>
                    <a:pt x="624" y="286"/>
                  </a:lnTo>
                  <a:lnTo>
                    <a:pt x="624" y="286"/>
                  </a:lnTo>
                  <a:lnTo>
                    <a:pt x="624" y="286"/>
                  </a:lnTo>
                  <a:lnTo>
                    <a:pt x="626" y="286"/>
                  </a:lnTo>
                  <a:lnTo>
                    <a:pt x="630" y="280"/>
                  </a:lnTo>
                  <a:lnTo>
                    <a:pt x="644" y="274"/>
                  </a:lnTo>
                  <a:lnTo>
                    <a:pt x="672" y="270"/>
                  </a:lnTo>
                  <a:lnTo>
                    <a:pt x="672" y="270"/>
                  </a:lnTo>
                  <a:lnTo>
                    <a:pt x="674" y="272"/>
                  </a:lnTo>
                  <a:lnTo>
                    <a:pt x="680" y="272"/>
                  </a:lnTo>
                  <a:lnTo>
                    <a:pt x="684" y="272"/>
                  </a:lnTo>
                  <a:lnTo>
                    <a:pt x="684" y="272"/>
                  </a:lnTo>
                  <a:lnTo>
                    <a:pt x="686" y="272"/>
                  </a:lnTo>
                  <a:lnTo>
                    <a:pt x="686" y="270"/>
                  </a:lnTo>
                  <a:lnTo>
                    <a:pt x="690" y="270"/>
                  </a:lnTo>
                  <a:lnTo>
                    <a:pt x="694" y="272"/>
                  </a:lnTo>
                  <a:lnTo>
                    <a:pt x="694" y="272"/>
                  </a:lnTo>
                  <a:lnTo>
                    <a:pt x="694" y="272"/>
                  </a:lnTo>
                  <a:lnTo>
                    <a:pt x="700" y="270"/>
                  </a:lnTo>
                  <a:lnTo>
                    <a:pt x="700" y="270"/>
                  </a:lnTo>
                  <a:lnTo>
                    <a:pt x="700" y="270"/>
                  </a:lnTo>
                  <a:lnTo>
                    <a:pt x="700" y="270"/>
                  </a:lnTo>
                  <a:lnTo>
                    <a:pt x="700" y="270"/>
                  </a:lnTo>
                  <a:lnTo>
                    <a:pt x="700" y="270"/>
                  </a:lnTo>
                  <a:lnTo>
                    <a:pt x="700" y="270"/>
                  </a:lnTo>
                  <a:lnTo>
                    <a:pt x="702" y="266"/>
                  </a:lnTo>
                  <a:lnTo>
                    <a:pt x="704" y="266"/>
                  </a:lnTo>
                  <a:lnTo>
                    <a:pt x="706" y="264"/>
                  </a:lnTo>
                  <a:lnTo>
                    <a:pt x="706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12" y="262"/>
                  </a:lnTo>
                  <a:lnTo>
                    <a:pt x="712" y="262"/>
                  </a:lnTo>
                  <a:lnTo>
                    <a:pt x="712" y="260"/>
                  </a:lnTo>
                  <a:lnTo>
                    <a:pt x="712" y="260"/>
                  </a:lnTo>
                  <a:lnTo>
                    <a:pt x="712" y="260"/>
                  </a:lnTo>
                  <a:lnTo>
                    <a:pt x="714" y="258"/>
                  </a:lnTo>
                  <a:lnTo>
                    <a:pt x="714" y="258"/>
                  </a:lnTo>
                  <a:lnTo>
                    <a:pt x="714" y="256"/>
                  </a:lnTo>
                  <a:lnTo>
                    <a:pt x="714" y="256"/>
                  </a:lnTo>
                  <a:lnTo>
                    <a:pt x="714" y="252"/>
                  </a:lnTo>
                  <a:lnTo>
                    <a:pt x="718" y="250"/>
                  </a:lnTo>
                  <a:lnTo>
                    <a:pt x="718" y="248"/>
                  </a:lnTo>
                  <a:lnTo>
                    <a:pt x="720" y="248"/>
                  </a:lnTo>
                  <a:lnTo>
                    <a:pt x="722" y="246"/>
                  </a:lnTo>
                  <a:lnTo>
                    <a:pt x="722" y="246"/>
                  </a:lnTo>
                  <a:lnTo>
                    <a:pt x="724" y="246"/>
                  </a:lnTo>
                  <a:lnTo>
                    <a:pt x="728" y="246"/>
                  </a:lnTo>
                  <a:lnTo>
                    <a:pt x="728" y="242"/>
                  </a:lnTo>
                  <a:lnTo>
                    <a:pt x="728" y="242"/>
                  </a:lnTo>
                  <a:lnTo>
                    <a:pt x="728" y="240"/>
                  </a:lnTo>
                  <a:lnTo>
                    <a:pt x="731" y="240"/>
                  </a:lnTo>
                  <a:lnTo>
                    <a:pt x="731" y="240"/>
                  </a:lnTo>
                  <a:lnTo>
                    <a:pt x="733" y="240"/>
                  </a:lnTo>
                  <a:lnTo>
                    <a:pt x="733" y="238"/>
                  </a:lnTo>
                  <a:lnTo>
                    <a:pt x="733" y="238"/>
                  </a:lnTo>
                  <a:lnTo>
                    <a:pt x="733" y="238"/>
                  </a:lnTo>
                  <a:lnTo>
                    <a:pt x="733" y="238"/>
                  </a:lnTo>
                  <a:lnTo>
                    <a:pt x="731" y="236"/>
                  </a:lnTo>
                  <a:lnTo>
                    <a:pt x="731" y="236"/>
                  </a:lnTo>
                  <a:lnTo>
                    <a:pt x="728" y="234"/>
                  </a:lnTo>
                  <a:lnTo>
                    <a:pt x="724" y="234"/>
                  </a:lnTo>
                  <a:lnTo>
                    <a:pt x="724" y="232"/>
                  </a:lnTo>
                  <a:lnTo>
                    <a:pt x="722" y="232"/>
                  </a:lnTo>
                  <a:lnTo>
                    <a:pt x="720" y="232"/>
                  </a:lnTo>
                  <a:lnTo>
                    <a:pt x="718" y="230"/>
                  </a:lnTo>
                  <a:lnTo>
                    <a:pt x="718" y="226"/>
                  </a:lnTo>
                  <a:lnTo>
                    <a:pt x="714" y="226"/>
                  </a:lnTo>
                  <a:lnTo>
                    <a:pt x="714" y="224"/>
                  </a:lnTo>
                  <a:lnTo>
                    <a:pt x="714" y="224"/>
                  </a:lnTo>
                  <a:lnTo>
                    <a:pt x="714" y="224"/>
                  </a:lnTo>
                  <a:lnTo>
                    <a:pt x="712" y="224"/>
                  </a:lnTo>
                  <a:lnTo>
                    <a:pt x="712" y="224"/>
                  </a:lnTo>
                  <a:lnTo>
                    <a:pt x="710" y="222"/>
                  </a:lnTo>
                  <a:lnTo>
                    <a:pt x="710" y="222"/>
                  </a:lnTo>
                  <a:lnTo>
                    <a:pt x="710" y="222"/>
                  </a:lnTo>
                  <a:lnTo>
                    <a:pt x="710" y="220"/>
                  </a:lnTo>
                  <a:lnTo>
                    <a:pt x="710" y="220"/>
                  </a:lnTo>
                  <a:lnTo>
                    <a:pt x="710" y="220"/>
                  </a:lnTo>
                  <a:lnTo>
                    <a:pt x="710" y="220"/>
                  </a:lnTo>
                  <a:lnTo>
                    <a:pt x="710" y="218"/>
                  </a:lnTo>
                  <a:lnTo>
                    <a:pt x="710" y="218"/>
                  </a:lnTo>
                  <a:lnTo>
                    <a:pt x="710" y="218"/>
                  </a:lnTo>
                  <a:lnTo>
                    <a:pt x="710" y="218"/>
                  </a:lnTo>
                  <a:lnTo>
                    <a:pt x="710" y="218"/>
                  </a:lnTo>
                  <a:lnTo>
                    <a:pt x="710" y="214"/>
                  </a:lnTo>
                  <a:lnTo>
                    <a:pt x="710" y="214"/>
                  </a:lnTo>
                  <a:lnTo>
                    <a:pt x="710" y="214"/>
                  </a:lnTo>
                  <a:lnTo>
                    <a:pt x="710" y="208"/>
                  </a:lnTo>
                  <a:lnTo>
                    <a:pt x="710" y="208"/>
                  </a:lnTo>
                  <a:lnTo>
                    <a:pt x="710" y="208"/>
                  </a:lnTo>
                  <a:lnTo>
                    <a:pt x="710" y="204"/>
                  </a:lnTo>
                  <a:lnTo>
                    <a:pt x="712" y="204"/>
                  </a:lnTo>
                  <a:lnTo>
                    <a:pt x="712" y="204"/>
                  </a:lnTo>
                  <a:lnTo>
                    <a:pt x="712" y="204"/>
                  </a:lnTo>
                  <a:lnTo>
                    <a:pt x="712" y="204"/>
                  </a:lnTo>
                  <a:lnTo>
                    <a:pt x="712" y="204"/>
                  </a:lnTo>
                  <a:lnTo>
                    <a:pt x="712" y="204"/>
                  </a:lnTo>
                  <a:lnTo>
                    <a:pt x="712" y="204"/>
                  </a:lnTo>
                  <a:lnTo>
                    <a:pt x="714" y="204"/>
                  </a:lnTo>
                  <a:lnTo>
                    <a:pt x="714" y="204"/>
                  </a:lnTo>
                  <a:lnTo>
                    <a:pt x="722" y="204"/>
                  </a:lnTo>
                  <a:lnTo>
                    <a:pt x="722" y="204"/>
                  </a:lnTo>
                  <a:lnTo>
                    <a:pt x="722" y="204"/>
                  </a:lnTo>
                  <a:lnTo>
                    <a:pt x="724" y="208"/>
                  </a:lnTo>
                  <a:lnTo>
                    <a:pt x="728" y="208"/>
                  </a:lnTo>
                  <a:lnTo>
                    <a:pt x="728" y="210"/>
                  </a:lnTo>
                  <a:lnTo>
                    <a:pt x="731" y="210"/>
                  </a:lnTo>
                  <a:lnTo>
                    <a:pt x="733" y="210"/>
                  </a:lnTo>
                  <a:lnTo>
                    <a:pt x="739" y="212"/>
                  </a:lnTo>
                  <a:lnTo>
                    <a:pt x="741" y="212"/>
                  </a:lnTo>
                  <a:lnTo>
                    <a:pt x="741" y="212"/>
                  </a:lnTo>
                  <a:lnTo>
                    <a:pt x="749" y="212"/>
                  </a:lnTo>
                  <a:lnTo>
                    <a:pt x="749" y="212"/>
                  </a:lnTo>
                  <a:lnTo>
                    <a:pt x="749" y="212"/>
                  </a:lnTo>
                  <a:lnTo>
                    <a:pt x="749" y="212"/>
                  </a:lnTo>
                  <a:lnTo>
                    <a:pt x="751" y="212"/>
                  </a:lnTo>
                  <a:lnTo>
                    <a:pt x="751" y="212"/>
                  </a:lnTo>
                  <a:lnTo>
                    <a:pt x="751" y="212"/>
                  </a:lnTo>
                  <a:lnTo>
                    <a:pt x="753" y="212"/>
                  </a:lnTo>
                  <a:lnTo>
                    <a:pt x="753" y="210"/>
                  </a:lnTo>
                  <a:lnTo>
                    <a:pt x="753" y="210"/>
                  </a:lnTo>
                  <a:lnTo>
                    <a:pt x="757" y="210"/>
                  </a:lnTo>
                  <a:lnTo>
                    <a:pt x="757" y="210"/>
                  </a:lnTo>
                  <a:lnTo>
                    <a:pt x="757" y="208"/>
                  </a:lnTo>
                  <a:lnTo>
                    <a:pt x="759" y="208"/>
                  </a:lnTo>
                  <a:lnTo>
                    <a:pt x="759" y="208"/>
                  </a:lnTo>
                  <a:lnTo>
                    <a:pt x="759" y="208"/>
                  </a:lnTo>
                  <a:lnTo>
                    <a:pt x="759" y="208"/>
                  </a:lnTo>
                  <a:lnTo>
                    <a:pt x="759" y="204"/>
                  </a:lnTo>
                  <a:lnTo>
                    <a:pt x="759" y="204"/>
                  </a:lnTo>
                  <a:lnTo>
                    <a:pt x="759" y="204"/>
                  </a:lnTo>
                  <a:lnTo>
                    <a:pt x="761" y="202"/>
                  </a:lnTo>
                  <a:lnTo>
                    <a:pt x="761" y="200"/>
                  </a:lnTo>
                  <a:lnTo>
                    <a:pt x="761" y="200"/>
                  </a:lnTo>
                  <a:lnTo>
                    <a:pt x="761" y="198"/>
                  </a:lnTo>
                  <a:lnTo>
                    <a:pt x="761" y="198"/>
                  </a:lnTo>
                  <a:lnTo>
                    <a:pt x="761" y="198"/>
                  </a:lnTo>
                  <a:lnTo>
                    <a:pt x="761" y="198"/>
                  </a:lnTo>
                  <a:lnTo>
                    <a:pt x="763" y="196"/>
                  </a:lnTo>
                  <a:lnTo>
                    <a:pt x="763" y="196"/>
                  </a:lnTo>
                  <a:lnTo>
                    <a:pt x="763" y="196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73" y="198"/>
                  </a:lnTo>
                  <a:lnTo>
                    <a:pt x="779" y="198"/>
                  </a:lnTo>
                  <a:lnTo>
                    <a:pt x="781" y="196"/>
                  </a:lnTo>
                  <a:lnTo>
                    <a:pt x="783" y="196"/>
                  </a:lnTo>
                  <a:lnTo>
                    <a:pt x="783" y="196"/>
                  </a:lnTo>
                  <a:lnTo>
                    <a:pt x="783" y="196"/>
                  </a:lnTo>
                  <a:lnTo>
                    <a:pt x="783" y="194"/>
                  </a:lnTo>
                  <a:lnTo>
                    <a:pt x="785" y="192"/>
                  </a:lnTo>
                  <a:lnTo>
                    <a:pt x="787" y="192"/>
                  </a:lnTo>
                  <a:lnTo>
                    <a:pt x="787" y="192"/>
                  </a:lnTo>
                  <a:lnTo>
                    <a:pt x="787" y="192"/>
                  </a:lnTo>
                  <a:lnTo>
                    <a:pt x="787" y="192"/>
                  </a:lnTo>
                  <a:lnTo>
                    <a:pt x="787" y="192"/>
                  </a:lnTo>
                  <a:lnTo>
                    <a:pt x="789" y="192"/>
                  </a:lnTo>
                  <a:lnTo>
                    <a:pt x="789" y="190"/>
                  </a:lnTo>
                  <a:lnTo>
                    <a:pt x="789" y="190"/>
                  </a:lnTo>
                  <a:lnTo>
                    <a:pt x="789" y="186"/>
                  </a:lnTo>
                  <a:lnTo>
                    <a:pt x="789" y="186"/>
                  </a:lnTo>
                  <a:lnTo>
                    <a:pt x="787" y="186"/>
                  </a:lnTo>
                  <a:lnTo>
                    <a:pt x="787" y="186"/>
                  </a:lnTo>
                  <a:lnTo>
                    <a:pt x="787" y="184"/>
                  </a:lnTo>
                  <a:lnTo>
                    <a:pt x="787" y="180"/>
                  </a:lnTo>
                  <a:lnTo>
                    <a:pt x="789" y="176"/>
                  </a:lnTo>
                  <a:lnTo>
                    <a:pt x="789" y="176"/>
                  </a:lnTo>
                  <a:lnTo>
                    <a:pt x="789" y="176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91" y="174"/>
                  </a:lnTo>
                  <a:lnTo>
                    <a:pt x="791" y="174"/>
                  </a:lnTo>
                  <a:lnTo>
                    <a:pt x="791" y="174"/>
                  </a:lnTo>
                  <a:lnTo>
                    <a:pt x="791" y="172"/>
                  </a:lnTo>
                  <a:lnTo>
                    <a:pt x="791" y="172"/>
                  </a:lnTo>
                  <a:lnTo>
                    <a:pt x="791" y="172"/>
                  </a:lnTo>
                  <a:lnTo>
                    <a:pt x="795" y="174"/>
                  </a:lnTo>
                  <a:lnTo>
                    <a:pt x="801" y="174"/>
                  </a:lnTo>
                  <a:lnTo>
                    <a:pt x="805" y="174"/>
                  </a:lnTo>
                  <a:lnTo>
                    <a:pt x="805" y="172"/>
                  </a:lnTo>
                  <a:lnTo>
                    <a:pt x="801" y="172"/>
                  </a:lnTo>
                  <a:lnTo>
                    <a:pt x="801" y="170"/>
                  </a:lnTo>
                  <a:lnTo>
                    <a:pt x="801" y="170"/>
                  </a:lnTo>
                  <a:lnTo>
                    <a:pt x="801" y="170"/>
                  </a:lnTo>
                  <a:lnTo>
                    <a:pt x="801" y="170"/>
                  </a:lnTo>
                  <a:lnTo>
                    <a:pt x="801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7" y="170"/>
                  </a:lnTo>
                  <a:lnTo>
                    <a:pt x="807" y="170"/>
                  </a:lnTo>
                  <a:lnTo>
                    <a:pt x="807" y="170"/>
                  </a:lnTo>
                  <a:lnTo>
                    <a:pt x="809" y="170"/>
                  </a:lnTo>
                  <a:lnTo>
                    <a:pt x="809" y="170"/>
                  </a:lnTo>
                  <a:lnTo>
                    <a:pt x="811" y="170"/>
                  </a:lnTo>
                  <a:lnTo>
                    <a:pt x="811" y="170"/>
                  </a:lnTo>
                  <a:lnTo>
                    <a:pt x="811" y="168"/>
                  </a:lnTo>
                  <a:lnTo>
                    <a:pt x="811" y="168"/>
                  </a:lnTo>
                  <a:lnTo>
                    <a:pt x="811" y="168"/>
                  </a:lnTo>
                  <a:lnTo>
                    <a:pt x="811" y="168"/>
                  </a:lnTo>
                  <a:lnTo>
                    <a:pt x="811" y="168"/>
                  </a:lnTo>
                  <a:lnTo>
                    <a:pt x="811" y="168"/>
                  </a:lnTo>
                  <a:lnTo>
                    <a:pt x="813" y="164"/>
                  </a:lnTo>
                  <a:lnTo>
                    <a:pt x="813" y="164"/>
                  </a:lnTo>
                  <a:lnTo>
                    <a:pt x="813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5" y="164"/>
                  </a:lnTo>
                  <a:lnTo>
                    <a:pt x="819" y="164"/>
                  </a:lnTo>
                  <a:lnTo>
                    <a:pt x="819" y="164"/>
                  </a:lnTo>
                  <a:lnTo>
                    <a:pt x="821" y="164"/>
                  </a:lnTo>
                  <a:lnTo>
                    <a:pt x="821" y="164"/>
                  </a:lnTo>
                  <a:lnTo>
                    <a:pt x="823" y="164"/>
                  </a:lnTo>
                  <a:lnTo>
                    <a:pt x="823" y="164"/>
                  </a:lnTo>
                  <a:lnTo>
                    <a:pt x="823" y="164"/>
                  </a:lnTo>
                  <a:lnTo>
                    <a:pt x="823" y="164"/>
                  </a:lnTo>
                  <a:lnTo>
                    <a:pt x="823" y="164"/>
                  </a:lnTo>
                  <a:lnTo>
                    <a:pt x="825" y="164"/>
                  </a:lnTo>
                  <a:lnTo>
                    <a:pt x="825" y="164"/>
                  </a:lnTo>
                  <a:lnTo>
                    <a:pt x="825" y="164"/>
                  </a:lnTo>
                  <a:lnTo>
                    <a:pt x="825" y="164"/>
                  </a:lnTo>
                  <a:lnTo>
                    <a:pt x="825" y="164"/>
                  </a:lnTo>
                  <a:lnTo>
                    <a:pt x="827" y="162"/>
                  </a:lnTo>
                  <a:lnTo>
                    <a:pt x="827" y="164"/>
                  </a:lnTo>
                  <a:lnTo>
                    <a:pt x="827" y="164"/>
                  </a:lnTo>
                  <a:lnTo>
                    <a:pt x="827" y="164"/>
                  </a:lnTo>
                  <a:lnTo>
                    <a:pt x="827" y="164"/>
                  </a:lnTo>
                  <a:lnTo>
                    <a:pt x="827" y="164"/>
                  </a:lnTo>
                  <a:lnTo>
                    <a:pt x="829" y="164"/>
                  </a:lnTo>
                  <a:lnTo>
                    <a:pt x="829" y="164"/>
                  </a:lnTo>
                  <a:lnTo>
                    <a:pt x="829" y="164"/>
                  </a:lnTo>
                  <a:lnTo>
                    <a:pt x="829" y="164"/>
                  </a:lnTo>
                  <a:lnTo>
                    <a:pt x="831" y="164"/>
                  </a:lnTo>
                  <a:lnTo>
                    <a:pt x="831" y="164"/>
                  </a:lnTo>
                  <a:lnTo>
                    <a:pt x="831" y="168"/>
                  </a:lnTo>
                  <a:lnTo>
                    <a:pt x="837" y="168"/>
                  </a:lnTo>
                  <a:lnTo>
                    <a:pt x="839" y="168"/>
                  </a:lnTo>
                  <a:lnTo>
                    <a:pt x="841" y="168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5" y="168"/>
                  </a:lnTo>
                  <a:lnTo>
                    <a:pt x="845" y="168"/>
                  </a:lnTo>
                  <a:lnTo>
                    <a:pt x="845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7" y="168"/>
                  </a:lnTo>
                  <a:lnTo>
                    <a:pt x="849" y="168"/>
                  </a:lnTo>
                  <a:lnTo>
                    <a:pt x="849" y="168"/>
                  </a:lnTo>
                  <a:lnTo>
                    <a:pt x="849" y="164"/>
                  </a:lnTo>
                  <a:lnTo>
                    <a:pt x="849" y="164"/>
                  </a:lnTo>
                  <a:lnTo>
                    <a:pt x="849" y="164"/>
                  </a:lnTo>
                  <a:lnTo>
                    <a:pt x="849" y="164"/>
                  </a:lnTo>
                  <a:lnTo>
                    <a:pt x="849" y="164"/>
                  </a:lnTo>
                  <a:lnTo>
                    <a:pt x="849" y="164"/>
                  </a:lnTo>
                  <a:lnTo>
                    <a:pt x="847" y="164"/>
                  </a:lnTo>
                  <a:lnTo>
                    <a:pt x="847" y="164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2"/>
                  </a:lnTo>
                  <a:lnTo>
                    <a:pt x="847" y="160"/>
                  </a:lnTo>
                  <a:lnTo>
                    <a:pt x="847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5" y="160"/>
                  </a:lnTo>
                  <a:lnTo>
                    <a:pt x="841" y="158"/>
                  </a:lnTo>
                  <a:lnTo>
                    <a:pt x="841" y="158"/>
                  </a:lnTo>
                  <a:lnTo>
                    <a:pt x="841" y="158"/>
                  </a:lnTo>
                  <a:lnTo>
                    <a:pt x="841" y="158"/>
                  </a:lnTo>
                  <a:lnTo>
                    <a:pt x="841" y="158"/>
                  </a:lnTo>
                  <a:lnTo>
                    <a:pt x="841" y="158"/>
                  </a:lnTo>
                  <a:lnTo>
                    <a:pt x="839" y="156"/>
                  </a:lnTo>
                  <a:lnTo>
                    <a:pt x="839" y="156"/>
                  </a:lnTo>
                  <a:lnTo>
                    <a:pt x="839" y="156"/>
                  </a:lnTo>
                  <a:lnTo>
                    <a:pt x="837" y="154"/>
                  </a:lnTo>
                  <a:lnTo>
                    <a:pt x="835" y="154"/>
                  </a:lnTo>
                  <a:lnTo>
                    <a:pt x="835" y="154"/>
                  </a:lnTo>
                  <a:lnTo>
                    <a:pt x="831" y="152"/>
                  </a:lnTo>
                  <a:lnTo>
                    <a:pt x="831" y="152"/>
                  </a:lnTo>
                  <a:lnTo>
                    <a:pt x="831" y="152"/>
                  </a:lnTo>
                  <a:lnTo>
                    <a:pt x="831" y="152"/>
                  </a:lnTo>
                  <a:lnTo>
                    <a:pt x="829" y="152"/>
                  </a:lnTo>
                  <a:lnTo>
                    <a:pt x="827" y="150"/>
                  </a:lnTo>
                  <a:lnTo>
                    <a:pt x="825" y="150"/>
                  </a:lnTo>
                  <a:lnTo>
                    <a:pt x="825" y="150"/>
                  </a:lnTo>
                  <a:lnTo>
                    <a:pt x="825" y="146"/>
                  </a:lnTo>
                  <a:lnTo>
                    <a:pt x="825" y="146"/>
                  </a:lnTo>
                  <a:lnTo>
                    <a:pt x="825" y="146"/>
                  </a:lnTo>
                  <a:lnTo>
                    <a:pt x="825" y="146"/>
                  </a:lnTo>
                  <a:lnTo>
                    <a:pt x="823" y="146"/>
                  </a:lnTo>
                  <a:lnTo>
                    <a:pt x="821" y="146"/>
                  </a:lnTo>
                  <a:lnTo>
                    <a:pt x="821" y="146"/>
                  </a:lnTo>
                  <a:lnTo>
                    <a:pt x="821" y="144"/>
                  </a:lnTo>
                  <a:lnTo>
                    <a:pt x="821" y="144"/>
                  </a:lnTo>
                  <a:lnTo>
                    <a:pt x="819" y="144"/>
                  </a:lnTo>
                  <a:lnTo>
                    <a:pt x="819" y="142"/>
                  </a:lnTo>
                  <a:lnTo>
                    <a:pt x="819" y="142"/>
                  </a:lnTo>
                  <a:lnTo>
                    <a:pt x="819" y="142"/>
                  </a:lnTo>
                  <a:lnTo>
                    <a:pt x="815" y="142"/>
                  </a:lnTo>
                  <a:lnTo>
                    <a:pt x="811" y="140"/>
                  </a:lnTo>
                  <a:lnTo>
                    <a:pt x="809" y="140"/>
                  </a:lnTo>
                  <a:lnTo>
                    <a:pt x="805" y="136"/>
                  </a:lnTo>
                  <a:lnTo>
                    <a:pt x="805" y="134"/>
                  </a:lnTo>
                  <a:lnTo>
                    <a:pt x="801" y="134"/>
                  </a:lnTo>
                  <a:lnTo>
                    <a:pt x="797" y="134"/>
                  </a:lnTo>
                  <a:lnTo>
                    <a:pt x="797" y="134"/>
                  </a:lnTo>
                  <a:lnTo>
                    <a:pt x="795" y="132"/>
                  </a:lnTo>
                  <a:lnTo>
                    <a:pt x="795" y="132"/>
                  </a:lnTo>
                  <a:lnTo>
                    <a:pt x="795" y="132"/>
                  </a:lnTo>
                  <a:lnTo>
                    <a:pt x="791" y="132"/>
                  </a:lnTo>
                  <a:lnTo>
                    <a:pt x="791" y="134"/>
                  </a:lnTo>
                  <a:lnTo>
                    <a:pt x="791" y="134"/>
                  </a:lnTo>
                  <a:lnTo>
                    <a:pt x="787" y="134"/>
                  </a:lnTo>
                  <a:lnTo>
                    <a:pt x="787" y="134"/>
                  </a:lnTo>
                  <a:lnTo>
                    <a:pt x="787" y="134"/>
                  </a:lnTo>
                  <a:lnTo>
                    <a:pt x="785" y="140"/>
                  </a:lnTo>
                  <a:lnTo>
                    <a:pt x="785" y="140"/>
                  </a:lnTo>
                  <a:lnTo>
                    <a:pt x="785" y="140"/>
                  </a:lnTo>
                  <a:lnTo>
                    <a:pt x="785" y="142"/>
                  </a:lnTo>
                  <a:lnTo>
                    <a:pt x="785" y="142"/>
                  </a:lnTo>
                  <a:lnTo>
                    <a:pt x="783" y="142"/>
                  </a:lnTo>
                  <a:lnTo>
                    <a:pt x="775" y="140"/>
                  </a:lnTo>
                  <a:lnTo>
                    <a:pt x="775" y="140"/>
                  </a:lnTo>
                  <a:lnTo>
                    <a:pt x="773" y="136"/>
                  </a:lnTo>
                  <a:lnTo>
                    <a:pt x="771" y="136"/>
                  </a:lnTo>
                  <a:lnTo>
                    <a:pt x="771" y="136"/>
                  </a:lnTo>
                  <a:lnTo>
                    <a:pt x="769" y="136"/>
                  </a:lnTo>
                  <a:lnTo>
                    <a:pt x="767" y="136"/>
                  </a:lnTo>
                  <a:lnTo>
                    <a:pt x="763" y="136"/>
                  </a:lnTo>
                  <a:lnTo>
                    <a:pt x="759" y="136"/>
                  </a:lnTo>
                  <a:lnTo>
                    <a:pt x="759" y="136"/>
                  </a:lnTo>
                  <a:lnTo>
                    <a:pt x="757" y="140"/>
                  </a:lnTo>
                  <a:lnTo>
                    <a:pt x="757" y="142"/>
                  </a:lnTo>
                  <a:lnTo>
                    <a:pt x="757" y="142"/>
                  </a:lnTo>
                  <a:lnTo>
                    <a:pt x="753" y="142"/>
                  </a:lnTo>
                  <a:lnTo>
                    <a:pt x="747" y="136"/>
                  </a:lnTo>
                  <a:lnTo>
                    <a:pt x="745" y="136"/>
                  </a:lnTo>
                  <a:lnTo>
                    <a:pt x="745" y="134"/>
                  </a:lnTo>
                  <a:lnTo>
                    <a:pt x="745" y="134"/>
                  </a:lnTo>
                  <a:lnTo>
                    <a:pt x="743" y="130"/>
                  </a:lnTo>
                  <a:lnTo>
                    <a:pt x="743" y="130"/>
                  </a:lnTo>
                  <a:lnTo>
                    <a:pt x="743" y="130"/>
                  </a:lnTo>
                  <a:lnTo>
                    <a:pt x="745" y="128"/>
                  </a:lnTo>
                  <a:lnTo>
                    <a:pt x="745" y="128"/>
                  </a:lnTo>
                  <a:lnTo>
                    <a:pt x="745" y="128"/>
                  </a:lnTo>
                  <a:lnTo>
                    <a:pt x="743" y="122"/>
                  </a:lnTo>
                  <a:lnTo>
                    <a:pt x="743" y="122"/>
                  </a:lnTo>
                  <a:lnTo>
                    <a:pt x="743" y="120"/>
                  </a:lnTo>
                  <a:lnTo>
                    <a:pt x="743" y="120"/>
                  </a:lnTo>
                  <a:lnTo>
                    <a:pt x="743" y="116"/>
                  </a:lnTo>
                  <a:lnTo>
                    <a:pt x="743" y="114"/>
                  </a:lnTo>
                  <a:lnTo>
                    <a:pt x="743" y="114"/>
                  </a:lnTo>
                  <a:lnTo>
                    <a:pt x="741" y="114"/>
                  </a:lnTo>
                  <a:lnTo>
                    <a:pt x="741" y="114"/>
                  </a:lnTo>
                  <a:lnTo>
                    <a:pt x="741" y="96"/>
                  </a:lnTo>
                  <a:lnTo>
                    <a:pt x="741" y="96"/>
                  </a:lnTo>
                  <a:lnTo>
                    <a:pt x="739" y="90"/>
                  </a:lnTo>
                  <a:lnTo>
                    <a:pt x="741" y="90"/>
                  </a:lnTo>
                  <a:lnTo>
                    <a:pt x="749" y="92"/>
                  </a:lnTo>
                  <a:lnTo>
                    <a:pt x="751" y="94"/>
                  </a:lnTo>
                  <a:lnTo>
                    <a:pt x="757" y="94"/>
                  </a:lnTo>
                  <a:lnTo>
                    <a:pt x="763" y="96"/>
                  </a:lnTo>
                  <a:lnTo>
                    <a:pt x="763" y="96"/>
                  </a:lnTo>
                  <a:lnTo>
                    <a:pt x="763" y="96"/>
                  </a:lnTo>
                  <a:lnTo>
                    <a:pt x="763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7" y="96"/>
                  </a:lnTo>
                  <a:lnTo>
                    <a:pt x="769" y="94"/>
                  </a:lnTo>
                  <a:lnTo>
                    <a:pt x="769" y="94"/>
                  </a:lnTo>
                  <a:lnTo>
                    <a:pt x="769" y="94"/>
                  </a:lnTo>
                  <a:lnTo>
                    <a:pt x="769" y="94"/>
                  </a:lnTo>
                  <a:lnTo>
                    <a:pt x="769" y="94"/>
                  </a:lnTo>
                  <a:lnTo>
                    <a:pt x="771" y="92"/>
                  </a:lnTo>
                  <a:lnTo>
                    <a:pt x="771" y="92"/>
                  </a:lnTo>
                  <a:lnTo>
                    <a:pt x="771" y="92"/>
                  </a:lnTo>
                  <a:lnTo>
                    <a:pt x="771" y="92"/>
                  </a:lnTo>
                  <a:lnTo>
                    <a:pt x="771" y="92"/>
                  </a:lnTo>
                  <a:lnTo>
                    <a:pt x="771" y="92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3" y="90"/>
                  </a:lnTo>
                  <a:lnTo>
                    <a:pt x="773" y="90"/>
                  </a:lnTo>
                  <a:lnTo>
                    <a:pt x="773" y="90"/>
                  </a:lnTo>
                  <a:lnTo>
                    <a:pt x="773" y="90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84"/>
                  </a:lnTo>
                  <a:lnTo>
                    <a:pt x="775" y="88"/>
                  </a:lnTo>
                  <a:lnTo>
                    <a:pt x="775" y="88"/>
                  </a:lnTo>
                  <a:lnTo>
                    <a:pt x="779" y="84"/>
                  </a:lnTo>
                  <a:lnTo>
                    <a:pt x="779" y="84"/>
                  </a:lnTo>
                  <a:lnTo>
                    <a:pt x="779" y="84"/>
                  </a:lnTo>
                  <a:lnTo>
                    <a:pt x="781" y="84"/>
                  </a:lnTo>
                  <a:lnTo>
                    <a:pt x="781" y="84"/>
                  </a:lnTo>
                  <a:lnTo>
                    <a:pt x="781" y="84"/>
                  </a:lnTo>
                  <a:lnTo>
                    <a:pt x="781" y="84"/>
                  </a:lnTo>
                  <a:lnTo>
                    <a:pt x="781" y="84"/>
                  </a:lnTo>
                  <a:lnTo>
                    <a:pt x="781" y="84"/>
                  </a:lnTo>
                  <a:lnTo>
                    <a:pt x="783" y="84"/>
                  </a:lnTo>
                  <a:lnTo>
                    <a:pt x="785" y="84"/>
                  </a:lnTo>
                  <a:lnTo>
                    <a:pt x="785" y="84"/>
                  </a:lnTo>
                  <a:lnTo>
                    <a:pt x="785" y="84"/>
                  </a:lnTo>
                  <a:lnTo>
                    <a:pt x="785" y="84"/>
                  </a:lnTo>
                  <a:lnTo>
                    <a:pt x="785" y="82"/>
                  </a:lnTo>
                  <a:lnTo>
                    <a:pt x="785" y="82"/>
                  </a:lnTo>
                  <a:lnTo>
                    <a:pt x="785" y="82"/>
                  </a:lnTo>
                  <a:lnTo>
                    <a:pt x="785" y="82"/>
                  </a:lnTo>
                  <a:lnTo>
                    <a:pt x="785" y="82"/>
                  </a:lnTo>
                  <a:lnTo>
                    <a:pt x="785" y="80"/>
                  </a:lnTo>
                  <a:lnTo>
                    <a:pt x="785" y="80"/>
                  </a:lnTo>
                  <a:lnTo>
                    <a:pt x="785" y="80"/>
                  </a:lnTo>
                  <a:lnTo>
                    <a:pt x="783" y="80"/>
                  </a:lnTo>
                  <a:lnTo>
                    <a:pt x="783" y="80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3" y="78"/>
                  </a:lnTo>
                  <a:lnTo>
                    <a:pt x="781" y="78"/>
                  </a:lnTo>
                  <a:lnTo>
                    <a:pt x="781" y="78"/>
                  </a:lnTo>
                  <a:lnTo>
                    <a:pt x="781" y="78"/>
                  </a:lnTo>
                  <a:lnTo>
                    <a:pt x="781" y="78"/>
                  </a:lnTo>
                  <a:lnTo>
                    <a:pt x="781" y="76"/>
                  </a:lnTo>
                  <a:lnTo>
                    <a:pt x="781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6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9" y="74"/>
                  </a:lnTo>
                  <a:lnTo>
                    <a:pt x="775" y="70"/>
                  </a:lnTo>
                  <a:lnTo>
                    <a:pt x="775" y="70"/>
                  </a:lnTo>
                  <a:lnTo>
                    <a:pt x="775" y="70"/>
                  </a:lnTo>
                  <a:lnTo>
                    <a:pt x="775" y="70"/>
                  </a:lnTo>
                  <a:lnTo>
                    <a:pt x="779" y="70"/>
                  </a:lnTo>
                  <a:lnTo>
                    <a:pt x="779" y="70"/>
                  </a:lnTo>
                  <a:lnTo>
                    <a:pt x="779" y="70"/>
                  </a:lnTo>
                  <a:lnTo>
                    <a:pt x="779" y="70"/>
                  </a:lnTo>
                  <a:lnTo>
                    <a:pt x="779" y="70"/>
                  </a:lnTo>
                  <a:lnTo>
                    <a:pt x="779" y="70"/>
                  </a:lnTo>
                  <a:lnTo>
                    <a:pt x="779" y="70"/>
                  </a:lnTo>
                  <a:lnTo>
                    <a:pt x="779" y="68"/>
                  </a:lnTo>
                  <a:lnTo>
                    <a:pt x="779" y="68"/>
                  </a:lnTo>
                  <a:lnTo>
                    <a:pt x="779" y="68"/>
                  </a:lnTo>
                  <a:lnTo>
                    <a:pt x="779" y="68"/>
                  </a:lnTo>
                  <a:lnTo>
                    <a:pt x="779" y="68"/>
                  </a:lnTo>
                  <a:lnTo>
                    <a:pt x="779" y="68"/>
                  </a:lnTo>
                  <a:lnTo>
                    <a:pt x="779" y="68"/>
                  </a:lnTo>
                  <a:lnTo>
                    <a:pt x="779" y="66"/>
                  </a:lnTo>
                  <a:lnTo>
                    <a:pt x="779" y="66"/>
                  </a:lnTo>
                  <a:lnTo>
                    <a:pt x="779" y="66"/>
                  </a:lnTo>
                  <a:lnTo>
                    <a:pt x="775" y="66"/>
                  </a:lnTo>
                  <a:lnTo>
                    <a:pt x="775" y="64"/>
                  </a:lnTo>
                  <a:lnTo>
                    <a:pt x="775" y="64"/>
                  </a:lnTo>
                  <a:lnTo>
                    <a:pt x="775" y="64"/>
                  </a:lnTo>
                  <a:lnTo>
                    <a:pt x="775" y="64"/>
                  </a:lnTo>
                  <a:lnTo>
                    <a:pt x="775" y="60"/>
                  </a:lnTo>
                  <a:lnTo>
                    <a:pt x="775" y="60"/>
                  </a:lnTo>
                  <a:lnTo>
                    <a:pt x="775" y="60"/>
                  </a:lnTo>
                  <a:lnTo>
                    <a:pt x="779" y="60"/>
                  </a:lnTo>
                  <a:lnTo>
                    <a:pt x="779" y="60"/>
                  </a:lnTo>
                  <a:lnTo>
                    <a:pt x="779" y="58"/>
                  </a:lnTo>
                  <a:lnTo>
                    <a:pt x="779" y="58"/>
                  </a:lnTo>
                  <a:lnTo>
                    <a:pt x="779" y="58"/>
                  </a:lnTo>
                  <a:lnTo>
                    <a:pt x="779" y="58"/>
                  </a:lnTo>
                  <a:lnTo>
                    <a:pt x="779" y="58"/>
                  </a:lnTo>
                  <a:lnTo>
                    <a:pt x="779" y="58"/>
                  </a:lnTo>
                  <a:lnTo>
                    <a:pt x="775" y="58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6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4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0"/>
                  </a:lnTo>
                  <a:lnTo>
                    <a:pt x="775" y="50"/>
                  </a:lnTo>
                  <a:lnTo>
                    <a:pt x="775" y="50"/>
                  </a:lnTo>
                  <a:lnTo>
                    <a:pt x="775" y="50"/>
                  </a:lnTo>
                  <a:lnTo>
                    <a:pt x="775" y="50"/>
                  </a:lnTo>
                  <a:lnTo>
                    <a:pt x="775" y="48"/>
                  </a:lnTo>
                  <a:lnTo>
                    <a:pt x="775" y="48"/>
                  </a:lnTo>
                  <a:lnTo>
                    <a:pt x="775" y="48"/>
                  </a:lnTo>
                  <a:lnTo>
                    <a:pt x="775" y="48"/>
                  </a:lnTo>
                  <a:lnTo>
                    <a:pt x="773" y="48"/>
                  </a:lnTo>
                  <a:lnTo>
                    <a:pt x="773" y="44"/>
                  </a:lnTo>
                  <a:lnTo>
                    <a:pt x="773" y="44"/>
                  </a:lnTo>
                  <a:lnTo>
                    <a:pt x="773" y="44"/>
                  </a:lnTo>
                  <a:lnTo>
                    <a:pt x="775" y="44"/>
                  </a:lnTo>
                  <a:lnTo>
                    <a:pt x="775" y="44"/>
                  </a:lnTo>
                  <a:lnTo>
                    <a:pt x="775" y="44"/>
                  </a:lnTo>
                  <a:lnTo>
                    <a:pt x="775" y="44"/>
                  </a:lnTo>
                  <a:lnTo>
                    <a:pt x="775" y="42"/>
                  </a:lnTo>
                  <a:lnTo>
                    <a:pt x="779" y="42"/>
                  </a:lnTo>
                  <a:lnTo>
                    <a:pt x="779" y="42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79" y="40"/>
                  </a:lnTo>
                  <a:lnTo>
                    <a:pt x="781" y="40"/>
                  </a:lnTo>
                  <a:lnTo>
                    <a:pt x="781" y="40"/>
                  </a:lnTo>
                  <a:lnTo>
                    <a:pt x="781" y="40"/>
                  </a:lnTo>
                  <a:lnTo>
                    <a:pt x="781" y="38"/>
                  </a:lnTo>
                  <a:lnTo>
                    <a:pt x="781" y="38"/>
                  </a:lnTo>
                  <a:lnTo>
                    <a:pt x="781" y="38"/>
                  </a:lnTo>
                  <a:lnTo>
                    <a:pt x="781" y="38"/>
                  </a:lnTo>
                  <a:lnTo>
                    <a:pt x="781" y="38"/>
                  </a:lnTo>
                  <a:lnTo>
                    <a:pt x="781" y="38"/>
                  </a:lnTo>
                  <a:lnTo>
                    <a:pt x="779" y="36"/>
                  </a:lnTo>
                  <a:lnTo>
                    <a:pt x="779" y="36"/>
                  </a:lnTo>
                  <a:lnTo>
                    <a:pt x="779" y="36"/>
                  </a:lnTo>
                  <a:lnTo>
                    <a:pt x="779" y="36"/>
                  </a:lnTo>
                  <a:lnTo>
                    <a:pt x="779" y="36"/>
                  </a:lnTo>
                  <a:lnTo>
                    <a:pt x="781" y="36"/>
                  </a:lnTo>
                  <a:lnTo>
                    <a:pt x="781" y="36"/>
                  </a:lnTo>
                  <a:lnTo>
                    <a:pt x="779" y="36"/>
                  </a:lnTo>
                  <a:lnTo>
                    <a:pt x="781" y="36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2"/>
                  </a:lnTo>
                  <a:lnTo>
                    <a:pt x="779" y="30"/>
                  </a:lnTo>
                  <a:lnTo>
                    <a:pt x="775" y="30"/>
                  </a:lnTo>
                  <a:lnTo>
                    <a:pt x="775" y="30"/>
                  </a:lnTo>
                  <a:lnTo>
                    <a:pt x="773" y="30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3" y="28"/>
                  </a:lnTo>
                  <a:lnTo>
                    <a:pt x="771" y="28"/>
                  </a:lnTo>
                  <a:lnTo>
                    <a:pt x="771" y="26"/>
                  </a:lnTo>
                  <a:lnTo>
                    <a:pt x="771" y="26"/>
                  </a:lnTo>
                  <a:lnTo>
                    <a:pt x="771" y="26"/>
                  </a:lnTo>
                  <a:lnTo>
                    <a:pt x="771" y="26"/>
                  </a:lnTo>
                  <a:lnTo>
                    <a:pt x="771" y="26"/>
                  </a:lnTo>
                  <a:lnTo>
                    <a:pt x="771" y="26"/>
                  </a:lnTo>
                  <a:lnTo>
                    <a:pt x="771" y="26"/>
                  </a:lnTo>
                  <a:lnTo>
                    <a:pt x="771" y="22"/>
                  </a:lnTo>
                  <a:lnTo>
                    <a:pt x="771" y="22"/>
                  </a:lnTo>
                  <a:lnTo>
                    <a:pt x="771" y="22"/>
                  </a:lnTo>
                  <a:lnTo>
                    <a:pt x="769" y="22"/>
                  </a:lnTo>
                  <a:lnTo>
                    <a:pt x="769" y="22"/>
                  </a:lnTo>
                  <a:lnTo>
                    <a:pt x="767" y="22"/>
                  </a:lnTo>
                  <a:lnTo>
                    <a:pt x="763" y="20"/>
                  </a:lnTo>
                  <a:lnTo>
                    <a:pt x="763" y="20"/>
                  </a:lnTo>
                  <a:lnTo>
                    <a:pt x="763" y="20"/>
                  </a:lnTo>
                  <a:lnTo>
                    <a:pt x="763" y="20"/>
                  </a:lnTo>
                  <a:lnTo>
                    <a:pt x="763" y="20"/>
                  </a:lnTo>
                  <a:lnTo>
                    <a:pt x="763" y="20"/>
                  </a:lnTo>
                  <a:lnTo>
                    <a:pt x="761" y="22"/>
                  </a:lnTo>
                  <a:lnTo>
                    <a:pt x="761" y="22"/>
                  </a:lnTo>
                  <a:lnTo>
                    <a:pt x="759" y="22"/>
                  </a:lnTo>
                  <a:lnTo>
                    <a:pt x="759" y="22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7" y="22"/>
                  </a:lnTo>
                  <a:lnTo>
                    <a:pt x="757" y="22"/>
                  </a:lnTo>
                  <a:lnTo>
                    <a:pt x="757" y="20"/>
                  </a:lnTo>
                  <a:lnTo>
                    <a:pt x="757" y="20"/>
                  </a:lnTo>
                  <a:lnTo>
                    <a:pt x="757" y="20"/>
                  </a:lnTo>
                  <a:lnTo>
                    <a:pt x="753" y="20"/>
                  </a:lnTo>
                  <a:lnTo>
                    <a:pt x="753" y="20"/>
                  </a:lnTo>
                  <a:lnTo>
                    <a:pt x="753" y="20"/>
                  </a:lnTo>
                  <a:lnTo>
                    <a:pt x="753" y="18"/>
                  </a:lnTo>
                  <a:lnTo>
                    <a:pt x="753" y="18"/>
                  </a:lnTo>
                  <a:lnTo>
                    <a:pt x="753" y="18"/>
                  </a:lnTo>
                  <a:lnTo>
                    <a:pt x="753" y="18"/>
                  </a:lnTo>
                  <a:lnTo>
                    <a:pt x="753" y="18"/>
                  </a:lnTo>
                  <a:lnTo>
                    <a:pt x="753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4"/>
                  </a:lnTo>
                  <a:lnTo>
                    <a:pt x="757" y="14"/>
                  </a:lnTo>
                  <a:lnTo>
                    <a:pt x="757" y="14"/>
                  </a:lnTo>
                  <a:lnTo>
                    <a:pt x="757" y="14"/>
                  </a:lnTo>
                  <a:lnTo>
                    <a:pt x="757" y="14"/>
                  </a:lnTo>
                  <a:lnTo>
                    <a:pt x="757" y="12"/>
                  </a:lnTo>
                  <a:lnTo>
                    <a:pt x="759" y="12"/>
                  </a:lnTo>
                  <a:lnTo>
                    <a:pt x="759" y="10"/>
                  </a:lnTo>
                  <a:lnTo>
                    <a:pt x="759" y="10"/>
                  </a:lnTo>
                  <a:lnTo>
                    <a:pt x="759" y="10"/>
                  </a:lnTo>
                  <a:lnTo>
                    <a:pt x="759" y="8"/>
                  </a:lnTo>
                  <a:lnTo>
                    <a:pt x="759" y="8"/>
                  </a:lnTo>
                  <a:lnTo>
                    <a:pt x="759" y="8"/>
                  </a:lnTo>
                  <a:lnTo>
                    <a:pt x="759" y="8"/>
                  </a:lnTo>
                  <a:lnTo>
                    <a:pt x="761" y="8"/>
                  </a:lnTo>
                  <a:lnTo>
                    <a:pt x="763" y="8"/>
                  </a:lnTo>
                  <a:lnTo>
                    <a:pt x="767" y="8"/>
                  </a:lnTo>
                  <a:lnTo>
                    <a:pt x="767" y="8"/>
                  </a:lnTo>
                  <a:lnTo>
                    <a:pt x="767" y="8"/>
                  </a:lnTo>
                  <a:lnTo>
                    <a:pt x="769" y="8"/>
                  </a:lnTo>
                  <a:lnTo>
                    <a:pt x="769" y="4"/>
                  </a:lnTo>
                  <a:lnTo>
                    <a:pt x="769" y="4"/>
                  </a:lnTo>
                  <a:lnTo>
                    <a:pt x="769" y="4"/>
                  </a:lnTo>
                  <a:lnTo>
                    <a:pt x="769" y="4"/>
                  </a:lnTo>
                  <a:lnTo>
                    <a:pt x="771" y="4"/>
                  </a:lnTo>
                  <a:lnTo>
                    <a:pt x="771" y="4"/>
                  </a:lnTo>
                  <a:lnTo>
                    <a:pt x="773" y="4"/>
                  </a:lnTo>
                  <a:lnTo>
                    <a:pt x="775" y="2"/>
                  </a:lnTo>
                  <a:lnTo>
                    <a:pt x="781" y="2"/>
                  </a:lnTo>
                  <a:lnTo>
                    <a:pt x="781" y="2"/>
                  </a:lnTo>
                  <a:lnTo>
                    <a:pt x="781" y="2"/>
                  </a:lnTo>
                  <a:lnTo>
                    <a:pt x="781" y="2"/>
                  </a:lnTo>
                  <a:lnTo>
                    <a:pt x="783" y="2"/>
                  </a:lnTo>
                  <a:lnTo>
                    <a:pt x="783" y="2"/>
                  </a:lnTo>
                  <a:lnTo>
                    <a:pt x="783" y="2"/>
                  </a:lnTo>
                  <a:lnTo>
                    <a:pt x="785" y="2"/>
                  </a:lnTo>
                  <a:lnTo>
                    <a:pt x="785" y="2"/>
                  </a:lnTo>
                  <a:lnTo>
                    <a:pt x="785" y="2"/>
                  </a:lnTo>
                  <a:lnTo>
                    <a:pt x="785" y="2"/>
                  </a:lnTo>
                  <a:lnTo>
                    <a:pt x="785" y="2"/>
                  </a:lnTo>
                  <a:lnTo>
                    <a:pt x="787" y="2"/>
                  </a:lnTo>
                  <a:lnTo>
                    <a:pt x="795" y="2"/>
                  </a:lnTo>
                  <a:lnTo>
                    <a:pt x="797" y="2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799" y="0"/>
                  </a:lnTo>
                  <a:lnTo>
                    <a:pt x="801" y="0"/>
                  </a:lnTo>
                  <a:lnTo>
                    <a:pt x="801" y="0"/>
                  </a:lnTo>
                  <a:lnTo>
                    <a:pt x="801" y="0"/>
                  </a:lnTo>
                  <a:lnTo>
                    <a:pt x="801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5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7" y="0"/>
                  </a:lnTo>
                  <a:lnTo>
                    <a:pt x="809" y="0"/>
                  </a:lnTo>
                  <a:lnTo>
                    <a:pt x="809" y="0"/>
                  </a:lnTo>
                  <a:lnTo>
                    <a:pt x="809" y="2"/>
                  </a:lnTo>
                  <a:lnTo>
                    <a:pt x="811" y="2"/>
                  </a:lnTo>
                  <a:lnTo>
                    <a:pt x="813" y="2"/>
                  </a:lnTo>
                  <a:lnTo>
                    <a:pt x="815" y="2"/>
                  </a:lnTo>
                  <a:lnTo>
                    <a:pt x="815" y="2"/>
                  </a:lnTo>
                  <a:lnTo>
                    <a:pt x="815" y="2"/>
                  </a:lnTo>
                  <a:lnTo>
                    <a:pt x="815" y="4"/>
                  </a:lnTo>
                  <a:lnTo>
                    <a:pt x="819" y="4"/>
                  </a:lnTo>
                  <a:lnTo>
                    <a:pt x="819" y="4"/>
                  </a:lnTo>
                  <a:lnTo>
                    <a:pt x="819" y="4"/>
                  </a:lnTo>
                  <a:lnTo>
                    <a:pt x="819" y="4"/>
                  </a:lnTo>
                  <a:lnTo>
                    <a:pt x="821" y="4"/>
                  </a:lnTo>
                  <a:lnTo>
                    <a:pt x="821" y="4"/>
                  </a:lnTo>
                  <a:lnTo>
                    <a:pt x="821" y="4"/>
                  </a:lnTo>
                  <a:lnTo>
                    <a:pt x="821" y="4"/>
                  </a:lnTo>
                  <a:lnTo>
                    <a:pt x="821" y="4"/>
                  </a:lnTo>
                  <a:lnTo>
                    <a:pt x="821" y="4"/>
                  </a:lnTo>
                  <a:lnTo>
                    <a:pt x="823" y="4"/>
                  </a:lnTo>
                  <a:lnTo>
                    <a:pt x="823" y="4"/>
                  </a:lnTo>
                  <a:lnTo>
                    <a:pt x="823" y="4"/>
                  </a:lnTo>
                  <a:lnTo>
                    <a:pt x="823" y="4"/>
                  </a:lnTo>
                  <a:lnTo>
                    <a:pt x="825" y="8"/>
                  </a:lnTo>
                  <a:lnTo>
                    <a:pt x="825" y="8"/>
                  </a:lnTo>
                  <a:lnTo>
                    <a:pt x="825" y="8"/>
                  </a:lnTo>
                  <a:lnTo>
                    <a:pt x="825" y="8"/>
                  </a:lnTo>
                  <a:lnTo>
                    <a:pt x="827" y="8"/>
                  </a:lnTo>
                  <a:lnTo>
                    <a:pt x="827" y="8"/>
                  </a:lnTo>
                  <a:lnTo>
                    <a:pt x="827" y="8"/>
                  </a:lnTo>
                  <a:lnTo>
                    <a:pt x="829" y="8"/>
                  </a:lnTo>
                  <a:lnTo>
                    <a:pt x="829" y="10"/>
                  </a:lnTo>
                  <a:lnTo>
                    <a:pt x="831" y="10"/>
                  </a:lnTo>
                  <a:lnTo>
                    <a:pt x="831" y="10"/>
                  </a:lnTo>
                  <a:lnTo>
                    <a:pt x="831" y="10"/>
                  </a:lnTo>
                  <a:lnTo>
                    <a:pt x="831" y="10"/>
                  </a:lnTo>
                  <a:lnTo>
                    <a:pt x="835" y="10"/>
                  </a:lnTo>
                  <a:lnTo>
                    <a:pt x="835" y="10"/>
                  </a:lnTo>
                  <a:lnTo>
                    <a:pt x="835" y="10"/>
                  </a:lnTo>
                  <a:lnTo>
                    <a:pt x="835" y="10"/>
                  </a:lnTo>
                  <a:lnTo>
                    <a:pt x="835" y="10"/>
                  </a:lnTo>
                  <a:lnTo>
                    <a:pt x="835" y="10"/>
                  </a:lnTo>
                  <a:lnTo>
                    <a:pt x="837" y="10"/>
                  </a:lnTo>
                  <a:lnTo>
                    <a:pt x="837" y="10"/>
                  </a:lnTo>
                  <a:lnTo>
                    <a:pt x="837" y="10"/>
                  </a:lnTo>
                  <a:lnTo>
                    <a:pt x="839" y="12"/>
                  </a:lnTo>
                  <a:lnTo>
                    <a:pt x="839" y="10"/>
                  </a:lnTo>
                  <a:lnTo>
                    <a:pt x="837" y="10"/>
                  </a:lnTo>
                  <a:lnTo>
                    <a:pt x="837" y="10"/>
                  </a:lnTo>
                  <a:lnTo>
                    <a:pt x="837" y="10"/>
                  </a:lnTo>
                  <a:lnTo>
                    <a:pt x="837" y="10"/>
                  </a:lnTo>
                  <a:lnTo>
                    <a:pt x="837" y="10"/>
                  </a:lnTo>
                  <a:lnTo>
                    <a:pt x="839" y="10"/>
                  </a:lnTo>
                  <a:lnTo>
                    <a:pt x="839" y="8"/>
                  </a:lnTo>
                  <a:lnTo>
                    <a:pt x="841" y="10"/>
                  </a:lnTo>
                  <a:lnTo>
                    <a:pt x="849" y="12"/>
                  </a:lnTo>
                  <a:lnTo>
                    <a:pt x="849" y="12"/>
                  </a:lnTo>
                  <a:lnTo>
                    <a:pt x="851" y="12"/>
                  </a:lnTo>
                  <a:lnTo>
                    <a:pt x="851" y="12"/>
                  </a:lnTo>
                  <a:lnTo>
                    <a:pt x="851" y="12"/>
                  </a:lnTo>
                  <a:lnTo>
                    <a:pt x="853" y="12"/>
                  </a:lnTo>
                  <a:lnTo>
                    <a:pt x="853" y="12"/>
                  </a:lnTo>
                  <a:lnTo>
                    <a:pt x="853" y="12"/>
                  </a:lnTo>
                  <a:lnTo>
                    <a:pt x="853" y="12"/>
                  </a:lnTo>
                  <a:lnTo>
                    <a:pt x="857" y="14"/>
                  </a:lnTo>
                  <a:lnTo>
                    <a:pt x="857" y="14"/>
                  </a:lnTo>
                  <a:lnTo>
                    <a:pt x="859" y="14"/>
                  </a:lnTo>
                  <a:lnTo>
                    <a:pt x="859" y="14"/>
                  </a:lnTo>
                  <a:lnTo>
                    <a:pt x="859" y="14"/>
                  </a:lnTo>
                  <a:lnTo>
                    <a:pt x="857" y="14"/>
                  </a:lnTo>
                  <a:lnTo>
                    <a:pt x="857" y="14"/>
                  </a:lnTo>
                  <a:lnTo>
                    <a:pt x="857" y="14"/>
                  </a:lnTo>
                  <a:lnTo>
                    <a:pt x="857" y="16"/>
                  </a:lnTo>
                  <a:lnTo>
                    <a:pt x="857" y="16"/>
                  </a:lnTo>
                  <a:lnTo>
                    <a:pt x="859" y="16"/>
                  </a:lnTo>
                  <a:lnTo>
                    <a:pt x="859" y="16"/>
                  </a:lnTo>
                  <a:lnTo>
                    <a:pt x="859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1" y="16"/>
                  </a:lnTo>
                  <a:lnTo>
                    <a:pt x="865" y="18"/>
                  </a:lnTo>
                  <a:lnTo>
                    <a:pt x="865" y="18"/>
                  </a:lnTo>
                  <a:lnTo>
                    <a:pt x="865" y="18"/>
                  </a:lnTo>
                  <a:lnTo>
                    <a:pt x="865" y="18"/>
                  </a:lnTo>
                  <a:lnTo>
                    <a:pt x="867" y="18"/>
                  </a:lnTo>
                  <a:lnTo>
                    <a:pt x="867" y="18"/>
                  </a:lnTo>
                  <a:lnTo>
                    <a:pt x="867" y="18"/>
                  </a:lnTo>
                  <a:lnTo>
                    <a:pt x="867" y="18"/>
                  </a:lnTo>
                  <a:lnTo>
                    <a:pt x="867" y="18"/>
                  </a:lnTo>
                  <a:lnTo>
                    <a:pt x="867" y="18"/>
                  </a:lnTo>
                  <a:lnTo>
                    <a:pt x="867" y="20"/>
                  </a:lnTo>
                  <a:lnTo>
                    <a:pt x="867" y="20"/>
                  </a:lnTo>
                  <a:lnTo>
                    <a:pt x="867" y="20"/>
                  </a:lnTo>
                  <a:lnTo>
                    <a:pt x="867" y="20"/>
                  </a:lnTo>
                  <a:lnTo>
                    <a:pt x="867" y="20"/>
                  </a:lnTo>
                  <a:lnTo>
                    <a:pt x="867" y="20"/>
                  </a:lnTo>
                  <a:lnTo>
                    <a:pt x="867" y="20"/>
                  </a:lnTo>
                  <a:lnTo>
                    <a:pt x="867" y="22"/>
                  </a:lnTo>
                  <a:lnTo>
                    <a:pt x="867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69" y="22"/>
                  </a:lnTo>
                  <a:lnTo>
                    <a:pt x="873" y="22"/>
                  </a:lnTo>
                  <a:lnTo>
                    <a:pt x="875" y="22"/>
                  </a:lnTo>
                  <a:lnTo>
                    <a:pt x="875" y="26"/>
                  </a:lnTo>
                  <a:lnTo>
                    <a:pt x="875" y="26"/>
                  </a:lnTo>
                  <a:lnTo>
                    <a:pt x="875" y="26"/>
                  </a:lnTo>
                  <a:lnTo>
                    <a:pt x="875" y="26"/>
                  </a:lnTo>
                  <a:lnTo>
                    <a:pt x="875" y="26"/>
                  </a:lnTo>
                  <a:lnTo>
                    <a:pt x="877" y="26"/>
                  </a:lnTo>
                  <a:lnTo>
                    <a:pt x="877" y="26"/>
                  </a:lnTo>
                  <a:lnTo>
                    <a:pt x="877" y="26"/>
                  </a:lnTo>
                  <a:lnTo>
                    <a:pt x="877" y="26"/>
                  </a:lnTo>
                  <a:lnTo>
                    <a:pt x="879" y="28"/>
                  </a:lnTo>
                  <a:lnTo>
                    <a:pt x="879" y="28"/>
                  </a:lnTo>
                  <a:lnTo>
                    <a:pt x="879" y="28"/>
                  </a:lnTo>
                  <a:lnTo>
                    <a:pt x="879" y="30"/>
                  </a:lnTo>
                  <a:lnTo>
                    <a:pt x="883" y="30"/>
                  </a:lnTo>
                  <a:lnTo>
                    <a:pt x="883" y="30"/>
                  </a:lnTo>
                  <a:lnTo>
                    <a:pt x="885" y="30"/>
                  </a:lnTo>
                  <a:lnTo>
                    <a:pt x="883" y="30"/>
                  </a:lnTo>
                  <a:lnTo>
                    <a:pt x="883" y="30"/>
                  </a:lnTo>
                  <a:lnTo>
                    <a:pt x="883" y="32"/>
                  </a:lnTo>
                  <a:lnTo>
                    <a:pt x="883" y="32"/>
                  </a:lnTo>
                  <a:lnTo>
                    <a:pt x="883" y="32"/>
                  </a:lnTo>
                  <a:lnTo>
                    <a:pt x="883" y="32"/>
                  </a:lnTo>
                  <a:lnTo>
                    <a:pt x="885" y="32"/>
                  </a:lnTo>
                  <a:lnTo>
                    <a:pt x="887" y="32"/>
                  </a:lnTo>
                  <a:lnTo>
                    <a:pt x="887" y="32"/>
                  </a:lnTo>
                  <a:lnTo>
                    <a:pt x="889" y="32"/>
                  </a:lnTo>
                  <a:lnTo>
                    <a:pt x="889" y="36"/>
                  </a:lnTo>
                  <a:lnTo>
                    <a:pt x="889" y="36"/>
                  </a:lnTo>
                  <a:lnTo>
                    <a:pt x="889" y="36"/>
                  </a:lnTo>
                  <a:lnTo>
                    <a:pt x="889" y="36"/>
                  </a:lnTo>
                  <a:lnTo>
                    <a:pt x="889" y="36"/>
                  </a:lnTo>
                  <a:lnTo>
                    <a:pt x="889" y="36"/>
                  </a:lnTo>
                  <a:lnTo>
                    <a:pt x="889" y="38"/>
                  </a:lnTo>
                  <a:lnTo>
                    <a:pt x="889" y="38"/>
                  </a:lnTo>
                  <a:lnTo>
                    <a:pt x="889" y="38"/>
                  </a:lnTo>
                  <a:lnTo>
                    <a:pt x="897" y="42"/>
                  </a:lnTo>
                  <a:lnTo>
                    <a:pt x="897" y="42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899" y="44"/>
                  </a:lnTo>
                  <a:lnTo>
                    <a:pt x="901" y="44"/>
                  </a:lnTo>
                  <a:lnTo>
                    <a:pt x="901" y="44"/>
                  </a:lnTo>
                  <a:lnTo>
                    <a:pt x="901" y="48"/>
                  </a:lnTo>
                  <a:lnTo>
                    <a:pt x="901" y="48"/>
                  </a:lnTo>
                  <a:lnTo>
                    <a:pt x="901" y="48"/>
                  </a:lnTo>
                  <a:lnTo>
                    <a:pt x="901" y="48"/>
                  </a:lnTo>
                  <a:lnTo>
                    <a:pt x="903" y="48"/>
                  </a:lnTo>
                  <a:lnTo>
                    <a:pt x="903" y="48"/>
                  </a:lnTo>
                  <a:lnTo>
                    <a:pt x="905" y="50"/>
                  </a:lnTo>
                  <a:lnTo>
                    <a:pt x="905" y="50"/>
                  </a:lnTo>
                  <a:lnTo>
                    <a:pt x="905" y="50"/>
                  </a:lnTo>
                  <a:lnTo>
                    <a:pt x="905" y="50"/>
                  </a:lnTo>
                  <a:lnTo>
                    <a:pt x="905" y="52"/>
                  </a:lnTo>
                  <a:lnTo>
                    <a:pt x="905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2"/>
                  </a:lnTo>
                  <a:lnTo>
                    <a:pt x="907" y="54"/>
                  </a:lnTo>
                  <a:lnTo>
                    <a:pt x="907" y="54"/>
                  </a:lnTo>
                  <a:lnTo>
                    <a:pt x="907" y="54"/>
                  </a:lnTo>
                  <a:lnTo>
                    <a:pt x="907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07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4"/>
                  </a:lnTo>
                  <a:lnTo>
                    <a:pt x="911" y="56"/>
                  </a:lnTo>
                  <a:lnTo>
                    <a:pt x="911" y="56"/>
                  </a:lnTo>
                  <a:lnTo>
                    <a:pt x="911" y="56"/>
                  </a:lnTo>
                  <a:lnTo>
                    <a:pt x="911" y="56"/>
                  </a:lnTo>
                  <a:lnTo>
                    <a:pt x="913" y="56"/>
                  </a:lnTo>
                  <a:lnTo>
                    <a:pt x="913" y="56"/>
                  </a:lnTo>
                  <a:lnTo>
                    <a:pt x="913" y="58"/>
                  </a:lnTo>
                  <a:lnTo>
                    <a:pt x="913" y="58"/>
                  </a:lnTo>
                  <a:lnTo>
                    <a:pt x="915" y="58"/>
                  </a:lnTo>
                  <a:lnTo>
                    <a:pt x="915" y="58"/>
                  </a:lnTo>
                  <a:lnTo>
                    <a:pt x="915" y="60"/>
                  </a:lnTo>
                  <a:lnTo>
                    <a:pt x="917" y="60"/>
                  </a:lnTo>
                  <a:lnTo>
                    <a:pt x="917" y="60"/>
                  </a:lnTo>
                  <a:lnTo>
                    <a:pt x="921" y="64"/>
                  </a:lnTo>
                  <a:lnTo>
                    <a:pt x="923" y="64"/>
                  </a:lnTo>
                  <a:lnTo>
                    <a:pt x="925" y="66"/>
                  </a:lnTo>
                  <a:lnTo>
                    <a:pt x="925" y="66"/>
                  </a:lnTo>
                  <a:lnTo>
                    <a:pt x="927" y="66"/>
                  </a:lnTo>
                  <a:lnTo>
                    <a:pt x="927" y="66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7" y="68"/>
                  </a:lnTo>
                  <a:lnTo>
                    <a:pt x="929" y="68"/>
                  </a:lnTo>
                  <a:lnTo>
                    <a:pt x="929" y="70"/>
                  </a:lnTo>
                  <a:lnTo>
                    <a:pt x="929" y="70"/>
                  </a:lnTo>
                  <a:lnTo>
                    <a:pt x="931" y="70"/>
                  </a:lnTo>
                  <a:lnTo>
                    <a:pt x="931" y="70"/>
                  </a:lnTo>
                  <a:lnTo>
                    <a:pt x="931" y="70"/>
                  </a:lnTo>
                  <a:lnTo>
                    <a:pt x="931" y="74"/>
                  </a:lnTo>
                  <a:lnTo>
                    <a:pt x="931" y="74"/>
                  </a:lnTo>
                  <a:lnTo>
                    <a:pt x="931" y="74"/>
                  </a:lnTo>
                  <a:lnTo>
                    <a:pt x="931" y="74"/>
                  </a:lnTo>
                  <a:lnTo>
                    <a:pt x="931" y="74"/>
                  </a:lnTo>
                  <a:lnTo>
                    <a:pt x="931" y="74"/>
                  </a:lnTo>
                  <a:lnTo>
                    <a:pt x="931" y="74"/>
                  </a:lnTo>
                  <a:lnTo>
                    <a:pt x="933" y="76"/>
                  </a:lnTo>
                  <a:lnTo>
                    <a:pt x="933" y="76"/>
                  </a:lnTo>
                  <a:lnTo>
                    <a:pt x="933" y="76"/>
                  </a:lnTo>
                  <a:lnTo>
                    <a:pt x="933" y="76"/>
                  </a:lnTo>
                  <a:lnTo>
                    <a:pt x="933" y="76"/>
                  </a:lnTo>
                  <a:lnTo>
                    <a:pt x="933" y="76"/>
                  </a:lnTo>
                  <a:lnTo>
                    <a:pt x="933" y="76"/>
                  </a:lnTo>
                  <a:lnTo>
                    <a:pt x="933" y="78"/>
                  </a:lnTo>
                  <a:lnTo>
                    <a:pt x="933" y="78"/>
                  </a:lnTo>
                  <a:lnTo>
                    <a:pt x="937" y="78"/>
                  </a:lnTo>
                  <a:lnTo>
                    <a:pt x="937" y="78"/>
                  </a:lnTo>
                  <a:lnTo>
                    <a:pt x="941" y="80"/>
                  </a:lnTo>
                  <a:lnTo>
                    <a:pt x="941" y="80"/>
                  </a:lnTo>
                  <a:lnTo>
                    <a:pt x="943" y="80"/>
                  </a:lnTo>
                  <a:lnTo>
                    <a:pt x="943" y="80"/>
                  </a:lnTo>
                  <a:lnTo>
                    <a:pt x="943" y="82"/>
                  </a:lnTo>
                  <a:lnTo>
                    <a:pt x="943" y="82"/>
                  </a:lnTo>
                  <a:lnTo>
                    <a:pt x="943" y="82"/>
                  </a:lnTo>
                  <a:lnTo>
                    <a:pt x="943" y="84"/>
                  </a:lnTo>
                  <a:lnTo>
                    <a:pt x="943" y="84"/>
                  </a:lnTo>
                  <a:lnTo>
                    <a:pt x="945" y="88"/>
                  </a:lnTo>
                  <a:lnTo>
                    <a:pt x="945" y="88"/>
                  </a:lnTo>
                  <a:lnTo>
                    <a:pt x="945" y="88"/>
                  </a:lnTo>
                  <a:lnTo>
                    <a:pt x="945" y="88"/>
                  </a:lnTo>
                  <a:lnTo>
                    <a:pt x="945" y="88"/>
                  </a:lnTo>
                  <a:lnTo>
                    <a:pt x="945" y="90"/>
                  </a:lnTo>
                  <a:lnTo>
                    <a:pt x="945" y="90"/>
                  </a:lnTo>
                  <a:lnTo>
                    <a:pt x="949" y="90"/>
                  </a:lnTo>
                  <a:lnTo>
                    <a:pt x="951" y="92"/>
                  </a:lnTo>
                  <a:lnTo>
                    <a:pt x="951" y="92"/>
                  </a:lnTo>
                  <a:lnTo>
                    <a:pt x="953" y="92"/>
                  </a:lnTo>
                  <a:lnTo>
                    <a:pt x="953" y="92"/>
                  </a:lnTo>
                  <a:lnTo>
                    <a:pt x="953" y="92"/>
                  </a:lnTo>
                  <a:lnTo>
                    <a:pt x="953" y="94"/>
                  </a:lnTo>
                  <a:lnTo>
                    <a:pt x="953" y="94"/>
                  </a:lnTo>
                  <a:lnTo>
                    <a:pt x="955" y="94"/>
                  </a:lnTo>
                  <a:lnTo>
                    <a:pt x="955" y="94"/>
                  </a:lnTo>
                  <a:lnTo>
                    <a:pt x="955" y="94"/>
                  </a:lnTo>
                  <a:lnTo>
                    <a:pt x="959" y="94"/>
                  </a:lnTo>
                  <a:lnTo>
                    <a:pt x="959" y="94"/>
                  </a:lnTo>
                  <a:lnTo>
                    <a:pt x="959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1" y="94"/>
                  </a:lnTo>
                  <a:lnTo>
                    <a:pt x="963" y="96"/>
                  </a:lnTo>
                  <a:lnTo>
                    <a:pt x="963" y="96"/>
                  </a:lnTo>
                  <a:lnTo>
                    <a:pt x="963" y="96"/>
                  </a:lnTo>
                  <a:lnTo>
                    <a:pt x="965" y="96"/>
                  </a:lnTo>
                  <a:lnTo>
                    <a:pt x="965" y="96"/>
                  </a:lnTo>
                  <a:lnTo>
                    <a:pt x="965" y="96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6"/>
                  </a:lnTo>
                  <a:lnTo>
                    <a:pt x="967" y="94"/>
                  </a:lnTo>
                  <a:lnTo>
                    <a:pt x="967" y="94"/>
                  </a:lnTo>
                  <a:lnTo>
                    <a:pt x="971" y="94"/>
                  </a:lnTo>
                  <a:lnTo>
                    <a:pt x="971" y="94"/>
                  </a:lnTo>
                  <a:lnTo>
                    <a:pt x="971" y="94"/>
                  </a:lnTo>
                  <a:lnTo>
                    <a:pt x="971" y="94"/>
                  </a:lnTo>
                  <a:lnTo>
                    <a:pt x="971" y="94"/>
                  </a:lnTo>
                  <a:lnTo>
                    <a:pt x="973" y="94"/>
                  </a:lnTo>
                  <a:lnTo>
                    <a:pt x="973" y="94"/>
                  </a:lnTo>
                  <a:lnTo>
                    <a:pt x="973" y="94"/>
                  </a:lnTo>
                  <a:lnTo>
                    <a:pt x="977" y="94"/>
                  </a:lnTo>
                  <a:lnTo>
                    <a:pt x="977" y="94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6"/>
                  </a:lnTo>
                  <a:lnTo>
                    <a:pt x="977" y="98"/>
                  </a:lnTo>
                  <a:lnTo>
                    <a:pt x="977" y="98"/>
                  </a:lnTo>
                  <a:lnTo>
                    <a:pt x="979" y="98"/>
                  </a:lnTo>
                  <a:lnTo>
                    <a:pt x="979" y="96"/>
                  </a:lnTo>
                  <a:lnTo>
                    <a:pt x="979" y="96"/>
                  </a:lnTo>
                  <a:lnTo>
                    <a:pt x="979" y="98"/>
                  </a:lnTo>
                  <a:lnTo>
                    <a:pt x="981" y="98"/>
                  </a:lnTo>
                  <a:lnTo>
                    <a:pt x="981" y="98"/>
                  </a:lnTo>
                  <a:lnTo>
                    <a:pt x="983" y="98"/>
                  </a:lnTo>
                  <a:lnTo>
                    <a:pt x="983" y="102"/>
                  </a:lnTo>
                  <a:lnTo>
                    <a:pt x="983" y="102"/>
                  </a:lnTo>
                  <a:lnTo>
                    <a:pt x="987" y="102"/>
                  </a:lnTo>
                  <a:lnTo>
                    <a:pt x="987" y="102"/>
                  </a:lnTo>
                  <a:lnTo>
                    <a:pt x="987" y="102"/>
                  </a:lnTo>
                  <a:lnTo>
                    <a:pt x="987" y="98"/>
                  </a:lnTo>
                  <a:lnTo>
                    <a:pt x="987" y="98"/>
                  </a:lnTo>
                  <a:lnTo>
                    <a:pt x="987" y="98"/>
                  </a:lnTo>
                  <a:lnTo>
                    <a:pt x="989" y="98"/>
                  </a:lnTo>
                  <a:lnTo>
                    <a:pt x="989" y="102"/>
                  </a:lnTo>
                  <a:lnTo>
                    <a:pt x="991" y="102"/>
                  </a:lnTo>
                  <a:lnTo>
                    <a:pt x="991" y="102"/>
                  </a:lnTo>
                  <a:lnTo>
                    <a:pt x="991" y="102"/>
                  </a:lnTo>
                  <a:lnTo>
                    <a:pt x="991" y="102"/>
                  </a:lnTo>
                  <a:lnTo>
                    <a:pt x="991" y="98"/>
                  </a:lnTo>
                  <a:lnTo>
                    <a:pt x="991" y="98"/>
                  </a:lnTo>
                  <a:lnTo>
                    <a:pt x="991" y="98"/>
                  </a:lnTo>
                  <a:lnTo>
                    <a:pt x="991" y="98"/>
                  </a:lnTo>
                  <a:lnTo>
                    <a:pt x="991" y="98"/>
                  </a:lnTo>
                  <a:lnTo>
                    <a:pt x="993" y="98"/>
                  </a:lnTo>
                  <a:lnTo>
                    <a:pt x="993" y="98"/>
                  </a:lnTo>
                  <a:lnTo>
                    <a:pt x="993" y="98"/>
                  </a:lnTo>
                  <a:lnTo>
                    <a:pt x="993" y="102"/>
                  </a:lnTo>
                  <a:lnTo>
                    <a:pt x="997" y="102"/>
                  </a:lnTo>
                  <a:lnTo>
                    <a:pt x="997" y="102"/>
                  </a:lnTo>
                  <a:lnTo>
                    <a:pt x="997" y="102"/>
                  </a:lnTo>
                  <a:lnTo>
                    <a:pt x="997" y="104"/>
                  </a:lnTo>
                  <a:lnTo>
                    <a:pt x="999" y="104"/>
                  </a:lnTo>
                  <a:lnTo>
                    <a:pt x="999" y="104"/>
                  </a:lnTo>
                  <a:lnTo>
                    <a:pt x="999" y="104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1" y="104"/>
                  </a:lnTo>
                  <a:lnTo>
                    <a:pt x="1003" y="106"/>
                  </a:lnTo>
                  <a:lnTo>
                    <a:pt x="1003" y="106"/>
                  </a:lnTo>
                  <a:lnTo>
                    <a:pt x="1003" y="106"/>
                  </a:lnTo>
                  <a:lnTo>
                    <a:pt x="1003" y="106"/>
                  </a:lnTo>
                  <a:lnTo>
                    <a:pt x="1005" y="106"/>
                  </a:lnTo>
                  <a:lnTo>
                    <a:pt x="1005" y="106"/>
                  </a:lnTo>
                  <a:lnTo>
                    <a:pt x="1005" y="106"/>
                  </a:lnTo>
                  <a:lnTo>
                    <a:pt x="1005" y="108"/>
                  </a:lnTo>
                  <a:lnTo>
                    <a:pt x="1005" y="108"/>
                  </a:lnTo>
                  <a:lnTo>
                    <a:pt x="1007" y="108"/>
                  </a:lnTo>
                  <a:lnTo>
                    <a:pt x="1007" y="108"/>
                  </a:lnTo>
                  <a:lnTo>
                    <a:pt x="1007" y="108"/>
                  </a:lnTo>
                  <a:lnTo>
                    <a:pt x="1009" y="108"/>
                  </a:lnTo>
                  <a:lnTo>
                    <a:pt x="1009" y="112"/>
                  </a:lnTo>
                  <a:lnTo>
                    <a:pt x="1014" y="114"/>
                  </a:lnTo>
                  <a:lnTo>
                    <a:pt x="1018" y="114"/>
                  </a:lnTo>
                  <a:lnTo>
                    <a:pt x="1018" y="114"/>
                  </a:lnTo>
                  <a:lnTo>
                    <a:pt x="1018" y="114"/>
                  </a:lnTo>
                  <a:lnTo>
                    <a:pt x="1020" y="112"/>
                  </a:lnTo>
                  <a:lnTo>
                    <a:pt x="1020" y="112"/>
                  </a:lnTo>
                  <a:lnTo>
                    <a:pt x="1020" y="114"/>
                  </a:lnTo>
                  <a:lnTo>
                    <a:pt x="1020" y="114"/>
                  </a:lnTo>
                  <a:lnTo>
                    <a:pt x="1022" y="114"/>
                  </a:lnTo>
                  <a:lnTo>
                    <a:pt x="1022" y="114"/>
                  </a:lnTo>
                  <a:lnTo>
                    <a:pt x="1022" y="114"/>
                  </a:lnTo>
                  <a:lnTo>
                    <a:pt x="1022" y="114"/>
                  </a:lnTo>
                  <a:lnTo>
                    <a:pt x="1024" y="114"/>
                  </a:lnTo>
                  <a:lnTo>
                    <a:pt x="1024" y="114"/>
                  </a:lnTo>
                  <a:lnTo>
                    <a:pt x="1024" y="114"/>
                  </a:lnTo>
                  <a:lnTo>
                    <a:pt x="1024" y="114"/>
                  </a:lnTo>
                  <a:lnTo>
                    <a:pt x="1024" y="114"/>
                  </a:lnTo>
                  <a:lnTo>
                    <a:pt x="1024" y="114"/>
                  </a:lnTo>
                  <a:lnTo>
                    <a:pt x="1028" y="118"/>
                  </a:lnTo>
                  <a:lnTo>
                    <a:pt x="1028" y="118"/>
                  </a:lnTo>
                  <a:lnTo>
                    <a:pt x="1028" y="120"/>
                  </a:lnTo>
                  <a:lnTo>
                    <a:pt x="1028" y="120"/>
                  </a:lnTo>
                  <a:lnTo>
                    <a:pt x="1028" y="120"/>
                  </a:lnTo>
                  <a:lnTo>
                    <a:pt x="1030" y="120"/>
                  </a:lnTo>
                  <a:lnTo>
                    <a:pt x="1030" y="120"/>
                  </a:lnTo>
                  <a:lnTo>
                    <a:pt x="1030" y="120"/>
                  </a:lnTo>
                  <a:lnTo>
                    <a:pt x="1030" y="120"/>
                  </a:lnTo>
                  <a:lnTo>
                    <a:pt x="1030" y="120"/>
                  </a:lnTo>
                  <a:lnTo>
                    <a:pt x="1030" y="120"/>
                  </a:lnTo>
                  <a:lnTo>
                    <a:pt x="1030" y="122"/>
                  </a:lnTo>
                  <a:lnTo>
                    <a:pt x="1030" y="122"/>
                  </a:lnTo>
                  <a:lnTo>
                    <a:pt x="1032" y="122"/>
                  </a:lnTo>
                  <a:lnTo>
                    <a:pt x="1032" y="122"/>
                  </a:lnTo>
                  <a:lnTo>
                    <a:pt x="1032" y="122"/>
                  </a:lnTo>
                  <a:lnTo>
                    <a:pt x="1032" y="122"/>
                  </a:lnTo>
                  <a:lnTo>
                    <a:pt x="1034" y="122"/>
                  </a:lnTo>
                  <a:lnTo>
                    <a:pt x="1034" y="122"/>
                  </a:lnTo>
                  <a:lnTo>
                    <a:pt x="1034" y="122"/>
                  </a:lnTo>
                  <a:lnTo>
                    <a:pt x="1034" y="122"/>
                  </a:lnTo>
                  <a:lnTo>
                    <a:pt x="1034" y="124"/>
                  </a:lnTo>
                  <a:lnTo>
                    <a:pt x="1034" y="124"/>
                  </a:lnTo>
                  <a:lnTo>
                    <a:pt x="1038" y="124"/>
                  </a:lnTo>
                  <a:lnTo>
                    <a:pt x="1038" y="124"/>
                  </a:lnTo>
                  <a:lnTo>
                    <a:pt x="1038" y="124"/>
                  </a:lnTo>
                  <a:lnTo>
                    <a:pt x="1038" y="124"/>
                  </a:lnTo>
                  <a:lnTo>
                    <a:pt x="1038" y="124"/>
                  </a:lnTo>
                  <a:lnTo>
                    <a:pt x="1038" y="124"/>
                  </a:lnTo>
                  <a:lnTo>
                    <a:pt x="1038" y="128"/>
                  </a:lnTo>
                  <a:lnTo>
                    <a:pt x="1038" y="128"/>
                  </a:lnTo>
                  <a:lnTo>
                    <a:pt x="1038" y="128"/>
                  </a:lnTo>
                  <a:lnTo>
                    <a:pt x="1038" y="128"/>
                  </a:lnTo>
                  <a:lnTo>
                    <a:pt x="1038" y="128"/>
                  </a:lnTo>
                  <a:lnTo>
                    <a:pt x="1040" y="130"/>
                  </a:lnTo>
                  <a:lnTo>
                    <a:pt x="1038" y="130"/>
                  </a:lnTo>
                  <a:lnTo>
                    <a:pt x="1038" y="130"/>
                  </a:lnTo>
                  <a:lnTo>
                    <a:pt x="1038" y="130"/>
                  </a:lnTo>
                  <a:lnTo>
                    <a:pt x="1038" y="130"/>
                  </a:lnTo>
                  <a:lnTo>
                    <a:pt x="1038" y="130"/>
                  </a:lnTo>
                  <a:lnTo>
                    <a:pt x="1038" y="132"/>
                  </a:lnTo>
                  <a:lnTo>
                    <a:pt x="1040" y="132"/>
                  </a:lnTo>
                  <a:lnTo>
                    <a:pt x="1040" y="132"/>
                  </a:lnTo>
                  <a:lnTo>
                    <a:pt x="1040" y="132"/>
                  </a:lnTo>
                  <a:lnTo>
                    <a:pt x="1044" y="134"/>
                  </a:lnTo>
                  <a:lnTo>
                    <a:pt x="1046" y="136"/>
                  </a:lnTo>
                  <a:lnTo>
                    <a:pt x="1048" y="140"/>
                  </a:lnTo>
                  <a:lnTo>
                    <a:pt x="1048" y="140"/>
                  </a:lnTo>
                  <a:lnTo>
                    <a:pt x="1048" y="140"/>
                  </a:lnTo>
                  <a:lnTo>
                    <a:pt x="1048" y="142"/>
                  </a:lnTo>
                  <a:lnTo>
                    <a:pt x="1050" y="142"/>
                  </a:lnTo>
                  <a:lnTo>
                    <a:pt x="1050" y="142"/>
                  </a:lnTo>
                  <a:lnTo>
                    <a:pt x="1050" y="142"/>
                  </a:lnTo>
                  <a:lnTo>
                    <a:pt x="1050" y="142"/>
                  </a:lnTo>
                  <a:lnTo>
                    <a:pt x="1052" y="142"/>
                  </a:lnTo>
                  <a:lnTo>
                    <a:pt x="1052" y="142"/>
                  </a:lnTo>
                  <a:lnTo>
                    <a:pt x="1052" y="142"/>
                  </a:lnTo>
                  <a:lnTo>
                    <a:pt x="1052" y="142"/>
                  </a:lnTo>
                  <a:lnTo>
                    <a:pt x="1056" y="142"/>
                  </a:lnTo>
                  <a:lnTo>
                    <a:pt x="1058" y="140"/>
                  </a:lnTo>
                  <a:lnTo>
                    <a:pt x="1058" y="140"/>
                  </a:lnTo>
                  <a:lnTo>
                    <a:pt x="1060" y="140"/>
                  </a:lnTo>
                  <a:lnTo>
                    <a:pt x="1060" y="142"/>
                  </a:lnTo>
                  <a:lnTo>
                    <a:pt x="1060" y="142"/>
                  </a:lnTo>
                  <a:lnTo>
                    <a:pt x="1062" y="142"/>
                  </a:lnTo>
                  <a:lnTo>
                    <a:pt x="1062" y="142"/>
                  </a:lnTo>
                  <a:lnTo>
                    <a:pt x="1062" y="142"/>
                  </a:lnTo>
                  <a:lnTo>
                    <a:pt x="1062" y="142"/>
                  </a:lnTo>
                  <a:lnTo>
                    <a:pt x="1062" y="142"/>
                  </a:lnTo>
                  <a:lnTo>
                    <a:pt x="1062" y="142"/>
                  </a:lnTo>
                  <a:lnTo>
                    <a:pt x="1062" y="142"/>
                  </a:lnTo>
                  <a:lnTo>
                    <a:pt x="1066" y="142"/>
                  </a:lnTo>
                  <a:lnTo>
                    <a:pt x="1066" y="142"/>
                  </a:lnTo>
                  <a:lnTo>
                    <a:pt x="1068" y="142"/>
                  </a:lnTo>
                  <a:lnTo>
                    <a:pt x="1068" y="142"/>
                  </a:lnTo>
                  <a:lnTo>
                    <a:pt x="1068" y="142"/>
                  </a:lnTo>
                  <a:lnTo>
                    <a:pt x="1068" y="142"/>
                  </a:lnTo>
                  <a:lnTo>
                    <a:pt x="1068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0" y="142"/>
                  </a:lnTo>
                  <a:lnTo>
                    <a:pt x="1072" y="142"/>
                  </a:lnTo>
                  <a:lnTo>
                    <a:pt x="1072" y="142"/>
                  </a:lnTo>
                  <a:lnTo>
                    <a:pt x="1074" y="142"/>
                  </a:lnTo>
                  <a:lnTo>
                    <a:pt x="1074" y="142"/>
                  </a:lnTo>
                  <a:lnTo>
                    <a:pt x="1074" y="142"/>
                  </a:lnTo>
                  <a:lnTo>
                    <a:pt x="1074" y="142"/>
                  </a:lnTo>
                  <a:lnTo>
                    <a:pt x="1074" y="140"/>
                  </a:lnTo>
                  <a:lnTo>
                    <a:pt x="1078" y="140"/>
                  </a:lnTo>
                  <a:lnTo>
                    <a:pt x="1078" y="140"/>
                  </a:lnTo>
                  <a:lnTo>
                    <a:pt x="1078" y="140"/>
                  </a:lnTo>
                  <a:lnTo>
                    <a:pt x="1080" y="142"/>
                  </a:lnTo>
                  <a:lnTo>
                    <a:pt x="1080" y="142"/>
                  </a:lnTo>
                  <a:lnTo>
                    <a:pt x="1080" y="142"/>
                  </a:lnTo>
                  <a:lnTo>
                    <a:pt x="1082" y="142"/>
                  </a:lnTo>
                  <a:lnTo>
                    <a:pt x="1082" y="142"/>
                  </a:lnTo>
                  <a:lnTo>
                    <a:pt x="1082" y="142"/>
                  </a:lnTo>
                  <a:lnTo>
                    <a:pt x="1082" y="140"/>
                  </a:lnTo>
                  <a:lnTo>
                    <a:pt x="1082" y="140"/>
                  </a:lnTo>
                  <a:lnTo>
                    <a:pt x="1082" y="140"/>
                  </a:lnTo>
                  <a:lnTo>
                    <a:pt x="1082" y="140"/>
                  </a:lnTo>
                  <a:lnTo>
                    <a:pt x="1080" y="140"/>
                  </a:lnTo>
                  <a:lnTo>
                    <a:pt x="1080" y="140"/>
                  </a:lnTo>
                  <a:lnTo>
                    <a:pt x="1080" y="140"/>
                  </a:lnTo>
                  <a:lnTo>
                    <a:pt x="1080" y="140"/>
                  </a:lnTo>
                  <a:lnTo>
                    <a:pt x="1080" y="136"/>
                  </a:lnTo>
                  <a:lnTo>
                    <a:pt x="1080" y="136"/>
                  </a:lnTo>
                  <a:lnTo>
                    <a:pt x="1080" y="136"/>
                  </a:lnTo>
                  <a:lnTo>
                    <a:pt x="1080" y="136"/>
                  </a:lnTo>
                  <a:lnTo>
                    <a:pt x="1080" y="136"/>
                  </a:lnTo>
                  <a:lnTo>
                    <a:pt x="1080" y="136"/>
                  </a:lnTo>
                  <a:lnTo>
                    <a:pt x="1080" y="136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0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2" y="134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4" y="132"/>
                  </a:lnTo>
                  <a:lnTo>
                    <a:pt x="1086" y="130"/>
                  </a:lnTo>
                  <a:lnTo>
                    <a:pt x="1086" y="130"/>
                  </a:lnTo>
                  <a:lnTo>
                    <a:pt x="1088" y="130"/>
                  </a:lnTo>
                  <a:lnTo>
                    <a:pt x="1088" y="132"/>
                  </a:lnTo>
                  <a:lnTo>
                    <a:pt x="1088" y="132"/>
                  </a:lnTo>
                  <a:lnTo>
                    <a:pt x="1088" y="132"/>
                  </a:lnTo>
                  <a:lnTo>
                    <a:pt x="1088" y="132"/>
                  </a:lnTo>
                  <a:lnTo>
                    <a:pt x="1090" y="132"/>
                  </a:lnTo>
                  <a:lnTo>
                    <a:pt x="1090" y="132"/>
                  </a:lnTo>
                  <a:lnTo>
                    <a:pt x="1090" y="132"/>
                  </a:lnTo>
                  <a:lnTo>
                    <a:pt x="1090" y="132"/>
                  </a:lnTo>
                  <a:lnTo>
                    <a:pt x="1094" y="132"/>
                  </a:lnTo>
                  <a:lnTo>
                    <a:pt x="1094" y="132"/>
                  </a:lnTo>
                  <a:lnTo>
                    <a:pt x="1094" y="132"/>
                  </a:lnTo>
                  <a:lnTo>
                    <a:pt x="1094" y="132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4" y="130"/>
                  </a:lnTo>
                  <a:lnTo>
                    <a:pt x="1096" y="130"/>
                  </a:lnTo>
                  <a:lnTo>
                    <a:pt x="1094" y="128"/>
                  </a:lnTo>
                  <a:lnTo>
                    <a:pt x="1096" y="128"/>
                  </a:lnTo>
                  <a:lnTo>
                    <a:pt x="1096" y="128"/>
                  </a:lnTo>
                  <a:lnTo>
                    <a:pt x="1096" y="128"/>
                  </a:lnTo>
                  <a:lnTo>
                    <a:pt x="1096" y="128"/>
                  </a:lnTo>
                  <a:lnTo>
                    <a:pt x="1096" y="128"/>
                  </a:lnTo>
                  <a:lnTo>
                    <a:pt x="1096" y="128"/>
                  </a:lnTo>
                  <a:lnTo>
                    <a:pt x="1098" y="128"/>
                  </a:lnTo>
                  <a:lnTo>
                    <a:pt x="1098" y="128"/>
                  </a:lnTo>
                  <a:lnTo>
                    <a:pt x="1098" y="128"/>
                  </a:lnTo>
                  <a:lnTo>
                    <a:pt x="1098" y="128"/>
                  </a:lnTo>
                  <a:lnTo>
                    <a:pt x="1098" y="124"/>
                  </a:lnTo>
                  <a:lnTo>
                    <a:pt x="1100" y="124"/>
                  </a:lnTo>
                  <a:lnTo>
                    <a:pt x="1100" y="124"/>
                  </a:lnTo>
                  <a:lnTo>
                    <a:pt x="1100" y="124"/>
                  </a:lnTo>
                  <a:lnTo>
                    <a:pt x="1104" y="124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10" y="124"/>
                  </a:lnTo>
                  <a:lnTo>
                    <a:pt x="1112" y="128"/>
                  </a:lnTo>
                  <a:lnTo>
                    <a:pt x="1112" y="128"/>
                  </a:lnTo>
                  <a:lnTo>
                    <a:pt x="1112" y="128"/>
                  </a:lnTo>
                  <a:lnTo>
                    <a:pt x="1114" y="128"/>
                  </a:lnTo>
                  <a:lnTo>
                    <a:pt x="1114" y="128"/>
                  </a:lnTo>
                  <a:lnTo>
                    <a:pt x="1114" y="128"/>
                  </a:lnTo>
                  <a:lnTo>
                    <a:pt x="1114" y="130"/>
                  </a:lnTo>
                  <a:lnTo>
                    <a:pt x="1114" y="132"/>
                  </a:lnTo>
                  <a:lnTo>
                    <a:pt x="1114" y="132"/>
                  </a:lnTo>
                  <a:lnTo>
                    <a:pt x="1114" y="132"/>
                  </a:lnTo>
                  <a:lnTo>
                    <a:pt x="1114" y="132"/>
                  </a:lnTo>
                  <a:lnTo>
                    <a:pt x="1114" y="134"/>
                  </a:lnTo>
                  <a:lnTo>
                    <a:pt x="1114" y="134"/>
                  </a:lnTo>
                  <a:lnTo>
                    <a:pt x="1118" y="134"/>
                  </a:lnTo>
                  <a:lnTo>
                    <a:pt x="1118" y="134"/>
                  </a:lnTo>
                  <a:lnTo>
                    <a:pt x="1118" y="136"/>
                  </a:lnTo>
                  <a:lnTo>
                    <a:pt x="1118" y="136"/>
                  </a:lnTo>
                  <a:lnTo>
                    <a:pt x="1120" y="136"/>
                  </a:lnTo>
                  <a:lnTo>
                    <a:pt x="1120" y="136"/>
                  </a:lnTo>
                  <a:lnTo>
                    <a:pt x="1120" y="136"/>
                  </a:lnTo>
                  <a:lnTo>
                    <a:pt x="1120" y="136"/>
                  </a:lnTo>
                  <a:lnTo>
                    <a:pt x="1120" y="140"/>
                  </a:lnTo>
                  <a:lnTo>
                    <a:pt x="1122" y="140"/>
                  </a:lnTo>
                  <a:lnTo>
                    <a:pt x="1124" y="140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6"/>
                  </a:lnTo>
                  <a:lnTo>
                    <a:pt x="1124" y="146"/>
                  </a:lnTo>
                  <a:lnTo>
                    <a:pt x="1124" y="146"/>
                  </a:lnTo>
                  <a:lnTo>
                    <a:pt x="1124" y="146"/>
                  </a:lnTo>
                  <a:lnTo>
                    <a:pt x="1124" y="146"/>
                  </a:lnTo>
                  <a:lnTo>
                    <a:pt x="1124" y="150"/>
                  </a:lnTo>
                  <a:lnTo>
                    <a:pt x="1124" y="150"/>
                  </a:lnTo>
                  <a:lnTo>
                    <a:pt x="1122" y="150"/>
                  </a:lnTo>
                  <a:lnTo>
                    <a:pt x="1122" y="146"/>
                  </a:lnTo>
                  <a:lnTo>
                    <a:pt x="1122" y="146"/>
                  </a:lnTo>
                  <a:lnTo>
                    <a:pt x="1122" y="150"/>
                  </a:lnTo>
                  <a:lnTo>
                    <a:pt x="1122" y="150"/>
                  </a:lnTo>
                  <a:lnTo>
                    <a:pt x="1122" y="150"/>
                  </a:lnTo>
                  <a:lnTo>
                    <a:pt x="1120" y="150"/>
                  </a:lnTo>
                  <a:lnTo>
                    <a:pt x="1120" y="150"/>
                  </a:lnTo>
                  <a:lnTo>
                    <a:pt x="1120" y="150"/>
                  </a:lnTo>
                  <a:lnTo>
                    <a:pt x="1120" y="150"/>
                  </a:lnTo>
                  <a:lnTo>
                    <a:pt x="1120" y="150"/>
                  </a:lnTo>
                  <a:lnTo>
                    <a:pt x="1120" y="150"/>
                  </a:lnTo>
                  <a:lnTo>
                    <a:pt x="1120" y="152"/>
                  </a:lnTo>
                  <a:lnTo>
                    <a:pt x="1120" y="152"/>
                  </a:lnTo>
                  <a:lnTo>
                    <a:pt x="1120" y="152"/>
                  </a:lnTo>
                  <a:lnTo>
                    <a:pt x="1120" y="152"/>
                  </a:lnTo>
                  <a:lnTo>
                    <a:pt x="1120" y="152"/>
                  </a:lnTo>
                  <a:lnTo>
                    <a:pt x="1120" y="152"/>
                  </a:lnTo>
                  <a:lnTo>
                    <a:pt x="1120" y="154"/>
                  </a:lnTo>
                  <a:lnTo>
                    <a:pt x="1120" y="154"/>
                  </a:lnTo>
                  <a:lnTo>
                    <a:pt x="1122" y="154"/>
                  </a:lnTo>
                  <a:lnTo>
                    <a:pt x="1122" y="154"/>
                  </a:lnTo>
                  <a:lnTo>
                    <a:pt x="1122" y="154"/>
                  </a:lnTo>
                  <a:lnTo>
                    <a:pt x="1122" y="154"/>
                  </a:lnTo>
                  <a:lnTo>
                    <a:pt x="1122" y="154"/>
                  </a:lnTo>
                  <a:lnTo>
                    <a:pt x="1122" y="154"/>
                  </a:lnTo>
                  <a:lnTo>
                    <a:pt x="1122" y="156"/>
                  </a:lnTo>
                  <a:lnTo>
                    <a:pt x="1124" y="156"/>
                  </a:lnTo>
                  <a:lnTo>
                    <a:pt x="1124" y="156"/>
                  </a:lnTo>
                  <a:lnTo>
                    <a:pt x="1124" y="156"/>
                  </a:lnTo>
                  <a:lnTo>
                    <a:pt x="1122" y="156"/>
                  </a:lnTo>
                  <a:lnTo>
                    <a:pt x="1122" y="156"/>
                  </a:lnTo>
                  <a:lnTo>
                    <a:pt x="1122" y="156"/>
                  </a:lnTo>
                  <a:lnTo>
                    <a:pt x="1122" y="158"/>
                  </a:lnTo>
                  <a:lnTo>
                    <a:pt x="1122" y="158"/>
                  </a:lnTo>
                  <a:lnTo>
                    <a:pt x="1122" y="158"/>
                  </a:lnTo>
                  <a:lnTo>
                    <a:pt x="1122" y="158"/>
                  </a:lnTo>
                  <a:lnTo>
                    <a:pt x="1122" y="158"/>
                  </a:lnTo>
                  <a:lnTo>
                    <a:pt x="1124" y="160"/>
                  </a:lnTo>
                  <a:lnTo>
                    <a:pt x="1124" y="160"/>
                  </a:lnTo>
                  <a:lnTo>
                    <a:pt x="1124" y="162"/>
                  </a:lnTo>
                  <a:lnTo>
                    <a:pt x="1124" y="162"/>
                  </a:lnTo>
                  <a:lnTo>
                    <a:pt x="1124" y="162"/>
                  </a:lnTo>
                  <a:lnTo>
                    <a:pt x="1124" y="162"/>
                  </a:lnTo>
                  <a:lnTo>
                    <a:pt x="1126" y="162"/>
                  </a:lnTo>
                  <a:lnTo>
                    <a:pt x="1126" y="164"/>
                  </a:lnTo>
                  <a:lnTo>
                    <a:pt x="1126" y="164"/>
                  </a:lnTo>
                  <a:lnTo>
                    <a:pt x="1126" y="164"/>
                  </a:lnTo>
                  <a:lnTo>
                    <a:pt x="1126" y="168"/>
                  </a:lnTo>
                  <a:lnTo>
                    <a:pt x="1126" y="168"/>
                  </a:lnTo>
                  <a:lnTo>
                    <a:pt x="1126" y="168"/>
                  </a:lnTo>
                  <a:lnTo>
                    <a:pt x="1126" y="168"/>
                  </a:lnTo>
                  <a:lnTo>
                    <a:pt x="1126" y="168"/>
                  </a:lnTo>
                  <a:lnTo>
                    <a:pt x="1126" y="170"/>
                  </a:lnTo>
                  <a:lnTo>
                    <a:pt x="1126" y="170"/>
                  </a:lnTo>
                  <a:lnTo>
                    <a:pt x="1126" y="170"/>
                  </a:lnTo>
                  <a:lnTo>
                    <a:pt x="1126" y="170"/>
                  </a:lnTo>
                  <a:lnTo>
                    <a:pt x="1126" y="170"/>
                  </a:lnTo>
                  <a:lnTo>
                    <a:pt x="1126" y="172"/>
                  </a:lnTo>
                  <a:lnTo>
                    <a:pt x="1126" y="172"/>
                  </a:lnTo>
                  <a:lnTo>
                    <a:pt x="1126" y="172"/>
                  </a:lnTo>
                  <a:lnTo>
                    <a:pt x="1126" y="172"/>
                  </a:lnTo>
                  <a:lnTo>
                    <a:pt x="1128" y="172"/>
                  </a:lnTo>
                  <a:lnTo>
                    <a:pt x="1128" y="172"/>
                  </a:lnTo>
                  <a:lnTo>
                    <a:pt x="1128" y="172"/>
                  </a:lnTo>
                  <a:lnTo>
                    <a:pt x="1128" y="172"/>
                  </a:lnTo>
                  <a:lnTo>
                    <a:pt x="1128" y="174"/>
                  </a:lnTo>
                  <a:lnTo>
                    <a:pt x="1128" y="174"/>
                  </a:lnTo>
                  <a:lnTo>
                    <a:pt x="1128" y="174"/>
                  </a:lnTo>
                  <a:lnTo>
                    <a:pt x="1128" y="174"/>
                  </a:lnTo>
                  <a:lnTo>
                    <a:pt x="1128" y="174"/>
                  </a:lnTo>
                  <a:lnTo>
                    <a:pt x="1128" y="174"/>
                  </a:lnTo>
                  <a:lnTo>
                    <a:pt x="1132" y="174"/>
                  </a:lnTo>
                  <a:lnTo>
                    <a:pt x="1132" y="174"/>
                  </a:lnTo>
                  <a:lnTo>
                    <a:pt x="1132" y="174"/>
                  </a:lnTo>
                  <a:lnTo>
                    <a:pt x="1132" y="174"/>
                  </a:lnTo>
                  <a:lnTo>
                    <a:pt x="1132" y="174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32" y="176"/>
                  </a:lnTo>
                  <a:lnTo>
                    <a:pt x="1128" y="176"/>
                  </a:lnTo>
                  <a:lnTo>
                    <a:pt x="1128" y="176"/>
                  </a:lnTo>
                  <a:lnTo>
                    <a:pt x="1128" y="176"/>
                  </a:lnTo>
                  <a:lnTo>
                    <a:pt x="1128" y="176"/>
                  </a:lnTo>
                  <a:lnTo>
                    <a:pt x="1128" y="176"/>
                  </a:lnTo>
                  <a:lnTo>
                    <a:pt x="1128" y="180"/>
                  </a:lnTo>
                  <a:lnTo>
                    <a:pt x="1128" y="180"/>
                  </a:lnTo>
                  <a:lnTo>
                    <a:pt x="1128" y="180"/>
                  </a:lnTo>
                  <a:lnTo>
                    <a:pt x="1128" y="180"/>
                  </a:lnTo>
                  <a:lnTo>
                    <a:pt x="1128" y="180"/>
                  </a:lnTo>
                  <a:lnTo>
                    <a:pt x="1128" y="180"/>
                  </a:lnTo>
                  <a:lnTo>
                    <a:pt x="1132" y="182"/>
                  </a:lnTo>
                  <a:lnTo>
                    <a:pt x="1132" y="182"/>
                  </a:lnTo>
                  <a:lnTo>
                    <a:pt x="1132" y="182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4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28" y="186"/>
                  </a:lnTo>
                  <a:lnTo>
                    <a:pt x="1128" y="186"/>
                  </a:lnTo>
                  <a:lnTo>
                    <a:pt x="1128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28" y="186"/>
                  </a:lnTo>
                  <a:lnTo>
                    <a:pt x="1128" y="186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90"/>
                  </a:lnTo>
                  <a:lnTo>
                    <a:pt x="1132" y="190"/>
                  </a:lnTo>
                  <a:lnTo>
                    <a:pt x="1132" y="190"/>
                  </a:lnTo>
                  <a:lnTo>
                    <a:pt x="1132" y="190"/>
                  </a:lnTo>
                  <a:lnTo>
                    <a:pt x="1132" y="190"/>
                  </a:lnTo>
                  <a:lnTo>
                    <a:pt x="1132" y="190"/>
                  </a:lnTo>
                  <a:lnTo>
                    <a:pt x="1132" y="192"/>
                  </a:lnTo>
                  <a:lnTo>
                    <a:pt x="1132" y="192"/>
                  </a:lnTo>
                  <a:lnTo>
                    <a:pt x="1134" y="192"/>
                  </a:lnTo>
                  <a:lnTo>
                    <a:pt x="1134" y="192"/>
                  </a:lnTo>
                  <a:lnTo>
                    <a:pt x="1132" y="192"/>
                  </a:lnTo>
                  <a:lnTo>
                    <a:pt x="1134" y="192"/>
                  </a:lnTo>
                  <a:lnTo>
                    <a:pt x="1134" y="192"/>
                  </a:lnTo>
                  <a:lnTo>
                    <a:pt x="1134" y="192"/>
                  </a:lnTo>
                  <a:lnTo>
                    <a:pt x="1134" y="192"/>
                  </a:lnTo>
                  <a:lnTo>
                    <a:pt x="1134" y="192"/>
                  </a:lnTo>
                  <a:lnTo>
                    <a:pt x="1132" y="192"/>
                  </a:lnTo>
                  <a:lnTo>
                    <a:pt x="1132" y="194"/>
                  </a:lnTo>
                  <a:lnTo>
                    <a:pt x="1134" y="194"/>
                  </a:lnTo>
                  <a:lnTo>
                    <a:pt x="1134" y="194"/>
                  </a:lnTo>
                  <a:lnTo>
                    <a:pt x="1132" y="194"/>
                  </a:lnTo>
                  <a:lnTo>
                    <a:pt x="1132" y="194"/>
                  </a:lnTo>
                  <a:lnTo>
                    <a:pt x="1132" y="194"/>
                  </a:lnTo>
                  <a:lnTo>
                    <a:pt x="1132" y="194"/>
                  </a:lnTo>
                  <a:lnTo>
                    <a:pt x="1132" y="194"/>
                  </a:lnTo>
                  <a:lnTo>
                    <a:pt x="1132" y="194"/>
                  </a:lnTo>
                  <a:lnTo>
                    <a:pt x="1128" y="194"/>
                  </a:lnTo>
                  <a:lnTo>
                    <a:pt x="1128" y="196"/>
                  </a:lnTo>
                  <a:lnTo>
                    <a:pt x="1128" y="196"/>
                  </a:lnTo>
                  <a:lnTo>
                    <a:pt x="1128" y="196"/>
                  </a:lnTo>
                  <a:lnTo>
                    <a:pt x="1128" y="196"/>
                  </a:lnTo>
                  <a:lnTo>
                    <a:pt x="1128" y="198"/>
                  </a:lnTo>
                  <a:lnTo>
                    <a:pt x="1128" y="198"/>
                  </a:lnTo>
                  <a:lnTo>
                    <a:pt x="1132" y="200"/>
                  </a:lnTo>
                  <a:lnTo>
                    <a:pt x="1132" y="200"/>
                  </a:lnTo>
                  <a:lnTo>
                    <a:pt x="1132" y="200"/>
                  </a:lnTo>
                  <a:lnTo>
                    <a:pt x="1132" y="202"/>
                  </a:lnTo>
                  <a:lnTo>
                    <a:pt x="1134" y="202"/>
                  </a:lnTo>
                  <a:lnTo>
                    <a:pt x="1134" y="202"/>
                  </a:lnTo>
                  <a:lnTo>
                    <a:pt x="1134" y="202"/>
                  </a:lnTo>
                  <a:lnTo>
                    <a:pt x="1134" y="202"/>
                  </a:lnTo>
                  <a:lnTo>
                    <a:pt x="1134" y="202"/>
                  </a:lnTo>
                  <a:lnTo>
                    <a:pt x="1134" y="204"/>
                  </a:lnTo>
                  <a:lnTo>
                    <a:pt x="1134" y="204"/>
                  </a:lnTo>
                  <a:lnTo>
                    <a:pt x="1134" y="204"/>
                  </a:lnTo>
                  <a:lnTo>
                    <a:pt x="1134" y="204"/>
                  </a:lnTo>
                  <a:lnTo>
                    <a:pt x="1134" y="204"/>
                  </a:lnTo>
                  <a:lnTo>
                    <a:pt x="1134" y="204"/>
                  </a:lnTo>
                  <a:lnTo>
                    <a:pt x="1132" y="208"/>
                  </a:lnTo>
                  <a:lnTo>
                    <a:pt x="1132" y="204"/>
                  </a:lnTo>
                  <a:lnTo>
                    <a:pt x="1128" y="204"/>
                  </a:lnTo>
                  <a:lnTo>
                    <a:pt x="1110" y="200"/>
                  </a:lnTo>
                  <a:lnTo>
                    <a:pt x="1110" y="200"/>
                  </a:lnTo>
                  <a:lnTo>
                    <a:pt x="1110" y="200"/>
                  </a:lnTo>
                  <a:lnTo>
                    <a:pt x="1108" y="200"/>
                  </a:lnTo>
                  <a:lnTo>
                    <a:pt x="1108" y="200"/>
                  </a:lnTo>
                  <a:lnTo>
                    <a:pt x="1108" y="200"/>
                  </a:lnTo>
                  <a:lnTo>
                    <a:pt x="1108" y="200"/>
                  </a:lnTo>
                  <a:lnTo>
                    <a:pt x="1108" y="200"/>
                  </a:lnTo>
                  <a:lnTo>
                    <a:pt x="1106" y="198"/>
                  </a:lnTo>
                  <a:lnTo>
                    <a:pt x="1106" y="198"/>
                  </a:lnTo>
                  <a:lnTo>
                    <a:pt x="1106" y="198"/>
                  </a:lnTo>
                  <a:lnTo>
                    <a:pt x="1106" y="200"/>
                  </a:lnTo>
                  <a:lnTo>
                    <a:pt x="1106" y="202"/>
                  </a:lnTo>
                  <a:lnTo>
                    <a:pt x="1106" y="202"/>
                  </a:lnTo>
                  <a:lnTo>
                    <a:pt x="1104" y="202"/>
                  </a:lnTo>
                  <a:lnTo>
                    <a:pt x="1104" y="202"/>
                  </a:lnTo>
                  <a:lnTo>
                    <a:pt x="1104" y="202"/>
                  </a:lnTo>
                  <a:lnTo>
                    <a:pt x="1104" y="202"/>
                  </a:lnTo>
                  <a:lnTo>
                    <a:pt x="1104" y="202"/>
                  </a:lnTo>
                  <a:lnTo>
                    <a:pt x="1104" y="202"/>
                  </a:lnTo>
                  <a:lnTo>
                    <a:pt x="1106" y="202"/>
                  </a:lnTo>
                  <a:lnTo>
                    <a:pt x="1106" y="204"/>
                  </a:lnTo>
                  <a:lnTo>
                    <a:pt x="1106" y="204"/>
                  </a:lnTo>
                  <a:lnTo>
                    <a:pt x="1104" y="208"/>
                  </a:lnTo>
                  <a:lnTo>
                    <a:pt x="1104" y="208"/>
                  </a:lnTo>
                  <a:lnTo>
                    <a:pt x="1104" y="208"/>
                  </a:lnTo>
                  <a:lnTo>
                    <a:pt x="1104" y="208"/>
                  </a:lnTo>
                  <a:lnTo>
                    <a:pt x="1104" y="208"/>
                  </a:lnTo>
                  <a:lnTo>
                    <a:pt x="1104" y="208"/>
                  </a:lnTo>
                  <a:lnTo>
                    <a:pt x="1100" y="208"/>
                  </a:lnTo>
                  <a:lnTo>
                    <a:pt x="1100" y="208"/>
                  </a:lnTo>
                  <a:lnTo>
                    <a:pt x="1100" y="208"/>
                  </a:lnTo>
                  <a:lnTo>
                    <a:pt x="1100" y="208"/>
                  </a:lnTo>
                  <a:lnTo>
                    <a:pt x="1100" y="210"/>
                  </a:lnTo>
                  <a:lnTo>
                    <a:pt x="1100" y="210"/>
                  </a:lnTo>
                  <a:lnTo>
                    <a:pt x="1098" y="210"/>
                  </a:lnTo>
                  <a:lnTo>
                    <a:pt x="1098" y="210"/>
                  </a:lnTo>
                  <a:lnTo>
                    <a:pt x="1098" y="210"/>
                  </a:lnTo>
                  <a:lnTo>
                    <a:pt x="1098" y="210"/>
                  </a:lnTo>
                  <a:lnTo>
                    <a:pt x="1098" y="210"/>
                  </a:lnTo>
                  <a:lnTo>
                    <a:pt x="1098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0"/>
                  </a:lnTo>
                  <a:lnTo>
                    <a:pt x="1096" y="212"/>
                  </a:lnTo>
                  <a:lnTo>
                    <a:pt x="1098" y="212"/>
                  </a:lnTo>
                  <a:lnTo>
                    <a:pt x="1098" y="212"/>
                  </a:lnTo>
                  <a:lnTo>
                    <a:pt x="1098" y="212"/>
                  </a:lnTo>
                  <a:lnTo>
                    <a:pt x="1100" y="214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2"/>
                  </a:lnTo>
                  <a:lnTo>
                    <a:pt x="1114" y="234"/>
                  </a:lnTo>
                  <a:lnTo>
                    <a:pt x="1114" y="234"/>
                  </a:lnTo>
                  <a:lnTo>
                    <a:pt x="1114" y="234"/>
                  </a:lnTo>
                  <a:lnTo>
                    <a:pt x="1114" y="236"/>
                  </a:lnTo>
                  <a:lnTo>
                    <a:pt x="1118" y="236"/>
                  </a:lnTo>
                  <a:lnTo>
                    <a:pt x="1118" y="238"/>
                  </a:lnTo>
                  <a:lnTo>
                    <a:pt x="1118" y="238"/>
                  </a:lnTo>
                  <a:lnTo>
                    <a:pt x="1118" y="238"/>
                  </a:lnTo>
                  <a:lnTo>
                    <a:pt x="1118" y="238"/>
                  </a:lnTo>
                  <a:lnTo>
                    <a:pt x="1118" y="240"/>
                  </a:lnTo>
                  <a:lnTo>
                    <a:pt x="1120" y="240"/>
                  </a:lnTo>
                  <a:lnTo>
                    <a:pt x="1120" y="240"/>
                  </a:lnTo>
                  <a:lnTo>
                    <a:pt x="1120" y="240"/>
                  </a:lnTo>
                  <a:lnTo>
                    <a:pt x="1120" y="240"/>
                  </a:lnTo>
                  <a:lnTo>
                    <a:pt x="1120" y="240"/>
                  </a:lnTo>
                  <a:lnTo>
                    <a:pt x="1120" y="240"/>
                  </a:lnTo>
                  <a:lnTo>
                    <a:pt x="1120" y="240"/>
                  </a:lnTo>
                  <a:lnTo>
                    <a:pt x="1120" y="242"/>
                  </a:lnTo>
                  <a:lnTo>
                    <a:pt x="1120" y="242"/>
                  </a:lnTo>
                  <a:lnTo>
                    <a:pt x="1120" y="242"/>
                  </a:lnTo>
                  <a:lnTo>
                    <a:pt x="1120" y="242"/>
                  </a:lnTo>
                  <a:lnTo>
                    <a:pt x="1120" y="242"/>
                  </a:lnTo>
                  <a:lnTo>
                    <a:pt x="1124" y="246"/>
                  </a:lnTo>
                  <a:lnTo>
                    <a:pt x="1124" y="246"/>
                  </a:lnTo>
                  <a:lnTo>
                    <a:pt x="1124" y="246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6" y="250"/>
                  </a:lnTo>
                  <a:lnTo>
                    <a:pt x="1126" y="250"/>
                  </a:lnTo>
                  <a:lnTo>
                    <a:pt x="1126" y="250"/>
                  </a:lnTo>
                  <a:lnTo>
                    <a:pt x="1124" y="250"/>
                  </a:lnTo>
                  <a:lnTo>
                    <a:pt x="1124" y="250"/>
                  </a:lnTo>
                  <a:lnTo>
                    <a:pt x="1124" y="252"/>
                  </a:lnTo>
                  <a:lnTo>
                    <a:pt x="1126" y="252"/>
                  </a:lnTo>
                  <a:lnTo>
                    <a:pt x="1126" y="252"/>
                  </a:lnTo>
                  <a:lnTo>
                    <a:pt x="1126" y="252"/>
                  </a:lnTo>
                  <a:lnTo>
                    <a:pt x="1126" y="252"/>
                  </a:lnTo>
                  <a:lnTo>
                    <a:pt x="1126" y="252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6"/>
                  </a:lnTo>
                  <a:lnTo>
                    <a:pt x="1126" y="258"/>
                  </a:lnTo>
                  <a:lnTo>
                    <a:pt x="1126" y="258"/>
                  </a:lnTo>
                  <a:lnTo>
                    <a:pt x="1128" y="258"/>
                  </a:lnTo>
                  <a:lnTo>
                    <a:pt x="1128" y="260"/>
                  </a:lnTo>
                  <a:lnTo>
                    <a:pt x="1128" y="260"/>
                  </a:lnTo>
                  <a:lnTo>
                    <a:pt x="1126" y="260"/>
                  </a:lnTo>
                  <a:lnTo>
                    <a:pt x="1126" y="260"/>
                  </a:lnTo>
                  <a:lnTo>
                    <a:pt x="1126" y="260"/>
                  </a:lnTo>
                  <a:lnTo>
                    <a:pt x="1126" y="260"/>
                  </a:lnTo>
                  <a:lnTo>
                    <a:pt x="1126" y="260"/>
                  </a:lnTo>
                  <a:lnTo>
                    <a:pt x="1126" y="260"/>
                  </a:lnTo>
                  <a:lnTo>
                    <a:pt x="1124" y="260"/>
                  </a:lnTo>
                  <a:lnTo>
                    <a:pt x="1124" y="260"/>
                  </a:lnTo>
                  <a:lnTo>
                    <a:pt x="1122" y="260"/>
                  </a:lnTo>
                  <a:lnTo>
                    <a:pt x="1122" y="260"/>
                  </a:lnTo>
                  <a:lnTo>
                    <a:pt x="1122" y="260"/>
                  </a:lnTo>
                  <a:lnTo>
                    <a:pt x="1122" y="260"/>
                  </a:lnTo>
                  <a:lnTo>
                    <a:pt x="1122" y="262"/>
                  </a:lnTo>
                  <a:lnTo>
                    <a:pt x="1122" y="262"/>
                  </a:lnTo>
                  <a:lnTo>
                    <a:pt x="1120" y="260"/>
                  </a:lnTo>
                  <a:lnTo>
                    <a:pt x="1120" y="262"/>
                  </a:lnTo>
                  <a:lnTo>
                    <a:pt x="1118" y="262"/>
                  </a:lnTo>
                  <a:lnTo>
                    <a:pt x="1118" y="262"/>
                  </a:lnTo>
                  <a:lnTo>
                    <a:pt x="1118" y="264"/>
                  </a:lnTo>
                  <a:lnTo>
                    <a:pt x="1118" y="264"/>
                  </a:lnTo>
                  <a:lnTo>
                    <a:pt x="1120" y="264"/>
                  </a:lnTo>
                  <a:lnTo>
                    <a:pt x="1120" y="264"/>
                  </a:lnTo>
                  <a:lnTo>
                    <a:pt x="1120" y="264"/>
                  </a:lnTo>
                  <a:lnTo>
                    <a:pt x="1120" y="264"/>
                  </a:lnTo>
                  <a:lnTo>
                    <a:pt x="1122" y="264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2" y="270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2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20" y="266"/>
                  </a:lnTo>
                  <a:lnTo>
                    <a:pt x="1118" y="264"/>
                  </a:lnTo>
                  <a:lnTo>
                    <a:pt x="1118" y="264"/>
                  </a:lnTo>
                  <a:lnTo>
                    <a:pt x="1114" y="264"/>
                  </a:lnTo>
                  <a:lnTo>
                    <a:pt x="1114" y="262"/>
                  </a:lnTo>
                  <a:lnTo>
                    <a:pt x="1112" y="262"/>
                  </a:lnTo>
                  <a:lnTo>
                    <a:pt x="1112" y="260"/>
                  </a:lnTo>
                  <a:lnTo>
                    <a:pt x="1110" y="260"/>
                  </a:lnTo>
                  <a:lnTo>
                    <a:pt x="1110" y="260"/>
                  </a:lnTo>
                  <a:lnTo>
                    <a:pt x="1110" y="260"/>
                  </a:lnTo>
                  <a:lnTo>
                    <a:pt x="1108" y="258"/>
                  </a:lnTo>
                  <a:lnTo>
                    <a:pt x="1108" y="258"/>
                  </a:lnTo>
                  <a:lnTo>
                    <a:pt x="1108" y="258"/>
                  </a:lnTo>
                  <a:lnTo>
                    <a:pt x="1108" y="258"/>
                  </a:lnTo>
                  <a:lnTo>
                    <a:pt x="1108" y="258"/>
                  </a:lnTo>
                  <a:lnTo>
                    <a:pt x="1108" y="258"/>
                  </a:lnTo>
                  <a:lnTo>
                    <a:pt x="1108" y="258"/>
                  </a:lnTo>
                  <a:lnTo>
                    <a:pt x="1106" y="258"/>
                  </a:lnTo>
                  <a:lnTo>
                    <a:pt x="1106" y="258"/>
                  </a:lnTo>
                  <a:lnTo>
                    <a:pt x="1106" y="258"/>
                  </a:lnTo>
                  <a:lnTo>
                    <a:pt x="1106" y="258"/>
                  </a:lnTo>
                  <a:lnTo>
                    <a:pt x="1106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58"/>
                  </a:lnTo>
                  <a:lnTo>
                    <a:pt x="1104" y="260"/>
                  </a:lnTo>
                  <a:lnTo>
                    <a:pt x="1104" y="260"/>
                  </a:lnTo>
                  <a:lnTo>
                    <a:pt x="1104" y="262"/>
                  </a:lnTo>
                  <a:lnTo>
                    <a:pt x="1104" y="262"/>
                  </a:lnTo>
                  <a:lnTo>
                    <a:pt x="1104" y="262"/>
                  </a:lnTo>
                  <a:lnTo>
                    <a:pt x="1104" y="262"/>
                  </a:lnTo>
                  <a:lnTo>
                    <a:pt x="1104" y="262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4"/>
                  </a:lnTo>
                  <a:lnTo>
                    <a:pt x="1106" y="266"/>
                  </a:lnTo>
                  <a:lnTo>
                    <a:pt x="1106" y="266"/>
                  </a:lnTo>
                  <a:lnTo>
                    <a:pt x="1106" y="266"/>
                  </a:lnTo>
                  <a:lnTo>
                    <a:pt x="1106" y="266"/>
                  </a:lnTo>
                  <a:lnTo>
                    <a:pt x="1106" y="266"/>
                  </a:lnTo>
                  <a:lnTo>
                    <a:pt x="1106" y="266"/>
                  </a:lnTo>
                  <a:lnTo>
                    <a:pt x="1108" y="270"/>
                  </a:lnTo>
                  <a:lnTo>
                    <a:pt x="1108" y="270"/>
                  </a:lnTo>
                  <a:lnTo>
                    <a:pt x="1108" y="270"/>
                  </a:lnTo>
                  <a:lnTo>
                    <a:pt x="1108" y="272"/>
                  </a:lnTo>
                  <a:lnTo>
                    <a:pt x="1106" y="270"/>
                  </a:lnTo>
                  <a:lnTo>
                    <a:pt x="1106" y="270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6" y="272"/>
                  </a:lnTo>
                  <a:lnTo>
                    <a:pt x="1104" y="272"/>
                  </a:lnTo>
                  <a:lnTo>
                    <a:pt x="1104" y="272"/>
                  </a:lnTo>
                  <a:lnTo>
                    <a:pt x="1104" y="270"/>
                  </a:lnTo>
                  <a:lnTo>
                    <a:pt x="1100" y="270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0"/>
                  </a:lnTo>
                  <a:lnTo>
                    <a:pt x="1100" y="270"/>
                  </a:lnTo>
                  <a:lnTo>
                    <a:pt x="1100" y="270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100" y="272"/>
                  </a:lnTo>
                  <a:lnTo>
                    <a:pt x="1098" y="272"/>
                  </a:lnTo>
                  <a:lnTo>
                    <a:pt x="1098" y="272"/>
                  </a:lnTo>
                  <a:lnTo>
                    <a:pt x="1098" y="272"/>
                  </a:lnTo>
                  <a:lnTo>
                    <a:pt x="1098" y="272"/>
                  </a:lnTo>
                  <a:lnTo>
                    <a:pt x="1098" y="272"/>
                  </a:lnTo>
                  <a:lnTo>
                    <a:pt x="1098" y="272"/>
                  </a:lnTo>
                  <a:lnTo>
                    <a:pt x="1098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098" y="274"/>
                  </a:lnTo>
                  <a:lnTo>
                    <a:pt x="1098" y="274"/>
                  </a:lnTo>
                  <a:lnTo>
                    <a:pt x="1098" y="274"/>
                  </a:lnTo>
                  <a:lnTo>
                    <a:pt x="1098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4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6"/>
                  </a:lnTo>
                  <a:lnTo>
                    <a:pt x="1100" y="278"/>
                  </a:lnTo>
                  <a:lnTo>
                    <a:pt x="1100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78"/>
                  </a:lnTo>
                  <a:lnTo>
                    <a:pt x="1098" y="280"/>
                  </a:lnTo>
                  <a:lnTo>
                    <a:pt x="1098" y="280"/>
                  </a:lnTo>
                  <a:lnTo>
                    <a:pt x="1096" y="280"/>
                  </a:lnTo>
                  <a:lnTo>
                    <a:pt x="1094" y="280"/>
                  </a:lnTo>
                  <a:lnTo>
                    <a:pt x="1094" y="280"/>
                  </a:lnTo>
                  <a:lnTo>
                    <a:pt x="1094" y="280"/>
                  </a:lnTo>
                  <a:lnTo>
                    <a:pt x="1090" y="280"/>
                  </a:lnTo>
                  <a:lnTo>
                    <a:pt x="1090" y="280"/>
                  </a:lnTo>
                  <a:lnTo>
                    <a:pt x="1090" y="280"/>
                  </a:lnTo>
                  <a:lnTo>
                    <a:pt x="1090" y="280"/>
                  </a:lnTo>
                  <a:lnTo>
                    <a:pt x="1090" y="280"/>
                  </a:lnTo>
                  <a:lnTo>
                    <a:pt x="1090" y="280"/>
                  </a:lnTo>
                  <a:lnTo>
                    <a:pt x="1090" y="280"/>
                  </a:lnTo>
                  <a:lnTo>
                    <a:pt x="1088" y="280"/>
                  </a:lnTo>
                  <a:lnTo>
                    <a:pt x="1088" y="280"/>
                  </a:lnTo>
                  <a:lnTo>
                    <a:pt x="1088" y="280"/>
                  </a:lnTo>
                  <a:lnTo>
                    <a:pt x="1086" y="280"/>
                  </a:lnTo>
                  <a:lnTo>
                    <a:pt x="1086" y="280"/>
                  </a:lnTo>
                  <a:lnTo>
                    <a:pt x="1086" y="280"/>
                  </a:lnTo>
                  <a:lnTo>
                    <a:pt x="1084" y="280"/>
                  </a:lnTo>
                  <a:lnTo>
                    <a:pt x="1082" y="280"/>
                  </a:lnTo>
                  <a:lnTo>
                    <a:pt x="1080" y="280"/>
                  </a:lnTo>
                  <a:lnTo>
                    <a:pt x="1080" y="280"/>
                  </a:lnTo>
                  <a:lnTo>
                    <a:pt x="1080" y="280"/>
                  </a:lnTo>
                  <a:lnTo>
                    <a:pt x="1080" y="280"/>
                  </a:lnTo>
                  <a:lnTo>
                    <a:pt x="1082" y="284"/>
                  </a:lnTo>
                  <a:lnTo>
                    <a:pt x="1082" y="286"/>
                  </a:lnTo>
                  <a:lnTo>
                    <a:pt x="1082" y="286"/>
                  </a:lnTo>
                  <a:lnTo>
                    <a:pt x="1084" y="286"/>
                  </a:lnTo>
                  <a:lnTo>
                    <a:pt x="1084" y="286"/>
                  </a:lnTo>
                  <a:lnTo>
                    <a:pt x="1086" y="288"/>
                  </a:lnTo>
                  <a:lnTo>
                    <a:pt x="1086" y="288"/>
                  </a:lnTo>
                  <a:lnTo>
                    <a:pt x="1086" y="288"/>
                  </a:lnTo>
                  <a:lnTo>
                    <a:pt x="1086" y="288"/>
                  </a:lnTo>
                  <a:lnTo>
                    <a:pt x="1088" y="290"/>
                  </a:lnTo>
                  <a:lnTo>
                    <a:pt x="1088" y="290"/>
                  </a:lnTo>
                  <a:lnTo>
                    <a:pt x="1088" y="290"/>
                  </a:lnTo>
                  <a:lnTo>
                    <a:pt x="1090" y="290"/>
                  </a:lnTo>
                  <a:lnTo>
                    <a:pt x="1090" y="290"/>
                  </a:lnTo>
                  <a:lnTo>
                    <a:pt x="1090" y="290"/>
                  </a:lnTo>
                  <a:lnTo>
                    <a:pt x="1090" y="294"/>
                  </a:lnTo>
                  <a:lnTo>
                    <a:pt x="1090" y="296"/>
                  </a:lnTo>
                  <a:lnTo>
                    <a:pt x="1090" y="298"/>
                  </a:lnTo>
                  <a:lnTo>
                    <a:pt x="1090" y="298"/>
                  </a:lnTo>
                  <a:lnTo>
                    <a:pt x="1090" y="296"/>
                  </a:lnTo>
                  <a:lnTo>
                    <a:pt x="1088" y="296"/>
                  </a:lnTo>
                  <a:lnTo>
                    <a:pt x="1088" y="298"/>
                  </a:lnTo>
                  <a:lnTo>
                    <a:pt x="1088" y="298"/>
                  </a:lnTo>
                  <a:lnTo>
                    <a:pt x="1088" y="296"/>
                  </a:lnTo>
                  <a:lnTo>
                    <a:pt x="1088" y="296"/>
                  </a:lnTo>
                  <a:lnTo>
                    <a:pt x="1088" y="296"/>
                  </a:lnTo>
                  <a:lnTo>
                    <a:pt x="1088" y="296"/>
                  </a:lnTo>
                  <a:lnTo>
                    <a:pt x="1088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6" y="296"/>
                  </a:lnTo>
                  <a:lnTo>
                    <a:pt x="1084" y="296"/>
                  </a:lnTo>
                  <a:lnTo>
                    <a:pt x="1084" y="296"/>
                  </a:lnTo>
                  <a:lnTo>
                    <a:pt x="1084" y="296"/>
                  </a:lnTo>
                  <a:lnTo>
                    <a:pt x="1084" y="296"/>
                  </a:lnTo>
                  <a:lnTo>
                    <a:pt x="1084" y="296"/>
                  </a:lnTo>
                  <a:lnTo>
                    <a:pt x="1084" y="296"/>
                  </a:lnTo>
                  <a:lnTo>
                    <a:pt x="1084" y="296"/>
                  </a:lnTo>
                  <a:lnTo>
                    <a:pt x="1082" y="296"/>
                  </a:lnTo>
                  <a:lnTo>
                    <a:pt x="1082" y="296"/>
                  </a:lnTo>
                  <a:lnTo>
                    <a:pt x="1080" y="296"/>
                  </a:lnTo>
                  <a:lnTo>
                    <a:pt x="1080" y="296"/>
                  </a:lnTo>
                  <a:lnTo>
                    <a:pt x="1080" y="296"/>
                  </a:lnTo>
                  <a:lnTo>
                    <a:pt x="1080" y="296"/>
                  </a:lnTo>
                  <a:lnTo>
                    <a:pt x="1080" y="296"/>
                  </a:lnTo>
                  <a:lnTo>
                    <a:pt x="1080" y="296"/>
                  </a:lnTo>
                  <a:lnTo>
                    <a:pt x="1078" y="296"/>
                  </a:lnTo>
                  <a:lnTo>
                    <a:pt x="1078" y="296"/>
                  </a:lnTo>
                  <a:lnTo>
                    <a:pt x="1078" y="294"/>
                  </a:lnTo>
                  <a:lnTo>
                    <a:pt x="1078" y="296"/>
                  </a:lnTo>
                  <a:lnTo>
                    <a:pt x="1078" y="294"/>
                  </a:lnTo>
                  <a:lnTo>
                    <a:pt x="1078" y="294"/>
                  </a:lnTo>
                  <a:lnTo>
                    <a:pt x="1074" y="294"/>
                  </a:lnTo>
                  <a:lnTo>
                    <a:pt x="1074" y="294"/>
                  </a:lnTo>
                  <a:lnTo>
                    <a:pt x="1074" y="294"/>
                  </a:lnTo>
                  <a:lnTo>
                    <a:pt x="1074" y="296"/>
                  </a:lnTo>
                  <a:lnTo>
                    <a:pt x="1074" y="296"/>
                  </a:lnTo>
                  <a:lnTo>
                    <a:pt x="1074" y="296"/>
                  </a:lnTo>
                  <a:lnTo>
                    <a:pt x="1074" y="294"/>
                  </a:lnTo>
                  <a:lnTo>
                    <a:pt x="1074" y="294"/>
                  </a:lnTo>
                  <a:lnTo>
                    <a:pt x="1074" y="294"/>
                  </a:lnTo>
                  <a:lnTo>
                    <a:pt x="1074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2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70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4"/>
                  </a:lnTo>
                  <a:lnTo>
                    <a:pt x="1068" y="290"/>
                  </a:lnTo>
                  <a:lnTo>
                    <a:pt x="1068" y="290"/>
                  </a:lnTo>
                  <a:lnTo>
                    <a:pt x="1068" y="290"/>
                  </a:lnTo>
                  <a:lnTo>
                    <a:pt x="1068" y="290"/>
                  </a:lnTo>
                  <a:lnTo>
                    <a:pt x="1068" y="290"/>
                  </a:lnTo>
                  <a:lnTo>
                    <a:pt x="1068" y="290"/>
                  </a:lnTo>
                  <a:lnTo>
                    <a:pt x="1066" y="290"/>
                  </a:lnTo>
                  <a:lnTo>
                    <a:pt x="1066" y="290"/>
                  </a:lnTo>
                  <a:lnTo>
                    <a:pt x="1066" y="290"/>
                  </a:lnTo>
                  <a:lnTo>
                    <a:pt x="1066" y="290"/>
                  </a:lnTo>
                  <a:lnTo>
                    <a:pt x="1066" y="290"/>
                  </a:lnTo>
                  <a:lnTo>
                    <a:pt x="1066" y="288"/>
                  </a:lnTo>
                  <a:lnTo>
                    <a:pt x="1066" y="288"/>
                  </a:lnTo>
                  <a:lnTo>
                    <a:pt x="1066" y="288"/>
                  </a:lnTo>
                  <a:lnTo>
                    <a:pt x="1062" y="288"/>
                  </a:lnTo>
                  <a:lnTo>
                    <a:pt x="1062" y="288"/>
                  </a:lnTo>
                  <a:lnTo>
                    <a:pt x="1062" y="288"/>
                  </a:lnTo>
                  <a:lnTo>
                    <a:pt x="1062" y="288"/>
                  </a:lnTo>
                  <a:lnTo>
                    <a:pt x="1060" y="288"/>
                  </a:lnTo>
                  <a:lnTo>
                    <a:pt x="1060" y="288"/>
                  </a:lnTo>
                  <a:lnTo>
                    <a:pt x="1060" y="288"/>
                  </a:lnTo>
                  <a:lnTo>
                    <a:pt x="1060" y="286"/>
                  </a:lnTo>
                  <a:lnTo>
                    <a:pt x="1060" y="286"/>
                  </a:lnTo>
                  <a:lnTo>
                    <a:pt x="1060" y="286"/>
                  </a:lnTo>
                  <a:lnTo>
                    <a:pt x="1060" y="286"/>
                  </a:lnTo>
                  <a:lnTo>
                    <a:pt x="1060" y="286"/>
                  </a:lnTo>
                  <a:lnTo>
                    <a:pt x="1060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6" y="288"/>
                  </a:lnTo>
                  <a:lnTo>
                    <a:pt x="1056" y="288"/>
                  </a:lnTo>
                  <a:lnTo>
                    <a:pt x="1056" y="288"/>
                  </a:lnTo>
                  <a:lnTo>
                    <a:pt x="1056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88"/>
                  </a:lnTo>
                  <a:lnTo>
                    <a:pt x="1058" y="290"/>
                  </a:lnTo>
                  <a:lnTo>
                    <a:pt x="1058" y="290"/>
                  </a:lnTo>
                  <a:lnTo>
                    <a:pt x="1056" y="290"/>
                  </a:lnTo>
                  <a:lnTo>
                    <a:pt x="1056" y="290"/>
                  </a:lnTo>
                  <a:lnTo>
                    <a:pt x="1056" y="290"/>
                  </a:lnTo>
                  <a:lnTo>
                    <a:pt x="1056" y="290"/>
                  </a:lnTo>
                  <a:lnTo>
                    <a:pt x="1056" y="290"/>
                  </a:lnTo>
                  <a:lnTo>
                    <a:pt x="1056" y="290"/>
                  </a:lnTo>
                  <a:lnTo>
                    <a:pt x="1056" y="294"/>
                  </a:lnTo>
                  <a:lnTo>
                    <a:pt x="1056" y="294"/>
                  </a:lnTo>
                  <a:lnTo>
                    <a:pt x="1056" y="294"/>
                  </a:lnTo>
                  <a:lnTo>
                    <a:pt x="1058" y="294"/>
                  </a:lnTo>
                  <a:lnTo>
                    <a:pt x="1056" y="296"/>
                  </a:lnTo>
                  <a:lnTo>
                    <a:pt x="1056" y="296"/>
                  </a:lnTo>
                  <a:lnTo>
                    <a:pt x="1058" y="296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8" y="298"/>
                  </a:lnTo>
                  <a:lnTo>
                    <a:pt x="1056" y="298"/>
                  </a:lnTo>
                  <a:lnTo>
                    <a:pt x="1056" y="298"/>
                  </a:lnTo>
                  <a:lnTo>
                    <a:pt x="1056" y="300"/>
                  </a:lnTo>
                  <a:lnTo>
                    <a:pt x="1056" y="300"/>
                  </a:lnTo>
                  <a:lnTo>
                    <a:pt x="1056" y="300"/>
                  </a:lnTo>
                  <a:lnTo>
                    <a:pt x="1056" y="300"/>
                  </a:lnTo>
                  <a:lnTo>
                    <a:pt x="1056" y="300"/>
                  </a:lnTo>
                  <a:lnTo>
                    <a:pt x="1056" y="302"/>
                  </a:lnTo>
                  <a:lnTo>
                    <a:pt x="1056" y="302"/>
                  </a:lnTo>
                  <a:lnTo>
                    <a:pt x="1056" y="302"/>
                  </a:lnTo>
                  <a:lnTo>
                    <a:pt x="1052" y="304"/>
                  </a:lnTo>
                  <a:lnTo>
                    <a:pt x="1052" y="304"/>
                  </a:lnTo>
                  <a:lnTo>
                    <a:pt x="1056" y="304"/>
                  </a:lnTo>
                  <a:lnTo>
                    <a:pt x="1056" y="304"/>
                  </a:lnTo>
                  <a:lnTo>
                    <a:pt x="1052" y="304"/>
                  </a:lnTo>
                  <a:lnTo>
                    <a:pt x="1052" y="304"/>
                  </a:lnTo>
                  <a:lnTo>
                    <a:pt x="1056" y="304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10"/>
                  </a:lnTo>
                  <a:lnTo>
                    <a:pt x="1052" y="306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2" y="310"/>
                  </a:lnTo>
                  <a:lnTo>
                    <a:pt x="1050" y="310"/>
                  </a:lnTo>
                  <a:lnTo>
                    <a:pt x="1050" y="310"/>
                  </a:lnTo>
                  <a:lnTo>
                    <a:pt x="1050" y="310"/>
                  </a:lnTo>
                  <a:lnTo>
                    <a:pt x="1050" y="310"/>
                  </a:lnTo>
                  <a:lnTo>
                    <a:pt x="1050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0"/>
                  </a:lnTo>
                  <a:lnTo>
                    <a:pt x="1048" y="312"/>
                  </a:lnTo>
                  <a:lnTo>
                    <a:pt x="1048" y="312"/>
                  </a:lnTo>
                  <a:lnTo>
                    <a:pt x="1048" y="312"/>
                  </a:lnTo>
                  <a:lnTo>
                    <a:pt x="1048" y="312"/>
                  </a:lnTo>
                  <a:lnTo>
                    <a:pt x="1048" y="312"/>
                  </a:lnTo>
                  <a:lnTo>
                    <a:pt x="1048" y="312"/>
                  </a:lnTo>
                  <a:lnTo>
                    <a:pt x="1048" y="312"/>
                  </a:lnTo>
                  <a:lnTo>
                    <a:pt x="1046" y="312"/>
                  </a:lnTo>
                  <a:lnTo>
                    <a:pt x="1046" y="312"/>
                  </a:lnTo>
                  <a:lnTo>
                    <a:pt x="1046" y="312"/>
                  </a:lnTo>
                  <a:lnTo>
                    <a:pt x="1046" y="312"/>
                  </a:lnTo>
                  <a:lnTo>
                    <a:pt x="1046" y="312"/>
                  </a:lnTo>
                  <a:lnTo>
                    <a:pt x="1046" y="312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6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4" y="314"/>
                  </a:lnTo>
                  <a:lnTo>
                    <a:pt x="1042" y="314"/>
                  </a:lnTo>
                  <a:lnTo>
                    <a:pt x="1042" y="314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2" y="316"/>
                  </a:lnTo>
                  <a:lnTo>
                    <a:pt x="1040" y="316"/>
                  </a:lnTo>
                  <a:lnTo>
                    <a:pt x="1040" y="316"/>
                  </a:lnTo>
                  <a:lnTo>
                    <a:pt x="1040" y="316"/>
                  </a:lnTo>
                  <a:lnTo>
                    <a:pt x="1040" y="316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40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22"/>
                  </a:lnTo>
                  <a:lnTo>
                    <a:pt x="1038" y="322"/>
                  </a:lnTo>
                  <a:lnTo>
                    <a:pt x="1038" y="322"/>
                  </a:lnTo>
                  <a:lnTo>
                    <a:pt x="1034" y="322"/>
                  </a:lnTo>
                  <a:lnTo>
                    <a:pt x="1034" y="322"/>
                  </a:lnTo>
                  <a:lnTo>
                    <a:pt x="1034" y="322"/>
                  </a:lnTo>
                  <a:lnTo>
                    <a:pt x="1034" y="324"/>
                  </a:lnTo>
                  <a:lnTo>
                    <a:pt x="1034" y="324"/>
                  </a:lnTo>
                  <a:lnTo>
                    <a:pt x="1034" y="324"/>
                  </a:lnTo>
                  <a:lnTo>
                    <a:pt x="1034" y="324"/>
                  </a:lnTo>
                  <a:lnTo>
                    <a:pt x="1034" y="324"/>
                  </a:lnTo>
                  <a:lnTo>
                    <a:pt x="1034" y="324"/>
                  </a:lnTo>
                  <a:lnTo>
                    <a:pt x="1034" y="324"/>
                  </a:lnTo>
                  <a:lnTo>
                    <a:pt x="1032" y="326"/>
                  </a:lnTo>
                  <a:lnTo>
                    <a:pt x="1032" y="326"/>
                  </a:lnTo>
                  <a:lnTo>
                    <a:pt x="1034" y="326"/>
                  </a:lnTo>
                  <a:lnTo>
                    <a:pt x="1034" y="326"/>
                  </a:lnTo>
                  <a:lnTo>
                    <a:pt x="1034" y="326"/>
                  </a:lnTo>
                  <a:lnTo>
                    <a:pt x="1032" y="326"/>
                  </a:lnTo>
                  <a:lnTo>
                    <a:pt x="1032" y="326"/>
                  </a:lnTo>
                  <a:lnTo>
                    <a:pt x="1032" y="328"/>
                  </a:lnTo>
                  <a:lnTo>
                    <a:pt x="1032" y="328"/>
                  </a:lnTo>
                  <a:lnTo>
                    <a:pt x="1032" y="328"/>
                  </a:lnTo>
                  <a:lnTo>
                    <a:pt x="1032" y="328"/>
                  </a:lnTo>
                  <a:lnTo>
                    <a:pt x="1032" y="332"/>
                  </a:lnTo>
                  <a:lnTo>
                    <a:pt x="1032" y="332"/>
                  </a:lnTo>
                  <a:lnTo>
                    <a:pt x="1032" y="332"/>
                  </a:lnTo>
                  <a:lnTo>
                    <a:pt x="1032" y="332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2" y="334"/>
                  </a:lnTo>
                  <a:lnTo>
                    <a:pt x="1030" y="334"/>
                  </a:lnTo>
                  <a:lnTo>
                    <a:pt x="1030" y="336"/>
                  </a:lnTo>
                  <a:lnTo>
                    <a:pt x="1030" y="336"/>
                  </a:lnTo>
                  <a:lnTo>
                    <a:pt x="1030" y="336"/>
                  </a:lnTo>
                  <a:lnTo>
                    <a:pt x="1030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8" y="336"/>
                  </a:lnTo>
                  <a:lnTo>
                    <a:pt x="1024" y="336"/>
                  </a:lnTo>
                  <a:lnTo>
                    <a:pt x="1024" y="336"/>
                  </a:lnTo>
                  <a:lnTo>
                    <a:pt x="1024" y="336"/>
                  </a:lnTo>
                  <a:lnTo>
                    <a:pt x="1024" y="336"/>
                  </a:lnTo>
                  <a:lnTo>
                    <a:pt x="1024" y="336"/>
                  </a:lnTo>
                  <a:lnTo>
                    <a:pt x="1024" y="336"/>
                  </a:lnTo>
                  <a:lnTo>
                    <a:pt x="1024" y="336"/>
                  </a:lnTo>
                  <a:lnTo>
                    <a:pt x="1022" y="336"/>
                  </a:lnTo>
                  <a:lnTo>
                    <a:pt x="1022" y="336"/>
                  </a:lnTo>
                  <a:lnTo>
                    <a:pt x="1022" y="336"/>
                  </a:lnTo>
                  <a:lnTo>
                    <a:pt x="1022" y="336"/>
                  </a:lnTo>
                  <a:lnTo>
                    <a:pt x="1020" y="336"/>
                  </a:lnTo>
                  <a:lnTo>
                    <a:pt x="1020" y="334"/>
                  </a:lnTo>
                  <a:lnTo>
                    <a:pt x="1018" y="334"/>
                  </a:lnTo>
                  <a:lnTo>
                    <a:pt x="1018" y="334"/>
                  </a:lnTo>
                  <a:lnTo>
                    <a:pt x="1018" y="334"/>
                  </a:lnTo>
                  <a:lnTo>
                    <a:pt x="1018" y="334"/>
                  </a:lnTo>
                  <a:lnTo>
                    <a:pt x="1018" y="334"/>
                  </a:lnTo>
                  <a:lnTo>
                    <a:pt x="1020" y="336"/>
                  </a:lnTo>
                  <a:lnTo>
                    <a:pt x="1020" y="336"/>
                  </a:lnTo>
                  <a:lnTo>
                    <a:pt x="1020" y="336"/>
                  </a:lnTo>
                  <a:lnTo>
                    <a:pt x="1018" y="338"/>
                  </a:lnTo>
                  <a:lnTo>
                    <a:pt x="1018" y="338"/>
                  </a:lnTo>
                  <a:lnTo>
                    <a:pt x="1018" y="338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6"/>
                  </a:lnTo>
                  <a:lnTo>
                    <a:pt x="1018" y="338"/>
                  </a:lnTo>
                  <a:lnTo>
                    <a:pt x="1018" y="338"/>
                  </a:lnTo>
                  <a:lnTo>
                    <a:pt x="1014" y="338"/>
                  </a:lnTo>
                  <a:lnTo>
                    <a:pt x="1014" y="338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4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09" y="336"/>
                  </a:lnTo>
                  <a:lnTo>
                    <a:pt x="1009" y="336"/>
                  </a:lnTo>
                  <a:lnTo>
                    <a:pt x="1009" y="336"/>
                  </a:lnTo>
                  <a:lnTo>
                    <a:pt x="1011" y="336"/>
                  </a:lnTo>
                  <a:lnTo>
                    <a:pt x="1011" y="336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09" y="338"/>
                  </a:lnTo>
                  <a:lnTo>
                    <a:pt x="1009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38"/>
                  </a:lnTo>
                  <a:lnTo>
                    <a:pt x="1011" y="340"/>
                  </a:lnTo>
                  <a:lnTo>
                    <a:pt x="1011" y="340"/>
                  </a:lnTo>
                  <a:lnTo>
                    <a:pt x="1009" y="340"/>
                  </a:lnTo>
                  <a:lnTo>
                    <a:pt x="1009" y="338"/>
                  </a:lnTo>
                  <a:lnTo>
                    <a:pt x="1009" y="338"/>
                  </a:lnTo>
                  <a:lnTo>
                    <a:pt x="1009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38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7" y="340"/>
                  </a:lnTo>
                  <a:lnTo>
                    <a:pt x="1005" y="340"/>
                  </a:lnTo>
                  <a:lnTo>
                    <a:pt x="1005" y="340"/>
                  </a:lnTo>
                  <a:lnTo>
                    <a:pt x="1005" y="342"/>
                  </a:lnTo>
                  <a:lnTo>
                    <a:pt x="1005" y="342"/>
                  </a:lnTo>
                  <a:lnTo>
                    <a:pt x="1005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2"/>
                  </a:lnTo>
                  <a:lnTo>
                    <a:pt x="1003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1001" y="344"/>
                  </a:lnTo>
                  <a:lnTo>
                    <a:pt x="999" y="344"/>
                  </a:lnTo>
                  <a:lnTo>
                    <a:pt x="999" y="344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9" y="346"/>
                  </a:lnTo>
                  <a:lnTo>
                    <a:pt x="997" y="346"/>
                  </a:lnTo>
                  <a:lnTo>
                    <a:pt x="997" y="346"/>
                  </a:lnTo>
                  <a:lnTo>
                    <a:pt x="997" y="346"/>
                  </a:lnTo>
                  <a:lnTo>
                    <a:pt x="997" y="346"/>
                  </a:lnTo>
                  <a:lnTo>
                    <a:pt x="999" y="350"/>
                  </a:lnTo>
                  <a:lnTo>
                    <a:pt x="997" y="350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9" y="352"/>
                  </a:lnTo>
                  <a:lnTo>
                    <a:pt x="997" y="352"/>
                  </a:lnTo>
                  <a:lnTo>
                    <a:pt x="997" y="352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7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3" y="356"/>
                  </a:lnTo>
                  <a:lnTo>
                    <a:pt x="993" y="354"/>
                  </a:lnTo>
                  <a:lnTo>
                    <a:pt x="993" y="354"/>
                  </a:lnTo>
                  <a:lnTo>
                    <a:pt x="991" y="354"/>
                  </a:lnTo>
                  <a:lnTo>
                    <a:pt x="991" y="356"/>
                  </a:lnTo>
                  <a:lnTo>
                    <a:pt x="993" y="356"/>
                  </a:lnTo>
                  <a:lnTo>
                    <a:pt x="993" y="356"/>
                  </a:lnTo>
                  <a:lnTo>
                    <a:pt x="993" y="356"/>
                  </a:lnTo>
                  <a:lnTo>
                    <a:pt x="993" y="356"/>
                  </a:lnTo>
                  <a:lnTo>
                    <a:pt x="993" y="356"/>
                  </a:lnTo>
                  <a:lnTo>
                    <a:pt x="993" y="356"/>
                  </a:lnTo>
                  <a:lnTo>
                    <a:pt x="993" y="356"/>
                  </a:lnTo>
                  <a:lnTo>
                    <a:pt x="991" y="356"/>
                  </a:lnTo>
                  <a:lnTo>
                    <a:pt x="991" y="356"/>
                  </a:lnTo>
                  <a:lnTo>
                    <a:pt x="991" y="354"/>
                  </a:lnTo>
                  <a:lnTo>
                    <a:pt x="991" y="354"/>
                  </a:lnTo>
                  <a:lnTo>
                    <a:pt x="989" y="354"/>
                  </a:lnTo>
                  <a:lnTo>
                    <a:pt x="989" y="354"/>
                  </a:lnTo>
                  <a:lnTo>
                    <a:pt x="991" y="356"/>
                  </a:lnTo>
                  <a:lnTo>
                    <a:pt x="991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89" y="356"/>
                  </a:lnTo>
                  <a:lnTo>
                    <a:pt x="991" y="356"/>
                  </a:lnTo>
                  <a:lnTo>
                    <a:pt x="991" y="360"/>
                  </a:lnTo>
                  <a:lnTo>
                    <a:pt x="991" y="360"/>
                  </a:lnTo>
                  <a:lnTo>
                    <a:pt x="991" y="360"/>
                  </a:lnTo>
                  <a:lnTo>
                    <a:pt x="991" y="360"/>
                  </a:lnTo>
                  <a:lnTo>
                    <a:pt x="991" y="360"/>
                  </a:lnTo>
                  <a:lnTo>
                    <a:pt x="991" y="360"/>
                  </a:lnTo>
                  <a:lnTo>
                    <a:pt x="989" y="360"/>
                  </a:lnTo>
                  <a:lnTo>
                    <a:pt x="989" y="360"/>
                  </a:lnTo>
                  <a:lnTo>
                    <a:pt x="989" y="360"/>
                  </a:lnTo>
                  <a:lnTo>
                    <a:pt x="989" y="360"/>
                  </a:lnTo>
                  <a:lnTo>
                    <a:pt x="989" y="362"/>
                  </a:lnTo>
                  <a:lnTo>
                    <a:pt x="987" y="362"/>
                  </a:lnTo>
                  <a:lnTo>
                    <a:pt x="983" y="362"/>
                  </a:lnTo>
                  <a:lnTo>
                    <a:pt x="983" y="362"/>
                  </a:lnTo>
                  <a:lnTo>
                    <a:pt x="983" y="362"/>
                  </a:lnTo>
                  <a:lnTo>
                    <a:pt x="983" y="362"/>
                  </a:lnTo>
                  <a:lnTo>
                    <a:pt x="981" y="362"/>
                  </a:lnTo>
                  <a:lnTo>
                    <a:pt x="981" y="362"/>
                  </a:lnTo>
                  <a:lnTo>
                    <a:pt x="981" y="362"/>
                  </a:lnTo>
                  <a:lnTo>
                    <a:pt x="983" y="362"/>
                  </a:lnTo>
                  <a:lnTo>
                    <a:pt x="981" y="364"/>
                  </a:lnTo>
                  <a:lnTo>
                    <a:pt x="981" y="364"/>
                  </a:lnTo>
                  <a:lnTo>
                    <a:pt x="981" y="364"/>
                  </a:lnTo>
                  <a:lnTo>
                    <a:pt x="981" y="362"/>
                  </a:lnTo>
                  <a:lnTo>
                    <a:pt x="981" y="362"/>
                  </a:lnTo>
                  <a:lnTo>
                    <a:pt x="979" y="362"/>
                  </a:lnTo>
                  <a:lnTo>
                    <a:pt x="979" y="362"/>
                  </a:lnTo>
                  <a:lnTo>
                    <a:pt x="981" y="362"/>
                  </a:lnTo>
                  <a:lnTo>
                    <a:pt x="981" y="362"/>
                  </a:lnTo>
                  <a:lnTo>
                    <a:pt x="979" y="362"/>
                  </a:lnTo>
                  <a:lnTo>
                    <a:pt x="979" y="362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60"/>
                  </a:lnTo>
                  <a:lnTo>
                    <a:pt x="979" y="356"/>
                  </a:lnTo>
                  <a:lnTo>
                    <a:pt x="979" y="356"/>
                  </a:lnTo>
                  <a:lnTo>
                    <a:pt x="979" y="356"/>
                  </a:lnTo>
                  <a:lnTo>
                    <a:pt x="979" y="356"/>
                  </a:lnTo>
                  <a:lnTo>
                    <a:pt x="979" y="356"/>
                  </a:lnTo>
                  <a:lnTo>
                    <a:pt x="979" y="356"/>
                  </a:lnTo>
                  <a:lnTo>
                    <a:pt x="979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6"/>
                  </a:lnTo>
                  <a:lnTo>
                    <a:pt x="981" y="354"/>
                  </a:lnTo>
                  <a:lnTo>
                    <a:pt x="981" y="354"/>
                  </a:lnTo>
                  <a:lnTo>
                    <a:pt x="981" y="354"/>
                  </a:lnTo>
                  <a:lnTo>
                    <a:pt x="981" y="354"/>
                  </a:lnTo>
                  <a:lnTo>
                    <a:pt x="983" y="354"/>
                  </a:lnTo>
                  <a:lnTo>
                    <a:pt x="983" y="354"/>
                  </a:lnTo>
                  <a:lnTo>
                    <a:pt x="983" y="354"/>
                  </a:lnTo>
                  <a:lnTo>
                    <a:pt x="983" y="356"/>
                  </a:lnTo>
                  <a:lnTo>
                    <a:pt x="983" y="356"/>
                  </a:lnTo>
                  <a:lnTo>
                    <a:pt x="983" y="356"/>
                  </a:lnTo>
                  <a:lnTo>
                    <a:pt x="983" y="354"/>
                  </a:lnTo>
                  <a:lnTo>
                    <a:pt x="987" y="354"/>
                  </a:lnTo>
                  <a:lnTo>
                    <a:pt x="987" y="354"/>
                  </a:lnTo>
                  <a:lnTo>
                    <a:pt x="989" y="354"/>
                  </a:lnTo>
                  <a:lnTo>
                    <a:pt x="989" y="352"/>
                  </a:lnTo>
                  <a:lnTo>
                    <a:pt x="987" y="352"/>
                  </a:lnTo>
                  <a:lnTo>
                    <a:pt x="987" y="352"/>
                  </a:lnTo>
                  <a:lnTo>
                    <a:pt x="987" y="352"/>
                  </a:lnTo>
                  <a:lnTo>
                    <a:pt x="987" y="352"/>
                  </a:lnTo>
                  <a:lnTo>
                    <a:pt x="987" y="352"/>
                  </a:lnTo>
                  <a:lnTo>
                    <a:pt x="983" y="352"/>
                  </a:lnTo>
                  <a:lnTo>
                    <a:pt x="987" y="352"/>
                  </a:lnTo>
                  <a:lnTo>
                    <a:pt x="983" y="352"/>
                  </a:lnTo>
                  <a:lnTo>
                    <a:pt x="983" y="350"/>
                  </a:lnTo>
                  <a:lnTo>
                    <a:pt x="983" y="350"/>
                  </a:lnTo>
                  <a:lnTo>
                    <a:pt x="987" y="350"/>
                  </a:lnTo>
                  <a:lnTo>
                    <a:pt x="987" y="350"/>
                  </a:lnTo>
                  <a:lnTo>
                    <a:pt x="983" y="350"/>
                  </a:lnTo>
                  <a:lnTo>
                    <a:pt x="983" y="350"/>
                  </a:lnTo>
                  <a:lnTo>
                    <a:pt x="983" y="350"/>
                  </a:lnTo>
                  <a:lnTo>
                    <a:pt x="983" y="350"/>
                  </a:lnTo>
                  <a:lnTo>
                    <a:pt x="983" y="350"/>
                  </a:lnTo>
                  <a:lnTo>
                    <a:pt x="987" y="350"/>
                  </a:lnTo>
                  <a:lnTo>
                    <a:pt x="987" y="350"/>
                  </a:lnTo>
                  <a:lnTo>
                    <a:pt x="987" y="350"/>
                  </a:lnTo>
                  <a:lnTo>
                    <a:pt x="987" y="350"/>
                  </a:lnTo>
                  <a:lnTo>
                    <a:pt x="987" y="346"/>
                  </a:lnTo>
                  <a:lnTo>
                    <a:pt x="987" y="346"/>
                  </a:lnTo>
                  <a:lnTo>
                    <a:pt x="987" y="346"/>
                  </a:lnTo>
                  <a:lnTo>
                    <a:pt x="987" y="346"/>
                  </a:lnTo>
                  <a:lnTo>
                    <a:pt x="987" y="346"/>
                  </a:lnTo>
                  <a:lnTo>
                    <a:pt x="987" y="346"/>
                  </a:lnTo>
                  <a:lnTo>
                    <a:pt x="987" y="346"/>
                  </a:lnTo>
                  <a:lnTo>
                    <a:pt x="989" y="346"/>
                  </a:lnTo>
                  <a:lnTo>
                    <a:pt x="989" y="346"/>
                  </a:lnTo>
                  <a:lnTo>
                    <a:pt x="989" y="344"/>
                  </a:lnTo>
                  <a:lnTo>
                    <a:pt x="989" y="344"/>
                  </a:lnTo>
                  <a:lnTo>
                    <a:pt x="989" y="344"/>
                  </a:lnTo>
                  <a:lnTo>
                    <a:pt x="989" y="344"/>
                  </a:lnTo>
                  <a:lnTo>
                    <a:pt x="989" y="344"/>
                  </a:lnTo>
                  <a:lnTo>
                    <a:pt x="989" y="344"/>
                  </a:lnTo>
                  <a:lnTo>
                    <a:pt x="989" y="344"/>
                  </a:lnTo>
                  <a:lnTo>
                    <a:pt x="989" y="346"/>
                  </a:lnTo>
                  <a:lnTo>
                    <a:pt x="987" y="346"/>
                  </a:lnTo>
                  <a:lnTo>
                    <a:pt x="987" y="344"/>
                  </a:lnTo>
                  <a:lnTo>
                    <a:pt x="983" y="344"/>
                  </a:lnTo>
                  <a:lnTo>
                    <a:pt x="987" y="346"/>
                  </a:lnTo>
                  <a:lnTo>
                    <a:pt x="981" y="346"/>
                  </a:lnTo>
                  <a:lnTo>
                    <a:pt x="981" y="346"/>
                  </a:lnTo>
                  <a:lnTo>
                    <a:pt x="981" y="346"/>
                  </a:lnTo>
                  <a:lnTo>
                    <a:pt x="979" y="344"/>
                  </a:lnTo>
                  <a:lnTo>
                    <a:pt x="977" y="342"/>
                  </a:lnTo>
                  <a:lnTo>
                    <a:pt x="977" y="342"/>
                  </a:lnTo>
                  <a:lnTo>
                    <a:pt x="977" y="342"/>
                  </a:lnTo>
                  <a:lnTo>
                    <a:pt x="977" y="342"/>
                  </a:lnTo>
                  <a:lnTo>
                    <a:pt x="977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2"/>
                  </a:lnTo>
                  <a:lnTo>
                    <a:pt x="973" y="340"/>
                  </a:lnTo>
                  <a:lnTo>
                    <a:pt x="973" y="340"/>
                  </a:lnTo>
                  <a:lnTo>
                    <a:pt x="973" y="340"/>
                  </a:lnTo>
                  <a:lnTo>
                    <a:pt x="977" y="340"/>
                  </a:lnTo>
                  <a:lnTo>
                    <a:pt x="977" y="340"/>
                  </a:lnTo>
                  <a:lnTo>
                    <a:pt x="977" y="340"/>
                  </a:lnTo>
                  <a:lnTo>
                    <a:pt x="977" y="340"/>
                  </a:lnTo>
                  <a:lnTo>
                    <a:pt x="977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7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9" y="340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7" y="338"/>
                  </a:lnTo>
                  <a:lnTo>
                    <a:pt x="973" y="338"/>
                  </a:lnTo>
                  <a:lnTo>
                    <a:pt x="973" y="338"/>
                  </a:lnTo>
                  <a:lnTo>
                    <a:pt x="973" y="338"/>
                  </a:lnTo>
                  <a:lnTo>
                    <a:pt x="973" y="338"/>
                  </a:lnTo>
                  <a:lnTo>
                    <a:pt x="973" y="338"/>
                  </a:lnTo>
                  <a:lnTo>
                    <a:pt x="973" y="338"/>
                  </a:lnTo>
                  <a:lnTo>
                    <a:pt x="973" y="336"/>
                  </a:lnTo>
                  <a:lnTo>
                    <a:pt x="973" y="336"/>
                  </a:lnTo>
                  <a:lnTo>
                    <a:pt x="973" y="336"/>
                  </a:lnTo>
                  <a:lnTo>
                    <a:pt x="973" y="336"/>
                  </a:lnTo>
                  <a:lnTo>
                    <a:pt x="973" y="336"/>
                  </a:lnTo>
                  <a:lnTo>
                    <a:pt x="973" y="336"/>
                  </a:lnTo>
                  <a:lnTo>
                    <a:pt x="977" y="334"/>
                  </a:lnTo>
                  <a:lnTo>
                    <a:pt x="977" y="334"/>
                  </a:lnTo>
                  <a:lnTo>
                    <a:pt x="977" y="334"/>
                  </a:lnTo>
                  <a:lnTo>
                    <a:pt x="977" y="334"/>
                  </a:lnTo>
                  <a:lnTo>
                    <a:pt x="979" y="334"/>
                  </a:lnTo>
                  <a:lnTo>
                    <a:pt x="979" y="334"/>
                  </a:lnTo>
                  <a:lnTo>
                    <a:pt x="979" y="334"/>
                  </a:lnTo>
                  <a:lnTo>
                    <a:pt x="979" y="334"/>
                  </a:lnTo>
                  <a:lnTo>
                    <a:pt x="979" y="334"/>
                  </a:lnTo>
                  <a:lnTo>
                    <a:pt x="979" y="334"/>
                  </a:lnTo>
                  <a:lnTo>
                    <a:pt x="979" y="334"/>
                  </a:lnTo>
                  <a:lnTo>
                    <a:pt x="979" y="332"/>
                  </a:lnTo>
                  <a:lnTo>
                    <a:pt x="981" y="332"/>
                  </a:lnTo>
                  <a:lnTo>
                    <a:pt x="981" y="332"/>
                  </a:lnTo>
                  <a:lnTo>
                    <a:pt x="981" y="332"/>
                  </a:lnTo>
                  <a:lnTo>
                    <a:pt x="981" y="332"/>
                  </a:lnTo>
                  <a:lnTo>
                    <a:pt x="981" y="332"/>
                  </a:lnTo>
                  <a:lnTo>
                    <a:pt x="981" y="332"/>
                  </a:lnTo>
                  <a:lnTo>
                    <a:pt x="979" y="332"/>
                  </a:lnTo>
                  <a:lnTo>
                    <a:pt x="979" y="332"/>
                  </a:lnTo>
                  <a:lnTo>
                    <a:pt x="979" y="332"/>
                  </a:lnTo>
                  <a:lnTo>
                    <a:pt x="979" y="332"/>
                  </a:lnTo>
                  <a:lnTo>
                    <a:pt x="979" y="332"/>
                  </a:lnTo>
                  <a:lnTo>
                    <a:pt x="981" y="328"/>
                  </a:lnTo>
                  <a:lnTo>
                    <a:pt x="981" y="328"/>
                  </a:lnTo>
                  <a:lnTo>
                    <a:pt x="981" y="326"/>
                  </a:lnTo>
                  <a:lnTo>
                    <a:pt x="981" y="326"/>
                  </a:lnTo>
                  <a:lnTo>
                    <a:pt x="981" y="326"/>
                  </a:lnTo>
                  <a:lnTo>
                    <a:pt x="981" y="326"/>
                  </a:lnTo>
                  <a:lnTo>
                    <a:pt x="981" y="326"/>
                  </a:lnTo>
                  <a:lnTo>
                    <a:pt x="981" y="326"/>
                  </a:lnTo>
                  <a:lnTo>
                    <a:pt x="981" y="324"/>
                  </a:lnTo>
                  <a:lnTo>
                    <a:pt x="981" y="324"/>
                  </a:lnTo>
                  <a:lnTo>
                    <a:pt x="981" y="324"/>
                  </a:lnTo>
                  <a:lnTo>
                    <a:pt x="981" y="324"/>
                  </a:lnTo>
                  <a:lnTo>
                    <a:pt x="981" y="324"/>
                  </a:lnTo>
                  <a:lnTo>
                    <a:pt x="981" y="324"/>
                  </a:lnTo>
                  <a:lnTo>
                    <a:pt x="981" y="324"/>
                  </a:lnTo>
                  <a:lnTo>
                    <a:pt x="981" y="322"/>
                  </a:lnTo>
                  <a:lnTo>
                    <a:pt x="983" y="322"/>
                  </a:lnTo>
                  <a:lnTo>
                    <a:pt x="981" y="322"/>
                  </a:lnTo>
                  <a:lnTo>
                    <a:pt x="983" y="322"/>
                  </a:lnTo>
                  <a:lnTo>
                    <a:pt x="983" y="322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1" y="318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3" y="318"/>
                  </a:lnTo>
                  <a:lnTo>
                    <a:pt x="981" y="318"/>
                  </a:lnTo>
                  <a:lnTo>
                    <a:pt x="981" y="316"/>
                  </a:lnTo>
                  <a:lnTo>
                    <a:pt x="981" y="316"/>
                  </a:lnTo>
                  <a:lnTo>
                    <a:pt x="979" y="316"/>
                  </a:lnTo>
                  <a:lnTo>
                    <a:pt x="979" y="316"/>
                  </a:lnTo>
                  <a:lnTo>
                    <a:pt x="979" y="316"/>
                  </a:lnTo>
                  <a:lnTo>
                    <a:pt x="979" y="314"/>
                  </a:lnTo>
                  <a:lnTo>
                    <a:pt x="979" y="314"/>
                  </a:lnTo>
                  <a:lnTo>
                    <a:pt x="977" y="314"/>
                  </a:lnTo>
                  <a:lnTo>
                    <a:pt x="977" y="314"/>
                  </a:lnTo>
                  <a:lnTo>
                    <a:pt x="977" y="314"/>
                  </a:lnTo>
                  <a:lnTo>
                    <a:pt x="977" y="314"/>
                  </a:lnTo>
                  <a:lnTo>
                    <a:pt x="973" y="312"/>
                  </a:lnTo>
                  <a:lnTo>
                    <a:pt x="973" y="312"/>
                  </a:lnTo>
                  <a:lnTo>
                    <a:pt x="971" y="312"/>
                  </a:lnTo>
                  <a:lnTo>
                    <a:pt x="969" y="312"/>
                  </a:lnTo>
                  <a:lnTo>
                    <a:pt x="969" y="310"/>
                  </a:lnTo>
                  <a:lnTo>
                    <a:pt x="969" y="310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06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7" y="310"/>
                  </a:lnTo>
                  <a:lnTo>
                    <a:pt x="965" y="310"/>
                  </a:lnTo>
                  <a:lnTo>
                    <a:pt x="965" y="310"/>
                  </a:lnTo>
                  <a:lnTo>
                    <a:pt x="965" y="310"/>
                  </a:lnTo>
                  <a:lnTo>
                    <a:pt x="963" y="310"/>
                  </a:lnTo>
                  <a:lnTo>
                    <a:pt x="963" y="310"/>
                  </a:lnTo>
                  <a:lnTo>
                    <a:pt x="963" y="310"/>
                  </a:lnTo>
                  <a:lnTo>
                    <a:pt x="961" y="310"/>
                  </a:lnTo>
                  <a:lnTo>
                    <a:pt x="961" y="310"/>
                  </a:lnTo>
                  <a:lnTo>
                    <a:pt x="961" y="310"/>
                  </a:lnTo>
                  <a:lnTo>
                    <a:pt x="961" y="310"/>
                  </a:lnTo>
                  <a:lnTo>
                    <a:pt x="961" y="306"/>
                  </a:lnTo>
                  <a:lnTo>
                    <a:pt x="961" y="306"/>
                  </a:lnTo>
                  <a:lnTo>
                    <a:pt x="961" y="306"/>
                  </a:lnTo>
                  <a:lnTo>
                    <a:pt x="959" y="306"/>
                  </a:lnTo>
                  <a:lnTo>
                    <a:pt x="959" y="306"/>
                  </a:lnTo>
                  <a:lnTo>
                    <a:pt x="959" y="306"/>
                  </a:lnTo>
                  <a:lnTo>
                    <a:pt x="959" y="310"/>
                  </a:lnTo>
                  <a:lnTo>
                    <a:pt x="959" y="310"/>
                  </a:lnTo>
                  <a:lnTo>
                    <a:pt x="959" y="310"/>
                  </a:lnTo>
                  <a:lnTo>
                    <a:pt x="959" y="310"/>
                  </a:lnTo>
                  <a:lnTo>
                    <a:pt x="959" y="310"/>
                  </a:lnTo>
                  <a:lnTo>
                    <a:pt x="955" y="306"/>
                  </a:lnTo>
                  <a:lnTo>
                    <a:pt x="955" y="310"/>
                  </a:lnTo>
                  <a:lnTo>
                    <a:pt x="955" y="306"/>
                  </a:lnTo>
                  <a:lnTo>
                    <a:pt x="955" y="306"/>
                  </a:lnTo>
                  <a:lnTo>
                    <a:pt x="955" y="306"/>
                  </a:lnTo>
                  <a:lnTo>
                    <a:pt x="955" y="310"/>
                  </a:lnTo>
                  <a:lnTo>
                    <a:pt x="955" y="310"/>
                  </a:lnTo>
                  <a:lnTo>
                    <a:pt x="955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0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3" y="312"/>
                  </a:lnTo>
                  <a:lnTo>
                    <a:pt x="955" y="314"/>
                  </a:lnTo>
                  <a:lnTo>
                    <a:pt x="953" y="314"/>
                  </a:lnTo>
                  <a:lnTo>
                    <a:pt x="953" y="314"/>
                  </a:lnTo>
                  <a:lnTo>
                    <a:pt x="953" y="314"/>
                  </a:lnTo>
                  <a:lnTo>
                    <a:pt x="953" y="314"/>
                  </a:lnTo>
                  <a:lnTo>
                    <a:pt x="953" y="314"/>
                  </a:lnTo>
                  <a:lnTo>
                    <a:pt x="953" y="314"/>
                  </a:lnTo>
                  <a:lnTo>
                    <a:pt x="951" y="314"/>
                  </a:lnTo>
                  <a:lnTo>
                    <a:pt x="951" y="314"/>
                  </a:lnTo>
                  <a:lnTo>
                    <a:pt x="951" y="314"/>
                  </a:lnTo>
                  <a:lnTo>
                    <a:pt x="951" y="314"/>
                  </a:lnTo>
                  <a:lnTo>
                    <a:pt x="951" y="314"/>
                  </a:lnTo>
                  <a:lnTo>
                    <a:pt x="951" y="316"/>
                  </a:lnTo>
                  <a:lnTo>
                    <a:pt x="951" y="316"/>
                  </a:lnTo>
                  <a:lnTo>
                    <a:pt x="951" y="316"/>
                  </a:lnTo>
                  <a:lnTo>
                    <a:pt x="951" y="316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51" y="318"/>
                  </a:lnTo>
                  <a:lnTo>
                    <a:pt x="949" y="318"/>
                  </a:lnTo>
                  <a:lnTo>
                    <a:pt x="949" y="318"/>
                  </a:lnTo>
                  <a:lnTo>
                    <a:pt x="949" y="318"/>
                  </a:lnTo>
                  <a:lnTo>
                    <a:pt x="949" y="318"/>
                  </a:lnTo>
                  <a:lnTo>
                    <a:pt x="949" y="322"/>
                  </a:lnTo>
                  <a:lnTo>
                    <a:pt x="951" y="322"/>
                  </a:lnTo>
                  <a:lnTo>
                    <a:pt x="949" y="322"/>
                  </a:lnTo>
                  <a:lnTo>
                    <a:pt x="949" y="322"/>
                  </a:lnTo>
                  <a:lnTo>
                    <a:pt x="949" y="322"/>
                  </a:lnTo>
                  <a:lnTo>
                    <a:pt x="949" y="322"/>
                  </a:lnTo>
                  <a:lnTo>
                    <a:pt x="949" y="322"/>
                  </a:lnTo>
                  <a:lnTo>
                    <a:pt x="949" y="322"/>
                  </a:lnTo>
                  <a:lnTo>
                    <a:pt x="951" y="322"/>
                  </a:lnTo>
                  <a:lnTo>
                    <a:pt x="951" y="322"/>
                  </a:lnTo>
                  <a:lnTo>
                    <a:pt x="951" y="322"/>
                  </a:lnTo>
                  <a:lnTo>
                    <a:pt x="949" y="324"/>
                  </a:lnTo>
                  <a:lnTo>
                    <a:pt x="949" y="324"/>
                  </a:lnTo>
                  <a:lnTo>
                    <a:pt x="949" y="324"/>
                  </a:lnTo>
                  <a:lnTo>
                    <a:pt x="949" y="324"/>
                  </a:lnTo>
                  <a:lnTo>
                    <a:pt x="949" y="324"/>
                  </a:lnTo>
                  <a:lnTo>
                    <a:pt x="951" y="324"/>
                  </a:lnTo>
                  <a:lnTo>
                    <a:pt x="951" y="326"/>
                  </a:lnTo>
                  <a:lnTo>
                    <a:pt x="949" y="326"/>
                  </a:lnTo>
                  <a:lnTo>
                    <a:pt x="949" y="326"/>
                  </a:lnTo>
                  <a:lnTo>
                    <a:pt x="949" y="326"/>
                  </a:lnTo>
                  <a:lnTo>
                    <a:pt x="949" y="326"/>
                  </a:lnTo>
                  <a:lnTo>
                    <a:pt x="949" y="326"/>
                  </a:lnTo>
                  <a:lnTo>
                    <a:pt x="945" y="326"/>
                  </a:lnTo>
                  <a:lnTo>
                    <a:pt x="945" y="326"/>
                  </a:lnTo>
                  <a:lnTo>
                    <a:pt x="945" y="326"/>
                  </a:lnTo>
                  <a:lnTo>
                    <a:pt x="945" y="328"/>
                  </a:lnTo>
                  <a:lnTo>
                    <a:pt x="945" y="328"/>
                  </a:lnTo>
                  <a:lnTo>
                    <a:pt x="945" y="328"/>
                  </a:lnTo>
                  <a:lnTo>
                    <a:pt x="945" y="328"/>
                  </a:lnTo>
                  <a:lnTo>
                    <a:pt x="945" y="328"/>
                  </a:lnTo>
                  <a:lnTo>
                    <a:pt x="945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3" y="328"/>
                  </a:lnTo>
                  <a:lnTo>
                    <a:pt x="941" y="332"/>
                  </a:lnTo>
                  <a:lnTo>
                    <a:pt x="941" y="332"/>
                  </a:lnTo>
                  <a:lnTo>
                    <a:pt x="941" y="332"/>
                  </a:lnTo>
                  <a:lnTo>
                    <a:pt x="941" y="332"/>
                  </a:lnTo>
                  <a:lnTo>
                    <a:pt x="939" y="332"/>
                  </a:lnTo>
                  <a:lnTo>
                    <a:pt x="939" y="332"/>
                  </a:lnTo>
                  <a:lnTo>
                    <a:pt x="939" y="334"/>
                  </a:lnTo>
                  <a:lnTo>
                    <a:pt x="939" y="334"/>
                  </a:lnTo>
                  <a:lnTo>
                    <a:pt x="937" y="334"/>
                  </a:lnTo>
                  <a:lnTo>
                    <a:pt x="937" y="334"/>
                  </a:lnTo>
                  <a:lnTo>
                    <a:pt x="937" y="334"/>
                  </a:lnTo>
                  <a:lnTo>
                    <a:pt x="937" y="334"/>
                  </a:lnTo>
                  <a:lnTo>
                    <a:pt x="933" y="334"/>
                  </a:lnTo>
                  <a:lnTo>
                    <a:pt x="933" y="334"/>
                  </a:lnTo>
                  <a:lnTo>
                    <a:pt x="933" y="334"/>
                  </a:lnTo>
                  <a:lnTo>
                    <a:pt x="933" y="334"/>
                  </a:lnTo>
                  <a:lnTo>
                    <a:pt x="933" y="336"/>
                  </a:lnTo>
                  <a:lnTo>
                    <a:pt x="933" y="336"/>
                  </a:lnTo>
                  <a:lnTo>
                    <a:pt x="933" y="336"/>
                  </a:lnTo>
                  <a:lnTo>
                    <a:pt x="933" y="336"/>
                  </a:lnTo>
                  <a:lnTo>
                    <a:pt x="933" y="336"/>
                  </a:lnTo>
                  <a:lnTo>
                    <a:pt x="933" y="336"/>
                  </a:lnTo>
                  <a:lnTo>
                    <a:pt x="933" y="336"/>
                  </a:lnTo>
                  <a:lnTo>
                    <a:pt x="933" y="338"/>
                  </a:lnTo>
                  <a:lnTo>
                    <a:pt x="931" y="338"/>
                  </a:lnTo>
                  <a:lnTo>
                    <a:pt x="931" y="338"/>
                  </a:lnTo>
                  <a:lnTo>
                    <a:pt x="931" y="338"/>
                  </a:lnTo>
                  <a:lnTo>
                    <a:pt x="931" y="338"/>
                  </a:lnTo>
                  <a:lnTo>
                    <a:pt x="931" y="340"/>
                  </a:lnTo>
                  <a:lnTo>
                    <a:pt x="931" y="340"/>
                  </a:lnTo>
                  <a:lnTo>
                    <a:pt x="931" y="340"/>
                  </a:lnTo>
                  <a:lnTo>
                    <a:pt x="931" y="340"/>
                  </a:lnTo>
                  <a:lnTo>
                    <a:pt x="931" y="340"/>
                  </a:lnTo>
                  <a:lnTo>
                    <a:pt x="931" y="340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1" y="342"/>
                  </a:lnTo>
                  <a:lnTo>
                    <a:pt x="933" y="342"/>
                  </a:lnTo>
                  <a:lnTo>
                    <a:pt x="933" y="344"/>
                  </a:lnTo>
                  <a:lnTo>
                    <a:pt x="933" y="344"/>
                  </a:lnTo>
                  <a:lnTo>
                    <a:pt x="933" y="344"/>
                  </a:lnTo>
                  <a:lnTo>
                    <a:pt x="933" y="344"/>
                  </a:lnTo>
                  <a:lnTo>
                    <a:pt x="933" y="344"/>
                  </a:lnTo>
                  <a:lnTo>
                    <a:pt x="933" y="344"/>
                  </a:lnTo>
                  <a:lnTo>
                    <a:pt x="933" y="344"/>
                  </a:lnTo>
                  <a:lnTo>
                    <a:pt x="933" y="346"/>
                  </a:lnTo>
                  <a:lnTo>
                    <a:pt x="933" y="346"/>
                  </a:lnTo>
                  <a:lnTo>
                    <a:pt x="931" y="350"/>
                  </a:lnTo>
                  <a:lnTo>
                    <a:pt x="931" y="350"/>
                  </a:lnTo>
                  <a:lnTo>
                    <a:pt x="931" y="350"/>
                  </a:lnTo>
                  <a:lnTo>
                    <a:pt x="931" y="350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29" y="352"/>
                  </a:lnTo>
                  <a:lnTo>
                    <a:pt x="929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31" y="352"/>
                  </a:lnTo>
                  <a:lnTo>
                    <a:pt x="929" y="352"/>
                  </a:lnTo>
                  <a:lnTo>
                    <a:pt x="929" y="352"/>
                  </a:lnTo>
                  <a:lnTo>
                    <a:pt x="929" y="352"/>
                  </a:lnTo>
                  <a:lnTo>
                    <a:pt x="929" y="352"/>
                  </a:lnTo>
                  <a:lnTo>
                    <a:pt x="929" y="350"/>
                  </a:lnTo>
                  <a:lnTo>
                    <a:pt x="929" y="350"/>
                  </a:lnTo>
                  <a:lnTo>
                    <a:pt x="929" y="352"/>
                  </a:lnTo>
                  <a:lnTo>
                    <a:pt x="927" y="352"/>
                  </a:lnTo>
                  <a:lnTo>
                    <a:pt x="927" y="352"/>
                  </a:lnTo>
                  <a:lnTo>
                    <a:pt x="927" y="352"/>
                  </a:lnTo>
                  <a:lnTo>
                    <a:pt x="927" y="352"/>
                  </a:lnTo>
                  <a:lnTo>
                    <a:pt x="927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5" y="352"/>
                  </a:lnTo>
                  <a:lnTo>
                    <a:pt x="923" y="352"/>
                  </a:lnTo>
                  <a:lnTo>
                    <a:pt x="923" y="352"/>
                  </a:lnTo>
                  <a:lnTo>
                    <a:pt x="923" y="352"/>
                  </a:lnTo>
                  <a:lnTo>
                    <a:pt x="923" y="352"/>
                  </a:lnTo>
                  <a:lnTo>
                    <a:pt x="923" y="352"/>
                  </a:lnTo>
                  <a:lnTo>
                    <a:pt x="923" y="352"/>
                  </a:lnTo>
                  <a:lnTo>
                    <a:pt x="923" y="352"/>
                  </a:lnTo>
                  <a:lnTo>
                    <a:pt x="923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21" y="354"/>
                  </a:lnTo>
                  <a:lnTo>
                    <a:pt x="917" y="354"/>
                  </a:lnTo>
                  <a:lnTo>
                    <a:pt x="917" y="354"/>
                  </a:lnTo>
                  <a:lnTo>
                    <a:pt x="917" y="354"/>
                  </a:lnTo>
                  <a:lnTo>
                    <a:pt x="917" y="354"/>
                  </a:lnTo>
                  <a:lnTo>
                    <a:pt x="917" y="352"/>
                  </a:lnTo>
                  <a:lnTo>
                    <a:pt x="915" y="352"/>
                  </a:lnTo>
                  <a:lnTo>
                    <a:pt x="915" y="352"/>
                  </a:lnTo>
                  <a:lnTo>
                    <a:pt x="915" y="352"/>
                  </a:lnTo>
                  <a:lnTo>
                    <a:pt x="913" y="350"/>
                  </a:lnTo>
                  <a:lnTo>
                    <a:pt x="913" y="350"/>
                  </a:lnTo>
                  <a:lnTo>
                    <a:pt x="913" y="350"/>
                  </a:lnTo>
                  <a:lnTo>
                    <a:pt x="911" y="350"/>
                  </a:lnTo>
                  <a:lnTo>
                    <a:pt x="911" y="350"/>
                  </a:lnTo>
                  <a:lnTo>
                    <a:pt x="911" y="350"/>
                  </a:lnTo>
                  <a:lnTo>
                    <a:pt x="907" y="352"/>
                  </a:lnTo>
                  <a:lnTo>
                    <a:pt x="907" y="352"/>
                  </a:lnTo>
                  <a:lnTo>
                    <a:pt x="907" y="352"/>
                  </a:lnTo>
                  <a:lnTo>
                    <a:pt x="907" y="354"/>
                  </a:lnTo>
                  <a:lnTo>
                    <a:pt x="905" y="352"/>
                  </a:lnTo>
                  <a:lnTo>
                    <a:pt x="905" y="354"/>
                  </a:lnTo>
                  <a:lnTo>
                    <a:pt x="907" y="354"/>
                  </a:lnTo>
                  <a:lnTo>
                    <a:pt x="907" y="354"/>
                  </a:lnTo>
                  <a:lnTo>
                    <a:pt x="907" y="354"/>
                  </a:lnTo>
                  <a:lnTo>
                    <a:pt x="907" y="354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56"/>
                  </a:lnTo>
                  <a:lnTo>
                    <a:pt x="907" y="362"/>
                  </a:lnTo>
                  <a:lnTo>
                    <a:pt x="907" y="362"/>
                  </a:lnTo>
                  <a:lnTo>
                    <a:pt x="907" y="362"/>
                  </a:lnTo>
                  <a:lnTo>
                    <a:pt x="907" y="364"/>
                  </a:lnTo>
                  <a:lnTo>
                    <a:pt x="907" y="364"/>
                  </a:lnTo>
                  <a:lnTo>
                    <a:pt x="907" y="364"/>
                  </a:lnTo>
                  <a:lnTo>
                    <a:pt x="907" y="364"/>
                  </a:lnTo>
                  <a:lnTo>
                    <a:pt x="907" y="364"/>
                  </a:lnTo>
                  <a:lnTo>
                    <a:pt x="907" y="364"/>
                  </a:lnTo>
                  <a:lnTo>
                    <a:pt x="907" y="366"/>
                  </a:lnTo>
                  <a:lnTo>
                    <a:pt x="907" y="366"/>
                  </a:lnTo>
                  <a:lnTo>
                    <a:pt x="913" y="372"/>
                  </a:lnTo>
                  <a:lnTo>
                    <a:pt x="915" y="372"/>
                  </a:lnTo>
                  <a:lnTo>
                    <a:pt x="917" y="374"/>
                  </a:lnTo>
                  <a:lnTo>
                    <a:pt x="921" y="376"/>
                  </a:lnTo>
                  <a:lnTo>
                    <a:pt x="921" y="376"/>
                  </a:lnTo>
                  <a:lnTo>
                    <a:pt x="923" y="376"/>
                  </a:lnTo>
                  <a:lnTo>
                    <a:pt x="923" y="376"/>
                  </a:lnTo>
                  <a:lnTo>
                    <a:pt x="923" y="376"/>
                  </a:lnTo>
                  <a:lnTo>
                    <a:pt x="923" y="376"/>
                  </a:lnTo>
                  <a:lnTo>
                    <a:pt x="925" y="376"/>
                  </a:lnTo>
                  <a:lnTo>
                    <a:pt x="925" y="376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5" y="378"/>
                  </a:lnTo>
                  <a:lnTo>
                    <a:pt x="927" y="378"/>
                  </a:lnTo>
                  <a:lnTo>
                    <a:pt x="927" y="378"/>
                  </a:lnTo>
                  <a:lnTo>
                    <a:pt x="929" y="378"/>
                  </a:lnTo>
                  <a:lnTo>
                    <a:pt x="931" y="378"/>
                  </a:lnTo>
                  <a:lnTo>
                    <a:pt x="933" y="378"/>
                  </a:lnTo>
                  <a:lnTo>
                    <a:pt x="933" y="378"/>
                  </a:lnTo>
                  <a:lnTo>
                    <a:pt x="933" y="378"/>
                  </a:lnTo>
                  <a:lnTo>
                    <a:pt x="933" y="378"/>
                  </a:lnTo>
                  <a:lnTo>
                    <a:pt x="933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7" y="378"/>
                  </a:lnTo>
                  <a:lnTo>
                    <a:pt x="939" y="378"/>
                  </a:lnTo>
                  <a:lnTo>
                    <a:pt x="939" y="378"/>
                  </a:lnTo>
                  <a:lnTo>
                    <a:pt x="941" y="378"/>
                  </a:lnTo>
                  <a:lnTo>
                    <a:pt x="941" y="378"/>
                  </a:lnTo>
                  <a:lnTo>
                    <a:pt x="941" y="378"/>
                  </a:lnTo>
                  <a:lnTo>
                    <a:pt x="941" y="378"/>
                  </a:lnTo>
                  <a:lnTo>
                    <a:pt x="941" y="378"/>
                  </a:lnTo>
                  <a:lnTo>
                    <a:pt x="941" y="378"/>
                  </a:lnTo>
                  <a:lnTo>
                    <a:pt x="941" y="378"/>
                  </a:lnTo>
                  <a:lnTo>
                    <a:pt x="941" y="380"/>
                  </a:lnTo>
                  <a:lnTo>
                    <a:pt x="943" y="380"/>
                  </a:lnTo>
                  <a:lnTo>
                    <a:pt x="943" y="380"/>
                  </a:lnTo>
                  <a:lnTo>
                    <a:pt x="943" y="380"/>
                  </a:lnTo>
                  <a:lnTo>
                    <a:pt x="943" y="380"/>
                  </a:lnTo>
                  <a:lnTo>
                    <a:pt x="945" y="380"/>
                  </a:lnTo>
                  <a:lnTo>
                    <a:pt x="945" y="382"/>
                  </a:lnTo>
                  <a:lnTo>
                    <a:pt x="945" y="382"/>
                  </a:lnTo>
                  <a:lnTo>
                    <a:pt x="949" y="384"/>
                  </a:lnTo>
                  <a:lnTo>
                    <a:pt x="949" y="384"/>
                  </a:lnTo>
                  <a:lnTo>
                    <a:pt x="949" y="388"/>
                  </a:lnTo>
                  <a:lnTo>
                    <a:pt x="951" y="388"/>
                  </a:lnTo>
                  <a:lnTo>
                    <a:pt x="951" y="388"/>
                  </a:lnTo>
                  <a:lnTo>
                    <a:pt x="951" y="388"/>
                  </a:lnTo>
                  <a:lnTo>
                    <a:pt x="951" y="388"/>
                  </a:lnTo>
                  <a:lnTo>
                    <a:pt x="951" y="388"/>
                  </a:lnTo>
                  <a:lnTo>
                    <a:pt x="951" y="388"/>
                  </a:lnTo>
                  <a:lnTo>
                    <a:pt x="951" y="388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51" y="390"/>
                  </a:lnTo>
                  <a:lnTo>
                    <a:pt x="949" y="390"/>
                  </a:lnTo>
                  <a:lnTo>
                    <a:pt x="951" y="390"/>
                  </a:lnTo>
                  <a:lnTo>
                    <a:pt x="951" y="392"/>
                  </a:lnTo>
                  <a:lnTo>
                    <a:pt x="951" y="392"/>
                  </a:lnTo>
                  <a:lnTo>
                    <a:pt x="951" y="398"/>
                  </a:lnTo>
                  <a:lnTo>
                    <a:pt x="953" y="398"/>
                  </a:lnTo>
                  <a:lnTo>
                    <a:pt x="953" y="400"/>
                  </a:lnTo>
                  <a:lnTo>
                    <a:pt x="953" y="400"/>
                  </a:lnTo>
                  <a:lnTo>
                    <a:pt x="953" y="400"/>
                  </a:lnTo>
                  <a:lnTo>
                    <a:pt x="953" y="400"/>
                  </a:lnTo>
                  <a:lnTo>
                    <a:pt x="955" y="400"/>
                  </a:lnTo>
                  <a:lnTo>
                    <a:pt x="955" y="400"/>
                  </a:lnTo>
                  <a:lnTo>
                    <a:pt x="955" y="400"/>
                  </a:lnTo>
                  <a:lnTo>
                    <a:pt x="959" y="402"/>
                  </a:lnTo>
                  <a:lnTo>
                    <a:pt x="959" y="402"/>
                  </a:lnTo>
                  <a:lnTo>
                    <a:pt x="961" y="402"/>
                  </a:lnTo>
                  <a:lnTo>
                    <a:pt x="965" y="402"/>
                  </a:lnTo>
                  <a:lnTo>
                    <a:pt x="965" y="402"/>
                  </a:lnTo>
                  <a:lnTo>
                    <a:pt x="965" y="402"/>
                  </a:lnTo>
                  <a:lnTo>
                    <a:pt x="967" y="402"/>
                  </a:lnTo>
                  <a:lnTo>
                    <a:pt x="967" y="402"/>
                  </a:lnTo>
                  <a:lnTo>
                    <a:pt x="969" y="402"/>
                  </a:lnTo>
                  <a:lnTo>
                    <a:pt x="969" y="402"/>
                  </a:lnTo>
                  <a:lnTo>
                    <a:pt x="971" y="402"/>
                  </a:lnTo>
                  <a:lnTo>
                    <a:pt x="971" y="402"/>
                  </a:lnTo>
                  <a:lnTo>
                    <a:pt x="971" y="402"/>
                  </a:lnTo>
                  <a:lnTo>
                    <a:pt x="971" y="400"/>
                  </a:lnTo>
                  <a:lnTo>
                    <a:pt x="971" y="400"/>
                  </a:lnTo>
                  <a:lnTo>
                    <a:pt x="971" y="400"/>
                  </a:lnTo>
                  <a:lnTo>
                    <a:pt x="971" y="398"/>
                  </a:lnTo>
                  <a:lnTo>
                    <a:pt x="969" y="398"/>
                  </a:lnTo>
                  <a:lnTo>
                    <a:pt x="969" y="398"/>
                  </a:lnTo>
                  <a:lnTo>
                    <a:pt x="971" y="398"/>
                  </a:lnTo>
                  <a:lnTo>
                    <a:pt x="971" y="398"/>
                  </a:lnTo>
                  <a:lnTo>
                    <a:pt x="971" y="394"/>
                  </a:lnTo>
                  <a:lnTo>
                    <a:pt x="971" y="394"/>
                  </a:lnTo>
                  <a:lnTo>
                    <a:pt x="971" y="394"/>
                  </a:lnTo>
                  <a:lnTo>
                    <a:pt x="973" y="394"/>
                  </a:lnTo>
                  <a:lnTo>
                    <a:pt x="977" y="392"/>
                  </a:lnTo>
                  <a:lnTo>
                    <a:pt x="977" y="390"/>
                  </a:lnTo>
                  <a:lnTo>
                    <a:pt x="977" y="390"/>
                  </a:lnTo>
                  <a:lnTo>
                    <a:pt x="977" y="390"/>
                  </a:lnTo>
                  <a:lnTo>
                    <a:pt x="977" y="390"/>
                  </a:lnTo>
                  <a:lnTo>
                    <a:pt x="977" y="390"/>
                  </a:lnTo>
                  <a:lnTo>
                    <a:pt x="973" y="390"/>
                  </a:lnTo>
                  <a:lnTo>
                    <a:pt x="973" y="390"/>
                  </a:lnTo>
                  <a:lnTo>
                    <a:pt x="973" y="390"/>
                  </a:lnTo>
                  <a:lnTo>
                    <a:pt x="973" y="390"/>
                  </a:lnTo>
                  <a:lnTo>
                    <a:pt x="973" y="390"/>
                  </a:lnTo>
                  <a:lnTo>
                    <a:pt x="977" y="390"/>
                  </a:lnTo>
                  <a:lnTo>
                    <a:pt x="977" y="388"/>
                  </a:lnTo>
                  <a:lnTo>
                    <a:pt x="977" y="388"/>
                  </a:lnTo>
                  <a:lnTo>
                    <a:pt x="977" y="388"/>
                  </a:lnTo>
                  <a:lnTo>
                    <a:pt x="979" y="388"/>
                  </a:lnTo>
                  <a:lnTo>
                    <a:pt x="979" y="388"/>
                  </a:lnTo>
                  <a:lnTo>
                    <a:pt x="979" y="388"/>
                  </a:lnTo>
                  <a:lnTo>
                    <a:pt x="981" y="388"/>
                  </a:lnTo>
                  <a:lnTo>
                    <a:pt x="981" y="388"/>
                  </a:lnTo>
                  <a:lnTo>
                    <a:pt x="981" y="388"/>
                  </a:lnTo>
                  <a:lnTo>
                    <a:pt x="981" y="384"/>
                  </a:lnTo>
                  <a:lnTo>
                    <a:pt x="981" y="384"/>
                  </a:lnTo>
                  <a:lnTo>
                    <a:pt x="983" y="384"/>
                  </a:lnTo>
                  <a:lnTo>
                    <a:pt x="983" y="384"/>
                  </a:lnTo>
                  <a:lnTo>
                    <a:pt x="983" y="384"/>
                  </a:lnTo>
                  <a:lnTo>
                    <a:pt x="987" y="384"/>
                  </a:lnTo>
                  <a:lnTo>
                    <a:pt x="987" y="384"/>
                  </a:lnTo>
                  <a:lnTo>
                    <a:pt x="987" y="384"/>
                  </a:lnTo>
                  <a:lnTo>
                    <a:pt x="987" y="384"/>
                  </a:lnTo>
                  <a:lnTo>
                    <a:pt x="987" y="384"/>
                  </a:lnTo>
                  <a:lnTo>
                    <a:pt x="987" y="384"/>
                  </a:lnTo>
                  <a:lnTo>
                    <a:pt x="987" y="384"/>
                  </a:lnTo>
                  <a:lnTo>
                    <a:pt x="989" y="384"/>
                  </a:lnTo>
                  <a:lnTo>
                    <a:pt x="989" y="384"/>
                  </a:lnTo>
                  <a:lnTo>
                    <a:pt x="989" y="388"/>
                  </a:lnTo>
                  <a:lnTo>
                    <a:pt x="989" y="388"/>
                  </a:lnTo>
                  <a:lnTo>
                    <a:pt x="989" y="388"/>
                  </a:lnTo>
                  <a:lnTo>
                    <a:pt x="989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1" y="388"/>
                  </a:lnTo>
                  <a:lnTo>
                    <a:pt x="993" y="388"/>
                  </a:lnTo>
                  <a:lnTo>
                    <a:pt x="993" y="388"/>
                  </a:lnTo>
                  <a:lnTo>
                    <a:pt x="993" y="388"/>
                  </a:lnTo>
                  <a:lnTo>
                    <a:pt x="993" y="390"/>
                  </a:lnTo>
                  <a:lnTo>
                    <a:pt x="993" y="390"/>
                  </a:lnTo>
                  <a:lnTo>
                    <a:pt x="993" y="390"/>
                  </a:lnTo>
                  <a:lnTo>
                    <a:pt x="993" y="390"/>
                  </a:lnTo>
                  <a:lnTo>
                    <a:pt x="993" y="390"/>
                  </a:lnTo>
                  <a:lnTo>
                    <a:pt x="993" y="390"/>
                  </a:lnTo>
                  <a:lnTo>
                    <a:pt x="993" y="390"/>
                  </a:lnTo>
                  <a:lnTo>
                    <a:pt x="997" y="392"/>
                  </a:lnTo>
                  <a:lnTo>
                    <a:pt x="997" y="392"/>
                  </a:lnTo>
                  <a:lnTo>
                    <a:pt x="997" y="392"/>
                  </a:lnTo>
                  <a:lnTo>
                    <a:pt x="999" y="392"/>
                  </a:lnTo>
                  <a:lnTo>
                    <a:pt x="999" y="392"/>
                  </a:lnTo>
                  <a:lnTo>
                    <a:pt x="999" y="390"/>
                  </a:lnTo>
                  <a:lnTo>
                    <a:pt x="999" y="390"/>
                  </a:lnTo>
                  <a:lnTo>
                    <a:pt x="999" y="390"/>
                  </a:lnTo>
                  <a:lnTo>
                    <a:pt x="999" y="390"/>
                  </a:lnTo>
                  <a:lnTo>
                    <a:pt x="1001" y="390"/>
                  </a:lnTo>
                  <a:lnTo>
                    <a:pt x="1001" y="390"/>
                  </a:lnTo>
                  <a:lnTo>
                    <a:pt x="1001" y="390"/>
                  </a:lnTo>
                  <a:lnTo>
                    <a:pt x="1001" y="390"/>
                  </a:lnTo>
                  <a:lnTo>
                    <a:pt x="1001" y="392"/>
                  </a:lnTo>
                  <a:lnTo>
                    <a:pt x="1001" y="392"/>
                  </a:lnTo>
                  <a:lnTo>
                    <a:pt x="1001" y="392"/>
                  </a:lnTo>
                  <a:lnTo>
                    <a:pt x="1001" y="392"/>
                  </a:lnTo>
                  <a:lnTo>
                    <a:pt x="1001" y="392"/>
                  </a:lnTo>
                  <a:lnTo>
                    <a:pt x="1003" y="392"/>
                  </a:lnTo>
                  <a:lnTo>
                    <a:pt x="1003" y="394"/>
                  </a:lnTo>
                  <a:lnTo>
                    <a:pt x="1003" y="394"/>
                  </a:lnTo>
                  <a:lnTo>
                    <a:pt x="1003" y="394"/>
                  </a:lnTo>
                  <a:lnTo>
                    <a:pt x="1003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7" y="394"/>
                  </a:lnTo>
                  <a:lnTo>
                    <a:pt x="1007" y="394"/>
                  </a:lnTo>
                  <a:lnTo>
                    <a:pt x="1007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5" y="394"/>
                  </a:lnTo>
                  <a:lnTo>
                    <a:pt x="1007" y="394"/>
                  </a:lnTo>
                  <a:lnTo>
                    <a:pt x="1007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4" y="394"/>
                  </a:lnTo>
                  <a:lnTo>
                    <a:pt x="1014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4"/>
                  </a:lnTo>
                  <a:lnTo>
                    <a:pt x="1011" y="392"/>
                  </a:lnTo>
                  <a:lnTo>
                    <a:pt x="1011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4" y="392"/>
                  </a:lnTo>
                  <a:lnTo>
                    <a:pt x="1018" y="392"/>
                  </a:lnTo>
                  <a:lnTo>
                    <a:pt x="1018" y="392"/>
                  </a:lnTo>
                  <a:lnTo>
                    <a:pt x="1018" y="392"/>
                  </a:lnTo>
                  <a:lnTo>
                    <a:pt x="1018" y="394"/>
                  </a:lnTo>
                  <a:lnTo>
                    <a:pt x="1018" y="394"/>
                  </a:lnTo>
                  <a:lnTo>
                    <a:pt x="1018" y="394"/>
                  </a:lnTo>
                  <a:lnTo>
                    <a:pt x="1018" y="394"/>
                  </a:lnTo>
                  <a:lnTo>
                    <a:pt x="1018" y="394"/>
                  </a:lnTo>
                  <a:lnTo>
                    <a:pt x="1018" y="394"/>
                  </a:lnTo>
                  <a:lnTo>
                    <a:pt x="1020" y="394"/>
                  </a:lnTo>
                  <a:lnTo>
                    <a:pt x="1020" y="394"/>
                  </a:lnTo>
                  <a:lnTo>
                    <a:pt x="1020" y="394"/>
                  </a:lnTo>
                  <a:lnTo>
                    <a:pt x="1020" y="394"/>
                  </a:lnTo>
                  <a:lnTo>
                    <a:pt x="1020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4" y="394"/>
                  </a:lnTo>
                  <a:lnTo>
                    <a:pt x="1028" y="398"/>
                  </a:lnTo>
                  <a:lnTo>
                    <a:pt x="1028" y="394"/>
                  </a:lnTo>
                  <a:lnTo>
                    <a:pt x="1028" y="394"/>
                  </a:lnTo>
                  <a:lnTo>
                    <a:pt x="1028" y="394"/>
                  </a:lnTo>
                  <a:lnTo>
                    <a:pt x="1030" y="394"/>
                  </a:lnTo>
                  <a:lnTo>
                    <a:pt x="1030" y="394"/>
                  </a:lnTo>
                  <a:lnTo>
                    <a:pt x="1030" y="394"/>
                  </a:lnTo>
                  <a:lnTo>
                    <a:pt x="1030" y="398"/>
                  </a:lnTo>
                  <a:lnTo>
                    <a:pt x="1030" y="398"/>
                  </a:lnTo>
                  <a:lnTo>
                    <a:pt x="1030" y="398"/>
                  </a:lnTo>
                  <a:lnTo>
                    <a:pt x="1028" y="398"/>
                  </a:lnTo>
                  <a:lnTo>
                    <a:pt x="1028" y="398"/>
                  </a:lnTo>
                  <a:lnTo>
                    <a:pt x="1028" y="398"/>
                  </a:lnTo>
                  <a:lnTo>
                    <a:pt x="1028" y="398"/>
                  </a:lnTo>
                  <a:lnTo>
                    <a:pt x="1028" y="398"/>
                  </a:lnTo>
                  <a:lnTo>
                    <a:pt x="1030" y="400"/>
                  </a:lnTo>
                  <a:lnTo>
                    <a:pt x="1028" y="398"/>
                  </a:lnTo>
                  <a:lnTo>
                    <a:pt x="1028" y="398"/>
                  </a:lnTo>
                  <a:lnTo>
                    <a:pt x="1028" y="398"/>
                  </a:lnTo>
                  <a:lnTo>
                    <a:pt x="1028" y="400"/>
                  </a:lnTo>
                  <a:lnTo>
                    <a:pt x="1028" y="400"/>
                  </a:lnTo>
                  <a:lnTo>
                    <a:pt x="1030" y="400"/>
                  </a:lnTo>
                  <a:lnTo>
                    <a:pt x="1030" y="400"/>
                  </a:lnTo>
                  <a:lnTo>
                    <a:pt x="1030" y="400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30" y="402"/>
                  </a:lnTo>
                  <a:lnTo>
                    <a:pt x="1028" y="402"/>
                  </a:lnTo>
                  <a:lnTo>
                    <a:pt x="1028" y="402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2"/>
                  </a:lnTo>
                  <a:lnTo>
                    <a:pt x="1028" y="402"/>
                  </a:lnTo>
                  <a:lnTo>
                    <a:pt x="1028" y="402"/>
                  </a:lnTo>
                  <a:lnTo>
                    <a:pt x="1028" y="402"/>
                  </a:lnTo>
                  <a:lnTo>
                    <a:pt x="1028" y="402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4"/>
                  </a:lnTo>
                  <a:lnTo>
                    <a:pt x="1028" y="406"/>
                  </a:lnTo>
                  <a:lnTo>
                    <a:pt x="1028" y="406"/>
                  </a:lnTo>
                  <a:lnTo>
                    <a:pt x="1028" y="406"/>
                  </a:lnTo>
                  <a:lnTo>
                    <a:pt x="1030" y="406"/>
                  </a:lnTo>
                  <a:lnTo>
                    <a:pt x="1028" y="404"/>
                  </a:lnTo>
                  <a:lnTo>
                    <a:pt x="1030" y="404"/>
                  </a:lnTo>
                  <a:lnTo>
                    <a:pt x="1030" y="406"/>
                  </a:lnTo>
                  <a:lnTo>
                    <a:pt x="1030" y="404"/>
                  </a:lnTo>
                  <a:lnTo>
                    <a:pt x="1032" y="406"/>
                  </a:lnTo>
                  <a:lnTo>
                    <a:pt x="1032" y="408"/>
                  </a:lnTo>
                  <a:lnTo>
                    <a:pt x="1032" y="408"/>
                  </a:lnTo>
                  <a:lnTo>
                    <a:pt x="1032" y="408"/>
                  </a:lnTo>
                  <a:lnTo>
                    <a:pt x="1032" y="408"/>
                  </a:lnTo>
                  <a:lnTo>
                    <a:pt x="1032" y="408"/>
                  </a:lnTo>
                  <a:lnTo>
                    <a:pt x="1032" y="408"/>
                  </a:lnTo>
                  <a:lnTo>
                    <a:pt x="1032" y="408"/>
                  </a:lnTo>
                  <a:lnTo>
                    <a:pt x="1032" y="406"/>
                  </a:lnTo>
                  <a:lnTo>
                    <a:pt x="1030" y="406"/>
                  </a:lnTo>
                  <a:lnTo>
                    <a:pt x="1030" y="406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08"/>
                  </a:lnTo>
                  <a:lnTo>
                    <a:pt x="1030" y="412"/>
                  </a:lnTo>
                  <a:lnTo>
                    <a:pt x="1030" y="412"/>
                  </a:lnTo>
                  <a:lnTo>
                    <a:pt x="1028" y="412"/>
                  </a:lnTo>
                  <a:lnTo>
                    <a:pt x="1024" y="408"/>
                  </a:lnTo>
                  <a:lnTo>
                    <a:pt x="1024" y="408"/>
                  </a:lnTo>
                  <a:lnTo>
                    <a:pt x="1024" y="408"/>
                  </a:lnTo>
                  <a:lnTo>
                    <a:pt x="1024" y="408"/>
                  </a:lnTo>
                  <a:lnTo>
                    <a:pt x="1024" y="408"/>
                  </a:lnTo>
                  <a:lnTo>
                    <a:pt x="1028" y="408"/>
                  </a:lnTo>
                  <a:lnTo>
                    <a:pt x="1024" y="408"/>
                  </a:lnTo>
                  <a:lnTo>
                    <a:pt x="1024" y="408"/>
                  </a:lnTo>
                  <a:lnTo>
                    <a:pt x="1024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6"/>
                  </a:lnTo>
                  <a:lnTo>
                    <a:pt x="1022" y="408"/>
                  </a:lnTo>
                  <a:lnTo>
                    <a:pt x="1022" y="408"/>
                  </a:lnTo>
                  <a:lnTo>
                    <a:pt x="1022" y="408"/>
                  </a:lnTo>
                  <a:lnTo>
                    <a:pt x="1022" y="408"/>
                  </a:lnTo>
                  <a:lnTo>
                    <a:pt x="1022" y="408"/>
                  </a:lnTo>
                  <a:lnTo>
                    <a:pt x="1020" y="408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20" y="406"/>
                  </a:lnTo>
                  <a:lnTo>
                    <a:pt x="1018" y="406"/>
                  </a:lnTo>
                  <a:lnTo>
                    <a:pt x="1018" y="406"/>
                  </a:lnTo>
                  <a:lnTo>
                    <a:pt x="1018" y="406"/>
                  </a:lnTo>
                  <a:lnTo>
                    <a:pt x="1018" y="406"/>
                  </a:lnTo>
                  <a:lnTo>
                    <a:pt x="1020" y="406"/>
                  </a:lnTo>
                  <a:lnTo>
                    <a:pt x="1018" y="408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08"/>
                  </a:lnTo>
                  <a:lnTo>
                    <a:pt x="1014" y="408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4" y="412"/>
                  </a:lnTo>
                  <a:lnTo>
                    <a:pt x="1014" y="412"/>
                  </a:lnTo>
                  <a:lnTo>
                    <a:pt x="1014" y="414"/>
                  </a:lnTo>
                  <a:lnTo>
                    <a:pt x="1014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08"/>
                  </a:lnTo>
                  <a:lnTo>
                    <a:pt x="1011" y="408"/>
                  </a:lnTo>
                  <a:lnTo>
                    <a:pt x="1011" y="408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11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2"/>
                  </a:lnTo>
                  <a:lnTo>
                    <a:pt x="1009" y="414"/>
                  </a:lnTo>
                  <a:lnTo>
                    <a:pt x="1009" y="414"/>
                  </a:lnTo>
                  <a:lnTo>
                    <a:pt x="1009" y="414"/>
                  </a:lnTo>
                  <a:lnTo>
                    <a:pt x="1009" y="414"/>
                  </a:lnTo>
                  <a:lnTo>
                    <a:pt x="1009" y="414"/>
                  </a:lnTo>
                  <a:lnTo>
                    <a:pt x="1007" y="414"/>
                  </a:lnTo>
                  <a:lnTo>
                    <a:pt x="1007" y="414"/>
                  </a:lnTo>
                  <a:lnTo>
                    <a:pt x="1005" y="414"/>
                  </a:lnTo>
                  <a:lnTo>
                    <a:pt x="1005" y="414"/>
                  </a:lnTo>
                  <a:lnTo>
                    <a:pt x="1005" y="416"/>
                  </a:lnTo>
                  <a:lnTo>
                    <a:pt x="1005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3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999" y="416"/>
                  </a:lnTo>
                  <a:lnTo>
                    <a:pt x="999" y="414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999" y="418"/>
                  </a:lnTo>
                  <a:lnTo>
                    <a:pt x="999" y="418"/>
                  </a:lnTo>
                  <a:lnTo>
                    <a:pt x="999" y="418"/>
                  </a:lnTo>
                  <a:lnTo>
                    <a:pt x="999" y="416"/>
                  </a:lnTo>
                  <a:lnTo>
                    <a:pt x="999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6"/>
                  </a:lnTo>
                  <a:lnTo>
                    <a:pt x="1001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18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3" y="420"/>
                  </a:lnTo>
                  <a:lnTo>
                    <a:pt x="1001" y="420"/>
                  </a:lnTo>
                  <a:lnTo>
                    <a:pt x="1001" y="420"/>
                  </a:lnTo>
                  <a:lnTo>
                    <a:pt x="1001" y="420"/>
                  </a:lnTo>
                  <a:lnTo>
                    <a:pt x="1001" y="418"/>
                  </a:lnTo>
                  <a:lnTo>
                    <a:pt x="1001" y="418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999" y="420"/>
                  </a:lnTo>
                  <a:lnTo>
                    <a:pt x="1001" y="422"/>
                  </a:lnTo>
                  <a:lnTo>
                    <a:pt x="1001" y="422"/>
                  </a:lnTo>
                  <a:lnTo>
                    <a:pt x="1001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999" y="422"/>
                  </a:lnTo>
                  <a:lnTo>
                    <a:pt x="1001" y="426"/>
                  </a:lnTo>
                  <a:lnTo>
                    <a:pt x="1001" y="426"/>
                  </a:lnTo>
                  <a:lnTo>
                    <a:pt x="1001" y="426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1001" y="428"/>
                  </a:lnTo>
                  <a:lnTo>
                    <a:pt x="999" y="428"/>
                  </a:lnTo>
                  <a:lnTo>
                    <a:pt x="999" y="428"/>
                  </a:lnTo>
                  <a:lnTo>
                    <a:pt x="999" y="428"/>
                  </a:lnTo>
                  <a:lnTo>
                    <a:pt x="999" y="428"/>
                  </a:lnTo>
                  <a:lnTo>
                    <a:pt x="999" y="428"/>
                  </a:lnTo>
                  <a:lnTo>
                    <a:pt x="999" y="428"/>
                  </a:lnTo>
                  <a:lnTo>
                    <a:pt x="999" y="428"/>
                  </a:lnTo>
                  <a:lnTo>
                    <a:pt x="997" y="430"/>
                  </a:lnTo>
                  <a:lnTo>
                    <a:pt x="997" y="430"/>
                  </a:lnTo>
                  <a:lnTo>
                    <a:pt x="997" y="430"/>
                  </a:lnTo>
                  <a:lnTo>
                    <a:pt x="997" y="430"/>
                  </a:lnTo>
                  <a:lnTo>
                    <a:pt x="997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28"/>
                  </a:lnTo>
                  <a:lnTo>
                    <a:pt x="993" y="428"/>
                  </a:lnTo>
                  <a:lnTo>
                    <a:pt x="993" y="428"/>
                  </a:lnTo>
                  <a:lnTo>
                    <a:pt x="993" y="428"/>
                  </a:lnTo>
                  <a:lnTo>
                    <a:pt x="993" y="426"/>
                  </a:lnTo>
                  <a:lnTo>
                    <a:pt x="993" y="426"/>
                  </a:lnTo>
                  <a:lnTo>
                    <a:pt x="993" y="426"/>
                  </a:lnTo>
                  <a:lnTo>
                    <a:pt x="993" y="426"/>
                  </a:lnTo>
                  <a:lnTo>
                    <a:pt x="991" y="426"/>
                  </a:lnTo>
                  <a:lnTo>
                    <a:pt x="991" y="422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3" y="426"/>
                  </a:lnTo>
                  <a:lnTo>
                    <a:pt x="993" y="428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91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6"/>
                  </a:lnTo>
                  <a:lnTo>
                    <a:pt x="989" y="428"/>
                  </a:lnTo>
                  <a:lnTo>
                    <a:pt x="989" y="428"/>
                  </a:lnTo>
                  <a:lnTo>
                    <a:pt x="989" y="428"/>
                  </a:lnTo>
                  <a:lnTo>
                    <a:pt x="989" y="428"/>
                  </a:lnTo>
                  <a:lnTo>
                    <a:pt x="989" y="428"/>
                  </a:lnTo>
                  <a:lnTo>
                    <a:pt x="989" y="428"/>
                  </a:lnTo>
                  <a:lnTo>
                    <a:pt x="991" y="428"/>
                  </a:lnTo>
                  <a:lnTo>
                    <a:pt x="991" y="430"/>
                  </a:lnTo>
                  <a:lnTo>
                    <a:pt x="991" y="430"/>
                  </a:lnTo>
                  <a:lnTo>
                    <a:pt x="991" y="430"/>
                  </a:lnTo>
                  <a:lnTo>
                    <a:pt x="991" y="430"/>
                  </a:lnTo>
                  <a:lnTo>
                    <a:pt x="991" y="430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0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3" y="430"/>
                  </a:lnTo>
                  <a:lnTo>
                    <a:pt x="997" y="430"/>
                  </a:lnTo>
                  <a:lnTo>
                    <a:pt x="997" y="432"/>
                  </a:lnTo>
                  <a:lnTo>
                    <a:pt x="997" y="432"/>
                  </a:lnTo>
                  <a:lnTo>
                    <a:pt x="997" y="432"/>
                  </a:lnTo>
                  <a:lnTo>
                    <a:pt x="997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6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3" y="432"/>
                  </a:lnTo>
                  <a:lnTo>
                    <a:pt x="991" y="432"/>
                  </a:lnTo>
                  <a:lnTo>
                    <a:pt x="991" y="432"/>
                  </a:lnTo>
                  <a:lnTo>
                    <a:pt x="991" y="432"/>
                  </a:lnTo>
                  <a:lnTo>
                    <a:pt x="991" y="432"/>
                  </a:lnTo>
                  <a:lnTo>
                    <a:pt x="991" y="436"/>
                  </a:lnTo>
                  <a:lnTo>
                    <a:pt x="991" y="436"/>
                  </a:lnTo>
                  <a:lnTo>
                    <a:pt x="991" y="438"/>
                  </a:lnTo>
                  <a:lnTo>
                    <a:pt x="991" y="438"/>
                  </a:lnTo>
                  <a:lnTo>
                    <a:pt x="991" y="438"/>
                  </a:lnTo>
                  <a:lnTo>
                    <a:pt x="989" y="438"/>
                  </a:lnTo>
                  <a:lnTo>
                    <a:pt x="989" y="438"/>
                  </a:lnTo>
                  <a:lnTo>
                    <a:pt x="989" y="438"/>
                  </a:lnTo>
                  <a:lnTo>
                    <a:pt x="989" y="438"/>
                  </a:lnTo>
                  <a:lnTo>
                    <a:pt x="989" y="438"/>
                  </a:lnTo>
                  <a:lnTo>
                    <a:pt x="991" y="438"/>
                  </a:lnTo>
                  <a:lnTo>
                    <a:pt x="991" y="440"/>
                  </a:lnTo>
                  <a:lnTo>
                    <a:pt x="991" y="440"/>
                  </a:lnTo>
                  <a:lnTo>
                    <a:pt x="989" y="440"/>
                  </a:lnTo>
                  <a:lnTo>
                    <a:pt x="989" y="440"/>
                  </a:lnTo>
                  <a:lnTo>
                    <a:pt x="989" y="440"/>
                  </a:lnTo>
                  <a:lnTo>
                    <a:pt x="991" y="440"/>
                  </a:lnTo>
                  <a:lnTo>
                    <a:pt x="991" y="440"/>
                  </a:lnTo>
                  <a:lnTo>
                    <a:pt x="991" y="440"/>
                  </a:lnTo>
                  <a:lnTo>
                    <a:pt x="991" y="440"/>
                  </a:lnTo>
                  <a:lnTo>
                    <a:pt x="991" y="440"/>
                  </a:lnTo>
                  <a:lnTo>
                    <a:pt x="991" y="440"/>
                  </a:lnTo>
                  <a:lnTo>
                    <a:pt x="989" y="440"/>
                  </a:lnTo>
                  <a:lnTo>
                    <a:pt x="989" y="442"/>
                  </a:lnTo>
                  <a:lnTo>
                    <a:pt x="989" y="440"/>
                  </a:lnTo>
                  <a:lnTo>
                    <a:pt x="989" y="440"/>
                  </a:lnTo>
                  <a:lnTo>
                    <a:pt x="989" y="440"/>
                  </a:lnTo>
                  <a:lnTo>
                    <a:pt x="989" y="440"/>
                  </a:lnTo>
                  <a:lnTo>
                    <a:pt x="989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0"/>
                  </a:lnTo>
                  <a:lnTo>
                    <a:pt x="987" y="440"/>
                  </a:lnTo>
                  <a:lnTo>
                    <a:pt x="987" y="440"/>
                  </a:lnTo>
                  <a:lnTo>
                    <a:pt x="987" y="440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2"/>
                  </a:lnTo>
                  <a:lnTo>
                    <a:pt x="987" y="445"/>
                  </a:lnTo>
                  <a:lnTo>
                    <a:pt x="987" y="445"/>
                  </a:lnTo>
                  <a:lnTo>
                    <a:pt x="987" y="445"/>
                  </a:lnTo>
                  <a:lnTo>
                    <a:pt x="987" y="445"/>
                  </a:lnTo>
                  <a:lnTo>
                    <a:pt x="987" y="445"/>
                  </a:lnTo>
                  <a:lnTo>
                    <a:pt x="987" y="447"/>
                  </a:lnTo>
                  <a:lnTo>
                    <a:pt x="987" y="447"/>
                  </a:lnTo>
                  <a:lnTo>
                    <a:pt x="987" y="447"/>
                  </a:lnTo>
                  <a:lnTo>
                    <a:pt x="987" y="447"/>
                  </a:lnTo>
                  <a:lnTo>
                    <a:pt x="983" y="447"/>
                  </a:lnTo>
                  <a:lnTo>
                    <a:pt x="983" y="447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49"/>
                  </a:lnTo>
                  <a:lnTo>
                    <a:pt x="983" y="453"/>
                  </a:lnTo>
                  <a:lnTo>
                    <a:pt x="983" y="455"/>
                  </a:lnTo>
                  <a:lnTo>
                    <a:pt x="983" y="455"/>
                  </a:lnTo>
                  <a:lnTo>
                    <a:pt x="983" y="455"/>
                  </a:lnTo>
                  <a:lnTo>
                    <a:pt x="983" y="455"/>
                  </a:lnTo>
                  <a:lnTo>
                    <a:pt x="981" y="455"/>
                  </a:lnTo>
                  <a:lnTo>
                    <a:pt x="981" y="455"/>
                  </a:lnTo>
                  <a:lnTo>
                    <a:pt x="981" y="455"/>
                  </a:lnTo>
                  <a:lnTo>
                    <a:pt x="981" y="455"/>
                  </a:lnTo>
                  <a:lnTo>
                    <a:pt x="981" y="455"/>
                  </a:lnTo>
                  <a:lnTo>
                    <a:pt x="981" y="457"/>
                  </a:lnTo>
                  <a:lnTo>
                    <a:pt x="981" y="457"/>
                  </a:lnTo>
                  <a:lnTo>
                    <a:pt x="981" y="457"/>
                  </a:lnTo>
                  <a:lnTo>
                    <a:pt x="981" y="457"/>
                  </a:lnTo>
                  <a:lnTo>
                    <a:pt x="981" y="459"/>
                  </a:lnTo>
                  <a:lnTo>
                    <a:pt x="983" y="459"/>
                  </a:lnTo>
                  <a:lnTo>
                    <a:pt x="981" y="459"/>
                  </a:lnTo>
                  <a:lnTo>
                    <a:pt x="983" y="461"/>
                  </a:lnTo>
                  <a:lnTo>
                    <a:pt x="983" y="461"/>
                  </a:lnTo>
                  <a:lnTo>
                    <a:pt x="983" y="461"/>
                  </a:lnTo>
                  <a:lnTo>
                    <a:pt x="983" y="461"/>
                  </a:lnTo>
                  <a:lnTo>
                    <a:pt x="983" y="465"/>
                  </a:lnTo>
                  <a:lnTo>
                    <a:pt x="983" y="465"/>
                  </a:lnTo>
                  <a:lnTo>
                    <a:pt x="983" y="465"/>
                  </a:lnTo>
                  <a:lnTo>
                    <a:pt x="983" y="465"/>
                  </a:lnTo>
                  <a:lnTo>
                    <a:pt x="983" y="465"/>
                  </a:lnTo>
                  <a:lnTo>
                    <a:pt x="983" y="465"/>
                  </a:lnTo>
                  <a:lnTo>
                    <a:pt x="983" y="461"/>
                  </a:lnTo>
                  <a:lnTo>
                    <a:pt x="987" y="461"/>
                  </a:lnTo>
                  <a:lnTo>
                    <a:pt x="987" y="465"/>
                  </a:lnTo>
                  <a:lnTo>
                    <a:pt x="987" y="465"/>
                  </a:lnTo>
                  <a:lnTo>
                    <a:pt x="987" y="461"/>
                  </a:lnTo>
                  <a:lnTo>
                    <a:pt x="987" y="461"/>
                  </a:lnTo>
                  <a:lnTo>
                    <a:pt x="987" y="461"/>
                  </a:lnTo>
                  <a:lnTo>
                    <a:pt x="989" y="461"/>
                  </a:lnTo>
                  <a:lnTo>
                    <a:pt x="989" y="465"/>
                  </a:lnTo>
                  <a:lnTo>
                    <a:pt x="989" y="465"/>
                  </a:lnTo>
                  <a:lnTo>
                    <a:pt x="989" y="465"/>
                  </a:lnTo>
                  <a:lnTo>
                    <a:pt x="989" y="465"/>
                  </a:lnTo>
                  <a:lnTo>
                    <a:pt x="989" y="465"/>
                  </a:lnTo>
                  <a:lnTo>
                    <a:pt x="991" y="465"/>
                  </a:lnTo>
                  <a:lnTo>
                    <a:pt x="991" y="465"/>
                  </a:lnTo>
                  <a:lnTo>
                    <a:pt x="991" y="465"/>
                  </a:lnTo>
                  <a:lnTo>
                    <a:pt x="991" y="465"/>
                  </a:lnTo>
                  <a:lnTo>
                    <a:pt x="993" y="467"/>
                  </a:lnTo>
                  <a:lnTo>
                    <a:pt x="993" y="467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7" y="469"/>
                  </a:lnTo>
                  <a:lnTo>
                    <a:pt x="999" y="469"/>
                  </a:lnTo>
                  <a:lnTo>
                    <a:pt x="999" y="469"/>
                  </a:lnTo>
                  <a:lnTo>
                    <a:pt x="999" y="469"/>
                  </a:lnTo>
                  <a:lnTo>
                    <a:pt x="1001" y="469"/>
                  </a:lnTo>
                  <a:lnTo>
                    <a:pt x="1001" y="471"/>
                  </a:lnTo>
                  <a:lnTo>
                    <a:pt x="1001" y="471"/>
                  </a:lnTo>
                  <a:lnTo>
                    <a:pt x="1003" y="471"/>
                  </a:lnTo>
                  <a:lnTo>
                    <a:pt x="1003" y="471"/>
                  </a:lnTo>
                  <a:lnTo>
                    <a:pt x="1005" y="471"/>
                  </a:lnTo>
                  <a:lnTo>
                    <a:pt x="1005" y="471"/>
                  </a:lnTo>
                  <a:lnTo>
                    <a:pt x="1007" y="475"/>
                  </a:lnTo>
                  <a:lnTo>
                    <a:pt x="1007" y="475"/>
                  </a:lnTo>
                  <a:lnTo>
                    <a:pt x="1009" y="475"/>
                  </a:lnTo>
                  <a:lnTo>
                    <a:pt x="1009" y="475"/>
                  </a:lnTo>
                  <a:lnTo>
                    <a:pt x="1011" y="475"/>
                  </a:lnTo>
                  <a:lnTo>
                    <a:pt x="1011" y="477"/>
                  </a:lnTo>
                  <a:lnTo>
                    <a:pt x="1011" y="477"/>
                  </a:lnTo>
                  <a:lnTo>
                    <a:pt x="1011" y="477"/>
                  </a:lnTo>
                  <a:lnTo>
                    <a:pt x="1014" y="479"/>
                  </a:lnTo>
                  <a:lnTo>
                    <a:pt x="1014" y="479"/>
                  </a:lnTo>
                  <a:lnTo>
                    <a:pt x="1014" y="479"/>
                  </a:lnTo>
                  <a:lnTo>
                    <a:pt x="1014" y="479"/>
                  </a:lnTo>
                  <a:lnTo>
                    <a:pt x="1014" y="481"/>
                  </a:lnTo>
                  <a:lnTo>
                    <a:pt x="1014" y="481"/>
                  </a:lnTo>
                  <a:lnTo>
                    <a:pt x="1014" y="481"/>
                  </a:lnTo>
                  <a:lnTo>
                    <a:pt x="1018" y="481"/>
                  </a:lnTo>
                  <a:lnTo>
                    <a:pt x="1018" y="481"/>
                  </a:lnTo>
                  <a:lnTo>
                    <a:pt x="1018" y="483"/>
                  </a:lnTo>
                  <a:lnTo>
                    <a:pt x="1018" y="483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5"/>
                  </a:lnTo>
                  <a:lnTo>
                    <a:pt x="1020" y="487"/>
                  </a:lnTo>
                  <a:lnTo>
                    <a:pt x="1020" y="487"/>
                  </a:lnTo>
                  <a:lnTo>
                    <a:pt x="1022" y="487"/>
                  </a:lnTo>
                  <a:lnTo>
                    <a:pt x="1022" y="487"/>
                  </a:lnTo>
                  <a:lnTo>
                    <a:pt x="1022" y="487"/>
                  </a:lnTo>
                  <a:lnTo>
                    <a:pt x="1022" y="487"/>
                  </a:lnTo>
                  <a:lnTo>
                    <a:pt x="1022" y="489"/>
                  </a:lnTo>
                  <a:lnTo>
                    <a:pt x="1022" y="489"/>
                  </a:lnTo>
                  <a:lnTo>
                    <a:pt x="1022" y="489"/>
                  </a:lnTo>
                  <a:lnTo>
                    <a:pt x="1022" y="489"/>
                  </a:lnTo>
                  <a:lnTo>
                    <a:pt x="1022" y="489"/>
                  </a:lnTo>
                  <a:lnTo>
                    <a:pt x="1022" y="489"/>
                  </a:lnTo>
                  <a:lnTo>
                    <a:pt x="1024" y="493"/>
                  </a:lnTo>
                  <a:lnTo>
                    <a:pt x="1024" y="493"/>
                  </a:lnTo>
                  <a:lnTo>
                    <a:pt x="1024" y="493"/>
                  </a:lnTo>
                  <a:lnTo>
                    <a:pt x="1028" y="493"/>
                  </a:lnTo>
                  <a:lnTo>
                    <a:pt x="1028" y="495"/>
                  </a:lnTo>
                  <a:lnTo>
                    <a:pt x="1028" y="495"/>
                  </a:lnTo>
                  <a:lnTo>
                    <a:pt x="1030" y="497"/>
                  </a:lnTo>
                  <a:lnTo>
                    <a:pt x="1030" y="497"/>
                  </a:lnTo>
                  <a:lnTo>
                    <a:pt x="1030" y="499"/>
                  </a:lnTo>
                  <a:lnTo>
                    <a:pt x="1030" y="499"/>
                  </a:lnTo>
                  <a:lnTo>
                    <a:pt x="1030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499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2" y="503"/>
                  </a:lnTo>
                  <a:lnTo>
                    <a:pt x="1034" y="503"/>
                  </a:lnTo>
                  <a:lnTo>
                    <a:pt x="1034" y="505"/>
                  </a:lnTo>
                  <a:lnTo>
                    <a:pt x="1034" y="505"/>
                  </a:lnTo>
                  <a:lnTo>
                    <a:pt x="1034" y="505"/>
                  </a:lnTo>
                  <a:lnTo>
                    <a:pt x="1034" y="505"/>
                  </a:lnTo>
                  <a:lnTo>
                    <a:pt x="1038" y="507"/>
                  </a:lnTo>
                  <a:lnTo>
                    <a:pt x="1038" y="507"/>
                  </a:lnTo>
                  <a:lnTo>
                    <a:pt x="1038" y="507"/>
                  </a:lnTo>
                  <a:lnTo>
                    <a:pt x="1038" y="507"/>
                  </a:lnTo>
                  <a:lnTo>
                    <a:pt x="1038" y="507"/>
                  </a:lnTo>
                  <a:lnTo>
                    <a:pt x="1038" y="507"/>
                  </a:lnTo>
                  <a:lnTo>
                    <a:pt x="1038" y="507"/>
                  </a:lnTo>
                  <a:lnTo>
                    <a:pt x="1040" y="507"/>
                  </a:lnTo>
                  <a:lnTo>
                    <a:pt x="1040" y="509"/>
                  </a:lnTo>
                  <a:lnTo>
                    <a:pt x="1040" y="513"/>
                  </a:lnTo>
                  <a:lnTo>
                    <a:pt x="1040" y="513"/>
                  </a:lnTo>
                  <a:lnTo>
                    <a:pt x="1040" y="513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5"/>
                  </a:lnTo>
                  <a:lnTo>
                    <a:pt x="1040" y="517"/>
                  </a:lnTo>
                  <a:lnTo>
                    <a:pt x="1040" y="517"/>
                  </a:lnTo>
                  <a:lnTo>
                    <a:pt x="1040" y="517"/>
                  </a:lnTo>
                  <a:lnTo>
                    <a:pt x="1044" y="519"/>
                  </a:lnTo>
                  <a:lnTo>
                    <a:pt x="1044" y="519"/>
                  </a:lnTo>
                  <a:lnTo>
                    <a:pt x="1044" y="519"/>
                  </a:lnTo>
                  <a:lnTo>
                    <a:pt x="1046" y="519"/>
                  </a:lnTo>
                  <a:lnTo>
                    <a:pt x="1046" y="519"/>
                  </a:lnTo>
                  <a:lnTo>
                    <a:pt x="1046" y="519"/>
                  </a:lnTo>
                  <a:lnTo>
                    <a:pt x="1046" y="519"/>
                  </a:lnTo>
                  <a:lnTo>
                    <a:pt x="1046" y="519"/>
                  </a:lnTo>
                  <a:lnTo>
                    <a:pt x="1046" y="519"/>
                  </a:lnTo>
                  <a:lnTo>
                    <a:pt x="1048" y="519"/>
                  </a:lnTo>
                  <a:lnTo>
                    <a:pt x="1048" y="519"/>
                  </a:lnTo>
                  <a:lnTo>
                    <a:pt x="1048" y="519"/>
                  </a:lnTo>
                  <a:lnTo>
                    <a:pt x="1048" y="521"/>
                  </a:lnTo>
                  <a:lnTo>
                    <a:pt x="1048" y="521"/>
                  </a:lnTo>
                  <a:lnTo>
                    <a:pt x="1048" y="521"/>
                  </a:lnTo>
                  <a:lnTo>
                    <a:pt x="1048" y="521"/>
                  </a:lnTo>
                  <a:lnTo>
                    <a:pt x="1050" y="521"/>
                  </a:lnTo>
                  <a:lnTo>
                    <a:pt x="1050" y="521"/>
                  </a:lnTo>
                  <a:lnTo>
                    <a:pt x="1052" y="521"/>
                  </a:lnTo>
                  <a:lnTo>
                    <a:pt x="1052" y="523"/>
                  </a:lnTo>
                  <a:lnTo>
                    <a:pt x="1056" y="523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5"/>
                  </a:lnTo>
                  <a:lnTo>
                    <a:pt x="1056" y="527"/>
                  </a:lnTo>
                  <a:lnTo>
                    <a:pt x="1058" y="527"/>
                  </a:lnTo>
                  <a:lnTo>
                    <a:pt x="1058" y="527"/>
                  </a:lnTo>
                  <a:lnTo>
                    <a:pt x="1058" y="527"/>
                  </a:lnTo>
                  <a:lnTo>
                    <a:pt x="1058" y="531"/>
                  </a:lnTo>
                  <a:lnTo>
                    <a:pt x="1058" y="531"/>
                  </a:lnTo>
                  <a:lnTo>
                    <a:pt x="1058" y="527"/>
                  </a:lnTo>
                  <a:lnTo>
                    <a:pt x="1058" y="527"/>
                  </a:lnTo>
                  <a:lnTo>
                    <a:pt x="1058" y="527"/>
                  </a:lnTo>
                  <a:lnTo>
                    <a:pt x="1058" y="527"/>
                  </a:lnTo>
                  <a:lnTo>
                    <a:pt x="1058" y="531"/>
                  </a:lnTo>
                  <a:lnTo>
                    <a:pt x="1058" y="531"/>
                  </a:lnTo>
                  <a:lnTo>
                    <a:pt x="1058" y="531"/>
                  </a:lnTo>
                  <a:lnTo>
                    <a:pt x="1060" y="527"/>
                  </a:lnTo>
                  <a:lnTo>
                    <a:pt x="1060" y="527"/>
                  </a:lnTo>
                  <a:lnTo>
                    <a:pt x="1060" y="527"/>
                  </a:lnTo>
                  <a:lnTo>
                    <a:pt x="1060" y="531"/>
                  </a:lnTo>
                  <a:lnTo>
                    <a:pt x="1062" y="531"/>
                  </a:lnTo>
                  <a:lnTo>
                    <a:pt x="1062" y="531"/>
                  </a:lnTo>
                  <a:lnTo>
                    <a:pt x="1066" y="531"/>
                  </a:lnTo>
                  <a:lnTo>
                    <a:pt x="1066" y="533"/>
                  </a:lnTo>
                  <a:lnTo>
                    <a:pt x="1066" y="533"/>
                  </a:lnTo>
                  <a:lnTo>
                    <a:pt x="1068" y="533"/>
                  </a:lnTo>
                  <a:lnTo>
                    <a:pt x="1068" y="533"/>
                  </a:lnTo>
                  <a:lnTo>
                    <a:pt x="1068" y="533"/>
                  </a:lnTo>
                  <a:lnTo>
                    <a:pt x="1068" y="535"/>
                  </a:lnTo>
                  <a:lnTo>
                    <a:pt x="1068" y="535"/>
                  </a:lnTo>
                  <a:lnTo>
                    <a:pt x="1070" y="537"/>
                  </a:lnTo>
                  <a:lnTo>
                    <a:pt x="1070" y="537"/>
                  </a:lnTo>
                  <a:lnTo>
                    <a:pt x="1070" y="537"/>
                  </a:lnTo>
                  <a:lnTo>
                    <a:pt x="1070" y="541"/>
                  </a:lnTo>
                  <a:lnTo>
                    <a:pt x="1070" y="541"/>
                  </a:lnTo>
                  <a:lnTo>
                    <a:pt x="1070" y="541"/>
                  </a:lnTo>
                  <a:lnTo>
                    <a:pt x="1070" y="541"/>
                  </a:lnTo>
                  <a:lnTo>
                    <a:pt x="1068" y="541"/>
                  </a:lnTo>
                  <a:lnTo>
                    <a:pt x="1068" y="541"/>
                  </a:lnTo>
                  <a:lnTo>
                    <a:pt x="1068" y="541"/>
                  </a:lnTo>
                  <a:lnTo>
                    <a:pt x="1066" y="541"/>
                  </a:lnTo>
                  <a:lnTo>
                    <a:pt x="1066" y="541"/>
                  </a:lnTo>
                  <a:lnTo>
                    <a:pt x="1066" y="541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2" y="537"/>
                  </a:lnTo>
                  <a:lnTo>
                    <a:pt x="1060" y="537"/>
                  </a:lnTo>
                  <a:lnTo>
                    <a:pt x="1060" y="535"/>
                  </a:lnTo>
                  <a:lnTo>
                    <a:pt x="1058" y="535"/>
                  </a:lnTo>
                  <a:lnTo>
                    <a:pt x="1056" y="535"/>
                  </a:lnTo>
                  <a:lnTo>
                    <a:pt x="1056" y="535"/>
                  </a:lnTo>
                  <a:lnTo>
                    <a:pt x="1056" y="535"/>
                  </a:lnTo>
                  <a:lnTo>
                    <a:pt x="1056" y="537"/>
                  </a:lnTo>
                  <a:lnTo>
                    <a:pt x="1052" y="535"/>
                  </a:lnTo>
                  <a:lnTo>
                    <a:pt x="1052" y="535"/>
                  </a:lnTo>
                  <a:lnTo>
                    <a:pt x="1052" y="535"/>
                  </a:lnTo>
                  <a:lnTo>
                    <a:pt x="1050" y="535"/>
                  </a:lnTo>
                  <a:lnTo>
                    <a:pt x="1050" y="535"/>
                  </a:lnTo>
                  <a:lnTo>
                    <a:pt x="1050" y="537"/>
                  </a:lnTo>
                  <a:lnTo>
                    <a:pt x="1050" y="535"/>
                  </a:lnTo>
                  <a:lnTo>
                    <a:pt x="1050" y="535"/>
                  </a:lnTo>
                  <a:lnTo>
                    <a:pt x="1050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8" y="535"/>
                  </a:lnTo>
                  <a:lnTo>
                    <a:pt x="1046" y="533"/>
                  </a:lnTo>
                  <a:lnTo>
                    <a:pt x="1046" y="531"/>
                  </a:lnTo>
                  <a:lnTo>
                    <a:pt x="1044" y="531"/>
                  </a:lnTo>
                  <a:lnTo>
                    <a:pt x="1042" y="531"/>
                  </a:lnTo>
                  <a:lnTo>
                    <a:pt x="1040" y="531"/>
                  </a:lnTo>
                  <a:lnTo>
                    <a:pt x="1040" y="531"/>
                  </a:lnTo>
                  <a:lnTo>
                    <a:pt x="1040" y="531"/>
                  </a:lnTo>
                  <a:lnTo>
                    <a:pt x="1038" y="531"/>
                  </a:lnTo>
                  <a:lnTo>
                    <a:pt x="1038" y="531"/>
                  </a:lnTo>
                  <a:lnTo>
                    <a:pt x="1034" y="533"/>
                  </a:lnTo>
                  <a:lnTo>
                    <a:pt x="1034" y="533"/>
                  </a:lnTo>
                  <a:lnTo>
                    <a:pt x="1034" y="533"/>
                  </a:lnTo>
                  <a:lnTo>
                    <a:pt x="1032" y="533"/>
                  </a:lnTo>
                  <a:lnTo>
                    <a:pt x="1032" y="533"/>
                  </a:lnTo>
                  <a:lnTo>
                    <a:pt x="1030" y="533"/>
                  </a:lnTo>
                  <a:lnTo>
                    <a:pt x="1030" y="533"/>
                  </a:lnTo>
                  <a:lnTo>
                    <a:pt x="1030" y="533"/>
                  </a:lnTo>
                  <a:lnTo>
                    <a:pt x="1028" y="533"/>
                  </a:lnTo>
                  <a:lnTo>
                    <a:pt x="1024" y="531"/>
                  </a:lnTo>
                  <a:lnTo>
                    <a:pt x="1024" y="527"/>
                  </a:lnTo>
                  <a:lnTo>
                    <a:pt x="1024" y="527"/>
                  </a:lnTo>
                  <a:lnTo>
                    <a:pt x="1024" y="527"/>
                  </a:lnTo>
                  <a:lnTo>
                    <a:pt x="1024" y="527"/>
                  </a:lnTo>
                  <a:lnTo>
                    <a:pt x="1024" y="525"/>
                  </a:lnTo>
                  <a:lnTo>
                    <a:pt x="1024" y="527"/>
                  </a:lnTo>
                  <a:lnTo>
                    <a:pt x="1024" y="525"/>
                  </a:lnTo>
                  <a:lnTo>
                    <a:pt x="1022" y="525"/>
                  </a:lnTo>
                  <a:lnTo>
                    <a:pt x="1022" y="525"/>
                  </a:lnTo>
                  <a:lnTo>
                    <a:pt x="1022" y="525"/>
                  </a:lnTo>
                  <a:lnTo>
                    <a:pt x="1022" y="523"/>
                  </a:lnTo>
                  <a:lnTo>
                    <a:pt x="1020" y="523"/>
                  </a:lnTo>
                  <a:lnTo>
                    <a:pt x="1020" y="523"/>
                  </a:lnTo>
                  <a:lnTo>
                    <a:pt x="1020" y="523"/>
                  </a:lnTo>
                  <a:lnTo>
                    <a:pt x="1020" y="523"/>
                  </a:lnTo>
                  <a:lnTo>
                    <a:pt x="1020" y="523"/>
                  </a:lnTo>
                  <a:lnTo>
                    <a:pt x="1018" y="523"/>
                  </a:lnTo>
                  <a:lnTo>
                    <a:pt x="1018" y="523"/>
                  </a:lnTo>
                  <a:lnTo>
                    <a:pt x="1018" y="523"/>
                  </a:lnTo>
                  <a:lnTo>
                    <a:pt x="1018" y="523"/>
                  </a:lnTo>
                  <a:lnTo>
                    <a:pt x="1018" y="523"/>
                  </a:lnTo>
                  <a:lnTo>
                    <a:pt x="1018" y="523"/>
                  </a:lnTo>
                  <a:lnTo>
                    <a:pt x="1018" y="523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18" y="525"/>
                  </a:lnTo>
                  <a:lnTo>
                    <a:pt x="1018" y="527"/>
                  </a:lnTo>
                  <a:lnTo>
                    <a:pt x="1018" y="527"/>
                  </a:lnTo>
                  <a:lnTo>
                    <a:pt x="1018" y="527"/>
                  </a:lnTo>
                  <a:lnTo>
                    <a:pt x="1020" y="527"/>
                  </a:lnTo>
                  <a:lnTo>
                    <a:pt x="1020" y="527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0" y="525"/>
                  </a:lnTo>
                  <a:lnTo>
                    <a:pt x="1022" y="527"/>
                  </a:lnTo>
                  <a:lnTo>
                    <a:pt x="1022" y="527"/>
                  </a:lnTo>
                  <a:lnTo>
                    <a:pt x="1022" y="527"/>
                  </a:lnTo>
                  <a:lnTo>
                    <a:pt x="1022" y="527"/>
                  </a:lnTo>
                  <a:lnTo>
                    <a:pt x="1022" y="527"/>
                  </a:lnTo>
                  <a:lnTo>
                    <a:pt x="1022" y="527"/>
                  </a:lnTo>
                  <a:lnTo>
                    <a:pt x="1022" y="531"/>
                  </a:lnTo>
                  <a:lnTo>
                    <a:pt x="1024" y="531"/>
                  </a:lnTo>
                  <a:lnTo>
                    <a:pt x="1024" y="531"/>
                  </a:lnTo>
                  <a:lnTo>
                    <a:pt x="1024" y="533"/>
                  </a:lnTo>
                  <a:lnTo>
                    <a:pt x="1024" y="533"/>
                  </a:lnTo>
                  <a:lnTo>
                    <a:pt x="1028" y="533"/>
                  </a:lnTo>
                  <a:lnTo>
                    <a:pt x="1028" y="533"/>
                  </a:lnTo>
                  <a:lnTo>
                    <a:pt x="1028" y="533"/>
                  </a:lnTo>
                  <a:lnTo>
                    <a:pt x="1028" y="533"/>
                  </a:lnTo>
                  <a:lnTo>
                    <a:pt x="1030" y="533"/>
                  </a:lnTo>
                  <a:lnTo>
                    <a:pt x="1030" y="533"/>
                  </a:lnTo>
                  <a:lnTo>
                    <a:pt x="1032" y="535"/>
                  </a:lnTo>
                  <a:lnTo>
                    <a:pt x="1032" y="535"/>
                  </a:lnTo>
                  <a:lnTo>
                    <a:pt x="1034" y="535"/>
                  </a:lnTo>
                  <a:lnTo>
                    <a:pt x="1038" y="533"/>
                  </a:lnTo>
                  <a:lnTo>
                    <a:pt x="1038" y="533"/>
                  </a:lnTo>
                  <a:lnTo>
                    <a:pt x="1038" y="533"/>
                  </a:lnTo>
                  <a:lnTo>
                    <a:pt x="1038" y="533"/>
                  </a:lnTo>
                  <a:lnTo>
                    <a:pt x="1038" y="533"/>
                  </a:lnTo>
                  <a:lnTo>
                    <a:pt x="1038" y="531"/>
                  </a:lnTo>
                  <a:lnTo>
                    <a:pt x="1040" y="531"/>
                  </a:lnTo>
                  <a:lnTo>
                    <a:pt x="1040" y="533"/>
                  </a:lnTo>
                  <a:lnTo>
                    <a:pt x="1042" y="533"/>
                  </a:lnTo>
                  <a:lnTo>
                    <a:pt x="1042" y="533"/>
                  </a:lnTo>
                  <a:lnTo>
                    <a:pt x="1044" y="533"/>
                  </a:lnTo>
                  <a:lnTo>
                    <a:pt x="1044" y="533"/>
                  </a:lnTo>
                  <a:lnTo>
                    <a:pt x="1046" y="535"/>
                  </a:lnTo>
                  <a:lnTo>
                    <a:pt x="1046" y="535"/>
                  </a:lnTo>
                  <a:lnTo>
                    <a:pt x="1046" y="537"/>
                  </a:lnTo>
                  <a:lnTo>
                    <a:pt x="1046" y="537"/>
                  </a:lnTo>
                  <a:lnTo>
                    <a:pt x="1046" y="537"/>
                  </a:lnTo>
                  <a:lnTo>
                    <a:pt x="1046" y="535"/>
                  </a:lnTo>
                  <a:lnTo>
                    <a:pt x="1046" y="535"/>
                  </a:lnTo>
                  <a:lnTo>
                    <a:pt x="1044" y="535"/>
                  </a:lnTo>
                  <a:lnTo>
                    <a:pt x="1046" y="537"/>
                  </a:lnTo>
                  <a:lnTo>
                    <a:pt x="1046" y="537"/>
                  </a:lnTo>
                  <a:lnTo>
                    <a:pt x="1046" y="537"/>
                  </a:lnTo>
                  <a:lnTo>
                    <a:pt x="1048" y="537"/>
                  </a:lnTo>
                  <a:lnTo>
                    <a:pt x="1048" y="537"/>
                  </a:lnTo>
                  <a:lnTo>
                    <a:pt x="1050" y="537"/>
                  </a:lnTo>
                  <a:lnTo>
                    <a:pt x="1050" y="537"/>
                  </a:lnTo>
                  <a:lnTo>
                    <a:pt x="1050" y="537"/>
                  </a:lnTo>
                  <a:lnTo>
                    <a:pt x="1050" y="541"/>
                  </a:lnTo>
                  <a:lnTo>
                    <a:pt x="1052" y="541"/>
                  </a:lnTo>
                  <a:lnTo>
                    <a:pt x="1052" y="541"/>
                  </a:lnTo>
                  <a:lnTo>
                    <a:pt x="1052" y="541"/>
                  </a:lnTo>
                  <a:lnTo>
                    <a:pt x="1058" y="543"/>
                  </a:lnTo>
                  <a:lnTo>
                    <a:pt x="1058" y="543"/>
                  </a:lnTo>
                  <a:lnTo>
                    <a:pt x="1060" y="545"/>
                  </a:lnTo>
                  <a:lnTo>
                    <a:pt x="1062" y="545"/>
                  </a:lnTo>
                  <a:lnTo>
                    <a:pt x="1062" y="547"/>
                  </a:lnTo>
                  <a:lnTo>
                    <a:pt x="1066" y="547"/>
                  </a:lnTo>
                  <a:lnTo>
                    <a:pt x="1068" y="547"/>
                  </a:lnTo>
                  <a:lnTo>
                    <a:pt x="1070" y="549"/>
                  </a:lnTo>
                  <a:lnTo>
                    <a:pt x="1070" y="549"/>
                  </a:lnTo>
                  <a:lnTo>
                    <a:pt x="1070" y="549"/>
                  </a:lnTo>
                  <a:lnTo>
                    <a:pt x="1072" y="553"/>
                  </a:lnTo>
                  <a:lnTo>
                    <a:pt x="1078" y="557"/>
                  </a:lnTo>
                  <a:lnTo>
                    <a:pt x="1078" y="559"/>
                  </a:lnTo>
                  <a:lnTo>
                    <a:pt x="1078" y="559"/>
                  </a:lnTo>
                  <a:lnTo>
                    <a:pt x="1078" y="561"/>
                  </a:lnTo>
                  <a:lnTo>
                    <a:pt x="1078" y="561"/>
                  </a:lnTo>
                  <a:lnTo>
                    <a:pt x="1078" y="561"/>
                  </a:lnTo>
                  <a:lnTo>
                    <a:pt x="1074" y="561"/>
                  </a:lnTo>
                  <a:lnTo>
                    <a:pt x="1072" y="561"/>
                  </a:lnTo>
                  <a:lnTo>
                    <a:pt x="1070" y="561"/>
                  </a:lnTo>
                  <a:lnTo>
                    <a:pt x="1070" y="561"/>
                  </a:lnTo>
                  <a:lnTo>
                    <a:pt x="1070" y="561"/>
                  </a:lnTo>
                  <a:lnTo>
                    <a:pt x="1070" y="563"/>
                  </a:lnTo>
                  <a:lnTo>
                    <a:pt x="1068" y="563"/>
                  </a:lnTo>
                  <a:lnTo>
                    <a:pt x="1068" y="563"/>
                  </a:lnTo>
                  <a:lnTo>
                    <a:pt x="1068" y="565"/>
                  </a:lnTo>
                  <a:lnTo>
                    <a:pt x="1066" y="565"/>
                  </a:lnTo>
                  <a:lnTo>
                    <a:pt x="1066" y="565"/>
                  </a:lnTo>
                  <a:lnTo>
                    <a:pt x="1066" y="565"/>
                  </a:lnTo>
                  <a:lnTo>
                    <a:pt x="1066" y="565"/>
                  </a:lnTo>
                  <a:lnTo>
                    <a:pt x="1066" y="565"/>
                  </a:lnTo>
                  <a:lnTo>
                    <a:pt x="1066" y="565"/>
                  </a:lnTo>
                  <a:lnTo>
                    <a:pt x="1066" y="565"/>
                  </a:lnTo>
                  <a:lnTo>
                    <a:pt x="1066" y="569"/>
                  </a:lnTo>
                  <a:lnTo>
                    <a:pt x="1066" y="569"/>
                  </a:lnTo>
                  <a:lnTo>
                    <a:pt x="1066" y="569"/>
                  </a:lnTo>
                  <a:lnTo>
                    <a:pt x="1062" y="569"/>
                  </a:lnTo>
                  <a:lnTo>
                    <a:pt x="1062" y="569"/>
                  </a:lnTo>
                  <a:lnTo>
                    <a:pt x="1062" y="569"/>
                  </a:lnTo>
                  <a:lnTo>
                    <a:pt x="1060" y="569"/>
                  </a:lnTo>
                  <a:lnTo>
                    <a:pt x="1060" y="569"/>
                  </a:lnTo>
                  <a:lnTo>
                    <a:pt x="1060" y="569"/>
                  </a:lnTo>
                  <a:lnTo>
                    <a:pt x="1060" y="571"/>
                  </a:lnTo>
                  <a:lnTo>
                    <a:pt x="1060" y="571"/>
                  </a:lnTo>
                  <a:lnTo>
                    <a:pt x="1062" y="571"/>
                  </a:lnTo>
                  <a:lnTo>
                    <a:pt x="1062" y="571"/>
                  </a:lnTo>
                  <a:lnTo>
                    <a:pt x="1062" y="571"/>
                  </a:lnTo>
                  <a:lnTo>
                    <a:pt x="1062" y="573"/>
                  </a:lnTo>
                  <a:lnTo>
                    <a:pt x="1062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2" y="573"/>
                  </a:lnTo>
                  <a:lnTo>
                    <a:pt x="1062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60" y="573"/>
                  </a:lnTo>
                  <a:lnTo>
                    <a:pt x="1058" y="573"/>
                  </a:lnTo>
                  <a:lnTo>
                    <a:pt x="1058" y="573"/>
                  </a:lnTo>
                  <a:lnTo>
                    <a:pt x="1058" y="573"/>
                  </a:lnTo>
                  <a:lnTo>
                    <a:pt x="1058" y="573"/>
                  </a:lnTo>
                  <a:lnTo>
                    <a:pt x="1056" y="573"/>
                  </a:lnTo>
                  <a:lnTo>
                    <a:pt x="1050" y="573"/>
                  </a:lnTo>
                  <a:lnTo>
                    <a:pt x="1050" y="573"/>
                  </a:lnTo>
                  <a:lnTo>
                    <a:pt x="1050" y="573"/>
                  </a:lnTo>
                  <a:lnTo>
                    <a:pt x="1050" y="573"/>
                  </a:lnTo>
                  <a:lnTo>
                    <a:pt x="1050" y="573"/>
                  </a:lnTo>
                  <a:lnTo>
                    <a:pt x="1050" y="573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48" y="575"/>
                  </a:lnTo>
                  <a:lnTo>
                    <a:pt x="1048" y="575"/>
                  </a:lnTo>
                  <a:lnTo>
                    <a:pt x="1048" y="575"/>
                  </a:lnTo>
                  <a:lnTo>
                    <a:pt x="1046" y="577"/>
                  </a:lnTo>
                  <a:lnTo>
                    <a:pt x="1048" y="577"/>
                  </a:lnTo>
                  <a:lnTo>
                    <a:pt x="1048" y="577"/>
                  </a:lnTo>
                  <a:lnTo>
                    <a:pt x="1048" y="575"/>
                  </a:lnTo>
                  <a:lnTo>
                    <a:pt x="1048" y="575"/>
                  </a:lnTo>
                  <a:lnTo>
                    <a:pt x="1048" y="575"/>
                  </a:lnTo>
                  <a:lnTo>
                    <a:pt x="1050" y="577"/>
                  </a:lnTo>
                  <a:lnTo>
                    <a:pt x="1050" y="577"/>
                  </a:lnTo>
                  <a:lnTo>
                    <a:pt x="1050" y="577"/>
                  </a:lnTo>
                  <a:lnTo>
                    <a:pt x="1050" y="577"/>
                  </a:lnTo>
                  <a:lnTo>
                    <a:pt x="1050" y="577"/>
                  </a:lnTo>
                  <a:lnTo>
                    <a:pt x="1050" y="577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0" y="575"/>
                  </a:lnTo>
                  <a:lnTo>
                    <a:pt x="1052" y="575"/>
                  </a:lnTo>
                  <a:lnTo>
                    <a:pt x="1052" y="575"/>
                  </a:lnTo>
                  <a:lnTo>
                    <a:pt x="1052" y="575"/>
                  </a:lnTo>
                  <a:lnTo>
                    <a:pt x="1052" y="575"/>
                  </a:lnTo>
                  <a:lnTo>
                    <a:pt x="1052" y="575"/>
                  </a:lnTo>
                  <a:lnTo>
                    <a:pt x="1056" y="575"/>
                  </a:lnTo>
                  <a:lnTo>
                    <a:pt x="1058" y="577"/>
                  </a:lnTo>
                  <a:lnTo>
                    <a:pt x="1058" y="581"/>
                  </a:lnTo>
                  <a:lnTo>
                    <a:pt x="1058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2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60" y="581"/>
                  </a:lnTo>
                  <a:lnTo>
                    <a:pt x="1058" y="581"/>
                  </a:lnTo>
                  <a:lnTo>
                    <a:pt x="1058" y="581"/>
                  </a:lnTo>
                  <a:lnTo>
                    <a:pt x="1058" y="577"/>
                  </a:lnTo>
                  <a:lnTo>
                    <a:pt x="1058" y="577"/>
                  </a:lnTo>
                  <a:lnTo>
                    <a:pt x="1058" y="577"/>
                  </a:lnTo>
                  <a:lnTo>
                    <a:pt x="1058" y="581"/>
                  </a:lnTo>
                  <a:lnTo>
                    <a:pt x="1058" y="581"/>
                  </a:lnTo>
                  <a:lnTo>
                    <a:pt x="1060" y="581"/>
                  </a:lnTo>
                  <a:lnTo>
                    <a:pt x="1062" y="581"/>
                  </a:lnTo>
                  <a:lnTo>
                    <a:pt x="1062" y="581"/>
                  </a:lnTo>
                  <a:lnTo>
                    <a:pt x="1062" y="577"/>
                  </a:lnTo>
                  <a:lnTo>
                    <a:pt x="1062" y="577"/>
                  </a:lnTo>
                  <a:lnTo>
                    <a:pt x="1066" y="577"/>
                  </a:lnTo>
                  <a:lnTo>
                    <a:pt x="1066" y="577"/>
                  </a:lnTo>
                  <a:lnTo>
                    <a:pt x="1066" y="577"/>
                  </a:lnTo>
                  <a:lnTo>
                    <a:pt x="1068" y="575"/>
                  </a:lnTo>
                  <a:lnTo>
                    <a:pt x="1068" y="575"/>
                  </a:lnTo>
                  <a:lnTo>
                    <a:pt x="1068" y="575"/>
                  </a:lnTo>
                  <a:lnTo>
                    <a:pt x="1070" y="575"/>
                  </a:lnTo>
                  <a:lnTo>
                    <a:pt x="1070" y="575"/>
                  </a:lnTo>
                  <a:lnTo>
                    <a:pt x="1072" y="575"/>
                  </a:lnTo>
                  <a:lnTo>
                    <a:pt x="1072" y="575"/>
                  </a:lnTo>
                  <a:lnTo>
                    <a:pt x="1072" y="575"/>
                  </a:lnTo>
                  <a:lnTo>
                    <a:pt x="1074" y="577"/>
                  </a:lnTo>
                  <a:lnTo>
                    <a:pt x="1078" y="581"/>
                  </a:lnTo>
                  <a:lnTo>
                    <a:pt x="1078" y="581"/>
                  </a:lnTo>
                  <a:lnTo>
                    <a:pt x="1078" y="581"/>
                  </a:lnTo>
                  <a:lnTo>
                    <a:pt x="1078" y="581"/>
                  </a:lnTo>
                  <a:lnTo>
                    <a:pt x="1078" y="581"/>
                  </a:lnTo>
                  <a:lnTo>
                    <a:pt x="1078" y="581"/>
                  </a:lnTo>
                  <a:lnTo>
                    <a:pt x="1078" y="581"/>
                  </a:lnTo>
                  <a:lnTo>
                    <a:pt x="1080" y="581"/>
                  </a:lnTo>
                  <a:lnTo>
                    <a:pt x="1080" y="581"/>
                  </a:lnTo>
                  <a:lnTo>
                    <a:pt x="1080" y="581"/>
                  </a:lnTo>
                  <a:lnTo>
                    <a:pt x="1080" y="581"/>
                  </a:lnTo>
                  <a:lnTo>
                    <a:pt x="1080" y="581"/>
                  </a:lnTo>
                  <a:lnTo>
                    <a:pt x="1080" y="581"/>
                  </a:lnTo>
                  <a:lnTo>
                    <a:pt x="1080" y="583"/>
                  </a:lnTo>
                  <a:lnTo>
                    <a:pt x="1080" y="583"/>
                  </a:lnTo>
                  <a:lnTo>
                    <a:pt x="1080" y="583"/>
                  </a:lnTo>
                  <a:lnTo>
                    <a:pt x="1080" y="583"/>
                  </a:lnTo>
                  <a:lnTo>
                    <a:pt x="1080" y="583"/>
                  </a:lnTo>
                  <a:lnTo>
                    <a:pt x="1082" y="583"/>
                  </a:lnTo>
                  <a:lnTo>
                    <a:pt x="1082" y="583"/>
                  </a:lnTo>
                  <a:lnTo>
                    <a:pt x="1082" y="583"/>
                  </a:lnTo>
                  <a:lnTo>
                    <a:pt x="1082" y="583"/>
                  </a:lnTo>
                  <a:lnTo>
                    <a:pt x="1084" y="583"/>
                  </a:lnTo>
                  <a:lnTo>
                    <a:pt x="1084" y="583"/>
                  </a:lnTo>
                  <a:lnTo>
                    <a:pt x="1084" y="583"/>
                  </a:lnTo>
                  <a:lnTo>
                    <a:pt x="1086" y="585"/>
                  </a:lnTo>
                  <a:lnTo>
                    <a:pt x="1086" y="585"/>
                  </a:lnTo>
                  <a:lnTo>
                    <a:pt x="1086" y="585"/>
                  </a:lnTo>
                  <a:lnTo>
                    <a:pt x="1086" y="585"/>
                  </a:lnTo>
                  <a:lnTo>
                    <a:pt x="1086" y="585"/>
                  </a:lnTo>
                  <a:lnTo>
                    <a:pt x="1088" y="585"/>
                  </a:lnTo>
                  <a:lnTo>
                    <a:pt x="1088" y="585"/>
                  </a:lnTo>
                  <a:lnTo>
                    <a:pt x="1088" y="585"/>
                  </a:lnTo>
                  <a:lnTo>
                    <a:pt x="1090" y="585"/>
                  </a:lnTo>
                  <a:lnTo>
                    <a:pt x="1090" y="585"/>
                  </a:lnTo>
                  <a:lnTo>
                    <a:pt x="1090" y="585"/>
                  </a:lnTo>
                  <a:lnTo>
                    <a:pt x="1090" y="585"/>
                  </a:lnTo>
                  <a:lnTo>
                    <a:pt x="1090" y="585"/>
                  </a:lnTo>
                  <a:lnTo>
                    <a:pt x="1090" y="585"/>
                  </a:lnTo>
                  <a:lnTo>
                    <a:pt x="1090" y="585"/>
                  </a:lnTo>
                  <a:lnTo>
                    <a:pt x="1090" y="587"/>
                  </a:lnTo>
                  <a:lnTo>
                    <a:pt x="1088" y="587"/>
                  </a:lnTo>
                  <a:lnTo>
                    <a:pt x="1088" y="587"/>
                  </a:lnTo>
                  <a:lnTo>
                    <a:pt x="1088" y="587"/>
                  </a:lnTo>
                  <a:lnTo>
                    <a:pt x="1088" y="587"/>
                  </a:lnTo>
                  <a:lnTo>
                    <a:pt x="1088" y="587"/>
                  </a:lnTo>
                  <a:lnTo>
                    <a:pt x="1086" y="587"/>
                  </a:lnTo>
                  <a:lnTo>
                    <a:pt x="1086" y="587"/>
                  </a:lnTo>
                  <a:lnTo>
                    <a:pt x="1086" y="587"/>
                  </a:lnTo>
                  <a:lnTo>
                    <a:pt x="1086" y="589"/>
                  </a:lnTo>
                  <a:lnTo>
                    <a:pt x="1086" y="589"/>
                  </a:lnTo>
                  <a:lnTo>
                    <a:pt x="1084" y="593"/>
                  </a:lnTo>
                  <a:lnTo>
                    <a:pt x="1084" y="593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2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5"/>
                  </a:lnTo>
                  <a:lnTo>
                    <a:pt x="1080" y="597"/>
                  </a:lnTo>
                  <a:lnTo>
                    <a:pt x="1080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5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7"/>
                  </a:lnTo>
                  <a:lnTo>
                    <a:pt x="1082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4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7"/>
                  </a:lnTo>
                  <a:lnTo>
                    <a:pt x="1086" y="597"/>
                  </a:lnTo>
                  <a:lnTo>
                    <a:pt x="1086" y="597"/>
                  </a:lnTo>
                  <a:lnTo>
                    <a:pt x="1086" y="597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5"/>
                  </a:lnTo>
                  <a:lnTo>
                    <a:pt x="1086" y="593"/>
                  </a:lnTo>
                  <a:lnTo>
                    <a:pt x="1086" y="593"/>
                  </a:lnTo>
                  <a:lnTo>
                    <a:pt x="1086" y="593"/>
                  </a:lnTo>
                  <a:lnTo>
                    <a:pt x="1086" y="593"/>
                  </a:lnTo>
                  <a:lnTo>
                    <a:pt x="1088" y="593"/>
                  </a:lnTo>
                  <a:lnTo>
                    <a:pt x="1088" y="593"/>
                  </a:lnTo>
                  <a:lnTo>
                    <a:pt x="1088" y="593"/>
                  </a:lnTo>
                  <a:lnTo>
                    <a:pt x="1088" y="593"/>
                  </a:lnTo>
                  <a:lnTo>
                    <a:pt x="1088" y="593"/>
                  </a:lnTo>
                  <a:lnTo>
                    <a:pt x="1088" y="593"/>
                  </a:lnTo>
                  <a:lnTo>
                    <a:pt x="1088" y="593"/>
                  </a:lnTo>
                  <a:lnTo>
                    <a:pt x="1090" y="593"/>
                  </a:lnTo>
                  <a:lnTo>
                    <a:pt x="1090" y="593"/>
                  </a:lnTo>
                  <a:lnTo>
                    <a:pt x="1090" y="593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88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5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7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599"/>
                  </a:lnTo>
                  <a:lnTo>
                    <a:pt x="1090" y="601"/>
                  </a:lnTo>
                  <a:lnTo>
                    <a:pt x="1090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1"/>
                  </a:lnTo>
                  <a:lnTo>
                    <a:pt x="1094" y="603"/>
                  </a:lnTo>
                  <a:lnTo>
                    <a:pt x="1094" y="603"/>
                  </a:lnTo>
                  <a:lnTo>
                    <a:pt x="1090" y="603"/>
                  </a:lnTo>
                  <a:lnTo>
                    <a:pt x="1090" y="603"/>
                  </a:lnTo>
                  <a:lnTo>
                    <a:pt x="1090" y="603"/>
                  </a:lnTo>
                  <a:lnTo>
                    <a:pt x="1090" y="603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90" y="601"/>
                  </a:lnTo>
                  <a:lnTo>
                    <a:pt x="1090" y="601"/>
                  </a:lnTo>
                  <a:lnTo>
                    <a:pt x="1090" y="601"/>
                  </a:lnTo>
                  <a:lnTo>
                    <a:pt x="1090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599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1"/>
                  </a:lnTo>
                  <a:lnTo>
                    <a:pt x="1088" y="603"/>
                  </a:lnTo>
                  <a:lnTo>
                    <a:pt x="1086" y="603"/>
                  </a:lnTo>
                  <a:lnTo>
                    <a:pt x="1086" y="603"/>
                  </a:lnTo>
                  <a:lnTo>
                    <a:pt x="1086" y="601"/>
                  </a:lnTo>
                  <a:lnTo>
                    <a:pt x="1086" y="601"/>
                  </a:lnTo>
                  <a:lnTo>
                    <a:pt x="1086" y="601"/>
                  </a:lnTo>
                  <a:lnTo>
                    <a:pt x="1086" y="601"/>
                  </a:lnTo>
                  <a:lnTo>
                    <a:pt x="1086" y="599"/>
                  </a:lnTo>
                  <a:lnTo>
                    <a:pt x="1086" y="599"/>
                  </a:lnTo>
                  <a:lnTo>
                    <a:pt x="1086" y="599"/>
                  </a:lnTo>
                  <a:lnTo>
                    <a:pt x="1086" y="601"/>
                  </a:lnTo>
                  <a:lnTo>
                    <a:pt x="1086" y="601"/>
                  </a:lnTo>
                  <a:lnTo>
                    <a:pt x="1086" y="601"/>
                  </a:lnTo>
                  <a:lnTo>
                    <a:pt x="1086" y="603"/>
                  </a:lnTo>
                  <a:lnTo>
                    <a:pt x="1086" y="601"/>
                  </a:lnTo>
                  <a:lnTo>
                    <a:pt x="1086" y="601"/>
                  </a:lnTo>
                  <a:lnTo>
                    <a:pt x="1084" y="599"/>
                  </a:lnTo>
                  <a:lnTo>
                    <a:pt x="1084" y="599"/>
                  </a:lnTo>
                  <a:lnTo>
                    <a:pt x="1084" y="599"/>
                  </a:lnTo>
                  <a:lnTo>
                    <a:pt x="1084" y="599"/>
                  </a:lnTo>
                  <a:lnTo>
                    <a:pt x="1084" y="599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1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4" y="601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2" y="603"/>
                  </a:lnTo>
                  <a:lnTo>
                    <a:pt x="1084" y="603"/>
                  </a:lnTo>
                  <a:lnTo>
                    <a:pt x="1084" y="603"/>
                  </a:lnTo>
                  <a:lnTo>
                    <a:pt x="1086" y="603"/>
                  </a:lnTo>
                  <a:lnTo>
                    <a:pt x="1086" y="603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6" y="605"/>
                  </a:lnTo>
                  <a:lnTo>
                    <a:pt x="1088" y="605"/>
                  </a:lnTo>
                  <a:lnTo>
                    <a:pt x="1088" y="605"/>
                  </a:lnTo>
                  <a:lnTo>
                    <a:pt x="1088" y="605"/>
                  </a:lnTo>
                  <a:lnTo>
                    <a:pt x="1088" y="605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90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8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09"/>
                  </a:lnTo>
                  <a:lnTo>
                    <a:pt x="1086" y="611"/>
                  </a:lnTo>
                  <a:lnTo>
                    <a:pt x="1086" y="611"/>
                  </a:lnTo>
                  <a:lnTo>
                    <a:pt x="1086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88" y="611"/>
                  </a:lnTo>
                  <a:lnTo>
                    <a:pt x="1090" y="611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90" y="613"/>
                  </a:lnTo>
                  <a:lnTo>
                    <a:pt x="1090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8" y="613"/>
                  </a:lnTo>
                  <a:lnTo>
                    <a:pt x="1086" y="615"/>
                  </a:lnTo>
                  <a:lnTo>
                    <a:pt x="1084" y="615"/>
                  </a:lnTo>
                  <a:lnTo>
                    <a:pt x="1084" y="615"/>
                  </a:lnTo>
                  <a:lnTo>
                    <a:pt x="1084" y="613"/>
                  </a:lnTo>
                  <a:lnTo>
                    <a:pt x="1084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0" y="613"/>
                  </a:lnTo>
                  <a:lnTo>
                    <a:pt x="1080" y="613"/>
                  </a:lnTo>
                  <a:lnTo>
                    <a:pt x="1080" y="613"/>
                  </a:lnTo>
                  <a:lnTo>
                    <a:pt x="1080" y="613"/>
                  </a:lnTo>
                  <a:lnTo>
                    <a:pt x="1080" y="611"/>
                  </a:lnTo>
                  <a:lnTo>
                    <a:pt x="1080" y="611"/>
                  </a:lnTo>
                  <a:lnTo>
                    <a:pt x="1080" y="611"/>
                  </a:lnTo>
                  <a:lnTo>
                    <a:pt x="1080" y="611"/>
                  </a:lnTo>
                  <a:lnTo>
                    <a:pt x="1080" y="611"/>
                  </a:lnTo>
                  <a:lnTo>
                    <a:pt x="1080" y="611"/>
                  </a:lnTo>
                  <a:lnTo>
                    <a:pt x="1080" y="611"/>
                  </a:lnTo>
                  <a:lnTo>
                    <a:pt x="1080" y="613"/>
                  </a:lnTo>
                  <a:lnTo>
                    <a:pt x="1080" y="613"/>
                  </a:lnTo>
                  <a:lnTo>
                    <a:pt x="1080" y="613"/>
                  </a:lnTo>
                  <a:lnTo>
                    <a:pt x="1080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2" y="613"/>
                  </a:lnTo>
                  <a:lnTo>
                    <a:pt x="1084" y="613"/>
                  </a:lnTo>
                  <a:lnTo>
                    <a:pt x="1084" y="615"/>
                  </a:lnTo>
                  <a:lnTo>
                    <a:pt x="1084" y="615"/>
                  </a:lnTo>
                  <a:lnTo>
                    <a:pt x="1082" y="615"/>
                  </a:lnTo>
                  <a:lnTo>
                    <a:pt x="1082" y="615"/>
                  </a:lnTo>
                  <a:lnTo>
                    <a:pt x="1084" y="615"/>
                  </a:lnTo>
                  <a:lnTo>
                    <a:pt x="1084" y="615"/>
                  </a:lnTo>
                  <a:lnTo>
                    <a:pt x="1084" y="615"/>
                  </a:lnTo>
                  <a:lnTo>
                    <a:pt x="1086" y="615"/>
                  </a:lnTo>
                  <a:lnTo>
                    <a:pt x="1086" y="615"/>
                  </a:lnTo>
                  <a:lnTo>
                    <a:pt x="1086" y="615"/>
                  </a:lnTo>
                  <a:lnTo>
                    <a:pt x="1088" y="615"/>
                  </a:lnTo>
                  <a:lnTo>
                    <a:pt x="1088" y="619"/>
                  </a:lnTo>
                  <a:lnTo>
                    <a:pt x="1088" y="619"/>
                  </a:lnTo>
                  <a:lnTo>
                    <a:pt x="1088" y="619"/>
                  </a:lnTo>
                  <a:lnTo>
                    <a:pt x="1088" y="619"/>
                  </a:lnTo>
                  <a:lnTo>
                    <a:pt x="1090" y="621"/>
                  </a:lnTo>
                  <a:lnTo>
                    <a:pt x="1090" y="621"/>
                  </a:lnTo>
                  <a:lnTo>
                    <a:pt x="1090" y="621"/>
                  </a:lnTo>
                  <a:lnTo>
                    <a:pt x="1088" y="621"/>
                  </a:lnTo>
                  <a:lnTo>
                    <a:pt x="1088" y="621"/>
                  </a:lnTo>
                  <a:lnTo>
                    <a:pt x="1088" y="621"/>
                  </a:lnTo>
                  <a:lnTo>
                    <a:pt x="1088" y="621"/>
                  </a:lnTo>
                  <a:lnTo>
                    <a:pt x="1088" y="621"/>
                  </a:lnTo>
                  <a:lnTo>
                    <a:pt x="1090" y="621"/>
                  </a:lnTo>
                  <a:lnTo>
                    <a:pt x="1090" y="621"/>
                  </a:lnTo>
                  <a:lnTo>
                    <a:pt x="1090" y="621"/>
                  </a:lnTo>
                  <a:lnTo>
                    <a:pt x="1090" y="621"/>
                  </a:lnTo>
                  <a:lnTo>
                    <a:pt x="1090" y="623"/>
                  </a:lnTo>
                  <a:lnTo>
                    <a:pt x="1090" y="623"/>
                  </a:lnTo>
                  <a:lnTo>
                    <a:pt x="1090" y="623"/>
                  </a:lnTo>
                  <a:lnTo>
                    <a:pt x="1090" y="623"/>
                  </a:lnTo>
                  <a:lnTo>
                    <a:pt x="1090" y="623"/>
                  </a:lnTo>
                  <a:lnTo>
                    <a:pt x="1090" y="623"/>
                  </a:lnTo>
                  <a:lnTo>
                    <a:pt x="1094" y="623"/>
                  </a:lnTo>
                  <a:lnTo>
                    <a:pt x="1094" y="623"/>
                  </a:lnTo>
                  <a:lnTo>
                    <a:pt x="1094" y="623"/>
                  </a:lnTo>
                  <a:lnTo>
                    <a:pt x="1094" y="623"/>
                  </a:lnTo>
                  <a:lnTo>
                    <a:pt x="1094" y="623"/>
                  </a:lnTo>
                  <a:lnTo>
                    <a:pt x="1094" y="625"/>
                  </a:lnTo>
                  <a:lnTo>
                    <a:pt x="1094" y="625"/>
                  </a:lnTo>
                  <a:lnTo>
                    <a:pt x="1094" y="625"/>
                  </a:lnTo>
                  <a:lnTo>
                    <a:pt x="1094" y="625"/>
                  </a:lnTo>
                  <a:lnTo>
                    <a:pt x="1094" y="625"/>
                  </a:lnTo>
                  <a:lnTo>
                    <a:pt x="1090" y="625"/>
                  </a:lnTo>
                  <a:lnTo>
                    <a:pt x="1090" y="625"/>
                  </a:lnTo>
                  <a:lnTo>
                    <a:pt x="1090" y="625"/>
                  </a:lnTo>
                  <a:lnTo>
                    <a:pt x="1090" y="625"/>
                  </a:lnTo>
                  <a:lnTo>
                    <a:pt x="1090" y="625"/>
                  </a:lnTo>
                  <a:lnTo>
                    <a:pt x="1090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5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7"/>
                  </a:lnTo>
                  <a:lnTo>
                    <a:pt x="1088" y="629"/>
                  </a:lnTo>
                  <a:lnTo>
                    <a:pt x="1088" y="629"/>
                  </a:lnTo>
                  <a:lnTo>
                    <a:pt x="1088" y="629"/>
                  </a:lnTo>
                  <a:lnTo>
                    <a:pt x="1088" y="629"/>
                  </a:lnTo>
                  <a:lnTo>
                    <a:pt x="1088" y="629"/>
                  </a:lnTo>
                  <a:lnTo>
                    <a:pt x="1088" y="629"/>
                  </a:lnTo>
                  <a:lnTo>
                    <a:pt x="1086" y="627"/>
                  </a:lnTo>
                  <a:lnTo>
                    <a:pt x="1086" y="627"/>
                  </a:lnTo>
                  <a:lnTo>
                    <a:pt x="1086" y="627"/>
                  </a:lnTo>
                  <a:lnTo>
                    <a:pt x="1086" y="627"/>
                  </a:lnTo>
                  <a:lnTo>
                    <a:pt x="1086" y="627"/>
                  </a:lnTo>
                  <a:lnTo>
                    <a:pt x="1086" y="627"/>
                  </a:lnTo>
                  <a:lnTo>
                    <a:pt x="1084" y="625"/>
                  </a:lnTo>
                  <a:lnTo>
                    <a:pt x="1084" y="625"/>
                  </a:lnTo>
                  <a:lnTo>
                    <a:pt x="1084" y="625"/>
                  </a:lnTo>
                  <a:lnTo>
                    <a:pt x="1084" y="625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4" y="623"/>
                  </a:lnTo>
                  <a:lnTo>
                    <a:pt x="1082" y="623"/>
                  </a:lnTo>
                  <a:lnTo>
                    <a:pt x="1082" y="623"/>
                  </a:lnTo>
                  <a:lnTo>
                    <a:pt x="1082" y="623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0" y="625"/>
                  </a:lnTo>
                  <a:lnTo>
                    <a:pt x="1080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5"/>
                  </a:lnTo>
                  <a:lnTo>
                    <a:pt x="1082" y="627"/>
                  </a:lnTo>
                  <a:lnTo>
                    <a:pt x="1082" y="627"/>
                  </a:lnTo>
                  <a:lnTo>
                    <a:pt x="1082" y="627"/>
                  </a:lnTo>
                  <a:lnTo>
                    <a:pt x="1082" y="627"/>
                  </a:lnTo>
                  <a:lnTo>
                    <a:pt x="1082" y="627"/>
                  </a:lnTo>
                  <a:lnTo>
                    <a:pt x="1082" y="627"/>
                  </a:lnTo>
                  <a:lnTo>
                    <a:pt x="1082" y="629"/>
                  </a:lnTo>
                  <a:lnTo>
                    <a:pt x="1082" y="629"/>
                  </a:lnTo>
                  <a:lnTo>
                    <a:pt x="1082" y="629"/>
                  </a:lnTo>
                  <a:lnTo>
                    <a:pt x="1082" y="629"/>
                  </a:lnTo>
                  <a:lnTo>
                    <a:pt x="1082" y="631"/>
                  </a:lnTo>
                  <a:lnTo>
                    <a:pt x="1082" y="631"/>
                  </a:lnTo>
                  <a:lnTo>
                    <a:pt x="1082" y="631"/>
                  </a:lnTo>
                  <a:lnTo>
                    <a:pt x="1082" y="631"/>
                  </a:lnTo>
                  <a:lnTo>
                    <a:pt x="1082" y="631"/>
                  </a:lnTo>
                  <a:lnTo>
                    <a:pt x="1080" y="631"/>
                  </a:lnTo>
                  <a:lnTo>
                    <a:pt x="1080" y="631"/>
                  </a:lnTo>
                  <a:lnTo>
                    <a:pt x="1080" y="631"/>
                  </a:lnTo>
                  <a:lnTo>
                    <a:pt x="1080" y="631"/>
                  </a:lnTo>
                  <a:lnTo>
                    <a:pt x="1078" y="631"/>
                  </a:lnTo>
                  <a:lnTo>
                    <a:pt x="1078" y="631"/>
                  </a:lnTo>
                  <a:lnTo>
                    <a:pt x="1078" y="631"/>
                  </a:lnTo>
                  <a:lnTo>
                    <a:pt x="1078" y="631"/>
                  </a:lnTo>
                  <a:lnTo>
                    <a:pt x="1078" y="631"/>
                  </a:lnTo>
                  <a:lnTo>
                    <a:pt x="1078" y="631"/>
                  </a:lnTo>
                  <a:lnTo>
                    <a:pt x="1074" y="631"/>
                  </a:lnTo>
                  <a:lnTo>
                    <a:pt x="1074" y="631"/>
                  </a:lnTo>
                  <a:lnTo>
                    <a:pt x="1074" y="631"/>
                  </a:lnTo>
                  <a:lnTo>
                    <a:pt x="1072" y="631"/>
                  </a:lnTo>
                  <a:lnTo>
                    <a:pt x="1072" y="631"/>
                  </a:lnTo>
                  <a:lnTo>
                    <a:pt x="1072" y="629"/>
                  </a:lnTo>
                  <a:lnTo>
                    <a:pt x="1072" y="629"/>
                  </a:lnTo>
                  <a:lnTo>
                    <a:pt x="1072" y="629"/>
                  </a:lnTo>
                  <a:lnTo>
                    <a:pt x="1072" y="629"/>
                  </a:lnTo>
                  <a:lnTo>
                    <a:pt x="1072" y="629"/>
                  </a:lnTo>
                  <a:lnTo>
                    <a:pt x="1072" y="631"/>
                  </a:lnTo>
                  <a:lnTo>
                    <a:pt x="1072" y="631"/>
                  </a:lnTo>
                  <a:lnTo>
                    <a:pt x="1072" y="631"/>
                  </a:lnTo>
                  <a:lnTo>
                    <a:pt x="1072" y="631"/>
                  </a:lnTo>
                  <a:lnTo>
                    <a:pt x="1074" y="631"/>
                  </a:lnTo>
                  <a:lnTo>
                    <a:pt x="1074" y="631"/>
                  </a:lnTo>
                  <a:lnTo>
                    <a:pt x="1074" y="631"/>
                  </a:lnTo>
                  <a:lnTo>
                    <a:pt x="1078" y="631"/>
                  </a:lnTo>
                  <a:lnTo>
                    <a:pt x="1078" y="631"/>
                  </a:lnTo>
                  <a:lnTo>
                    <a:pt x="1080" y="635"/>
                  </a:lnTo>
                  <a:lnTo>
                    <a:pt x="1080" y="635"/>
                  </a:lnTo>
                  <a:lnTo>
                    <a:pt x="1080" y="635"/>
                  </a:lnTo>
                  <a:lnTo>
                    <a:pt x="1080" y="635"/>
                  </a:lnTo>
                  <a:lnTo>
                    <a:pt x="1080" y="635"/>
                  </a:lnTo>
                  <a:lnTo>
                    <a:pt x="1080" y="635"/>
                  </a:lnTo>
                  <a:lnTo>
                    <a:pt x="1080" y="635"/>
                  </a:lnTo>
                  <a:lnTo>
                    <a:pt x="1080" y="637"/>
                  </a:lnTo>
                  <a:lnTo>
                    <a:pt x="1080" y="637"/>
                  </a:lnTo>
                  <a:lnTo>
                    <a:pt x="1080" y="637"/>
                  </a:lnTo>
                  <a:lnTo>
                    <a:pt x="1080" y="637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4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39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8" y="641"/>
                  </a:lnTo>
                  <a:lnTo>
                    <a:pt x="1074" y="641"/>
                  </a:lnTo>
                  <a:lnTo>
                    <a:pt x="1078" y="643"/>
                  </a:lnTo>
                  <a:lnTo>
                    <a:pt x="1078" y="643"/>
                  </a:lnTo>
                  <a:lnTo>
                    <a:pt x="1078" y="643"/>
                  </a:lnTo>
                  <a:lnTo>
                    <a:pt x="1078" y="643"/>
                  </a:lnTo>
                  <a:lnTo>
                    <a:pt x="1078" y="643"/>
                  </a:lnTo>
                  <a:lnTo>
                    <a:pt x="1078" y="647"/>
                  </a:lnTo>
                  <a:lnTo>
                    <a:pt x="1078" y="647"/>
                  </a:lnTo>
                  <a:lnTo>
                    <a:pt x="1078" y="643"/>
                  </a:lnTo>
                  <a:lnTo>
                    <a:pt x="1078" y="643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78" y="647"/>
                  </a:lnTo>
                  <a:lnTo>
                    <a:pt x="1080" y="647"/>
                  </a:lnTo>
                  <a:lnTo>
                    <a:pt x="1080" y="647"/>
                  </a:lnTo>
                  <a:lnTo>
                    <a:pt x="1080" y="649"/>
                  </a:lnTo>
                  <a:lnTo>
                    <a:pt x="1080" y="649"/>
                  </a:lnTo>
                  <a:lnTo>
                    <a:pt x="1080" y="649"/>
                  </a:lnTo>
                  <a:lnTo>
                    <a:pt x="1078" y="649"/>
                  </a:lnTo>
                  <a:lnTo>
                    <a:pt x="1078" y="647"/>
                  </a:lnTo>
                  <a:lnTo>
                    <a:pt x="1078" y="647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49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1"/>
                  </a:lnTo>
                  <a:lnTo>
                    <a:pt x="1078" y="653"/>
                  </a:lnTo>
                  <a:lnTo>
                    <a:pt x="1078" y="653"/>
                  </a:lnTo>
                  <a:lnTo>
                    <a:pt x="1078" y="653"/>
                  </a:lnTo>
                  <a:lnTo>
                    <a:pt x="1078" y="653"/>
                  </a:lnTo>
                  <a:lnTo>
                    <a:pt x="1078" y="653"/>
                  </a:lnTo>
                  <a:lnTo>
                    <a:pt x="1074" y="651"/>
                  </a:lnTo>
                  <a:lnTo>
                    <a:pt x="1074" y="651"/>
                  </a:lnTo>
                  <a:lnTo>
                    <a:pt x="1074" y="651"/>
                  </a:lnTo>
                  <a:lnTo>
                    <a:pt x="1074" y="651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49"/>
                  </a:lnTo>
                  <a:lnTo>
                    <a:pt x="1072" y="649"/>
                  </a:lnTo>
                  <a:lnTo>
                    <a:pt x="1072" y="651"/>
                  </a:lnTo>
                  <a:lnTo>
                    <a:pt x="1072" y="649"/>
                  </a:lnTo>
                  <a:lnTo>
                    <a:pt x="1072" y="649"/>
                  </a:lnTo>
                  <a:lnTo>
                    <a:pt x="1070" y="649"/>
                  </a:lnTo>
                  <a:lnTo>
                    <a:pt x="1070" y="649"/>
                  </a:lnTo>
                  <a:lnTo>
                    <a:pt x="1070" y="649"/>
                  </a:lnTo>
                  <a:lnTo>
                    <a:pt x="1070" y="649"/>
                  </a:lnTo>
                  <a:lnTo>
                    <a:pt x="1072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49"/>
                  </a:lnTo>
                  <a:lnTo>
                    <a:pt x="1070" y="649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0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2" y="651"/>
                  </a:lnTo>
                  <a:lnTo>
                    <a:pt x="1074" y="651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3"/>
                  </a:lnTo>
                  <a:lnTo>
                    <a:pt x="1074" y="657"/>
                  </a:lnTo>
                  <a:lnTo>
                    <a:pt x="1074" y="657"/>
                  </a:lnTo>
                  <a:lnTo>
                    <a:pt x="1074" y="657"/>
                  </a:lnTo>
                  <a:lnTo>
                    <a:pt x="1074" y="657"/>
                  </a:lnTo>
                  <a:lnTo>
                    <a:pt x="1074" y="657"/>
                  </a:lnTo>
                  <a:lnTo>
                    <a:pt x="1074" y="657"/>
                  </a:lnTo>
                  <a:lnTo>
                    <a:pt x="1074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3"/>
                  </a:lnTo>
                  <a:lnTo>
                    <a:pt x="1072" y="653"/>
                  </a:lnTo>
                  <a:lnTo>
                    <a:pt x="1072" y="653"/>
                  </a:lnTo>
                  <a:lnTo>
                    <a:pt x="1072" y="653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7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0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59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2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1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2" y="663"/>
                  </a:lnTo>
                  <a:lnTo>
                    <a:pt x="1072" y="663"/>
                  </a:lnTo>
                  <a:lnTo>
                    <a:pt x="1072" y="663"/>
                  </a:lnTo>
                  <a:lnTo>
                    <a:pt x="1072" y="663"/>
                  </a:lnTo>
                  <a:lnTo>
                    <a:pt x="1072" y="663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5"/>
                  </a:lnTo>
                  <a:lnTo>
                    <a:pt x="1072" y="667"/>
                  </a:lnTo>
                  <a:lnTo>
                    <a:pt x="1072" y="665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2" y="667"/>
                  </a:lnTo>
                  <a:lnTo>
                    <a:pt x="1070" y="667"/>
                  </a:lnTo>
                  <a:lnTo>
                    <a:pt x="1070" y="667"/>
                  </a:lnTo>
                  <a:lnTo>
                    <a:pt x="1070" y="667"/>
                  </a:lnTo>
                  <a:lnTo>
                    <a:pt x="1070" y="667"/>
                  </a:lnTo>
                  <a:lnTo>
                    <a:pt x="1070" y="667"/>
                  </a:lnTo>
                  <a:lnTo>
                    <a:pt x="1070" y="667"/>
                  </a:lnTo>
                  <a:lnTo>
                    <a:pt x="1070" y="667"/>
                  </a:lnTo>
                  <a:lnTo>
                    <a:pt x="1068" y="669"/>
                  </a:lnTo>
                  <a:lnTo>
                    <a:pt x="1068" y="669"/>
                  </a:lnTo>
                  <a:lnTo>
                    <a:pt x="1068" y="669"/>
                  </a:lnTo>
                  <a:lnTo>
                    <a:pt x="1068" y="669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68" y="667"/>
                  </a:lnTo>
                  <a:lnTo>
                    <a:pt x="1070" y="667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5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70" y="663"/>
                  </a:lnTo>
                  <a:lnTo>
                    <a:pt x="1068" y="663"/>
                  </a:lnTo>
                  <a:lnTo>
                    <a:pt x="1068" y="663"/>
                  </a:lnTo>
                  <a:lnTo>
                    <a:pt x="1068" y="663"/>
                  </a:lnTo>
                  <a:lnTo>
                    <a:pt x="1068" y="663"/>
                  </a:lnTo>
                  <a:lnTo>
                    <a:pt x="1068" y="665"/>
                  </a:lnTo>
                  <a:lnTo>
                    <a:pt x="1068" y="665"/>
                  </a:lnTo>
                  <a:lnTo>
                    <a:pt x="1068" y="665"/>
                  </a:lnTo>
                  <a:lnTo>
                    <a:pt x="1068" y="665"/>
                  </a:lnTo>
                  <a:lnTo>
                    <a:pt x="1068" y="665"/>
                  </a:lnTo>
                  <a:lnTo>
                    <a:pt x="1068" y="665"/>
                  </a:lnTo>
                  <a:lnTo>
                    <a:pt x="1068" y="665"/>
                  </a:lnTo>
                  <a:lnTo>
                    <a:pt x="1066" y="665"/>
                  </a:lnTo>
                  <a:lnTo>
                    <a:pt x="1066" y="665"/>
                  </a:lnTo>
                  <a:lnTo>
                    <a:pt x="1066" y="665"/>
                  </a:lnTo>
                  <a:lnTo>
                    <a:pt x="1066" y="665"/>
                  </a:lnTo>
                  <a:lnTo>
                    <a:pt x="1066" y="665"/>
                  </a:lnTo>
                  <a:lnTo>
                    <a:pt x="1066" y="665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1"/>
                  </a:lnTo>
                  <a:lnTo>
                    <a:pt x="1066" y="661"/>
                  </a:lnTo>
                  <a:lnTo>
                    <a:pt x="1066" y="661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6" y="663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3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2" y="665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3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7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5"/>
                  </a:lnTo>
                  <a:lnTo>
                    <a:pt x="1060" y="667"/>
                  </a:lnTo>
                  <a:lnTo>
                    <a:pt x="1060" y="667"/>
                  </a:lnTo>
                  <a:lnTo>
                    <a:pt x="1060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2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9"/>
                  </a:lnTo>
                  <a:lnTo>
                    <a:pt x="1066" y="667"/>
                  </a:lnTo>
                  <a:lnTo>
                    <a:pt x="1066" y="667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6" y="669"/>
                  </a:lnTo>
                  <a:lnTo>
                    <a:pt x="1068" y="669"/>
                  </a:lnTo>
                  <a:lnTo>
                    <a:pt x="1068" y="669"/>
                  </a:lnTo>
                  <a:lnTo>
                    <a:pt x="1068" y="669"/>
                  </a:lnTo>
                  <a:lnTo>
                    <a:pt x="1068" y="669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6" y="671"/>
                  </a:lnTo>
                  <a:lnTo>
                    <a:pt x="1066" y="671"/>
                  </a:lnTo>
                  <a:lnTo>
                    <a:pt x="1066" y="671"/>
                  </a:lnTo>
                  <a:lnTo>
                    <a:pt x="1066" y="671"/>
                  </a:lnTo>
                  <a:lnTo>
                    <a:pt x="1066" y="671"/>
                  </a:lnTo>
                  <a:lnTo>
                    <a:pt x="1066" y="671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69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2" y="671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8" y="675"/>
                  </a:lnTo>
                  <a:lnTo>
                    <a:pt x="1066" y="675"/>
                  </a:lnTo>
                  <a:lnTo>
                    <a:pt x="1066" y="671"/>
                  </a:lnTo>
                  <a:lnTo>
                    <a:pt x="1068" y="675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68" y="671"/>
                  </a:lnTo>
                  <a:lnTo>
                    <a:pt x="1070" y="675"/>
                  </a:lnTo>
                  <a:lnTo>
                    <a:pt x="1070" y="675"/>
                  </a:lnTo>
                  <a:lnTo>
                    <a:pt x="1070" y="675"/>
                  </a:lnTo>
                  <a:lnTo>
                    <a:pt x="1070" y="671"/>
                  </a:lnTo>
                  <a:lnTo>
                    <a:pt x="1070" y="671"/>
                  </a:lnTo>
                  <a:lnTo>
                    <a:pt x="1070" y="675"/>
                  </a:lnTo>
                  <a:lnTo>
                    <a:pt x="1070" y="675"/>
                  </a:lnTo>
                  <a:lnTo>
                    <a:pt x="1070" y="675"/>
                  </a:lnTo>
                  <a:lnTo>
                    <a:pt x="1070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8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5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7"/>
                  </a:lnTo>
                  <a:lnTo>
                    <a:pt x="1066" y="679"/>
                  </a:lnTo>
                  <a:lnTo>
                    <a:pt x="1066" y="679"/>
                  </a:lnTo>
                  <a:lnTo>
                    <a:pt x="1066" y="679"/>
                  </a:lnTo>
                  <a:lnTo>
                    <a:pt x="1062" y="679"/>
                  </a:lnTo>
                  <a:lnTo>
                    <a:pt x="1062" y="679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2" y="685"/>
                  </a:lnTo>
                  <a:lnTo>
                    <a:pt x="1062" y="685"/>
                  </a:lnTo>
                  <a:lnTo>
                    <a:pt x="1062" y="685"/>
                  </a:lnTo>
                  <a:lnTo>
                    <a:pt x="1060" y="681"/>
                  </a:lnTo>
                  <a:lnTo>
                    <a:pt x="1060" y="681"/>
                  </a:lnTo>
                  <a:lnTo>
                    <a:pt x="1060" y="681"/>
                  </a:lnTo>
                  <a:lnTo>
                    <a:pt x="1060" y="681"/>
                  </a:lnTo>
                  <a:lnTo>
                    <a:pt x="1060" y="681"/>
                  </a:lnTo>
                  <a:lnTo>
                    <a:pt x="1060" y="681"/>
                  </a:lnTo>
                  <a:lnTo>
                    <a:pt x="1058" y="681"/>
                  </a:lnTo>
                  <a:lnTo>
                    <a:pt x="1058" y="681"/>
                  </a:lnTo>
                  <a:lnTo>
                    <a:pt x="1058" y="681"/>
                  </a:lnTo>
                  <a:lnTo>
                    <a:pt x="1058" y="679"/>
                  </a:lnTo>
                  <a:lnTo>
                    <a:pt x="1056" y="679"/>
                  </a:lnTo>
                  <a:lnTo>
                    <a:pt x="1056" y="679"/>
                  </a:lnTo>
                  <a:lnTo>
                    <a:pt x="1056" y="679"/>
                  </a:lnTo>
                  <a:lnTo>
                    <a:pt x="1056" y="679"/>
                  </a:lnTo>
                  <a:lnTo>
                    <a:pt x="1052" y="679"/>
                  </a:lnTo>
                  <a:lnTo>
                    <a:pt x="1052" y="679"/>
                  </a:lnTo>
                  <a:lnTo>
                    <a:pt x="1052" y="679"/>
                  </a:lnTo>
                  <a:lnTo>
                    <a:pt x="1052" y="679"/>
                  </a:lnTo>
                  <a:lnTo>
                    <a:pt x="1052" y="679"/>
                  </a:lnTo>
                  <a:lnTo>
                    <a:pt x="1056" y="679"/>
                  </a:lnTo>
                  <a:lnTo>
                    <a:pt x="1056" y="679"/>
                  </a:lnTo>
                  <a:lnTo>
                    <a:pt x="1056" y="679"/>
                  </a:lnTo>
                  <a:lnTo>
                    <a:pt x="1056" y="679"/>
                  </a:lnTo>
                  <a:lnTo>
                    <a:pt x="1056" y="681"/>
                  </a:lnTo>
                  <a:lnTo>
                    <a:pt x="1056" y="681"/>
                  </a:lnTo>
                  <a:lnTo>
                    <a:pt x="1058" y="681"/>
                  </a:lnTo>
                  <a:lnTo>
                    <a:pt x="1058" y="681"/>
                  </a:lnTo>
                  <a:lnTo>
                    <a:pt x="1058" y="681"/>
                  </a:lnTo>
                  <a:lnTo>
                    <a:pt x="1058" y="685"/>
                  </a:lnTo>
                  <a:lnTo>
                    <a:pt x="1058" y="685"/>
                  </a:lnTo>
                  <a:lnTo>
                    <a:pt x="1058" y="685"/>
                  </a:lnTo>
                  <a:lnTo>
                    <a:pt x="1060" y="685"/>
                  </a:lnTo>
                  <a:lnTo>
                    <a:pt x="1060" y="685"/>
                  </a:lnTo>
                  <a:lnTo>
                    <a:pt x="1060" y="685"/>
                  </a:lnTo>
                  <a:lnTo>
                    <a:pt x="1060" y="685"/>
                  </a:lnTo>
                  <a:lnTo>
                    <a:pt x="1062" y="685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2" y="681"/>
                  </a:lnTo>
                  <a:lnTo>
                    <a:pt x="1066" y="681"/>
                  </a:lnTo>
                  <a:lnTo>
                    <a:pt x="1066" y="681"/>
                  </a:lnTo>
                  <a:lnTo>
                    <a:pt x="1066" y="681"/>
                  </a:lnTo>
                  <a:lnTo>
                    <a:pt x="1066" y="681"/>
                  </a:lnTo>
                  <a:lnTo>
                    <a:pt x="1068" y="681"/>
                  </a:lnTo>
                  <a:lnTo>
                    <a:pt x="1068" y="681"/>
                  </a:lnTo>
                  <a:lnTo>
                    <a:pt x="1068" y="681"/>
                  </a:lnTo>
                  <a:lnTo>
                    <a:pt x="1068" y="685"/>
                  </a:lnTo>
                  <a:lnTo>
                    <a:pt x="1068" y="685"/>
                  </a:lnTo>
                  <a:lnTo>
                    <a:pt x="1068" y="685"/>
                  </a:lnTo>
                  <a:lnTo>
                    <a:pt x="1068" y="685"/>
                  </a:lnTo>
                  <a:lnTo>
                    <a:pt x="1068" y="685"/>
                  </a:lnTo>
                  <a:lnTo>
                    <a:pt x="1068" y="685"/>
                  </a:lnTo>
                  <a:lnTo>
                    <a:pt x="1068" y="685"/>
                  </a:lnTo>
                  <a:lnTo>
                    <a:pt x="1068" y="687"/>
                  </a:lnTo>
                  <a:lnTo>
                    <a:pt x="1068" y="687"/>
                  </a:lnTo>
                  <a:lnTo>
                    <a:pt x="1066" y="687"/>
                  </a:lnTo>
                  <a:lnTo>
                    <a:pt x="1066" y="687"/>
                  </a:lnTo>
                  <a:lnTo>
                    <a:pt x="1066" y="687"/>
                  </a:lnTo>
                  <a:lnTo>
                    <a:pt x="1066" y="687"/>
                  </a:lnTo>
                  <a:lnTo>
                    <a:pt x="1066" y="687"/>
                  </a:lnTo>
                  <a:lnTo>
                    <a:pt x="1066" y="687"/>
                  </a:lnTo>
                  <a:lnTo>
                    <a:pt x="1068" y="687"/>
                  </a:lnTo>
                  <a:lnTo>
                    <a:pt x="1068" y="687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89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8" y="691"/>
                  </a:lnTo>
                  <a:lnTo>
                    <a:pt x="1066" y="689"/>
                  </a:lnTo>
                  <a:lnTo>
                    <a:pt x="1066" y="689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1"/>
                  </a:lnTo>
                  <a:lnTo>
                    <a:pt x="1066" y="695"/>
                  </a:lnTo>
                  <a:lnTo>
                    <a:pt x="1066" y="695"/>
                  </a:lnTo>
                  <a:lnTo>
                    <a:pt x="1066" y="695"/>
                  </a:lnTo>
                  <a:lnTo>
                    <a:pt x="1066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5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7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70" y="699"/>
                  </a:lnTo>
                  <a:lnTo>
                    <a:pt x="1068" y="699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70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9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8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6" y="697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2" y="691"/>
                  </a:lnTo>
                  <a:lnTo>
                    <a:pt x="1060" y="695"/>
                  </a:lnTo>
                  <a:lnTo>
                    <a:pt x="1062" y="695"/>
                  </a:lnTo>
                  <a:lnTo>
                    <a:pt x="1062" y="695"/>
                  </a:lnTo>
                  <a:lnTo>
                    <a:pt x="1060" y="695"/>
                  </a:lnTo>
                  <a:lnTo>
                    <a:pt x="1060" y="695"/>
                  </a:lnTo>
                  <a:lnTo>
                    <a:pt x="1060" y="695"/>
                  </a:lnTo>
                  <a:lnTo>
                    <a:pt x="1060" y="697"/>
                  </a:lnTo>
                  <a:lnTo>
                    <a:pt x="1060" y="697"/>
                  </a:lnTo>
                  <a:lnTo>
                    <a:pt x="1060" y="697"/>
                  </a:lnTo>
                  <a:lnTo>
                    <a:pt x="1060" y="697"/>
                  </a:lnTo>
                  <a:lnTo>
                    <a:pt x="1060" y="697"/>
                  </a:lnTo>
                  <a:lnTo>
                    <a:pt x="1060" y="697"/>
                  </a:lnTo>
                  <a:lnTo>
                    <a:pt x="1060" y="697"/>
                  </a:lnTo>
                  <a:lnTo>
                    <a:pt x="1058" y="697"/>
                  </a:lnTo>
                  <a:lnTo>
                    <a:pt x="1058" y="697"/>
                  </a:lnTo>
                  <a:lnTo>
                    <a:pt x="1058" y="699"/>
                  </a:lnTo>
                  <a:lnTo>
                    <a:pt x="1058" y="699"/>
                  </a:lnTo>
                  <a:lnTo>
                    <a:pt x="1060" y="699"/>
                  </a:lnTo>
                  <a:lnTo>
                    <a:pt x="1060" y="699"/>
                  </a:lnTo>
                  <a:lnTo>
                    <a:pt x="1060" y="699"/>
                  </a:lnTo>
                  <a:lnTo>
                    <a:pt x="1060" y="701"/>
                  </a:lnTo>
                  <a:lnTo>
                    <a:pt x="1060" y="699"/>
                  </a:lnTo>
                  <a:lnTo>
                    <a:pt x="1060" y="699"/>
                  </a:lnTo>
                  <a:lnTo>
                    <a:pt x="1060" y="699"/>
                  </a:lnTo>
                  <a:lnTo>
                    <a:pt x="1060" y="699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699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699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2" y="701"/>
                  </a:lnTo>
                  <a:lnTo>
                    <a:pt x="1066" y="701"/>
                  </a:lnTo>
                  <a:lnTo>
                    <a:pt x="1066" y="701"/>
                  </a:lnTo>
                  <a:lnTo>
                    <a:pt x="1066" y="701"/>
                  </a:lnTo>
                  <a:lnTo>
                    <a:pt x="1066" y="701"/>
                  </a:lnTo>
                  <a:lnTo>
                    <a:pt x="1066" y="701"/>
                  </a:lnTo>
                  <a:lnTo>
                    <a:pt x="1062" y="701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2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1"/>
                  </a:lnTo>
                  <a:lnTo>
                    <a:pt x="1060" y="703"/>
                  </a:lnTo>
                  <a:lnTo>
                    <a:pt x="1058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5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5"/>
                  </a:lnTo>
                  <a:lnTo>
                    <a:pt x="1060" y="703"/>
                  </a:lnTo>
                  <a:lnTo>
                    <a:pt x="1060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5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6" y="703"/>
                  </a:lnTo>
                  <a:lnTo>
                    <a:pt x="1056" y="701"/>
                  </a:lnTo>
                  <a:lnTo>
                    <a:pt x="1058" y="701"/>
                  </a:lnTo>
                  <a:lnTo>
                    <a:pt x="1058" y="701"/>
                  </a:lnTo>
                  <a:lnTo>
                    <a:pt x="1058" y="701"/>
                  </a:lnTo>
                  <a:lnTo>
                    <a:pt x="1056" y="701"/>
                  </a:lnTo>
                  <a:lnTo>
                    <a:pt x="1056" y="701"/>
                  </a:lnTo>
                  <a:lnTo>
                    <a:pt x="1056" y="701"/>
                  </a:lnTo>
                  <a:lnTo>
                    <a:pt x="1056" y="701"/>
                  </a:lnTo>
                  <a:lnTo>
                    <a:pt x="1052" y="701"/>
                  </a:lnTo>
                  <a:lnTo>
                    <a:pt x="1052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6" y="703"/>
                  </a:lnTo>
                  <a:lnTo>
                    <a:pt x="1058" y="703"/>
                  </a:lnTo>
                  <a:lnTo>
                    <a:pt x="1058" y="703"/>
                  </a:lnTo>
                  <a:lnTo>
                    <a:pt x="1056" y="703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5"/>
                  </a:lnTo>
                  <a:lnTo>
                    <a:pt x="1056" y="707"/>
                  </a:lnTo>
                  <a:lnTo>
                    <a:pt x="1056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5"/>
                  </a:lnTo>
                  <a:lnTo>
                    <a:pt x="1058" y="705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8" y="707"/>
                  </a:lnTo>
                  <a:lnTo>
                    <a:pt x="1056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8" y="709"/>
                  </a:lnTo>
                  <a:lnTo>
                    <a:pt x="1056" y="709"/>
                  </a:lnTo>
                  <a:lnTo>
                    <a:pt x="1056" y="709"/>
                  </a:lnTo>
                  <a:lnTo>
                    <a:pt x="1056" y="709"/>
                  </a:lnTo>
                  <a:lnTo>
                    <a:pt x="1056" y="709"/>
                  </a:lnTo>
                  <a:lnTo>
                    <a:pt x="1056" y="709"/>
                  </a:lnTo>
                  <a:lnTo>
                    <a:pt x="1056" y="709"/>
                  </a:lnTo>
                  <a:lnTo>
                    <a:pt x="1056" y="709"/>
                  </a:lnTo>
                  <a:lnTo>
                    <a:pt x="1052" y="709"/>
                  </a:lnTo>
                  <a:lnTo>
                    <a:pt x="1056" y="709"/>
                  </a:lnTo>
                  <a:lnTo>
                    <a:pt x="1052" y="709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07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2" y="709"/>
                  </a:lnTo>
                  <a:lnTo>
                    <a:pt x="1052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09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0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2" y="713"/>
                  </a:lnTo>
                  <a:lnTo>
                    <a:pt x="1056" y="713"/>
                  </a:lnTo>
                  <a:lnTo>
                    <a:pt x="1056" y="713"/>
                  </a:lnTo>
                  <a:lnTo>
                    <a:pt x="1056" y="715"/>
                  </a:lnTo>
                  <a:lnTo>
                    <a:pt x="1056" y="715"/>
                  </a:lnTo>
                  <a:lnTo>
                    <a:pt x="1056" y="715"/>
                  </a:lnTo>
                  <a:lnTo>
                    <a:pt x="1052" y="715"/>
                  </a:lnTo>
                  <a:lnTo>
                    <a:pt x="1052" y="715"/>
                  </a:lnTo>
                  <a:lnTo>
                    <a:pt x="1052" y="715"/>
                  </a:lnTo>
                  <a:lnTo>
                    <a:pt x="1052" y="717"/>
                  </a:lnTo>
                  <a:lnTo>
                    <a:pt x="1052" y="715"/>
                  </a:lnTo>
                  <a:lnTo>
                    <a:pt x="1052" y="715"/>
                  </a:lnTo>
                  <a:lnTo>
                    <a:pt x="1052" y="715"/>
                  </a:lnTo>
                  <a:lnTo>
                    <a:pt x="1052" y="715"/>
                  </a:lnTo>
                  <a:lnTo>
                    <a:pt x="1052" y="717"/>
                  </a:lnTo>
                  <a:lnTo>
                    <a:pt x="1052" y="717"/>
                  </a:lnTo>
                  <a:lnTo>
                    <a:pt x="1052" y="717"/>
                  </a:lnTo>
                  <a:lnTo>
                    <a:pt x="1052" y="717"/>
                  </a:lnTo>
                  <a:lnTo>
                    <a:pt x="1052" y="717"/>
                  </a:lnTo>
                  <a:lnTo>
                    <a:pt x="1052" y="717"/>
                  </a:lnTo>
                  <a:lnTo>
                    <a:pt x="1052" y="717"/>
                  </a:lnTo>
                  <a:lnTo>
                    <a:pt x="1052" y="719"/>
                  </a:lnTo>
                  <a:lnTo>
                    <a:pt x="1052" y="719"/>
                  </a:lnTo>
                  <a:lnTo>
                    <a:pt x="1052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9"/>
                  </a:lnTo>
                  <a:lnTo>
                    <a:pt x="1050" y="717"/>
                  </a:lnTo>
                  <a:lnTo>
                    <a:pt x="1048" y="717"/>
                  </a:lnTo>
                  <a:lnTo>
                    <a:pt x="1048" y="717"/>
                  </a:lnTo>
                  <a:lnTo>
                    <a:pt x="1048" y="717"/>
                  </a:lnTo>
                  <a:lnTo>
                    <a:pt x="1048" y="717"/>
                  </a:lnTo>
                  <a:lnTo>
                    <a:pt x="1048" y="717"/>
                  </a:lnTo>
                  <a:lnTo>
                    <a:pt x="1048" y="717"/>
                  </a:lnTo>
                  <a:lnTo>
                    <a:pt x="1048" y="715"/>
                  </a:lnTo>
                  <a:lnTo>
                    <a:pt x="1048" y="715"/>
                  </a:lnTo>
                  <a:lnTo>
                    <a:pt x="1048" y="715"/>
                  </a:lnTo>
                  <a:lnTo>
                    <a:pt x="1048" y="715"/>
                  </a:lnTo>
                  <a:lnTo>
                    <a:pt x="1046" y="715"/>
                  </a:lnTo>
                  <a:lnTo>
                    <a:pt x="1048" y="717"/>
                  </a:lnTo>
                  <a:lnTo>
                    <a:pt x="1048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6" y="717"/>
                  </a:lnTo>
                  <a:lnTo>
                    <a:pt x="1044" y="719"/>
                  </a:lnTo>
                  <a:lnTo>
                    <a:pt x="1044" y="717"/>
                  </a:lnTo>
                  <a:lnTo>
                    <a:pt x="1044" y="719"/>
                  </a:lnTo>
                  <a:lnTo>
                    <a:pt x="1044" y="719"/>
                  </a:lnTo>
                  <a:lnTo>
                    <a:pt x="1044" y="719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4" y="717"/>
                  </a:lnTo>
                  <a:lnTo>
                    <a:pt x="1042" y="715"/>
                  </a:lnTo>
                  <a:lnTo>
                    <a:pt x="1042" y="715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2" y="717"/>
                  </a:lnTo>
                  <a:lnTo>
                    <a:pt x="1040" y="717"/>
                  </a:lnTo>
                  <a:lnTo>
                    <a:pt x="1040" y="717"/>
                  </a:lnTo>
                  <a:lnTo>
                    <a:pt x="1040" y="717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17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2" y="719"/>
                  </a:lnTo>
                  <a:lnTo>
                    <a:pt x="1042" y="719"/>
                  </a:lnTo>
                  <a:lnTo>
                    <a:pt x="1042" y="719"/>
                  </a:lnTo>
                  <a:lnTo>
                    <a:pt x="1042" y="719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19"/>
                  </a:lnTo>
                  <a:lnTo>
                    <a:pt x="1040" y="723"/>
                  </a:lnTo>
                  <a:lnTo>
                    <a:pt x="1040" y="723"/>
                  </a:lnTo>
                  <a:lnTo>
                    <a:pt x="1040" y="723"/>
                  </a:lnTo>
                  <a:lnTo>
                    <a:pt x="1042" y="723"/>
                  </a:lnTo>
                  <a:lnTo>
                    <a:pt x="1040" y="723"/>
                  </a:lnTo>
                  <a:lnTo>
                    <a:pt x="1038" y="719"/>
                  </a:lnTo>
                  <a:lnTo>
                    <a:pt x="1038" y="719"/>
                  </a:lnTo>
                  <a:lnTo>
                    <a:pt x="1038" y="719"/>
                  </a:lnTo>
                  <a:lnTo>
                    <a:pt x="1038" y="723"/>
                  </a:lnTo>
                  <a:lnTo>
                    <a:pt x="1038" y="723"/>
                  </a:lnTo>
                  <a:lnTo>
                    <a:pt x="1038" y="723"/>
                  </a:lnTo>
                  <a:lnTo>
                    <a:pt x="1038" y="723"/>
                  </a:lnTo>
                  <a:lnTo>
                    <a:pt x="1038" y="723"/>
                  </a:lnTo>
                  <a:lnTo>
                    <a:pt x="1034" y="723"/>
                  </a:lnTo>
                  <a:lnTo>
                    <a:pt x="1034" y="723"/>
                  </a:lnTo>
                  <a:lnTo>
                    <a:pt x="1038" y="723"/>
                  </a:lnTo>
                  <a:lnTo>
                    <a:pt x="1040" y="723"/>
                  </a:lnTo>
                  <a:lnTo>
                    <a:pt x="1040" y="723"/>
                  </a:lnTo>
                  <a:lnTo>
                    <a:pt x="1042" y="723"/>
                  </a:lnTo>
                  <a:lnTo>
                    <a:pt x="1042" y="723"/>
                  </a:lnTo>
                  <a:lnTo>
                    <a:pt x="1042" y="723"/>
                  </a:lnTo>
                  <a:lnTo>
                    <a:pt x="1042" y="723"/>
                  </a:lnTo>
                  <a:lnTo>
                    <a:pt x="1042" y="723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2" y="725"/>
                  </a:lnTo>
                  <a:lnTo>
                    <a:pt x="1044" y="725"/>
                  </a:lnTo>
                  <a:lnTo>
                    <a:pt x="1044" y="725"/>
                  </a:lnTo>
                  <a:lnTo>
                    <a:pt x="1044" y="725"/>
                  </a:lnTo>
                  <a:lnTo>
                    <a:pt x="1044" y="727"/>
                  </a:lnTo>
                  <a:lnTo>
                    <a:pt x="1044" y="727"/>
                  </a:lnTo>
                  <a:lnTo>
                    <a:pt x="1044" y="727"/>
                  </a:lnTo>
                  <a:lnTo>
                    <a:pt x="1044" y="727"/>
                  </a:lnTo>
                  <a:lnTo>
                    <a:pt x="1044" y="727"/>
                  </a:lnTo>
                  <a:lnTo>
                    <a:pt x="1042" y="727"/>
                  </a:lnTo>
                  <a:lnTo>
                    <a:pt x="1042" y="727"/>
                  </a:lnTo>
                  <a:lnTo>
                    <a:pt x="1042" y="727"/>
                  </a:lnTo>
                  <a:lnTo>
                    <a:pt x="1042" y="727"/>
                  </a:lnTo>
                  <a:lnTo>
                    <a:pt x="1042" y="727"/>
                  </a:lnTo>
                  <a:lnTo>
                    <a:pt x="1042" y="727"/>
                  </a:lnTo>
                  <a:lnTo>
                    <a:pt x="1042" y="729"/>
                  </a:lnTo>
                  <a:lnTo>
                    <a:pt x="1042" y="729"/>
                  </a:lnTo>
                  <a:lnTo>
                    <a:pt x="1042" y="729"/>
                  </a:lnTo>
                  <a:lnTo>
                    <a:pt x="1042" y="729"/>
                  </a:lnTo>
                  <a:lnTo>
                    <a:pt x="1042" y="729"/>
                  </a:lnTo>
                  <a:lnTo>
                    <a:pt x="1042" y="729"/>
                  </a:lnTo>
                  <a:lnTo>
                    <a:pt x="1040" y="727"/>
                  </a:lnTo>
                  <a:lnTo>
                    <a:pt x="1040" y="727"/>
                  </a:lnTo>
                  <a:lnTo>
                    <a:pt x="1040" y="727"/>
                  </a:lnTo>
                  <a:lnTo>
                    <a:pt x="1040" y="729"/>
                  </a:lnTo>
                  <a:lnTo>
                    <a:pt x="1040" y="729"/>
                  </a:lnTo>
                  <a:lnTo>
                    <a:pt x="1040" y="729"/>
                  </a:lnTo>
                  <a:lnTo>
                    <a:pt x="1040" y="729"/>
                  </a:lnTo>
                  <a:lnTo>
                    <a:pt x="1040" y="729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40" y="731"/>
                  </a:lnTo>
                  <a:lnTo>
                    <a:pt x="1038" y="735"/>
                  </a:lnTo>
                  <a:lnTo>
                    <a:pt x="1038" y="735"/>
                  </a:lnTo>
                  <a:lnTo>
                    <a:pt x="1038" y="735"/>
                  </a:lnTo>
                  <a:lnTo>
                    <a:pt x="1038" y="735"/>
                  </a:lnTo>
                  <a:lnTo>
                    <a:pt x="1038" y="735"/>
                  </a:lnTo>
                  <a:lnTo>
                    <a:pt x="1038" y="737"/>
                  </a:lnTo>
                  <a:lnTo>
                    <a:pt x="1038" y="737"/>
                  </a:lnTo>
                  <a:lnTo>
                    <a:pt x="1038" y="735"/>
                  </a:lnTo>
                  <a:lnTo>
                    <a:pt x="1038" y="735"/>
                  </a:lnTo>
                  <a:lnTo>
                    <a:pt x="1038" y="735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8" y="731"/>
                  </a:lnTo>
                  <a:lnTo>
                    <a:pt x="1034" y="731"/>
                  </a:lnTo>
                  <a:lnTo>
                    <a:pt x="1034" y="731"/>
                  </a:lnTo>
                  <a:lnTo>
                    <a:pt x="1034" y="731"/>
                  </a:lnTo>
                  <a:lnTo>
                    <a:pt x="1034" y="731"/>
                  </a:lnTo>
                  <a:lnTo>
                    <a:pt x="1034" y="731"/>
                  </a:lnTo>
                  <a:lnTo>
                    <a:pt x="1038" y="731"/>
                  </a:lnTo>
                  <a:lnTo>
                    <a:pt x="1034" y="735"/>
                  </a:lnTo>
                  <a:lnTo>
                    <a:pt x="1034" y="735"/>
                  </a:lnTo>
                  <a:lnTo>
                    <a:pt x="1038" y="735"/>
                  </a:lnTo>
                  <a:lnTo>
                    <a:pt x="1034" y="735"/>
                  </a:lnTo>
                  <a:lnTo>
                    <a:pt x="1034" y="735"/>
                  </a:lnTo>
                  <a:lnTo>
                    <a:pt x="1034" y="737"/>
                  </a:lnTo>
                  <a:lnTo>
                    <a:pt x="1034" y="737"/>
                  </a:lnTo>
                  <a:lnTo>
                    <a:pt x="1034" y="737"/>
                  </a:lnTo>
                  <a:lnTo>
                    <a:pt x="1034" y="739"/>
                  </a:lnTo>
                  <a:lnTo>
                    <a:pt x="1034" y="739"/>
                  </a:lnTo>
                  <a:lnTo>
                    <a:pt x="1034" y="739"/>
                  </a:lnTo>
                  <a:lnTo>
                    <a:pt x="1034" y="741"/>
                  </a:lnTo>
                  <a:lnTo>
                    <a:pt x="1034" y="741"/>
                  </a:lnTo>
                  <a:lnTo>
                    <a:pt x="1034" y="739"/>
                  </a:lnTo>
                  <a:lnTo>
                    <a:pt x="1034" y="739"/>
                  </a:lnTo>
                  <a:lnTo>
                    <a:pt x="1034" y="737"/>
                  </a:lnTo>
                  <a:lnTo>
                    <a:pt x="1034" y="737"/>
                  </a:lnTo>
                  <a:lnTo>
                    <a:pt x="1034" y="737"/>
                  </a:lnTo>
                  <a:lnTo>
                    <a:pt x="1034" y="737"/>
                  </a:lnTo>
                  <a:lnTo>
                    <a:pt x="1034" y="737"/>
                  </a:lnTo>
                  <a:lnTo>
                    <a:pt x="1032" y="735"/>
                  </a:lnTo>
                  <a:lnTo>
                    <a:pt x="1032" y="735"/>
                  </a:lnTo>
                  <a:lnTo>
                    <a:pt x="1032" y="735"/>
                  </a:lnTo>
                  <a:lnTo>
                    <a:pt x="1030" y="735"/>
                  </a:lnTo>
                  <a:lnTo>
                    <a:pt x="1030" y="735"/>
                  </a:lnTo>
                  <a:lnTo>
                    <a:pt x="1030" y="735"/>
                  </a:lnTo>
                  <a:lnTo>
                    <a:pt x="1030" y="735"/>
                  </a:lnTo>
                  <a:lnTo>
                    <a:pt x="1030" y="735"/>
                  </a:lnTo>
                  <a:lnTo>
                    <a:pt x="1030" y="737"/>
                  </a:lnTo>
                  <a:lnTo>
                    <a:pt x="1030" y="735"/>
                  </a:lnTo>
                  <a:lnTo>
                    <a:pt x="1032" y="735"/>
                  </a:lnTo>
                  <a:lnTo>
                    <a:pt x="1032" y="737"/>
                  </a:lnTo>
                  <a:lnTo>
                    <a:pt x="1032" y="737"/>
                  </a:lnTo>
                  <a:lnTo>
                    <a:pt x="1032" y="739"/>
                  </a:lnTo>
                  <a:lnTo>
                    <a:pt x="1030" y="739"/>
                  </a:lnTo>
                  <a:lnTo>
                    <a:pt x="1030" y="739"/>
                  </a:lnTo>
                  <a:lnTo>
                    <a:pt x="1030" y="739"/>
                  </a:lnTo>
                  <a:lnTo>
                    <a:pt x="1030" y="739"/>
                  </a:lnTo>
                  <a:lnTo>
                    <a:pt x="1030" y="739"/>
                  </a:lnTo>
                  <a:lnTo>
                    <a:pt x="1030" y="739"/>
                  </a:lnTo>
                  <a:lnTo>
                    <a:pt x="1028" y="739"/>
                  </a:lnTo>
                  <a:lnTo>
                    <a:pt x="1028" y="739"/>
                  </a:lnTo>
                  <a:lnTo>
                    <a:pt x="1028" y="739"/>
                  </a:lnTo>
                  <a:lnTo>
                    <a:pt x="1028" y="739"/>
                  </a:lnTo>
                  <a:lnTo>
                    <a:pt x="1028" y="739"/>
                  </a:lnTo>
                  <a:lnTo>
                    <a:pt x="1028" y="739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3"/>
                  </a:lnTo>
                  <a:lnTo>
                    <a:pt x="1028" y="743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1"/>
                  </a:lnTo>
                  <a:lnTo>
                    <a:pt x="1028" y="743"/>
                  </a:lnTo>
                  <a:lnTo>
                    <a:pt x="1024" y="743"/>
                  </a:lnTo>
                  <a:lnTo>
                    <a:pt x="1024" y="743"/>
                  </a:lnTo>
                  <a:lnTo>
                    <a:pt x="1024" y="743"/>
                  </a:lnTo>
                  <a:lnTo>
                    <a:pt x="1024" y="743"/>
                  </a:lnTo>
                  <a:lnTo>
                    <a:pt x="1024" y="743"/>
                  </a:lnTo>
                  <a:lnTo>
                    <a:pt x="1024" y="743"/>
                  </a:lnTo>
                  <a:lnTo>
                    <a:pt x="1024" y="743"/>
                  </a:lnTo>
                  <a:lnTo>
                    <a:pt x="1022" y="743"/>
                  </a:lnTo>
                  <a:lnTo>
                    <a:pt x="1024" y="743"/>
                  </a:lnTo>
                  <a:lnTo>
                    <a:pt x="1022" y="743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3"/>
                  </a:lnTo>
                  <a:lnTo>
                    <a:pt x="1022" y="743"/>
                  </a:lnTo>
                  <a:lnTo>
                    <a:pt x="1022" y="743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1"/>
                  </a:lnTo>
                  <a:lnTo>
                    <a:pt x="1022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1"/>
                  </a:lnTo>
                  <a:lnTo>
                    <a:pt x="1020" y="741"/>
                  </a:lnTo>
                  <a:lnTo>
                    <a:pt x="1020" y="741"/>
                  </a:lnTo>
                  <a:lnTo>
                    <a:pt x="1020" y="741"/>
                  </a:lnTo>
                  <a:lnTo>
                    <a:pt x="1020" y="741"/>
                  </a:lnTo>
                  <a:lnTo>
                    <a:pt x="1020" y="741"/>
                  </a:lnTo>
                  <a:lnTo>
                    <a:pt x="1020" y="741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3"/>
                  </a:lnTo>
                  <a:lnTo>
                    <a:pt x="1020" y="745"/>
                  </a:lnTo>
                  <a:lnTo>
                    <a:pt x="1020" y="745"/>
                  </a:lnTo>
                  <a:lnTo>
                    <a:pt x="1020" y="745"/>
                  </a:lnTo>
                  <a:lnTo>
                    <a:pt x="1020" y="745"/>
                  </a:lnTo>
                  <a:lnTo>
                    <a:pt x="1020" y="745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8" y="747"/>
                  </a:lnTo>
                  <a:lnTo>
                    <a:pt x="1014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5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4" y="751"/>
                  </a:lnTo>
                  <a:lnTo>
                    <a:pt x="1014" y="751"/>
                  </a:lnTo>
                  <a:lnTo>
                    <a:pt x="1014" y="751"/>
                  </a:lnTo>
                  <a:lnTo>
                    <a:pt x="1014" y="747"/>
                  </a:lnTo>
                  <a:lnTo>
                    <a:pt x="1014" y="747"/>
                  </a:lnTo>
                  <a:lnTo>
                    <a:pt x="1014" y="747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20" y="751"/>
                  </a:lnTo>
                  <a:lnTo>
                    <a:pt x="1020" y="751"/>
                  </a:lnTo>
                  <a:lnTo>
                    <a:pt x="1020" y="751"/>
                  </a:lnTo>
                  <a:lnTo>
                    <a:pt x="1020" y="751"/>
                  </a:lnTo>
                  <a:lnTo>
                    <a:pt x="1020" y="753"/>
                  </a:lnTo>
                  <a:lnTo>
                    <a:pt x="1020" y="753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1"/>
                  </a:lnTo>
                  <a:lnTo>
                    <a:pt x="1018" y="753"/>
                  </a:lnTo>
                  <a:lnTo>
                    <a:pt x="1018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1"/>
                  </a:lnTo>
                  <a:lnTo>
                    <a:pt x="1014" y="751"/>
                  </a:lnTo>
                  <a:lnTo>
                    <a:pt x="1011" y="751"/>
                  </a:lnTo>
                  <a:lnTo>
                    <a:pt x="1011" y="751"/>
                  </a:lnTo>
                  <a:lnTo>
                    <a:pt x="1011" y="753"/>
                  </a:lnTo>
                  <a:lnTo>
                    <a:pt x="1011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3"/>
                  </a:lnTo>
                  <a:lnTo>
                    <a:pt x="1014" y="755"/>
                  </a:lnTo>
                  <a:lnTo>
                    <a:pt x="1014" y="757"/>
                  </a:lnTo>
                  <a:lnTo>
                    <a:pt x="1014" y="757"/>
                  </a:lnTo>
                  <a:lnTo>
                    <a:pt x="1014" y="757"/>
                  </a:lnTo>
                  <a:lnTo>
                    <a:pt x="1014" y="757"/>
                  </a:lnTo>
                  <a:lnTo>
                    <a:pt x="1014" y="757"/>
                  </a:lnTo>
                  <a:lnTo>
                    <a:pt x="1014" y="757"/>
                  </a:lnTo>
                  <a:lnTo>
                    <a:pt x="1011" y="761"/>
                  </a:lnTo>
                  <a:lnTo>
                    <a:pt x="1009" y="761"/>
                  </a:lnTo>
                  <a:lnTo>
                    <a:pt x="1009" y="761"/>
                  </a:lnTo>
                  <a:lnTo>
                    <a:pt x="1009" y="757"/>
                  </a:lnTo>
                  <a:lnTo>
                    <a:pt x="1009" y="757"/>
                  </a:lnTo>
                  <a:lnTo>
                    <a:pt x="1007" y="757"/>
                  </a:lnTo>
                  <a:lnTo>
                    <a:pt x="1007" y="757"/>
                  </a:lnTo>
                  <a:lnTo>
                    <a:pt x="1007" y="757"/>
                  </a:lnTo>
                  <a:lnTo>
                    <a:pt x="1007" y="757"/>
                  </a:lnTo>
                  <a:lnTo>
                    <a:pt x="1007" y="757"/>
                  </a:lnTo>
                  <a:lnTo>
                    <a:pt x="1007" y="757"/>
                  </a:lnTo>
                  <a:lnTo>
                    <a:pt x="1009" y="757"/>
                  </a:lnTo>
                  <a:lnTo>
                    <a:pt x="1007" y="757"/>
                  </a:lnTo>
                  <a:lnTo>
                    <a:pt x="1007" y="761"/>
                  </a:lnTo>
                  <a:lnTo>
                    <a:pt x="1007" y="761"/>
                  </a:lnTo>
                  <a:lnTo>
                    <a:pt x="1007" y="761"/>
                  </a:lnTo>
                  <a:lnTo>
                    <a:pt x="1007" y="761"/>
                  </a:lnTo>
                  <a:lnTo>
                    <a:pt x="1007" y="761"/>
                  </a:lnTo>
                  <a:lnTo>
                    <a:pt x="1007" y="763"/>
                  </a:lnTo>
                  <a:lnTo>
                    <a:pt x="1005" y="763"/>
                  </a:lnTo>
                  <a:lnTo>
                    <a:pt x="1005" y="763"/>
                  </a:lnTo>
                  <a:lnTo>
                    <a:pt x="1005" y="763"/>
                  </a:lnTo>
                  <a:lnTo>
                    <a:pt x="1005" y="763"/>
                  </a:lnTo>
                  <a:lnTo>
                    <a:pt x="1005" y="761"/>
                  </a:lnTo>
                  <a:lnTo>
                    <a:pt x="1005" y="761"/>
                  </a:lnTo>
                  <a:lnTo>
                    <a:pt x="1005" y="761"/>
                  </a:lnTo>
                  <a:lnTo>
                    <a:pt x="1003" y="761"/>
                  </a:lnTo>
                  <a:lnTo>
                    <a:pt x="1003" y="761"/>
                  </a:lnTo>
                  <a:lnTo>
                    <a:pt x="1005" y="761"/>
                  </a:lnTo>
                  <a:lnTo>
                    <a:pt x="1005" y="761"/>
                  </a:lnTo>
                  <a:lnTo>
                    <a:pt x="1005" y="761"/>
                  </a:lnTo>
                  <a:lnTo>
                    <a:pt x="1005" y="761"/>
                  </a:lnTo>
                  <a:lnTo>
                    <a:pt x="1005" y="763"/>
                  </a:lnTo>
                  <a:lnTo>
                    <a:pt x="1005" y="763"/>
                  </a:lnTo>
                  <a:lnTo>
                    <a:pt x="1005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3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5"/>
                  </a:lnTo>
                  <a:lnTo>
                    <a:pt x="1001" y="765"/>
                  </a:lnTo>
                  <a:lnTo>
                    <a:pt x="1001" y="765"/>
                  </a:lnTo>
                  <a:lnTo>
                    <a:pt x="1001" y="765"/>
                  </a:lnTo>
                  <a:lnTo>
                    <a:pt x="999" y="763"/>
                  </a:lnTo>
                  <a:lnTo>
                    <a:pt x="999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1001" y="763"/>
                  </a:lnTo>
                  <a:lnTo>
                    <a:pt x="999" y="763"/>
                  </a:lnTo>
                  <a:lnTo>
                    <a:pt x="999" y="763"/>
                  </a:lnTo>
                  <a:lnTo>
                    <a:pt x="999" y="763"/>
                  </a:lnTo>
                  <a:lnTo>
                    <a:pt x="999" y="763"/>
                  </a:lnTo>
                  <a:lnTo>
                    <a:pt x="999" y="763"/>
                  </a:lnTo>
                  <a:lnTo>
                    <a:pt x="999" y="763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9" y="761"/>
                  </a:lnTo>
                  <a:lnTo>
                    <a:pt x="999" y="761"/>
                  </a:lnTo>
                  <a:lnTo>
                    <a:pt x="999" y="761"/>
                  </a:lnTo>
                  <a:lnTo>
                    <a:pt x="999" y="761"/>
                  </a:lnTo>
                  <a:lnTo>
                    <a:pt x="999" y="761"/>
                  </a:lnTo>
                  <a:lnTo>
                    <a:pt x="999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1" y="761"/>
                  </a:lnTo>
                  <a:lnTo>
                    <a:pt x="993" y="761"/>
                  </a:lnTo>
                  <a:lnTo>
                    <a:pt x="993" y="761"/>
                  </a:lnTo>
                  <a:lnTo>
                    <a:pt x="991" y="761"/>
                  </a:lnTo>
                  <a:lnTo>
                    <a:pt x="991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7" y="763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1"/>
                  </a:lnTo>
                  <a:lnTo>
                    <a:pt x="997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3"/>
                  </a:lnTo>
                  <a:lnTo>
                    <a:pt x="993" y="765"/>
                  </a:lnTo>
                  <a:lnTo>
                    <a:pt x="993" y="765"/>
                  </a:lnTo>
                  <a:lnTo>
                    <a:pt x="997" y="765"/>
                  </a:lnTo>
                  <a:lnTo>
                    <a:pt x="997" y="765"/>
                  </a:lnTo>
                  <a:lnTo>
                    <a:pt x="997" y="765"/>
                  </a:lnTo>
                  <a:lnTo>
                    <a:pt x="997" y="765"/>
                  </a:lnTo>
                  <a:lnTo>
                    <a:pt x="997" y="765"/>
                  </a:lnTo>
                  <a:lnTo>
                    <a:pt x="997" y="765"/>
                  </a:lnTo>
                  <a:lnTo>
                    <a:pt x="997" y="767"/>
                  </a:lnTo>
                  <a:lnTo>
                    <a:pt x="997" y="767"/>
                  </a:lnTo>
                  <a:lnTo>
                    <a:pt x="993" y="765"/>
                  </a:lnTo>
                  <a:lnTo>
                    <a:pt x="993" y="765"/>
                  </a:lnTo>
                  <a:lnTo>
                    <a:pt x="993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5"/>
                  </a:lnTo>
                  <a:lnTo>
                    <a:pt x="991" y="763"/>
                  </a:lnTo>
                  <a:lnTo>
                    <a:pt x="991" y="763"/>
                  </a:lnTo>
                  <a:lnTo>
                    <a:pt x="991" y="763"/>
                  </a:lnTo>
                  <a:lnTo>
                    <a:pt x="991" y="763"/>
                  </a:lnTo>
                  <a:lnTo>
                    <a:pt x="991" y="765"/>
                  </a:lnTo>
                  <a:lnTo>
                    <a:pt x="989" y="763"/>
                  </a:lnTo>
                  <a:lnTo>
                    <a:pt x="989" y="763"/>
                  </a:lnTo>
                  <a:lnTo>
                    <a:pt x="989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9" y="763"/>
                  </a:lnTo>
                  <a:lnTo>
                    <a:pt x="989" y="763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1"/>
                  </a:lnTo>
                  <a:lnTo>
                    <a:pt x="989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3" y="763"/>
                  </a:lnTo>
                  <a:lnTo>
                    <a:pt x="983" y="763"/>
                  </a:lnTo>
                  <a:lnTo>
                    <a:pt x="983" y="763"/>
                  </a:lnTo>
                  <a:lnTo>
                    <a:pt x="983" y="763"/>
                  </a:lnTo>
                  <a:lnTo>
                    <a:pt x="983" y="763"/>
                  </a:lnTo>
                  <a:lnTo>
                    <a:pt x="983" y="763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3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79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5"/>
                  </a:lnTo>
                  <a:lnTo>
                    <a:pt x="981" y="767"/>
                  </a:lnTo>
                  <a:lnTo>
                    <a:pt x="981" y="767"/>
                  </a:lnTo>
                  <a:lnTo>
                    <a:pt x="981" y="767"/>
                  </a:lnTo>
                  <a:lnTo>
                    <a:pt x="981" y="767"/>
                  </a:lnTo>
                  <a:lnTo>
                    <a:pt x="981" y="767"/>
                  </a:lnTo>
                  <a:lnTo>
                    <a:pt x="981" y="769"/>
                  </a:lnTo>
                  <a:lnTo>
                    <a:pt x="981" y="769"/>
                  </a:lnTo>
                  <a:lnTo>
                    <a:pt x="981" y="769"/>
                  </a:lnTo>
                  <a:lnTo>
                    <a:pt x="981" y="769"/>
                  </a:lnTo>
                  <a:lnTo>
                    <a:pt x="981" y="769"/>
                  </a:lnTo>
                  <a:lnTo>
                    <a:pt x="981" y="767"/>
                  </a:lnTo>
                  <a:lnTo>
                    <a:pt x="979" y="767"/>
                  </a:lnTo>
                  <a:lnTo>
                    <a:pt x="979" y="767"/>
                  </a:lnTo>
                  <a:lnTo>
                    <a:pt x="977" y="767"/>
                  </a:lnTo>
                  <a:lnTo>
                    <a:pt x="977" y="767"/>
                  </a:lnTo>
                  <a:lnTo>
                    <a:pt x="977" y="767"/>
                  </a:lnTo>
                  <a:lnTo>
                    <a:pt x="977" y="767"/>
                  </a:lnTo>
                  <a:lnTo>
                    <a:pt x="977" y="767"/>
                  </a:lnTo>
                  <a:lnTo>
                    <a:pt x="977" y="765"/>
                  </a:lnTo>
                  <a:lnTo>
                    <a:pt x="977" y="765"/>
                  </a:lnTo>
                  <a:lnTo>
                    <a:pt x="977" y="765"/>
                  </a:lnTo>
                  <a:lnTo>
                    <a:pt x="977" y="765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9" y="763"/>
                  </a:lnTo>
                  <a:lnTo>
                    <a:pt x="979" y="763"/>
                  </a:lnTo>
                  <a:lnTo>
                    <a:pt x="979" y="763"/>
                  </a:lnTo>
                  <a:lnTo>
                    <a:pt x="979" y="763"/>
                  </a:lnTo>
                  <a:lnTo>
                    <a:pt x="979" y="763"/>
                  </a:lnTo>
                  <a:lnTo>
                    <a:pt x="979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7" y="763"/>
                  </a:lnTo>
                  <a:lnTo>
                    <a:pt x="973" y="763"/>
                  </a:lnTo>
                  <a:lnTo>
                    <a:pt x="973" y="763"/>
                  </a:lnTo>
                  <a:lnTo>
                    <a:pt x="973" y="765"/>
                  </a:lnTo>
                  <a:lnTo>
                    <a:pt x="973" y="765"/>
                  </a:lnTo>
                  <a:lnTo>
                    <a:pt x="973" y="765"/>
                  </a:lnTo>
                  <a:lnTo>
                    <a:pt x="973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5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73" y="767"/>
                  </a:lnTo>
                  <a:lnTo>
                    <a:pt x="973" y="767"/>
                  </a:lnTo>
                  <a:lnTo>
                    <a:pt x="973" y="767"/>
                  </a:lnTo>
                  <a:lnTo>
                    <a:pt x="973" y="767"/>
                  </a:lnTo>
                  <a:lnTo>
                    <a:pt x="973" y="767"/>
                  </a:lnTo>
                  <a:lnTo>
                    <a:pt x="973" y="767"/>
                  </a:lnTo>
                  <a:lnTo>
                    <a:pt x="973" y="767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71"/>
                  </a:lnTo>
                  <a:lnTo>
                    <a:pt x="971" y="771"/>
                  </a:lnTo>
                  <a:lnTo>
                    <a:pt x="971" y="771"/>
                  </a:lnTo>
                  <a:lnTo>
                    <a:pt x="971" y="771"/>
                  </a:lnTo>
                  <a:lnTo>
                    <a:pt x="971" y="771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7"/>
                  </a:lnTo>
                  <a:lnTo>
                    <a:pt x="971" y="769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7" y="767"/>
                  </a:lnTo>
                  <a:lnTo>
                    <a:pt x="967" y="767"/>
                  </a:lnTo>
                  <a:lnTo>
                    <a:pt x="967" y="767"/>
                  </a:lnTo>
                  <a:lnTo>
                    <a:pt x="967" y="767"/>
                  </a:lnTo>
                  <a:lnTo>
                    <a:pt x="967" y="767"/>
                  </a:lnTo>
                  <a:lnTo>
                    <a:pt x="967" y="767"/>
                  </a:lnTo>
                  <a:lnTo>
                    <a:pt x="967" y="767"/>
                  </a:lnTo>
                  <a:lnTo>
                    <a:pt x="967" y="769"/>
                  </a:lnTo>
                  <a:lnTo>
                    <a:pt x="967" y="769"/>
                  </a:lnTo>
                  <a:lnTo>
                    <a:pt x="967" y="769"/>
                  </a:lnTo>
                  <a:lnTo>
                    <a:pt x="967" y="769"/>
                  </a:lnTo>
                  <a:lnTo>
                    <a:pt x="967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5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3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71"/>
                  </a:lnTo>
                  <a:lnTo>
                    <a:pt x="961" y="771"/>
                  </a:lnTo>
                  <a:lnTo>
                    <a:pt x="961" y="771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61" y="769"/>
                  </a:lnTo>
                  <a:lnTo>
                    <a:pt x="959" y="769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9" y="767"/>
                  </a:lnTo>
                  <a:lnTo>
                    <a:pt x="955" y="765"/>
                  </a:lnTo>
                  <a:lnTo>
                    <a:pt x="955" y="765"/>
                  </a:lnTo>
                  <a:lnTo>
                    <a:pt x="955" y="765"/>
                  </a:lnTo>
                  <a:lnTo>
                    <a:pt x="955" y="763"/>
                  </a:lnTo>
                  <a:lnTo>
                    <a:pt x="955" y="763"/>
                  </a:lnTo>
                  <a:lnTo>
                    <a:pt x="953" y="763"/>
                  </a:lnTo>
                  <a:lnTo>
                    <a:pt x="953" y="765"/>
                  </a:lnTo>
                  <a:lnTo>
                    <a:pt x="953" y="765"/>
                  </a:lnTo>
                  <a:lnTo>
                    <a:pt x="953" y="765"/>
                  </a:lnTo>
                  <a:lnTo>
                    <a:pt x="953" y="765"/>
                  </a:lnTo>
                  <a:lnTo>
                    <a:pt x="953" y="765"/>
                  </a:lnTo>
                  <a:lnTo>
                    <a:pt x="953" y="763"/>
                  </a:lnTo>
                  <a:lnTo>
                    <a:pt x="953" y="763"/>
                  </a:lnTo>
                  <a:lnTo>
                    <a:pt x="953" y="763"/>
                  </a:lnTo>
                  <a:lnTo>
                    <a:pt x="953" y="763"/>
                  </a:lnTo>
                  <a:lnTo>
                    <a:pt x="953" y="763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3" y="763"/>
                  </a:lnTo>
                  <a:lnTo>
                    <a:pt x="953" y="763"/>
                  </a:lnTo>
                  <a:lnTo>
                    <a:pt x="951" y="763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61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61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51" y="757"/>
                  </a:lnTo>
                  <a:lnTo>
                    <a:pt x="949" y="757"/>
                  </a:lnTo>
                  <a:lnTo>
                    <a:pt x="949" y="757"/>
                  </a:lnTo>
                  <a:lnTo>
                    <a:pt x="949" y="757"/>
                  </a:lnTo>
                  <a:lnTo>
                    <a:pt x="949" y="755"/>
                  </a:lnTo>
                  <a:lnTo>
                    <a:pt x="951" y="755"/>
                  </a:lnTo>
                  <a:lnTo>
                    <a:pt x="951" y="755"/>
                  </a:lnTo>
                  <a:lnTo>
                    <a:pt x="951" y="755"/>
                  </a:lnTo>
                  <a:lnTo>
                    <a:pt x="953" y="755"/>
                  </a:lnTo>
                  <a:lnTo>
                    <a:pt x="953" y="753"/>
                  </a:lnTo>
                  <a:lnTo>
                    <a:pt x="953" y="755"/>
                  </a:lnTo>
                  <a:lnTo>
                    <a:pt x="953" y="755"/>
                  </a:lnTo>
                  <a:lnTo>
                    <a:pt x="953" y="755"/>
                  </a:lnTo>
                  <a:lnTo>
                    <a:pt x="955" y="755"/>
                  </a:lnTo>
                  <a:lnTo>
                    <a:pt x="955" y="755"/>
                  </a:lnTo>
                  <a:lnTo>
                    <a:pt x="955" y="755"/>
                  </a:lnTo>
                  <a:lnTo>
                    <a:pt x="955" y="755"/>
                  </a:lnTo>
                  <a:lnTo>
                    <a:pt x="955" y="755"/>
                  </a:lnTo>
                  <a:lnTo>
                    <a:pt x="953" y="753"/>
                  </a:lnTo>
                  <a:lnTo>
                    <a:pt x="953" y="753"/>
                  </a:lnTo>
                  <a:lnTo>
                    <a:pt x="953" y="753"/>
                  </a:lnTo>
                  <a:lnTo>
                    <a:pt x="953" y="753"/>
                  </a:lnTo>
                  <a:lnTo>
                    <a:pt x="951" y="753"/>
                  </a:lnTo>
                  <a:lnTo>
                    <a:pt x="951" y="755"/>
                  </a:lnTo>
                  <a:lnTo>
                    <a:pt x="951" y="755"/>
                  </a:lnTo>
                  <a:lnTo>
                    <a:pt x="951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5" y="755"/>
                  </a:lnTo>
                  <a:lnTo>
                    <a:pt x="945" y="755"/>
                  </a:lnTo>
                  <a:lnTo>
                    <a:pt x="945" y="755"/>
                  </a:lnTo>
                  <a:lnTo>
                    <a:pt x="949" y="755"/>
                  </a:lnTo>
                  <a:lnTo>
                    <a:pt x="949" y="755"/>
                  </a:lnTo>
                  <a:lnTo>
                    <a:pt x="949" y="757"/>
                  </a:lnTo>
                  <a:lnTo>
                    <a:pt x="949" y="757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9" y="761"/>
                  </a:lnTo>
                  <a:lnTo>
                    <a:pt x="945" y="761"/>
                  </a:lnTo>
                  <a:lnTo>
                    <a:pt x="945" y="761"/>
                  </a:lnTo>
                  <a:lnTo>
                    <a:pt x="943" y="761"/>
                  </a:lnTo>
                  <a:lnTo>
                    <a:pt x="943" y="761"/>
                  </a:lnTo>
                  <a:lnTo>
                    <a:pt x="943" y="761"/>
                  </a:lnTo>
                  <a:lnTo>
                    <a:pt x="943" y="761"/>
                  </a:lnTo>
                  <a:lnTo>
                    <a:pt x="943" y="761"/>
                  </a:lnTo>
                  <a:lnTo>
                    <a:pt x="943" y="761"/>
                  </a:lnTo>
                  <a:lnTo>
                    <a:pt x="945" y="761"/>
                  </a:lnTo>
                  <a:lnTo>
                    <a:pt x="945" y="761"/>
                  </a:lnTo>
                  <a:lnTo>
                    <a:pt x="945" y="761"/>
                  </a:lnTo>
                  <a:lnTo>
                    <a:pt x="945" y="761"/>
                  </a:lnTo>
                  <a:lnTo>
                    <a:pt x="945" y="761"/>
                  </a:lnTo>
                  <a:lnTo>
                    <a:pt x="949" y="763"/>
                  </a:lnTo>
                  <a:lnTo>
                    <a:pt x="949" y="763"/>
                  </a:lnTo>
                  <a:lnTo>
                    <a:pt x="951" y="763"/>
                  </a:lnTo>
                  <a:lnTo>
                    <a:pt x="949" y="763"/>
                  </a:lnTo>
                  <a:lnTo>
                    <a:pt x="949" y="765"/>
                  </a:lnTo>
                  <a:lnTo>
                    <a:pt x="949" y="765"/>
                  </a:lnTo>
                  <a:lnTo>
                    <a:pt x="949" y="765"/>
                  </a:lnTo>
                  <a:lnTo>
                    <a:pt x="949" y="763"/>
                  </a:lnTo>
                  <a:lnTo>
                    <a:pt x="949" y="765"/>
                  </a:lnTo>
                  <a:lnTo>
                    <a:pt x="949" y="765"/>
                  </a:lnTo>
                  <a:lnTo>
                    <a:pt x="949" y="765"/>
                  </a:lnTo>
                  <a:lnTo>
                    <a:pt x="951" y="765"/>
                  </a:lnTo>
                  <a:lnTo>
                    <a:pt x="951" y="767"/>
                  </a:lnTo>
                  <a:lnTo>
                    <a:pt x="951" y="767"/>
                  </a:lnTo>
                  <a:lnTo>
                    <a:pt x="951" y="767"/>
                  </a:lnTo>
                  <a:lnTo>
                    <a:pt x="953" y="769"/>
                  </a:lnTo>
                  <a:lnTo>
                    <a:pt x="953" y="769"/>
                  </a:lnTo>
                  <a:lnTo>
                    <a:pt x="953" y="769"/>
                  </a:lnTo>
                  <a:lnTo>
                    <a:pt x="953" y="771"/>
                  </a:lnTo>
                  <a:lnTo>
                    <a:pt x="953" y="771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5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7"/>
                  </a:lnTo>
                  <a:lnTo>
                    <a:pt x="953" y="779"/>
                  </a:lnTo>
                  <a:lnTo>
                    <a:pt x="953" y="779"/>
                  </a:lnTo>
                  <a:lnTo>
                    <a:pt x="953" y="779"/>
                  </a:lnTo>
                  <a:lnTo>
                    <a:pt x="951" y="779"/>
                  </a:lnTo>
                  <a:lnTo>
                    <a:pt x="951" y="779"/>
                  </a:lnTo>
                  <a:lnTo>
                    <a:pt x="951" y="777"/>
                  </a:lnTo>
                  <a:lnTo>
                    <a:pt x="951" y="777"/>
                  </a:lnTo>
                  <a:lnTo>
                    <a:pt x="949" y="777"/>
                  </a:lnTo>
                  <a:lnTo>
                    <a:pt x="949" y="777"/>
                  </a:lnTo>
                  <a:lnTo>
                    <a:pt x="949" y="775"/>
                  </a:lnTo>
                  <a:lnTo>
                    <a:pt x="949" y="775"/>
                  </a:lnTo>
                  <a:lnTo>
                    <a:pt x="949" y="775"/>
                  </a:lnTo>
                  <a:lnTo>
                    <a:pt x="949" y="775"/>
                  </a:lnTo>
                  <a:lnTo>
                    <a:pt x="945" y="775"/>
                  </a:lnTo>
                  <a:lnTo>
                    <a:pt x="945" y="771"/>
                  </a:lnTo>
                  <a:lnTo>
                    <a:pt x="945" y="771"/>
                  </a:lnTo>
                  <a:lnTo>
                    <a:pt x="945" y="769"/>
                  </a:lnTo>
                  <a:lnTo>
                    <a:pt x="943" y="769"/>
                  </a:lnTo>
                  <a:lnTo>
                    <a:pt x="943" y="767"/>
                  </a:lnTo>
                  <a:lnTo>
                    <a:pt x="943" y="769"/>
                  </a:lnTo>
                  <a:lnTo>
                    <a:pt x="943" y="769"/>
                  </a:lnTo>
                  <a:lnTo>
                    <a:pt x="943" y="769"/>
                  </a:lnTo>
                  <a:lnTo>
                    <a:pt x="943" y="771"/>
                  </a:lnTo>
                  <a:lnTo>
                    <a:pt x="945" y="771"/>
                  </a:lnTo>
                  <a:lnTo>
                    <a:pt x="949" y="775"/>
                  </a:lnTo>
                  <a:lnTo>
                    <a:pt x="949" y="777"/>
                  </a:lnTo>
                  <a:lnTo>
                    <a:pt x="949" y="777"/>
                  </a:lnTo>
                  <a:lnTo>
                    <a:pt x="949" y="777"/>
                  </a:lnTo>
                  <a:lnTo>
                    <a:pt x="949" y="777"/>
                  </a:lnTo>
                  <a:lnTo>
                    <a:pt x="951" y="779"/>
                  </a:lnTo>
                  <a:lnTo>
                    <a:pt x="951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79"/>
                  </a:lnTo>
                  <a:lnTo>
                    <a:pt x="949" y="781"/>
                  </a:lnTo>
                  <a:lnTo>
                    <a:pt x="949" y="781"/>
                  </a:lnTo>
                  <a:lnTo>
                    <a:pt x="949" y="781"/>
                  </a:lnTo>
                  <a:lnTo>
                    <a:pt x="949" y="781"/>
                  </a:lnTo>
                  <a:lnTo>
                    <a:pt x="949" y="781"/>
                  </a:lnTo>
                  <a:lnTo>
                    <a:pt x="945" y="781"/>
                  </a:lnTo>
                  <a:lnTo>
                    <a:pt x="945" y="781"/>
                  </a:lnTo>
                  <a:lnTo>
                    <a:pt x="945" y="781"/>
                  </a:lnTo>
                  <a:lnTo>
                    <a:pt x="945" y="781"/>
                  </a:lnTo>
                  <a:lnTo>
                    <a:pt x="945" y="781"/>
                  </a:lnTo>
                  <a:lnTo>
                    <a:pt x="945" y="781"/>
                  </a:lnTo>
                  <a:lnTo>
                    <a:pt x="943" y="779"/>
                  </a:lnTo>
                  <a:lnTo>
                    <a:pt x="943" y="779"/>
                  </a:lnTo>
                  <a:lnTo>
                    <a:pt x="943" y="779"/>
                  </a:lnTo>
                  <a:lnTo>
                    <a:pt x="943" y="779"/>
                  </a:lnTo>
                  <a:lnTo>
                    <a:pt x="943" y="779"/>
                  </a:lnTo>
                  <a:lnTo>
                    <a:pt x="943" y="779"/>
                  </a:lnTo>
                  <a:lnTo>
                    <a:pt x="943" y="779"/>
                  </a:lnTo>
                  <a:lnTo>
                    <a:pt x="943" y="777"/>
                  </a:lnTo>
                  <a:lnTo>
                    <a:pt x="943" y="777"/>
                  </a:lnTo>
                  <a:lnTo>
                    <a:pt x="943" y="777"/>
                  </a:lnTo>
                  <a:lnTo>
                    <a:pt x="943" y="779"/>
                  </a:lnTo>
                  <a:lnTo>
                    <a:pt x="941" y="779"/>
                  </a:lnTo>
                  <a:lnTo>
                    <a:pt x="941" y="779"/>
                  </a:lnTo>
                  <a:lnTo>
                    <a:pt x="941" y="781"/>
                  </a:lnTo>
                  <a:lnTo>
                    <a:pt x="941" y="781"/>
                  </a:lnTo>
                  <a:lnTo>
                    <a:pt x="943" y="781"/>
                  </a:lnTo>
                  <a:lnTo>
                    <a:pt x="941" y="781"/>
                  </a:lnTo>
                  <a:lnTo>
                    <a:pt x="941" y="781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3"/>
                  </a:lnTo>
                  <a:lnTo>
                    <a:pt x="943" y="785"/>
                  </a:lnTo>
                  <a:lnTo>
                    <a:pt x="943" y="785"/>
                  </a:lnTo>
                  <a:lnTo>
                    <a:pt x="943" y="785"/>
                  </a:lnTo>
                  <a:lnTo>
                    <a:pt x="941" y="785"/>
                  </a:lnTo>
                  <a:lnTo>
                    <a:pt x="941" y="785"/>
                  </a:lnTo>
                  <a:lnTo>
                    <a:pt x="941" y="785"/>
                  </a:lnTo>
                  <a:lnTo>
                    <a:pt x="941" y="785"/>
                  </a:lnTo>
                  <a:lnTo>
                    <a:pt x="941" y="785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9" y="783"/>
                  </a:lnTo>
                  <a:lnTo>
                    <a:pt x="937" y="783"/>
                  </a:lnTo>
                  <a:lnTo>
                    <a:pt x="937" y="783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5"/>
                  </a:lnTo>
                  <a:lnTo>
                    <a:pt x="937" y="789"/>
                  </a:lnTo>
                  <a:lnTo>
                    <a:pt x="933" y="789"/>
                  </a:lnTo>
                  <a:lnTo>
                    <a:pt x="933" y="789"/>
                  </a:lnTo>
                  <a:lnTo>
                    <a:pt x="933" y="789"/>
                  </a:lnTo>
                  <a:lnTo>
                    <a:pt x="931" y="785"/>
                  </a:lnTo>
                  <a:lnTo>
                    <a:pt x="931" y="785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3"/>
                  </a:lnTo>
                  <a:lnTo>
                    <a:pt x="931" y="783"/>
                  </a:lnTo>
                  <a:lnTo>
                    <a:pt x="931" y="783"/>
                  </a:lnTo>
                  <a:lnTo>
                    <a:pt x="931" y="783"/>
                  </a:lnTo>
                  <a:lnTo>
                    <a:pt x="931" y="783"/>
                  </a:lnTo>
                  <a:lnTo>
                    <a:pt x="931" y="783"/>
                  </a:lnTo>
                  <a:lnTo>
                    <a:pt x="929" y="783"/>
                  </a:lnTo>
                  <a:lnTo>
                    <a:pt x="929" y="783"/>
                  </a:lnTo>
                  <a:lnTo>
                    <a:pt x="929" y="783"/>
                  </a:lnTo>
                  <a:lnTo>
                    <a:pt x="929" y="783"/>
                  </a:lnTo>
                  <a:lnTo>
                    <a:pt x="929" y="783"/>
                  </a:lnTo>
                  <a:lnTo>
                    <a:pt x="929" y="783"/>
                  </a:lnTo>
                  <a:lnTo>
                    <a:pt x="929" y="781"/>
                  </a:lnTo>
                  <a:lnTo>
                    <a:pt x="929" y="781"/>
                  </a:lnTo>
                  <a:lnTo>
                    <a:pt x="929" y="781"/>
                  </a:lnTo>
                  <a:lnTo>
                    <a:pt x="929" y="781"/>
                  </a:lnTo>
                  <a:lnTo>
                    <a:pt x="929" y="781"/>
                  </a:lnTo>
                  <a:lnTo>
                    <a:pt x="929" y="781"/>
                  </a:lnTo>
                  <a:lnTo>
                    <a:pt x="929" y="783"/>
                  </a:lnTo>
                  <a:lnTo>
                    <a:pt x="929" y="783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5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89"/>
                  </a:lnTo>
                  <a:lnTo>
                    <a:pt x="929" y="791"/>
                  </a:lnTo>
                  <a:lnTo>
                    <a:pt x="927" y="791"/>
                  </a:lnTo>
                  <a:lnTo>
                    <a:pt x="927" y="789"/>
                  </a:lnTo>
                  <a:lnTo>
                    <a:pt x="927" y="789"/>
                  </a:lnTo>
                  <a:lnTo>
                    <a:pt x="927" y="789"/>
                  </a:lnTo>
                  <a:lnTo>
                    <a:pt x="927" y="789"/>
                  </a:lnTo>
                  <a:lnTo>
                    <a:pt x="927" y="789"/>
                  </a:lnTo>
                  <a:lnTo>
                    <a:pt x="927" y="789"/>
                  </a:lnTo>
                  <a:lnTo>
                    <a:pt x="927" y="789"/>
                  </a:lnTo>
                  <a:lnTo>
                    <a:pt x="927" y="785"/>
                  </a:lnTo>
                  <a:lnTo>
                    <a:pt x="925" y="785"/>
                  </a:lnTo>
                  <a:lnTo>
                    <a:pt x="925" y="785"/>
                  </a:lnTo>
                  <a:lnTo>
                    <a:pt x="925" y="785"/>
                  </a:lnTo>
                  <a:lnTo>
                    <a:pt x="925" y="789"/>
                  </a:lnTo>
                  <a:lnTo>
                    <a:pt x="923" y="789"/>
                  </a:lnTo>
                  <a:lnTo>
                    <a:pt x="923" y="789"/>
                  </a:lnTo>
                  <a:lnTo>
                    <a:pt x="923" y="789"/>
                  </a:lnTo>
                  <a:lnTo>
                    <a:pt x="923" y="785"/>
                  </a:lnTo>
                  <a:lnTo>
                    <a:pt x="923" y="785"/>
                  </a:lnTo>
                  <a:lnTo>
                    <a:pt x="923" y="785"/>
                  </a:lnTo>
                  <a:lnTo>
                    <a:pt x="923" y="785"/>
                  </a:lnTo>
                  <a:lnTo>
                    <a:pt x="923" y="785"/>
                  </a:lnTo>
                  <a:lnTo>
                    <a:pt x="923" y="785"/>
                  </a:lnTo>
                  <a:lnTo>
                    <a:pt x="923" y="785"/>
                  </a:lnTo>
                  <a:lnTo>
                    <a:pt x="921" y="785"/>
                  </a:lnTo>
                  <a:lnTo>
                    <a:pt x="921" y="785"/>
                  </a:lnTo>
                  <a:lnTo>
                    <a:pt x="921" y="785"/>
                  </a:lnTo>
                  <a:lnTo>
                    <a:pt x="921" y="783"/>
                  </a:lnTo>
                  <a:lnTo>
                    <a:pt x="921" y="783"/>
                  </a:lnTo>
                  <a:lnTo>
                    <a:pt x="921" y="785"/>
                  </a:lnTo>
                  <a:lnTo>
                    <a:pt x="921" y="785"/>
                  </a:lnTo>
                  <a:lnTo>
                    <a:pt x="921" y="785"/>
                  </a:lnTo>
                  <a:lnTo>
                    <a:pt x="921" y="785"/>
                  </a:lnTo>
                  <a:lnTo>
                    <a:pt x="921" y="789"/>
                  </a:lnTo>
                  <a:lnTo>
                    <a:pt x="921" y="789"/>
                  </a:lnTo>
                  <a:lnTo>
                    <a:pt x="923" y="789"/>
                  </a:lnTo>
                  <a:lnTo>
                    <a:pt x="923" y="789"/>
                  </a:lnTo>
                  <a:lnTo>
                    <a:pt x="923" y="789"/>
                  </a:lnTo>
                  <a:lnTo>
                    <a:pt x="921" y="789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91"/>
                  </a:lnTo>
                  <a:lnTo>
                    <a:pt x="921" y="789"/>
                  </a:lnTo>
                  <a:lnTo>
                    <a:pt x="921" y="789"/>
                  </a:lnTo>
                  <a:lnTo>
                    <a:pt x="917" y="791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7" y="789"/>
                  </a:lnTo>
                  <a:lnTo>
                    <a:pt x="915" y="789"/>
                  </a:lnTo>
                  <a:lnTo>
                    <a:pt x="915" y="789"/>
                  </a:lnTo>
                  <a:lnTo>
                    <a:pt x="915" y="789"/>
                  </a:lnTo>
                  <a:lnTo>
                    <a:pt x="915" y="789"/>
                  </a:lnTo>
                  <a:lnTo>
                    <a:pt x="915" y="789"/>
                  </a:lnTo>
                  <a:lnTo>
                    <a:pt x="917" y="789"/>
                  </a:lnTo>
                  <a:lnTo>
                    <a:pt x="917" y="791"/>
                  </a:lnTo>
                  <a:lnTo>
                    <a:pt x="917" y="791"/>
                  </a:lnTo>
                  <a:lnTo>
                    <a:pt x="917" y="791"/>
                  </a:lnTo>
                  <a:lnTo>
                    <a:pt x="917" y="791"/>
                  </a:lnTo>
                  <a:lnTo>
                    <a:pt x="917" y="791"/>
                  </a:lnTo>
                  <a:lnTo>
                    <a:pt x="917" y="791"/>
                  </a:lnTo>
                  <a:lnTo>
                    <a:pt x="917" y="791"/>
                  </a:lnTo>
                  <a:lnTo>
                    <a:pt x="917" y="793"/>
                  </a:lnTo>
                  <a:lnTo>
                    <a:pt x="917" y="793"/>
                  </a:lnTo>
                  <a:lnTo>
                    <a:pt x="917" y="793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5" y="795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5" y="793"/>
                  </a:lnTo>
                  <a:lnTo>
                    <a:pt x="913" y="793"/>
                  </a:lnTo>
                  <a:lnTo>
                    <a:pt x="913" y="793"/>
                  </a:lnTo>
                  <a:lnTo>
                    <a:pt x="913" y="793"/>
                  </a:lnTo>
                  <a:lnTo>
                    <a:pt x="913" y="793"/>
                  </a:lnTo>
                  <a:lnTo>
                    <a:pt x="913" y="793"/>
                  </a:lnTo>
                  <a:lnTo>
                    <a:pt x="915" y="793"/>
                  </a:lnTo>
                  <a:lnTo>
                    <a:pt x="913" y="795"/>
                  </a:lnTo>
                  <a:lnTo>
                    <a:pt x="913" y="795"/>
                  </a:lnTo>
                  <a:lnTo>
                    <a:pt x="913" y="795"/>
                  </a:lnTo>
                  <a:lnTo>
                    <a:pt x="913" y="793"/>
                  </a:lnTo>
                  <a:lnTo>
                    <a:pt x="913" y="793"/>
                  </a:lnTo>
                  <a:lnTo>
                    <a:pt x="913" y="795"/>
                  </a:lnTo>
                  <a:lnTo>
                    <a:pt x="913" y="795"/>
                  </a:lnTo>
                  <a:lnTo>
                    <a:pt x="913" y="795"/>
                  </a:lnTo>
                  <a:lnTo>
                    <a:pt x="913" y="795"/>
                  </a:lnTo>
                  <a:lnTo>
                    <a:pt x="911" y="795"/>
                  </a:lnTo>
                  <a:lnTo>
                    <a:pt x="911" y="795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11" y="793"/>
                  </a:lnTo>
                  <a:lnTo>
                    <a:pt x="907" y="793"/>
                  </a:lnTo>
                  <a:lnTo>
                    <a:pt x="907" y="795"/>
                  </a:lnTo>
                  <a:lnTo>
                    <a:pt x="907" y="793"/>
                  </a:lnTo>
                  <a:lnTo>
                    <a:pt x="911" y="793"/>
                  </a:lnTo>
                  <a:lnTo>
                    <a:pt x="911" y="795"/>
                  </a:lnTo>
                  <a:lnTo>
                    <a:pt x="911" y="795"/>
                  </a:lnTo>
                  <a:lnTo>
                    <a:pt x="911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7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3"/>
                  </a:lnTo>
                  <a:lnTo>
                    <a:pt x="905" y="793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5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1" y="795"/>
                  </a:lnTo>
                  <a:lnTo>
                    <a:pt x="901" y="793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1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3" y="795"/>
                  </a:lnTo>
                  <a:lnTo>
                    <a:pt x="901" y="795"/>
                  </a:lnTo>
                  <a:lnTo>
                    <a:pt x="901" y="799"/>
                  </a:lnTo>
                  <a:lnTo>
                    <a:pt x="901" y="799"/>
                  </a:lnTo>
                  <a:lnTo>
                    <a:pt x="901" y="799"/>
                  </a:lnTo>
                  <a:lnTo>
                    <a:pt x="901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9" y="799"/>
                  </a:lnTo>
                  <a:lnTo>
                    <a:pt x="897" y="799"/>
                  </a:lnTo>
                  <a:lnTo>
                    <a:pt x="897" y="799"/>
                  </a:lnTo>
                  <a:lnTo>
                    <a:pt x="897" y="799"/>
                  </a:lnTo>
                  <a:lnTo>
                    <a:pt x="897" y="799"/>
                  </a:lnTo>
                  <a:lnTo>
                    <a:pt x="897" y="801"/>
                  </a:lnTo>
                  <a:lnTo>
                    <a:pt x="897" y="801"/>
                  </a:lnTo>
                  <a:lnTo>
                    <a:pt x="897" y="801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7" y="799"/>
                  </a:lnTo>
                  <a:lnTo>
                    <a:pt x="893" y="799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799"/>
                  </a:lnTo>
                  <a:lnTo>
                    <a:pt x="893" y="799"/>
                  </a:lnTo>
                  <a:lnTo>
                    <a:pt x="893" y="799"/>
                  </a:lnTo>
                  <a:lnTo>
                    <a:pt x="893" y="799"/>
                  </a:lnTo>
                  <a:lnTo>
                    <a:pt x="893" y="799"/>
                  </a:lnTo>
                  <a:lnTo>
                    <a:pt x="897" y="799"/>
                  </a:lnTo>
                  <a:lnTo>
                    <a:pt x="897" y="799"/>
                  </a:lnTo>
                  <a:lnTo>
                    <a:pt x="897" y="799"/>
                  </a:lnTo>
                  <a:lnTo>
                    <a:pt x="897" y="795"/>
                  </a:lnTo>
                  <a:lnTo>
                    <a:pt x="897" y="795"/>
                  </a:lnTo>
                  <a:lnTo>
                    <a:pt x="897" y="799"/>
                  </a:lnTo>
                  <a:lnTo>
                    <a:pt x="893" y="799"/>
                  </a:lnTo>
                  <a:lnTo>
                    <a:pt x="893" y="799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801"/>
                  </a:lnTo>
                  <a:lnTo>
                    <a:pt x="893" y="803"/>
                  </a:lnTo>
                  <a:lnTo>
                    <a:pt x="893" y="803"/>
                  </a:lnTo>
                  <a:lnTo>
                    <a:pt x="893" y="803"/>
                  </a:lnTo>
                  <a:lnTo>
                    <a:pt x="893" y="803"/>
                  </a:lnTo>
                  <a:lnTo>
                    <a:pt x="893" y="803"/>
                  </a:lnTo>
                  <a:lnTo>
                    <a:pt x="893" y="803"/>
                  </a:lnTo>
                  <a:lnTo>
                    <a:pt x="893" y="803"/>
                  </a:lnTo>
                  <a:lnTo>
                    <a:pt x="891" y="803"/>
                  </a:lnTo>
                  <a:lnTo>
                    <a:pt x="891" y="803"/>
                  </a:lnTo>
                  <a:lnTo>
                    <a:pt x="891" y="803"/>
                  </a:lnTo>
                  <a:lnTo>
                    <a:pt x="891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91" y="803"/>
                  </a:lnTo>
                  <a:lnTo>
                    <a:pt x="891" y="803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801"/>
                  </a:lnTo>
                  <a:lnTo>
                    <a:pt x="891" y="799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799"/>
                  </a:lnTo>
                  <a:lnTo>
                    <a:pt x="889" y="799"/>
                  </a:lnTo>
                  <a:lnTo>
                    <a:pt x="889" y="799"/>
                  </a:lnTo>
                  <a:lnTo>
                    <a:pt x="889" y="799"/>
                  </a:lnTo>
                  <a:lnTo>
                    <a:pt x="889" y="799"/>
                  </a:lnTo>
                  <a:lnTo>
                    <a:pt x="889" y="799"/>
                  </a:lnTo>
                  <a:lnTo>
                    <a:pt x="889" y="795"/>
                  </a:lnTo>
                  <a:lnTo>
                    <a:pt x="889" y="795"/>
                  </a:lnTo>
                  <a:lnTo>
                    <a:pt x="889" y="795"/>
                  </a:lnTo>
                  <a:lnTo>
                    <a:pt x="887" y="799"/>
                  </a:lnTo>
                  <a:lnTo>
                    <a:pt x="889" y="799"/>
                  </a:lnTo>
                  <a:lnTo>
                    <a:pt x="889" y="799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7" y="801"/>
                  </a:lnTo>
                  <a:lnTo>
                    <a:pt x="887" y="801"/>
                  </a:lnTo>
                  <a:lnTo>
                    <a:pt x="887" y="801"/>
                  </a:lnTo>
                  <a:lnTo>
                    <a:pt x="887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1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3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889" y="805"/>
                  </a:lnTo>
                  <a:lnTo>
                    <a:pt x="887" y="805"/>
                  </a:lnTo>
                  <a:lnTo>
                    <a:pt x="887" y="805"/>
                  </a:lnTo>
                  <a:lnTo>
                    <a:pt x="887" y="807"/>
                  </a:lnTo>
                  <a:lnTo>
                    <a:pt x="887" y="807"/>
                  </a:lnTo>
                  <a:lnTo>
                    <a:pt x="887" y="807"/>
                  </a:lnTo>
                  <a:lnTo>
                    <a:pt x="887" y="807"/>
                  </a:lnTo>
                  <a:lnTo>
                    <a:pt x="887" y="805"/>
                  </a:lnTo>
                  <a:lnTo>
                    <a:pt x="887" y="805"/>
                  </a:lnTo>
                  <a:lnTo>
                    <a:pt x="887" y="805"/>
                  </a:lnTo>
                  <a:lnTo>
                    <a:pt x="887" y="807"/>
                  </a:lnTo>
                  <a:lnTo>
                    <a:pt x="887" y="807"/>
                  </a:lnTo>
                  <a:lnTo>
                    <a:pt x="887" y="807"/>
                  </a:lnTo>
                  <a:lnTo>
                    <a:pt x="885" y="807"/>
                  </a:lnTo>
                  <a:lnTo>
                    <a:pt x="885" y="807"/>
                  </a:lnTo>
                  <a:lnTo>
                    <a:pt x="885" y="807"/>
                  </a:lnTo>
                  <a:lnTo>
                    <a:pt x="885" y="807"/>
                  </a:lnTo>
                  <a:lnTo>
                    <a:pt x="885" y="809"/>
                  </a:lnTo>
                  <a:lnTo>
                    <a:pt x="885" y="809"/>
                  </a:lnTo>
                  <a:lnTo>
                    <a:pt x="885" y="809"/>
                  </a:lnTo>
                  <a:lnTo>
                    <a:pt x="885" y="809"/>
                  </a:lnTo>
                  <a:lnTo>
                    <a:pt x="887" y="809"/>
                  </a:lnTo>
                  <a:lnTo>
                    <a:pt x="887" y="811"/>
                  </a:lnTo>
                  <a:lnTo>
                    <a:pt x="887" y="809"/>
                  </a:lnTo>
                  <a:lnTo>
                    <a:pt x="887" y="809"/>
                  </a:lnTo>
                  <a:lnTo>
                    <a:pt x="887" y="809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7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91" y="811"/>
                  </a:lnTo>
                  <a:lnTo>
                    <a:pt x="891" y="811"/>
                  </a:lnTo>
                  <a:lnTo>
                    <a:pt x="891" y="811"/>
                  </a:lnTo>
                  <a:lnTo>
                    <a:pt x="891" y="811"/>
                  </a:lnTo>
                  <a:lnTo>
                    <a:pt x="891" y="811"/>
                  </a:lnTo>
                  <a:lnTo>
                    <a:pt x="891" y="813"/>
                  </a:lnTo>
                  <a:lnTo>
                    <a:pt x="891" y="813"/>
                  </a:lnTo>
                  <a:lnTo>
                    <a:pt x="891" y="813"/>
                  </a:lnTo>
                  <a:lnTo>
                    <a:pt x="891" y="813"/>
                  </a:lnTo>
                  <a:lnTo>
                    <a:pt x="891" y="813"/>
                  </a:lnTo>
                  <a:lnTo>
                    <a:pt x="891" y="813"/>
                  </a:lnTo>
                  <a:lnTo>
                    <a:pt x="891" y="813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1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89" y="813"/>
                  </a:lnTo>
                  <a:lnTo>
                    <a:pt x="891" y="813"/>
                  </a:lnTo>
                  <a:lnTo>
                    <a:pt x="889" y="813"/>
                  </a:lnTo>
                  <a:lnTo>
                    <a:pt x="889" y="817"/>
                  </a:lnTo>
                  <a:lnTo>
                    <a:pt x="889" y="817"/>
                  </a:lnTo>
                  <a:lnTo>
                    <a:pt x="889" y="817"/>
                  </a:lnTo>
                  <a:lnTo>
                    <a:pt x="889" y="817"/>
                  </a:lnTo>
                  <a:lnTo>
                    <a:pt x="889" y="817"/>
                  </a:lnTo>
                  <a:lnTo>
                    <a:pt x="889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89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7"/>
                  </a:lnTo>
                  <a:lnTo>
                    <a:pt x="891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3" y="819"/>
                  </a:lnTo>
                  <a:lnTo>
                    <a:pt x="897" y="821"/>
                  </a:lnTo>
                  <a:lnTo>
                    <a:pt x="897" y="821"/>
                  </a:lnTo>
                  <a:lnTo>
                    <a:pt x="897" y="821"/>
                  </a:lnTo>
                  <a:lnTo>
                    <a:pt x="893" y="821"/>
                  </a:lnTo>
                  <a:lnTo>
                    <a:pt x="893" y="823"/>
                  </a:lnTo>
                  <a:lnTo>
                    <a:pt x="893" y="823"/>
                  </a:lnTo>
                  <a:lnTo>
                    <a:pt x="893" y="823"/>
                  </a:lnTo>
                  <a:lnTo>
                    <a:pt x="893" y="827"/>
                  </a:lnTo>
                  <a:lnTo>
                    <a:pt x="893" y="823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91" y="827"/>
                  </a:lnTo>
                  <a:lnTo>
                    <a:pt x="889" y="827"/>
                  </a:lnTo>
                  <a:lnTo>
                    <a:pt x="889" y="827"/>
                  </a:lnTo>
                  <a:lnTo>
                    <a:pt x="889" y="827"/>
                  </a:lnTo>
                  <a:lnTo>
                    <a:pt x="889" y="827"/>
                  </a:lnTo>
                  <a:lnTo>
                    <a:pt x="889" y="827"/>
                  </a:lnTo>
                  <a:lnTo>
                    <a:pt x="889" y="827"/>
                  </a:lnTo>
                  <a:lnTo>
                    <a:pt x="889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7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3" y="827"/>
                  </a:lnTo>
                  <a:lnTo>
                    <a:pt x="883" y="827"/>
                  </a:lnTo>
                  <a:lnTo>
                    <a:pt x="883" y="827"/>
                  </a:lnTo>
                  <a:lnTo>
                    <a:pt x="885" y="827"/>
                  </a:lnTo>
                  <a:lnTo>
                    <a:pt x="885" y="827"/>
                  </a:lnTo>
                  <a:lnTo>
                    <a:pt x="883" y="823"/>
                  </a:lnTo>
                  <a:lnTo>
                    <a:pt x="883" y="823"/>
                  </a:lnTo>
                  <a:lnTo>
                    <a:pt x="883" y="823"/>
                  </a:lnTo>
                  <a:lnTo>
                    <a:pt x="883" y="823"/>
                  </a:lnTo>
                  <a:lnTo>
                    <a:pt x="883" y="823"/>
                  </a:lnTo>
                  <a:lnTo>
                    <a:pt x="883" y="823"/>
                  </a:lnTo>
                  <a:lnTo>
                    <a:pt x="883" y="823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3"/>
                  </a:lnTo>
                  <a:lnTo>
                    <a:pt x="885" y="823"/>
                  </a:lnTo>
                  <a:lnTo>
                    <a:pt x="885" y="823"/>
                  </a:lnTo>
                  <a:lnTo>
                    <a:pt x="885" y="823"/>
                  </a:lnTo>
                  <a:lnTo>
                    <a:pt x="885" y="823"/>
                  </a:lnTo>
                  <a:lnTo>
                    <a:pt x="885" y="823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5" y="821"/>
                  </a:lnTo>
                  <a:lnTo>
                    <a:pt x="883" y="821"/>
                  </a:lnTo>
                  <a:lnTo>
                    <a:pt x="885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19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21"/>
                  </a:lnTo>
                  <a:lnTo>
                    <a:pt x="883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7"/>
                  </a:lnTo>
                  <a:lnTo>
                    <a:pt x="879" y="817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9"/>
                  </a:lnTo>
                  <a:lnTo>
                    <a:pt x="879" y="817"/>
                  </a:lnTo>
                  <a:lnTo>
                    <a:pt x="879" y="817"/>
                  </a:lnTo>
                  <a:lnTo>
                    <a:pt x="877" y="817"/>
                  </a:lnTo>
                  <a:lnTo>
                    <a:pt x="877" y="817"/>
                  </a:lnTo>
                  <a:lnTo>
                    <a:pt x="877" y="817"/>
                  </a:lnTo>
                  <a:lnTo>
                    <a:pt x="877" y="817"/>
                  </a:lnTo>
                  <a:lnTo>
                    <a:pt x="877" y="813"/>
                  </a:lnTo>
                  <a:lnTo>
                    <a:pt x="877" y="813"/>
                  </a:lnTo>
                  <a:lnTo>
                    <a:pt x="877" y="817"/>
                  </a:lnTo>
                  <a:lnTo>
                    <a:pt x="879" y="817"/>
                  </a:lnTo>
                  <a:lnTo>
                    <a:pt x="879" y="817"/>
                  </a:lnTo>
                  <a:lnTo>
                    <a:pt x="879" y="817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9" y="813"/>
                  </a:lnTo>
                  <a:lnTo>
                    <a:pt x="877" y="813"/>
                  </a:lnTo>
                  <a:lnTo>
                    <a:pt x="877" y="813"/>
                  </a:lnTo>
                  <a:lnTo>
                    <a:pt x="877" y="813"/>
                  </a:lnTo>
                  <a:lnTo>
                    <a:pt x="877" y="813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5" y="811"/>
                  </a:lnTo>
                  <a:lnTo>
                    <a:pt x="877" y="811"/>
                  </a:lnTo>
                  <a:lnTo>
                    <a:pt x="877" y="811"/>
                  </a:lnTo>
                  <a:lnTo>
                    <a:pt x="875" y="811"/>
                  </a:lnTo>
                  <a:lnTo>
                    <a:pt x="875" y="809"/>
                  </a:lnTo>
                  <a:lnTo>
                    <a:pt x="875" y="809"/>
                  </a:lnTo>
                  <a:lnTo>
                    <a:pt x="875" y="809"/>
                  </a:lnTo>
                  <a:lnTo>
                    <a:pt x="875" y="807"/>
                  </a:lnTo>
                  <a:lnTo>
                    <a:pt x="875" y="807"/>
                  </a:lnTo>
                  <a:lnTo>
                    <a:pt x="875" y="807"/>
                  </a:lnTo>
                  <a:lnTo>
                    <a:pt x="875" y="807"/>
                  </a:lnTo>
                  <a:lnTo>
                    <a:pt x="875" y="807"/>
                  </a:lnTo>
                  <a:lnTo>
                    <a:pt x="875" y="807"/>
                  </a:lnTo>
                  <a:lnTo>
                    <a:pt x="875" y="807"/>
                  </a:lnTo>
                  <a:lnTo>
                    <a:pt x="875" y="805"/>
                  </a:lnTo>
                  <a:lnTo>
                    <a:pt x="875" y="805"/>
                  </a:lnTo>
                  <a:lnTo>
                    <a:pt x="875" y="805"/>
                  </a:lnTo>
                  <a:lnTo>
                    <a:pt x="875" y="805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3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799"/>
                  </a:lnTo>
                  <a:lnTo>
                    <a:pt x="875" y="799"/>
                  </a:lnTo>
                  <a:lnTo>
                    <a:pt x="875" y="799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801"/>
                  </a:lnTo>
                  <a:lnTo>
                    <a:pt x="875" y="799"/>
                  </a:lnTo>
                  <a:lnTo>
                    <a:pt x="875" y="799"/>
                  </a:lnTo>
                  <a:lnTo>
                    <a:pt x="877" y="799"/>
                  </a:lnTo>
                  <a:lnTo>
                    <a:pt x="877" y="799"/>
                  </a:lnTo>
                  <a:lnTo>
                    <a:pt x="879" y="799"/>
                  </a:lnTo>
                  <a:lnTo>
                    <a:pt x="879" y="799"/>
                  </a:lnTo>
                  <a:lnTo>
                    <a:pt x="877" y="799"/>
                  </a:lnTo>
                  <a:lnTo>
                    <a:pt x="877" y="799"/>
                  </a:lnTo>
                  <a:lnTo>
                    <a:pt x="879" y="799"/>
                  </a:lnTo>
                  <a:lnTo>
                    <a:pt x="879" y="795"/>
                  </a:lnTo>
                  <a:lnTo>
                    <a:pt x="877" y="795"/>
                  </a:lnTo>
                  <a:lnTo>
                    <a:pt x="877" y="795"/>
                  </a:lnTo>
                  <a:lnTo>
                    <a:pt x="877" y="795"/>
                  </a:lnTo>
                  <a:lnTo>
                    <a:pt x="879" y="795"/>
                  </a:lnTo>
                  <a:lnTo>
                    <a:pt x="879" y="795"/>
                  </a:lnTo>
                  <a:lnTo>
                    <a:pt x="877" y="795"/>
                  </a:lnTo>
                  <a:lnTo>
                    <a:pt x="877" y="795"/>
                  </a:lnTo>
                  <a:lnTo>
                    <a:pt x="877" y="795"/>
                  </a:lnTo>
                  <a:lnTo>
                    <a:pt x="877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7" y="795"/>
                  </a:lnTo>
                  <a:lnTo>
                    <a:pt x="877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3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5" y="795"/>
                  </a:lnTo>
                  <a:lnTo>
                    <a:pt x="873" y="795"/>
                  </a:lnTo>
                  <a:lnTo>
                    <a:pt x="873" y="795"/>
                  </a:lnTo>
                  <a:lnTo>
                    <a:pt x="873" y="795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73" y="793"/>
                  </a:lnTo>
                  <a:lnTo>
                    <a:pt x="869" y="793"/>
                  </a:lnTo>
                  <a:lnTo>
                    <a:pt x="873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91"/>
                  </a:lnTo>
                  <a:lnTo>
                    <a:pt x="869" y="789"/>
                  </a:lnTo>
                  <a:lnTo>
                    <a:pt x="869" y="789"/>
                  </a:lnTo>
                  <a:lnTo>
                    <a:pt x="869" y="789"/>
                  </a:lnTo>
                  <a:lnTo>
                    <a:pt x="869" y="789"/>
                  </a:lnTo>
                  <a:lnTo>
                    <a:pt x="869" y="789"/>
                  </a:lnTo>
                  <a:lnTo>
                    <a:pt x="869" y="789"/>
                  </a:lnTo>
                  <a:lnTo>
                    <a:pt x="869" y="789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7" y="791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3"/>
                  </a:lnTo>
                  <a:lnTo>
                    <a:pt x="869" y="795"/>
                  </a:lnTo>
                  <a:lnTo>
                    <a:pt x="869" y="795"/>
                  </a:lnTo>
                  <a:lnTo>
                    <a:pt x="869" y="795"/>
                  </a:lnTo>
                  <a:lnTo>
                    <a:pt x="869" y="795"/>
                  </a:lnTo>
                  <a:lnTo>
                    <a:pt x="869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7" y="795"/>
                  </a:lnTo>
                  <a:lnTo>
                    <a:pt x="865" y="795"/>
                  </a:lnTo>
                  <a:lnTo>
                    <a:pt x="865" y="795"/>
                  </a:lnTo>
                  <a:lnTo>
                    <a:pt x="865" y="795"/>
                  </a:lnTo>
                  <a:lnTo>
                    <a:pt x="865" y="795"/>
                  </a:lnTo>
                  <a:lnTo>
                    <a:pt x="865" y="795"/>
                  </a:lnTo>
                  <a:lnTo>
                    <a:pt x="863" y="799"/>
                  </a:lnTo>
                  <a:lnTo>
                    <a:pt x="863" y="795"/>
                  </a:lnTo>
                  <a:lnTo>
                    <a:pt x="863" y="795"/>
                  </a:lnTo>
                  <a:lnTo>
                    <a:pt x="863" y="799"/>
                  </a:lnTo>
                  <a:lnTo>
                    <a:pt x="863" y="799"/>
                  </a:lnTo>
                  <a:lnTo>
                    <a:pt x="863" y="799"/>
                  </a:lnTo>
                  <a:lnTo>
                    <a:pt x="863" y="799"/>
                  </a:lnTo>
                  <a:lnTo>
                    <a:pt x="863" y="795"/>
                  </a:lnTo>
                  <a:lnTo>
                    <a:pt x="863" y="795"/>
                  </a:lnTo>
                  <a:lnTo>
                    <a:pt x="863" y="795"/>
                  </a:lnTo>
                  <a:lnTo>
                    <a:pt x="863" y="795"/>
                  </a:lnTo>
                  <a:lnTo>
                    <a:pt x="863" y="799"/>
                  </a:lnTo>
                  <a:lnTo>
                    <a:pt x="863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61" y="799"/>
                  </a:lnTo>
                  <a:lnTo>
                    <a:pt x="859" y="799"/>
                  </a:lnTo>
                  <a:lnTo>
                    <a:pt x="859" y="795"/>
                  </a:lnTo>
                  <a:lnTo>
                    <a:pt x="859" y="795"/>
                  </a:lnTo>
                  <a:lnTo>
                    <a:pt x="859" y="795"/>
                  </a:lnTo>
                  <a:lnTo>
                    <a:pt x="861" y="795"/>
                  </a:lnTo>
                  <a:lnTo>
                    <a:pt x="861" y="795"/>
                  </a:lnTo>
                  <a:lnTo>
                    <a:pt x="861" y="795"/>
                  </a:lnTo>
                  <a:lnTo>
                    <a:pt x="861" y="795"/>
                  </a:lnTo>
                  <a:lnTo>
                    <a:pt x="861" y="793"/>
                  </a:lnTo>
                  <a:lnTo>
                    <a:pt x="861" y="793"/>
                  </a:lnTo>
                  <a:lnTo>
                    <a:pt x="861" y="793"/>
                  </a:lnTo>
                  <a:lnTo>
                    <a:pt x="861" y="793"/>
                  </a:lnTo>
                  <a:lnTo>
                    <a:pt x="861" y="793"/>
                  </a:lnTo>
                  <a:lnTo>
                    <a:pt x="861" y="793"/>
                  </a:lnTo>
                  <a:lnTo>
                    <a:pt x="861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9" y="791"/>
                  </a:lnTo>
                  <a:lnTo>
                    <a:pt x="859" y="791"/>
                  </a:lnTo>
                  <a:lnTo>
                    <a:pt x="859" y="791"/>
                  </a:lnTo>
                  <a:lnTo>
                    <a:pt x="859" y="793"/>
                  </a:lnTo>
                  <a:lnTo>
                    <a:pt x="859" y="793"/>
                  </a:lnTo>
                  <a:lnTo>
                    <a:pt x="857" y="793"/>
                  </a:lnTo>
                  <a:lnTo>
                    <a:pt x="857" y="793"/>
                  </a:lnTo>
                  <a:lnTo>
                    <a:pt x="857" y="793"/>
                  </a:lnTo>
                  <a:lnTo>
                    <a:pt x="857" y="793"/>
                  </a:lnTo>
                  <a:lnTo>
                    <a:pt x="857" y="793"/>
                  </a:lnTo>
                  <a:lnTo>
                    <a:pt x="857" y="791"/>
                  </a:lnTo>
                  <a:lnTo>
                    <a:pt x="857" y="791"/>
                  </a:lnTo>
                  <a:lnTo>
                    <a:pt x="857" y="791"/>
                  </a:lnTo>
                  <a:lnTo>
                    <a:pt x="857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7" y="789"/>
                  </a:lnTo>
                  <a:lnTo>
                    <a:pt x="857" y="789"/>
                  </a:lnTo>
                  <a:lnTo>
                    <a:pt x="857" y="789"/>
                  </a:lnTo>
                  <a:lnTo>
                    <a:pt x="857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1" y="785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1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3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3" y="789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3"/>
                  </a:lnTo>
                  <a:lnTo>
                    <a:pt x="853" y="793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1"/>
                  </a:lnTo>
                  <a:lnTo>
                    <a:pt x="853" y="793"/>
                  </a:lnTo>
                  <a:lnTo>
                    <a:pt x="851" y="793"/>
                  </a:lnTo>
                  <a:lnTo>
                    <a:pt x="851" y="793"/>
                  </a:lnTo>
                  <a:lnTo>
                    <a:pt x="851" y="793"/>
                  </a:lnTo>
                  <a:lnTo>
                    <a:pt x="851" y="793"/>
                  </a:lnTo>
                  <a:lnTo>
                    <a:pt x="851" y="793"/>
                  </a:lnTo>
                  <a:lnTo>
                    <a:pt x="851" y="793"/>
                  </a:lnTo>
                  <a:lnTo>
                    <a:pt x="851" y="793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89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51" y="791"/>
                  </a:lnTo>
                  <a:lnTo>
                    <a:pt x="849" y="791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5"/>
                  </a:lnTo>
                  <a:lnTo>
                    <a:pt x="849" y="785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9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5"/>
                  </a:lnTo>
                  <a:lnTo>
                    <a:pt x="849" y="785"/>
                  </a:lnTo>
                  <a:lnTo>
                    <a:pt x="849" y="785"/>
                  </a:lnTo>
                  <a:lnTo>
                    <a:pt x="849" y="785"/>
                  </a:lnTo>
                  <a:lnTo>
                    <a:pt x="849" y="785"/>
                  </a:lnTo>
                  <a:lnTo>
                    <a:pt x="849" y="785"/>
                  </a:lnTo>
                  <a:lnTo>
                    <a:pt x="847" y="783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3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5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7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3"/>
                  </a:lnTo>
                  <a:lnTo>
                    <a:pt x="845" y="783"/>
                  </a:lnTo>
                  <a:lnTo>
                    <a:pt x="845" y="783"/>
                  </a:lnTo>
                  <a:lnTo>
                    <a:pt x="845" y="783"/>
                  </a:lnTo>
                  <a:lnTo>
                    <a:pt x="845" y="783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5"/>
                  </a:lnTo>
                  <a:lnTo>
                    <a:pt x="845" y="789"/>
                  </a:lnTo>
                  <a:lnTo>
                    <a:pt x="845" y="789"/>
                  </a:lnTo>
                  <a:lnTo>
                    <a:pt x="845" y="789"/>
                  </a:lnTo>
                  <a:lnTo>
                    <a:pt x="845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5" y="789"/>
                  </a:lnTo>
                  <a:lnTo>
                    <a:pt x="845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89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lnTo>
                    <a:pt x="847" y="791"/>
                  </a:lnTo>
                  <a:close/>
                </a:path>
              </a:pathLst>
            </a:custGeom>
            <a:solidFill>
              <a:srgbClr val="C90068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529"/>
            <p:cNvSpPr>
              <a:spLocks noEditPoints="1"/>
            </p:cNvSpPr>
            <p:nvPr/>
          </p:nvSpPr>
          <p:spPr bwMode="auto">
            <a:xfrm>
              <a:off x="5771266" y="1221272"/>
              <a:ext cx="656871" cy="462984"/>
            </a:xfrm>
            <a:custGeom>
              <a:avLst/>
              <a:gdLst>
                <a:gd name="T0" fmla="*/ 14 w 393"/>
                <a:gd name="T1" fmla="*/ 236 h 277"/>
                <a:gd name="T2" fmla="*/ 7 w 393"/>
                <a:gd name="T3" fmla="*/ 223 h 277"/>
                <a:gd name="T4" fmla="*/ 2 w 393"/>
                <a:gd name="T5" fmla="*/ 209 h 277"/>
                <a:gd name="T6" fmla="*/ 18 w 393"/>
                <a:gd name="T7" fmla="*/ 182 h 277"/>
                <a:gd name="T8" fmla="*/ 45 w 393"/>
                <a:gd name="T9" fmla="*/ 167 h 277"/>
                <a:gd name="T10" fmla="*/ 72 w 393"/>
                <a:gd name="T11" fmla="*/ 153 h 277"/>
                <a:gd name="T12" fmla="*/ 101 w 393"/>
                <a:gd name="T13" fmla="*/ 129 h 277"/>
                <a:gd name="T14" fmla="*/ 119 w 393"/>
                <a:gd name="T15" fmla="*/ 115 h 277"/>
                <a:gd name="T16" fmla="*/ 126 w 393"/>
                <a:gd name="T17" fmla="*/ 97 h 277"/>
                <a:gd name="T18" fmla="*/ 126 w 393"/>
                <a:gd name="T19" fmla="*/ 66 h 277"/>
                <a:gd name="T20" fmla="*/ 133 w 393"/>
                <a:gd name="T21" fmla="*/ 61 h 277"/>
                <a:gd name="T22" fmla="*/ 182 w 393"/>
                <a:gd name="T23" fmla="*/ 48 h 277"/>
                <a:gd name="T24" fmla="*/ 171 w 393"/>
                <a:gd name="T25" fmla="*/ 52 h 277"/>
                <a:gd name="T26" fmla="*/ 162 w 393"/>
                <a:gd name="T27" fmla="*/ 48 h 277"/>
                <a:gd name="T28" fmla="*/ 149 w 393"/>
                <a:gd name="T29" fmla="*/ 48 h 277"/>
                <a:gd name="T30" fmla="*/ 198 w 393"/>
                <a:gd name="T31" fmla="*/ 34 h 277"/>
                <a:gd name="T32" fmla="*/ 191 w 393"/>
                <a:gd name="T33" fmla="*/ 34 h 277"/>
                <a:gd name="T34" fmla="*/ 378 w 393"/>
                <a:gd name="T35" fmla="*/ 27 h 277"/>
                <a:gd name="T36" fmla="*/ 207 w 393"/>
                <a:gd name="T37" fmla="*/ 21 h 277"/>
                <a:gd name="T38" fmla="*/ 218 w 393"/>
                <a:gd name="T39" fmla="*/ 18 h 277"/>
                <a:gd name="T40" fmla="*/ 274 w 393"/>
                <a:gd name="T41" fmla="*/ 12 h 277"/>
                <a:gd name="T42" fmla="*/ 256 w 393"/>
                <a:gd name="T43" fmla="*/ 12 h 277"/>
                <a:gd name="T44" fmla="*/ 292 w 393"/>
                <a:gd name="T45" fmla="*/ 3 h 277"/>
                <a:gd name="T46" fmla="*/ 378 w 393"/>
                <a:gd name="T47" fmla="*/ 14 h 277"/>
                <a:gd name="T48" fmla="*/ 384 w 393"/>
                <a:gd name="T49" fmla="*/ 30 h 277"/>
                <a:gd name="T50" fmla="*/ 317 w 393"/>
                <a:gd name="T51" fmla="*/ 43 h 277"/>
                <a:gd name="T52" fmla="*/ 126 w 393"/>
                <a:gd name="T53" fmla="*/ 182 h 277"/>
                <a:gd name="T54" fmla="*/ 104 w 393"/>
                <a:gd name="T55" fmla="*/ 243 h 277"/>
                <a:gd name="T56" fmla="*/ 86 w 393"/>
                <a:gd name="T57" fmla="*/ 252 h 277"/>
                <a:gd name="T58" fmla="*/ 54 w 393"/>
                <a:gd name="T59" fmla="*/ 275 h 277"/>
                <a:gd name="T60" fmla="*/ 18 w 393"/>
                <a:gd name="T61" fmla="*/ 257 h 277"/>
                <a:gd name="T62" fmla="*/ 23 w 393"/>
                <a:gd name="T63" fmla="*/ 245 h 277"/>
                <a:gd name="T64" fmla="*/ 20 w 393"/>
                <a:gd name="T65" fmla="*/ 241 h 277"/>
                <a:gd name="T66" fmla="*/ 29 w 393"/>
                <a:gd name="T67" fmla="*/ 223 h 277"/>
                <a:gd name="T68" fmla="*/ 11 w 393"/>
                <a:gd name="T69" fmla="*/ 223 h 277"/>
                <a:gd name="T70" fmla="*/ 11 w 393"/>
                <a:gd name="T71" fmla="*/ 209 h 277"/>
                <a:gd name="T72" fmla="*/ 45 w 393"/>
                <a:gd name="T73" fmla="*/ 207 h 277"/>
                <a:gd name="T74" fmla="*/ 7 w 393"/>
                <a:gd name="T75" fmla="*/ 203 h 277"/>
                <a:gd name="T76" fmla="*/ 34 w 393"/>
                <a:gd name="T77" fmla="*/ 191 h 277"/>
                <a:gd name="T78" fmla="*/ 25 w 393"/>
                <a:gd name="T79" fmla="*/ 187 h 277"/>
                <a:gd name="T80" fmla="*/ 36 w 393"/>
                <a:gd name="T81" fmla="*/ 176 h 277"/>
                <a:gd name="T82" fmla="*/ 54 w 393"/>
                <a:gd name="T83" fmla="*/ 167 h 277"/>
                <a:gd name="T84" fmla="*/ 72 w 393"/>
                <a:gd name="T85" fmla="*/ 158 h 277"/>
                <a:gd name="T86" fmla="*/ 104 w 393"/>
                <a:gd name="T87" fmla="*/ 149 h 277"/>
                <a:gd name="T88" fmla="*/ 86 w 393"/>
                <a:gd name="T89" fmla="*/ 147 h 277"/>
                <a:gd name="T90" fmla="*/ 99 w 393"/>
                <a:gd name="T91" fmla="*/ 133 h 277"/>
                <a:gd name="T92" fmla="*/ 110 w 393"/>
                <a:gd name="T93" fmla="*/ 126 h 277"/>
                <a:gd name="T94" fmla="*/ 124 w 393"/>
                <a:gd name="T95" fmla="*/ 115 h 277"/>
                <a:gd name="T96" fmla="*/ 142 w 393"/>
                <a:gd name="T97" fmla="*/ 102 h 277"/>
                <a:gd name="T98" fmla="*/ 137 w 393"/>
                <a:gd name="T99" fmla="*/ 90 h 277"/>
                <a:gd name="T100" fmla="*/ 158 w 393"/>
                <a:gd name="T101" fmla="*/ 81 h 277"/>
                <a:gd name="T102" fmla="*/ 162 w 393"/>
                <a:gd name="T103" fmla="*/ 75 h 277"/>
                <a:gd name="T104" fmla="*/ 160 w 393"/>
                <a:gd name="T105" fmla="*/ 66 h 277"/>
                <a:gd name="T106" fmla="*/ 175 w 393"/>
                <a:gd name="T107" fmla="*/ 63 h 277"/>
                <a:gd name="T108" fmla="*/ 189 w 393"/>
                <a:gd name="T109" fmla="*/ 57 h 277"/>
                <a:gd name="T110" fmla="*/ 200 w 393"/>
                <a:gd name="T111" fmla="*/ 34 h 277"/>
                <a:gd name="T112" fmla="*/ 214 w 393"/>
                <a:gd name="T113" fmla="*/ 27 h 277"/>
                <a:gd name="T114" fmla="*/ 234 w 393"/>
                <a:gd name="T115" fmla="*/ 27 h 277"/>
                <a:gd name="T116" fmla="*/ 254 w 393"/>
                <a:gd name="T117" fmla="*/ 21 h 277"/>
                <a:gd name="T118" fmla="*/ 288 w 393"/>
                <a:gd name="T119" fmla="*/ 12 h 277"/>
                <a:gd name="T120" fmla="*/ 301 w 393"/>
                <a:gd name="T121" fmla="*/ 14 h 277"/>
                <a:gd name="T122" fmla="*/ 330 w 393"/>
                <a:gd name="T123" fmla="*/ 14 h 277"/>
                <a:gd name="T124" fmla="*/ 339 w 393"/>
                <a:gd name="T125" fmla="*/ 7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3" h="277">
                  <a:moveTo>
                    <a:pt x="18" y="252"/>
                  </a:moveTo>
                  <a:lnTo>
                    <a:pt x="18" y="252"/>
                  </a:lnTo>
                  <a:lnTo>
                    <a:pt x="18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18" y="252"/>
                  </a:lnTo>
                  <a:lnTo>
                    <a:pt x="18" y="252"/>
                  </a:lnTo>
                  <a:lnTo>
                    <a:pt x="18" y="252"/>
                  </a:lnTo>
                  <a:lnTo>
                    <a:pt x="18" y="252"/>
                  </a:lnTo>
                  <a:lnTo>
                    <a:pt x="18" y="252"/>
                  </a:lnTo>
                  <a:close/>
                  <a:moveTo>
                    <a:pt x="16" y="250"/>
                  </a:move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4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lnTo>
                    <a:pt x="16" y="250"/>
                  </a:lnTo>
                  <a:close/>
                  <a:moveTo>
                    <a:pt x="25" y="250"/>
                  </a:moveTo>
                  <a:lnTo>
                    <a:pt x="25" y="250"/>
                  </a:lnTo>
                  <a:lnTo>
                    <a:pt x="25" y="250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50"/>
                  </a:lnTo>
                  <a:lnTo>
                    <a:pt x="25" y="250"/>
                  </a:lnTo>
                  <a:close/>
                  <a:moveTo>
                    <a:pt x="14" y="248"/>
                  </a:move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50"/>
                  </a:lnTo>
                  <a:lnTo>
                    <a:pt x="14" y="250"/>
                  </a:lnTo>
                  <a:lnTo>
                    <a:pt x="14" y="250"/>
                  </a:lnTo>
                  <a:lnTo>
                    <a:pt x="14" y="250"/>
                  </a:lnTo>
                  <a:lnTo>
                    <a:pt x="14" y="250"/>
                  </a:lnTo>
                  <a:lnTo>
                    <a:pt x="11" y="250"/>
                  </a:lnTo>
                  <a:lnTo>
                    <a:pt x="11" y="250"/>
                  </a:lnTo>
                  <a:lnTo>
                    <a:pt x="11" y="250"/>
                  </a:lnTo>
                  <a:lnTo>
                    <a:pt x="11" y="250"/>
                  </a:lnTo>
                  <a:lnTo>
                    <a:pt x="11" y="250"/>
                  </a:lnTo>
                  <a:lnTo>
                    <a:pt x="11" y="250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8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close/>
                  <a:moveTo>
                    <a:pt x="11" y="236"/>
                  </a:move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41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11" y="236"/>
                  </a:lnTo>
                  <a:lnTo>
                    <a:pt x="9" y="236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11" y="234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close/>
                  <a:moveTo>
                    <a:pt x="16" y="236"/>
                  </a:moveTo>
                  <a:lnTo>
                    <a:pt x="16" y="236"/>
                  </a:lnTo>
                  <a:lnTo>
                    <a:pt x="16" y="239"/>
                  </a:lnTo>
                  <a:lnTo>
                    <a:pt x="14" y="239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6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1" y="236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1" y="234"/>
                  </a:lnTo>
                  <a:lnTo>
                    <a:pt x="14" y="234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6" y="236"/>
                  </a:lnTo>
                  <a:close/>
                  <a:moveTo>
                    <a:pt x="18" y="232"/>
                  </a:moveTo>
                  <a:lnTo>
                    <a:pt x="18" y="232"/>
                  </a:lnTo>
                  <a:lnTo>
                    <a:pt x="18" y="232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18" y="232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2"/>
                  </a:lnTo>
                  <a:close/>
                  <a:moveTo>
                    <a:pt x="11" y="230"/>
                  </a:move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close/>
                  <a:moveTo>
                    <a:pt x="11" y="230"/>
                  </a:move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4" y="230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lnTo>
                    <a:pt x="11" y="230"/>
                  </a:lnTo>
                  <a:close/>
                  <a:moveTo>
                    <a:pt x="9" y="225"/>
                  </a:move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9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5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7" y="223"/>
                  </a:lnTo>
                  <a:lnTo>
                    <a:pt x="9" y="225"/>
                  </a:lnTo>
                  <a:lnTo>
                    <a:pt x="9" y="225"/>
                  </a:lnTo>
                  <a:close/>
                  <a:moveTo>
                    <a:pt x="7" y="221"/>
                  </a:moveTo>
                  <a:lnTo>
                    <a:pt x="9" y="221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1"/>
                  </a:lnTo>
                  <a:lnTo>
                    <a:pt x="9" y="221"/>
                  </a:lnTo>
                  <a:lnTo>
                    <a:pt x="9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lnTo>
                    <a:pt x="7" y="221"/>
                  </a:lnTo>
                  <a:close/>
                  <a:moveTo>
                    <a:pt x="5" y="218"/>
                  </a:move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lnTo>
                    <a:pt x="5" y="218"/>
                  </a:lnTo>
                  <a:close/>
                  <a:moveTo>
                    <a:pt x="18" y="223"/>
                  </a:move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4" y="223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6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21"/>
                  </a:lnTo>
                  <a:lnTo>
                    <a:pt x="18" y="221"/>
                  </a:lnTo>
                  <a:lnTo>
                    <a:pt x="18" y="223"/>
                  </a:lnTo>
                  <a:lnTo>
                    <a:pt x="18" y="223"/>
                  </a:lnTo>
                  <a:close/>
                  <a:moveTo>
                    <a:pt x="5" y="212"/>
                  </a:move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5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4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lnTo>
                    <a:pt x="5" y="212"/>
                  </a:lnTo>
                  <a:close/>
                  <a:moveTo>
                    <a:pt x="2" y="209"/>
                  </a:moveTo>
                  <a:lnTo>
                    <a:pt x="2" y="209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9"/>
                  </a:lnTo>
                  <a:close/>
                  <a:moveTo>
                    <a:pt x="5" y="207"/>
                  </a:move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7" y="207"/>
                  </a:lnTo>
                  <a:lnTo>
                    <a:pt x="7" y="207"/>
                  </a:lnTo>
                  <a:lnTo>
                    <a:pt x="7" y="207"/>
                  </a:lnTo>
                  <a:lnTo>
                    <a:pt x="7" y="207"/>
                  </a:lnTo>
                  <a:lnTo>
                    <a:pt x="7" y="209"/>
                  </a:lnTo>
                  <a:lnTo>
                    <a:pt x="7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5" y="209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close/>
                  <a:moveTo>
                    <a:pt x="5" y="196"/>
                  </a:move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close/>
                  <a:moveTo>
                    <a:pt x="5" y="191"/>
                  </a:moveTo>
                  <a:lnTo>
                    <a:pt x="9" y="191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2" y="194"/>
                  </a:lnTo>
                  <a:lnTo>
                    <a:pt x="2" y="191"/>
                  </a:lnTo>
                  <a:lnTo>
                    <a:pt x="2" y="191"/>
                  </a:lnTo>
                  <a:lnTo>
                    <a:pt x="5" y="191"/>
                  </a:lnTo>
                  <a:lnTo>
                    <a:pt x="5" y="191"/>
                  </a:lnTo>
                  <a:lnTo>
                    <a:pt x="5" y="191"/>
                  </a:lnTo>
                  <a:lnTo>
                    <a:pt x="5" y="191"/>
                  </a:lnTo>
                  <a:lnTo>
                    <a:pt x="5" y="191"/>
                  </a:lnTo>
                  <a:close/>
                  <a:moveTo>
                    <a:pt x="7" y="189"/>
                  </a:move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91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close/>
                  <a:moveTo>
                    <a:pt x="18" y="182"/>
                  </a:move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close/>
                  <a:moveTo>
                    <a:pt x="18" y="180"/>
                  </a:move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8" y="182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close/>
                  <a:moveTo>
                    <a:pt x="16" y="182"/>
                  </a:moveTo>
                  <a:lnTo>
                    <a:pt x="16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2"/>
                  </a:lnTo>
                  <a:close/>
                  <a:moveTo>
                    <a:pt x="23" y="182"/>
                  </a:moveTo>
                  <a:lnTo>
                    <a:pt x="23" y="182"/>
                  </a:lnTo>
                  <a:lnTo>
                    <a:pt x="23" y="182"/>
                  </a:lnTo>
                  <a:lnTo>
                    <a:pt x="23" y="182"/>
                  </a:lnTo>
                  <a:lnTo>
                    <a:pt x="23" y="182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18" y="182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3" y="182"/>
                  </a:lnTo>
                  <a:lnTo>
                    <a:pt x="23" y="182"/>
                  </a:lnTo>
                  <a:close/>
                  <a:moveTo>
                    <a:pt x="25" y="180"/>
                  </a:move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5" y="180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5" y="180"/>
                  </a:lnTo>
                  <a:lnTo>
                    <a:pt x="25" y="180"/>
                  </a:lnTo>
                  <a:close/>
                  <a:moveTo>
                    <a:pt x="36" y="173"/>
                  </a:moveTo>
                  <a:lnTo>
                    <a:pt x="36" y="173"/>
                  </a:lnTo>
                  <a:lnTo>
                    <a:pt x="36" y="173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2" y="176"/>
                  </a:lnTo>
                  <a:lnTo>
                    <a:pt x="32" y="173"/>
                  </a:lnTo>
                  <a:lnTo>
                    <a:pt x="32" y="173"/>
                  </a:lnTo>
                  <a:lnTo>
                    <a:pt x="32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6" y="173"/>
                  </a:lnTo>
                  <a:lnTo>
                    <a:pt x="36" y="173"/>
                  </a:lnTo>
                  <a:lnTo>
                    <a:pt x="36" y="173"/>
                  </a:lnTo>
                  <a:close/>
                  <a:moveTo>
                    <a:pt x="34" y="171"/>
                  </a:move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3"/>
                  </a:lnTo>
                  <a:lnTo>
                    <a:pt x="36" y="173"/>
                  </a:lnTo>
                  <a:lnTo>
                    <a:pt x="36" y="173"/>
                  </a:lnTo>
                  <a:lnTo>
                    <a:pt x="36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6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1"/>
                  </a:lnTo>
                  <a:lnTo>
                    <a:pt x="34" y="171"/>
                  </a:lnTo>
                  <a:close/>
                  <a:moveTo>
                    <a:pt x="52" y="167"/>
                  </a:move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2" y="167"/>
                  </a:lnTo>
                  <a:lnTo>
                    <a:pt x="52" y="164"/>
                  </a:lnTo>
                  <a:lnTo>
                    <a:pt x="52" y="167"/>
                  </a:lnTo>
                  <a:close/>
                  <a:moveTo>
                    <a:pt x="50" y="167"/>
                  </a:move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3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7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47" y="164"/>
                  </a:lnTo>
                  <a:lnTo>
                    <a:pt x="47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47" y="167"/>
                  </a:lnTo>
                  <a:lnTo>
                    <a:pt x="50" y="167"/>
                  </a:lnTo>
                  <a:lnTo>
                    <a:pt x="50" y="167"/>
                  </a:lnTo>
                  <a:lnTo>
                    <a:pt x="50" y="167"/>
                  </a:lnTo>
                  <a:close/>
                  <a:moveTo>
                    <a:pt x="59" y="164"/>
                  </a:moveTo>
                  <a:lnTo>
                    <a:pt x="59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9" y="162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close/>
                  <a:moveTo>
                    <a:pt x="56" y="164"/>
                  </a:moveTo>
                  <a:lnTo>
                    <a:pt x="54" y="164"/>
                  </a:lnTo>
                  <a:lnTo>
                    <a:pt x="54" y="164"/>
                  </a:lnTo>
                  <a:lnTo>
                    <a:pt x="52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close/>
                  <a:moveTo>
                    <a:pt x="61" y="162"/>
                  </a:moveTo>
                  <a:lnTo>
                    <a:pt x="63" y="162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61" y="164"/>
                  </a:lnTo>
                  <a:lnTo>
                    <a:pt x="61" y="164"/>
                  </a:lnTo>
                  <a:lnTo>
                    <a:pt x="59" y="164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2" y="160"/>
                  </a:lnTo>
                  <a:lnTo>
                    <a:pt x="52" y="160"/>
                  </a:lnTo>
                  <a:lnTo>
                    <a:pt x="52" y="160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2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70" y="153"/>
                  </a:move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8"/>
                  </a:lnTo>
                  <a:lnTo>
                    <a:pt x="65" y="158"/>
                  </a:lnTo>
                  <a:lnTo>
                    <a:pt x="65" y="158"/>
                  </a:lnTo>
                  <a:lnTo>
                    <a:pt x="63" y="158"/>
                  </a:lnTo>
                  <a:lnTo>
                    <a:pt x="61" y="158"/>
                  </a:lnTo>
                  <a:lnTo>
                    <a:pt x="61" y="158"/>
                  </a:lnTo>
                  <a:lnTo>
                    <a:pt x="61" y="158"/>
                  </a:lnTo>
                  <a:lnTo>
                    <a:pt x="61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3" y="155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5" y="155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5" y="153"/>
                  </a:lnTo>
                  <a:lnTo>
                    <a:pt x="68" y="153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3"/>
                  </a:lnTo>
                  <a:lnTo>
                    <a:pt x="68" y="153"/>
                  </a:lnTo>
                  <a:lnTo>
                    <a:pt x="68" y="153"/>
                  </a:lnTo>
                  <a:lnTo>
                    <a:pt x="68" y="153"/>
                  </a:lnTo>
                  <a:lnTo>
                    <a:pt x="70" y="153"/>
                  </a:lnTo>
                  <a:lnTo>
                    <a:pt x="70" y="153"/>
                  </a:lnTo>
                  <a:close/>
                  <a:moveTo>
                    <a:pt x="72" y="153"/>
                  </a:move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close/>
                  <a:moveTo>
                    <a:pt x="65" y="151"/>
                  </a:move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8" y="153"/>
                  </a:lnTo>
                  <a:lnTo>
                    <a:pt x="65" y="153"/>
                  </a:lnTo>
                  <a:lnTo>
                    <a:pt x="65" y="153"/>
                  </a:lnTo>
                  <a:lnTo>
                    <a:pt x="63" y="153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61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3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close/>
                  <a:moveTo>
                    <a:pt x="83" y="147"/>
                  </a:move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3" y="147"/>
                  </a:lnTo>
                  <a:close/>
                  <a:moveTo>
                    <a:pt x="106" y="133"/>
                  </a:move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close/>
                  <a:moveTo>
                    <a:pt x="104" y="133"/>
                  </a:moveTo>
                  <a:lnTo>
                    <a:pt x="104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8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4" y="133"/>
                  </a:lnTo>
                  <a:lnTo>
                    <a:pt x="104" y="133"/>
                  </a:lnTo>
                  <a:close/>
                  <a:moveTo>
                    <a:pt x="106" y="133"/>
                  </a:move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6" y="131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close/>
                  <a:moveTo>
                    <a:pt x="104" y="126"/>
                  </a:move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99" y="129"/>
                  </a:lnTo>
                  <a:lnTo>
                    <a:pt x="99" y="129"/>
                  </a:lnTo>
                  <a:lnTo>
                    <a:pt x="99" y="129"/>
                  </a:lnTo>
                  <a:lnTo>
                    <a:pt x="97" y="129"/>
                  </a:lnTo>
                  <a:lnTo>
                    <a:pt x="97" y="129"/>
                  </a:lnTo>
                  <a:lnTo>
                    <a:pt x="97" y="129"/>
                  </a:lnTo>
                  <a:lnTo>
                    <a:pt x="97" y="129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close/>
                  <a:moveTo>
                    <a:pt x="97" y="129"/>
                  </a:moveTo>
                  <a:lnTo>
                    <a:pt x="95" y="129"/>
                  </a:lnTo>
                  <a:lnTo>
                    <a:pt x="95" y="129"/>
                  </a:lnTo>
                  <a:lnTo>
                    <a:pt x="97" y="129"/>
                  </a:lnTo>
                  <a:lnTo>
                    <a:pt x="95" y="129"/>
                  </a:lnTo>
                  <a:lnTo>
                    <a:pt x="95" y="129"/>
                  </a:lnTo>
                  <a:lnTo>
                    <a:pt x="95" y="129"/>
                  </a:lnTo>
                  <a:lnTo>
                    <a:pt x="97" y="129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7" y="129"/>
                  </a:lnTo>
                  <a:lnTo>
                    <a:pt x="97" y="129"/>
                  </a:lnTo>
                  <a:close/>
                  <a:moveTo>
                    <a:pt x="113" y="124"/>
                  </a:moveTo>
                  <a:lnTo>
                    <a:pt x="113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3" y="124"/>
                  </a:lnTo>
                  <a:lnTo>
                    <a:pt x="113" y="124"/>
                  </a:lnTo>
                  <a:lnTo>
                    <a:pt x="113" y="124"/>
                  </a:lnTo>
                  <a:close/>
                  <a:moveTo>
                    <a:pt x="119" y="122"/>
                  </a:moveTo>
                  <a:lnTo>
                    <a:pt x="119" y="122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7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close/>
                  <a:moveTo>
                    <a:pt x="122" y="115"/>
                  </a:moveTo>
                  <a:lnTo>
                    <a:pt x="122" y="115"/>
                  </a:lnTo>
                  <a:lnTo>
                    <a:pt x="122" y="115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4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7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2"/>
                  </a:lnTo>
                  <a:lnTo>
                    <a:pt x="115" y="122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20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19" y="115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22" y="115"/>
                  </a:lnTo>
                  <a:lnTo>
                    <a:pt x="122" y="115"/>
                  </a:lnTo>
                  <a:close/>
                  <a:moveTo>
                    <a:pt x="113" y="111"/>
                  </a:moveTo>
                  <a:lnTo>
                    <a:pt x="113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3" y="111"/>
                  </a:lnTo>
                  <a:lnTo>
                    <a:pt x="115" y="113"/>
                  </a:lnTo>
                  <a:lnTo>
                    <a:pt x="115" y="113"/>
                  </a:lnTo>
                  <a:lnTo>
                    <a:pt x="115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0" y="113"/>
                  </a:lnTo>
                  <a:lnTo>
                    <a:pt x="110" y="113"/>
                  </a:lnTo>
                  <a:lnTo>
                    <a:pt x="110" y="113"/>
                  </a:lnTo>
                  <a:lnTo>
                    <a:pt x="110" y="111"/>
                  </a:lnTo>
                  <a:lnTo>
                    <a:pt x="110" y="111"/>
                  </a:lnTo>
                  <a:lnTo>
                    <a:pt x="110" y="111"/>
                  </a:lnTo>
                  <a:lnTo>
                    <a:pt x="113" y="111"/>
                  </a:lnTo>
                  <a:lnTo>
                    <a:pt x="113" y="111"/>
                  </a:lnTo>
                  <a:lnTo>
                    <a:pt x="113" y="111"/>
                  </a:lnTo>
                  <a:close/>
                  <a:moveTo>
                    <a:pt x="126" y="106"/>
                  </a:moveTo>
                  <a:lnTo>
                    <a:pt x="124" y="106"/>
                  </a:lnTo>
                  <a:lnTo>
                    <a:pt x="124" y="106"/>
                  </a:lnTo>
                  <a:lnTo>
                    <a:pt x="122" y="106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19" y="106"/>
                  </a:lnTo>
                  <a:lnTo>
                    <a:pt x="119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4"/>
                  </a:lnTo>
                  <a:lnTo>
                    <a:pt x="126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6" y="104"/>
                  </a:lnTo>
                  <a:lnTo>
                    <a:pt x="126" y="106"/>
                  </a:lnTo>
                  <a:close/>
                  <a:moveTo>
                    <a:pt x="122" y="102"/>
                  </a:moveTo>
                  <a:lnTo>
                    <a:pt x="124" y="102"/>
                  </a:lnTo>
                  <a:lnTo>
                    <a:pt x="124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2" y="104"/>
                  </a:lnTo>
                  <a:lnTo>
                    <a:pt x="122" y="104"/>
                  </a:lnTo>
                  <a:lnTo>
                    <a:pt x="122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4"/>
                  </a:lnTo>
                  <a:lnTo>
                    <a:pt x="119" y="102"/>
                  </a:lnTo>
                  <a:lnTo>
                    <a:pt x="119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19" y="102"/>
                  </a:lnTo>
                  <a:lnTo>
                    <a:pt x="119" y="102"/>
                  </a:lnTo>
                  <a:lnTo>
                    <a:pt x="122" y="102"/>
                  </a:lnTo>
                  <a:lnTo>
                    <a:pt x="122" y="102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99"/>
                  </a:lnTo>
                  <a:lnTo>
                    <a:pt x="122" y="102"/>
                  </a:lnTo>
                  <a:lnTo>
                    <a:pt x="122" y="102"/>
                  </a:lnTo>
                  <a:close/>
                  <a:moveTo>
                    <a:pt x="126" y="99"/>
                  </a:move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9"/>
                  </a:lnTo>
                  <a:close/>
                  <a:moveTo>
                    <a:pt x="128" y="95"/>
                  </a:move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8" y="95"/>
                  </a:lnTo>
                  <a:lnTo>
                    <a:pt x="126" y="95"/>
                  </a:lnTo>
                  <a:lnTo>
                    <a:pt x="126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close/>
                  <a:moveTo>
                    <a:pt x="146" y="81"/>
                  </a:moveTo>
                  <a:lnTo>
                    <a:pt x="146" y="81"/>
                  </a:lnTo>
                  <a:lnTo>
                    <a:pt x="146" y="81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2" y="81"/>
                  </a:lnTo>
                  <a:lnTo>
                    <a:pt x="142" y="81"/>
                  </a:lnTo>
                  <a:lnTo>
                    <a:pt x="142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81"/>
                  </a:lnTo>
                  <a:close/>
                  <a:moveTo>
                    <a:pt x="149" y="75"/>
                  </a:move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5"/>
                  </a:lnTo>
                  <a:lnTo>
                    <a:pt x="146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close/>
                  <a:moveTo>
                    <a:pt x="158" y="63"/>
                  </a:moveTo>
                  <a:lnTo>
                    <a:pt x="158" y="63"/>
                  </a:lnTo>
                  <a:lnTo>
                    <a:pt x="158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58" y="66"/>
                  </a:lnTo>
                  <a:lnTo>
                    <a:pt x="158" y="66"/>
                  </a:lnTo>
                  <a:lnTo>
                    <a:pt x="158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close/>
                  <a:moveTo>
                    <a:pt x="171" y="63"/>
                  </a:move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71" y="63"/>
                  </a:lnTo>
                  <a:close/>
                  <a:moveTo>
                    <a:pt x="160" y="63"/>
                  </a:moveTo>
                  <a:lnTo>
                    <a:pt x="160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close/>
                  <a:moveTo>
                    <a:pt x="126" y="63"/>
                  </a:move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4" y="66"/>
                  </a:lnTo>
                  <a:lnTo>
                    <a:pt x="124" y="68"/>
                  </a:lnTo>
                  <a:lnTo>
                    <a:pt x="124" y="68"/>
                  </a:lnTo>
                  <a:lnTo>
                    <a:pt x="124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2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6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4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close/>
                  <a:moveTo>
                    <a:pt x="131" y="63"/>
                  </a:moveTo>
                  <a:lnTo>
                    <a:pt x="131" y="63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28" y="63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31" y="61"/>
                  </a:lnTo>
                  <a:lnTo>
                    <a:pt x="131" y="63"/>
                  </a:lnTo>
                  <a:close/>
                  <a:moveTo>
                    <a:pt x="135" y="59"/>
                  </a:moveTo>
                  <a:lnTo>
                    <a:pt x="135" y="59"/>
                  </a:lnTo>
                  <a:lnTo>
                    <a:pt x="135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7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1"/>
                  </a:lnTo>
                  <a:lnTo>
                    <a:pt x="140" y="61"/>
                  </a:lnTo>
                  <a:lnTo>
                    <a:pt x="137" y="61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5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3" y="59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5" y="59"/>
                  </a:lnTo>
                  <a:close/>
                  <a:moveTo>
                    <a:pt x="158" y="54"/>
                  </a:move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3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3" y="57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51" y="59"/>
                  </a:lnTo>
                  <a:lnTo>
                    <a:pt x="151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4"/>
                  </a:lnTo>
                  <a:lnTo>
                    <a:pt x="149" y="54"/>
                  </a:lnTo>
                  <a:lnTo>
                    <a:pt x="149" y="54"/>
                  </a:lnTo>
                  <a:lnTo>
                    <a:pt x="151" y="54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3" y="54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3" y="57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8" y="54"/>
                  </a:lnTo>
                  <a:lnTo>
                    <a:pt x="158" y="54"/>
                  </a:lnTo>
                  <a:close/>
                  <a:moveTo>
                    <a:pt x="175" y="54"/>
                  </a:moveTo>
                  <a:lnTo>
                    <a:pt x="175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7"/>
                  </a:lnTo>
                  <a:lnTo>
                    <a:pt x="171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4"/>
                  </a:lnTo>
                  <a:lnTo>
                    <a:pt x="175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5" y="54"/>
                  </a:lnTo>
                  <a:lnTo>
                    <a:pt x="175" y="54"/>
                  </a:lnTo>
                  <a:lnTo>
                    <a:pt x="175" y="54"/>
                  </a:lnTo>
                  <a:lnTo>
                    <a:pt x="175" y="54"/>
                  </a:lnTo>
                  <a:close/>
                  <a:moveTo>
                    <a:pt x="187" y="48"/>
                  </a:moveTo>
                  <a:lnTo>
                    <a:pt x="182" y="50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2" y="48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4" y="48"/>
                  </a:lnTo>
                  <a:lnTo>
                    <a:pt x="184" y="48"/>
                  </a:lnTo>
                  <a:lnTo>
                    <a:pt x="187" y="48"/>
                  </a:lnTo>
                  <a:lnTo>
                    <a:pt x="187" y="48"/>
                  </a:lnTo>
                  <a:lnTo>
                    <a:pt x="187" y="48"/>
                  </a:lnTo>
                  <a:close/>
                  <a:moveTo>
                    <a:pt x="187" y="45"/>
                  </a:move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87" y="48"/>
                  </a:lnTo>
                  <a:lnTo>
                    <a:pt x="187" y="48"/>
                  </a:lnTo>
                  <a:lnTo>
                    <a:pt x="187" y="48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4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5"/>
                  </a:lnTo>
                  <a:lnTo>
                    <a:pt x="187" y="45"/>
                  </a:lnTo>
                  <a:close/>
                  <a:moveTo>
                    <a:pt x="153" y="45"/>
                  </a:moveTo>
                  <a:lnTo>
                    <a:pt x="153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close/>
                  <a:moveTo>
                    <a:pt x="166" y="43"/>
                  </a:move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6" y="50"/>
                  </a:lnTo>
                  <a:lnTo>
                    <a:pt x="166" y="50"/>
                  </a:lnTo>
                  <a:lnTo>
                    <a:pt x="166" y="50"/>
                  </a:lnTo>
                  <a:lnTo>
                    <a:pt x="166" y="50"/>
                  </a:lnTo>
                  <a:lnTo>
                    <a:pt x="166" y="50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2"/>
                  </a:lnTo>
                  <a:lnTo>
                    <a:pt x="166" y="50"/>
                  </a:lnTo>
                  <a:lnTo>
                    <a:pt x="166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3" y="45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3" y="48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5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5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48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69" y="57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6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4" y="57"/>
                  </a:lnTo>
                  <a:lnTo>
                    <a:pt x="162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2" y="57"/>
                  </a:lnTo>
                  <a:lnTo>
                    <a:pt x="162" y="54"/>
                  </a:lnTo>
                  <a:lnTo>
                    <a:pt x="162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2" y="54"/>
                  </a:lnTo>
                  <a:lnTo>
                    <a:pt x="162" y="52"/>
                  </a:lnTo>
                  <a:lnTo>
                    <a:pt x="162" y="54"/>
                  </a:lnTo>
                  <a:lnTo>
                    <a:pt x="162" y="54"/>
                  </a:lnTo>
                  <a:lnTo>
                    <a:pt x="162" y="54"/>
                  </a:lnTo>
                  <a:lnTo>
                    <a:pt x="162" y="54"/>
                  </a:lnTo>
                  <a:lnTo>
                    <a:pt x="162" y="54"/>
                  </a:lnTo>
                  <a:lnTo>
                    <a:pt x="162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8" y="57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2"/>
                  </a:lnTo>
                  <a:lnTo>
                    <a:pt x="164" y="50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2" y="50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4" y="48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50"/>
                  </a:lnTo>
                  <a:lnTo>
                    <a:pt x="164" y="48"/>
                  </a:lnTo>
                  <a:lnTo>
                    <a:pt x="164" y="48"/>
                  </a:lnTo>
                  <a:lnTo>
                    <a:pt x="164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4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close/>
                  <a:moveTo>
                    <a:pt x="175" y="43"/>
                  </a:moveTo>
                  <a:lnTo>
                    <a:pt x="175" y="43"/>
                  </a:lnTo>
                  <a:lnTo>
                    <a:pt x="175" y="43"/>
                  </a:lnTo>
                  <a:lnTo>
                    <a:pt x="178" y="43"/>
                  </a:lnTo>
                  <a:lnTo>
                    <a:pt x="178" y="43"/>
                  </a:lnTo>
                  <a:lnTo>
                    <a:pt x="178" y="45"/>
                  </a:lnTo>
                  <a:lnTo>
                    <a:pt x="178" y="45"/>
                  </a:lnTo>
                  <a:lnTo>
                    <a:pt x="178" y="45"/>
                  </a:lnTo>
                  <a:lnTo>
                    <a:pt x="178" y="45"/>
                  </a:lnTo>
                  <a:lnTo>
                    <a:pt x="178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3"/>
                  </a:lnTo>
                  <a:lnTo>
                    <a:pt x="173" y="43"/>
                  </a:lnTo>
                  <a:lnTo>
                    <a:pt x="173" y="43"/>
                  </a:lnTo>
                  <a:lnTo>
                    <a:pt x="175" y="43"/>
                  </a:lnTo>
                  <a:close/>
                  <a:moveTo>
                    <a:pt x="155" y="45"/>
                  </a:moveTo>
                  <a:lnTo>
                    <a:pt x="155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5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8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60" y="48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5" y="52"/>
                  </a:lnTo>
                  <a:lnTo>
                    <a:pt x="153" y="52"/>
                  </a:lnTo>
                  <a:lnTo>
                    <a:pt x="151" y="52"/>
                  </a:lnTo>
                  <a:lnTo>
                    <a:pt x="151" y="52"/>
                  </a:lnTo>
                  <a:lnTo>
                    <a:pt x="153" y="52"/>
                  </a:lnTo>
                  <a:lnTo>
                    <a:pt x="153" y="52"/>
                  </a:lnTo>
                  <a:lnTo>
                    <a:pt x="151" y="52"/>
                  </a:lnTo>
                  <a:lnTo>
                    <a:pt x="151" y="52"/>
                  </a:lnTo>
                  <a:lnTo>
                    <a:pt x="151" y="52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8" y="50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4" y="50"/>
                  </a:lnTo>
                  <a:lnTo>
                    <a:pt x="146" y="50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4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6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3" y="48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3"/>
                  </a:lnTo>
                  <a:lnTo>
                    <a:pt x="153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5"/>
                  </a:lnTo>
                  <a:lnTo>
                    <a:pt x="158" y="45"/>
                  </a:lnTo>
                  <a:lnTo>
                    <a:pt x="155" y="45"/>
                  </a:lnTo>
                  <a:lnTo>
                    <a:pt x="155" y="45"/>
                  </a:lnTo>
                  <a:close/>
                  <a:moveTo>
                    <a:pt x="189" y="43"/>
                  </a:move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89" y="43"/>
                  </a:lnTo>
                  <a:close/>
                  <a:moveTo>
                    <a:pt x="166" y="43"/>
                  </a:moveTo>
                  <a:lnTo>
                    <a:pt x="164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2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3"/>
                  </a:lnTo>
                  <a:lnTo>
                    <a:pt x="160" y="43"/>
                  </a:lnTo>
                  <a:lnTo>
                    <a:pt x="160" y="43"/>
                  </a:lnTo>
                  <a:lnTo>
                    <a:pt x="160" y="43"/>
                  </a:lnTo>
                  <a:lnTo>
                    <a:pt x="162" y="43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4" y="41"/>
                  </a:lnTo>
                  <a:lnTo>
                    <a:pt x="164" y="41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9"/>
                  </a:lnTo>
                  <a:lnTo>
                    <a:pt x="169" y="39"/>
                  </a:lnTo>
                  <a:lnTo>
                    <a:pt x="169" y="39"/>
                  </a:lnTo>
                  <a:lnTo>
                    <a:pt x="169" y="39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1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close/>
                  <a:moveTo>
                    <a:pt x="193" y="32"/>
                  </a:moveTo>
                  <a:lnTo>
                    <a:pt x="193" y="32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8" y="32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6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8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6"/>
                  </a:lnTo>
                  <a:lnTo>
                    <a:pt x="196" y="36"/>
                  </a:lnTo>
                  <a:lnTo>
                    <a:pt x="196" y="36"/>
                  </a:lnTo>
                  <a:lnTo>
                    <a:pt x="196" y="36"/>
                  </a:lnTo>
                  <a:lnTo>
                    <a:pt x="196" y="36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6" y="39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6" y="41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91" y="39"/>
                  </a:lnTo>
                  <a:lnTo>
                    <a:pt x="189" y="39"/>
                  </a:lnTo>
                  <a:lnTo>
                    <a:pt x="189" y="39"/>
                  </a:lnTo>
                  <a:lnTo>
                    <a:pt x="189" y="41"/>
                  </a:lnTo>
                  <a:lnTo>
                    <a:pt x="187" y="41"/>
                  </a:lnTo>
                  <a:lnTo>
                    <a:pt x="187" y="41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7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3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0" y="43"/>
                  </a:lnTo>
                  <a:lnTo>
                    <a:pt x="180" y="43"/>
                  </a:lnTo>
                  <a:lnTo>
                    <a:pt x="180" y="41"/>
                  </a:lnTo>
                  <a:lnTo>
                    <a:pt x="180" y="41"/>
                  </a:lnTo>
                  <a:lnTo>
                    <a:pt x="180" y="41"/>
                  </a:lnTo>
                  <a:lnTo>
                    <a:pt x="180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39"/>
                  </a:lnTo>
                  <a:lnTo>
                    <a:pt x="187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4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9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2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2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7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7" y="36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9" y="34"/>
                  </a:lnTo>
                  <a:lnTo>
                    <a:pt x="187" y="34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89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3" y="34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3" y="32"/>
                  </a:lnTo>
                  <a:close/>
                  <a:moveTo>
                    <a:pt x="209" y="25"/>
                  </a:moveTo>
                  <a:lnTo>
                    <a:pt x="209" y="25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30"/>
                  </a:lnTo>
                  <a:lnTo>
                    <a:pt x="211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7" y="32"/>
                  </a:lnTo>
                  <a:lnTo>
                    <a:pt x="207" y="32"/>
                  </a:lnTo>
                  <a:lnTo>
                    <a:pt x="207" y="32"/>
                  </a:lnTo>
                  <a:lnTo>
                    <a:pt x="205" y="32"/>
                  </a:lnTo>
                  <a:lnTo>
                    <a:pt x="205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8" y="30"/>
                  </a:lnTo>
                  <a:lnTo>
                    <a:pt x="198" y="30"/>
                  </a:lnTo>
                  <a:lnTo>
                    <a:pt x="200" y="30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2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0" y="30"/>
                  </a:lnTo>
                  <a:lnTo>
                    <a:pt x="200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5" y="30"/>
                  </a:lnTo>
                  <a:lnTo>
                    <a:pt x="207" y="30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2" y="30"/>
                  </a:lnTo>
                  <a:lnTo>
                    <a:pt x="202" y="30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7" y="30"/>
                  </a:lnTo>
                  <a:lnTo>
                    <a:pt x="207" y="30"/>
                  </a:lnTo>
                  <a:lnTo>
                    <a:pt x="209" y="30"/>
                  </a:lnTo>
                  <a:lnTo>
                    <a:pt x="207" y="30"/>
                  </a:lnTo>
                  <a:lnTo>
                    <a:pt x="207" y="30"/>
                  </a:lnTo>
                  <a:lnTo>
                    <a:pt x="207" y="30"/>
                  </a:lnTo>
                  <a:lnTo>
                    <a:pt x="207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9" y="25"/>
                  </a:lnTo>
                  <a:lnTo>
                    <a:pt x="207" y="25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09" y="25"/>
                  </a:lnTo>
                  <a:close/>
                  <a:moveTo>
                    <a:pt x="236" y="27"/>
                  </a:moveTo>
                  <a:lnTo>
                    <a:pt x="236" y="27"/>
                  </a:lnTo>
                  <a:lnTo>
                    <a:pt x="236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5"/>
                  </a:lnTo>
                  <a:lnTo>
                    <a:pt x="234" y="25"/>
                  </a:lnTo>
                  <a:lnTo>
                    <a:pt x="234" y="25"/>
                  </a:lnTo>
                  <a:lnTo>
                    <a:pt x="234" y="25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6" y="25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6" y="27"/>
                  </a:lnTo>
                  <a:close/>
                  <a:moveTo>
                    <a:pt x="378" y="27"/>
                  </a:moveTo>
                  <a:lnTo>
                    <a:pt x="378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5" y="27"/>
                  </a:lnTo>
                  <a:lnTo>
                    <a:pt x="375" y="27"/>
                  </a:lnTo>
                  <a:lnTo>
                    <a:pt x="375" y="25"/>
                  </a:lnTo>
                  <a:lnTo>
                    <a:pt x="375" y="25"/>
                  </a:lnTo>
                  <a:lnTo>
                    <a:pt x="375" y="25"/>
                  </a:lnTo>
                  <a:lnTo>
                    <a:pt x="375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5"/>
                  </a:lnTo>
                  <a:lnTo>
                    <a:pt x="378" y="27"/>
                  </a:lnTo>
                  <a:lnTo>
                    <a:pt x="378" y="27"/>
                  </a:lnTo>
                  <a:close/>
                  <a:moveTo>
                    <a:pt x="223" y="25"/>
                  </a:moveTo>
                  <a:lnTo>
                    <a:pt x="218" y="27"/>
                  </a:lnTo>
                  <a:lnTo>
                    <a:pt x="218" y="27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20" y="25"/>
                  </a:lnTo>
                  <a:lnTo>
                    <a:pt x="220" y="25"/>
                  </a:lnTo>
                  <a:lnTo>
                    <a:pt x="220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5" y="23"/>
                  </a:lnTo>
                  <a:lnTo>
                    <a:pt x="223" y="25"/>
                  </a:lnTo>
                  <a:lnTo>
                    <a:pt x="223" y="25"/>
                  </a:lnTo>
                  <a:lnTo>
                    <a:pt x="223" y="25"/>
                  </a:lnTo>
                  <a:lnTo>
                    <a:pt x="223" y="25"/>
                  </a:lnTo>
                  <a:lnTo>
                    <a:pt x="223" y="25"/>
                  </a:lnTo>
                  <a:close/>
                  <a:moveTo>
                    <a:pt x="241" y="23"/>
                  </a:moveTo>
                  <a:lnTo>
                    <a:pt x="241" y="23"/>
                  </a:lnTo>
                  <a:lnTo>
                    <a:pt x="243" y="23"/>
                  </a:lnTo>
                  <a:lnTo>
                    <a:pt x="241" y="23"/>
                  </a:lnTo>
                  <a:lnTo>
                    <a:pt x="241" y="25"/>
                  </a:lnTo>
                  <a:lnTo>
                    <a:pt x="241" y="25"/>
                  </a:lnTo>
                  <a:lnTo>
                    <a:pt x="241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41" y="23"/>
                  </a:lnTo>
                  <a:close/>
                  <a:moveTo>
                    <a:pt x="241" y="23"/>
                  </a:moveTo>
                  <a:lnTo>
                    <a:pt x="241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1" y="23"/>
                  </a:lnTo>
                  <a:close/>
                  <a:moveTo>
                    <a:pt x="214" y="23"/>
                  </a:moveTo>
                  <a:lnTo>
                    <a:pt x="214" y="23"/>
                  </a:lnTo>
                  <a:lnTo>
                    <a:pt x="214" y="23"/>
                  </a:lnTo>
                  <a:lnTo>
                    <a:pt x="214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20" y="23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6" y="27"/>
                  </a:lnTo>
                  <a:lnTo>
                    <a:pt x="214" y="27"/>
                  </a:lnTo>
                  <a:lnTo>
                    <a:pt x="214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09" y="25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09" y="25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4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1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1" y="23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3"/>
                  </a:lnTo>
                  <a:close/>
                  <a:moveTo>
                    <a:pt x="207" y="23"/>
                  </a:move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7" y="23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7" y="23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1"/>
                  </a:lnTo>
                  <a:lnTo>
                    <a:pt x="207" y="23"/>
                  </a:lnTo>
                  <a:close/>
                  <a:moveTo>
                    <a:pt x="238" y="21"/>
                  </a:moveTo>
                  <a:lnTo>
                    <a:pt x="238" y="23"/>
                  </a:lnTo>
                  <a:lnTo>
                    <a:pt x="238" y="23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close/>
                  <a:moveTo>
                    <a:pt x="218" y="21"/>
                  </a:moveTo>
                  <a:lnTo>
                    <a:pt x="218" y="21"/>
                  </a:lnTo>
                  <a:lnTo>
                    <a:pt x="218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8" y="21"/>
                  </a:lnTo>
                  <a:lnTo>
                    <a:pt x="218" y="21"/>
                  </a:lnTo>
                  <a:lnTo>
                    <a:pt x="218" y="21"/>
                  </a:lnTo>
                  <a:lnTo>
                    <a:pt x="218" y="21"/>
                  </a:lnTo>
                  <a:lnTo>
                    <a:pt x="218" y="21"/>
                  </a:lnTo>
                  <a:close/>
                  <a:moveTo>
                    <a:pt x="236" y="21"/>
                  </a:moveTo>
                  <a:lnTo>
                    <a:pt x="238" y="21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4" y="23"/>
                  </a:lnTo>
                  <a:lnTo>
                    <a:pt x="234" y="23"/>
                  </a:lnTo>
                  <a:lnTo>
                    <a:pt x="234" y="23"/>
                  </a:lnTo>
                  <a:lnTo>
                    <a:pt x="234" y="23"/>
                  </a:lnTo>
                  <a:lnTo>
                    <a:pt x="234" y="23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4" y="23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2" y="23"/>
                  </a:lnTo>
                  <a:lnTo>
                    <a:pt x="232" y="23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21"/>
                  </a:lnTo>
                  <a:lnTo>
                    <a:pt x="232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38" y="21"/>
                  </a:lnTo>
                  <a:lnTo>
                    <a:pt x="238" y="21"/>
                  </a:lnTo>
                  <a:lnTo>
                    <a:pt x="236" y="21"/>
                  </a:lnTo>
                  <a:lnTo>
                    <a:pt x="236" y="21"/>
                  </a:lnTo>
                  <a:lnTo>
                    <a:pt x="236" y="21"/>
                  </a:lnTo>
                  <a:lnTo>
                    <a:pt x="236" y="21"/>
                  </a:lnTo>
                  <a:close/>
                  <a:moveTo>
                    <a:pt x="214" y="18"/>
                  </a:move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1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lnTo>
                    <a:pt x="214" y="18"/>
                  </a:lnTo>
                  <a:close/>
                  <a:moveTo>
                    <a:pt x="220" y="18"/>
                  </a:move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3" y="18"/>
                  </a:lnTo>
                  <a:lnTo>
                    <a:pt x="223" y="18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3" y="18"/>
                  </a:lnTo>
                  <a:lnTo>
                    <a:pt x="223" y="18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21"/>
                  </a:lnTo>
                  <a:lnTo>
                    <a:pt x="225" y="21"/>
                  </a:lnTo>
                  <a:lnTo>
                    <a:pt x="225" y="21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7" y="21"/>
                  </a:lnTo>
                  <a:lnTo>
                    <a:pt x="227" y="21"/>
                  </a:lnTo>
                  <a:lnTo>
                    <a:pt x="227" y="21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7" y="23"/>
                  </a:lnTo>
                  <a:lnTo>
                    <a:pt x="225" y="23"/>
                  </a:lnTo>
                  <a:lnTo>
                    <a:pt x="225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3" y="21"/>
                  </a:lnTo>
                  <a:lnTo>
                    <a:pt x="220" y="21"/>
                  </a:lnTo>
                  <a:lnTo>
                    <a:pt x="220" y="21"/>
                  </a:lnTo>
                  <a:lnTo>
                    <a:pt x="220" y="21"/>
                  </a:lnTo>
                  <a:lnTo>
                    <a:pt x="220" y="21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close/>
                  <a:moveTo>
                    <a:pt x="252" y="18"/>
                  </a:moveTo>
                  <a:lnTo>
                    <a:pt x="252" y="18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2" y="16"/>
                  </a:lnTo>
                  <a:lnTo>
                    <a:pt x="252" y="16"/>
                  </a:lnTo>
                  <a:lnTo>
                    <a:pt x="252" y="16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close/>
                  <a:moveTo>
                    <a:pt x="265" y="16"/>
                  </a:move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65" y="18"/>
                  </a:lnTo>
                  <a:lnTo>
                    <a:pt x="261" y="18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3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1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lnTo>
                    <a:pt x="265" y="16"/>
                  </a:lnTo>
                  <a:close/>
                  <a:moveTo>
                    <a:pt x="346" y="14"/>
                  </a:move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close/>
                  <a:moveTo>
                    <a:pt x="277" y="12"/>
                  </a:move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6"/>
                  </a:lnTo>
                  <a:lnTo>
                    <a:pt x="277" y="16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7" y="16"/>
                  </a:lnTo>
                  <a:lnTo>
                    <a:pt x="274" y="18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2" y="18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68" y="16"/>
                  </a:lnTo>
                  <a:lnTo>
                    <a:pt x="270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68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0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4" y="14"/>
                  </a:lnTo>
                  <a:lnTo>
                    <a:pt x="274" y="14"/>
                  </a:lnTo>
                  <a:lnTo>
                    <a:pt x="274" y="14"/>
                  </a:lnTo>
                  <a:lnTo>
                    <a:pt x="274" y="14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4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7" y="12"/>
                  </a:lnTo>
                  <a:lnTo>
                    <a:pt x="277" y="12"/>
                  </a:lnTo>
                  <a:lnTo>
                    <a:pt x="277" y="12"/>
                  </a:lnTo>
                  <a:close/>
                  <a:moveTo>
                    <a:pt x="281" y="9"/>
                  </a:move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3" y="9"/>
                  </a:lnTo>
                  <a:lnTo>
                    <a:pt x="283" y="9"/>
                  </a:lnTo>
                  <a:lnTo>
                    <a:pt x="283" y="9"/>
                  </a:lnTo>
                  <a:lnTo>
                    <a:pt x="283" y="9"/>
                  </a:lnTo>
                  <a:lnTo>
                    <a:pt x="283" y="9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3" y="12"/>
                  </a:lnTo>
                  <a:lnTo>
                    <a:pt x="283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1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12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81" y="9"/>
                  </a:lnTo>
                  <a:close/>
                  <a:moveTo>
                    <a:pt x="274" y="7"/>
                  </a:move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4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68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70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5" y="14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3" y="12"/>
                  </a:lnTo>
                  <a:lnTo>
                    <a:pt x="263" y="12"/>
                  </a:lnTo>
                  <a:lnTo>
                    <a:pt x="263" y="12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3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61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2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9" y="14"/>
                  </a:lnTo>
                  <a:lnTo>
                    <a:pt x="256" y="14"/>
                  </a:lnTo>
                  <a:lnTo>
                    <a:pt x="256" y="14"/>
                  </a:lnTo>
                  <a:lnTo>
                    <a:pt x="256" y="14"/>
                  </a:lnTo>
                  <a:lnTo>
                    <a:pt x="256" y="14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56" y="12"/>
                  </a:lnTo>
                  <a:lnTo>
                    <a:pt x="259" y="12"/>
                  </a:lnTo>
                  <a:lnTo>
                    <a:pt x="259" y="12"/>
                  </a:lnTo>
                  <a:lnTo>
                    <a:pt x="259" y="12"/>
                  </a:lnTo>
                  <a:lnTo>
                    <a:pt x="256" y="12"/>
                  </a:lnTo>
                  <a:lnTo>
                    <a:pt x="259" y="12"/>
                  </a:lnTo>
                  <a:lnTo>
                    <a:pt x="259" y="12"/>
                  </a:lnTo>
                  <a:lnTo>
                    <a:pt x="256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4" y="12"/>
                  </a:lnTo>
                  <a:lnTo>
                    <a:pt x="252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6" y="12"/>
                  </a:lnTo>
                  <a:lnTo>
                    <a:pt x="256" y="12"/>
                  </a:lnTo>
                  <a:lnTo>
                    <a:pt x="256" y="12"/>
                  </a:lnTo>
                  <a:lnTo>
                    <a:pt x="256" y="9"/>
                  </a:lnTo>
                  <a:lnTo>
                    <a:pt x="256" y="9"/>
                  </a:lnTo>
                  <a:lnTo>
                    <a:pt x="256" y="9"/>
                  </a:lnTo>
                  <a:lnTo>
                    <a:pt x="256" y="9"/>
                  </a:lnTo>
                  <a:lnTo>
                    <a:pt x="256" y="9"/>
                  </a:lnTo>
                  <a:lnTo>
                    <a:pt x="259" y="9"/>
                  </a:lnTo>
                  <a:lnTo>
                    <a:pt x="261" y="12"/>
                  </a:lnTo>
                  <a:lnTo>
                    <a:pt x="261" y="12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12"/>
                  </a:lnTo>
                  <a:lnTo>
                    <a:pt x="263" y="12"/>
                  </a:lnTo>
                  <a:lnTo>
                    <a:pt x="263" y="12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12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5" y="9"/>
                  </a:lnTo>
                  <a:lnTo>
                    <a:pt x="265" y="7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68" y="9"/>
                  </a:lnTo>
                  <a:lnTo>
                    <a:pt x="270" y="9"/>
                  </a:lnTo>
                  <a:lnTo>
                    <a:pt x="268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68" y="7"/>
                  </a:lnTo>
                  <a:lnTo>
                    <a:pt x="268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0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4" y="7"/>
                  </a:lnTo>
                  <a:lnTo>
                    <a:pt x="274" y="7"/>
                  </a:lnTo>
                  <a:close/>
                  <a:moveTo>
                    <a:pt x="283" y="3"/>
                  </a:moveTo>
                  <a:lnTo>
                    <a:pt x="283" y="3"/>
                  </a:lnTo>
                  <a:lnTo>
                    <a:pt x="286" y="3"/>
                  </a:lnTo>
                  <a:lnTo>
                    <a:pt x="286" y="3"/>
                  </a:lnTo>
                  <a:lnTo>
                    <a:pt x="286" y="5"/>
                  </a:lnTo>
                  <a:lnTo>
                    <a:pt x="283" y="3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6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1" y="5"/>
                  </a:lnTo>
                  <a:lnTo>
                    <a:pt x="281" y="5"/>
                  </a:lnTo>
                  <a:lnTo>
                    <a:pt x="281" y="5"/>
                  </a:lnTo>
                  <a:lnTo>
                    <a:pt x="283" y="5"/>
                  </a:lnTo>
                  <a:lnTo>
                    <a:pt x="283" y="5"/>
                  </a:lnTo>
                  <a:lnTo>
                    <a:pt x="281" y="5"/>
                  </a:lnTo>
                  <a:lnTo>
                    <a:pt x="281" y="5"/>
                  </a:lnTo>
                  <a:lnTo>
                    <a:pt x="281" y="5"/>
                  </a:lnTo>
                  <a:lnTo>
                    <a:pt x="281" y="3"/>
                  </a:lnTo>
                  <a:lnTo>
                    <a:pt x="281" y="3"/>
                  </a:lnTo>
                  <a:lnTo>
                    <a:pt x="281" y="3"/>
                  </a:lnTo>
                  <a:lnTo>
                    <a:pt x="281" y="3"/>
                  </a:lnTo>
                  <a:lnTo>
                    <a:pt x="281" y="3"/>
                  </a:lnTo>
                  <a:lnTo>
                    <a:pt x="281" y="3"/>
                  </a:lnTo>
                  <a:lnTo>
                    <a:pt x="281" y="3"/>
                  </a:lnTo>
                  <a:lnTo>
                    <a:pt x="283" y="3"/>
                  </a:lnTo>
                  <a:lnTo>
                    <a:pt x="283" y="3"/>
                  </a:lnTo>
                  <a:lnTo>
                    <a:pt x="283" y="3"/>
                  </a:lnTo>
                  <a:close/>
                  <a:moveTo>
                    <a:pt x="292" y="3"/>
                  </a:moveTo>
                  <a:lnTo>
                    <a:pt x="292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5" y="3"/>
                  </a:lnTo>
                  <a:lnTo>
                    <a:pt x="295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0" y="3"/>
                  </a:lnTo>
                  <a:lnTo>
                    <a:pt x="290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92" y="0"/>
                  </a:lnTo>
                  <a:lnTo>
                    <a:pt x="292" y="3"/>
                  </a:lnTo>
                  <a:lnTo>
                    <a:pt x="292" y="3"/>
                  </a:lnTo>
                  <a:lnTo>
                    <a:pt x="292" y="3"/>
                  </a:lnTo>
                  <a:close/>
                  <a:moveTo>
                    <a:pt x="346" y="14"/>
                  </a:move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6"/>
                  </a:lnTo>
                  <a:lnTo>
                    <a:pt x="346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3"/>
                  </a:lnTo>
                  <a:lnTo>
                    <a:pt x="346" y="23"/>
                  </a:lnTo>
                  <a:lnTo>
                    <a:pt x="346" y="23"/>
                  </a:lnTo>
                  <a:lnTo>
                    <a:pt x="348" y="23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21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6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48" y="14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1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3" y="14"/>
                  </a:lnTo>
                  <a:lnTo>
                    <a:pt x="351" y="14"/>
                  </a:lnTo>
                  <a:lnTo>
                    <a:pt x="351" y="14"/>
                  </a:lnTo>
                  <a:lnTo>
                    <a:pt x="351" y="12"/>
                  </a:lnTo>
                  <a:lnTo>
                    <a:pt x="351" y="12"/>
                  </a:lnTo>
                  <a:lnTo>
                    <a:pt x="351" y="12"/>
                  </a:lnTo>
                  <a:lnTo>
                    <a:pt x="351" y="12"/>
                  </a:lnTo>
                  <a:lnTo>
                    <a:pt x="351" y="12"/>
                  </a:lnTo>
                  <a:lnTo>
                    <a:pt x="351" y="9"/>
                  </a:lnTo>
                  <a:lnTo>
                    <a:pt x="351" y="9"/>
                  </a:lnTo>
                  <a:lnTo>
                    <a:pt x="351" y="9"/>
                  </a:lnTo>
                  <a:lnTo>
                    <a:pt x="351" y="9"/>
                  </a:lnTo>
                  <a:lnTo>
                    <a:pt x="353" y="9"/>
                  </a:lnTo>
                  <a:lnTo>
                    <a:pt x="353" y="9"/>
                  </a:lnTo>
                  <a:lnTo>
                    <a:pt x="353" y="9"/>
                  </a:lnTo>
                  <a:lnTo>
                    <a:pt x="353" y="9"/>
                  </a:lnTo>
                  <a:lnTo>
                    <a:pt x="351" y="9"/>
                  </a:lnTo>
                  <a:lnTo>
                    <a:pt x="351" y="9"/>
                  </a:lnTo>
                  <a:lnTo>
                    <a:pt x="351" y="9"/>
                  </a:lnTo>
                  <a:lnTo>
                    <a:pt x="351" y="9"/>
                  </a:lnTo>
                  <a:lnTo>
                    <a:pt x="353" y="7"/>
                  </a:lnTo>
                  <a:lnTo>
                    <a:pt x="353" y="7"/>
                  </a:lnTo>
                  <a:lnTo>
                    <a:pt x="353" y="7"/>
                  </a:lnTo>
                  <a:lnTo>
                    <a:pt x="353" y="7"/>
                  </a:lnTo>
                  <a:lnTo>
                    <a:pt x="355" y="7"/>
                  </a:lnTo>
                  <a:lnTo>
                    <a:pt x="357" y="5"/>
                  </a:lnTo>
                  <a:lnTo>
                    <a:pt x="357" y="5"/>
                  </a:lnTo>
                  <a:lnTo>
                    <a:pt x="360" y="7"/>
                  </a:lnTo>
                  <a:lnTo>
                    <a:pt x="360" y="7"/>
                  </a:lnTo>
                  <a:lnTo>
                    <a:pt x="357" y="7"/>
                  </a:lnTo>
                  <a:lnTo>
                    <a:pt x="357" y="7"/>
                  </a:lnTo>
                  <a:lnTo>
                    <a:pt x="360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2" y="7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2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6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71" y="9"/>
                  </a:lnTo>
                  <a:lnTo>
                    <a:pt x="369" y="9"/>
                  </a:lnTo>
                  <a:lnTo>
                    <a:pt x="369" y="12"/>
                  </a:lnTo>
                  <a:lnTo>
                    <a:pt x="369" y="12"/>
                  </a:lnTo>
                  <a:lnTo>
                    <a:pt x="371" y="12"/>
                  </a:lnTo>
                  <a:lnTo>
                    <a:pt x="371" y="12"/>
                  </a:lnTo>
                  <a:lnTo>
                    <a:pt x="371" y="9"/>
                  </a:lnTo>
                  <a:lnTo>
                    <a:pt x="371" y="9"/>
                  </a:lnTo>
                  <a:lnTo>
                    <a:pt x="371" y="9"/>
                  </a:lnTo>
                  <a:lnTo>
                    <a:pt x="373" y="9"/>
                  </a:lnTo>
                  <a:lnTo>
                    <a:pt x="373" y="9"/>
                  </a:lnTo>
                  <a:lnTo>
                    <a:pt x="373" y="9"/>
                  </a:lnTo>
                  <a:lnTo>
                    <a:pt x="375" y="9"/>
                  </a:lnTo>
                  <a:lnTo>
                    <a:pt x="375" y="9"/>
                  </a:lnTo>
                  <a:lnTo>
                    <a:pt x="375" y="9"/>
                  </a:lnTo>
                  <a:lnTo>
                    <a:pt x="375" y="9"/>
                  </a:lnTo>
                  <a:lnTo>
                    <a:pt x="375" y="9"/>
                  </a:lnTo>
                  <a:lnTo>
                    <a:pt x="375" y="12"/>
                  </a:lnTo>
                  <a:lnTo>
                    <a:pt x="378" y="12"/>
                  </a:lnTo>
                  <a:lnTo>
                    <a:pt x="378" y="12"/>
                  </a:lnTo>
                  <a:lnTo>
                    <a:pt x="380" y="12"/>
                  </a:lnTo>
                  <a:lnTo>
                    <a:pt x="378" y="12"/>
                  </a:lnTo>
                  <a:lnTo>
                    <a:pt x="378" y="12"/>
                  </a:lnTo>
                  <a:lnTo>
                    <a:pt x="375" y="12"/>
                  </a:lnTo>
                  <a:lnTo>
                    <a:pt x="375" y="12"/>
                  </a:lnTo>
                  <a:lnTo>
                    <a:pt x="375" y="12"/>
                  </a:lnTo>
                  <a:lnTo>
                    <a:pt x="375" y="12"/>
                  </a:lnTo>
                  <a:lnTo>
                    <a:pt x="375" y="12"/>
                  </a:lnTo>
                  <a:lnTo>
                    <a:pt x="375" y="12"/>
                  </a:lnTo>
                  <a:lnTo>
                    <a:pt x="378" y="14"/>
                  </a:lnTo>
                  <a:lnTo>
                    <a:pt x="375" y="14"/>
                  </a:lnTo>
                  <a:lnTo>
                    <a:pt x="375" y="12"/>
                  </a:lnTo>
                  <a:lnTo>
                    <a:pt x="373" y="12"/>
                  </a:lnTo>
                  <a:lnTo>
                    <a:pt x="373" y="12"/>
                  </a:lnTo>
                  <a:lnTo>
                    <a:pt x="378" y="14"/>
                  </a:lnTo>
                  <a:lnTo>
                    <a:pt x="380" y="12"/>
                  </a:lnTo>
                  <a:lnTo>
                    <a:pt x="382" y="12"/>
                  </a:lnTo>
                  <a:lnTo>
                    <a:pt x="382" y="12"/>
                  </a:lnTo>
                  <a:lnTo>
                    <a:pt x="382" y="14"/>
                  </a:lnTo>
                  <a:lnTo>
                    <a:pt x="382" y="14"/>
                  </a:lnTo>
                  <a:lnTo>
                    <a:pt x="384" y="14"/>
                  </a:lnTo>
                  <a:lnTo>
                    <a:pt x="387" y="14"/>
                  </a:lnTo>
                  <a:lnTo>
                    <a:pt x="387" y="14"/>
                  </a:lnTo>
                  <a:lnTo>
                    <a:pt x="387" y="16"/>
                  </a:lnTo>
                  <a:lnTo>
                    <a:pt x="387" y="14"/>
                  </a:lnTo>
                  <a:lnTo>
                    <a:pt x="387" y="14"/>
                  </a:lnTo>
                  <a:lnTo>
                    <a:pt x="389" y="14"/>
                  </a:lnTo>
                  <a:lnTo>
                    <a:pt x="389" y="14"/>
                  </a:lnTo>
                  <a:lnTo>
                    <a:pt x="389" y="14"/>
                  </a:lnTo>
                  <a:lnTo>
                    <a:pt x="389" y="16"/>
                  </a:lnTo>
                  <a:lnTo>
                    <a:pt x="389" y="16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1" y="16"/>
                  </a:lnTo>
                  <a:lnTo>
                    <a:pt x="391" y="18"/>
                  </a:lnTo>
                  <a:lnTo>
                    <a:pt x="391" y="18"/>
                  </a:lnTo>
                  <a:lnTo>
                    <a:pt x="391" y="18"/>
                  </a:lnTo>
                  <a:lnTo>
                    <a:pt x="389" y="18"/>
                  </a:lnTo>
                  <a:lnTo>
                    <a:pt x="384" y="18"/>
                  </a:lnTo>
                  <a:lnTo>
                    <a:pt x="384" y="18"/>
                  </a:lnTo>
                  <a:lnTo>
                    <a:pt x="384" y="18"/>
                  </a:lnTo>
                  <a:lnTo>
                    <a:pt x="382" y="18"/>
                  </a:lnTo>
                  <a:lnTo>
                    <a:pt x="382" y="18"/>
                  </a:lnTo>
                  <a:lnTo>
                    <a:pt x="382" y="21"/>
                  </a:lnTo>
                  <a:lnTo>
                    <a:pt x="382" y="21"/>
                  </a:lnTo>
                  <a:lnTo>
                    <a:pt x="382" y="21"/>
                  </a:lnTo>
                  <a:lnTo>
                    <a:pt x="382" y="21"/>
                  </a:lnTo>
                  <a:lnTo>
                    <a:pt x="382" y="21"/>
                  </a:lnTo>
                  <a:lnTo>
                    <a:pt x="382" y="21"/>
                  </a:lnTo>
                  <a:lnTo>
                    <a:pt x="378" y="21"/>
                  </a:lnTo>
                  <a:lnTo>
                    <a:pt x="378" y="21"/>
                  </a:lnTo>
                  <a:lnTo>
                    <a:pt x="378" y="23"/>
                  </a:lnTo>
                  <a:lnTo>
                    <a:pt x="378" y="23"/>
                  </a:lnTo>
                  <a:lnTo>
                    <a:pt x="380" y="23"/>
                  </a:lnTo>
                  <a:lnTo>
                    <a:pt x="364" y="21"/>
                  </a:lnTo>
                  <a:lnTo>
                    <a:pt x="364" y="21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60" y="21"/>
                  </a:lnTo>
                  <a:lnTo>
                    <a:pt x="360" y="21"/>
                  </a:lnTo>
                  <a:lnTo>
                    <a:pt x="360" y="21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4" y="23"/>
                  </a:lnTo>
                  <a:lnTo>
                    <a:pt x="366" y="23"/>
                  </a:lnTo>
                  <a:lnTo>
                    <a:pt x="369" y="23"/>
                  </a:lnTo>
                  <a:lnTo>
                    <a:pt x="373" y="23"/>
                  </a:lnTo>
                  <a:lnTo>
                    <a:pt x="373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69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1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5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30"/>
                  </a:lnTo>
                  <a:lnTo>
                    <a:pt x="373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1" y="30"/>
                  </a:lnTo>
                  <a:lnTo>
                    <a:pt x="373" y="30"/>
                  </a:lnTo>
                  <a:lnTo>
                    <a:pt x="373" y="30"/>
                  </a:lnTo>
                  <a:lnTo>
                    <a:pt x="373" y="27"/>
                  </a:lnTo>
                  <a:lnTo>
                    <a:pt x="375" y="27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78" y="30"/>
                  </a:lnTo>
                  <a:lnTo>
                    <a:pt x="380" y="30"/>
                  </a:lnTo>
                  <a:lnTo>
                    <a:pt x="380" y="30"/>
                  </a:lnTo>
                  <a:lnTo>
                    <a:pt x="380" y="30"/>
                  </a:lnTo>
                  <a:lnTo>
                    <a:pt x="380" y="30"/>
                  </a:lnTo>
                  <a:lnTo>
                    <a:pt x="380" y="30"/>
                  </a:lnTo>
                  <a:lnTo>
                    <a:pt x="382" y="30"/>
                  </a:lnTo>
                  <a:lnTo>
                    <a:pt x="382" y="30"/>
                  </a:lnTo>
                  <a:lnTo>
                    <a:pt x="382" y="30"/>
                  </a:lnTo>
                  <a:lnTo>
                    <a:pt x="382" y="30"/>
                  </a:lnTo>
                  <a:lnTo>
                    <a:pt x="380" y="30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2" y="27"/>
                  </a:lnTo>
                  <a:lnTo>
                    <a:pt x="382" y="27"/>
                  </a:lnTo>
                  <a:lnTo>
                    <a:pt x="382" y="27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0" y="27"/>
                  </a:lnTo>
                  <a:lnTo>
                    <a:pt x="380" y="25"/>
                  </a:lnTo>
                  <a:lnTo>
                    <a:pt x="380" y="25"/>
                  </a:lnTo>
                  <a:lnTo>
                    <a:pt x="382" y="25"/>
                  </a:lnTo>
                  <a:lnTo>
                    <a:pt x="382" y="25"/>
                  </a:lnTo>
                  <a:lnTo>
                    <a:pt x="382" y="25"/>
                  </a:lnTo>
                  <a:lnTo>
                    <a:pt x="382" y="25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2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4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89" y="27"/>
                  </a:lnTo>
                  <a:lnTo>
                    <a:pt x="391" y="27"/>
                  </a:lnTo>
                  <a:lnTo>
                    <a:pt x="391" y="27"/>
                  </a:lnTo>
                  <a:lnTo>
                    <a:pt x="391" y="27"/>
                  </a:lnTo>
                  <a:lnTo>
                    <a:pt x="391" y="27"/>
                  </a:lnTo>
                  <a:lnTo>
                    <a:pt x="391" y="30"/>
                  </a:lnTo>
                  <a:lnTo>
                    <a:pt x="391" y="30"/>
                  </a:lnTo>
                  <a:lnTo>
                    <a:pt x="391" y="30"/>
                  </a:lnTo>
                  <a:lnTo>
                    <a:pt x="391" y="30"/>
                  </a:lnTo>
                  <a:lnTo>
                    <a:pt x="393" y="30"/>
                  </a:lnTo>
                  <a:lnTo>
                    <a:pt x="393" y="30"/>
                  </a:lnTo>
                  <a:lnTo>
                    <a:pt x="393" y="32"/>
                  </a:lnTo>
                  <a:lnTo>
                    <a:pt x="393" y="32"/>
                  </a:lnTo>
                  <a:lnTo>
                    <a:pt x="393" y="32"/>
                  </a:lnTo>
                  <a:lnTo>
                    <a:pt x="393" y="32"/>
                  </a:lnTo>
                  <a:lnTo>
                    <a:pt x="391" y="32"/>
                  </a:lnTo>
                  <a:lnTo>
                    <a:pt x="387" y="32"/>
                  </a:lnTo>
                  <a:lnTo>
                    <a:pt x="387" y="32"/>
                  </a:lnTo>
                  <a:lnTo>
                    <a:pt x="384" y="32"/>
                  </a:lnTo>
                  <a:lnTo>
                    <a:pt x="382" y="30"/>
                  </a:lnTo>
                  <a:lnTo>
                    <a:pt x="382" y="30"/>
                  </a:lnTo>
                  <a:lnTo>
                    <a:pt x="382" y="30"/>
                  </a:lnTo>
                  <a:lnTo>
                    <a:pt x="380" y="30"/>
                  </a:lnTo>
                  <a:lnTo>
                    <a:pt x="380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2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0" y="36"/>
                  </a:lnTo>
                  <a:lnTo>
                    <a:pt x="380" y="36"/>
                  </a:lnTo>
                  <a:lnTo>
                    <a:pt x="380" y="36"/>
                  </a:lnTo>
                  <a:lnTo>
                    <a:pt x="380" y="36"/>
                  </a:lnTo>
                  <a:lnTo>
                    <a:pt x="378" y="36"/>
                  </a:lnTo>
                  <a:lnTo>
                    <a:pt x="375" y="36"/>
                  </a:lnTo>
                  <a:lnTo>
                    <a:pt x="375" y="36"/>
                  </a:lnTo>
                  <a:lnTo>
                    <a:pt x="375" y="36"/>
                  </a:lnTo>
                  <a:lnTo>
                    <a:pt x="371" y="36"/>
                  </a:lnTo>
                  <a:lnTo>
                    <a:pt x="371" y="36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1"/>
                  </a:lnTo>
                  <a:lnTo>
                    <a:pt x="371" y="41"/>
                  </a:lnTo>
                  <a:lnTo>
                    <a:pt x="371" y="41"/>
                  </a:lnTo>
                  <a:lnTo>
                    <a:pt x="371" y="41"/>
                  </a:lnTo>
                  <a:lnTo>
                    <a:pt x="369" y="41"/>
                  </a:lnTo>
                  <a:lnTo>
                    <a:pt x="369" y="43"/>
                  </a:lnTo>
                  <a:lnTo>
                    <a:pt x="369" y="43"/>
                  </a:lnTo>
                  <a:lnTo>
                    <a:pt x="366" y="43"/>
                  </a:lnTo>
                  <a:lnTo>
                    <a:pt x="366" y="43"/>
                  </a:lnTo>
                  <a:lnTo>
                    <a:pt x="366" y="43"/>
                  </a:lnTo>
                  <a:lnTo>
                    <a:pt x="364" y="41"/>
                  </a:lnTo>
                  <a:lnTo>
                    <a:pt x="364" y="41"/>
                  </a:lnTo>
                  <a:lnTo>
                    <a:pt x="364" y="41"/>
                  </a:lnTo>
                  <a:lnTo>
                    <a:pt x="364" y="39"/>
                  </a:lnTo>
                  <a:lnTo>
                    <a:pt x="364" y="39"/>
                  </a:lnTo>
                  <a:lnTo>
                    <a:pt x="364" y="39"/>
                  </a:lnTo>
                  <a:lnTo>
                    <a:pt x="369" y="36"/>
                  </a:lnTo>
                  <a:lnTo>
                    <a:pt x="371" y="34"/>
                  </a:lnTo>
                  <a:lnTo>
                    <a:pt x="366" y="32"/>
                  </a:lnTo>
                  <a:lnTo>
                    <a:pt x="366" y="30"/>
                  </a:lnTo>
                  <a:lnTo>
                    <a:pt x="366" y="30"/>
                  </a:lnTo>
                  <a:lnTo>
                    <a:pt x="355" y="27"/>
                  </a:lnTo>
                  <a:lnTo>
                    <a:pt x="355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5"/>
                  </a:lnTo>
                  <a:lnTo>
                    <a:pt x="351" y="25"/>
                  </a:lnTo>
                  <a:lnTo>
                    <a:pt x="351" y="25"/>
                  </a:lnTo>
                  <a:lnTo>
                    <a:pt x="346" y="23"/>
                  </a:lnTo>
                  <a:lnTo>
                    <a:pt x="346" y="23"/>
                  </a:lnTo>
                  <a:lnTo>
                    <a:pt x="344" y="23"/>
                  </a:lnTo>
                  <a:lnTo>
                    <a:pt x="344" y="23"/>
                  </a:lnTo>
                  <a:lnTo>
                    <a:pt x="344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39" y="23"/>
                  </a:lnTo>
                  <a:lnTo>
                    <a:pt x="339" y="23"/>
                  </a:lnTo>
                  <a:lnTo>
                    <a:pt x="339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5"/>
                  </a:lnTo>
                  <a:lnTo>
                    <a:pt x="337" y="25"/>
                  </a:lnTo>
                  <a:lnTo>
                    <a:pt x="337" y="25"/>
                  </a:lnTo>
                  <a:lnTo>
                    <a:pt x="337" y="25"/>
                  </a:lnTo>
                  <a:lnTo>
                    <a:pt x="337" y="25"/>
                  </a:lnTo>
                  <a:lnTo>
                    <a:pt x="333" y="25"/>
                  </a:lnTo>
                  <a:lnTo>
                    <a:pt x="333" y="25"/>
                  </a:lnTo>
                  <a:lnTo>
                    <a:pt x="333" y="25"/>
                  </a:lnTo>
                  <a:lnTo>
                    <a:pt x="333" y="25"/>
                  </a:lnTo>
                  <a:lnTo>
                    <a:pt x="330" y="25"/>
                  </a:lnTo>
                  <a:lnTo>
                    <a:pt x="330" y="25"/>
                  </a:lnTo>
                  <a:lnTo>
                    <a:pt x="330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6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7"/>
                  </a:lnTo>
                  <a:lnTo>
                    <a:pt x="322" y="27"/>
                  </a:lnTo>
                  <a:lnTo>
                    <a:pt x="322" y="27"/>
                  </a:lnTo>
                  <a:lnTo>
                    <a:pt x="322" y="30"/>
                  </a:lnTo>
                  <a:lnTo>
                    <a:pt x="322" y="30"/>
                  </a:lnTo>
                  <a:lnTo>
                    <a:pt x="322" y="30"/>
                  </a:lnTo>
                  <a:lnTo>
                    <a:pt x="322" y="30"/>
                  </a:lnTo>
                  <a:lnTo>
                    <a:pt x="319" y="30"/>
                  </a:lnTo>
                  <a:lnTo>
                    <a:pt x="317" y="30"/>
                  </a:lnTo>
                  <a:lnTo>
                    <a:pt x="317" y="30"/>
                  </a:lnTo>
                  <a:lnTo>
                    <a:pt x="317" y="30"/>
                  </a:lnTo>
                  <a:lnTo>
                    <a:pt x="317" y="30"/>
                  </a:lnTo>
                  <a:lnTo>
                    <a:pt x="317" y="30"/>
                  </a:lnTo>
                  <a:lnTo>
                    <a:pt x="317" y="30"/>
                  </a:lnTo>
                  <a:lnTo>
                    <a:pt x="319" y="32"/>
                  </a:lnTo>
                  <a:lnTo>
                    <a:pt x="319" y="32"/>
                  </a:lnTo>
                  <a:lnTo>
                    <a:pt x="319" y="32"/>
                  </a:lnTo>
                  <a:lnTo>
                    <a:pt x="317" y="32"/>
                  </a:lnTo>
                  <a:lnTo>
                    <a:pt x="317" y="32"/>
                  </a:lnTo>
                  <a:lnTo>
                    <a:pt x="317" y="32"/>
                  </a:lnTo>
                  <a:lnTo>
                    <a:pt x="317" y="32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7" y="36"/>
                  </a:lnTo>
                  <a:lnTo>
                    <a:pt x="317" y="39"/>
                  </a:lnTo>
                  <a:lnTo>
                    <a:pt x="317" y="39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1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5" y="45"/>
                  </a:lnTo>
                  <a:lnTo>
                    <a:pt x="315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0" y="48"/>
                  </a:lnTo>
                  <a:lnTo>
                    <a:pt x="310" y="48"/>
                  </a:lnTo>
                  <a:lnTo>
                    <a:pt x="310" y="48"/>
                  </a:lnTo>
                  <a:lnTo>
                    <a:pt x="310" y="48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10" y="50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08" y="52"/>
                  </a:lnTo>
                  <a:lnTo>
                    <a:pt x="308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6" y="52"/>
                  </a:lnTo>
                  <a:lnTo>
                    <a:pt x="304" y="50"/>
                  </a:lnTo>
                  <a:lnTo>
                    <a:pt x="301" y="50"/>
                  </a:lnTo>
                  <a:lnTo>
                    <a:pt x="299" y="50"/>
                  </a:lnTo>
                  <a:lnTo>
                    <a:pt x="297" y="50"/>
                  </a:lnTo>
                  <a:lnTo>
                    <a:pt x="295" y="48"/>
                  </a:lnTo>
                  <a:lnTo>
                    <a:pt x="295" y="48"/>
                  </a:lnTo>
                  <a:lnTo>
                    <a:pt x="295" y="48"/>
                  </a:lnTo>
                  <a:lnTo>
                    <a:pt x="290" y="48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6" y="50"/>
                  </a:lnTo>
                  <a:lnTo>
                    <a:pt x="283" y="50"/>
                  </a:lnTo>
                  <a:lnTo>
                    <a:pt x="279" y="52"/>
                  </a:lnTo>
                  <a:lnTo>
                    <a:pt x="279" y="50"/>
                  </a:lnTo>
                  <a:lnTo>
                    <a:pt x="279" y="50"/>
                  </a:lnTo>
                  <a:lnTo>
                    <a:pt x="277" y="50"/>
                  </a:lnTo>
                  <a:lnTo>
                    <a:pt x="277" y="50"/>
                  </a:lnTo>
                  <a:lnTo>
                    <a:pt x="274" y="50"/>
                  </a:lnTo>
                  <a:lnTo>
                    <a:pt x="270" y="50"/>
                  </a:lnTo>
                  <a:lnTo>
                    <a:pt x="270" y="50"/>
                  </a:lnTo>
                  <a:lnTo>
                    <a:pt x="270" y="50"/>
                  </a:lnTo>
                  <a:lnTo>
                    <a:pt x="268" y="50"/>
                  </a:lnTo>
                  <a:lnTo>
                    <a:pt x="268" y="50"/>
                  </a:lnTo>
                  <a:lnTo>
                    <a:pt x="268" y="48"/>
                  </a:lnTo>
                  <a:lnTo>
                    <a:pt x="265" y="48"/>
                  </a:lnTo>
                  <a:lnTo>
                    <a:pt x="265" y="48"/>
                  </a:lnTo>
                  <a:lnTo>
                    <a:pt x="265" y="45"/>
                  </a:lnTo>
                  <a:lnTo>
                    <a:pt x="263" y="45"/>
                  </a:lnTo>
                  <a:lnTo>
                    <a:pt x="263" y="45"/>
                  </a:lnTo>
                  <a:lnTo>
                    <a:pt x="263" y="45"/>
                  </a:lnTo>
                  <a:lnTo>
                    <a:pt x="263" y="43"/>
                  </a:lnTo>
                  <a:lnTo>
                    <a:pt x="261" y="43"/>
                  </a:lnTo>
                  <a:lnTo>
                    <a:pt x="254" y="39"/>
                  </a:lnTo>
                  <a:lnTo>
                    <a:pt x="254" y="39"/>
                  </a:lnTo>
                  <a:lnTo>
                    <a:pt x="247" y="36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7" y="41"/>
                  </a:lnTo>
                  <a:lnTo>
                    <a:pt x="245" y="43"/>
                  </a:lnTo>
                  <a:lnTo>
                    <a:pt x="245" y="43"/>
                  </a:lnTo>
                  <a:lnTo>
                    <a:pt x="245" y="43"/>
                  </a:lnTo>
                  <a:lnTo>
                    <a:pt x="241" y="41"/>
                  </a:lnTo>
                  <a:lnTo>
                    <a:pt x="241" y="41"/>
                  </a:lnTo>
                  <a:lnTo>
                    <a:pt x="238" y="43"/>
                  </a:lnTo>
                  <a:lnTo>
                    <a:pt x="232" y="43"/>
                  </a:lnTo>
                  <a:lnTo>
                    <a:pt x="236" y="45"/>
                  </a:lnTo>
                  <a:lnTo>
                    <a:pt x="236" y="45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4" y="50"/>
                  </a:lnTo>
                  <a:lnTo>
                    <a:pt x="234" y="52"/>
                  </a:lnTo>
                  <a:lnTo>
                    <a:pt x="232" y="52"/>
                  </a:lnTo>
                  <a:lnTo>
                    <a:pt x="236" y="54"/>
                  </a:lnTo>
                  <a:lnTo>
                    <a:pt x="232" y="57"/>
                  </a:lnTo>
                  <a:lnTo>
                    <a:pt x="232" y="57"/>
                  </a:lnTo>
                  <a:lnTo>
                    <a:pt x="232" y="57"/>
                  </a:lnTo>
                  <a:lnTo>
                    <a:pt x="223" y="54"/>
                  </a:lnTo>
                  <a:lnTo>
                    <a:pt x="216" y="54"/>
                  </a:lnTo>
                  <a:lnTo>
                    <a:pt x="211" y="54"/>
                  </a:lnTo>
                  <a:lnTo>
                    <a:pt x="211" y="54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4"/>
                  </a:lnTo>
                  <a:lnTo>
                    <a:pt x="202" y="57"/>
                  </a:lnTo>
                  <a:lnTo>
                    <a:pt x="205" y="59"/>
                  </a:lnTo>
                  <a:lnTo>
                    <a:pt x="205" y="61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0" y="63"/>
                  </a:lnTo>
                  <a:lnTo>
                    <a:pt x="200" y="63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89" y="63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2" y="66"/>
                  </a:lnTo>
                  <a:lnTo>
                    <a:pt x="182" y="70"/>
                  </a:lnTo>
                  <a:lnTo>
                    <a:pt x="182" y="70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78" y="72"/>
                  </a:lnTo>
                  <a:lnTo>
                    <a:pt x="175" y="75"/>
                  </a:lnTo>
                  <a:lnTo>
                    <a:pt x="175" y="75"/>
                  </a:lnTo>
                  <a:lnTo>
                    <a:pt x="175" y="75"/>
                  </a:lnTo>
                  <a:lnTo>
                    <a:pt x="180" y="79"/>
                  </a:lnTo>
                  <a:lnTo>
                    <a:pt x="180" y="81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78" y="84"/>
                  </a:lnTo>
                  <a:lnTo>
                    <a:pt x="175" y="86"/>
                  </a:lnTo>
                  <a:lnTo>
                    <a:pt x="175" y="86"/>
                  </a:lnTo>
                  <a:lnTo>
                    <a:pt x="171" y="93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6" y="97"/>
                  </a:lnTo>
                  <a:lnTo>
                    <a:pt x="169" y="99"/>
                  </a:lnTo>
                  <a:lnTo>
                    <a:pt x="169" y="99"/>
                  </a:lnTo>
                  <a:lnTo>
                    <a:pt x="169" y="99"/>
                  </a:lnTo>
                  <a:lnTo>
                    <a:pt x="162" y="102"/>
                  </a:lnTo>
                  <a:lnTo>
                    <a:pt x="153" y="102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5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3" y="120"/>
                  </a:lnTo>
                  <a:lnTo>
                    <a:pt x="153" y="120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4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42" y="135"/>
                  </a:lnTo>
                  <a:lnTo>
                    <a:pt x="149" y="135"/>
                  </a:lnTo>
                  <a:lnTo>
                    <a:pt x="149" y="135"/>
                  </a:lnTo>
                  <a:lnTo>
                    <a:pt x="151" y="138"/>
                  </a:lnTo>
                  <a:lnTo>
                    <a:pt x="151" y="138"/>
                  </a:lnTo>
                  <a:lnTo>
                    <a:pt x="151" y="138"/>
                  </a:lnTo>
                  <a:lnTo>
                    <a:pt x="153" y="142"/>
                  </a:lnTo>
                  <a:lnTo>
                    <a:pt x="153" y="142"/>
                  </a:lnTo>
                  <a:lnTo>
                    <a:pt x="151" y="142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37" y="144"/>
                  </a:lnTo>
                  <a:lnTo>
                    <a:pt x="133" y="144"/>
                  </a:lnTo>
                  <a:lnTo>
                    <a:pt x="131" y="147"/>
                  </a:lnTo>
                  <a:lnTo>
                    <a:pt x="128" y="147"/>
                  </a:lnTo>
                  <a:lnTo>
                    <a:pt x="126" y="151"/>
                  </a:lnTo>
                  <a:lnTo>
                    <a:pt x="124" y="153"/>
                  </a:lnTo>
                  <a:lnTo>
                    <a:pt x="122" y="155"/>
                  </a:lnTo>
                  <a:lnTo>
                    <a:pt x="122" y="158"/>
                  </a:lnTo>
                  <a:lnTo>
                    <a:pt x="122" y="158"/>
                  </a:lnTo>
                  <a:lnTo>
                    <a:pt x="122" y="158"/>
                  </a:lnTo>
                  <a:lnTo>
                    <a:pt x="119" y="162"/>
                  </a:lnTo>
                  <a:lnTo>
                    <a:pt x="124" y="167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71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2" y="176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5"/>
                  </a:lnTo>
                  <a:lnTo>
                    <a:pt x="124" y="196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8" y="196"/>
                  </a:lnTo>
                  <a:lnTo>
                    <a:pt x="128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3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7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28" y="209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4"/>
                  </a:lnTo>
                  <a:lnTo>
                    <a:pt x="131" y="216"/>
                  </a:lnTo>
                  <a:lnTo>
                    <a:pt x="131" y="216"/>
                  </a:lnTo>
                  <a:lnTo>
                    <a:pt x="133" y="218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3" y="230"/>
                  </a:lnTo>
                  <a:lnTo>
                    <a:pt x="133" y="230"/>
                  </a:lnTo>
                  <a:lnTo>
                    <a:pt x="133" y="230"/>
                  </a:lnTo>
                  <a:lnTo>
                    <a:pt x="133" y="232"/>
                  </a:lnTo>
                  <a:lnTo>
                    <a:pt x="131" y="234"/>
                  </a:lnTo>
                  <a:lnTo>
                    <a:pt x="128" y="234"/>
                  </a:lnTo>
                  <a:lnTo>
                    <a:pt x="128" y="234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6"/>
                  </a:lnTo>
                  <a:lnTo>
                    <a:pt x="124" y="236"/>
                  </a:lnTo>
                  <a:lnTo>
                    <a:pt x="124" y="236"/>
                  </a:lnTo>
                  <a:lnTo>
                    <a:pt x="124" y="236"/>
                  </a:lnTo>
                  <a:lnTo>
                    <a:pt x="124" y="236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2" y="241"/>
                  </a:lnTo>
                  <a:lnTo>
                    <a:pt x="122" y="241"/>
                  </a:lnTo>
                  <a:lnTo>
                    <a:pt x="122" y="241"/>
                  </a:lnTo>
                  <a:lnTo>
                    <a:pt x="122" y="241"/>
                  </a:lnTo>
                  <a:lnTo>
                    <a:pt x="124" y="245"/>
                  </a:lnTo>
                  <a:lnTo>
                    <a:pt x="124" y="248"/>
                  </a:lnTo>
                  <a:lnTo>
                    <a:pt x="124" y="248"/>
                  </a:lnTo>
                  <a:lnTo>
                    <a:pt x="124" y="248"/>
                  </a:lnTo>
                  <a:lnTo>
                    <a:pt x="124" y="250"/>
                  </a:lnTo>
                  <a:lnTo>
                    <a:pt x="124" y="250"/>
                  </a:lnTo>
                  <a:lnTo>
                    <a:pt x="124" y="250"/>
                  </a:lnTo>
                  <a:lnTo>
                    <a:pt x="124" y="252"/>
                  </a:lnTo>
                  <a:lnTo>
                    <a:pt x="124" y="252"/>
                  </a:lnTo>
                  <a:lnTo>
                    <a:pt x="122" y="252"/>
                  </a:lnTo>
                  <a:lnTo>
                    <a:pt x="122" y="254"/>
                  </a:lnTo>
                  <a:lnTo>
                    <a:pt x="122" y="254"/>
                  </a:lnTo>
                  <a:lnTo>
                    <a:pt x="122" y="254"/>
                  </a:lnTo>
                  <a:lnTo>
                    <a:pt x="122" y="257"/>
                  </a:lnTo>
                  <a:lnTo>
                    <a:pt x="122" y="257"/>
                  </a:lnTo>
                  <a:lnTo>
                    <a:pt x="119" y="257"/>
                  </a:lnTo>
                  <a:lnTo>
                    <a:pt x="119" y="257"/>
                  </a:lnTo>
                  <a:lnTo>
                    <a:pt x="117" y="257"/>
                  </a:lnTo>
                  <a:lnTo>
                    <a:pt x="117" y="254"/>
                  </a:lnTo>
                  <a:lnTo>
                    <a:pt x="117" y="254"/>
                  </a:lnTo>
                  <a:lnTo>
                    <a:pt x="117" y="254"/>
                  </a:lnTo>
                  <a:lnTo>
                    <a:pt x="117" y="254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5" y="252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0"/>
                  </a:lnTo>
                  <a:lnTo>
                    <a:pt x="113" y="252"/>
                  </a:lnTo>
                  <a:lnTo>
                    <a:pt x="113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10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2"/>
                  </a:lnTo>
                  <a:lnTo>
                    <a:pt x="108" y="252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48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50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6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5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3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4" y="239"/>
                  </a:lnTo>
                  <a:lnTo>
                    <a:pt x="104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4" y="239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4" y="236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4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41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1" y="241"/>
                  </a:lnTo>
                  <a:lnTo>
                    <a:pt x="101" y="243"/>
                  </a:lnTo>
                  <a:lnTo>
                    <a:pt x="101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1"/>
                  </a:lnTo>
                  <a:lnTo>
                    <a:pt x="99" y="241"/>
                  </a:lnTo>
                  <a:lnTo>
                    <a:pt x="99" y="241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99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7" y="239"/>
                  </a:lnTo>
                  <a:lnTo>
                    <a:pt x="99" y="239"/>
                  </a:lnTo>
                  <a:lnTo>
                    <a:pt x="99" y="241"/>
                  </a:lnTo>
                  <a:lnTo>
                    <a:pt x="99" y="241"/>
                  </a:lnTo>
                  <a:lnTo>
                    <a:pt x="99" y="241"/>
                  </a:lnTo>
                  <a:lnTo>
                    <a:pt x="99" y="241"/>
                  </a:lnTo>
                  <a:lnTo>
                    <a:pt x="99" y="241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97" y="241"/>
                  </a:lnTo>
                  <a:lnTo>
                    <a:pt x="97" y="241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7" y="243"/>
                  </a:lnTo>
                  <a:lnTo>
                    <a:pt x="99" y="243"/>
                  </a:lnTo>
                  <a:lnTo>
                    <a:pt x="99" y="243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50"/>
                  </a:lnTo>
                  <a:lnTo>
                    <a:pt x="101" y="250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9" y="248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2"/>
                  </a:lnTo>
                  <a:lnTo>
                    <a:pt x="99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9" y="252"/>
                  </a:lnTo>
                  <a:lnTo>
                    <a:pt x="99" y="252"/>
                  </a:lnTo>
                  <a:lnTo>
                    <a:pt x="99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4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2"/>
                  </a:lnTo>
                  <a:lnTo>
                    <a:pt x="97" y="254"/>
                  </a:lnTo>
                  <a:lnTo>
                    <a:pt x="97" y="254"/>
                  </a:lnTo>
                  <a:lnTo>
                    <a:pt x="97" y="254"/>
                  </a:lnTo>
                  <a:lnTo>
                    <a:pt x="97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7" y="254"/>
                  </a:lnTo>
                  <a:lnTo>
                    <a:pt x="97" y="254"/>
                  </a:lnTo>
                  <a:lnTo>
                    <a:pt x="97" y="252"/>
                  </a:lnTo>
                  <a:lnTo>
                    <a:pt x="95" y="252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5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0" y="254"/>
                  </a:lnTo>
                  <a:lnTo>
                    <a:pt x="90" y="254"/>
                  </a:lnTo>
                  <a:lnTo>
                    <a:pt x="90" y="254"/>
                  </a:lnTo>
                  <a:lnTo>
                    <a:pt x="90" y="254"/>
                  </a:lnTo>
                  <a:lnTo>
                    <a:pt x="90" y="254"/>
                  </a:lnTo>
                  <a:lnTo>
                    <a:pt x="90" y="254"/>
                  </a:lnTo>
                  <a:lnTo>
                    <a:pt x="90" y="252"/>
                  </a:lnTo>
                  <a:lnTo>
                    <a:pt x="90" y="252"/>
                  </a:lnTo>
                  <a:lnTo>
                    <a:pt x="90" y="254"/>
                  </a:lnTo>
                  <a:lnTo>
                    <a:pt x="88" y="254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8" y="252"/>
                  </a:lnTo>
                  <a:lnTo>
                    <a:pt x="86" y="252"/>
                  </a:lnTo>
                  <a:lnTo>
                    <a:pt x="86" y="252"/>
                  </a:lnTo>
                  <a:lnTo>
                    <a:pt x="86" y="252"/>
                  </a:lnTo>
                  <a:lnTo>
                    <a:pt x="86" y="252"/>
                  </a:lnTo>
                  <a:lnTo>
                    <a:pt x="88" y="252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8" y="254"/>
                  </a:lnTo>
                  <a:lnTo>
                    <a:pt x="86" y="254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3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6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1" y="259"/>
                  </a:lnTo>
                  <a:lnTo>
                    <a:pt x="81" y="259"/>
                  </a:lnTo>
                  <a:lnTo>
                    <a:pt x="81" y="259"/>
                  </a:lnTo>
                  <a:lnTo>
                    <a:pt x="81" y="259"/>
                  </a:lnTo>
                  <a:lnTo>
                    <a:pt x="81" y="259"/>
                  </a:lnTo>
                  <a:lnTo>
                    <a:pt x="83" y="259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3" y="259"/>
                  </a:lnTo>
                  <a:lnTo>
                    <a:pt x="81" y="261"/>
                  </a:lnTo>
                  <a:lnTo>
                    <a:pt x="81" y="261"/>
                  </a:lnTo>
                  <a:lnTo>
                    <a:pt x="79" y="259"/>
                  </a:lnTo>
                  <a:lnTo>
                    <a:pt x="79" y="259"/>
                  </a:lnTo>
                  <a:lnTo>
                    <a:pt x="77" y="261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81" y="261"/>
                  </a:lnTo>
                  <a:lnTo>
                    <a:pt x="81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81" y="261"/>
                  </a:lnTo>
                  <a:lnTo>
                    <a:pt x="81" y="261"/>
                  </a:lnTo>
                  <a:lnTo>
                    <a:pt x="79" y="261"/>
                  </a:lnTo>
                  <a:lnTo>
                    <a:pt x="79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2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68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5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5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5"/>
                  </a:lnTo>
                  <a:lnTo>
                    <a:pt x="63" y="275"/>
                  </a:lnTo>
                  <a:lnTo>
                    <a:pt x="63" y="275"/>
                  </a:lnTo>
                  <a:lnTo>
                    <a:pt x="63" y="275"/>
                  </a:lnTo>
                  <a:lnTo>
                    <a:pt x="61" y="275"/>
                  </a:lnTo>
                  <a:lnTo>
                    <a:pt x="61" y="275"/>
                  </a:lnTo>
                  <a:lnTo>
                    <a:pt x="61" y="275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61" y="275"/>
                  </a:lnTo>
                  <a:lnTo>
                    <a:pt x="59" y="275"/>
                  </a:lnTo>
                  <a:lnTo>
                    <a:pt x="56" y="275"/>
                  </a:lnTo>
                  <a:lnTo>
                    <a:pt x="56" y="275"/>
                  </a:lnTo>
                  <a:lnTo>
                    <a:pt x="56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7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5"/>
                  </a:lnTo>
                  <a:lnTo>
                    <a:pt x="54" y="277"/>
                  </a:lnTo>
                  <a:lnTo>
                    <a:pt x="50" y="277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7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3" y="277"/>
                  </a:lnTo>
                  <a:lnTo>
                    <a:pt x="43" y="277"/>
                  </a:lnTo>
                  <a:lnTo>
                    <a:pt x="43" y="277"/>
                  </a:lnTo>
                  <a:lnTo>
                    <a:pt x="43" y="277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5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3" y="275"/>
                  </a:lnTo>
                  <a:lnTo>
                    <a:pt x="43" y="275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41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8" y="275"/>
                  </a:lnTo>
                  <a:lnTo>
                    <a:pt x="36" y="275"/>
                  </a:lnTo>
                  <a:lnTo>
                    <a:pt x="36" y="275"/>
                  </a:lnTo>
                  <a:lnTo>
                    <a:pt x="36" y="275"/>
                  </a:lnTo>
                  <a:lnTo>
                    <a:pt x="36" y="275"/>
                  </a:lnTo>
                  <a:lnTo>
                    <a:pt x="36" y="275"/>
                  </a:lnTo>
                  <a:lnTo>
                    <a:pt x="36" y="272"/>
                  </a:lnTo>
                  <a:lnTo>
                    <a:pt x="36" y="272"/>
                  </a:lnTo>
                  <a:lnTo>
                    <a:pt x="36" y="272"/>
                  </a:lnTo>
                  <a:lnTo>
                    <a:pt x="36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0"/>
                  </a:lnTo>
                  <a:lnTo>
                    <a:pt x="41" y="270"/>
                  </a:lnTo>
                  <a:lnTo>
                    <a:pt x="41" y="270"/>
                  </a:lnTo>
                  <a:lnTo>
                    <a:pt x="41" y="270"/>
                  </a:lnTo>
                  <a:lnTo>
                    <a:pt x="38" y="270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4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29" y="268"/>
                  </a:lnTo>
                  <a:lnTo>
                    <a:pt x="29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25" y="266"/>
                  </a:lnTo>
                  <a:lnTo>
                    <a:pt x="25" y="266"/>
                  </a:lnTo>
                  <a:lnTo>
                    <a:pt x="25" y="266"/>
                  </a:lnTo>
                  <a:lnTo>
                    <a:pt x="25" y="266"/>
                  </a:lnTo>
                  <a:lnTo>
                    <a:pt x="25" y="266"/>
                  </a:lnTo>
                  <a:lnTo>
                    <a:pt x="25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3"/>
                  </a:lnTo>
                  <a:lnTo>
                    <a:pt x="20" y="263"/>
                  </a:lnTo>
                  <a:lnTo>
                    <a:pt x="18" y="263"/>
                  </a:lnTo>
                  <a:lnTo>
                    <a:pt x="18" y="263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6" y="261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8" y="259"/>
                  </a:lnTo>
                  <a:lnTo>
                    <a:pt x="18" y="259"/>
                  </a:lnTo>
                  <a:lnTo>
                    <a:pt x="18" y="259"/>
                  </a:lnTo>
                  <a:lnTo>
                    <a:pt x="18" y="259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20" y="254"/>
                  </a:lnTo>
                  <a:lnTo>
                    <a:pt x="20" y="254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5" y="254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7" y="257"/>
                  </a:lnTo>
                  <a:lnTo>
                    <a:pt x="27" y="259"/>
                  </a:lnTo>
                  <a:lnTo>
                    <a:pt x="29" y="259"/>
                  </a:lnTo>
                  <a:lnTo>
                    <a:pt x="29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9" y="254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7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3" y="254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5" y="252"/>
                  </a:lnTo>
                  <a:lnTo>
                    <a:pt x="25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5" y="252"/>
                  </a:lnTo>
                  <a:lnTo>
                    <a:pt x="25" y="252"/>
                  </a:lnTo>
                  <a:lnTo>
                    <a:pt x="25" y="250"/>
                  </a:lnTo>
                  <a:lnTo>
                    <a:pt x="27" y="250"/>
                  </a:lnTo>
                  <a:lnTo>
                    <a:pt x="27" y="250"/>
                  </a:lnTo>
                  <a:lnTo>
                    <a:pt x="27" y="250"/>
                  </a:lnTo>
                  <a:lnTo>
                    <a:pt x="27" y="248"/>
                  </a:lnTo>
                  <a:lnTo>
                    <a:pt x="29" y="248"/>
                  </a:lnTo>
                  <a:lnTo>
                    <a:pt x="32" y="248"/>
                  </a:lnTo>
                  <a:lnTo>
                    <a:pt x="32" y="248"/>
                  </a:lnTo>
                  <a:lnTo>
                    <a:pt x="34" y="248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8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9" y="245"/>
                  </a:lnTo>
                  <a:lnTo>
                    <a:pt x="29" y="245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32" y="243"/>
                  </a:lnTo>
                  <a:lnTo>
                    <a:pt x="34" y="243"/>
                  </a:lnTo>
                  <a:lnTo>
                    <a:pt x="34" y="241"/>
                  </a:lnTo>
                  <a:lnTo>
                    <a:pt x="32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5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5" y="245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5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0" y="243"/>
                  </a:lnTo>
                  <a:lnTo>
                    <a:pt x="20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20" y="243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18" y="245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20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8"/>
                  </a:lnTo>
                  <a:lnTo>
                    <a:pt x="23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20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8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6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4" y="248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5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39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8" y="241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20" y="239"/>
                  </a:lnTo>
                  <a:lnTo>
                    <a:pt x="20" y="239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0" y="241"/>
                  </a:lnTo>
                  <a:lnTo>
                    <a:pt x="23" y="241"/>
                  </a:lnTo>
                  <a:lnTo>
                    <a:pt x="23" y="241"/>
                  </a:lnTo>
                  <a:lnTo>
                    <a:pt x="23" y="239"/>
                  </a:lnTo>
                  <a:lnTo>
                    <a:pt x="20" y="241"/>
                  </a:lnTo>
                  <a:lnTo>
                    <a:pt x="20" y="239"/>
                  </a:lnTo>
                  <a:lnTo>
                    <a:pt x="20" y="239"/>
                  </a:lnTo>
                  <a:lnTo>
                    <a:pt x="20" y="239"/>
                  </a:lnTo>
                  <a:lnTo>
                    <a:pt x="20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6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3" y="239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7" y="236"/>
                  </a:lnTo>
                  <a:lnTo>
                    <a:pt x="27" y="236"/>
                  </a:lnTo>
                  <a:lnTo>
                    <a:pt x="27" y="236"/>
                  </a:lnTo>
                  <a:lnTo>
                    <a:pt x="27" y="236"/>
                  </a:lnTo>
                  <a:lnTo>
                    <a:pt x="27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9" y="236"/>
                  </a:lnTo>
                  <a:lnTo>
                    <a:pt x="27" y="236"/>
                  </a:lnTo>
                  <a:lnTo>
                    <a:pt x="25" y="236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5" y="236"/>
                  </a:lnTo>
                  <a:lnTo>
                    <a:pt x="25" y="236"/>
                  </a:lnTo>
                  <a:lnTo>
                    <a:pt x="25" y="236"/>
                  </a:lnTo>
                  <a:lnTo>
                    <a:pt x="25" y="236"/>
                  </a:lnTo>
                  <a:lnTo>
                    <a:pt x="25" y="236"/>
                  </a:lnTo>
                  <a:lnTo>
                    <a:pt x="25" y="236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3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20" y="236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3" y="234"/>
                  </a:lnTo>
                  <a:lnTo>
                    <a:pt x="23" y="234"/>
                  </a:lnTo>
                  <a:lnTo>
                    <a:pt x="25" y="234"/>
                  </a:lnTo>
                  <a:lnTo>
                    <a:pt x="25" y="234"/>
                  </a:lnTo>
                  <a:lnTo>
                    <a:pt x="25" y="234"/>
                  </a:lnTo>
                  <a:lnTo>
                    <a:pt x="25" y="232"/>
                  </a:lnTo>
                  <a:lnTo>
                    <a:pt x="25" y="232"/>
                  </a:lnTo>
                  <a:lnTo>
                    <a:pt x="25" y="232"/>
                  </a:lnTo>
                  <a:lnTo>
                    <a:pt x="23" y="232"/>
                  </a:lnTo>
                  <a:lnTo>
                    <a:pt x="25" y="232"/>
                  </a:lnTo>
                  <a:lnTo>
                    <a:pt x="27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5" y="230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32" y="225"/>
                  </a:lnTo>
                  <a:lnTo>
                    <a:pt x="32" y="225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34" y="223"/>
                  </a:lnTo>
                  <a:lnTo>
                    <a:pt x="34" y="223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8" y="223"/>
                  </a:lnTo>
                  <a:lnTo>
                    <a:pt x="41" y="221"/>
                  </a:lnTo>
                  <a:lnTo>
                    <a:pt x="41" y="223"/>
                  </a:lnTo>
                  <a:lnTo>
                    <a:pt x="43" y="223"/>
                  </a:lnTo>
                  <a:lnTo>
                    <a:pt x="43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41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6" y="223"/>
                  </a:lnTo>
                  <a:lnTo>
                    <a:pt x="34" y="223"/>
                  </a:lnTo>
                  <a:lnTo>
                    <a:pt x="34" y="223"/>
                  </a:lnTo>
                  <a:lnTo>
                    <a:pt x="34" y="223"/>
                  </a:lnTo>
                  <a:lnTo>
                    <a:pt x="34" y="223"/>
                  </a:lnTo>
                  <a:lnTo>
                    <a:pt x="36" y="221"/>
                  </a:lnTo>
                  <a:lnTo>
                    <a:pt x="36" y="221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32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5" y="227"/>
                  </a:lnTo>
                  <a:lnTo>
                    <a:pt x="23" y="227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0"/>
                  </a:lnTo>
                  <a:lnTo>
                    <a:pt x="23" y="232"/>
                  </a:lnTo>
                  <a:lnTo>
                    <a:pt x="23" y="232"/>
                  </a:lnTo>
                  <a:lnTo>
                    <a:pt x="23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18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2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30"/>
                  </a:lnTo>
                  <a:lnTo>
                    <a:pt x="20" y="227"/>
                  </a:lnTo>
                  <a:lnTo>
                    <a:pt x="20" y="227"/>
                  </a:lnTo>
                  <a:lnTo>
                    <a:pt x="20" y="227"/>
                  </a:lnTo>
                  <a:lnTo>
                    <a:pt x="20" y="227"/>
                  </a:lnTo>
                  <a:lnTo>
                    <a:pt x="20" y="227"/>
                  </a:lnTo>
                  <a:lnTo>
                    <a:pt x="18" y="227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20" y="227"/>
                  </a:lnTo>
                  <a:lnTo>
                    <a:pt x="20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3"/>
                  </a:lnTo>
                  <a:lnTo>
                    <a:pt x="20" y="223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4" y="227"/>
                  </a:lnTo>
                  <a:lnTo>
                    <a:pt x="14" y="227"/>
                  </a:lnTo>
                  <a:lnTo>
                    <a:pt x="11" y="227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1"/>
                  </a:lnTo>
                  <a:lnTo>
                    <a:pt x="11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1"/>
                  </a:lnTo>
                  <a:lnTo>
                    <a:pt x="14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20" y="223"/>
                  </a:lnTo>
                  <a:lnTo>
                    <a:pt x="20" y="223"/>
                  </a:lnTo>
                  <a:lnTo>
                    <a:pt x="20" y="221"/>
                  </a:lnTo>
                  <a:lnTo>
                    <a:pt x="18" y="221"/>
                  </a:lnTo>
                  <a:lnTo>
                    <a:pt x="18" y="221"/>
                  </a:lnTo>
                  <a:lnTo>
                    <a:pt x="18" y="218"/>
                  </a:lnTo>
                  <a:lnTo>
                    <a:pt x="20" y="218"/>
                  </a:lnTo>
                  <a:lnTo>
                    <a:pt x="20" y="218"/>
                  </a:lnTo>
                  <a:lnTo>
                    <a:pt x="20" y="218"/>
                  </a:lnTo>
                  <a:lnTo>
                    <a:pt x="20" y="218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6" y="216"/>
                  </a:lnTo>
                  <a:lnTo>
                    <a:pt x="16" y="216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6" y="218"/>
                  </a:lnTo>
                  <a:lnTo>
                    <a:pt x="14" y="218"/>
                  </a:lnTo>
                  <a:lnTo>
                    <a:pt x="14" y="221"/>
                  </a:lnTo>
                  <a:lnTo>
                    <a:pt x="11" y="221"/>
                  </a:lnTo>
                  <a:lnTo>
                    <a:pt x="11" y="221"/>
                  </a:lnTo>
                  <a:lnTo>
                    <a:pt x="11" y="221"/>
                  </a:lnTo>
                  <a:lnTo>
                    <a:pt x="11" y="221"/>
                  </a:lnTo>
                  <a:lnTo>
                    <a:pt x="11" y="218"/>
                  </a:lnTo>
                  <a:lnTo>
                    <a:pt x="9" y="218"/>
                  </a:lnTo>
                  <a:lnTo>
                    <a:pt x="9" y="218"/>
                  </a:lnTo>
                  <a:lnTo>
                    <a:pt x="9" y="218"/>
                  </a:lnTo>
                  <a:lnTo>
                    <a:pt x="9" y="218"/>
                  </a:lnTo>
                  <a:lnTo>
                    <a:pt x="9" y="218"/>
                  </a:lnTo>
                  <a:lnTo>
                    <a:pt x="11" y="218"/>
                  </a:lnTo>
                  <a:lnTo>
                    <a:pt x="11" y="218"/>
                  </a:lnTo>
                  <a:lnTo>
                    <a:pt x="9" y="218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9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8"/>
                  </a:lnTo>
                  <a:lnTo>
                    <a:pt x="14" y="216"/>
                  </a:lnTo>
                  <a:lnTo>
                    <a:pt x="14" y="216"/>
                  </a:lnTo>
                  <a:lnTo>
                    <a:pt x="14" y="216"/>
                  </a:lnTo>
                  <a:lnTo>
                    <a:pt x="14" y="216"/>
                  </a:lnTo>
                  <a:lnTo>
                    <a:pt x="14" y="216"/>
                  </a:lnTo>
                  <a:lnTo>
                    <a:pt x="14" y="216"/>
                  </a:lnTo>
                  <a:lnTo>
                    <a:pt x="14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4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4" y="214"/>
                  </a:lnTo>
                  <a:lnTo>
                    <a:pt x="14" y="214"/>
                  </a:lnTo>
                  <a:lnTo>
                    <a:pt x="11" y="214"/>
                  </a:lnTo>
                  <a:lnTo>
                    <a:pt x="11" y="214"/>
                  </a:lnTo>
                  <a:lnTo>
                    <a:pt x="11" y="214"/>
                  </a:lnTo>
                  <a:lnTo>
                    <a:pt x="11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09"/>
                  </a:lnTo>
                  <a:lnTo>
                    <a:pt x="7" y="209"/>
                  </a:lnTo>
                  <a:lnTo>
                    <a:pt x="7" y="209"/>
                  </a:lnTo>
                  <a:lnTo>
                    <a:pt x="7" y="209"/>
                  </a:lnTo>
                  <a:lnTo>
                    <a:pt x="9" y="209"/>
                  </a:lnTo>
                  <a:lnTo>
                    <a:pt x="9" y="209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12"/>
                  </a:lnTo>
                  <a:lnTo>
                    <a:pt x="14" y="212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6" y="209"/>
                  </a:lnTo>
                  <a:lnTo>
                    <a:pt x="16" y="209"/>
                  </a:lnTo>
                  <a:lnTo>
                    <a:pt x="16" y="209"/>
                  </a:lnTo>
                  <a:lnTo>
                    <a:pt x="16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9"/>
                  </a:lnTo>
                  <a:lnTo>
                    <a:pt x="16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7"/>
                  </a:lnTo>
                  <a:lnTo>
                    <a:pt x="20" y="207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9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29" y="209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6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12"/>
                  </a:lnTo>
                  <a:lnTo>
                    <a:pt x="41" y="212"/>
                  </a:lnTo>
                  <a:lnTo>
                    <a:pt x="41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41" y="212"/>
                  </a:lnTo>
                  <a:lnTo>
                    <a:pt x="41" y="212"/>
                  </a:lnTo>
                  <a:lnTo>
                    <a:pt x="41" y="212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3" y="214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3" y="212"/>
                  </a:lnTo>
                  <a:lnTo>
                    <a:pt x="41" y="212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1" y="209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9"/>
                  </a:lnTo>
                  <a:lnTo>
                    <a:pt x="47" y="209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50" y="207"/>
                  </a:lnTo>
                  <a:lnTo>
                    <a:pt x="52" y="207"/>
                  </a:lnTo>
                  <a:lnTo>
                    <a:pt x="52" y="205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50" y="207"/>
                  </a:lnTo>
                  <a:lnTo>
                    <a:pt x="47" y="207"/>
                  </a:lnTo>
                  <a:lnTo>
                    <a:pt x="47" y="207"/>
                  </a:lnTo>
                  <a:lnTo>
                    <a:pt x="45" y="207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0"/>
                  </a:lnTo>
                  <a:lnTo>
                    <a:pt x="47" y="200"/>
                  </a:lnTo>
                  <a:lnTo>
                    <a:pt x="47" y="200"/>
                  </a:lnTo>
                  <a:lnTo>
                    <a:pt x="47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47" y="200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3" y="205"/>
                  </a:lnTo>
                  <a:lnTo>
                    <a:pt x="43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5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3" y="207"/>
                  </a:lnTo>
                  <a:lnTo>
                    <a:pt x="41" y="207"/>
                  </a:lnTo>
                  <a:lnTo>
                    <a:pt x="41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41" y="207"/>
                  </a:lnTo>
                  <a:lnTo>
                    <a:pt x="41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6" y="207"/>
                  </a:lnTo>
                  <a:lnTo>
                    <a:pt x="34" y="207"/>
                  </a:lnTo>
                  <a:lnTo>
                    <a:pt x="32" y="205"/>
                  </a:lnTo>
                  <a:lnTo>
                    <a:pt x="34" y="205"/>
                  </a:lnTo>
                  <a:lnTo>
                    <a:pt x="34" y="205"/>
                  </a:lnTo>
                  <a:lnTo>
                    <a:pt x="34" y="205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4" y="203"/>
                  </a:lnTo>
                  <a:lnTo>
                    <a:pt x="34" y="203"/>
                  </a:lnTo>
                  <a:lnTo>
                    <a:pt x="34" y="205"/>
                  </a:lnTo>
                  <a:lnTo>
                    <a:pt x="34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5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29" y="207"/>
                  </a:lnTo>
                  <a:lnTo>
                    <a:pt x="27" y="207"/>
                  </a:lnTo>
                  <a:lnTo>
                    <a:pt x="27" y="207"/>
                  </a:lnTo>
                  <a:lnTo>
                    <a:pt x="27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3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6" y="207"/>
                  </a:lnTo>
                  <a:lnTo>
                    <a:pt x="16" y="207"/>
                  </a:lnTo>
                  <a:lnTo>
                    <a:pt x="16" y="209"/>
                  </a:lnTo>
                  <a:lnTo>
                    <a:pt x="14" y="209"/>
                  </a:lnTo>
                  <a:lnTo>
                    <a:pt x="14" y="209"/>
                  </a:lnTo>
                  <a:lnTo>
                    <a:pt x="11" y="209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9" y="209"/>
                  </a:lnTo>
                  <a:lnTo>
                    <a:pt x="9" y="209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7" y="207"/>
                  </a:lnTo>
                  <a:lnTo>
                    <a:pt x="7" y="207"/>
                  </a:lnTo>
                  <a:lnTo>
                    <a:pt x="7" y="207"/>
                  </a:lnTo>
                  <a:lnTo>
                    <a:pt x="9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9" y="207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4" y="203"/>
                  </a:lnTo>
                  <a:lnTo>
                    <a:pt x="18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9" y="203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5" y="203"/>
                  </a:lnTo>
                  <a:lnTo>
                    <a:pt x="5" y="203"/>
                  </a:lnTo>
                  <a:lnTo>
                    <a:pt x="7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4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4" y="198"/>
                  </a:lnTo>
                  <a:lnTo>
                    <a:pt x="14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9" y="198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7" y="196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4"/>
                  </a:lnTo>
                  <a:lnTo>
                    <a:pt x="9" y="196"/>
                  </a:lnTo>
                  <a:lnTo>
                    <a:pt x="9" y="196"/>
                  </a:lnTo>
                  <a:lnTo>
                    <a:pt x="9" y="196"/>
                  </a:lnTo>
                  <a:lnTo>
                    <a:pt x="9" y="196"/>
                  </a:lnTo>
                  <a:lnTo>
                    <a:pt x="9" y="196"/>
                  </a:lnTo>
                  <a:lnTo>
                    <a:pt x="9" y="196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7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11" y="194"/>
                  </a:lnTo>
                  <a:lnTo>
                    <a:pt x="11" y="194"/>
                  </a:lnTo>
                  <a:lnTo>
                    <a:pt x="11" y="194"/>
                  </a:lnTo>
                  <a:lnTo>
                    <a:pt x="11" y="194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8" y="194"/>
                  </a:lnTo>
                  <a:lnTo>
                    <a:pt x="20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0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5" y="194"/>
                  </a:lnTo>
                  <a:lnTo>
                    <a:pt x="23" y="194"/>
                  </a:lnTo>
                  <a:lnTo>
                    <a:pt x="23" y="194"/>
                  </a:lnTo>
                  <a:lnTo>
                    <a:pt x="27" y="194"/>
                  </a:lnTo>
                  <a:lnTo>
                    <a:pt x="27" y="194"/>
                  </a:lnTo>
                  <a:lnTo>
                    <a:pt x="29" y="194"/>
                  </a:lnTo>
                  <a:lnTo>
                    <a:pt x="29" y="194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32" y="191"/>
                  </a:lnTo>
                  <a:lnTo>
                    <a:pt x="32" y="194"/>
                  </a:lnTo>
                  <a:lnTo>
                    <a:pt x="32" y="194"/>
                  </a:lnTo>
                  <a:lnTo>
                    <a:pt x="27" y="191"/>
                  </a:lnTo>
                  <a:lnTo>
                    <a:pt x="25" y="191"/>
                  </a:lnTo>
                  <a:lnTo>
                    <a:pt x="25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23" y="191"/>
                  </a:lnTo>
                  <a:lnTo>
                    <a:pt x="16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7" y="191"/>
                  </a:lnTo>
                  <a:lnTo>
                    <a:pt x="9" y="191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4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9" y="187"/>
                  </a:lnTo>
                  <a:lnTo>
                    <a:pt x="7" y="187"/>
                  </a:lnTo>
                  <a:lnTo>
                    <a:pt x="7" y="187"/>
                  </a:lnTo>
                  <a:lnTo>
                    <a:pt x="7" y="187"/>
                  </a:lnTo>
                  <a:lnTo>
                    <a:pt x="7" y="187"/>
                  </a:lnTo>
                  <a:lnTo>
                    <a:pt x="9" y="187"/>
                  </a:lnTo>
                  <a:lnTo>
                    <a:pt x="7" y="187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7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20" y="189"/>
                  </a:lnTo>
                  <a:lnTo>
                    <a:pt x="20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5" y="187"/>
                  </a:lnTo>
                  <a:lnTo>
                    <a:pt x="25" y="187"/>
                  </a:lnTo>
                  <a:lnTo>
                    <a:pt x="25" y="187"/>
                  </a:lnTo>
                  <a:lnTo>
                    <a:pt x="29" y="187"/>
                  </a:lnTo>
                  <a:lnTo>
                    <a:pt x="29" y="187"/>
                  </a:lnTo>
                  <a:lnTo>
                    <a:pt x="25" y="187"/>
                  </a:lnTo>
                  <a:lnTo>
                    <a:pt x="25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0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3" y="182"/>
                  </a:lnTo>
                  <a:lnTo>
                    <a:pt x="23" y="182"/>
                  </a:lnTo>
                  <a:lnTo>
                    <a:pt x="23" y="182"/>
                  </a:lnTo>
                  <a:lnTo>
                    <a:pt x="25" y="182"/>
                  </a:lnTo>
                  <a:lnTo>
                    <a:pt x="27" y="182"/>
                  </a:lnTo>
                  <a:lnTo>
                    <a:pt x="27" y="180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5"/>
                  </a:lnTo>
                  <a:lnTo>
                    <a:pt x="29" y="185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32" y="187"/>
                  </a:lnTo>
                  <a:lnTo>
                    <a:pt x="32" y="187"/>
                  </a:lnTo>
                  <a:lnTo>
                    <a:pt x="32" y="187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2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2" y="180"/>
                  </a:lnTo>
                  <a:lnTo>
                    <a:pt x="34" y="180"/>
                  </a:lnTo>
                  <a:lnTo>
                    <a:pt x="34" y="180"/>
                  </a:lnTo>
                  <a:lnTo>
                    <a:pt x="34" y="180"/>
                  </a:lnTo>
                  <a:lnTo>
                    <a:pt x="34" y="180"/>
                  </a:lnTo>
                  <a:lnTo>
                    <a:pt x="34" y="180"/>
                  </a:lnTo>
                  <a:lnTo>
                    <a:pt x="36" y="180"/>
                  </a:lnTo>
                  <a:lnTo>
                    <a:pt x="36" y="180"/>
                  </a:lnTo>
                  <a:lnTo>
                    <a:pt x="36" y="180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3" y="187"/>
                  </a:lnTo>
                  <a:lnTo>
                    <a:pt x="41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8" y="185"/>
                  </a:lnTo>
                  <a:lnTo>
                    <a:pt x="41" y="185"/>
                  </a:lnTo>
                  <a:lnTo>
                    <a:pt x="41" y="185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3" y="185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3" y="182"/>
                  </a:lnTo>
                  <a:lnTo>
                    <a:pt x="41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0"/>
                  </a:lnTo>
                  <a:lnTo>
                    <a:pt x="38" y="180"/>
                  </a:lnTo>
                  <a:lnTo>
                    <a:pt x="38" y="180"/>
                  </a:lnTo>
                  <a:lnTo>
                    <a:pt x="38" y="180"/>
                  </a:lnTo>
                  <a:lnTo>
                    <a:pt x="36" y="180"/>
                  </a:lnTo>
                  <a:lnTo>
                    <a:pt x="36" y="180"/>
                  </a:lnTo>
                  <a:lnTo>
                    <a:pt x="36" y="180"/>
                  </a:lnTo>
                  <a:lnTo>
                    <a:pt x="34" y="180"/>
                  </a:lnTo>
                  <a:lnTo>
                    <a:pt x="34" y="180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4" y="178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5" y="180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9" y="178"/>
                  </a:lnTo>
                  <a:lnTo>
                    <a:pt x="29" y="178"/>
                  </a:lnTo>
                  <a:lnTo>
                    <a:pt x="29" y="178"/>
                  </a:lnTo>
                  <a:lnTo>
                    <a:pt x="32" y="178"/>
                  </a:lnTo>
                  <a:lnTo>
                    <a:pt x="32" y="178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2" y="178"/>
                  </a:lnTo>
                  <a:lnTo>
                    <a:pt x="32" y="178"/>
                  </a:lnTo>
                  <a:lnTo>
                    <a:pt x="29" y="178"/>
                  </a:lnTo>
                  <a:lnTo>
                    <a:pt x="29" y="178"/>
                  </a:lnTo>
                  <a:lnTo>
                    <a:pt x="32" y="178"/>
                  </a:lnTo>
                  <a:lnTo>
                    <a:pt x="32" y="178"/>
                  </a:lnTo>
                  <a:lnTo>
                    <a:pt x="32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6"/>
                  </a:lnTo>
                  <a:lnTo>
                    <a:pt x="27" y="176"/>
                  </a:lnTo>
                  <a:lnTo>
                    <a:pt x="27" y="176"/>
                  </a:lnTo>
                  <a:lnTo>
                    <a:pt x="27" y="176"/>
                  </a:lnTo>
                  <a:lnTo>
                    <a:pt x="27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8"/>
                  </a:lnTo>
                  <a:lnTo>
                    <a:pt x="32" y="178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8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38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3" y="176"/>
                  </a:lnTo>
                  <a:lnTo>
                    <a:pt x="43" y="176"/>
                  </a:lnTo>
                  <a:lnTo>
                    <a:pt x="45" y="176"/>
                  </a:lnTo>
                  <a:lnTo>
                    <a:pt x="45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47" y="178"/>
                  </a:lnTo>
                  <a:lnTo>
                    <a:pt x="52" y="176"/>
                  </a:lnTo>
                  <a:lnTo>
                    <a:pt x="50" y="176"/>
                  </a:lnTo>
                  <a:lnTo>
                    <a:pt x="47" y="178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6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52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2" y="173"/>
                  </a:lnTo>
                  <a:lnTo>
                    <a:pt x="50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50" y="171"/>
                  </a:lnTo>
                  <a:lnTo>
                    <a:pt x="50" y="171"/>
                  </a:lnTo>
                  <a:lnTo>
                    <a:pt x="47" y="171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3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43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41" y="169"/>
                  </a:lnTo>
                  <a:lnTo>
                    <a:pt x="41" y="167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3" y="167"/>
                  </a:lnTo>
                  <a:lnTo>
                    <a:pt x="43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47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9" y="171"/>
                  </a:lnTo>
                  <a:lnTo>
                    <a:pt x="59" y="171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3" y="176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3" y="173"/>
                  </a:lnTo>
                  <a:lnTo>
                    <a:pt x="61" y="173"/>
                  </a:lnTo>
                  <a:lnTo>
                    <a:pt x="61" y="171"/>
                  </a:lnTo>
                  <a:lnTo>
                    <a:pt x="59" y="171"/>
                  </a:lnTo>
                  <a:lnTo>
                    <a:pt x="59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61" y="169"/>
                  </a:lnTo>
                  <a:lnTo>
                    <a:pt x="61" y="171"/>
                  </a:lnTo>
                  <a:lnTo>
                    <a:pt x="61" y="171"/>
                  </a:lnTo>
                  <a:lnTo>
                    <a:pt x="61" y="171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1" y="171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3" y="171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5" y="169"/>
                  </a:lnTo>
                  <a:lnTo>
                    <a:pt x="65" y="169"/>
                  </a:lnTo>
                  <a:lnTo>
                    <a:pt x="65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59" y="167"/>
                  </a:lnTo>
                  <a:lnTo>
                    <a:pt x="61" y="167"/>
                  </a:lnTo>
                  <a:lnTo>
                    <a:pt x="61" y="167"/>
                  </a:lnTo>
                  <a:lnTo>
                    <a:pt x="61" y="167"/>
                  </a:lnTo>
                  <a:lnTo>
                    <a:pt x="61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6" y="167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59" y="164"/>
                  </a:lnTo>
                  <a:lnTo>
                    <a:pt x="63" y="164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70" y="162"/>
                  </a:lnTo>
                  <a:lnTo>
                    <a:pt x="65" y="162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1" y="162"/>
                  </a:lnTo>
                  <a:lnTo>
                    <a:pt x="63" y="162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3" y="160"/>
                  </a:lnTo>
                  <a:lnTo>
                    <a:pt x="65" y="160"/>
                  </a:lnTo>
                  <a:lnTo>
                    <a:pt x="65" y="158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68" y="158"/>
                  </a:lnTo>
                  <a:lnTo>
                    <a:pt x="68" y="160"/>
                  </a:lnTo>
                  <a:lnTo>
                    <a:pt x="68" y="160"/>
                  </a:lnTo>
                  <a:lnTo>
                    <a:pt x="68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0" y="158"/>
                  </a:lnTo>
                  <a:lnTo>
                    <a:pt x="72" y="158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2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4" y="160"/>
                  </a:lnTo>
                  <a:lnTo>
                    <a:pt x="77" y="160"/>
                  </a:lnTo>
                  <a:lnTo>
                    <a:pt x="79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4" y="160"/>
                  </a:lnTo>
                  <a:lnTo>
                    <a:pt x="72" y="160"/>
                  </a:lnTo>
                  <a:lnTo>
                    <a:pt x="72" y="160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7" y="158"/>
                  </a:lnTo>
                  <a:lnTo>
                    <a:pt x="79" y="158"/>
                  </a:lnTo>
                  <a:lnTo>
                    <a:pt x="79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4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2" y="158"/>
                  </a:lnTo>
                  <a:lnTo>
                    <a:pt x="74" y="158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7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7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8"/>
                  </a:lnTo>
                  <a:lnTo>
                    <a:pt x="83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60"/>
                  </a:lnTo>
                  <a:lnTo>
                    <a:pt x="86" y="160"/>
                  </a:lnTo>
                  <a:lnTo>
                    <a:pt x="83" y="160"/>
                  </a:lnTo>
                  <a:lnTo>
                    <a:pt x="83" y="160"/>
                  </a:lnTo>
                  <a:lnTo>
                    <a:pt x="86" y="160"/>
                  </a:lnTo>
                  <a:lnTo>
                    <a:pt x="86" y="160"/>
                  </a:lnTo>
                  <a:lnTo>
                    <a:pt x="86" y="160"/>
                  </a:lnTo>
                  <a:lnTo>
                    <a:pt x="86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58"/>
                  </a:lnTo>
                  <a:lnTo>
                    <a:pt x="88" y="158"/>
                  </a:lnTo>
                  <a:lnTo>
                    <a:pt x="88" y="158"/>
                  </a:lnTo>
                  <a:lnTo>
                    <a:pt x="90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5" y="158"/>
                  </a:lnTo>
                  <a:lnTo>
                    <a:pt x="95" y="158"/>
                  </a:lnTo>
                  <a:lnTo>
                    <a:pt x="95" y="158"/>
                  </a:lnTo>
                  <a:lnTo>
                    <a:pt x="95" y="158"/>
                  </a:lnTo>
                  <a:lnTo>
                    <a:pt x="97" y="158"/>
                  </a:lnTo>
                  <a:lnTo>
                    <a:pt x="97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99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9" y="155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4" y="153"/>
                  </a:lnTo>
                  <a:lnTo>
                    <a:pt x="104" y="153"/>
                  </a:lnTo>
                  <a:lnTo>
                    <a:pt x="104" y="153"/>
                  </a:lnTo>
                  <a:lnTo>
                    <a:pt x="104" y="153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10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9"/>
                  </a:lnTo>
                  <a:lnTo>
                    <a:pt x="106" y="149"/>
                  </a:lnTo>
                  <a:lnTo>
                    <a:pt x="106" y="149"/>
                  </a:lnTo>
                  <a:lnTo>
                    <a:pt x="106" y="149"/>
                  </a:lnTo>
                  <a:lnTo>
                    <a:pt x="106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6" y="149"/>
                  </a:lnTo>
                  <a:lnTo>
                    <a:pt x="106" y="149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10" y="147"/>
                  </a:lnTo>
                  <a:lnTo>
                    <a:pt x="110" y="147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8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1" y="147"/>
                  </a:lnTo>
                  <a:lnTo>
                    <a:pt x="101" y="149"/>
                  </a:lnTo>
                  <a:lnTo>
                    <a:pt x="99" y="149"/>
                  </a:lnTo>
                  <a:lnTo>
                    <a:pt x="99" y="149"/>
                  </a:lnTo>
                  <a:lnTo>
                    <a:pt x="99" y="149"/>
                  </a:lnTo>
                  <a:lnTo>
                    <a:pt x="99" y="14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7" y="151"/>
                  </a:lnTo>
                  <a:lnTo>
                    <a:pt x="95" y="151"/>
                  </a:lnTo>
                  <a:lnTo>
                    <a:pt x="95" y="151"/>
                  </a:lnTo>
                  <a:lnTo>
                    <a:pt x="95" y="151"/>
                  </a:lnTo>
                  <a:lnTo>
                    <a:pt x="95" y="151"/>
                  </a:lnTo>
                  <a:lnTo>
                    <a:pt x="97" y="151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7" y="149"/>
                  </a:lnTo>
                  <a:lnTo>
                    <a:pt x="99" y="149"/>
                  </a:lnTo>
                  <a:lnTo>
                    <a:pt x="101" y="149"/>
                  </a:lnTo>
                  <a:lnTo>
                    <a:pt x="101" y="149"/>
                  </a:lnTo>
                  <a:lnTo>
                    <a:pt x="101" y="149"/>
                  </a:lnTo>
                  <a:lnTo>
                    <a:pt x="104" y="149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3"/>
                  </a:lnTo>
                  <a:lnTo>
                    <a:pt x="99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5" y="153"/>
                  </a:lnTo>
                  <a:lnTo>
                    <a:pt x="95" y="155"/>
                  </a:lnTo>
                  <a:lnTo>
                    <a:pt x="95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88" y="155"/>
                  </a:lnTo>
                  <a:lnTo>
                    <a:pt x="88" y="158"/>
                  </a:lnTo>
                  <a:lnTo>
                    <a:pt x="88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8"/>
                  </a:lnTo>
                  <a:lnTo>
                    <a:pt x="86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3" y="153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86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6" y="151"/>
                  </a:lnTo>
                  <a:lnTo>
                    <a:pt x="83" y="151"/>
                  </a:lnTo>
                  <a:lnTo>
                    <a:pt x="83" y="151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81" y="151"/>
                  </a:lnTo>
                  <a:lnTo>
                    <a:pt x="81" y="151"/>
                  </a:lnTo>
                  <a:lnTo>
                    <a:pt x="81" y="151"/>
                  </a:lnTo>
                  <a:lnTo>
                    <a:pt x="79" y="151"/>
                  </a:lnTo>
                  <a:lnTo>
                    <a:pt x="79" y="151"/>
                  </a:lnTo>
                  <a:lnTo>
                    <a:pt x="81" y="151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1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6" y="149"/>
                  </a:lnTo>
                  <a:lnTo>
                    <a:pt x="86" y="149"/>
                  </a:lnTo>
                  <a:lnTo>
                    <a:pt x="88" y="149"/>
                  </a:lnTo>
                  <a:lnTo>
                    <a:pt x="88" y="149"/>
                  </a:lnTo>
                  <a:lnTo>
                    <a:pt x="88" y="149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6" y="147"/>
                  </a:lnTo>
                  <a:lnTo>
                    <a:pt x="86" y="149"/>
                  </a:lnTo>
                  <a:lnTo>
                    <a:pt x="86" y="149"/>
                  </a:lnTo>
                  <a:lnTo>
                    <a:pt x="86" y="149"/>
                  </a:lnTo>
                  <a:lnTo>
                    <a:pt x="86" y="149"/>
                  </a:lnTo>
                  <a:lnTo>
                    <a:pt x="86" y="149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8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3" y="147"/>
                  </a:lnTo>
                  <a:lnTo>
                    <a:pt x="83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7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38"/>
                  </a:lnTo>
                  <a:lnTo>
                    <a:pt x="92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2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9" y="138"/>
                  </a:lnTo>
                  <a:lnTo>
                    <a:pt x="99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8"/>
                  </a:lnTo>
                  <a:lnTo>
                    <a:pt x="97" y="138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8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5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8"/>
                  </a:lnTo>
                  <a:lnTo>
                    <a:pt x="104" y="138"/>
                  </a:lnTo>
                  <a:lnTo>
                    <a:pt x="104" y="138"/>
                  </a:lnTo>
                  <a:lnTo>
                    <a:pt x="104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4" y="140"/>
                  </a:lnTo>
                  <a:lnTo>
                    <a:pt x="106" y="140"/>
                  </a:lnTo>
                  <a:lnTo>
                    <a:pt x="106" y="140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6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10" y="138"/>
                  </a:lnTo>
                  <a:lnTo>
                    <a:pt x="110" y="135"/>
                  </a:lnTo>
                  <a:lnTo>
                    <a:pt x="108" y="138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08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3" y="133"/>
                  </a:lnTo>
                  <a:lnTo>
                    <a:pt x="113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08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6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10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3" y="129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3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10" y="129"/>
                  </a:lnTo>
                  <a:lnTo>
                    <a:pt x="108" y="129"/>
                  </a:lnTo>
                  <a:lnTo>
                    <a:pt x="108" y="129"/>
                  </a:lnTo>
                  <a:lnTo>
                    <a:pt x="108" y="129"/>
                  </a:lnTo>
                  <a:lnTo>
                    <a:pt x="108" y="129"/>
                  </a:lnTo>
                  <a:lnTo>
                    <a:pt x="108" y="129"/>
                  </a:lnTo>
                  <a:lnTo>
                    <a:pt x="108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4" y="131"/>
                  </a:lnTo>
                  <a:lnTo>
                    <a:pt x="104" y="131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29"/>
                  </a:lnTo>
                  <a:lnTo>
                    <a:pt x="106" y="129"/>
                  </a:lnTo>
                  <a:lnTo>
                    <a:pt x="106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8" y="129"/>
                  </a:lnTo>
                  <a:lnTo>
                    <a:pt x="110" y="129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8" y="129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4"/>
                  </a:lnTo>
                  <a:lnTo>
                    <a:pt x="113" y="124"/>
                  </a:lnTo>
                  <a:lnTo>
                    <a:pt x="113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5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22" y="124"/>
                  </a:lnTo>
                  <a:lnTo>
                    <a:pt x="122" y="124"/>
                  </a:lnTo>
                  <a:lnTo>
                    <a:pt x="122" y="124"/>
                  </a:lnTo>
                  <a:lnTo>
                    <a:pt x="124" y="124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4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6" y="122"/>
                  </a:lnTo>
                  <a:lnTo>
                    <a:pt x="128" y="122"/>
                  </a:lnTo>
                  <a:lnTo>
                    <a:pt x="128" y="122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31" y="120"/>
                  </a:lnTo>
                  <a:lnTo>
                    <a:pt x="131" y="117"/>
                  </a:lnTo>
                  <a:lnTo>
                    <a:pt x="131" y="117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8" y="120"/>
                  </a:lnTo>
                  <a:lnTo>
                    <a:pt x="126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20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20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20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3"/>
                  </a:lnTo>
                  <a:lnTo>
                    <a:pt x="124" y="113"/>
                  </a:lnTo>
                  <a:lnTo>
                    <a:pt x="124" y="113"/>
                  </a:lnTo>
                  <a:lnTo>
                    <a:pt x="124" y="113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3"/>
                  </a:lnTo>
                  <a:lnTo>
                    <a:pt x="124" y="113"/>
                  </a:lnTo>
                  <a:lnTo>
                    <a:pt x="124" y="113"/>
                  </a:lnTo>
                  <a:lnTo>
                    <a:pt x="122" y="113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3"/>
                  </a:lnTo>
                  <a:lnTo>
                    <a:pt x="126" y="111"/>
                  </a:lnTo>
                  <a:lnTo>
                    <a:pt x="126" y="111"/>
                  </a:lnTo>
                  <a:lnTo>
                    <a:pt x="126" y="111"/>
                  </a:lnTo>
                  <a:lnTo>
                    <a:pt x="126" y="111"/>
                  </a:lnTo>
                  <a:lnTo>
                    <a:pt x="126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11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6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6"/>
                  </a:lnTo>
                  <a:lnTo>
                    <a:pt x="128" y="106"/>
                  </a:lnTo>
                  <a:lnTo>
                    <a:pt x="128" y="106"/>
                  </a:lnTo>
                  <a:lnTo>
                    <a:pt x="128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6"/>
                  </a:lnTo>
                  <a:lnTo>
                    <a:pt x="133" y="106"/>
                  </a:lnTo>
                  <a:lnTo>
                    <a:pt x="133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28" y="106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31" y="104"/>
                  </a:lnTo>
                  <a:lnTo>
                    <a:pt x="131" y="102"/>
                  </a:lnTo>
                  <a:lnTo>
                    <a:pt x="128" y="102"/>
                  </a:lnTo>
                  <a:lnTo>
                    <a:pt x="128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4" y="104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26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3" y="102"/>
                  </a:lnTo>
                  <a:lnTo>
                    <a:pt x="133" y="102"/>
                  </a:lnTo>
                  <a:lnTo>
                    <a:pt x="133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0" y="102"/>
                  </a:lnTo>
                  <a:lnTo>
                    <a:pt x="140" y="102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6" y="99"/>
                  </a:lnTo>
                  <a:lnTo>
                    <a:pt x="146" y="99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4" y="97"/>
                  </a:lnTo>
                  <a:lnTo>
                    <a:pt x="144" y="97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40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5" y="99"/>
                  </a:lnTo>
                  <a:lnTo>
                    <a:pt x="135" y="99"/>
                  </a:lnTo>
                  <a:lnTo>
                    <a:pt x="135" y="99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28" y="99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31" y="99"/>
                  </a:lnTo>
                  <a:lnTo>
                    <a:pt x="133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5" y="97"/>
                  </a:lnTo>
                  <a:lnTo>
                    <a:pt x="133" y="97"/>
                  </a:lnTo>
                  <a:lnTo>
                    <a:pt x="133" y="97"/>
                  </a:lnTo>
                  <a:lnTo>
                    <a:pt x="133" y="99"/>
                  </a:lnTo>
                  <a:lnTo>
                    <a:pt x="133" y="99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31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31" y="97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5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5"/>
                  </a:lnTo>
                  <a:lnTo>
                    <a:pt x="140" y="95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7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1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5" y="93"/>
                  </a:lnTo>
                  <a:lnTo>
                    <a:pt x="135" y="93"/>
                  </a:lnTo>
                  <a:lnTo>
                    <a:pt x="133" y="93"/>
                  </a:lnTo>
                  <a:lnTo>
                    <a:pt x="133" y="93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3" y="90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7" y="90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3" y="90"/>
                  </a:lnTo>
                  <a:lnTo>
                    <a:pt x="131" y="90"/>
                  </a:lnTo>
                  <a:lnTo>
                    <a:pt x="133" y="90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0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40" y="88"/>
                  </a:lnTo>
                  <a:lnTo>
                    <a:pt x="144" y="88"/>
                  </a:lnTo>
                  <a:lnTo>
                    <a:pt x="142" y="88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5" y="86"/>
                  </a:lnTo>
                  <a:lnTo>
                    <a:pt x="135" y="86"/>
                  </a:lnTo>
                  <a:lnTo>
                    <a:pt x="135" y="86"/>
                  </a:lnTo>
                  <a:lnTo>
                    <a:pt x="135" y="86"/>
                  </a:lnTo>
                  <a:lnTo>
                    <a:pt x="137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4"/>
                  </a:lnTo>
                  <a:lnTo>
                    <a:pt x="140" y="86"/>
                  </a:lnTo>
                  <a:lnTo>
                    <a:pt x="140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4"/>
                  </a:lnTo>
                  <a:lnTo>
                    <a:pt x="142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9" y="84"/>
                  </a:lnTo>
                  <a:lnTo>
                    <a:pt x="149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3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49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1" y="81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6" y="84"/>
                  </a:lnTo>
                  <a:lnTo>
                    <a:pt x="166" y="84"/>
                  </a:lnTo>
                  <a:lnTo>
                    <a:pt x="166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6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9" y="81"/>
                  </a:lnTo>
                  <a:lnTo>
                    <a:pt x="169" y="81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69" y="79"/>
                  </a:lnTo>
                  <a:lnTo>
                    <a:pt x="166" y="79"/>
                  </a:lnTo>
                  <a:lnTo>
                    <a:pt x="166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7"/>
                  </a:lnTo>
                  <a:lnTo>
                    <a:pt x="160" y="77"/>
                  </a:lnTo>
                  <a:lnTo>
                    <a:pt x="158" y="77"/>
                  </a:lnTo>
                  <a:lnTo>
                    <a:pt x="158" y="77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3" y="79"/>
                  </a:lnTo>
                  <a:lnTo>
                    <a:pt x="151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6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7"/>
                  </a:lnTo>
                  <a:lnTo>
                    <a:pt x="151" y="75"/>
                  </a:lnTo>
                  <a:lnTo>
                    <a:pt x="151" y="75"/>
                  </a:lnTo>
                  <a:lnTo>
                    <a:pt x="151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5"/>
                  </a:lnTo>
                  <a:lnTo>
                    <a:pt x="153" y="72"/>
                  </a:lnTo>
                  <a:lnTo>
                    <a:pt x="153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58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0" y="75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4" y="75"/>
                  </a:lnTo>
                  <a:lnTo>
                    <a:pt x="164" y="75"/>
                  </a:lnTo>
                  <a:lnTo>
                    <a:pt x="164" y="75"/>
                  </a:lnTo>
                  <a:lnTo>
                    <a:pt x="164" y="75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9" y="77"/>
                  </a:lnTo>
                  <a:lnTo>
                    <a:pt x="169" y="77"/>
                  </a:lnTo>
                  <a:lnTo>
                    <a:pt x="166" y="79"/>
                  </a:lnTo>
                  <a:lnTo>
                    <a:pt x="166" y="79"/>
                  </a:lnTo>
                  <a:lnTo>
                    <a:pt x="166" y="79"/>
                  </a:lnTo>
                  <a:lnTo>
                    <a:pt x="169" y="79"/>
                  </a:lnTo>
                  <a:lnTo>
                    <a:pt x="169" y="77"/>
                  </a:lnTo>
                  <a:lnTo>
                    <a:pt x="169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5"/>
                  </a:lnTo>
                  <a:lnTo>
                    <a:pt x="164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6" y="75"/>
                  </a:lnTo>
                  <a:lnTo>
                    <a:pt x="169" y="72"/>
                  </a:lnTo>
                  <a:lnTo>
                    <a:pt x="171" y="72"/>
                  </a:lnTo>
                  <a:lnTo>
                    <a:pt x="171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4" y="75"/>
                  </a:lnTo>
                  <a:lnTo>
                    <a:pt x="162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2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0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60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0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9" y="70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58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8" y="68"/>
                  </a:lnTo>
                  <a:lnTo>
                    <a:pt x="158" y="68"/>
                  </a:lnTo>
                  <a:lnTo>
                    <a:pt x="158" y="68"/>
                  </a:lnTo>
                  <a:lnTo>
                    <a:pt x="158" y="68"/>
                  </a:lnTo>
                  <a:lnTo>
                    <a:pt x="155" y="68"/>
                  </a:lnTo>
                  <a:lnTo>
                    <a:pt x="158" y="68"/>
                  </a:lnTo>
                  <a:lnTo>
                    <a:pt x="158" y="68"/>
                  </a:lnTo>
                  <a:lnTo>
                    <a:pt x="155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5" y="68"/>
                  </a:lnTo>
                  <a:lnTo>
                    <a:pt x="155" y="68"/>
                  </a:lnTo>
                  <a:lnTo>
                    <a:pt x="158" y="68"/>
                  </a:lnTo>
                  <a:lnTo>
                    <a:pt x="158" y="66"/>
                  </a:lnTo>
                  <a:lnTo>
                    <a:pt x="158" y="66"/>
                  </a:lnTo>
                  <a:lnTo>
                    <a:pt x="153" y="68"/>
                  </a:lnTo>
                  <a:lnTo>
                    <a:pt x="153" y="66"/>
                  </a:lnTo>
                  <a:lnTo>
                    <a:pt x="153" y="66"/>
                  </a:lnTo>
                  <a:lnTo>
                    <a:pt x="153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5" y="66"/>
                  </a:lnTo>
                  <a:lnTo>
                    <a:pt x="158" y="66"/>
                  </a:lnTo>
                  <a:lnTo>
                    <a:pt x="158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6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6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69" y="66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1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2" y="63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3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6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61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59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1" y="61"/>
                  </a:lnTo>
                  <a:lnTo>
                    <a:pt x="173" y="61"/>
                  </a:lnTo>
                  <a:lnTo>
                    <a:pt x="173" y="61"/>
                  </a:lnTo>
                  <a:lnTo>
                    <a:pt x="173" y="61"/>
                  </a:lnTo>
                  <a:lnTo>
                    <a:pt x="173" y="61"/>
                  </a:lnTo>
                  <a:lnTo>
                    <a:pt x="171" y="61"/>
                  </a:lnTo>
                  <a:lnTo>
                    <a:pt x="173" y="61"/>
                  </a:lnTo>
                  <a:lnTo>
                    <a:pt x="173" y="61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5" y="63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8" y="68"/>
                  </a:lnTo>
                  <a:lnTo>
                    <a:pt x="180" y="68"/>
                  </a:lnTo>
                  <a:lnTo>
                    <a:pt x="180" y="68"/>
                  </a:lnTo>
                  <a:lnTo>
                    <a:pt x="180" y="68"/>
                  </a:lnTo>
                  <a:lnTo>
                    <a:pt x="180" y="68"/>
                  </a:lnTo>
                  <a:lnTo>
                    <a:pt x="178" y="68"/>
                  </a:lnTo>
                  <a:lnTo>
                    <a:pt x="178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6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80" y="63"/>
                  </a:lnTo>
                  <a:lnTo>
                    <a:pt x="180" y="63"/>
                  </a:lnTo>
                  <a:lnTo>
                    <a:pt x="180" y="63"/>
                  </a:lnTo>
                  <a:lnTo>
                    <a:pt x="180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80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80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1"/>
                  </a:lnTo>
                  <a:lnTo>
                    <a:pt x="180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5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80" y="61"/>
                  </a:lnTo>
                  <a:lnTo>
                    <a:pt x="180" y="61"/>
                  </a:lnTo>
                  <a:lnTo>
                    <a:pt x="180" y="61"/>
                  </a:lnTo>
                  <a:lnTo>
                    <a:pt x="180" y="61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8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1" y="59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5" y="59"/>
                  </a:lnTo>
                  <a:lnTo>
                    <a:pt x="178" y="59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80" y="59"/>
                  </a:lnTo>
                  <a:lnTo>
                    <a:pt x="178" y="57"/>
                  </a:lnTo>
                  <a:lnTo>
                    <a:pt x="178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7"/>
                  </a:lnTo>
                  <a:lnTo>
                    <a:pt x="180" y="54"/>
                  </a:lnTo>
                  <a:lnTo>
                    <a:pt x="182" y="54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4" y="57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4" y="57"/>
                  </a:lnTo>
                  <a:lnTo>
                    <a:pt x="187" y="57"/>
                  </a:lnTo>
                  <a:lnTo>
                    <a:pt x="187" y="57"/>
                  </a:lnTo>
                  <a:lnTo>
                    <a:pt x="187" y="57"/>
                  </a:lnTo>
                  <a:lnTo>
                    <a:pt x="187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93" y="59"/>
                  </a:lnTo>
                  <a:lnTo>
                    <a:pt x="191" y="59"/>
                  </a:lnTo>
                  <a:lnTo>
                    <a:pt x="191" y="59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7"/>
                  </a:lnTo>
                  <a:lnTo>
                    <a:pt x="189" y="54"/>
                  </a:lnTo>
                  <a:lnTo>
                    <a:pt x="191" y="54"/>
                  </a:lnTo>
                  <a:lnTo>
                    <a:pt x="193" y="57"/>
                  </a:lnTo>
                  <a:lnTo>
                    <a:pt x="193" y="57"/>
                  </a:lnTo>
                  <a:lnTo>
                    <a:pt x="193" y="57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3" y="54"/>
                  </a:lnTo>
                  <a:lnTo>
                    <a:pt x="196" y="54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6" y="54"/>
                  </a:lnTo>
                  <a:lnTo>
                    <a:pt x="193" y="54"/>
                  </a:lnTo>
                  <a:lnTo>
                    <a:pt x="193" y="52"/>
                  </a:lnTo>
                  <a:lnTo>
                    <a:pt x="193" y="52"/>
                  </a:lnTo>
                  <a:lnTo>
                    <a:pt x="193" y="52"/>
                  </a:lnTo>
                  <a:lnTo>
                    <a:pt x="193" y="52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89" y="54"/>
                  </a:lnTo>
                  <a:lnTo>
                    <a:pt x="187" y="54"/>
                  </a:lnTo>
                  <a:lnTo>
                    <a:pt x="184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0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4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80" y="52"/>
                  </a:lnTo>
                  <a:lnTo>
                    <a:pt x="180" y="52"/>
                  </a:lnTo>
                  <a:lnTo>
                    <a:pt x="180" y="52"/>
                  </a:lnTo>
                  <a:lnTo>
                    <a:pt x="180" y="52"/>
                  </a:lnTo>
                  <a:lnTo>
                    <a:pt x="180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0"/>
                  </a:lnTo>
                  <a:lnTo>
                    <a:pt x="180" y="50"/>
                  </a:lnTo>
                  <a:lnTo>
                    <a:pt x="180" y="50"/>
                  </a:lnTo>
                  <a:lnTo>
                    <a:pt x="182" y="50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9" y="50"/>
                  </a:lnTo>
                  <a:lnTo>
                    <a:pt x="189" y="50"/>
                  </a:lnTo>
                  <a:lnTo>
                    <a:pt x="189" y="50"/>
                  </a:lnTo>
                  <a:lnTo>
                    <a:pt x="189" y="50"/>
                  </a:lnTo>
                  <a:lnTo>
                    <a:pt x="189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3" y="50"/>
                  </a:lnTo>
                  <a:lnTo>
                    <a:pt x="196" y="50"/>
                  </a:lnTo>
                  <a:lnTo>
                    <a:pt x="196" y="50"/>
                  </a:lnTo>
                  <a:lnTo>
                    <a:pt x="193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48"/>
                  </a:lnTo>
                  <a:lnTo>
                    <a:pt x="191" y="48"/>
                  </a:lnTo>
                  <a:lnTo>
                    <a:pt x="189" y="48"/>
                  </a:lnTo>
                  <a:lnTo>
                    <a:pt x="189" y="50"/>
                  </a:lnTo>
                  <a:lnTo>
                    <a:pt x="189" y="50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91" y="48"/>
                  </a:lnTo>
                  <a:lnTo>
                    <a:pt x="191" y="48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6" y="48"/>
                  </a:lnTo>
                  <a:lnTo>
                    <a:pt x="193" y="48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3" y="45"/>
                  </a:lnTo>
                  <a:lnTo>
                    <a:pt x="193" y="45"/>
                  </a:lnTo>
                  <a:lnTo>
                    <a:pt x="193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8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6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3" y="43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3" y="41"/>
                  </a:lnTo>
                  <a:lnTo>
                    <a:pt x="196" y="41"/>
                  </a:lnTo>
                  <a:lnTo>
                    <a:pt x="198" y="41"/>
                  </a:lnTo>
                  <a:lnTo>
                    <a:pt x="198" y="41"/>
                  </a:lnTo>
                  <a:lnTo>
                    <a:pt x="200" y="41"/>
                  </a:lnTo>
                  <a:lnTo>
                    <a:pt x="200" y="41"/>
                  </a:lnTo>
                  <a:lnTo>
                    <a:pt x="200" y="41"/>
                  </a:lnTo>
                  <a:lnTo>
                    <a:pt x="200" y="39"/>
                  </a:lnTo>
                  <a:lnTo>
                    <a:pt x="200" y="39"/>
                  </a:lnTo>
                  <a:lnTo>
                    <a:pt x="200" y="39"/>
                  </a:lnTo>
                  <a:lnTo>
                    <a:pt x="200" y="39"/>
                  </a:lnTo>
                  <a:lnTo>
                    <a:pt x="200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9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4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5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5" y="39"/>
                  </a:lnTo>
                  <a:lnTo>
                    <a:pt x="205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4"/>
                  </a:lnTo>
                  <a:lnTo>
                    <a:pt x="207" y="34"/>
                  </a:lnTo>
                  <a:lnTo>
                    <a:pt x="207" y="34"/>
                  </a:lnTo>
                  <a:lnTo>
                    <a:pt x="207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5" y="32"/>
                  </a:lnTo>
                  <a:lnTo>
                    <a:pt x="205" y="32"/>
                  </a:lnTo>
                  <a:lnTo>
                    <a:pt x="207" y="32"/>
                  </a:lnTo>
                  <a:lnTo>
                    <a:pt x="207" y="32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09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6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20" y="39"/>
                  </a:lnTo>
                  <a:lnTo>
                    <a:pt x="220" y="39"/>
                  </a:lnTo>
                  <a:lnTo>
                    <a:pt x="220" y="39"/>
                  </a:lnTo>
                  <a:lnTo>
                    <a:pt x="220" y="39"/>
                  </a:lnTo>
                  <a:lnTo>
                    <a:pt x="220" y="39"/>
                  </a:lnTo>
                  <a:lnTo>
                    <a:pt x="220" y="39"/>
                  </a:lnTo>
                  <a:lnTo>
                    <a:pt x="220" y="39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6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1" y="34"/>
                  </a:lnTo>
                  <a:lnTo>
                    <a:pt x="214" y="34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4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14" y="27"/>
                  </a:lnTo>
                  <a:lnTo>
                    <a:pt x="214" y="27"/>
                  </a:lnTo>
                  <a:lnTo>
                    <a:pt x="214" y="27"/>
                  </a:lnTo>
                  <a:lnTo>
                    <a:pt x="214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20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23" y="27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0" y="34"/>
                  </a:lnTo>
                  <a:lnTo>
                    <a:pt x="220" y="36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9" y="32"/>
                  </a:lnTo>
                  <a:lnTo>
                    <a:pt x="229" y="32"/>
                  </a:lnTo>
                  <a:lnTo>
                    <a:pt x="229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5" y="32"/>
                  </a:lnTo>
                  <a:lnTo>
                    <a:pt x="225" y="32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30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5"/>
                  </a:lnTo>
                  <a:lnTo>
                    <a:pt x="229" y="23"/>
                  </a:lnTo>
                  <a:lnTo>
                    <a:pt x="232" y="23"/>
                  </a:lnTo>
                  <a:lnTo>
                    <a:pt x="232" y="25"/>
                  </a:lnTo>
                  <a:lnTo>
                    <a:pt x="232" y="25"/>
                  </a:lnTo>
                  <a:lnTo>
                    <a:pt x="234" y="25"/>
                  </a:lnTo>
                  <a:lnTo>
                    <a:pt x="234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30"/>
                  </a:lnTo>
                  <a:lnTo>
                    <a:pt x="232" y="30"/>
                  </a:lnTo>
                  <a:lnTo>
                    <a:pt x="232" y="30"/>
                  </a:lnTo>
                  <a:lnTo>
                    <a:pt x="232" y="30"/>
                  </a:lnTo>
                  <a:lnTo>
                    <a:pt x="232" y="30"/>
                  </a:lnTo>
                  <a:lnTo>
                    <a:pt x="232" y="30"/>
                  </a:lnTo>
                  <a:lnTo>
                    <a:pt x="234" y="30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2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4"/>
                  </a:lnTo>
                  <a:lnTo>
                    <a:pt x="232" y="36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7" y="39"/>
                  </a:lnTo>
                  <a:lnTo>
                    <a:pt x="227" y="39"/>
                  </a:lnTo>
                  <a:lnTo>
                    <a:pt x="227" y="39"/>
                  </a:lnTo>
                  <a:lnTo>
                    <a:pt x="227" y="39"/>
                  </a:lnTo>
                  <a:lnTo>
                    <a:pt x="229" y="39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2" y="36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2"/>
                  </a:lnTo>
                  <a:lnTo>
                    <a:pt x="236" y="32"/>
                  </a:lnTo>
                  <a:lnTo>
                    <a:pt x="236" y="32"/>
                  </a:lnTo>
                  <a:lnTo>
                    <a:pt x="238" y="32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8" y="32"/>
                  </a:lnTo>
                  <a:lnTo>
                    <a:pt x="236" y="32"/>
                  </a:lnTo>
                  <a:lnTo>
                    <a:pt x="236" y="32"/>
                  </a:lnTo>
                  <a:lnTo>
                    <a:pt x="234" y="30"/>
                  </a:lnTo>
                  <a:lnTo>
                    <a:pt x="234" y="30"/>
                  </a:lnTo>
                  <a:lnTo>
                    <a:pt x="234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43" y="25"/>
                  </a:lnTo>
                  <a:lnTo>
                    <a:pt x="243" y="25"/>
                  </a:lnTo>
                  <a:lnTo>
                    <a:pt x="243" y="25"/>
                  </a:lnTo>
                  <a:lnTo>
                    <a:pt x="241" y="25"/>
                  </a:lnTo>
                  <a:lnTo>
                    <a:pt x="241" y="25"/>
                  </a:lnTo>
                  <a:lnTo>
                    <a:pt x="241" y="25"/>
                  </a:lnTo>
                  <a:lnTo>
                    <a:pt x="241" y="25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1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5"/>
                  </a:lnTo>
                  <a:lnTo>
                    <a:pt x="243" y="25"/>
                  </a:lnTo>
                  <a:lnTo>
                    <a:pt x="245" y="25"/>
                  </a:lnTo>
                  <a:lnTo>
                    <a:pt x="245" y="25"/>
                  </a:lnTo>
                  <a:lnTo>
                    <a:pt x="245" y="25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5"/>
                  </a:lnTo>
                  <a:lnTo>
                    <a:pt x="245" y="25"/>
                  </a:lnTo>
                  <a:lnTo>
                    <a:pt x="247" y="25"/>
                  </a:lnTo>
                  <a:lnTo>
                    <a:pt x="245" y="25"/>
                  </a:lnTo>
                  <a:lnTo>
                    <a:pt x="245" y="25"/>
                  </a:lnTo>
                  <a:lnTo>
                    <a:pt x="245" y="25"/>
                  </a:lnTo>
                  <a:lnTo>
                    <a:pt x="245" y="25"/>
                  </a:lnTo>
                  <a:lnTo>
                    <a:pt x="245" y="23"/>
                  </a:lnTo>
                  <a:lnTo>
                    <a:pt x="245" y="23"/>
                  </a:lnTo>
                  <a:lnTo>
                    <a:pt x="245" y="23"/>
                  </a:lnTo>
                  <a:lnTo>
                    <a:pt x="245" y="23"/>
                  </a:lnTo>
                  <a:lnTo>
                    <a:pt x="247" y="23"/>
                  </a:lnTo>
                  <a:lnTo>
                    <a:pt x="250" y="23"/>
                  </a:lnTo>
                  <a:lnTo>
                    <a:pt x="250" y="23"/>
                  </a:lnTo>
                  <a:lnTo>
                    <a:pt x="250" y="23"/>
                  </a:lnTo>
                  <a:lnTo>
                    <a:pt x="250" y="25"/>
                  </a:lnTo>
                  <a:lnTo>
                    <a:pt x="250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5"/>
                  </a:lnTo>
                  <a:lnTo>
                    <a:pt x="252" y="25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9" y="30"/>
                  </a:lnTo>
                  <a:lnTo>
                    <a:pt x="259" y="30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9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9" y="23"/>
                  </a:lnTo>
                  <a:lnTo>
                    <a:pt x="256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1"/>
                  </a:lnTo>
                  <a:lnTo>
                    <a:pt x="256" y="21"/>
                  </a:lnTo>
                  <a:lnTo>
                    <a:pt x="256" y="21"/>
                  </a:lnTo>
                  <a:lnTo>
                    <a:pt x="256" y="21"/>
                  </a:lnTo>
                  <a:lnTo>
                    <a:pt x="256" y="21"/>
                  </a:lnTo>
                  <a:lnTo>
                    <a:pt x="256" y="21"/>
                  </a:lnTo>
                  <a:lnTo>
                    <a:pt x="256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7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21"/>
                  </a:lnTo>
                  <a:lnTo>
                    <a:pt x="245" y="18"/>
                  </a:lnTo>
                  <a:lnTo>
                    <a:pt x="245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5" y="18"/>
                  </a:lnTo>
                  <a:lnTo>
                    <a:pt x="245" y="18"/>
                  </a:lnTo>
                  <a:lnTo>
                    <a:pt x="245" y="18"/>
                  </a:lnTo>
                  <a:lnTo>
                    <a:pt x="245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47" y="16"/>
                  </a:lnTo>
                  <a:lnTo>
                    <a:pt x="250" y="16"/>
                  </a:lnTo>
                  <a:lnTo>
                    <a:pt x="250" y="16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50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21"/>
                  </a:lnTo>
                  <a:lnTo>
                    <a:pt x="252" y="21"/>
                  </a:lnTo>
                  <a:lnTo>
                    <a:pt x="252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2" y="18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6" y="16"/>
                  </a:lnTo>
                  <a:lnTo>
                    <a:pt x="254" y="16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4" y="18"/>
                  </a:lnTo>
                  <a:lnTo>
                    <a:pt x="256" y="16"/>
                  </a:lnTo>
                  <a:lnTo>
                    <a:pt x="256" y="16"/>
                  </a:lnTo>
                  <a:lnTo>
                    <a:pt x="256" y="16"/>
                  </a:lnTo>
                  <a:lnTo>
                    <a:pt x="256" y="18"/>
                  </a:lnTo>
                  <a:lnTo>
                    <a:pt x="256" y="18"/>
                  </a:lnTo>
                  <a:lnTo>
                    <a:pt x="256" y="18"/>
                  </a:lnTo>
                  <a:lnTo>
                    <a:pt x="256" y="18"/>
                  </a:lnTo>
                  <a:lnTo>
                    <a:pt x="259" y="18"/>
                  </a:lnTo>
                  <a:lnTo>
                    <a:pt x="256" y="18"/>
                  </a:lnTo>
                  <a:lnTo>
                    <a:pt x="256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61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18"/>
                  </a:lnTo>
                  <a:lnTo>
                    <a:pt x="259" y="21"/>
                  </a:lnTo>
                  <a:lnTo>
                    <a:pt x="261" y="21"/>
                  </a:lnTo>
                  <a:lnTo>
                    <a:pt x="261" y="21"/>
                  </a:lnTo>
                  <a:lnTo>
                    <a:pt x="259" y="21"/>
                  </a:lnTo>
                  <a:lnTo>
                    <a:pt x="259" y="21"/>
                  </a:lnTo>
                  <a:lnTo>
                    <a:pt x="261" y="21"/>
                  </a:lnTo>
                  <a:lnTo>
                    <a:pt x="261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1" y="21"/>
                  </a:lnTo>
                  <a:lnTo>
                    <a:pt x="261" y="21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1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70" y="18"/>
                  </a:lnTo>
                  <a:lnTo>
                    <a:pt x="270" y="18"/>
                  </a:lnTo>
                  <a:lnTo>
                    <a:pt x="270" y="21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8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1" y="23"/>
                  </a:lnTo>
                  <a:lnTo>
                    <a:pt x="265" y="23"/>
                  </a:lnTo>
                  <a:lnTo>
                    <a:pt x="268" y="21"/>
                  </a:lnTo>
                  <a:lnTo>
                    <a:pt x="270" y="21"/>
                  </a:lnTo>
                  <a:lnTo>
                    <a:pt x="270" y="21"/>
                  </a:lnTo>
                  <a:lnTo>
                    <a:pt x="272" y="21"/>
                  </a:lnTo>
                  <a:lnTo>
                    <a:pt x="270" y="21"/>
                  </a:lnTo>
                  <a:lnTo>
                    <a:pt x="270" y="21"/>
                  </a:lnTo>
                  <a:lnTo>
                    <a:pt x="270" y="21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4" y="23"/>
                  </a:lnTo>
                  <a:lnTo>
                    <a:pt x="274" y="23"/>
                  </a:lnTo>
                  <a:lnTo>
                    <a:pt x="274" y="23"/>
                  </a:lnTo>
                  <a:lnTo>
                    <a:pt x="274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7" y="23"/>
                  </a:lnTo>
                  <a:lnTo>
                    <a:pt x="274" y="23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4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4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9" y="18"/>
                  </a:lnTo>
                  <a:lnTo>
                    <a:pt x="279" y="18"/>
                  </a:lnTo>
                  <a:lnTo>
                    <a:pt x="279" y="18"/>
                  </a:lnTo>
                  <a:lnTo>
                    <a:pt x="279" y="18"/>
                  </a:lnTo>
                  <a:lnTo>
                    <a:pt x="277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7" y="18"/>
                  </a:lnTo>
                  <a:lnTo>
                    <a:pt x="279" y="18"/>
                  </a:lnTo>
                  <a:lnTo>
                    <a:pt x="279" y="16"/>
                  </a:lnTo>
                  <a:lnTo>
                    <a:pt x="279" y="18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3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12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2" y="12"/>
                  </a:lnTo>
                  <a:lnTo>
                    <a:pt x="292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5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2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6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7"/>
                  </a:lnTo>
                  <a:lnTo>
                    <a:pt x="297" y="7"/>
                  </a:lnTo>
                  <a:lnTo>
                    <a:pt x="297" y="5"/>
                  </a:lnTo>
                  <a:lnTo>
                    <a:pt x="297" y="7"/>
                  </a:lnTo>
                  <a:lnTo>
                    <a:pt x="297" y="7"/>
                  </a:lnTo>
                  <a:lnTo>
                    <a:pt x="299" y="7"/>
                  </a:lnTo>
                  <a:lnTo>
                    <a:pt x="299" y="7"/>
                  </a:lnTo>
                  <a:lnTo>
                    <a:pt x="299" y="7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1" y="5"/>
                  </a:lnTo>
                  <a:lnTo>
                    <a:pt x="301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10" y="7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7"/>
                  </a:lnTo>
                  <a:lnTo>
                    <a:pt x="313" y="7"/>
                  </a:lnTo>
                  <a:lnTo>
                    <a:pt x="313" y="7"/>
                  </a:lnTo>
                  <a:lnTo>
                    <a:pt x="310" y="7"/>
                  </a:lnTo>
                  <a:lnTo>
                    <a:pt x="310" y="7"/>
                  </a:lnTo>
                  <a:lnTo>
                    <a:pt x="310" y="7"/>
                  </a:lnTo>
                  <a:lnTo>
                    <a:pt x="310" y="7"/>
                  </a:lnTo>
                  <a:lnTo>
                    <a:pt x="310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6" y="9"/>
                  </a:lnTo>
                  <a:lnTo>
                    <a:pt x="306" y="9"/>
                  </a:lnTo>
                  <a:lnTo>
                    <a:pt x="306" y="9"/>
                  </a:lnTo>
                  <a:lnTo>
                    <a:pt x="306" y="12"/>
                  </a:lnTo>
                  <a:lnTo>
                    <a:pt x="304" y="12"/>
                  </a:lnTo>
                  <a:lnTo>
                    <a:pt x="304" y="12"/>
                  </a:lnTo>
                  <a:lnTo>
                    <a:pt x="304" y="12"/>
                  </a:lnTo>
                  <a:lnTo>
                    <a:pt x="304" y="12"/>
                  </a:lnTo>
                  <a:lnTo>
                    <a:pt x="304" y="12"/>
                  </a:lnTo>
                  <a:lnTo>
                    <a:pt x="301" y="14"/>
                  </a:lnTo>
                  <a:lnTo>
                    <a:pt x="301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1" y="14"/>
                  </a:lnTo>
                  <a:lnTo>
                    <a:pt x="301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21"/>
                  </a:lnTo>
                  <a:lnTo>
                    <a:pt x="301" y="21"/>
                  </a:lnTo>
                  <a:lnTo>
                    <a:pt x="299" y="21"/>
                  </a:lnTo>
                  <a:lnTo>
                    <a:pt x="299" y="21"/>
                  </a:lnTo>
                  <a:lnTo>
                    <a:pt x="299" y="21"/>
                  </a:lnTo>
                  <a:lnTo>
                    <a:pt x="299" y="21"/>
                  </a:lnTo>
                  <a:lnTo>
                    <a:pt x="301" y="21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18"/>
                  </a:lnTo>
                  <a:lnTo>
                    <a:pt x="306" y="18"/>
                  </a:lnTo>
                  <a:lnTo>
                    <a:pt x="306" y="18"/>
                  </a:lnTo>
                  <a:lnTo>
                    <a:pt x="306" y="18"/>
                  </a:lnTo>
                  <a:lnTo>
                    <a:pt x="306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6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10" y="14"/>
                  </a:lnTo>
                  <a:lnTo>
                    <a:pt x="313" y="12"/>
                  </a:lnTo>
                  <a:lnTo>
                    <a:pt x="313" y="12"/>
                  </a:lnTo>
                  <a:lnTo>
                    <a:pt x="313" y="12"/>
                  </a:lnTo>
                  <a:lnTo>
                    <a:pt x="313" y="12"/>
                  </a:lnTo>
                  <a:lnTo>
                    <a:pt x="313" y="12"/>
                  </a:lnTo>
                  <a:lnTo>
                    <a:pt x="315" y="12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9"/>
                  </a:lnTo>
                  <a:lnTo>
                    <a:pt x="315" y="7"/>
                  </a:lnTo>
                  <a:lnTo>
                    <a:pt x="317" y="7"/>
                  </a:lnTo>
                  <a:lnTo>
                    <a:pt x="317" y="7"/>
                  </a:lnTo>
                  <a:lnTo>
                    <a:pt x="317" y="7"/>
                  </a:lnTo>
                  <a:lnTo>
                    <a:pt x="322" y="5"/>
                  </a:lnTo>
                  <a:lnTo>
                    <a:pt x="322" y="5"/>
                  </a:lnTo>
                  <a:lnTo>
                    <a:pt x="322" y="5"/>
                  </a:lnTo>
                  <a:lnTo>
                    <a:pt x="322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2" y="7"/>
                  </a:lnTo>
                  <a:lnTo>
                    <a:pt x="322" y="7"/>
                  </a:lnTo>
                  <a:lnTo>
                    <a:pt x="322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19" y="9"/>
                  </a:lnTo>
                  <a:lnTo>
                    <a:pt x="319" y="12"/>
                  </a:lnTo>
                  <a:lnTo>
                    <a:pt x="322" y="9"/>
                  </a:lnTo>
                  <a:lnTo>
                    <a:pt x="322" y="9"/>
                  </a:lnTo>
                  <a:lnTo>
                    <a:pt x="324" y="9"/>
                  </a:lnTo>
                  <a:lnTo>
                    <a:pt x="324" y="12"/>
                  </a:lnTo>
                  <a:lnTo>
                    <a:pt x="324" y="12"/>
                  </a:lnTo>
                  <a:lnTo>
                    <a:pt x="324" y="12"/>
                  </a:lnTo>
                  <a:lnTo>
                    <a:pt x="324" y="12"/>
                  </a:lnTo>
                  <a:lnTo>
                    <a:pt x="324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28" y="14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7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7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0" y="5"/>
                  </a:lnTo>
                  <a:lnTo>
                    <a:pt x="330" y="5"/>
                  </a:lnTo>
                  <a:lnTo>
                    <a:pt x="328" y="5"/>
                  </a:lnTo>
                  <a:lnTo>
                    <a:pt x="328" y="5"/>
                  </a:lnTo>
                  <a:lnTo>
                    <a:pt x="328" y="5"/>
                  </a:lnTo>
                  <a:lnTo>
                    <a:pt x="330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0" y="5"/>
                  </a:lnTo>
                  <a:lnTo>
                    <a:pt x="330" y="5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0" y="3"/>
                  </a:lnTo>
                  <a:lnTo>
                    <a:pt x="333" y="3"/>
                  </a:lnTo>
                  <a:lnTo>
                    <a:pt x="335" y="3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5" y="5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3"/>
                  </a:lnTo>
                  <a:lnTo>
                    <a:pt x="335" y="0"/>
                  </a:lnTo>
                  <a:lnTo>
                    <a:pt x="337" y="0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9" y="3"/>
                  </a:lnTo>
                  <a:lnTo>
                    <a:pt x="339" y="3"/>
                  </a:lnTo>
                  <a:lnTo>
                    <a:pt x="339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2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3"/>
                  </a:lnTo>
                  <a:lnTo>
                    <a:pt x="344" y="3"/>
                  </a:lnTo>
                  <a:lnTo>
                    <a:pt x="344" y="5"/>
                  </a:lnTo>
                  <a:lnTo>
                    <a:pt x="344" y="5"/>
                  </a:lnTo>
                  <a:lnTo>
                    <a:pt x="346" y="5"/>
                  </a:lnTo>
                  <a:lnTo>
                    <a:pt x="346" y="3"/>
                  </a:lnTo>
                  <a:lnTo>
                    <a:pt x="348" y="3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51" y="5"/>
                  </a:lnTo>
                  <a:lnTo>
                    <a:pt x="348" y="5"/>
                  </a:lnTo>
                  <a:lnTo>
                    <a:pt x="348" y="5"/>
                  </a:lnTo>
                  <a:lnTo>
                    <a:pt x="348" y="5"/>
                  </a:lnTo>
                  <a:lnTo>
                    <a:pt x="348" y="5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8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2" y="7"/>
                  </a:lnTo>
                  <a:lnTo>
                    <a:pt x="342" y="7"/>
                  </a:lnTo>
                  <a:lnTo>
                    <a:pt x="342" y="7"/>
                  </a:lnTo>
                  <a:lnTo>
                    <a:pt x="342" y="7"/>
                  </a:lnTo>
                  <a:lnTo>
                    <a:pt x="342" y="7"/>
                  </a:lnTo>
                  <a:lnTo>
                    <a:pt x="342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9"/>
                  </a:lnTo>
                  <a:lnTo>
                    <a:pt x="339" y="9"/>
                  </a:lnTo>
                  <a:lnTo>
                    <a:pt x="339" y="9"/>
                  </a:lnTo>
                  <a:lnTo>
                    <a:pt x="342" y="7"/>
                  </a:lnTo>
                  <a:lnTo>
                    <a:pt x="342" y="7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39" y="12"/>
                  </a:lnTo>
                  <a:lnTo>
                    <a:pt x="339" y="12"/>
                  </a:lnTo>
                  <a:lnTo>
                    <a:pt x="339" y="12"/>
                  </a:lnTo>
                  <a:lnTo>
                    <a:pt x="339" y="12"/>
                  </a:lnTo>
                  <a:lnTo>
                    <a:pt x="339" y="12"/>
                  </a:lnTo>
                  <a:lnTo>
                    <a:pt x="339" y="12"/>
                  </a:lnTo>
                  <a:lnTo>
                    <a:pt x="346" y="9"/>
                  </a:lnTo>
                  <a:lnTo>
                    <a:pt x="346" y="9"/>
                  </a:lnTo>
                  <a:lnTo>
                    <a:pt x="348" y="9"/>
                  </a:lnTo>
                  <a:lnTo>
                    <a:pt x="348" y="9"/>
                  </a:lnTo>
                  <a:lnTo>
                    <a:pt x="348" y="9"/>
                  </a:lnTo>
                  <a:lnTo>
                    <a:pt x="346" y="12"/>
                  </a:lnTo>
                  <a:lnTo>
                    <a:pt x="346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lnTo>
                    <a:pt x="346" y="14"/>
                  </a:lnTo>
                  <a:close/>
                  <a:moveTo>
                    <a:pt x="306" y="0"/>
                  </a:moveTo>
                  <a:lnTo>
                    <a:pt x="306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3" y="0"/>
                  </a:lnTo>
                  <a:lnTo>
                    <a:pt x="313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5"/>
                  </a:lnTo>
                  <a:lnTo>
                    <a:pt x="313" y="5"/>
                  </a:lnTo>
                  <a:lnTo>
                    <a:pt x="313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6" y="3"/>
                  </a:lnTo>
                  <a:lnTo>
                    <a:pt x="306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4" y="3"/>
                  </a:lnTo>
                  <a:lnTo>
                    <a:pt x="306" y="3"/>
                  </a:lnTo>
                  <a:lnTo>
                    <a:pt x="306" y="3"/>
                  </a:lnTo>
                  <a:lnTo>
                    <a:pt x="306" y="3"/>
                  </a:lnTo>
                  <a:lnTo>
                    <a:pt x="306" y="3"/>
                  </a:lnTo>
                  <a:lnTo>
                    <a:pt x="306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6" y="3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457"/>
            <p:cNvSpPr>
              <a:spLocks/>
            </p:cNvSpPr>
            <p:nvPr/>
          </p:nvSpPr>
          <p:spPr bwMode="auto">
            <a:xfrm>
              <a:off x="6518393" y="4589194"/>
              <a:ext cx="270771" cy="270771"/>
            </a:xfrm>
            <a:custGeom>
              <a:avLst/>
              <a:gdLst>
                <a:gd name="T0" fmla="*/ 106 w 162"/>
                <a:gd name="T1" fmla="*/ 0 h 162"/>
                <a:gd name="T2" fmla="*/ 117 w 162"/>
                <a:gd name="T3" fmla="*/ 9 h 162"/>
                <a:gd name="T4" fmla="*/ 122 w 162"/>
                <a:gd name="T5" fmla="*/ 9 h 162"/>
                <a:gd name="T6" fmla="*/ 128 w 162"/>
                <a:gd name="T7" fmla="*/ 11 h 162"/>
                <a:gd name="T8" fmla="*/ 131 w 162"/>
                <a:gd name="T9" fmla="*/ 14 h 162"/>
                <a:gd name="T10" fmla="*/ 140 w 162"/>
                <a:gd name="T11" fmla="*/ 18 h 162"/>
                <a:gd name="T12" fmla="*/ 155 w 162"/>
                <a:gd name="T13" fmla="*/ 25 h 162"/>
                <a:gd name="T14" fmla="*/ 162 w 162"/>
                <a:gd name="T15" fmla="*/ 25 h 162"/>
                <a:gd name="T16" fmla="*/ 160 w 162"/>
                <a:gd name="T17" fmla="*/ 41 h 162"/>
                <a:gd name="T18" fmla="*/ 160 w 162"/>
                <a:gd name="T19" fmla="*/ 45 h 162"/>
                <a:gd name="T20" fmla="*/ 160 w 162"/>
                <a:gd name="T21" fmla="*/ 52 h 162"/>
                <a:gd name="T22" fmla="*/ 160 w 162"/>
                <a:gd name="T23" fmla="*/ 56 h 162"/>
                <a:gd name="T24" fmla="*/ 160 w 162"/>
                <a:gd name="T25" fmla="*/ 63 h 162"/>
                <a:gd name="T26" fmla="*/ 160 w 162"/>
                <a:gd name="T27" fmla="*/ 67 h 162"/>
                <a:gd name="T28" fmla="*/ 158 w 162"/>
                <a:gd name="T29" fmla="*/ 74 h 162"/>
                <a:gd name="T30" fmla="*/ 153 w 162"/>
                <a:gd name="T31" fmla="*/ 79 h 162"/>
                <a:gd name="T32" fmla="*/ 155 w 162"/>
                <a:gd name="T33" fmla="*/ 81 h 162"/>
                <a:gd name="T34" fmla="*/ 155 w 162"/>
                <a:gd name="T35" fmla="*/ 88 h 162"/>
                <a:gd name="T36" fmla="*/ 155 w 162"/>
                <a:gd name="T37" fmla="*/ 92 h 162"/>
                <a:gd name="T38" fmla="*/ 155 w 162"/>
                <a:gd name="T39" fmla="*/ 97 h 162"/>
                <a:gd name="T40" fmla="*/ 160 w 162"/>
                <a:gd name="T41" fmla="*/ 99 h 162"/>
                <a:gd name="T42" fmla="*/ 155 w 162"/>
                <a:gd name="T43" fmla="*/ 106 h 162"/>
                <a:gd name="T44" fmla="*/ 153 w 162"/>
                <a:gd name="T45" fmla="*/ 112 h 162"/>
                <a:gd name="T46" fmla="*/ 146 w 162"/>
                <a:gd name="T47" fmla="*/ 126 h 162"/>
                <a:gd name="T48" fmla="*/ 144 w 162"/>
                <a:gd name="T49" fmla="*/ 133 h 162"/>
                <a:gd name="T50" fmla="*/ 137 w 162"/>
                <a:gd name="T51" fmla="*/ 144 h 162"/>
                <a:gd name="T52" fmla="*/ 124 w 162"/>
                <a:gd name="T53" fmla="*/ 160 h 162"/>
                <a:gd name="T54" fmla="*/ 117 w 162"/>
                <a:gd name="T55" fmla="*/ 160 h 162"/>
                <a:gd name="T56" fmla="*/ 108 w 162"/>
                <a:gd name="T57" fmla="*/ 160 h 162"/>
                <a:gd name="T58" fmla="*/ 101 w 162"/>
                <a:gd name="T59" fmla="*/ 160 h 162"/>
                <a:gd name="T60" fmla="*/ 95 w 162"/>
                <a:gd name="T61" fmla="*/ 157 h 162"/>
                <a:gd name="T62" fmla="*/ 90 w 162"/>
                <a:gd name="T63" fmla="*/ 155 h 162"/>
                <a:gd name="T64" fmla="*/ 83 w 162"/>
                <a:gd name="T65" fmla="*/ 155 h 162"/>
                <a:gd name="T66" fmla="*/ 79 w 162"/>
                <a:gd name="T67" fmla="*/ 153 h 162"/>
                <a:gd name="T68" fmla="*/ 74 w 162"/>
                <a:gd name="T69" fmla="*/ 146 h 162"/>
                <a:gd name="T70" fmla="*/ 65 w 162"/>
                <a:gd name="T71" fmla="*/ 144 h 162"/>
                <a:gd name="T72" fmla="*/ 54 w 162"/>
                <a:gd name="T73" fmla="*/ 142 h 162"/>
                <a:gd name="T74" fmla="*/ 52 w 162"/>
                <a:gd name="T75" fmla="*/ 139 h 162"/>
                <a:gd name="T76" fmla="*/ 52 w 162"/>
                <a:gd name="T77" fmla="*/ 135 h 162"/>
                <a:gd name="T78" fmla="*/ 47 w 162"/>
                <a:gd name="T79" fmla="*/ 126 h 162"/>
                <a:gd name="T80" fmla="*/ 47 w 162"/>
                <a:gd name="T81" fmla="*/ 117 h 162"/>
                <a:gd name="T82" fmla="*/ 41 w 162"/>
                <a:gd name="T83" fmla="*/ 112 h 162"/>
                <a:gd name="T84" fmla="*/ 36 w 162"/>
                <a:gd name="T85" fmla="*/ 106 h 162"/>
                <a:gd name="T86" fmla="*/ 27 w 162"/>
                <a:gd name="T87" fmla="*/ 101 h 162"/>
                <a:gd name="T88" fmla="*/ 23 w 162"/>
                <a:gd name="T89" fmla="*/ 99 h 162"/>
                <a:gd name="T90" fmla="*/ 21 w 162"/>
                <a:gd name="T91" fmla="*/ 94 h 162"/>
                <a:gd name="T92" fmla="*/ 14 w 162"/>
                <a:gd name="T93" fmla="*/ 83 h 162"/>
                <a:gd name="T94" fmla="*/ 7 w 162"/>
                <a:gd name="T95" fmla="*/ 70 h 162"/>
                <a:gd name="T96" fmla="*/ 3 w 162"/>
                <a:gd name="T97" fmla="*/ 58 h 162"/>
                <a:gd name="T98" fmla="*/ 3 w 162"/>
                <a:gd name="T99" fmla="*/ 52 h 162"/>
                <a:gd name="T100" fmla="*/ 9 w 162"/>
                <a:gd name="T101" fmla="*/ 52 h 162"/>
                <a:gd name="T102" fmla="*/ 12 w 162"/>
                <a:gd name="T103" fmla="*/ 56 h 162"/>
                <a:gd name="T104" fmla="*/ 18 w 162"/>
                <a:gd name="T105" fmla="*/ 56 h 162"/>
                <a:gd name="T106" fmla="*/ 21 w 162"/>
                <a:gd name="T107" fmla="*/ 54 h 162"/>
                <a:gd name="T108" fmla="*/ 27 w 162"/>
                <a:gd name="T109" fmla="*/ 56 h 162"/>
                <a:gd name="T110" fmla="*/ 32 w 162"/>
                <a:gd name="T111" fmla="*/ 56 h 162"/>
                <a:gd name="T112" fmla="*/ 39 w 162"/>
                <a:gd name="T113" fmla="*/ 52 h 162"/>
                <a:gd name="T114" fmla="*/ 61 w 162"/>
                <a:gd name="T115" fmla="*/ 29 h 162"/>
                <a:gd name="T116" fmla="*/ 74 w 162"/>
                <a:gd name="T117" fmla="*/ 20 h 162"/>
                <a:gd name="T118" fmla="*/ 77 w 162"/>
                <a:gd name="T119" fmla="*/ 11 h 162"/>
                <a:gd name="T120" fmla="*/ 81 w 162"/>
                <a:gd name="T121" fmla="*/ 7 h 162"/>
                <a:gd name="T122" fmla="*/ 90 w 162"/>
                <a:gd name="T123" fmla="*/ 2 h 162"/>
                <a:gd name="T124" fmla="*/ 99 w 162"/>
                <a:gd name="T125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2" h="162">
                  <a:moveTo>
                    <a:pt x="99" y="0"/>
                  </a:move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2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3" y="9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20"/>
                  </a:lnTo>
                  <a:lnTo>
                    <a:pt x="142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9" y="20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5" y="23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58" y="32"/>
                  </a:lnTo>
                  <a:lnTo>
                    <a:pt x="158" y="32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60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0" y="49"/>
                  </a:lnTo>
                  <a:lnTo>
                    <a:pt x="160" y="49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8"/>
                  </a:lnTo>
                  <a:lnTo>
                    <a:pt x="160" y="61"/>
                  </a:lnTo>
                  <a:lnTo>
                    <a:pt x="160" y="61"/>
                  </a:lnTo>
                  <a:lnTo>
                    <a:pt x="160" y="61"/>
                  </a:lnTo>
                  <a:lnTo>
                    <a:pt x="160" y="61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5"/>
                  </a:lnTo>
                  <a:lnTo>
                    <a:pt x="162" y="65"/>
                  </a:lnTo>
                  <a:lnTo>
                    <a:pt x="160" y="65"/>
                  </a:lnTo>
                  <a:lnTo>
                    <a:pt x="160" y="65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60" y="67"/>
                  </a:lnTo>
                  <a:lnTo>
                    <a:pt x="158" y="67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6"/>
                  </a:lnTo>
                  <a:lnTo>
                    <a:pt x="155" y="74"/>
                  </a:lnTo>
                  <a:lnTo>
                    <a:pt x="155" y="76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5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8" y="99"/>
                  </a:lnTo>
                  <a:lnTo>
                    <a:pt x="158" y="99"/>
                  </a:lnTo>
                  <a:lnTo>
                    <a:pt x="158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101"/>
                  </a:lnTo>
                  <a:lnTo>
                    <a:pt x="158" y="103"/>
                  </a:lnTo>
                  <a:lnTo>
                    <a:pt x="158" y="103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8" y="106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5" y="110"/>
                  </a:lnTo>
                  <a:lnTo>
                    <a:pt x="153" y="112"/>
                  </a:lnTo>
                  <a:lnTo>
                    <a:pt x="153" y="115"/>
                  </a:lnTo>
                  <a:lnTo>
                    <a:pt x="151" y="115"/>
                  </a:lnTo>
                  <a:lnTo>
                    <a:pt x="151" y="117"/>
                  </a:lnTo>
                  <a:lnTo>
                    <a:pt x="151" y="117"/>
                  </a:lnTo>
                  <a:lnTo>
                    <a:pt x="149" y="117"/>
                  </a:lnTo>
                  <a:lnTo>
                    <a:pt x="149" y="117"/>
                  </a:lnTo>
                  <a:lnTo>
                    <a:pt x="146" y="117"/>
                  </a:lnTo>
                  <a:lnTo>
                    <a:pt x="146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4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3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0" y="139"/>
                  </a:lnTo>
                  <a:lnTo>
                    <a:pt x="140" y="142"/>
                  </a:lnTo>
                  <a:lnTo>
                    <a:pt x="137" y="142"/>
                  </a:lnTo>
                  <a:lnTo>
                    <a:pt x="137" y="144"/>
                  </a:lnTo>
                  <a:lnTo>
                    <a:pt x="135" y="144"/>
                  </a:lnTo>
                  <a:lnTo>
                    <a:pt x="135" y="146"/>
                  </a:lnTo>
                  <a:lnTo>
                    <a:pt x="133" y="148"/>
                  </a:lnTo>
                  <a:lnTo>
                    <a:pt x="133" y="148"/>
                  </a:lnTo>
                  <a:lnTo>
                    <a:pt x="131" y="151"/>
                  </a:lnTo>
                  <a:lnTo>
                    <a:pt x="131" y="151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6" y="155"/>
                  </a:lnTo>
                  <a:lnTo>
                    <a:pt x="126" y="157"/>
                  </a:lnTo>
                  <a:lnTo>
                    <a:pt x="124" y="157"/>
                  </a:lnTo>
                  <a:lnTo>
                    <a:pt x="124" y="160"/>
                  </a:lnTo>
                  <a:lnTo>
                    <a:pt x="122" y="160"/>
                  </a:lnTo>
                  <a:lnTo>
                    <a:pt x="119" y="162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3" y="160"/>
                  </a:lnTo>
                  <a:lnTo>
                    <a:pt x="110" y="160"/>
                  </a:lnTo>
                  <a:lnTo>
                    <a:pt x="110" y="157"/>
                  </a:lnTo>
                  <a:lnTo>
                    <a:pt x="110" y="160"/>
                  </a:lnTo>
                  <a:lnTo>
                    <a:pt x="108" y="160"/>
                  </a:lnTo>
                  <a:lnTo>
                    <a:pt x="108" y="160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6" y="160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4" y="160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101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7" y="160"/>
                  </a:lnTo>
                  <a:lnTo>
                    <a:pt x="97" y="160"/>
                  </a:lnTo>
                  <a:lnTo>
                    <a:pt x="97" y="160"/>
                  </a:lnTo>
                  <a:lnTo>
                    <a:pt x="97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5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1" y="155"/>
                  </a:lnTo>
                  <a:lnTo>
                    <a:pt x="81" y="155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0" y="146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0" y="135"/>
                  </a:lnTo>
                  <a:lnTo>
                    <a:pt x="50" y="133"/>
                  </a:lnTo>
                  <a:lnTo>
                    <a:pt x="50" y="133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7" y="128"/>
                  </a:lnTo>
                  <a:lnTo>
                    <a:pt x="47" y="128"/>
                  </a:lnTo>
                  <a:lnTo>
                    <a:pt x="47" y="128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3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39" y="117"/>
                  </a:lnTo>
                  <a:lnTo>
                    <a:pt x="41" y="112"/>
                  </a:lnTo>
                  <a:lnTo>
                    <a:pt x="39" y="110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2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6" y="92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79"/>
                  </a:lnTo>
                  <a:lnTo>
                    <a:pt x="12" y="76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7" y="70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4" y="54"/>
                  </a:lnTo>
                  <a:lnTo>
                    <a:pt x="12" y="54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41" y="52"/>
                  </a:lnTo>
                  <a:lnTo>
                    <a:pt x="45" y="45"/>
                  </a:lnTo>
                  <a:lnTo>
                    <a:pt x="47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4" y="34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61" y="29"/>
                  </a:lnTo>
                  <a:lnTo>
                    <a:pt x="63" y="27"/>
                  </a:lnTo>
                  <a:lnTo>
                    <a:pt x="63" y="25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99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458"/>
            <p:cNvSpPr>
              <a:spLocks/>
            </p:cNvSpPr>
            <p:nvPr/>
          </p:nvSpPr>
          <p:spPr bwMode="auto">
            <a:xfrm>
              <a:off x="6406408" y="4291680"/>
              <a:ext cx="412843" cy="394456"/>
            </a:xfrm>
            <a:custGeom>
              <a:avLst/>
              <a:gdLst>
                <a:gd name="T0" fmla="*/ 202 w 247"/>
                <a:gd name="T1" fmla="*/ 12 h 236"/>
                <a:gd name="T2" fmla="*/ 216 w 247"/>
                <a:gd name="T3" fmla="*/ 21 h 236"/>
                <a:gd name="T4" fmla="*/ 229 w 247"/>
                <a:gd name="T5" fmla="*/ 27 h 236"/>
                <a:gd name="T6" fmla="*/ 236 w 247"/>
                <a:gd name="T7" fmla="*/ 34 h 236"/>
                <a:gd name="T8" fmla="*/ 240 w 247"/>
                <a:gd name="T9" fmla="*/ 39 h 236"/>
                <a:gd name="T10" fmla="*/ 245 w 247"/>
                <a:gd name="T11" fmla="*/ 54 h 236"/>
                <a:gd name="T12" fmla="*/ 240 w 247"/>
                <a:gd name="T13" fmla="*/ 63 h 236"/>
                <a:gd name="T14" fmla="*/ 240 w 247"/>
                <a:gd name="T15" fmla="*/ 77 h 236"/>
                <a:gd name="T16" fmla="*/ 240 w 247"/>
                <a:gd name="T17" fmla="*/ 86 h 236"/>
                <a:gd name="T18" fmla="*/ 243 w 247"/>
                <a:gd name="T19" fmla="*/ 102 h 236"/>
                <a:gd name="T20" fmla="*/ 236 w 247"/>
                <a:gd name="T21" fmla="*/ 106 h 236"/>
                <a:gd name="T22" fmla="*/ 231 w 247"/>
                <a:gd name="T23" fmla="*/ 111 h 236"/>
                <a:gd name="T24" fmla="*/ 229 w 247"/>
                <a:gd name="T25" fmla="*/ 126 h 236"/>
                <a:gd name="T26" fmla="*/ 229 w 247"/>
                <a:gd name="T27" fmla="*/ 135 h 236"/>
                <a:gd name="T28" fmla="*/ 236 w 247"/>
                <a:gd name="T29" fmla="*/ 140 h 236"/>
                <a:gd name="T30" fmla="*/ 186 w 247"/>
                <a:gd name="T31" fmla="*/ 158 h 236"/>
                <a:gd name="T32" fmla="*/ 175 w 247"/>
                <a:gd name="T33" fmla="*/ 176 h 236"/>
                <a:gd name="T34" fmla="*/ 166 w 247"/>
                <a:gd name="T35" fmla="*/ 178 h 236"/>
                <a:gd name="T36" fmla="*/ 146 w 247"/>
                <a:gd name="T37" fmla="*/ 185 h 236"/>
                <a:gd name="T38" fmla="*/ 141 w 247"/>
                <a:gd name="T39" fmla="*/ 198 h 236"/>
                <a:gd name="T40" fmla="*/ 106 w 247"/>
                <a:gd name="T41" fmla="*/ 230 h 236"/>
                <a:gd name="T42" fmla="*/ 94 w 247"/>
                <a:gd name="T43" fmla="*/ 234 h 236"/>
                <a:gd name="T44" fmla="*/ 85 w 247"/>
                <a:gd name="T45" fmla="*/ 234 h 236"/>
                <a:gd name="T46" fmla="*/ 74 w 247"/>
                <a:gd name="T47" fmla="*/ 230 h 236"/>
                <a:gd name="T48" fmla="*/ 65 w 247"/>
                <a:gd name="T49" fmla="*/ 227 h 236"/>
                <a:gd name="T50" fmla="*/ 63 w 247"/>
                <a:gd name="T51" fmla="*/ 225 h 236"/>
                <a:gd name="T52" fmla="*/ 54 w 247"/>
                <a:gd name="T53" fmla="*/ 223 h 236"/>
                <a:gd name="T54" fmla="*/ 40 w 247"/>
                <a:gd name="T55" fmla="*/ 223 h 236"/>
                <a:gd name="T56" fmla="*/ 25 w 247"/>
                <a:gd name="T57" fmla="*/ 223 h 236"/>
                <a:gd name="T58" fmla="*/ 16 w 247"/>
                <a:gd name="T59" fmla="*/ 214 h 236"/>
                <a:gd name="T60" fmla="*/ 7 w 247"/>
                <a:gd name="T61" fmla="*/ 203 h 236"/>
                <a:gd name="T62" fmla="*/ 2 w 247"/>
                <a:gd name="T63" fmla="*/ 198 h 236"/>
                <a:gd name="T64" fmla="*/ 0 w 247"/>
                <a:gd name="T65" fmla="*/ 187 h 236"/>
                <a:gd name="T66" fmla="*/ 2 w 247"/>
                <a:gd name="T67" fmla="*/ 122 h 236"/>
                <a:gd name="T68" fmla="*/ 43 w 247"/>
                <a:gd name="T69" fmla="*/ 111 h 236"/>
                <a:gd name="T70" fmla="*/ 45 w 247"/>
                <a:gd name="T71" fmla="*/ 84 h 236"/>
                <a:gd name="T72" fmla="*/ 45 w 247"/>
                <a:gd name="T73" fmla="*/ 68 h 236"/>
                <a:gd name="T74" fmla="*/ 54 w 247"/>
                <a:gd name="T75" fmla="*/ 70 h 236"/>
                <a:gd name="T76" fmla="*/ 54 w 247"/>
                <a:gd name="T77" fmla="*/ 79 h 236"/>
                <a:gd name="T78" fmla="*/ 65 w 247"/>
                <a:gd name="T79" fmla="*/ 75 h 236"/>
                <a:gd name="T80" fmla="*/ 72 w 247"/>
                <a:gd name="T81" fmla="*/ 79 h 236"/>
                <a:gd name="T82" fmla="*/ 76 w 247"/>
                <a:gd name="T83" fmla="*/ 86 h 236"/>
                <a:gd name="T84" fmla="*/ 88 w 247"/>
                <a:gd name="T85" fmla="*/ 90 h 236"/>
                <a:gd name="T86" fmla="*/ 101 w 247"/>
                <a:gd name="T87" fmla="*/ 93 h 236"/>
                <a:gd name="T88" fmla="*/ 112 w 247"/>
                <a:gd name="T89" fmla="*/ 81 h 236"/>
                <a:gd name="T90" fmla="*/ 128 w 247"/>
                <a:gd name="T91" fmla="*/ 99 h 236"/>
                <a:gd name="T92" fmla="*/ 137 w 247"/>
                <a:gd name="T93" fmla="*/ 106 h 236"/>
                <a:gd name="T94" fmla="*/ 144 w 247"/>
                <a:gd name="T95" fmla="*/ 117 h 236"/>
                <a:gd name="T96" fmla="*/ 148 w 247"/>
                <a:gd name="T97" fmla="*/ 124 h 236"/>
                <a:gd name="T98" fmla="*/ 162 w 247"/>
                <a:gd name="T99" fmla="*/ 122 h 236"/>
                <a:gd name="T100" fmla="*/ 164 w 247"/>
                <a:gd name="T101" fmla="*/ 126 h 236"/>
                <a:gd name="T102" fmla="*/ 159 w 247"/>
                <a:gd name="T103" fmla="*/ 97 h 236"/>
                <a:gd name="T104" fmla="*/ 157 w 247"/>
                <a:gd name="T105" fmla="*/ 102 h 236"/>
                <a:gd name="T106" fmla="*/ 148 w 247"/>
                <a:gd name="T107" fmla="*/ 95 h 236"/>
                <a:gd name="T108" fmla="*/ 139 w 247"/>
                <a:gd name="T109" fmla="*/ 88 h 236"/>
                <a:gd name="T110" fmla="*/ 137 w 247"/>
                <a:gd name="T111" fmla="*/ 77 h 236"/>
                <a:gd name="T112" fmla="*/ 141 w 247"/>
                <a:gd name="T113" fmla="*/ 66 h 236"/>
                <a:gd name="T114" fmla="*/ 144 w 247"/>
                <a:gd name="T115" fmla="*/ 57 h 236"/>
                <a:gd name="T116" fmla="*/ 141 w 247"/>
                <a:gd name="T117" fmla="*/ 50 h 236"/>
                <a:gd name="T118" fmla="*/ 144 w 247"/>
                <a:gd name="T119" fmla="*/ 34 h 236"/>
                <a:gd name="T120" fmla="*/ 137 w 247"/>
                <a:gd name="T121" fmla="*/ 27 h 236"/>
                <a:gd name="T122" fmla="*/ 193 w 247"/>
                <a:gd name="T123" fmla="*/ 9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7" h="236">
                  <a:moveTo>
                    <a:pt x="195" y="12"/>
                  </a:moveTo>
                  <a:lnTo>
                    <a:pt x="195" y="12"/>
                  </a:lnTo>
                  <a:lnTo>
                    <a:pt x="195" y="12"/>
                  </a:lnTo>
                  <a:lnTo>
                    <a:pt x="198" y="12"/>
                  </a:lnTo>
                  <a:lnTo>
                    <a:pt x="198" y="9"/>
                  </a:lnTo>
                  <a:lnTo>
                    <a:pt x="198" y="9"/>
                  </a:lnTo>
                  <a:lnTo>
                    <a:pt x="198" y="9"/>
                  </a:lnTo>
                  <a:lnTo>
                    <a:pt x="198" y="12"/>
                  </a:lnTo>
                  <a:lnTo>
                    <a:pt x="198" y="12"/>
                  </a:lnTo>
                  <a:lnTo>
                    <a:pt x="198" y="12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0" y="9"/>
                  </a:lnTo>
                  <a:lnTo>
                    <a:pt x="200" y="9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0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13" y="18"/>
                  </a:lnTo>
                  <a:lnTo>
                    <a:pt x="211" y="21"/>
                  </a:lnTo>
                  <a:lnTo>
                    <a:pt x="211" y="21"/>
                  </a:lnTo>
                  <a:lnTo>
                    <a:pt x="213" y="21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3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20" y="23"/>
                  </a:lnTo>
                  <a:lnTo>
                    <a:pt x="222" y="23"/>
                  </a:lnTo>
                  <a:lnTo>
                    <a:pt x="222" y="23"/>
                  </a:lnTo>
                  <a:lnTo>
                    <a:pt x="222" y="25"/>
                  </a:lnTo>
                  <a:lnTo>
                    <a:pt x="225" y="25"/>
                  </a:lnTo>
                  <a:lnTo>
                    <a:pt x="225" y="25"/>
                  </a:lnTo>
                  <a:lnTo>
                    <a:pt x="225" y="25"/>
                  </a:lnTo>
                  <a:lnTo>
                    <a:pt x="225" y="27"/>
                  </a:lnTo>
                  <a:lnTo>
                    <a:pt x="225" y="27"/>
                  </a:lnTo>
                  <a:lnTo>
                    <a:pt x="227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29" y="27"/>
                  </a:lnTo>
                  <a:lnTo>
                    <a:pt x="231" y="30"/>
                  </a:lnTo>
                  <a:lnTo>
                    <a:pt x="234" y="30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2"/>
                  </a:lnTo>
                  <a:lnTo>
                    <a:pt x="234" y="34"/>
                  </a:lnTo>
                  <a:lnTo>
                    <a:pt x="234" y="34"/>
                  </a:lnTo>
                  <a:lnTo>
                    <a:pt x="234" y="3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9"/>
                  </a:lnTo>
                  <a:lnTo>
                    <a:pt x="240" y="39"/>
                  </a:lnTo>
                  <a:lnTo>
                    <a:pt x="240" y="39"/>
                  </a:lnTo>
                  <a:lnTo>
                    <a:pt x="240" y="39"/>
                  </a:lnTo>
                  <a:lnTo>
                    <a:pt x="240" y="39"/>
                  </a:lnTo>
                  <a:lnTo>
                    <a:pt x="240" y="39"/>
                  </a:lnTo>
                  <a:lnTo>
                    <a:pt x="240" y="39"/>
                  </a:lnTo>
                  <a:lnTo>
                    <a:pt x="240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1"/>
                  </a:lnTo>
                  <a:lnTo>
                    <a:pt x="243" y="43"/>
                  </a:lnTo>
                  <a:lnTo>
                    <a:pt x="240" y="43"/>
                  </a:lnTo>
                  <a:lnTo>
                    <a:pt x="240" y="45"/>
                  </a:lnTo>
                  <a:lnTo>
                    <a:pt x="240" y="45"/>
                  </a:lnTo>
                  <a:lnTo>
                    <a:pt x="240" y="45"/>
                  </a:lnTo>
                  <a:lnTo>
                    <a:pt x="240" y="45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3" y="48"/>
                  </a:lnTo>
                  <a:lnTo>
                    <a:pt x="245" y="48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5" y="50"/>
                  </a:lnTo>
                  <a:lnTo>
                    <a:pt x="245" y="52"/>
                  </a:lnTo>
                  <a:lnTo>
                    <a:pt x="245" y="52"/>
                  </a:lnTo>
                  <a:lnTo>
                    <a:pt x="245" y="54"/>
                  </a:lnTo>
                  <a:lnTo>
                    <a:pt x="245" y="54"/>
                  </a:lnTo>
                  <a:lnTo>
                    <a:pt x="247" y="54"/>
                  </a:lnTo>
                  <a:lnTo>
                    <a:pt x="247" y="54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9"/>
                  </a:lnTo>
                  <a:lnTo>
                    <a:pt x="247" y="59"/>
                  </a:lnTo>
                  <a:lnTo>
                    <a:pt x="247" y="59"/>
                  </a:lnTo>
                  <a:lnTo>
                    <a:pt x="247" y="59"/>
                  </a:lnTo>
                  <a:lnTo>
                    <a:pt x="247" y="59"/>
                  </a:lnTo>
                  <a:lnTo>
                    <a:pt x="245" y="59"/>
                  </a:lnTo>
                  <a:lnTo>
                    <a:pt x="245" y="61"/>
                  </a:lnTo>
                  <a:lnTo>
                    <a:pt x="245" y="61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3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43" y="72"/>
                  </a:lnTo>
                  <a:lnTo>
                    <a:pt x="243" y="72"/>
                  </a:lnTo>
                  <a:lnTo>
                    <a:pt x="240" y="72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40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8" y="77"/>
                  </a:lnTo>
                  <a:lnTo>
                    <a:pt x="238" y="79"/>
                  </a:lnTo>
                  <a:lnTo>
                    <a:pt x="238" y="79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40" y="81"/>
                  </a:lnTo>
                  <a:lnTo>
                    <a:pt x="240" y="81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3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7"/>
                  </a:lnTo>
                  <a:lnTo>
                    <a:pt x="238" y="97"/>
                  </a:lnTo>
                  <a:lnTo>
                    <a:pt x="240" y="97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0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4"/>
                  </a:lnTo>
                  <a:lnTo>
                    <a:pt x="238" y="104"/>
                  </a:lnTo>
                  <a:lnTo>
                    <a:pt x="238" y="104"/>
                  </a:lnTo>
                  <a:lnTo>
                    <a:pt x="238" y="104"/>
                  </a:lnTo>
                  <a:lnTo>
                    <a:pt x="238" y="104"/>
                  </a:lnTo>
                  <a:lnTo>
                    <a:pt x="238" y="106"/>
                  </a:lnTo>
                  <a:lnTo>
                    <a:pt x="238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1" y="108"/>
                  </a:lnTo>
                  <a:lnTo>
                    <a:pt x="231" y="108"/>
                  </a:lnTo>
                  <a:lnTo>
                    <a:pt x="231" y="111"/>
                  </a:lnTo>
                  <a:lnTo>
                    <a:pt x="231" y="111"/>
                  </a:lnTo>
                  <a:lnTo>
                    <a:pt x="231" y="113"/>
                  </a:lnTo>
                  <a:lnTo>
                    <a:pt x="231" y="113"/>
                  </a:lnTo>
                  <a:lnTo>
                    <a:pt x="231" y="113"/>
                  </a:lnTo>
                  <a:lnTo>
                    <a:pt x="231" y="113"/>
                  </a:lnTo>
                  <a:lnTo>
                    <a:pt x="234" y="113"/>
                  </a:lnTo>
                  <a:lnTo>
                    <a:pt x="231" y="115"/>
                  </a:lnTo>
                  <a:lnTo>
                    <a:pt x="231" y="115"/>
                  </a:lnTo>
                  <a:lnTo>
                    <a:pt x="231" y="117"/>
                  </a:lnTo>
                  <a:lnTo>
                    <a:pt x="231" y="120"/>
                  </a:lnTo>
                  <a:lnTo>
                    <a:pt x="231" y="120"/>
                  </a:lnTo>
                  <a:lnTo>
                    <a:pt x="231" y="120"/>
                  </a:lnTo>
                  <a:lnTo>
                    <a:pt x="231" y="120"/>
                  </a:lnTo>
                  <a:lnTo>
                    <a:pt x="231" y="120"/>
                  </a:lnTo>
                  <a:lnTo>
                    <a:pt x="231" y="120"/>
                  </a:lnTo>
                  <a:lnTo>
                    <a:pt x="231" y="122"/>
                  </a:lnTo>
                  <a:lnTo>
                    <a:pt x="231" y="122"/>
                  </a:lnTo>
                  <a:lnTo>
                    <a:pt x="231" y="122"/>
                  </a:lnTo>
                  <a:lnTo>
                    <a:pt x="229" y="124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7" y="129"/>
                  </a:lnTo>
                  <a:lnTo>
                    <a:pt x="227" y="129"/>
                  </a:lnTo>
                  <a:lnTo>
                    <a:pt x="227" y="129"/>
                  </a:lnTo>
                  <a:lnTo>
                    <a:pt x="227" y="129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5" y="129"/>
                  </a:lnTo>
                  <a:lnTo>
                    <a:pt x="225" y="131"/>
                  </a:lnTo>
                  <a:lnTo>
                    <a:pt x="225" y="131"/>
                  </a:lnTo>
                  <a:lnTo>
                    <a:pt x="225" y="131"/>
                  </a:lnTo>
                  <a:lnTo>
                    <a:pt x="227" y="131"/>
                  </a:lnTo>
                  <a:lnTo>
                    <a:pt x="227" y="131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29" y="135"/>
                  </a:lnTo>
                  <a:lnTo>
                    <a:pt x="229" y="135"/>
                  </a:lnTo>
                  <a:lnTo>
                    <a:pt x="229" y="138"/>
                  </a:lnTo>
                  <a:lnTo>
                    <a:pt x="229" y="138"/>
                  </a:lnTo>
                  <a:lnTo>
                    <a:pt x="229" y="138"/>
                  </a:lnTo>
                  <a:lnTo>
                    <a:pt x="229" y="138"/>
                  </a:lnTo>
                  <a:lnTo>
                    <a:pt x="231" y="138"/>
                  </a:lnTo>
                  <a:lnTo>
                    <a:pt x="231" y="138"/>
                  </a:lnTo>
                  <a:lnTo>
                    <a:pt x="231" y="138"/>
                  </a:lnTo>
                  <a:lnTo>
                    <a:pt x="231" y="138"/>
                  </a:lnTo>
                  <a:lnTo>
                    <a:pt x="231" y="138"/>
                  </a:lnTo>
                  <a:lnTo>
                    <a:pt x="231" y="138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4" y="140"/>
                  </a:lnTo>
                  <a:lnTo>
                    <a:pt x="234" y="140"/>
                  </a:lnTo>
                  <a:lnTo>
                    <a:pt x="234" y="138"/>
                  </a:lnTo>
                  <a:lnTo>
                    <a:pt x="234" y="138"/>
                  </a:lnTo>
                  <a:lnTo>
                    <a:pt x="234" y="138"/>
                  </a:lnTo>
                  <a:lnTo>
                    <a:pt x="234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1" y="140"/>
                  </a:lnTo>
                  <a:lnTo>
                    <a:pt x="229" y="142"/>
                  </a:lnTo>
                  <a:lnTo>
                    <a:pt x="227" y="144"/>
                  </a:lnTo>
                  <a:lnTo>
                    <a:pt x="222" y="144"/>
                  </a:lnTo>
                  <a:lnTo>
                    <a:pt x="220" y="147"/>
                  </a:lnTo>
                  <a:lnTo>
                    <a:pt x="218" y="147"/>
                  </a:lnTo>
                  <a:lnTo>
                    <a:pt x="216" y="147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1" y="149"/>
                  </a:lnTo>
                  <a:lnTo>
                    <a:pt x="209" y="149"/>
                  </a:lnTo>
                  <a:lnTo>
                    <a:pt x="207" y="151"/>
                  </a:lnTo>
                  <a:lnTo>
                    <a:pt x="202" y="151"/>
                  </a:lnTo>
                  <a:lnTo>
                    <a:pt x="202" y="153"/>
                  </a:lnTo>
                  <a:lnTo>
                    <a:pt x="200" y="153"/>
                  </a:lnTo>
                  <a:lnTo>
                    <a:pt x="198" y="153"/>
                  </a:lnTo>
                  <a:lnTo>
                    <a:pt x="195" y="156"/>
                  </a:lnTo>
                  <a:lnTo>
                    <a:pt x="193" y="156"/>
                  </a:lnTo>
                  <a:lnTo>
                    <a:pt x="191" y="156"/>
                  </a:lnTo>
                  <a:lnTo>
                    <a:pt x="191" y="156"/>
                  </a:lnTo>
                  <a:lnTo>
                    <a:pt x="186" y="158"/>
                  </a:lnTo>
                  <a:lnTo>
                    <a:pt x="186" y="158"/>
                  </a:lnTo>
                  <a:lnTo>
                    <a:pt x="182" y="158"/>
                  </a:lnTo>
                  <a:lnTo>
                    <a:pt x="180" y="160"/>
                  </a:lnTo>
                  <a:lnTo>
                    <a:pt x="177" y="160"/>
                  </a:lnTo>
                  <a:lnTo>
                    <a:pt x="177" y="162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5"/>
                  </a:lnTo>
                  <a:lnTo>
                    <a:pt x="173" y="165"/>
                  </a:lnTo>
                  <a:lnTo>
                    <a:pt x="173" y="167"/>
                  </a:lnTo>
                  <a:lnTo>
                    <a:pt x="173" y="169"/>
                  </a:lnTo>
                  <a:lnTo>
                    <a:pt x="173" y="169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74"/>
                  </a:lnTo>
                  <a:lnTo>
                    <a:pt x="175" y="174"/>
                  </a:lnTo>
                  <a:lnTo>
                    <a:pt x="175" y="174"/>
                  </a:lnTo>
                  <a:lnTo>
                    <a:pt x="175" y="174"/>
                  </a:lnTo>
                  <a:lnTo>
                    <a:pt x="175" y="176"/>
                  </a:lnTo>
                  <a:lnTo>
                    <a:pt x="175" y="176"/>
                  </a:lnTo>
                  <a:lnTo>
                    <a:pt x="175" y="176"/>
                  </a:lnTo>
                  <a:lnTo>
                    <a:pt x="175" y="176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68" y="178"/>
                  </a:lnTo>
                  <a:lnTo>
                    <a:pt x="168" y="178"/>
                  </a:lnTo>
                  <a:lnTo>
                    <a:pt x="168" y="178"/>
                  </a:lnTo>
                  <a:lnTo>
                    <a:pt x="166" y="178"/>
                  </a:lnTo>
                  <a:lnTo>
                    <a:pt x="166" y="178"/>
                  </a:lnTo>
                  <a:lnTo>
                    <a:pt x="164" y="178"/>
                  </a:lnTo>
                  <a:lnTo>
                    <a:pt x="164" y="178"/>
                  </a:lnTo>
                  <a:lnTo>
                    <a:pt x="164" y="178"/>
                  </a:lnTo>
                  <a:lnTo>
                    <a:pt x="162" y="178"/>
                  </a:lnTo>
                  <a:lnTo>
                    <a:pt x="162" y="178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59" y="178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5" y="180"/>
                  </a:lnTo>
                  <a:lnTo>
                    <a:pt x="155" y="180"/>
                  </a:lnTo>
                  <a:lnTo>
                    <a:pt x="150" y="183"/>
                  </a:lnTo>
                  <a:lnTo>
                    <a:pt x="150" y="183"/>
                  </a:lnTo>
                  <a:lnTo>
                    <a:pt x="150" y="183"/>
                  </a:lnTo>
                  <a:lnTo>
                    <a:pt x="148" y="183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6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92"/>
                  </a:lnTo>
                  <a:lnTo>
                    <a:pt x="144" y="192"/>
                  </a:lnTo>
                  <a:lnTo>
                    <a:pt x="144" y="192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4" y="194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201"/>
                  </a:lnTo>
                  <a:lnTo>
                    <a:pt x="141" y="201"/>
                  </a:lnTo>
                  <a:lnTo>
                    <a:pt x="141" y="201"/>
                  </a:lnTo>
                  <a:lnTo>
                    <a:pt x="139" y="201"/>
                  </a:lnTo>
                  <a:lnTo>
                    <a:pt x="139" y="201"/>
                  </a:lnTo>
                  <a:lnTo>
                    <a:pt x="139" y="201"/>
                  </a:lnTo>
                  <a:lnTo>
                    <a:pt x="130" y="203"/>
                  </a:lnTo>
                  <a:lnTo>
                    <a:pt x="130" y="205"/>
                  </a:lnTo>
                  <a:lnTo>
                    <a:pt x="128" y="207"/>
                  </a:lnTo>
                  <a:lnTo>
                    <a:pt x="121" y="210"/>
                  </a:lnTo>
                  <a:lnTo>
                    <a:pt x="121" y="210"/>
                  </a:lnTo>
                  <a:lnTo>
                    <a:pt x="121" y="212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9"/>
                  </a:lnTo>
                  <a:lnTo>
                    <a:pt x="117" y="219"/>
                  </a:lnTo>
                  <a:lnTo>
                    <a:pt x="114" y="221"/>
                  </a:lnTo>
                  <a:lnTo>
                    <a:pt x="112" y="223"/>
                  </a:lnTo>
                  <a:lnTo>
                    <a:pt x="108" y="230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0"/>
                  </a:lnTo>
                  <a:lnTo>
                    <a:pt x="106" y="232"/>
                  </a:lnTo>
                  <a:lnTo>
                    <a:pt x="106" y="232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9" y="236"/>
                  </a:lnTo>
                  <a:lnTo>
                    <a:pt x="97" y="236"/>
                  </a:lnTo>
                  <a:lnTo>
                    <a:pt x="97" y="236"/>
                  </a:lnTo>
                  <a:lnTo>
                    <a:pt x="97" y="236"/>
                  </a:lnTo>
                  <a:lnTo>
                    <a:pt x="97" y="236"/>
                  </a:lnTo>
                  <a:lnTo>
                    <a:pt x="94" y="236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2" y="234"/>
                  </a:lnTo>
                  <a:lnTo>
                    <a:pt x="92" y="234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90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79" y="234"/>
                  </a:lnTo>
                  <a:lnTo>
                    <a:pt x="79" y="234"/>
                  </a:lnTo>
                  <a:lnTo>
                    <a:pt x="79" y="232"/>
                  </a:lnTo>
                  <a:lnTo>
                    <a:pt x="81" y="232"/>
                  </a:lnTo>
                  <a:lnTo>
                    <a:pt x="79" y="232"/>
                  </a:lnTo>
                  <a:lnTo>
                    <a:pt x="79" y="232"/>
                  </a:lnTo>
                  <a:lnTo>
                    <a:pt x="79" y="232"/>
                  </a:lnTo>
                  <a:lnTo>
                    <a:pt x="79" y="232"/>
                  </a:lnTo>
                  <a:lnTo>
                    <a:pt x="79" y="232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6" y="230"/>
                  </a:lnTo>
                  <a:lnTo>
                    <a:pt x="74" y="230"/>
                  </a:lnTo>
                  <a:lnTo>
                    <a:pt x="74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7" y="230"/>
                  </a:lnTo>
                  <a:lnTo>
                    <a:pt x="65" y="230"/>
                  </a:lnTo>
                  <a:lnTo>
                    <a:pt x="65" y="230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6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9" y="223"/>
                  </a:lnTo>
                  <a:lnTo>
                    <a:pt x="49" y="223"/>
                  </a:lnTo>
                  <a:lnTo>
                    <a:pt x="49" y="223"/>
                  </a:lnTo>
                  <a:lnTo>
                    <a:pt x="49" y="223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5" y="223"/>
                  </a:lnTo>
                  <a:lnTo>
                    <a:pt x="45" y="223"/>
                  </a:lnTo>
                  <a:lnTo>
                    <a:pt x="43" y="223"/>
                  </a:lnTo>
                  <a:lnTo>
                    <a:pt x="43" y="223"/>
                  </a:lnTo>
                  <a:lnTo>
                    <a:pt x="43" y="223"/>
                  </a:lnTo>
                  <a:lnTo>
                    <a:pt x="40" y="223"/>
                  </a:lnTo>
                  <a:lnTo>
                    <a:pt x="40" y="223"/>
                  </a:lnTo>
                  <a:lnTo>
                    <a:pt x="38" y="223"/>
                  </a:lnTo>
                  <a:lnTo>
                    <a:pt x="38" y="223"/>
                  </a:lnTo>
                  <a:lnTo>
                    <a:pt x="38" y="223"/>
                  </a:lnTo>
                  <a:lnTo>
                    <a:pt x="36" y="225"/>
                  </a:lnTo>
                  <a:lnTo>
                    <a:pt x="36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4" y="225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31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7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19"/>
                  </a:lnTo>
                  <a:lnTo>
                    <a:pt x="22" y="219"/>
                  </a:lnTo>
                  <a:lnTo>
                    <a:pt x="20" y="219"/>
                  </a:lnTo>
                  <a:lnTo>
                    <a:pt x="20" y="219"/>
                  </a:lnTo>
                  <a:lnTo>
                    <a:pt x="20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4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3" y="212"/>
                  </a:lnTo>
                  <a:lnTo>
                    <a:pt x="13" y="212"/>
                  </a:lnTo>
                  <a:lnTo>
                    <a:pt x="13" y="210"/>
                  </a:lnTo>
                  <a:lnTo>
                    <a:pt x="13" y="210"/>
                  </a:lnTo>
                  <a:lnTo>
                    <a:pt x="11" y="210"/>
                  </a:lnTo>
                  <a:lnTo>
                    <a:pt x="11" y="210"/>
                  </a:lnTo>
                  <a:lnTo>
                    <a:pt x="11" y="210"/>
                  </a:lnTo>
                  <a:lnTo>
                    <a:pt x="11" y="210"/>
                  </a:lnTo>
                  <a:lnTo>
                    <a:pt x="11" y="210"/>
                  </a:lnTo>
                  <a:lnTo>
                    <a:pt x="11" y="210"/>
                  </a:lnTo>
                  <a:lnTo>
                    <a:pt x="11" y="210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4" y="203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87"/>
                  </a:lnTo>
                  <a:lnTo>
                    <a:pt x="0" y="183"/>
                  </a:lnTo>
                  <a:lnTo>
                    <a:pt x="0" y="180"/>
                  </a:lnTo>
                  <a:lnTo>
                    <a:pt x="0" y="178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2" y="169"/>
                  </a:lnTo>
                  <a:lnTo>
                    <a:pt x="2" y="167"/>
                  </a:lnTo>
                  <a:lnTo>
                    <a:pt x="2" y="162"/>
                  </a:lnTo>
                  <a:lnTo>
                    <a:pt x="2" y="158"/>
                  </a:lnTo>
                  <a:lnTo>
                    <a:pt x="2" y="156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4"/>
                  </a:lnTo>
                  <a:lnTo>
                    <a:pt x="2" y="140"/>
                  </a:lnTo>
                  <a:lnTo>
                    <a:pt x="2" y="138"/>
                  </a:lnTo>
                  <a:lnTo>
                    <a:pt x="2" y="133"/>
                  </a:lnTo>
                  <a:lnTo>
                    <a:pt x="2" y="131"/>
                  </a:lnTo>
                  <a:lnTo>
                    <a:pt x="2" y="126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7" y="115"/>
                  </a:lnTo>
                  <a:lnTo>
                    <a:pt x="11" y="115"/>
                  </a:lnTo>
                  <a:lnTo>
                    <a:pt x="13" y="115"/>
                  </a:lnTo>
                  <a:lnTo>
                    <a:pt x="16" y="115"/>
                  </a:lnTo>
                  <a:lnTo>
                    <a:pt x="18" y="115"/>
                  </a:lnTo>
                  <a:lnTo>
                    <a:pt x="20" y="115"/>
                  </a:lnTo>
                  <a:lnTo>
                    <a:pt x="22" y="115"/>
                  </a:lnTo>
                  <a:lnTo>
                    <a:pt x="25" y="115"/>
                  </a:lnTo>
                  <a:lnTo>
                    <a:pt x="29" y="115"/>
                  </a:lnTo>
                  <a:lnTo>
                    <a:pt x="31" y="115"/>
                  </a:lnTo>
                  <a:lnTo>
                    <a:pt x="34" y="115"/>
                  </a:lnTo>
                  <a:lnTo>
                    <a:pt x="36" y="115"/>
                  </a:lnTo>
                  <a:lnTo>
                    <a:pt x="38" y="115"/>
                  </a:lnTo>
                  <a:lnTo>
                    <a:pt x="40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3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3" y="111"/>
                  </a:lnTo>
                  <a:lnTo>
                    <a:pt x="43" y="111"/>
                  </a:lnTo>
                  <a:lnTo>
                    <a:pt x="43" y="111"/>
                  </a:lnTo>
                  <a:lnTo>
                    <a:pt x="43" y="108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5"/>
                  </a:lnTo>
                  <a:lnTo>
                    <a:pt x="45" y="93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61" y="77"/>
                  </a:lnTo>
                  <a:lnTo>
                    <a:pt x="61" y="75"/>
                  </a:lnTo>
                  <a:lnTo>
                    <a:pt x="63" y="75"/>
                  </a:lnTo>
                  <a:lnTo>
                    <a:pt x="63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81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6" y="84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8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101" y="90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08" y="88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10" y="81"/>
                  </a:lnTo>
                  <a:lnTo>
                    <a:pt x="110" y="81"/>
                  </a:lnTo>
                  <a:lnTo>
                    <a:pt x="110" y="81"/>
                  </a:lnTo>
                  <a:lnTo>
                    <a:pt x="110" y="81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6"/>
                  </a:lnTo>
                  <a:lnTo>
                    <a:pt x="112" y="88"/>
                  </a:lnTo>
                  <a:lnTo>
                    <a:pt x="117" y="90"/>
                  </a:lnTo>
                  <a:lnTo>
                    <a:pt x="117" y="93"/>
                  </a:lnTo>
                  <a:lnTo>
                    <a:pt x="117" y="93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8" y="99"/>
                  </a:lnTo>
                  <a:lnTo>
                    <a:pt x="128" y="102"/>
                  </a:lnTo>
                  <a:lnTo>
                    <a:pt x="128" y="102"/>
                  </a:lnTo>
                  <a:lnTo>
                    <a:pt x="128" y="102"/>
                  </a:lnTo>
                  <a:lnTo>
                    <a:pt x="128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7" y="108"/>
                  </a:lnTo>
                  <a:lnTo>
                    <a:pt x="139" y="111"/>
                  </a:lnTo>
                  <a:lnTo>
                    <a:pt x="139" y="111"/>
                  </a:lnTo>
                  <a:lnTo>
                    <a:pt x="139" y="111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9" y="113"/>
                  </a:lnTo>
                  <a:lnTo>
                    <a:pt x="139" y="113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3"/>
                  </a:lnTo>
                  <a:lnTo>
                    <a:pt x="141" y="111"/>
                  </a:lnTo>
                  <a:lnTo>
                    <a:pt x="141" y="113"/>
                  </a:lnTo>
                  <a:lnTo>
                    <a:pt x="144" y="113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6" y="120"/>
                  </a:lnTo>
                  <a:lnTo>
                    <a:pt x="146" y="120"/>
                  </a:lnTo>
                  <a:lnTo>
                    <a:pt x="146" y="120"/>
                  </a:lnTo>
                  <a:lnTo>
                    <a:pt x="146" y="120"/>
                  </a:lnTo>
                  <a:lnTo>
                    <a:pt x="146" y="120"/>
                  </a:lnTo>
                  <a:lnTo>
                    <a:pt x="148" y="122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0" y="124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3" y="124"/>
                  </a:lnTo>
                  <a:lnTo>
                    <a:pt x="153" y="124"/>
                  </a:lnTo>
                  <a:lnTo>
                    <a:pt x="155" y="124"/>
                  </a:lnTo>
                  <a:lnTo>
                    <a:pt x="157" y="122"/>
                  </a:lnTo>
                  <a:lnTo>
                    <a:pt x="159" y="122"/>
                  </a:lnTo>
                  <a:lnTo>
                    <a:pt x="159" y="122"/>
                  </a:lnTo>
                  <a:lnTo>
                    <a:pt x="159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2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6" y="126"/>
                  </a:lnTo>
                  <a:lnTo>
                    <a:pt x="166" y="124"/>
                  </a:lnTo>
                  <a:lnTo>
                    <a:pt x="166" y="120"/>
                  </a:lnTo>
                  <a:lnTo>
                    <a:pt x="166" y="115"/>
                  </a:lnTo>
                  <a:lnTo>
                    <a:pt x="166" y="113"/>
                  </a:lnTo>
                  <a:lnTo>
                    <a:pt x="166" y="108"/>
                  </a:lnTo>
                  <a:lnTo>
                    <a:pt x="166" y="104"/>
                  </a:lnTo>
                  <a:lnTo>
                    <a:pt x="166" y="102"/>
                  </a:lnTo>
                  <a:lnTo>
                    <a:pt x="166" y="97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4" y="95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7" y="102"/>
                  </a:lnTo>
                  <a:lnTo>
                    <a:pt x="157" y="102"/>
                  </a:lnTo>
                  <a:lnTo>
                    <a:pt x="157" y="102"/>
                  </a:lnTo>
                  <a:lnTo>
                    <a:pt x="157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102"/>
                  </a:lnTo>
                  <a:lnTo>
                    <a:pt x="155" y="99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102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48" y="97"/>
                  </a:lnTo>
                  <a:lnTo>
                    <a:pt x="148" y="95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9" y="86"/>
                  </a:lnTo>
                  <a:lnTo>
                    <a:pt x="137" y="86"/>
                  </a:lnTo>
                  <a:lnTo>
                    <a:pt x="137" y="84"/>
                  </a:lnTo>
                  <a:lnTo>
                    <a:pt x="137" y="84"/>
                  </a:lnTo>
                  <a:lnTo>
                    <a:pt x="137" y="84"/>
                  </a:lnTo>
                  <a:lnTo>
                    <a:pt x="137" y="84"/>
                  </a:lnTo>
                  <a:lnTo>
                    <a:pt x="137" y="84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9" y="77"/>
                  </a:lnTo>
                  <a:lnTo>
                    <a:pt x="137" y="75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9" y="75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41" y="66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1" y="61"/>
                  </a:lnTo>
                  <a:lnTo>
                    <a:pt x="141" y="61"/>
                  </a:lnTo>
                  <a:lnTo>
                    <a:pt x="141" y="61"/>
                  </a:lnTo>
                  <a:lnTo>
                    <a:pt x="141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1" y="52"/>
                  </a:lnTo>
                  <a:lnTo>
                    <a:pt x="141" y="52"/>
                  </a:lnTo>
                  <a:lnTo>
                    <a:pt x="141" y="52"/>
                  </a:lnTo>
                  <a:lnTo>
                    <a:pt x="144" y="52"/>
                  </a:lnTo>
                  <a:lnTo>
                    <a:pt x="144" y="52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4" y="48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4" y="41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9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4" y="34"/>
                  </a:lnTo>
                  <a:lnTo>
                    <a:pt x="144" y="34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5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4" y="23"/>
                  </a:lnTo>
                  <a:lnTo>
                    <a:pt x="146" y="18"/>
                  </a:lnTo>
                  <a:lnTo>
                    <a:pt x="148" y="14"/>
                  </a:lnTo>
                  <a:lnTo>
                    <a:pt x="150" y="12"/>
                  </a:lnTo>
                  <a:lnTo>
                    <a:pt x="150" y="12"/>
                  </a:lnTo>
                  <a:lnTo>
                    <a:pt x="148" y="9"/>
                  </a:lnTo>
                  <a:lnTo>
                    <a:pt x="148" y="7"/>
                  </a:lnTo>
                  <a:lnTo>
                    <a:pt x="150" y="7"/>
                  </a:lnTo>
                  <a:lnTo>
                    <a:pt x="153" y="7"/>
                  </a:lnTo>
                  <a:lnTo>
                    <a:pt x="155" y="7"/>
                  </a:lnTo>
                  <a:lnTo>
                    <a:pt x="159" y="7"/>
                  </a:lnTo>
                  <a:lnTo>
                    <a:pt x="164" y="5"/>
                  </a:lnTo>
                  <a:lnTo>
                    <a:pt x="168" y="5"/>
                  </a:lnTo>
                  <a:lnTo>
                    <a:pt x="175" y="3"/>
                  </a:lnTo>
                  <a:lnTo>
                    <a:pt x="180" y="3"/>
                  </a:lnTo>
                  <a:lnTo>
                    <a:pt x="184" y="3"/>
                  </a:lnTo>
                  <a:lnTo>
                    <a:pt x="189" y="0"/>
                  </a:lnTo>
                  <a:lnTo>
                    <a:pt x="189" y="3"/>
                  </a:lnTo>
                  <a:lnTo>
                    <a:pt x="189" y="5"/>
                  </a:lnTo>
                  <a:lnTo>
                    <a:pt x="191" y="7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12"/>
                  </a:lnTo>
                  <a:lnTo>
                    <a:pt x="195" y="1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459"/>
            <p:cNvSpPr>
              <a:spLocks/>
            </p:cNvSpPr>
            <p:nvPr/>
          </p:nvSpPr>
          <p:spPr bwMode="auto">
            <a:xfrm>
              <a:off x="7123449" y="3210268"/>
              <a:ext cx="364371" cy="255728"/>
            </a:xfrm>
            <a:custGeom>
              <a:avLst/>
              <a:gdLst>
                <a:gd name="T0" fmla="*/ 213 w 218"/>
                <a:gd name="T1" fmla="*/ 58 h 153"/>
                <a:gd name="T2" fmla="*/ 200 w 218"/>
                <a:gd name="T3" fmla="*/ 65 h 153"/>
                <a:gd name="T4" fmla="*/ 200 w 218"/>
                <a:gd name="T5" fmla="*/ 72 h 153"/>
                <a:gd name="T6" fmla="*/ 200 w 218"/>
                <a:gd name="T7" fmla="*/ 81 h 153"/>
                <a:gd name="T8" fmla="*/ 198 w 218"/>
                <a:gd name="T9" fmla="*/ 83 h 153"/>
                <a:gd name="T10" fmla="*/ 193 w 218"/>
                <a:gd name="T11" fmla="*/ 85 h 153"/>
                <a:gd name="T12" fmla="*/ 189 w 218"/>
                <a:gd name="T13" fmla="*/ 85 h 153"/>
                <a:gd name="T14" fmla="*/ 184 w 218"/>
                <a:gd name="T15" fmla="*/ 90 h 153"/>
                <a:gd name="T16" fmla="*/ 169 w 218"/>
                <a:gd name="T17" fmla="*/ 94 h 153"/>
                <a:gd name="T18" fmla="*/ 157 w 218"/>
                <a:gd name="T19" fmla="*/ 101 h 153"/>
                <a:gd name="T20" fmla="*/ 144 w 218"/>
                <a:gd name="T21" fmla="*/ 103 h 153"/>
                <a:gd name="T22" fmla="*/ 137 w 218"/>
                <a:gd name="T23" fmla="*/ 108 h 153"/>
                <a:gd name="T24" fmla="*/ 135 w 218"/>
                <a:gd name="T25" fmla="*/ 114 h 153"/>
                <a:gd name="T26" fmla="*/ 130 w 218"/>
                <a:gd name="T27" fmla="*/ 119 h 153"/>
                <a:gd name="T28" fmla="*/ 126 w 218"/>
                <a:gd name="T29" fmla="*/ 119 h 153"/>
                <a:gd name="T30" fmla="*/ 117 w 218"/>
                <a:gd name="T31" fmla="*/ 119 h 153"/>
                <a:gd name="T32" fmla="*/ 106 w 218"/>
                <a:gd name="T33" fmla="*/ 126 h 153"/>
                <a:gd name="T34" fmla="*/ 85 w 218"/>
                <a:gd name="T35" fmla="*/ 132 h 153"/>
                <a:gd name="T36" fmla="*/ 72 w 218"/>
                <a:gd name="T37" fmla="*/ 135 h 153"/>
                <a:gd name="T38" fmla="*/ 61 w 218"/>
                <a:gd name="T39" fmla="*/ 141 h 153"/>
                <a:gd name="T40" fmla="*/ 54 w 218"/>
                <a:gd name="T41" fmla="*/ 148 h 153"/>
                <a:gd name="T42" fmla="*/ 54 w 218"/>
                <a:gd name="T43" fmla="*/ 148 h 153"/>
                <a:gd name="T44" fmla="*/ 54 w 218"/>
                <a:gd name="T45" fmla="*/ 148 h 153"/>
                <a:gd name="T46" fmla="*/ 52 w 218"/>
                <a:gd name="T47" fmla="*/ 148 h 153"/>
                <a:gd name="T48" fmla="*/ 49 w 218"/>
                <a:gd name="T49" fmla="*/ 148 h 153"/>
                <a:gd name="T50" fmla="*/ 47 w 218"/>
                <a:gd name="T51" fmla="*/ 148 h 153"/>
                <a:gd name="T52" fmla="*/ 40 w 218"/>
                <a:gd name="T53" fmla="*/ 150 h 153"/>
                <a:gd name="T54" fmla="*/ 36 w 218"/>
                <a:gd name="T55" fmla="*/ 153 h 153"/>
                <a:gd name="T56" fmla="*/ 31 w 218"/>
                <a:gd name="T57" fmla="*/ 153 h 153"/>
                <a:gd name="T58" fmla="*/ 27 w 218"/>
                <a:gd name="T59" fmla="*/ 150 h 153"/>
                <a:gd name="T60" fmla="*/ 22 w 218"/>
                <a:gd name="T61" fmla="*/ 150 h 153"/>
                <a:gd name="T62" fmla="*/ 20 w 218"/>
                <a:gd name="T63" fmla="*/ 144 h 153"/>
                <a:gd name="T64" fmla="*/ 16 w 218"/>
                <a:gd name="T65" fmla="*/ 137 h 153"/>
                <a:gd name="T66" fmla="*/ 16 w 218"/>
                <a:gd name="T67" fmla="*/ 123 h 153"/>
                <a:gd name="T68" fmla="*/ 11 w 218"/>
                <a:gd name="T69" fmla="*/ 110 h 153"/>
                <a:gd name="T70" fmla="*/ 9 w 218"/>
                <a:gd name="T71" fmla="*/ 108 h 153"/>
                <a:gd name="T72" fmla="*/ 9 w 218"/>
                <a:gd name="T73" fmla="*/ 103 h 153"/>
                <a:gd name="T74" fmla="*/ 9 w 218"/>
                <a:gd name="T75" fmla="*/ 101 h 153"/>
                <a:gd name="T76" fmla="*/ 7 w 218"/>
                <a:gd name="T77" fmla="*/ 99 h 153"/>
                <a:gd name="T78" fmla="*/ 7 w 218"/>
                <a:gd name="T79" fmla="*/ 97 h 153"/>
                <a:gd name="T80" fmla="*/ 2 w 218"/>
                <a:gd name="T81" fmla="*/ 90 h 153"/>
                <a:gd name="T82" fmla="*/ 2 w 218"/>
                <a:gd name="T83" fmla="*/ 90 h 153"/>
                <a:gd name="T84" fmla="*/ 5 w 218"/>
                <a:gd name="T85" fmla="*/ 90 h 153"/>
                <a:gd name="T86" fmla="*/ 5 w 218"/>
                <a:gd name="T87" fmla="*/ 90 h 153"/>
                <a:gd name="T88" fmla="*/ 2 w 218"/>
                <a:gd name="T89" fmla="*/ 83 h 153"/>
                <a:gd name="T90" fmla="*/ 2 w 218"/>
                <a:gd name="T91" fmla="*/ 79 h 153"/>
                <a:gd name="T92" fmla="*/ 5 w 218"/>
                <a:gd name="T93" fmla="*/ 74 h 153"/>
                <a:gd name="T94" fmla="*/ 2 w 218"/>
                <a:gd name="T95" fmla="*/ 63 h 153"/>
                <a:gd name="T96" fmla="*/ 7 w 218"/>
                <a:gd name="T97" fmla="*/ 61 h 153"/>
                <a:gd name="T98" fmla="*/ 11 w 218"/>
                <a:gd name="T99" fmla="*/ 56 h 153"/>
                <a:gd name="T100" fmla="*/ 9 w 218"/>
                <a:gd name="T101" fmla="*/ 52 h 153"/>
                <a:gd name="T102" fmla="*/ 9 w 218"/>
                <a:gd name="T103" fmla="*/ 45 h 153"/>
                <a:gd name="T104" fmla="*/ 9 w 218"/>
                <a:gd name="T105" fmla="*/ 40 h 153"/>
                <a:gd name="T106" fmla="*/ 22 w 218"/>
                <a:gd name="T107" fmla="*/ 40 h 153"/>
                <a:gd name="T108" fmla="*/ 25 w 218"/>
                <a:gd name="T109" fmla="*/ 40 h 153"/>
                <a:gd name="T110" fmla="*/ 29 w 218"/>
                <a:gd name="T111" fmla="*/ 38 h 153"/>
                <a:gd name="T112" fmla="*/ 45 w 218"/>
                <a:gd name="T113" fmla="*/ 38 h 153"/>
                <a:gd name="T114" fmla="*/ 83 w 218"/>
                <a:gd name="T115" fmla="*/ 43 h 153"/>
                <a:gd name="T116" fmla="*/ 101 w 218"/>
                <a:gd name="T117" fmla="*/ 38 h 153"/>
                <a:gd name="T118" fmla="*/ 128 w 218"/>
                <a:gd name="T119" fmla="*/ 11 h 153"/>
                <a:gd name="T120" fmla="*/ 164 w 218"/>
                <a:gd name="T121" fmla="*/ 4 h 153"/>
                <a:gd name="T122" fmla="*/ 193 w 218"/>
                <a:gd name="T123" fmla="*/ 9 h 153"/>
                <a:gd name="T124" fmla="*/ 207 w 218"/>
                <a:gd name="T125" fmla="*/ 38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" h="153">
                  <a:moveTo>
                    <a:pt x="213" y="47"/>
                  </a:moveTo>
                  <a:lnTo>
                    <a:pt x="213" y="49"/>
                  </a:lnTo>
                  <a:lnTo>
                    <a:pt x="216" y="54"/>
                  </a:lnTo>
                  <a:lnTo>
                    <a:pt x="218" y="56"/>
                  </a:lnTo>
                  <a:lnTo>
                    <a:pt x="216" y="56"/>
                  </a:lnTo>
                  <a:lnTo>
                    <a:pt x="216" y="58"/>
                  </a:lnTo>
                  <a:lnTo>
                    <a:pt x="216" y="56"/>
                  </a:lnTo>
                  <a:lnTo>
                    <a:pt x="216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1" y="58"/>
                  </a:lnTo>
                  <a:lnTo>
                    <a:pt x="211" y="58"/>
                  </a:lnTo>
                  <a:lnTo>
                    <a:pt x="211" y="58"/>
                  </a:lnTo>
                  <a:lnTo>
                    <a:pt x="211" y="61"/>
                  </a:lnTo>
                  <a:lnTo>
                    <a:pt x="209" y="61"/>
                  </a:lnTo>
                  <a:lnTo>
                    <a:pt x="207" y="61"/>
                  </a:lnTo>
                  <a:lnTo>
                    <a:pt x="207" y="61"/>
                  </a:lnTo>
                  <a:lnTo>
                    <a:pt x="204" y="63"/>
                  </a:lnTo>
                  <a:lnTo>
                    <a:pt x="202" y="65"/>
                  </a:lnTo>
                  <a:lnTo>
                    <a:pt x="200" y="65"/>
                  </a:lnTo>
                  <a:lnTo>
                    <a:pt x="200" y="67"/>
                  </a:lnTo>
                  <a:lnTo>
                    <a:pt x="200" y="67"/>
                  </a:lnTo>
                  <a:lnTo>
                    <a:pt x="200" y="67"/>
                  </a:lnTo>
                  <a:lnTo>
                    <a:pt x="200" y="67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0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9"/>
                  </a:lnTo>
                  <a:lnTo>
                    <a:pt x="200" y="79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200" y="81"/>
                  </a:lnTo>
                  <a:lnTo>
                    <a:pt x="198" y="83"/>
                  </a:lnTo>
                  <a:lnTo>
                    <a:pt x="198" y="83"/>
                  </a:lnTo>
                  <a:lnTo>
                    <a:pt x="198" y="83"/>
                  </a:lnTo>
                  <a:lnTo>
                    <a:pt x="195" y="83"/>
                  </a:lnTo>
                  <a:lnTo>
                    <a:pt x="195" y="83"/>
                  </a:lnTo>
                  <a:lnTo>
                    <a:pt x="195" y="83"/>
                  </a:lnTo>
                  <a:lnTo>
                    <a:pt x="195" y="83"/>
                  </a:lnTo>
                  <a:lnTo>
                    <a:pt x="193" y="83"/>
                  </a:lnTo>
                  <a:lnTo>
                    <a:pt x="193" y="83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3" y="85"/>
                  </a:lnTo>
                  <a:lnTo>
                    <a:pt x="191" y="85"/>
                  </a:lnTo>
                  <a:lnTo>
                    <a:pt x="189" y="85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86" y="88"/>
                  </a:lnTo>
                  <a:lnTo>
                    <a:pt x="186" y="88"/>
                  </a:lnTo>
                  <a:lnTo>
                    <a:pt x="186" y="88"/>
                  </a:lnTo>
                  <a:lnTo>
                    <a:pt x="186" y="90"/>
                  </a:lnTo>
                  <a:lnTo>
                    <a:pt x="186" y="90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2"/>
                  </a:lnTo>
                  <a:lnTo>
                    <a:pt x="178" y="92"/>
                  </a:lnTo>
                  <a:lnTo>
                    <a:pt x="173" y="94"/>
                  </a:lnTo>
                  <a:lnTo>
                    <a:pt x="169" y="94"/>
                  </a:lnTo>
                  <a:lnTo>
                    <a:pt x="166" y="94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57" y="99"/>
                  </a:lnTo>
                  <a:lnTo>
                    <a:pt x="157" y="101"/>
                  </a:lnTo>
                  <a:lnTo>
                    <a:pt x="157" y="101"/>
                  </a:lnTo>
                  <a:lnTo>
                    <a:pt x="157" y="101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1" y="101"/>
                  </a:lnTo>
                  <a:lnTo>
                    <a:pt x="146" y="101"/>
                  </a:lnTo>
                  <a:lnTo>
                    <a:pt x="144" y="103"/>
                  </a:lnTo>
                  <a:lnTo>
                    <a:pt x="144" y="103"/>
                  </a:lnTo>
                  <a:lnTo>
                    <a:pt x="142" y="103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39" y="106"/>
                  </a:lnTo>
                  <a:lnTo>
                    <a:pt x="139" y="106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7" y="108"/>
                  </a:lnTo>
                  <a:lnTo>
                    <a:pt x="137" y="108"/>
                  </a:lnTo>
                  <a:lnTo>
                    <a:pt x="137" y="108"/>
                  </a:lnTo>
                  <a:lnTo>
                    <a:pt x="137" y="108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6" y="119"/>
                  </a:lnTo>
                  <a:lnTo>
                    <a:pt x="126" y="119"/>
                  </a:lnTo>
                  <a:lnTo>
                    <a:pt x="126" y="119"/>
                  </a:lnTo>
                  <a:lnTo>
                    <a:pt x="126" y="119"/>
                  </a:lnTo>
                  <a:lnTo>
                    <a:pt x="126" y="119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19"/>
                  </a:lnTo>
                  <a:lnTo>
                    <a:pt x="124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5" y="119"/>
                  </a:lnTo>
                  <a:lnTo>
                    <a:pt x="115" y="119"/>
                  </a:lnTo>
                  <a:lnTo>
                    <a:pt x="115" y="119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2" y="121"/>
                  </a:lnTo>
                  <a:lnTo>
                    <a:pt x="110" y="121"/>
                  </a:lnTo>
                  <a:lnTo>
                    <a:pt x="108" y="121"/>
                  </a:lnTo>
                  <a:lnTo>
                    <a:pt x="108" y="123"/>
                  </a:lnTo>
                  <a:lnTo>
                    <a:pt x="106" y="126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99" y="130"/>
                  </a:lnTo>
                  <a:lnTo>
                    <a:pt x="92" y="130"/>
                  </a:lnTo>
                  <a:lnTo>
                    <a:pt x="90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5" y="132"/>
                  </a:lnTo>
                  <a:lnTo>
                    <a:pt x="85" y="132"/>
                  </a:lnTo>
                  <a:lnTo>
                    <a:pt x="85" y="132"/>
                  </a:lnTo>
                  <a:lnTo>
                    <a:pt x="85" y="132"/>
                  </a:lnTo>
                  <a:lnTo>
                    <a:pt x="81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6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67" y="135"/>
                  </a:lnTo>
                  <a:lnTo>
                    <a:pt x="65" y="135"/>
                  </a:lnTo>
                  <a:lnTo>
                    <a:pt x="65" y="137"/>
                  </a:lnTo>
                  <a:lnTo>
                    <a:pt x="63" y="139"/>
                  </a:lnTo>
                  <a:lnTo>
                    <a:pt x="63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1" y="141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6" y="146"/>
                  </a:lnTo>
                  <a:lnTo>
                    <a:pt x="56" y="146"/>
                  </a:lnTo>
                  <a:lnTo>
                    <a:pt x="56" y="146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48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49" y="150"/>
                  </a:lnTo>
                  <a:lnTo>
                    <a:pt x="49" y="150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49" y="148"/>
                  </a:lnTo>
                  <a:lnTo>
                    <a:pt x="47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0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29" y="153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46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8" y="139"/>
                  </a:lnTo>
                  <a:lnTo>
                    <a:pt x="18" y="139"/>
                  </a:lnTo>
                  <a:lnTo>
                    <a:pt x="16" y="139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5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6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1" y="119"/>
                  </a:lnTo>
                  <a:lnTo>
                    <a:pt x="14" y="117"/>
                  </a:lnTo>
                  <a:lnTo>
                    <a:pt x="14" y="114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11" y="108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5" y="67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7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1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6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5" y="38"/>
                  </a:lnTo>
                  <a:lnTo>
                    <a:pt x="47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1" y="40"/>
                  </a:lnTo>
                  <a:lnTo>
                    <a:pt x="67" y="43"/>
                  </a:lnTo>
                  <a:lnTo>
                    <a:pt x="70" y="43"/>
                  </a:lnTo>
                  <a:lnTo>
                    <a:pt x="76" y="43"/>
                  </a:lnTo>
                  <a:lnTo>
                    <a:pt x="79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5" y="45"/>
                  </a:lnTo>
                  <a:lnTo>
                    <a:pt x="88" y="47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2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7" y="47"/>
                  </a:lnTo>
                  <a:lnTo>
                    <a:pt x="99" y="47"/>
                  </a:lnTo>
                  <a:lnTo>
                    <a:pt x="99" y="45"/>
                  </a:lnTo>
                  <a:lnTo>
                    <a:pt x="101" y="40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3" y="34"/>
                  </a:lnTo>
                  <a:lnTo>
                    <a:pt x="106" y="29"/>
                  </a:lnTo>
                  <a:lnTo>
                    <a:pt x="108" y="25"/>
                  </a:lnTo>
                  <a:lnTo>
                    <a:pt x="110" y="22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5" y="20"/>
                  </a:lnTo>
                  <a:lnTo>
                    <a:pt x="119" y="18"/>
                  </a:lnTo>
                  <a:lnTo>
                    <a:pt x="121" y="16"/>
                  </a:lnTo>
                  <a:lnTo>
                    <a:pt x="126" y="13"/>
                  </a:lnTo>
                  <a:lnTo>
                    <a:pt x="128" y="11"/>
                  </a:lnTo>
                  <a:lnTo>
                    <a:pt x="130" y="11"/>
                  </a:lnTo>
                  <a:lnTo>
                    <a:pt x="130" y="9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42" y="9"/>
                  </a:lnTo>
                  <a:lnTo>
                    <a:pt x="144" y="9"/>
                  </a:lnTo>
                  <a:lnTo>
                    <a:pt x="146" y="7"/>
                  </a:lnTo>
                  <a:lnTo>
                    <a:pt x="151" y="7"/>
                  </a:lnTo>
                  <a:lnTo>
                    <a:pt x="153" y="7"/>
                  </a:lnTo>
                  <a:lnTo>
                    <a:pt x="157" y="7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6" y="4"/>
                  </a:lnTo>
                  <a:lnTo>
                    <a:pt x="171" y="4"/>
                  </a:lnTo>
                  <a:lnTo>
                    <a:pt x="173" y="2"/>
                  </a:lnTo>
                  <a:lnTo>
                    <a:pt x="178" y="2"/>
                  </a:lnTo>
                  <a:lnTo>
                    <a:pt x="180" y="2"/>
                  </a:lnTo>
                  <a:lnTo>
                    <a:pt x="182" y="2"/>
                  </a:lnTo>
                  <a:lnTo>
                    <a:pt x="186" y="2"/>
                  </a:lnTo>
                  <a:lnTo>
                    <a:pt x="189" y="0"/>
                  </a:lnTo>
                  <a:lnTo>
                    <a:pt x="191" y="2"/>
                  </a:lnTo>
                  <a:lnTo>
                    <a:pt x="191" y="4"/>
                  </a:lnTo>
                  <a:lnTo>
                    <a:pt x="193" y="7"/>
                  </a:lnTo>
                  <a:lnTo>
                    <a:pt x="193" y="9"/>
                  </a:lnTo>
                  <a:lnTo>
                    <a:pt x="195" y="11"/>
                  </a:lnTo>
                  <a:lnTo>
                    <a:pt x="195" y="13"/>
                  </a:lnTo>
                  <a:lnTo>
                    <a:pt x="198" y="16"/>
                  </a:lnTo>
                  <a:lnTo>
                    <a:pt x="198" y="18"/>
                  </a:lnTo>
                  <a:lnTo>
                    <a:pt x="200" y="20"/>
                  </a:lnTo>
                  <a:lnTo>
                    <a:pt x="200" y="22"/>
                  </a:lnTo>
                  <a:lnTo>
                    <a:pt x="200" y="25"/>
                  </a:lnTo>
                  <a:lnTo>
                    <a:pt x="202" y="27"/>
                  </a:lnTo>
                  <a:lnTo>
                    <a:pt x="202" y="29"/>
                  </a:lnTo>
                  <a:lnTo>
                    <a:pt x="204" y="31"/>
                  </a:lnTo>
                  <a:lnTo>
                    <a:pt x="204" y="34"/>
                  </a:lnTo>
                  <a:lnTo>
                    <a:pt x="207" y="38"/>
                  </a:lnTo>
                  <a:lnTo>
                    <a:pt x="207" y="40"/>
                  </a:lnTo>
                  <a:lnTo>
                    <a:pt x="209" y="40"/>
                  </a:lnTo>
                  <a:lnTo>
                    <a:pt x="209" y="40"/>
                  </a:lnTo>
                  <a:lnTo>
                    <a:pt x="209" y="40"/>
                  </a:lnTo>
                  <a:lnTo>
                    <a:pt x="209" y="40"/>
                  </a:lnTo>
                  <a:lnTo>
                    <a:pt x="209" y="40"/>
                  </a:lnTo>
                  <a:lnTo>
                    <a:pt x="209" y="40"/>
                  </a:lnTo>
                  <a:lnTo>
                    <a:pt x="209" y="40"/>
                  </a:lnTo>
                  <a:lnTo>
                    <a:pt x="209" y="43"/>
                  </a:lnTo>
                  <a:lnTo>
                    <a:pt x="211" y="45"/>
                  </a:lnTo>
                  <a:lnTo>
                    <a:pt x="213" y="4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460"/>
            <p:cNvSpPr>
              <a:spLocks/>
            </p:cNvSpPr>
            <p:nvPr/>
          </p:nvSpPr>
          <p:spPr bwMode="auto">
            <a:xfrm>
              <a:off x="5054224" y="2867626"/>
              <a:ext cx="297514" cy="274114"/>
            </a:xfrm>
            <a:custGeom>
              <a:avLst/>
              <a:gdLst>
                <a:gd name="T0" fmla="*/ 175 w 178"/>
                <a:gd name="T1" fmla="*/ 5 h 164"/>
                <a:gd name="T2" fmla="*/ 175 w 178"/>
                <a:gd name="T3" fmla="*/ 11 h 164"/>
                <a:gd name="T4" fmla="*/ 175 w 178"/>
                <a:gd name="T5" fmla="*/ 23 h 164"/>
                <a:gd name="T6" fmla="*/ 175 w 178"/>
                <a:gd name="T7" fmla="*/ 34 h 164"/>
                <a:gd name="T8" fmla="*/ 175 w 178"/>
                <a:gd name="T9" fmla="*/ 38 h 164"/>
                <a:gd name="T10" fmla="*/ 166 w 178"/>
                <a:gd name="T11" fmla="*/ 38 h 164"/>
                <a:gd name="T12" fmla="*/ 157 w 178"/>
                <a:gd name="T13" fmla="*/ 38 h 164"/>
                <a:gd name="T14" fmla="*/ 146 w 178"/>
                <a:gd name="T15" fmla="*/ 38 h 164"/>
                <a:gd name="T16" fmla="*/ 137 w 178"/>
                <a:gd name="T17" fmla="*/ 38 h 164"/>
                <a:gd name="T18" fmla="*/ 126 w 178"/>
                <a:gd name="T19" fmla="*/ 38 h 164"/>
                <a:gd name="T20" fmla="*/ 117 w 178"/>
                <a:gd name="T21" fmla="*/ 38 h 164"/>
                <a:gd name="T22" fmla="*/ 108 w 178"/>
                <a:gd name="T23" fmla="*/ 41 h 164"/>
                <a:gd name="T24" fmla="*/ 108 w 178"/>
                <a:gd name="T25" fmla="*/ 50 h 164"/>
                <a:gd name="T26" fmla="*/ 108 w 178"/>
                <a:gd name="T27" fmla="*/ 59 h 164"/>
                <a:gd name="T28" fmla="*/ 108 w 178"/>
                <a:gd name="T29" fmla="*/ 68 h 164"/>
                <a:gd name="T30" fmla="*/ 108 w 178"/>
                <a:gd name="T31" fmla="*/ 77 h 164"/>
                <a:gd name="T32" fmla="*/ 106 w 178"/>
                <a:gd name="T33" fmla="*/ 86 h 164"/>
                <a:gd name="T34" fmla="*/ 106 w 178"/>
                <a:gd name="T35" fmla="*/ 95 h 164"/>
                <a:gd name="T36" fmla="*/ 103 w 178"/>
                <a:gd name="T37" fmla="*/ 101 h 164"/>
                <a:gd name="T38" fmla="*/ 92 w 178"/>
                <a:gd name="T39" fmla="*/ 106 h 164"/>
                <a:gd name="T40" fmla="*/ 86 w 178"/>
                <a:gd name="T41" fmla="*/ 110 h 164"/>
                <a:gd name="T42" fmla="*/ 83 w 178"/>
                <a:gd name="T43" fmla="*/ 122 h 164"/>
                <a:gd name="T44" fmla="*/ 81 w 178"/>
                <a:gd name="T45" fmla="*/ 151 h 164"/>
                <a:gd name="T46" fmla="*/ 65 w 178"/>
                <a:gd name="T47" fmla="*/ 151 h 164"/>
                <a:gd name="T48" fmla="*/ 29 w 178"/>
                <a:gd name="T49" fmla="*/ 151 h 164"/>
                <a:gd name="T50" fmla="*/ 7 w 178"/>
                <a:gd name="T51" fmla="*/ 151 h 164"/>
                <a:gd name="T52" fmla="*/ 2 w 178"/>
                <a:gd name="T53" fmla="*/ 155 h 164"/>
                <a:gd name="T54" fmla="*/ 2 w 178"/>
                <a:gd name="T55" fmla="*/ 164 h 164"/>
                <a:gd name="T56" fmla="*/ 0 w 178"/>
                <a:gd name="T57" fmla="*/ 160 h 164"/>
                <a:gd name="T58" fmla="*/ 2 w 178"/>
                <a:gd name="T59" fmla="*/ 151 h 164"/>
                <a:gd name="T60" fmla="*/ 9 w 178"/>
                <a:gd name="T61" fmla="*/ 146 h 164"/>
                <a:gd name="T62" fmla="*/ 29 w 178"/>
                <a:gd name="T63" fmla="*/ 146 h 164"/>
                <a:gd name="T64" fmla="*/ 45 w 178"/>
                <a:gd name="T65" fmla="*/ 146 h 164"/>
                <a:gd name="T66" fmla="*/ 52 w 178"/>
                <a:gd name="T67" fmla="*/ 140 h 164"/>
                <a:gd name="T68" fmla="*/ 56 w 178"/>
                <a:gd name="T69" fmla="*/ 133 h 164"/>
                <a:gd name="T70" fmla="*/ 61 w 178"/>
                <a:gd name="T71" fmla="*/ 126 h 164"/>
                <a:gd name="T72" fmla="*/ 63 w 178"/>
                <a:gd name="T73" fmla="*/ 113 h 164"/>
                <a:gd name="T74" fmla="*/ 65 w 178"/>
                <a:gd name="T75" fmla="*/ 97 h 164"/>
                <a:gd name="T76" fmla="*/ 72 w 178"/>
                <a:gd name="T77" fmla="*/ 90 h 164"/>
                <a:gd name="T78" fmla="*/ 81 w 178"/>
                <a:gd name="T79" fmla="*/ 86 h 164"/>
                <a:gd name="T80" fmla="*/ 88 w 178"/>
                <a:gd name="T81" fmla="*/ 74 h 164"/>
                <a:gd name="T82" fmla="*/ 95 w 178"/>
                <a:gd name="T83" fmla="*/ 70 h 164"/>
                <a:gd name="T84" fmla="*/ 101 w 178"/>
                <a:gd name="T85" fmla="*/ 63 h 164"/>
                <a:gd name="T86" fmla="*/ 103 w 178"/>
                <a:gd name="T87" fmla="*/ 47 h 164"/>
                <a:gd name="T88" fmla="*/ 108 w 178"/>
                <a:gd name="T89" fmla="*/ 38 h 164"/>
                <a:gd name="T90" fmla="*/ 112 w 178"/>
                <a:gd name="T91" fmla="*/ 36 h 164"/>
                <a:gd name="T92" fmla="*/ 117 w 178"/>
                <a:gd name="T93" fmla="*/ 29 h 164"/>
                <a:gd name="T94" fmla="*/ 121 w 178"/>
                <a:gd name="T95" fmla="*/ 23 h 164"/>
                <a:gd name="T96" fmla="*/ 124 w 178"/>
                <a:gd name="T97" fmla="*/ 18 h 164"/>
                <a:gd name="T98" fmla="*/ 135 w 178"/>
                <a:gd name="T99" fmla="*/ 14 h 164"/>
                <a:gd name="T100" fmla="*/ 144 w 178"/>
                <a:gd name="T101" fmla="*/ 18 h 164"/>
                <a:gd name="T102" fmla="*/ 151 w 178"/>
                <a:gd name="T103" fmla="*/ 18 h 164"/>
                <a:gd name="T104" fmla="*/ 157 w 178"/>
                <a:gd name="T105" fmla="*/ 16 h 164"/>
                <a:gd name="T106" fmla="*/ 166 w 178"/>
                <a:gd name="T107" fmla="*/ 14 h 164"/>
                <a:gd name="T108" fmla="*/ 175 w 178"/>
                <a:gd name="T109" fmla="*/ 11 h 164"/>
                <a:gd name="T110" fmla="*/ 175 w 178"/>
                <a:gd name="T111" fmla="*/ 5 h 164"/>
                <a:gd name="T112" fmla="*/ 173 w 178"/>
                <a:gd name="T113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8" h="164">
                  <a:moveTo>
                    <a:pt x="173" y="0"/>
                  </a:moveTo>
                  <a:lnTo>
                    <a:pt x="175" y="0"/>
                  </a:lnTo>
                  <a:lnTo>
                    <a:pt x="178" y="0"/>
                  </a:lnTo>
                  <a:lnTo>
                    <a:pt x="178" y="2"/>
                  </a:lnTo>
                  <a:lnTo>
                    <a:pt x="175" y="5"/>
                  </a:lnTo>
                  <a:lnTo>
                    <a:pt x="175" y="7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11"/>
                  </a:lnTo>
                  <a:lnTo>
                    <a:pt x="175" y="14"/>
                  </a:lnTo>
                  <a:lnTo>
                    <a:pt x="175" y="16"/>
                  </a:lnTo>
                  <a:lnTo>
                    <a:pt x="175" y="18"/>
                  </a:lnTo>
                  <a:lnTo>
                    <a:pt x="175" y="20"/>
                  </a:lnTo>
                  <a:lnTo>
                    <a:pt x="175" y="23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32"/>
                  </a:lnTo>
                  <a:lnTo>
                    <a:pt x="175" y="34"/>
                  </a:lnTo>
                  <a:lnTo>
                    <a:pt x="175" y="34"/>
                  </a:lnTo>
                  <a:lnTo>
                    <a:pt x="175" y="36"/>
                  </a:lnTo>
                  <a:lnTo>
                    <a:pt x="175" y="36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5" y="38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69" y="38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4" y="38"/>
                  </a:lnTo>
                  <a:lnTo>
                    <a:pt x="162" y="38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5" y="38"/>
                  </a:lnTo>
                  <a:lnTo>
                    <a:pt x="153" y="38"/>
                  </a:lnTo>
                  <a:lnTo>
                    <a:pt x="151" y="38"/>
                  </a:lnTo>
                  <a:lnTo>
                    <a:pt x="148" y="38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2" y="38"/>
                  </a:lnTo>
                  <a:lnTo>
                    <a:pt x="142" y="38"/>
                  </a:lnTo>
                  <a:lnTo>
                    <a:pt x="139" y="38"/>
                  </a:lnTo>
                  <a:lnTo>
                    <a:pt x="137" y="38"/>
                  </a:lnTo>
                  <a:lnTo>
                    <a:pt x="135" y="38"/>
                  </a:lnTo>
                  <a:lnTo>
                    <a:pt x="133" y="38"/>
                  </a:lnTo>
                  <a:lnTo>
                    <a:pt x="130" y="38"/>
                  </a:lnTo>
                  <a:lnTo>
                    <a:pt x="128" y="38"/>
                  </a:lnTo>
                  <a:lnTo>
                    <a:pt x="126" y="38"/>
                  </a:lnTo>
                  <a:lnTo>
                    <a:pt x="124" y="38"/>
                  </a:lnTo>
                  <a:lnTo>
                    <a:pt x="121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2" y="38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7"/>
                  </a:lnTo>
                  <a:lnTo>
                    <a:pt x="108" y="50"/>
                  </a:lnTo>
                  <a:lnTo>
                    <a:pt x="108" y="52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6"/>
                  </a:lnTo>
                  <a:lnTo>
                    <a:pt x="108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08" y="68"/>
                  </a:lnTo>
                  <a:lnTo>
                    <a:pt x="108" y="70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4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6" y="83"/>
                  </a:lnTo>
                  <a:lnTo>
                    <a:pt x="106" y="86"/>
                  </a:lnTo>
                  <a:lnTo>
                    <a:pt x="106" y="88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2"/>
                  </a:lnTo>
                  <a:lnTo>
                    <a:pt x="106" y="95"/>
                  </a:lnTo>
                  <a:lnTo>
                    <a:pt x="106" y="97"/>
                  </a:lnTo>
                  <a:lnTo>
                    <a:pt x="106" y="99"/>
                  </a:lnTo>
                  <a:lnTo>
                    <a:pt x="106" y="99"/>
                  </a:lnTo>
                  <a:lnTo>
                    <a:pt x="106" y="99"/>
                  </a:lnTo>
                  <a:lnTo>
                    <a:pt x="103" y="101"/>
                  </a:lnTo>
                  <a:lnTo>
                    <a:pt x="99" y="104"/>
                  </a:lnTo>
                  <a:lnTo>
                    <a:pt x="99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2" y="106"/>
                  </a:lnTo>
                  <a:lnTo>
                    <a:pt x="90" y="106"/>
                  </a:lnTo>
                  <a:lnTo>
                    <a:pt x="88" y="108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3" y="113"/>
                  </a:lnTo>
                  <a:lnTo>
                    <a:pt x="83" y="115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35"/>
                  </a:lnTo>
                  <a:lnTo>
                    <a:pt x="86" y="146"/>
                  </a:lnTo>
                  <a:lnTo>
                    <a:pt x="86" y="151"/>
                  </a:lnTo>
                  <a:lnTo>
                    <a:pt x="81" y="151"/>
                  </a:lnTo>
                  <a:lnTo>
                    <a:pt x="81" y="151"/>
                  </a:lnTo>
                  <a:lnTo>
                    <a:pt x="79" y="151"/>
                  </a:lnTo>
                  <a:lnTo>
                    <a:pt x="74" y="151"/>
                  </a:lnTo>
                  <a:lnTo>
                    <a:pt x="70" y="151"/>
                  </a:lnTo>
                  <a:lnTo>
                    <a:pt x="65" y="151"/>
                  </a:lnTo>
                  <a:lnTo>
                    <a:pt x="59" y="151"/>
                  </a:lnTo>
                  <a:lnTo>
                    <a:pt x="52" y="151"/>
                  </a:lnTo>
                  <a:lnTo>
                    <a:pt x="45" y="151"/>
                  </a:lnTo>
                  <a:lnTo>
                    <a:pt x="36" y="151"/>
                  </a:lnTo>
                  <a:lnTo>
                    <a:pt x="29" y="151"/>
                  </a:lnTo>
                  <a:lnTo>
                    <a:pt x="23" y="151"/>
                  </a:lnTo>
                  <a:lnTo>
                    <a:pt x="18" y="151"/>
                  </a:lnTo>
                  <a:lnTo>
                    <a:pt x="14" y="151"/>
                  </a:lnTo>
                  <a:lnTo>
                    <a:pt x="9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5" y="151"/>
                  </a:lnTo>
                  <a:lnTo>
                    <a:pt x="2" y="151"/>
                  </a:lnTo>
                  <a:lnTo>
                    <a:pt x="2" y="153"/>
                  </a:lnTo>
                  <a:lnTo>
                    <a:pt x="2" y="155"/>
                  </a:lnTo>
                  <a:lnTo>
                    <a:pt x="2" y="158"/>
                  </a:lnTo>
                  <a:lnTo>
                    <a:pt x="2" y="158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2" y="164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62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2" y="158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5" y="149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20" y="146"/>
                  </a:lnTo>
                  <a:lnTo>
                    <a:pt x="23" y="146"/>
                  </a:lnTo>
                  <a:lnTo>
                    <a:pt x="25" y="146"/>
                  </a:lnTo>
                  <a:lnTo>
                    <a:pt x="29" y="146"/>
                  </a:lnTo>
                  <a:lnTo>
                    <a:pt x="32" y="146"/>
                  </a:lnTo>
                  <a:lnTo>
                    <a:pt x="34" y="146"/>
                  </a:lnTo>
                  <a:lnTo>
                    <a:pt x="38" y="146"/>
                  </a:lnTo>
                  <a:lnTo>
                    <a:pt x="41" y="146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50" y="146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2" y="140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4" y="137"/>
                  </a:lnTo>
                  <a:lnTo>
                    <a:pt x="54" y="135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1"/>
                  </a:lnTo>
                  <a:lnTo>
                    <a:pt x="59" y="131"/>
                  </a:lnTo>
                  <a:lnTo>
                    <a:pt x="59" y="128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4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63" y="113"/>
                  </a:lnTo>
                  <a:lnTo>
                    <a:pt x="63" y="110"/>
                  </a:lnTo>
                  <a:lnTo>
                    <a:pt x="63" y="108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97"/>
                  </a:lnTo>
                  <a:lnTo>
                    <a:pt x="68" y="95"/>
                  </a:lnTo>
                  <a:lnTo>
                    <a:pt x="68" y="95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7" y="88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1" y="86"/>
                  </a:lnTo>
                  <a:lnTo>
                    <a:pt x="81" y="83"/>
                  </a:lnTo>
                  <a:lnTo>
                    <a:pt x="83" y="81"/>
                  </a:lnTo>
                  <a:lnTo>
                    <a:pt x="83" y="79"/>
                  </a:lnTo>
                  <a:lnTo>
                    <a:pt x="86" y="77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0" y="72"/>
                  </a:lnTo>
                  <a:lnTo>
                    <a:pt x="92" y="72"/>
                  </a:lnTo>
                  <a:lnTo>
                    <a:pt x="95" y="70"/>
                  </a:lnTo>
                  <a:lnTo>
                    <a:pt x="97" y="70"/>
                  </a:lnTo>
                  <a:lnTo>
                    <a:pt x="97" y="68"/>
                  </a:lnTo>
                  <a:lnTo>
                    <a:pt x="99" y="68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101" y="61"/>
                  </a:lnTo>
                  <a:lnTo>
                    <a:pt x="101" y="56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3" y="47"/>
                  </a:lnTo>
                  <a:lnTo>
                    <a:pt x="106" y="45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1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5" y="36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18"/>
                  </a:lnTo>
                  <a:lnTo>
                    <a:pt x="124" y="18"/>
                  </a:lnTo>
                  <a:lnTo>
                    <a:pt x="126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3" y="16"/>
                  </a:lnTo>
                  <a:lnTo>
                    <a:pt x="135" y="14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9" y="16"/>
                  </a:lnTo>
                  <a:lnTo>
                    <a:pt x="142" y="18"/>
                  </a:lnTo>
                  <a:lnTo>
                    <a:pt x="144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3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7" y="16"/>
                  </a:lnTo>
                  <a:lnTo>
                    <a:pt x="160" y="14"/>
                  </a:lnTo>
                  <a:lnTo>
                    <a:pt x="162" y="14"/>
                  </a:lnTo>
                  <a:lnTo>
                    <a:pt x="162" y="14"/>
                  </a:lnTo>
                  <a:lnTo>
                    <a:pt x="164" y="14"/>
                  </a:lnTo>
                  <a:lnTo>
                    <a:pt x="166" y="14"/>
                  </a:lnTo>
                  <a:lnTo>
                    <a:pt x="169" y="14"/>
                  </a:lnTo>
                  <a:lnTo>
                    <a:pt x="171" y="14"/>
                  </a:lnTo>
                  <a:lnTo>
                    <a:pt x="173" y="14"/>
                  </a:lnTo>
                  <a:lnTo>
                    <a:pt x="173" y="11"/>
                  </a:lnTo>
                  <a:lnTo>
                    <a:pt x="175" y="11"/>
                  </a:lnTo>
                  <a:lnTo>
                    <a:pt x="175" y="11"/>
                  </a:lnTo>
                  <a:lnTo>
                    <a:pt x="175" y="9"/>
                  </a:lnTo>
                  <a:lnTo>
                    <a:pt x="173" y="7"/>
                  </a:lnTo>
                  <a:lnTo>
                    <a:pt x="173" y="7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5" y="2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461"/>
            <p:cNvSpPr>
              <a:spLocks noEditPoints="1"/>
            </p:cNvSpPr>
            <p:nvPr/>
          </p:nvSpPr>
          <p:spPr bwMode="auto">
            <a:xfrm>
              <a:off x="9150888" y="3036440"/>
              <a:ext cx="312557" cy="590013"/>
            </a:xfrm>
            <a:custGeom>
              <a:avLst/>
              <a:gdLst>
                <a:gd name="T0" fmla="*/ 77 w 187"/>
                <a:gd name="T1" fmla="*/ 308 h 353"/>
                <a:gd name="T2" fmla="*/ 144 w 187"/>
                <a:gd name="T3" fmla="*/ 308 h 353"/>
                <a:gd name="T4" fmla="*/ 137 w 187"/>
                <a:gd name="T5" fmla="*/ 304 h 353"/>
                <a:gd name="T6" fmla="*/ 184 w 187"/>
                <a:gd name="T7" fmla="*/ 257 h 353"/>
                <a:gd name="T8" fmla="*/ 108 w 187"/>
                <a:gd name="T9" fmla="*/ 63 h 353"/>
                <a:gd name="T10" fmla="*/ 104 w 187"/>
                <a:gd name="T11" fmla="*/ 61 h 353"/>
                <a:gd name="T12" fmla="*/ 124 w 187"/>
                <a:gd name="T13" fmla="*/ 57 h 353"/>
                <a:gd name="T14" fmla="*/ 117 w 187"/>
                <a:gd name="T15" fmla="*/ 52 h 353"/>
                <a:gd name="T16" fmla="*/ 124 w 187"/>
                <a:gd name="T17" fmla="*/ 48 h 353"/>
                <a:gd name="T18" fmla="*/ 86 w 187"/>
                <a:gd name="T19" fmla="*/ 14 h 353"/>
                <a:gd name="T20" fmla="*/ 95 w 187"/>
                <a:gd name="T21" fmla="*/ 30 h 353"/>
                <a:gd name="T22" fmla="*/ 115 w 187"/>
                <a:gd name="T23" fmla="*/ 43 h 353"/>
                <a:gd name="T24" fmla="*/ 121 w 187"/>
                <a:gd name="T25" fmla="*/ 45 h 353"/>
                <a:gd name="T26" fmla="*/ 115 w 187"/>
                <a:gd name="T27" fmla="*/ 50 h 353"/>
                <a:gd name="T28" fmla="*/ 110 w 187"/>
                <a:gd name="T29" fmla="*/ 57 h 353"/>
                <a:gd name="T30" fmla="*/ 106 w 187"/>
                <a:gd name="T31" fmla="*/ 59 h 353"/>
                <a:gd name="T32" fmla="*/ 101 w 187"/>
                <a:gd name="T33" fmla="*/ 59 h 353"/>
                <a:gd name="T34" fmla="*/ 99 w 187"/>
                <a:gd name="T35" fmla="*/ 70 h 353"/>
                <a:gd name="T36" fmla="*/ 95 w 187"/>
                <a:gd name="T37" fmla="*/ 79 h 353"/>
                <a:gd name="T38" fmla="*/ 88 w 187"/>
                <a:gd name="T39" fmla="*/ 90 h 353"/>
                <a:gd name="T40" fmla="*/ 88 w 187"/>
                <a:gd name="T41" fmla="*/ 108 h 353"/>
                <a:gd name="T42" fmla="*/ 106 w 187"/>
                <a:gd name="T43" fmla="*/ 126 h 353"/>
                <a:gd name="T44" fmla="*/ 113 w 187"/>
                <a:gd name="T45" fmla="*/ 142 h 353"/>
                <a:gd name="T46" fmla="*/ 137 w 187"/>
                <a:gd name="T47" fmla="*/ 165 h 353"/>
                <a:gd name="T48" fmla="*/ 148 w 187"/>
                <a:gd name="T49" fmla="*/ 171 h 353"/>
                <a:gd name="T50" fmla="*/ 153 w 187"/>
                <a:gd name="T51" fmla="*/ 178 h 353"/>
                <a:gd name="T52" fmla="*/ 166 w 187"/>
                <a:gd name="T53" fmla="*/ 194 h 353"/>
                <a:gd name="T54" fmla="*/ 175 w 187"/>
                <a:gd name="T55" fmla="*/ 214 h 353"/>
                <a:gd name="T56" fmla="*/ 180 w 187"/>
                <a:gd name="T57" fmla="*/ 234 h 353"/>
                <a:gd name="T58" fmla="*/ 180 w 187"/>
                <a:gd name="T59" fmla="*/ 239 h 353"/>
                <a:gd name="T60" fmla="*/ 184 w 187"/>
                <a:gd name="T61" fmla="*/ 252 h 353"/>
                <a:gd name="T62" fmla="*/ 182 w 187"/>
                <a:gd name="T63" fmla="*/ 254 h 353"/>
                <a:gd name="T64" fmla="*/ 182 w 187"/>
                <a:gd name="T65" fmla="*/ 263 h 353"/>
                <a:gd name="T66" fmla="*/ 182 w 187"/>
                <a:gd name="T67" fmla="*/ 270 h 353"/>
                <a:gd name="T68" fmla="*/ 178 w 187"/>
                <a:gd name="T69" fmla="*/ 286 h 353"/>
                <a:gd name="T70" fmla="*/ 153 w 187"/>
                <a:gd name="T71" fmla="*/ 304 h 353"/>
                <a:gd name="T72" fmla="*/ 139 w 187"/>
                <a:gd name="T73" fmla="*/ 304 h 353"/>
                <a:gd name="T74" fmla="*/ 135 w 187"/>
                <a:gd name="T75" fmla="*/ 304 h 353"/>
                <a:gd name="T76" fmla="*/ 135 w 187"/>
                <a:gd name="T77" fmla="*/ 315 h 353"/>
                <a:gd name="T78" fmla="*/ 133 w 187"/>
                <a:gd name="T79" fmla="*/ 322 h 353"/>
                <a:gd name="T80" fmla="*/ 121 w 187"/>
                <a:gd name="T81" fmla="*/ 324 h 353"/>
                <a:gd name="T82" fmla="*/ 99 w 187"/>
                <a:gd name="T83" fmla="*/ 349 h 353"/>
                <a:gd name="T84" fmla="*/ 92 w 187"/>
                <a:gd name="T85" fmla="*/ 313 h 353"/>
                <a:gd name="T86" fmla="*/ 99 w 187"/>
                <a:gd name="T87" fmla="*/ 302 h 353"/>
                <a:gd name="T88" fmla="*/ 121 w 187"/>
                <a:gd name="T89" fmla="*/ 295 h 353"/>
                <a:gd name="T90" fmla="*/ 124 w 187"/>
                <a:gd name="T91" fmla="*/ 279 h 353"/>
                <a:gd name="T92" fmla="*/ 146 w 187"/>
                <a:gd name="T93" fmla="*/ 259 h 353"/>
                <a:gd name="T94" fmla="*/ 137 w 187"/>
                <a:gd name="T95" fmla="*/ 216 h 353"/>
                <a:gd name="T96" fmla="*/ 139 w 187"/>
                <a:gd name="T97" fmla="*/ 196 h 353"/>
                <a:gd name="T98" fmla="*/ 135 w 187"/>
                <a:gd name="T99" fmla="*/ 176 h 353"/>
                <a:gd name="T100" fmla="*/ 115 w 187"/>
                <a:gd name="T101" fmla="*/ 165 h 353"/>
                <a:gd name="T102" fmla="*/ 90 w 187"/>
                <a:gd name="T103" fmla="*/ 129 h 353"/>
                <a:gd name="T104" fmla="*/ 79 w 187"/>
                <a:gd name="T105" fmla="*/ 113 h 353"/>
                <a:gd name="T106" fmla="*/ 50 w 187"/>
                <a:gd name="T107" fmla="*/ 97 h 353"/>
                <a:gd name="T108" fmla="*/ 63 w 187"/>
                <a:gd name="T109" fmla="*/ 90 h 353"/>
                <a:gd name="T110" fmla="*/ 61 w 187"/>
                <a:gd name="T111" fmla="*/ 72 h 353"/>
                <a:gd name="T112" fmla="*/ 41 w 187"/>
                <a:gd name="T113" fmla="*/ 61 h 353"/>
                <a:gd name="T114" fmla="*/ 25 w 187"/>
                <a:gd name="T115" fmla="*/ 57 h 353"/>
                <a:gd name="T116" fmla="*/ 16 w 187"/>
                <a:gd name="T117" fmla="*/ 41 h 353"/>
                <a:gd name="T118" fmla="*/ 5 w 187"/>
                <a:gd name="T119" fmla="*/ 16 h 353"/>
                <a:gd name="T120" fmla="*/ 25 w 187"/>
                <a:gd name="T121" fmla="*/ 16 h 353"/>
                <a:gd name="T122" fmla="*/ 45 w 187"/>
                <a:gd name="T123" fmla="*/ 16 h 353"/>
                <a:gd name="T124" fmla="*/ 63 w 187"/>
                <a:gd name="T125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7" h="353">
                  <a:moveTo>
                    <a:pt x="124" y="329"/>
                  </a:moveTo>
                  <a:lnTo>
                    <a:pt x="124" y="329"/>
                  </a:lnTo>
                  <a:lnTo>
                    <a:pt x="126" y="329"/>
                  </a:lnTo>
                  <a:lnTo>
                    <a:pt x="126" y="329"/>
                  </a:lnTo>
                  <a:lnTo>
                    <a:pt x="126" y="329"/>
                  </a:lnTo>
                  <a:lnTo>
                    <a:pt x="126" y="329"/>
                  </a:lnTo>
                  <a:lnTo>
                    <a:pt x="126" y="331"/>
                  </a:lnTo>
                  <a:lnTo>
                    <a:pt x="126" y="331"/>
                  </a:lnTo>
                  <a:lnTo>
                    <a:pt x="126" y="329"/>
                  </a:lnTo>
                  <a:lnTo>
                    <a:pt x="126" y="329"/>
                  </a:lnTo>
                  <a:lnTo>
                    <a:pt x="126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9"/>
                  </a:lnTo>
                  <a:lnTo>
                    <a:pt x="124" y="326"/>
                  </a:lnTo>
                  <a:lnTo>
                    <a:pt x="121" y="326"/>
                  </a:lnTo>
                  <a:lnTo>
                    <a:pt x="121" y="326"/>
                  </a:lnTo>
                  <a:lnTo>
                    <a:pt x="121" y="326"/>
                  </a:lnTo>
                  <a:lnTo>
                    <a:pt x="121" y="326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4" y="326"/>
                  </a:lnTo>
                  <a:lnTo>
                    <a:pt x="124" y="329"/>
                  </a:lnTo>
                  <a:lnTo>
                    <a:pt x="124" y="329"/>
                  </a:lnTo>
                  <a:close/>
                  <a:moveTo>
                    <a:pt x="130" y="322"/>
                  </a:moveTo>
                  <a:lnTo>
                    <a:pt x="130" y="322"/>
                  </a:lnTo>
                  <a:lnTo>
                    <a:pt x="130" y="322"/>
                  </a:lnTo>
                  <a:lnTo>
                    <a:pt x="130" y="322"/>
                  </a:lnTo>
                  <a:lnTo>
                    <a:pt x="128" y="322"/>
                  </a:lnTo>
                  <a:lnTo>
                    <a:pt x="128" y="320"/>
                  </a:lnTo>
                  <a:lnTo>
                    <a:pt x="128" y="320"/>
                  </a:lnTo>
                  <a:lnTo>
                    <a:pt x="128" y="320"/>
                  </a:lnTo>
                  <a:lnTo>
                    <a:pt x="128" y="320"/>
                  </a:lnTo>
                  <a:lnTo>
                    <a:pt x="130" y="322"/>
                  </a:lnTo>
                  <a:lnTo>
                    <a:pt x="130" y="322"/>
                  </a:lnTo>
                  <a:lnTo>
                    <a:pt x="130" y="322"/>
                  </a:lnTo>
                  <a:lnTo>
                    <a:pt x="130" y="322"/>
                  </a:lnTo>
                  <a:close/>
                  <a:moveTo>
                    <a:pt x="135" y="313"/>
                  </a:moveTo>
                  <a:lnTo>
                    <a:pt x="135" y="313"/>
                  </a:lnTo>
                  <a:lnTo>
                    <a:pt x="135" y="313"/>
                  </a:lnTo>
                  <a:lnTo>
                    <a:pt x="133" y="313"/>
                  </a:lnTo>
                  <a:lnTo>
                    <a:pt x="133" y="313"/>
                  </a:lnTo>
                  <a:lnTo>
                    <a:pt x="130" y="313"/>
                  </a:lnTo>
                  <a:lnTo>
                    <a:pt x="130" y="313"/>
                  </a:lnTo>
                  <a:lnTo>
                    <a:pt x="130" y="311"/>
                  </a:lnTo>
                  <a:lnTo>
                    <a:pt x="130" y="313"/>
                  </a:lnTo>
                  <a:lnTo>
                    <a:pt x="130" y="313"/>
                  </a:lnTo>
                  <a:lnTo>
                    <a:pt x="133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5" y="313"/>
                  </a:lnTo>
                  <a:close/>
                  <a:moveTo>
                    <a:pt x="77" y="308"/>
                  </a:moveTo>
                  <a:lnTo>
                    <a:pt x="77" y="308"/>
                  </a:lnTo>
                  <a:lnTo>
                    <a:pt x="77" y="308"/>
                  </a:lnTo>
                  <a:lnTo>
                    <a:pt x="79" y="311"/>
                  </a:lnTo>
                  <a:lnTo>
                    <a:pt x="79" y="311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79" y="317"/>
                  </a:lnTo>
                  <a:lnTo>
                    <a:pt x="79" y="317"/>
                  </a:lnTo>
                  <a:lnTo>
                    <a:pt x="79" y="317"/>
                  </a:lnTo>
                  <a:lnTo>
                    <a:pt x="79" y="317"/>
                  </a:lnTo>
                  <a:lnTo>
                    <a:pt x="79" y="320"/>
                  </a:lnTo>
                  <a:lnTo>
                    <a:pt x="79" y="317"/>
                  </a:lnTo>
                  <a:lnTo>
                    <a:pt x="79" y="317"/>
                  </a:lnTo>
                  <a:lnTo>
                    <a:pt x="77" y="317"/>
                  </a:lnTo>
                  <a:lnTo>
                    <a:pt x="77" y="317"/>
                  </a:lnTo>
                  <a:lnTo>
                    <a:pt x="77" y="315"/>
                  </a:lnTo>
                  <a:lnTo>
                    <a:pt x="77" y="313"/>
                  </a:lnTo>
                  <a:lnTo>
                    <a:pt x="77" y="313"/>
                  </a:lnTo>
                  <a:lnTo>
                    <a:pt x="74" y="313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7" y="311"/>
                  </a:lnTo>
                  <a:lnTo>
                    <a:pt x="77" y="311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close/>
                  <a:moveTo>
                    <a:pt x="144" y="308"/>
                  </a:move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4" y="308"/>
                  </a:lnTo>
                  <a:lnTo>
                    <a:pt x="144" y="308"/>
                  </a:lnTo>
                  <a:close/>
                  <a:moveTo>
                    <a:pt x="137" y="306"/>
                  </a:move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9" y="308"/>
                  </a:lnTo>
                  <a:lnTo>
                    <a:pt x="139" y="308"/>
                  </a:lnTo>
                  <a:lnTo>
                    <a:pt x="139" y="308"/>
                  </a:lnTo>
                  <a:lnTo>
                    <a:pt x="137" y="308"/>
                  </a:lnTo>
                  <a:lnTo>
                    <a:pt x="137" y="311"/>
                  </a:lnTo>
                  <a:lnTo>
                    <a:pt x="137" y="311"/>
                  </a:lnTo>
                  <a:lnTo>
                    <a:pt x="137" y="311"/>
                  </a:lnTo>
                  <a:lnTo>
                    <a:pt x="137" y="311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close/>
                  <a:moveTo>
                    <a:pt x="137" y="304"/>
                  </a:move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7" y="304"/>
                  </a:lnTo>
                  <a:close/>
                  <a:moveTo>
                    <a:pt x="137" y="306"/>
                  </a:move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7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3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5" y="306"/>
                  </a:lnTo>
                  <a:lnTo>
                    <a:pt x="135" y="306"/>
                  </a:lnTo>
                  <a:lnTo>
                    <a:pt x="137" y="306"/>
                  </a:lnTo>
                  <a:lnTo>
                    <a:pt x="137" y="306"/>
                  </a:lnTo>
                  <a:close/>
                  <a:moveTo>
                    <a:pt x="184" y="257"/>
                  </a:moveTo>
                  <a:lnTo>
                    <a:pt x="184" y="259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close/>
                  <a:moveTo>
                    <a:pt x="115" y="61"/>
                  </a:move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close/>
                  <a:moveTo>
                    <a:pt x="108" y="61"/>
                  </a:move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10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6" y="63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59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8" y="61"/>
                  </a:lnTo>
                  <a:close/>
                  <a:moveTo>
                    <a:pt x="115" y="59"/>
                  </a:move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close/>
                  <a:moveTo>
                    <a:pt x="104" y="59"/>
                  </a:moveTo>
                  <a:lnTo>
                    <a:pt x="104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59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close/>
                  <a:moveTo>
                    <a:pt x="124" y="57"/>
                  </a:move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4" y="57"/>
                  </a:lnTo>
                  <a:close/>
                  <a:moveTo>
                    <a:pt x="124" y="57"/>
                  </a:move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close/>
                  <a:moveTo>
                    <a:pt x="117" y="57"/>
                  </a:move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close/>
                  <a:moveTo>
                    <a:pt x="119" y="57"/>
                  </a:move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7"/>
                  </a:lnTo>
                  <a:lnTo>
                    <a:pt x="119" y="57"/>
                  </a:lnTo>
                  <a:close/>
                  <a:moveTo>
                    <a:pt x="117" y="52"/>
                  </a:move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close/>
                  <a:moveTo>
                    <a:pt x="121" y="48"/>
                  </a:moveTo>
                  <a:lnTo>
                    <a:pt x="119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1" y="48"/>
                  </a:lnTo>
                  <a:close/>
                  <a:moveTo>
                    <a:pt x="126" y="48"/>
                  </a:moveTo>
                  <a:lnTo>
                    <a:pt x="126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1" y="48"/>
                  </a:lnTo>
                  <a:lnTo>
                    <a:pt x="121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6" y="48"/>
                  </a:lnTo>
                  <a:lnTo>
                    <a:pt x="126" y="48"/>
                  </a:lnTo>
                  <a:close/>
                  <a:moveTo>
                    <a:pt x="65" y="3"/>
                  </a:move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4" y="9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0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21"/>
                  </a:lnTo>
                  <a:lnTo>
                    <a:pt x="92" y="21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4" y="34"/>
                  </a:lnTo>
                  <a:lnTo>
                    <a:pt x="104" y="34"/>
                  </a:lnTo>
                  <a:lnTo>
                    <a:pt x="104" y="34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9"/>
                  </a:lnTo>
                  <a:lnTo>
                    <a:pt x="104" y="39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3"/>
                  </a:lnTo>
                  <a:lnTo>
                    <a:pt x="113" y="43"/>
                  </a:lnTo>
                  <a:lnTo>
                    <a:pt x="113" y="43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4" y="43"/>
                  </a:lnTo>
                  <a:lnTo>
                    <a:pt x="124" y="43"/>
                  </a:lnTo>
                  <a:lnTo>
                    <a:pt x="124" y="45"/>
                  </a:lnTo>
                  <a:lnTo>
                    <a:pt x="126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3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6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1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6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4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99" y="66"/>
                  </a:lnTo>
                  <a:lnTo>
                    <a:pt x="99" y="66"/>
                  </a:lnTo>
                  <a:lnTo>
                    <a:pt x="99" y="66"/>
                  </a:lnTo>
                  <a:lnTo>
                    <a:pt x="99" y="66"/>
                  </a:lnTo>
                  <a:lnTo>
                    <a:pt x="99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99" y="75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2"/>
                  </a:lnTo>
                  <a:lnTo>
                    <a:pt x="99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7"/>
                  </a:lnTo>
                  <a:lnTo>
                    <a:pt x="97" y="79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79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88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3"/>
                  </a:lnTo>
                  <a:lnTo>
                    <a:pt x="88" y="93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90" y="108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2" y="115"/>
                  </a:lnTo>
                  <a:lnTo>
                    <a:pt x="92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20"/>
                  </a:lnTo>
                  <a:lnTo>
                    <a:pt x="95" y="120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7" y="120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99" y="122"/>
                  </a:lnTo>
                  <a:lnTo>
                    <a:pt x="101" y="122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8" y="129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1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3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4" y="133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10" y="135"/>
                  </a:lnTo>
                  <a:lnTo>
                    <a:pt x="110" y="138"/>
                  </a:lnTo>
                  <a:lnTo>
                    <a:pt x="110" y="138"/>
                  </a:lnTo>
                  <a:lnTo>
                    <a:pt x="113" y="140"/>
                  </a:lnTo>
                  <a:lnTo>
                    <a:pt x="113" y="140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5" y="144"/>
                  </a:lnTo>
                  <a:lnTo>
                    <a:pt x="119" y="147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4" y="151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3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8" y="156"/>
                  </a:lnTo>
                  <a:lnTo>
                    <a:pt x="130" y="158"/>
                  </a:lnTo>
                  <a:lnTo>
                    <a:pt x="133" y="160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9" y="165"/>
                  </a:lnTo>
                  <a:lnTo>
                    <a:pt x="139" y="165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42" y="167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2" y="169"/>
                  </a:lnTo>
                  <a:lnTo>
                    <a:pt x="144" y="169"/>
                  </a:lnTo>
                  <a:lnTo>
                    <a:pt x="144" y="169"/>
                  </a:lnTo>
                  <a:lnTo>
                    <a:pt x="144" y="167"/>
                  </a:lnTo>
                  <a:lnTo>
                    <a:pt x="144" y="167"/>
                  </a:lnTo>
                  <a:lnTo>
                    <a:pt x="144" y="167"/>
                  </a:lnTo>
                  <a:lnTo>
                    <a:pt x="144" y="169"/>
                  </a:lnTo>
                  <a:lnTo>
                    <a:pt x="144" y="169"/>
                  </a:lnTo>
                  <a:lnTo>
                    <a:pt x="146" y="169"/>
                  </a:lnTo>
                  <a:lnTo>
                    <a:pt x="146" y="169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6" y="169"/>
                  </a:lnTo>
                  <a:lnTo>
                    <a:pt x="146" y="169"/>
                  </a:lnTo>
                  <a:lnTo>
                    <a:pt x="146" y="171"/>
                  </a:lnTo>
                  <a:lnTo>
                    <a:pt x="146" y="169"/>
                  </a:lnTo>
                  <a:lnTo>
                    <a:pt x="146" y="169"/>
                  </a:lnTo>
                  <a:lnTo>
                    <a:pt x="146" y="169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4"/>
                  </a:lnTo>
                  <a:lnTo>
                    <a:pt x="148" y="174"/>
                  </a:lnTo>
                  <a:lnTo>
                    <a:pt x="148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1"/>
                  </a:lnTo>
                  <a:lnTo>
                    <a:pt x="153" y="171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4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3" y="176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80"/>
                  </a:lnTo>
                  <a:lnTo>
                    <a:pt x="155" y="183"/>
                  </a:lnTo>
                  <a:lnTo>
                    <a:pt x="160" y="187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2" y="189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9" y="194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6" y="194"/>
                  </a:lnTo>
                  <a:lnTo>
                    <a:pt x="169" y="194"/>
                  </a:lnTo>
                  <a:lnTo>
                    <a:pt x="169" y="196"/>
                  </a:lnTo>
                  <a:lnTo>
                    <a:pt x="166" y="194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6" y="196"/>
                  </a:lnTo>
                  <a:lnTo>
                    <a:pt x="169" y="198"/>
                  </a:lnTo>
                  <a:lnTo>
                    <a:pt x="169" y="201"/>
                  </a:lnTo>
                  <a:lnTo>
                    <a:pt x="171" y="203"/>
                  </a:lnTo>
                  <a:lnTo>
                    <a:pt x="171" y="203"/>
                  </a:lnTo>
                  <a:lnTo>
                    <a:pt x="171" y="203"/>
                  </a:lnTo>
                  <a:lnTo>
                    <a:pt x="171" y="205"/>
                  </a:lnTo>
                  <a:lnTo>
                    <a:pt x="171" y="205"/>
                  </a:lnTo>
                  <a:lnTo>
                    <a:pt x="171" y="205"/>
                  </a:lnTo>
                  <a:lnTo>
                    <a:pt x="171" y="205"/>
                  </a:lnTo>
                  <a:lnTo>
                    <a:pt x="173" y="207"/>
                  </a:lnTo>
                  <a:lnTo>
                    <a:pt x="173" y="207"/>
                  </a:lnTo>
                  <a:lnTo>
                    <a:pt x="173" y="207"/>
                  </a:lnTo>
                  <a:lnTo>
                    <a:pt x="173" y="207"/>
                  </a:lnTo>
                  <a:lnTo>
                    <a:pt x="173" y="207"/>
                  </a:lnTo>
                  <a:lnTo>
                    <a:pt x="173" y="207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5" y="214"/>
                  </a:lnTo>
                  <a:lnTo>
                    <a:pt x="175" y="214"/>
                  </a:lnTo>
                  <a:lnTo>
                    <a:pt x="175" y="214"/>
                  </a:lnTo>
                  <a:lnTo>
                    <a:pt x="175" y="216"/>
                  </a:lnTo>
                  <a:lnTo>
                    <a:pt x="175" y="216"/>
                  </a:lnTo>
                  <a:lnTo>
                    <a:pt x="175" y="216"/>
                  </a:lnTo>
                  <a:lnTo>
                    <a:pt x="175" y="216"/>
                  </a:lnTo>
                  <a:lnTo>
                    <a:pt x="175" y="218"/>
                  </a:lnTo>
                  <a:lnTo>
                    <a:pt x="175" y="218"/>
                  </a:lnTo>
                  <a:lnTo>
                    <a:pt x="175" y="218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5" y="218"/>
                  </a:lnTo>
                  <a:lnTo>
                    <a:pt x="175" y="218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8" y="223"/>
                  </a:lnTo>
                  <a:lnTo>
                    <a:pt x="178" y="225"/>
                  </a:lnTo>
                  <a:lnTo>
                    <a:pt x="178" y="225"/>
                  </a:lnTo>
                  <a:lnTo>
                    <a:pt x="180" y="225"/>
                  </a:lnTo>
                  <a:lnTo>
                    <a:pt x="180" y="227"/>
                  </a:lnTo>
                  <a:lnTo>
                    <a:pt x="180" y="227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0" y="230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0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80" y="232"/>
                  </a:lnTo>
                  <a:lnTo>
                    <a:pt x="180" y="232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78" y="232"/>
                  </a:lnTo>
                  <a:lnTo>
                    <a:pt x="180" y="232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4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9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0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2" y="243"/>
                  </a:lnTo>
                  <a:lnTo>
                    <a:pt x="182" y="243"/>
                  </a:lnTo>
                  <a:lnTo>
                    <a:pt x="182" y="243"/>
                  </a:lnTo>
                  <a:lnTo>
                    <a:pt x="182" y="243"/>
                  </a:lnTo>
                  <a:lnTo>
                    <a:pt x="182" y="243"/>
                  </a:lnTo>
                  <a:lnTo>
                    <a:pt x="182" y="243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0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7" y="254"/>
                  </a:lnTo>
                  <a:lnTo>
                    <a:pt x="187" y="254"/>
                  </a:lnTo>
                  <a:lnTo>
                    <a:pt x="187" y="254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7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0" y="257"/>
                  </a:lnTo>
                  <a:lnTo>
                    <a:pt x="180" y="257"/>
                  </a:lnTo>
                  <a:lnTo>
                    <a:pt x="180" y="257"/>
                  </a:lnTo>
                  <a:lnTo>
                    <a:pt x="180" y="257"/>
                  </a:lnTo>
                  <a:lnTo>
                    <a:pt x="180" y="257"/>
                  </a:lnTo>
                  <a:lnTo>
                    <a:pt x="180" y="257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6"/>
                  </a:lnTo>
                  <a:lnTo>
                    <a:pt x="180" y="266"/>
                  </a:lnTo>
                  <a:lnTo>
                    <a:pt x="180" y="263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6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0" y="275"/>
                  </a:lnTo>
                  <a:lnTo>
                    <a:pt x="180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5"/>
                  </a:lnTo>
                  <a:lnTo>
                    <a:pt x="182" y="277"/>
                  </a:lnTo>
                  <a:lnTo>
                    <a:pt x="184" y="277"/>
                  </a:lnTo>
                  <a:lnTo>
                    <a:pt x="184" y="277"/>
                  </a:lnTo>
                  <a:lnTo>
                    <a:pt x="182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4"/>
                  </a:lnTo>
                  <a:lnTo>
                    <a:pt x="180" y="284"/>
                  </a:lnTo>
                  <a:lnTo>
                    <a:pt x="180" y="286"/>
                  </a:lnTo>
                  <a:lnTo>
                    <a:pt x="180" y="286"/>
                  </a:lnTo>
                  <a:lnTo>
                    <a:pt x="180" y="286"/>
                  </a:lnTo>
                  <a:lnTo>
                    <a:pt x="180" y="286"/>
                  </a:lnTo>
                  <a:lnTo>
                    <a:pt x="180" y="288"/>
                  </a:lnTo>
                  <a:lnTo>
                    <a:pt x="178" y="288"/>
                  </a:lnTo>
                  <a:lnTo>
                    <a:pt x="178" y="288"/>
                  </a:lnTo>
                  <a:lnTo>
                    <a:pt x="178" y="288"/>
                  </a:lnTo>
                  <a:lnTo>
                    <a:pt x="178" y="286"/>
                  </a:lnTo>
                  <a:lnTo>
                    <a:pt x="178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1" y="290"/>
                  </a:lnTo>
                  <a:lnTo>
                    <a:pt x="171" y="290"/>
                  </a:lnTo>
                  <a:lnTo>
                    <a:pt x="171" y="290"/>
                  </a:lnTo>
                  <a:lnTo>
                    <a:pt x="171" y="290"/>
                  </a:lnTo>
                  <a:lnTo>
                    <a:pt x="171" y="290"/>
                  </a:lnTo>
                  <a:lnTo>
                    <a:pt x="171" y="290"/>
                  </a:lnTo>
                  <a:lnTo>
                    <a:pt x="169" y="293"/>
                  </a:lnTo>
                  <a:lnTo>
                    <a:pt x="169" y="293"/>
                  </a:lnTo>
                  <a:lnTo>
                    <a:pt x="169" y="293"/>
                  </a:lnTo>
                  <a:lnTo>
                    <a:pt x="169" y="293"/>
                  </a:lnTo>
                  <a:lnTo>
                    <a:pt x="169" y="293"/>
                  </a:lnTo>
                  <a:lnTo>
                    <a:pt x="169" y="293"/>
                  </a:lnTo>
                  <a:lnTo>
                    <a:pt x="169" y="293"/>
                  </a:lnTo>
                  <a:lnTo>
                    <a:pt x="169" y="295"/>
                  </a:lnTo>
                  <a:lnTo>
                    <a:pt x="166" y="295"/>
                  </a:lnTo>
                  <a:lnTo>
                    <a:pt x="166" y="295"/>
                  </a:lnTo>
                  <a:lnTo>
                    <a:pt x="166" y="295"/>
                  </a:lnTo>
                  <a:lnTo>
                    <a:pt x="166" y="295"/>
                  </a:lnTo>
                  <a:lnTo>
                    <a:pt x="166" y="295"/>
                  </a:lnTo>
                  <a:lnTo>
                    <a:pt x="166" y="295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4" y="295"/>
                  </a:lnTo>
                  <a:lnTo>
                    <a:pt x="162" y="297"/>
                  </a:lnTo>
                  <a:lnTo>
                    <a:pt x="162" y="297"/>
                  </a:lnTo>
                  <a:lnTo>
                    <a:pt x="162" y="297"/>
                  </a:lnTo>
                  <a:lnTo>
                    <a:pt x="162" y="297"/>
                  </a:lnTo>
                  <a:lnTo>
                    <a:pt x="162" y="297"/>
                  </a:lnTo>
                  <a:lnTo>
                    <a:pt x="162" y="299"/>
                  </a:lnTo>
                  <a:lnTo>
                    <a:pt x="162" y="299"/>
                  </a:lnTo>
                  <a:lnTo>
                    <a:pt x="160" y="299"/>
                  </a:lnTo>
                  <a:lnTo>
                    <a:pt x="160" y="299"/>
                  </a:lnTo>
                  <a:lnTo>
                    <a:pt x="160" y="302"/>
                  </a:lnTo>
                  <a:lnTo>
                    <a:pt x="160" y="302"/>
                  </a:lnTo>
                  <a:lnTo>
                    <a:pt x="160" y="302"/>
                  </a:lnTo>
                  <a:lnTo>
                    <a:pt x="157" y="302"/>
                  </a:lnTo>
                  <a:lnTo>
                    <a:pt x="157" y="302"/>
                  </a:lnTo>
                  <a:lnTo>
                    <a:pt x="157" y="302"/>
                  </a:lnTo>
                  <a:lnTo>
                    <a:pt x="157" y="302"/>
                  </a:lnTo>
                  <a:lnTo>
                    <a:pt x="155" y="302"/>
                  </a:lnTo>
                  <a:lnTo>
                    <a:pt x="155" y="304"/>
                  </a:lnTo>
                  <a:lnTo>
                    <a:pt x="155" y="304"/>
                  </a:lnTo>
                  <a:lnTo>
                    <a:pt x="155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3" y="304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11"/>
                  </a:lnTo>
                  <a:lnTo>
                    <a:pt x="144" y="311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8"/>
                  </a:lnTo>
                  <a:lnTo>
                    <a:pt x="144" y="306"/>
                  </a:lnTo>
                  <a:lnTo>
                    <a:pt x="144" y="308"/>
                  </a:lnTo>
                  <a:lnTo>
                    <a:pt x="142" y="308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8"/>
                  </a:lnTo>
                  <a:lnTo>
                    <a:pt x="142" y="308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42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8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2"/>
                  </a:lnTo>
                  <a:lnTo>
                    <a:pt x="139" y="302"/>
                  </a:lnTo>
                  <a:lnTo>
                    <a:pt x="139" y="302"/>
                  </a:lnTo>
                  <a:lnTo>
                    <a:pt x="139" y="302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4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8"/>
                  </a:lnTo>
                  <a:lnTo>
                    <a:pt x="139" y="308"/>
                  </a:lnTo>
                  <a:lnTo>
                    <a:pt x="139" y="308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9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6"/>
                  </a:lnTo>
                  <a:lnTo>
                    <a:pt x="137" y="304"/>
                  </a:lnTo>
                  <a:lnTo>
                    <a:pt x="137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2"/>
                  </a:lnTo>
                  <a:lnTo>
                    <a:pt x="135" y="302"/>
                  </a:lnTo>
                  <a:lnTo>
                    <a:pt x="135" y="302"/>
                  </a:lnTo>
                  <a:lnTo>
                    <a:pt x="133" y="302"/>
                  </a:lnTo>
                  <a:lnTo>
                    <a:pt x="133" y="302"/>
                  </a:lnTo>
                  <a:lnTo>
                    <a:pt x="133" y="304"/>
                  </a:lnTo>
                  <a:lnTo>
                    <a:pt x="133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0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08"/>
                  </a:lnTo>
                  <a:lnTo>
                    <a:pt x="135" y="311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3" y="313"/>
                  </a:lnTo>
                  <a:lnTo>
                    <a:pt x="130" y="313"/>
                  </a:lnTo>
                  <a:lnTo>
                    <a:pt x="130" y="311"/>
                  </a:lnTo>
                  <a:lnTo>
                    <a:pt x="128" y="311"/>
                  </a:lnTo>
                  <a:lnTo>
                    <a:pt x="128" y="311"/>
                  </a:lnTo>
                  <a:lnTo>
                    <a:pt x="128" y="311"/>
                  </a:lnTo>
                  <a:lnTo>
                    <a:pt x="128" y="311"/>
                  </a:lnTo>
                  <a:lnTo>
                    <a:pt x="128" y="311"/>
                  </a:lnTo>
                  <a:lnTo>
                    <a:pt x="128" y="313"/>
                  </a:lnTo>
                  <a:lnTo>
                    <a:pt x="135" y="313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3" y="320"/>
                  </a:lnTo>
                  <a:lnTo>
                    <a:pt x="130" y="320"/>
                  </a:lnTo>
                  <a:lnTo>
                    <a:pt x="130" y="320"/>
                  </a:lnTo>
                  <a:lnTo>
                    <a:pt x="130" y="317"/>
                  </a:lnTo>
                  <a:lnTo>
                    <a:pt x="130" y="317"/>
                  </a:lnTo>
                  <a:lnTo>
                    <a:pt x="128" y="317"/>
                  </a:lnTo>
                  <a:lnTo>
                    <a:pt x="128" y="317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3"/>
                  </a:lnTo>
                  <a:lnTo>
                    <a:pt x="126" y="315"/>
                  </a:lnTo>
                  <a:lnTo>
                    <a:pt x="126" y="315"/>
                  </a:lnTo>
                  <a:lnTo>
                    <a:pt x="128" y="317"/>
                  </a:lnTo>
                  <a:lnTo>
                    <a:pt x="130" y="317"/>
                  </a:lnTo>
                  <a:lnTo>
                    <a:pt x="130" y="320"/>
                  </a:lnTo>
                  <a:lnTo>
                    <a:pt x="133" y="320"/>
                  </a:lnTo>
                  <a:lnTo>
                    <a:pt x="133" y="322"/>
                  </a:lnTo>
                  <a:lnTo>
                    <a:pt x="135" y="322"/>
                  </a:lnTo>
                  <a:lnTo>
                    <a:pt x="135" y="322"/>
                  </a:lnTo>
                  <a:lnTo>
                    <a:pt x="135" y="322"/>
                  </a:lnTo>
                  <a:lnTo>
                    <a:pt x="135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2"/>
                  </a:lnTo>
                  <a:lnTo>
                    <a:pt x="133" y="324"/>
                  </a:lnTo>
                  <a:lnTo>
                    <a:pt x="133" y="322"/>
                  </a:lnTo>
                  <a:lnTo>
                    <a:pt x="130" y="322"/>
                  </a:lnTo>
                  <a:lnTo>
                    <a:pt x="130" y="322"/>
                  </a:lnTo>
                  <a:lnTo>
                    <a:pt x="130" y="320"/>
                  </a:lnTo>
                  <a:lnTo>
                    <a:pt x="128" y="320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21" y="315"/>
                  </a:lnTo>
                  <a:lnTo>
                    <a:pt x="121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7"/>
                  </a:lnTo>
                  <a:lnTo>
                    <a:pt x="126" y="317"/>
                  </a:lnTo>
                  <a:lnTo>
                    <a:pt x="126" y="317"/>
                  </a:lnTo>
                  <a:lnTo>
                    <a:pt x="126" y="317"/>
                  </a:lnTo>
                  <a:lnTo>
                    <a:pt x="126" y="317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8" y="320"/>
                  </a:lnTo>
                  <a:lnTo>
                    <a:pt x="128" y="320"/>
                  </a:lnTo>
                  <a:lnTo>
                    <a:pt x="130" y="322"/>
                  </a:lnTo>
                  <a:lnTo>
                    <a:pt x="130" y="322"/>
                  </a:lnTo>
                  <a:lnTo>
                    <a:pt x="130" y="324"/>
                  </a:lnTo>
                  <a:lnTo>
                    <a:pt x="130" y="324"/>
                  </a:lnTo>
                  <a:lnTo>
                    <a:pt x="130" y="324"/>
                  </a:lnTo>
                  <a:lnTo>
                    <a:pt x="133" y="324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3" y="326"/>
                  </a:lnTo>
                  <a:lnTo>
                    <a:pt x="133" y="326"/>
                  </a:lnTo>
                  <a:lnTo>
                    <a:pt x="133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30" y="329"/>
                  </a:lnTo>
                  <a:lnTo>
                    <a:pt x="128" y="329"/>
                  </a:lnTo>
                  <a:lnTo>
                    <a:pt x="128" y="329"/>
                  </a:lnTo>
                  <a:lnTo>
                    <a:pt x="128" y="329"/>
                  </a:lnTo>
                  <a:lnTo>
                    <a:pt x="126" y="326"/>
                  </a:lnTo>
                  <a:lnTo>
                    <a:pt x="121" y="324"/>
                  </a:lnTo>
                  <a:lnTo>
                    <a:pt x="119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7" y="320"/>
                  </a:lnTo>
                  <a:lnTo>
                    <a:pt x="115" y="320"/>
                  </a:lnTo>
                  <a:lnTo>
                    <a:pt x="117" y="320"/>
                  </a:lnTo>
                  <a:lnTo>
                    <a:pt x="121" y="324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6"/>
                  </a:lnTo>
                  <a:lnTo>
                    <a:pt x="124" y="329"/>
                  </a:lnTo>
                  <a:lnTo>
                    <a:pt x="124" y="331"/>
                  </a:lnTo>
                  <a:lnTo>
                    <a:pt x="124" y="331"/>
                  </a:lnTo>
                  <a:lnTo>
                    <a:pt x="124" y="331"/>
                  </a:lnTo>
                  <a:lnTo>
                    <a:pt x="124" y="331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4" y="333"/>
                  </a:lnTo>
                  <a:lnTo>
                    <a:pt x="121" y="335"/>
                  </a:lnTo>
                  <a:lnTo>
                    <a:pt x="115" y="338"/>
                  </a:lnTo>
                  <a:lnTo>
                    <a:pt x="110" y="340"/>
                  </a:lnTo>
                  <a:lnTo>
                    <a:pt x="110" y="340"/>
                  </a:lnTo>
                  <a:lnTo>
                    <a:pt x="110" y="342"/>
                  </a:lnTo>
                  <a:lnTo>
                    <a:pt x="110" y="342"/>
                  </a:lnTo>
                  <a:lnTo>
                    <a:pt x="110" y="342"/>
                  </a:lnTo>
                  <a:lnTo>
                    <a:pt x="110" y="342"/>
                  </a:lnTo>
                  <a:lnTo>
                    <a:pt x="110" y="342"/>
                  </a:lnTo>
                  <a:lnTo>
                    <a:pt x="108" y="342"/>
                  </a:lnTo>
                  <a:lnTo>
                    <a:pt x="108" y="342"/>
                  </a:lnTo>
                  <a:lnTo>
                    <a:pt x="108" y="342"/>
                  </a:lnTo>
                  <a:lnTo>
                    <a:pt x="108" y="342"/>
                  </a:lnTo>
                  <a:lnTo>
                    <a:pt x="108" y="342"/>
                  </a:lnTo>
                  <a:lnTo>
                    <a:pt x="108" y="347"/>
                  </a:lnTo>
                  <a:lnTo>
                    <a:pt x="108" y="347"/>
                  </a:lnTo>
                  <a:lnTo>
                    <a:pt x="106" y="349"/>
                  </a:lnTo>
                  <a:lnTo>
                    <a:pt x="106" y="349"/>
                  </a:lnTo>
                  <a:lnTo>
                    <a:pt x="106" y="349"/>
                  </a:lnTo>
                  <a:lnTo>
                    <a:pt x="106" y="349"/>
                  </a:lnTo>
                  <a:lnTo>
                    <a:pt x="104" y="349"/>
                  </a:lnTo>
                  <a:lnTo>
                    <a:pt x="104" y="351"/>
                  </a:lnTo>
                  <a:lnTo>
                    <a:pt x="104" y="351"/>
                  </a:lnTo>
                  <a:lnTo>
                    <a:pt x="104" y="351"/>
                  </a:lnTo>
                  <a:lnTo>
                    <a:pt x="99" y="353"/>
                  </a:lnTo>
                  <a:lnTo>
                    <a:pt x="97" y="353"/>
                  </a:lnTo>
                  <a:lnTo>
                    <a:pt x="97" y="353"/>
                  </a:lnTo>
                  <a:lnTo>
                    <a:pt x="97" y="353"/>
                  </a:lnTo>
                  <a:lnTo>
                    <a:pt x="97" y="353"/>
                  </a:lnTo>
                  <a:lnTo>
                    <a:pt x="97" y="353"/>
                  </a:lnTo>
                  <a:lnTo>
                    <a:pt x="95" y="351"/>
                  </a:lnTo>
                  <a:lnTo>
                    <a:pt x="95" y="351"/>
                  </a:lnTo>
                  <a:lnTo>
                    <a:pt x="95" y="351"/>
                  </a:lnTo>
                  <a:lnTo>
                    <a:pt x="95" y="351"/>
                  </a:lnTo>
                  <a:lnTo>
                    <a:pt x="95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51"/>
                  </a:lnTo>
                  <a:lnTo>
                    <a:pt x="97" y="349"/>
                  </a:lnTo>
                  <a:lnTo>
                    <a:pt x="97" y="349"/>
                  </a:lnTo>
                  <a:lnTo>
                    <a:pt x="97" y="349"/>
                  </a:lnTo>
                  <a:lnTo>
                    <a:pt x="99" y="351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7" y="349"/>
                  </a:lnTo>
                  <a:lnTo>
                    <a:pt x="97" y="349"/>
                  </a:lnTo>
                  <a:lnTo>
                    <a:pt x="97" y="349"/>
                  </a:lnTo>
                  <a:lnTo>
                    <a:pt x="97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9"/>
                  </a:lnTo>
                  <a:lnTo>
                    <a:pt x="99" y="347"/>
                  </a:lnTo>
                  <a:lnTo>
                    <a:pt x="99" y="347"/>
                  </a:lnTo>
                  <a:lnTo>
                    <a:pt x="97" y="347"/>
                  </a:lnTo>
                  <a:lnTo>
                    <a:pt x="97" y="349"/>
                  </a:lnTo>
                  <a:lnTo>
                    <a:pt x="97" y="347"/>
                  </a:lnTo>
                  <a:lnTo>
                    <a:pt x="97" y="347"/>
                  </a:lnTo>
                  <a:lnTo>
                    <a:pt x="97" y="347"/>
                  </a:lnTo>
                  <a:lnTo>
                    <a:pt x="97" y="344"/>
                  </a:lnTo>
                  <a:lnTo>
                    <a:pt x="97" y="344"/>
                  </a:lnTo>
                  <a:lnTo>
                    <a:pt x="97" y="344"/>
                  </a:lnTo>
                  <a:lnTo>
                    <a:pt x="97" y="342"/>
                  </a:lnTo>
                  <a:lnTo>
                    <a:pt x="97" y="342"/>
                  </a:lnTo>
                  <a:lnTo>
                    <a:pt x="97" y="342"/>
                  </a:lnTo>
                  <a:lnTo>
                    <a:pt x="97" y="342"/>
                  </a:lnTo>
                  <a:lnTo>
                    <a:pt x="97" y="340"/>
                  </a:lnTo>
                  <a:lnTo>
                    <a:pt x="97" y="338"/>
                  </a:lnTo>
                  <a:lnTo>
                    <a:pt x="97" y="335"/>
                  </a:lnTo>
                  <a:lnTo>
                    <a:pt x="97" y="333"/>
                  </a:lnTo>
                  <a:lnTo>
                    <a:pt x="97" y="331"/>
                  </a:lnTo>
                  <a:lnTo>
                    <a:pt x="97" y="329"/>
                  </a:lnTo>
                  <a:lnTo>
                    <a:pt x="97" y="324"/>
                  </a:lnTo>
                  <a:lnTo>
                    <a:pt x="97" y="324"/>
                  </a:lnTo>
                  <a:lnTo>
                    <a:pt x="97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99" y="320"/>
                  </a:lnTo>
                  <a:lnTo>
                    <a:pt x="101" y="320"/>
                  </a:lnTo>
                  <a:lnTo>
                    <a:pt x="101" y="320"/>
                  </a:lnTo>
                  <a:lnTo>
                    <a:pt x="101" y="320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101" y="322"/>
                  </a:lnTo>
                  <a:lnTo>
                    <a:pt x="101" y="320"/>
                  </a:lnTo>
                  <a:lnTo>
                    <a:pt x="101" y="320"/>
                  </a:lnTo>
                  <a:lnTo>
                    <a:pt x="101" y="320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9" y="315"/>
                  </a:lnTo>
                  <a:lnTo>
                    <a:pt x="97" y="315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3"/>
                  </a:lnTo>
                  <a:lnTo>
                    <a:pt x="92" y="313"/>
                  </a:lnTo>
                  <a:lnTo>
                    <a:pt x="92" y="313"/>
                  </a:lnTo>
                  <a:lnTo>
                    <a:pt x="92" y="313"/>
                  </a:lnTo>
                  <a:lnTo>
                    <a:pt x="92" y="313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3"/>
                  </a:lnTo>
                  <a:lnTo>
                    <a:pt x="90" y="313"/>
                  </a:lnTo>
                  <a:lnTo>
                    <a:pt x="90" y="313"/>
                  </a:lnTo>
                  <a:lnTo>
                    <a:pt x="90" y="313"/>
                  </a:lnTo>
                  <a:lnTo>
                    <a:pt x="90" y="313"/>
                  </a:lnTo>
                  <a:lnTo>
                    <a:pt x="88" y="311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11"/>
                  </a:lnTo>
                  <a:lnTo>
                    <a:pt x="86" y="311"/>
                  </a:lnTo>
                  <a:lnTo>
                    <a:pt x="86" y="311"/>
                  </a:lnTo>
                  <a:lnTo>
                    <a:pt x="86" y="308"/>
                  </a:lnTo>
                  <a:lnTo>
                    <a:pt x="86" y="308"/>
                  </a:lnTo>
                  <a:lnTo>
                    <a:pt x="86" y="308"/>
                  </a:lnTo>
                  <a:lnTo>
                    <a:pt x="86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90" y="306"/>
                  </a:lnTo>
                  <a:lnTo>
                    <a:pt x="92" y="306"/>
                  </a:lnTo>
                  <a:lnTo>
                    <a:pt x="95" y="306"/>
                  </a:lnTo>
                  <a:lnTo>
                    <a:pt x="95" y="306"/>
                  </a:lnTo>
                  <a:lnTo>
                    <a:pt x="95" y="306"/>
                  </a:lnTo>
                  <a:lnTo>
                    <a:pt x="95" y="304"/>
                  </a:lnTo>
                  <a:lnTo>
                    <a:pt x="97" y="304"/>
                  </a:lnTo>
                  <a:lnTo>
                    <a:pt x="97" y="304"/>
                  </a:lnTo>
                  <a:lnTo>
                    <a:pt x="99" y="302"/>
                  </a:lnTo>
                  <a:lnTo>
                    <a:pt x="99" y="302"/>
                  </a:lnTo>
                  <a:lnTo>
                    <a:pt x="99" y="302"/>
                  </a:lnTo>
                  <a:lnTo>
                    <a:pt x="97" y="299"/>
                  </a:lnTo>
                  <a:lnTo>
                    <a:pt x="97" y="299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4" y="299"/>
                  </a:lnTo>
                  <a:lnTo>
                    <a:pt x="104" y="299"/>
                  </a:lnTo>
                  <a:lnTo>
                    <a:pt x="104" y="299"/>
                  </a:lnTo>
                  <a:lnTo>
                    <a:pt x="104" y="297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10" y="295"/>
                  </a:lnTo>
                  <a:lnTo>
                    <a:pt x="110" y="295"/>
                  </a:lnTo>
                  <a:lnTo>
                    <a:pt x="110" y="295"/>
                  </a:lnTo>
                  <a:lnTo>
                    <a:pt x="110" y="295"/>
                  </a:lnTo>
                  <a:lnTo>
                    <a:pt x="110" y="295"/>
                  </a:lnTo>
                  <a:lnTo>
                    <a:pt x="113" y="295"/>
                  </a:lnTo>
                  <a:lnTo>
                    <a:pt x="113" y="295"/>
                  </a:lnTo>
                  <a:lnTo>
                    <a:pt x="113" y="295"/>
                  </a:lnTo>
                  <a:lnTo>
                    <a:pt x="113" y="295"/>
                  </a:lnTo>
                  <a:lnTo>
                    <a:pt x="115" y="297"/>
                  </a:lnTo>
                  <a:lnTo>
                    <a:pt x="115" y="297"/>
                  </a:lnTo>
                  <a:lnTo>
                    <a:pt x="115" y="297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5" y="299"/>
                  </a:lnTo>
                  <a:lnTo>
                    <a:pt x="117" y="299"/>
                  </a:lnTo>
                  <a:lnTo>
                    <a:pt x="117" y="297"/>
                  </a:lnTo>
                  <a:lnTo>
                    <a:pt x="117" y="297"/>
                  </a:lnTo>
                  <a:lnTo>
                    <a:pt x="117" y="297"/>
                  </a:lnTo>
                  <a:lnTo>
                    <a:pt x="117" y="297"/>
                  </a:lnTo>
                  <a:lnTo>
                    <a:pt x="117" y="299"/>
                  </a:lnTo>
                  <a:lnTo>
                    <a:pt x="119" y="299"/>
                  </a:lnTo>
                  <a:lnTo>
                    <a:pt x="119" y="299"/>
                  </a:lnTo>
                  <a:lnTo>
                    <a:pt x="119" y="299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9"/>
                  </a:lnTo>
                  <a:lnTo>
                    <a:pt x="121" y="297"/>
                  </a:lnTo>
                  <a:lnTo>
                    <a:pt x="119" y="297"/>
                  </a:lnTo>
                  <a:lnTo>
                    <a:pt x="119" y="297"/>
                  </a:lnTo>
                  <a:lnTo>
                    <a:pt x="119" y="297"/>
                  </a:lnTo>
                  <a:lnTo>
                    <a:pt x="119" y="297"/>
                  </a:lnTo>
                  <a:lnTo>
                    <a:pt x="119" y="295"/>
                  </a:lnTo>
                  <a:lnTo>
                    <a:pt x="119" y="295"/>
                  </a:lnTo>
                  <a:lnTo>
                    <a:pt x="119" y="295"/>
                  </a:lnTo>
                  <a:lnTo>
                    <a:pt x="121" y="295"/>
                  </a:lnTo>
                  <a:lnTo>
                    <a:pt x="121" y="295"/>
                  </a:lnTo>
                  <a:lnTo>
                    <a:pt x="121" y="295"/>
                  </a:lnTo>
                  <a:lnTo>
                    <a:pt x="121" y="295"/>
                  </a:lnTo>
                  <a:lnTo>
                    <a:pt x="121" y="293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19" y="293"/>
                  </a:lnTo>
                  <a:lnTo>
                    <a:pt x="117" y="293"/>
                  </a:lnTo>
                  <a:lnTo>
                    <a:pt x="117" y="293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5" y="290"/>
                  </a:lnTo>
                  <a:lnTo>
                    <a:pt x="115" y="290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5" y="288"/>
                  </a:lnTo>
                  <a:lnTo>
                    <a:pt x="113" y="288"/>
                  </a:lnTo>
                  <a:lnTo>
                    <a:pt x="113" y="288"/>
                  </a:lnTo>
                  <a:lnTo>
                    <a:pt x="115" y="286"/>
                  </a:lnTo>
                  <a:lnTo>
                    <a:pt x="115" y="286"/>
                  </a:lnTo>
                  <a:lnTo>
                    <a:pt x="115" y="284"/>
                  </a:lnTo>
                  <a:lnTo>
                    <a:pt x="115" y="284"/>
                  </a:lnTo>
                  <a:lnTo>
                    <a:pt x="113" y="284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9"/>
                  </a:lnTo>
                  <a:lnTo>
                    <a:pt x="115" y="279"/>
                  </a:lnTo>
                  <a:lnTo>
                    <a:pt x="115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1" y="279"/>
                  </a:lnTo>
                  <a:lnTo>
                    <a:pt x="121" y="279"/>
                  </a:lnTo>
                  <a:lnTo>
                    <a:pt x="121" y="279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4" y="279"/>
                  </a:lnTo>
                  <a:lnTo>
                    <a:pt x="126" y="279"/>
                  </a:lnTo>
                  <a:lnTo>
                    <a:pt x="124" y="279"/>
                  </a:lnTo>
                  <a:lnTo>
                    <a:pt x="124" y="277"/>
                  </a:lnTo>
                  <a:lnTo>
                    <a:pt x="124" y="277"/>
                  </a:lnTo>
                  <a:lnTo>
                    <a:pt x="124" y="277"/>
                  </a:lnTo>
                  <a:lnTo>
                    <a:pt x="124" y="277"/>
                  </a:lnTo>
                  <a:lnTo>
                    <a:pt x="124" y="277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5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30" y="270"/>
                  </a:lnTo>
                  <a:lnTo>
                    <a:pt x="133" y="270"/>
                  </a:lnTo>
                  <a:lnTo>
                    <a:pt x="133" y="270"/>
                  </a:lnTo>
                  <a:lnTo>
                    <a:pt x="135" y="270"/>
                  </a:lnTo>
                  <a:lnTo>
                    <a:pt x="135" y="270"/>
                  </a:lnTo>
                  <a:lnTo>
                    <a:pt x="135" y="268"/>
                  </a:lnTo>
                  <a:lnTo>
                    <a:pt x="137" y="268"/>
                  </a:lnTo>
                  <a:lnTo>
                    <a:pt x="137" y="266"/>
                  </a:lnTo>
                  <a:lnTo>
                    <a:pt x="137" y="266"/>
                  </a:lnTo>
                  <a:lnTo>
                    <a:pt x="137" y="266"/>
                  </a:lnTo>
                  <a:lnTo>
                    <a:pt x="137" y="266"/>
                  </a:lnTo>
                  <a:lnTo>
                    <a:pt x="139" y="266"/>
                  </a:lnTo>
                  <a:lnTo>
                    <a:pt x="139" y="263"/>
                  </a:lnTo>
                  <a:lnTo>
                    <a:pt x="142" y="263"/>
                  </a:lnTo>
                  <a:lnTo>
                    <a:pt x="142" y="263"/>
                  </a:lnTo>
                  <a:lnTo>
                    <a:pt x="142" y="263"/>
                  </a:lnTo>
                  <a:lnTo>
                    <a:pt x="144" y="266"/>
                  </a:lnTo>
                  <a:lnTo>
                    <a:pt x="144" y="266"/>
                  </a:lnTo>
                  <a:lnTo>
                    <a:pt x="144" y="266"/>
                  </a:lnTo>
                  <a:lnTo>
                    <a:pt x="144" y="263"/>
                  </a:lnTo>
                  <a:lnTo>
                    <a:pt x="146" y="263"/>
                  </a:lnTo>
                  <a:lnTo>
                    <a:pt x="146" y="263"/>
                  </a:lnTo>
                  <a:lnTo>
                    <a:pt x="146" y="263"/>
                  </a:lnTo>
                  <a:lnTo>
                    <a:pt x="146" y="263"/>
                  </a:lnTo>
                  <a:lnTo>
                    <a:pt x="146" y="261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7"/>
                  </a:lnTo>
                  <a:lnTo>
                    <a:pt x="146" y="257"/>
                  </a:lnTo>
                  <a:lnTo>
                    <a:pt x="146" y="254"/>
                  </a:lnTo>
                  <a:lnTo>
                    <a:pt x="146" y="254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44" y="252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4" y="248"/>
                  </a:lnTo>
                  <a:lnTo>
                    <a:pt x="146" y="239"/>
                  </a:lnTo>
                  <a:lnTo>
                    <a:pt x="146" y="239"/>
                  </a:lnTo>
                  <a:lnTo>
                    <a:pt x="144" y="236"/>
                  </a:lnTo>
                  <a:lnTo>
                    <a:pt x="144" y="234"/>
                  </a:lnTo>
                  <a:lnTo>
                    <a:pt x="142" y="232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27"/>
                  </a:lnTo>
                  <a:lnTo>
                    <a:pt x="139" y="227"/>
                  </a:lnTo>
                  <a:lnTo>
                    <a:pt x="142" y="227"/>
                  </a:lnTo>
                  <a:lnTo>
                    <a:pt x="142" y="227"/>
                  </a:lnTo>
                  <a:lnTo>
                    <a:pt x="139" y="227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9" y="223"/>
                  </a:lnTo>
                  <a:lnTo>
                    <a:pt x="139" y="223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7" y="223"/>
                  </a:lnTo>
                  <a:lnTo>
                    <a:pt x="137" y="223"/>
                  </a:lnTo>
                  <a:lnTo>
                    <a:pt x="137" y="223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7" y="218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2"/>
                  </a:lnTo>
                  <a:lnTo>
                    <a:pt x="139" y="212"/>
                  </a:lnTo>
                  <a:lnTo>
                    <a:pt x="139" y="212"/>
                  </a:lnTo>
                  <a:lnTo>
                    <a:pt x="139" y="212"/>
                  </a:lnTo>
                  <a:lnTo>
                    <a:pt x="139" y="212"/>
                  </a:lnTo>
                  <a:lnTo>
                    <a:pt x="139" y="212"/>
                  </a:lnTo>
                  <a:lnTo>
                    <a:pt x="139" y="210"/>
                  </a:lnTo>
                  <a:lnTo>
                    <a:pt x="139" y="210"/>
                  </a:lnTo>
                  <a:lnTo>
                    <a:pt x="139" y="210"/>
                  </a:lnTo>
                  <a:lnTo>
                    <a:pt x="139" y="207"/>
                  </a:lnTo>
                  <a:lnTo>
                    <a:pt x="139" y="207"/>
                  </a:lnTo>
                  <a:lnTo>
                    <a:pt x="139" y="207"/>
                  </a:lnTo>
                  <a:lnTo>
                    <a:pt x="139" y="207"/>
                  </a:lnTo>
                  <a:lnTo>
                    <a:pt x="139" y="207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1"/>
                  </a:lnTo>
                  <a:lnTo>
                    <a:pt x="137" y="201"/>
                  </a:lnTo>
                  <a:lnTo>
                    <a:pt x="137" y="201"/>
                  </a:lnTo>
                  <a:lnTo>
                    <a:pt x="137" y="201"/>
                  </a:lnTo>
                  <a:lnTo>
                    <a:pt x="137" y="201"/>
                  </a:lnTo>
                  <a:lnTo>
                    <a:pt x="137" y="201"/>
                  </a:lnTo>
                  <a:lnTo>
                    <a:pt x="137" y="201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42" y="196"/>
                  </a:lnTo>
                  <a:lnTo>
                    <a:pt x="142" y="196"/>
                  </a:lnTo>
                  <a:lnTo>
                    <a:pt x="142" y="196"/>
                  </a:lnTo>
                  <a:lnTo>
                    <a:pt x="142" y="196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4"/>
                  </a:lnTo>
                  <a:lnTo>
                    <a:pt x="142" y="194"/>
                  </a:lnTo>
                  <a:lnTo>
                    <a:pt x="139" y="194"/>
                  </a:lnTo>
                  <a:lnTo>
                    <a:pt x="139" y="192"/>
                  </a:lnTo>
                  <a:lnTo>
                    <a:pt x="139" y="192"/>
                  </a:lnTo>
                  <a:lnTo>
                    <a:pt x="139" y="192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7"/>
                  </a:lnTo>
                  <a:lnTo>
                    <a:pt x="135" y="189"/>
                  </a:lnTo>
                  <a:lnTo>
                    <a:pt x="135" y="187"/>
                  </a:lnTo>
                  <a:lnTo>
                    <a:pt x="133" y="185"/>
                  </a:lnTo>
                  <a:lnTo>
                    <a:pt x="133" y="185"/>
                  </a:lnTo>
                  <a:lnTo>
                    <a:pt x="133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3"/>
                  </a:lnTo>
                  <a:lnTo>
                    <a:pt x="130" y="183"/>
                  </a:lnTo>
                  <a:lnTo>
                    <a:pt x="130" y="183"/>
                  </a:lnTo>
                  <a:lnTo>
                    <a:pt x="128" y="183"/>
                  </a:lnTo>
                  <a:lnTo>
                    <a:pt x="128" y="183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6"/>
                  </a:lnTo>
                  <a:lnTo>
                    <a:pt x="135" y="176"/>
                  </a:lnTo>
                  <a:lnTo>
                    <a:pt x="135" y="176"/>
                  </a:lnTo>
                  <a:lnTo>
                    <a:pt x="135" y="176"/>
                  </a:lnTo>
                  <a:lnTo>
                    <a:pt x="135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0" y="176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28" y="174"/>
                  </a:lnTo>
                  <a:lnTo>
                    <a:pt x="128" y="174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6" y="171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7"/>
                  </a:lnTo>
                  <a:lnTo>
                    <a:pt x="121" y="165"/>
                  </a:lnTo>
                  <a:lnTo>
                    <a:pt x="121" y="165"/>
                  </a:lnTo>
                  <a:lnTo>
                    <a:pt x="119" y="165"/>
                  </a:lnTo>
                  <a:lnTo>
                    <a:pt x="119" y="162"/>
                  </a:lnTo>
                  <a:lnTo>
                    <a:pt x="119" y="165"/>
                  </a:lnTo>
                  <a:lnTo>
                    <a:pt x="119" y="165"/>
                  </a:lnTo>
                  <a:lnTo>
                    <a:pt x="119" y="165"/>
                  </a:lnTo>
                  <a:lnTo>
                    <a:pt x="119" y="165"/>
                  </a:lnTo>
                  <a:lnTo>
                    <a:pt x="119" y="165"/>
                  </a:lnTo>
                  <a:lnTo>
                    <a:pt x="119" y="165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7" y="167"/>
                  </a:lnTo>
                  <a:lnTo>
                    <a:pt x="117" y="167"/>
                  </a:lnTo>
                  <a:lnTo>
                    <a:pt x="117" y="167"/>
                  </a:lnTo>
                  <a:lnTo>
                    <a:pt x="117" y="167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5" y="165"/>
                  </a:lnTo>
                  <a:lnTo>
                    <a:pt x="115" y="165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3" y="160"/>
                  </a:lnTo>
                  <a:lnTo>
                    <a:pt x="113" y="160"/>
                  </a:lnTo>
                  <a:lnTo>
                    <a:pt x="113" y="160"/>
                  </a:lnTo>
                  <a:lnTo>
                    <a:pt x="113" y="153"/>
                  </a:lnTo>
                  <a:lnTo>
                    <a:pt x="113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6" y="149"/>
                  </a:lnTo>
                  <a:lnTo>
                    <a:pt x="106" y="149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6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99" y="142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2" y="138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3"/>
                  </a:lnTo>
                  <a:lnTo>
                    <a:pt x="90" y="133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29"/>
                  </a:lnTo>
                  <a:lnTo>
                    <a:pt x="90" y="129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6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6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1" y="124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79" y="122"/>
                  </a:lnTo>
                  <a:lnTo>
                    <a:pt x="79" y="122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7" y="120"/>
                  </a:lnTo>
                  <a:lnTo>
                    <a:pt x="77" y="117"/>
                  </a:lnTo>
                  <a:lnTo>
                    <a:pt x="77" y="117"/>
                  </a:lnTo>
                  <a:lnTo>
                    <a:pt x="77" y="117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13"/>
                  </a:lnTo>
                  <a:lnTo>
                    <a:pt x="79" y="113"/>
                  </a:lnTo>
                  <a:lnTo>
                    <a:pt x="79" y="113"/>
                  </a:lnTo>
                  <a:lnTo>
                    <a:pt x="77" y="113"/>
                  </a:lnTo>
                  <a:lnTo>
                    <a:pt x="77" y="113"/>
                  </a:lnTo>
                  <a:lnTo>
                    <a:pt x="77" y="111"/>
                  </a:lnTo>
                  <a:lnTo>
                    <a:pt x="77" y="113"/>
                  </a:lnTo>
                  <a:lnTo>
                    <a:pt x="77" y="113"/>
                  </a:lnTo>
                  <a:lnTo>
                    <a:pt x="77" y="113"/>
                  </a:lnTo>
                  <a:lnTo>
                    <a:pt x="74" y="111"/>
                  </a:lnTo>
                  <a:lnTo>
                    <a:pt x="74" y="111"/>
                  </a:lnTo>
                  <a:lnTo>
                    <a:pt x="74" y="111"/>
                  </a:lnTo>
                  <a:lnTo>
                    <a:pt x="74" y="111"/>
                  </a:lnTo>
                  <a:lnTo>
                    <a:pt x="72" y="111"/>
                  </a:lnTo>
                  <a:lnTo>
                    <a:pt x="72" y="111"/>
                  </a:lnTo>
                  <a:lnTo>
                    <a:pt x="72" y="111"/>
                  </a:lnTo>
                  <a:lnTo>
                    <a:pt x="72" y="111"/>
                  </a:lnTo>
                  <a:lnTo>
                    <a:pt x="72" y="111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70" y="111"/>
                  </a:lnTo>
                  <a:lnTo>
                    <a:pt x="68" y="111"/>
                  </a:lnTo>
                  <a:lnTo>
                    <a:pt x="68" y="111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4"/>
                  </a:lnTo>
                  <a:lnTo>
                    <a:pt x="61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4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5" y="88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5" y="75"/>
                  </a:lnTo>
                  <a:lnTo>
                    <a:pt x="63" y="75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6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9" y="68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6" y="66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3" y="59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4" y="63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9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6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5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2" y="14"/>
                  </a:lnTo>
                  <a:lnTo>
                    <a:pt x="32" y="16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5" y="3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" name="Freeform 462"/>
            <p:cNvSpPr>
              <a:spLocks noEditPoints="1"/>
            </p:cNvSpPr>
            <p:nvPr/>
          </p:nvSpPr>
          <p:spPr bwMode="auto">
            <a:xfrm>
              <a:off x="3075257" y="3481039"/>
              <a:ext cx="473014" cy="461313"/>
            </a:xfrm>
            <a:custGeom>
              <a:avLst/>
              <a:gdLst>
                <a:gd name="T0" fmla="*/ 261 w 283"/>
                <a:gd name="T1" fmla="*/ 76 h 276"/>
                <a:gd name="T2" fmla="*/ 263 w 283"/>
                <a:gd name="T3" fmla="*/ 74 h 276"/>
                <a:gd name="T4" fmla="*/ 234 w 283"/>
                <a:gd name="T5" fmla="*/ 56 h 276"/>
                <a:gd name="T6" fmla="*/ 225 w 283"/>
                <a:gd name="T7" fmla="*/ 40 h 276"/>
                <a:gd name="T8" fmla="*/ 101 w 283"/>
                <a:gd name="T9" fmla="*/ 20 h 276"/>
                <a:gd name="T10" fmla="*/ 108 w 283"/>
                <a:gd name="T11" fmla="*/ 36 h 276"/>
                <a:gd name="T12" fmla="*/ 151 w 283"/>
                <a:gd name="T13" fmla="*/ 38 h 276"/>
                <a:gd name="T14" fmla="*/ 173 w 283"/>
                <a:gd name="T15" fmla="*/ 51 h 276"/>
                <a:gd name="T16" fmla="*/ 187 w 283"/>
                <a:gd name="T17" fmla="*/ 47 h 276"/>
                <a:gd name="T18" fmla="*/ 193 w 283"/>
                <a:gd name="T19" fmla="*/ 42 h 276"/>
                <a:gd name="T20" fmla="*/ 193 w 283"/>
                <a:gd name="T21" fmla="*/ 40 h 276"/>
                <a:gd name="T22" fmla="*/ 209 w 283"/>
                <a:gd name="T23" fmla="*/ 38 h 276"/>
                <a:gd name="T24" fmla="*/ 223 w 283"/>
                <a:gd name="T25" fmla="*/ 36 h 276"/>
                <a:gd name="T26" fmla="*/ 238 w 283"/>
                <a:gd name="T27" fmla="*/ 38 h 276"/>
                <a:gd name="T28" fmla="*/ 223 w 283"/>
                <a:gd name="T29" fmla="*/ 42 h 276"/>
                <a:gd name="T30" fmla="*/ 227 w 283"/>
                <a:gd name="T31" fmla="*/ 45 h 276"/>
                <a:gd name="T32" fmla="*/ 220 w 283"/>
                <a:gd name="T33" fmla="*/ 51 h 276"/>
                <a:gd name="T34" fmla="*/ 223 w 283"/>
                <a:gd name="T35" fmla="*/ 51 h 276"/>
                <a:gd name="T36" fmla="*/ 234 w 283"/>
                <a:gd name="T37" fmla="*/ 54 h 276"/>
                <a:gd name="T38" fmla="*/ 243 w 283"/>
                <a:gd name="T39" fmla="*/ 58 h 276"/>
                <a:gd name="T40" fmla="*/ 250 w 283"/>
                <a:gd name="T41" fmla="*/ 58 h 276"/>
                <a:gd name="T42" fmla="*/ 261 w 283"/>
                <a:gd name="T43" fmla="*/ 65 h 276"/>
                <a:gd name="T44" fmla="*/ 259 w 283"/>
                <a:gd name="T45" fmla="*/ 74 h 276"/>
                <a:gd name="T46" fmla="*/ 250 w 283"/>
                <a:gd name="T47" fmla="*/ 85 h 276"/>
                <a:gd name="T48" fmla="*/ 259 w 283"/>
                <a:gd name="T49" fmla="*/ 87 h 276"/>
                <a:gd name="T50" fmla="*/ 272 w 283"/>
                <a:gd name="T51" fmla="*/ 87 h 276"/>
                <a:gd name="T52" fmla="*/ 272 w 283"/>
                <a:gd name="T53" fmla="*/ 105 h 276"/>
                <a:gd name="T54" fmla="*/ 265 w 283"/>
                <a:gd name="T55" fmla="*/ 119 h 276"/>
                <a:gd name="T56" fmla="*/ 261 w 283"/>
                <a:gd name="T57" fmla="*/ 130 h 276"/>
                <a:gd name="T58" fmla="*/ 254 w 283"/>
                <a:gd name="T59" fmla="*/ 141 h 276"/>
                <a:gd name="T60" fmla="*/ 261 w 283"/>
                <a:gd name="T61" fmla="*/ 177 h 276"/>
                <a:gd name="T62" fmla="*/ 241 w 283"/>
                <a:gd name="T63" fmla="*/ 189 h 276"/>
                <a:gd name="T64" fmla="*/ 218 w 283"/>
                <a:gd name="T65" fmla="*/ 200 h 276"/>
                <a:gd name="T66" fmla="*/ 193 w 283"/>
                <a:gd name="T67" fmla="*/ 198 h 276"/>
                <a:gd name="T68" fmla="*/ 189 w 283"/>
                <a:gd name="T69" fmla="*/ 204 h 276"/>
                <a:gd name="T70" fmla="*/ 205 w 283"/>
                <a:gd name="T71" fmla="*/ 238 h 276"/>
                <a:gd name="T72" fmla="*/ 180 w 283"/>
                <a:gd name="T73" fmla="*/ 258 h 276"/>
                <a:gd name="T74" fmla="*/ 160 w 283"/>
                <a:gd name="T75" fmla="*/ 276 h 276"/>
                <a:gd name="T76" fmla="*/ 130 w 283"/>
                <a:gd name="T77" fmla="*/ 261 h 276"/>
                <a:gd name="T78" fmla="*/ 126 w 283"/>
                <a:gd name="T79" fmla="*/ 234 h 276"/>
                <a:gd name="T80" fmla="*/ 113 w 283"/>
                <a:gd name="T81" fmla="*/ 225 h 276"/>
                <a:gd name="T82" fmla="*/ 115 w 283"/>
                <a:gd name="T83" fmla="*/ 195 h 276"/>
                <a:gd name="T84" fmla="*/ 113 w 283"/>
                <a:gd name="T85" fmla="*/ 177 h 276"/>
                <a:gd name="T86" fmla="*/ 117 w 283"/>
                <a:gd name="T87" fmla="*/ 162 h 276"/>
                <a:gd name="T88" fmla="*/ 113 w 283"/>
                <a:gd name="T89" fmla="*/ 141 h 276"/>
                <a:gd name="T90" fmla="*/ 81 w 283"/>
                <a:gd name="T91" fmla="*/ 146 h 276"/>
                <a:gd name="T92" fmla="*/ 50 w 283"/>
                <a:gd name="T93" fmla="*/ 123 h 276"/>
                <a:gd name="T94" fmla="*/ 34 w 283"/>
                <a:gd name="T95" fmla="*/ 123 h 276"/>
                <a:gd name="T96" fmla="*/ 18 w 283"/>
                <a:gd name="T97" fmla="*/ 110 h 276"/>
                <a:gd name="T98" fmla="*/ 16 w 283"/>
                <a:gd name="T99" fmla="*/ 87 h 276"/>
                <a:gd name="T100" fmla="*/ 7 w 283"/>
                <a:gd name="T101" fmla="*/ 72 h 276"/>
                <a:gd name="T102" fmla="*/ 20 w 283"/>
                <a:gd name="T103" fmla="*/ 31 h 276"/>
                <a:gd name="T104" fmla="*/ 47 w 283"/>
                <a:gd name="T105" fmla="*/ 9 h 276"/>
                <a:gd name="T106" fmla="*/ 38 w 283"/>
                <a:gd name="T107" fmla="*/ 31 h 276"/>
                <a:gd name="T108" fmla="*/ 29 w 283"/>
                <a:gd name="T109" fmla="*/ 58 h 276"/>
                <a:gd name="T110" fmla="*/ 32 w 283"/>
                <a:gd name="T111" fmla="*/ 67 h 276"/>
                <a:gd name="T112" fmla="*/ 36 w 283"/>
                <a:gd name="T113" fmla="*/ 74 h 276"/>
                <a:gd name="T114" fmla="*/ 50 w 283"/>
                <a:gd name="T115" fmla="*/ 58 h 276"/>
                <a:gd name="T116" fmla="*/ 41 w 283"/>
                <a:gd name="T117" fmla="*/ 36 h 276"/>
                <a:gd name="T118" fmla="*/ 63 w 283"/>
                <a:gd name="T119" fmla="*/ 22 h 276"/>
                <a:gd name="T120" fmla="*/ 72 w 283"/>
                <a:gd name="T121" fmla="*/ 18 h 276"/>
                <a:gd name="T122" fmla="*/ 79 w 283"/>
                <a:gd name="T123" fmla="*/ 13 h 276"/>
                <a:gd name="T124" fmla="*/ 70 w 283"/>
                <a:gd name="T125" fmla="*/ 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3" h="276">
                  <a:moveTo>
                    <a:pt x="261" y="87"/>
                  </a:moveTo>
                  <a:lnTo>
                    <a:pt x="259" y="87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6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59" y="85"/>
                  </a:lnTo>
                  <a:lnTo>
                    <a:pt x="261" y="87"/>
                  </a:lnTo>
                  <a:close/>
                  <a:moveTo>
                    <a:pt x="259" y="81"/>
                  </a:moveTo>
                  <a:lnTo>
                    <a:pt x="259" y="81"/>
                  </a:lnTo>
                  <a:lnTo>
                    <a:pt x="259" y="81"/>
                  </a:lnTo>
                  <a:lnTo>
                    <a:pt x="259" y="81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1" y="78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8"/>
                  </a:lnTo>
                  <a:lnTo>
                    <a:pt x="263" y="78"/>
                  </a:lnTo>
                  <a:lnTo>
                    <a:pt x="263" y="78"/>
                  </a:lnTo>
                  <a:lnTo>
                    <a:pt x="261" y="78"/>
                  </a:lnTo>
                  <a:lnTo>
                    <a:pt x="259" y="81"/>
                  </a:lnTo>
                  <a:close/>
                  <a:moveTo>
                    <a:pt x="263" y="74"/>
                  </a:moveTo>
                  <a:lnTo>
                    <a:pt x="263" y="76"/>
                  </a:lnTo>
                  <a:lnTo>
                    <a:pt x="263" y="74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61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close/>
                  <a:moveTo>
                    <a:pt x="263" y="74"/>
                  </a:move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2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3" y="74"/>
                  </a:lnTo>
                  <a:lnTo>
                    <a:pt x="263" y="74"/>
                  </a:lnTo>
                  <a:close/>
                  <a:moveTo>
                    <a:pt x="265" y="72"/>
                  </a:move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4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lnTo>
                    <a:pt x="265" y="72"/>
                  </a:lnTo>
                  <a:close/>
                  <a:moveTo>
                    <a:pt x="234" y="56"/>
                  </a:moveTo>
                  <a:lnTo>
                    <a:pt x="234" y="56"/>
                  </a:lnTo>
                  <a:lnTo>
                    <a:pt x="234" y="56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6"/>
                  </a:lnTo>
                  <a:lnTo>
                    <a:pt x="234" y="56"/>
                  </a:lnTo>
                  <a:lnTo>
                    <a:pt x="234" y="56"/>
                  </a:lnTo>
                  <a:close/>
                  <a:moveTo>
                    <a:pt x="232" y="54"/>
                  </a:move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close/>
                  <a:moveTo>
                    <a:pt x="234" y="54"/>
                  </a:moveTo>
                  <a:lnTo>
                    <a:pt x="234" y="54"/>
                  </a:lnTo>
                  <a:lnTo>
                    <a:pt x="234" y="54"/>
                  </a:lnTo>
                  <a:lnTo>
                    <a:pt x="234" y="51"/>
                  </a:lnTo>
                  <a:lnTo>
                    <a:pt x="234" y="51"/>
                  </a:lnTo>
                  <a:lnTo>
                    <a:pt x="234" y="51"/>
                  </a:lnTo>
                  <a:lnTo>
                    <a:pt x="236" y="51"/>
                  </a:lnTo>
                  <a:lnTo>
                    <a:pt x="236" y="51"/>
                  </a:lnTo>
                  <a:lnTo>
                    <a:pt x="236" y="51"/>
                  </a:lnTo>
                  <a:lnTo>
                    <a:pt x="236" y="51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close/>
                  <a:moveTo>
                    <a:pt x="227" y="45"/>
                  </a:move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5" y="40"/>
                  </a:lnTo>
                  <a:lnTo>
                    <a:pt x="225" y="40"/>
                  </a:lnTo>
                  <a:lnTo>
                    <a:pt x="225" y="40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close/>
                  <a:moveTo>
                    <a:pt x="79" y="6"/>
                  </a:moveTo>
                  <a:lnTo>
                    <a:pt x="79" y="9"/>
                  </a:lnTo>
                  <a:lnTo>
                    <a:pt x="79" y="11"/>
                  </a:lnTo>
                  <a:lnTo>
                    <a:pt x="81" y="13"/>
                  </a:lnTo>
                  <a:lnTo>
                    <a:pt x="81" y="15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6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2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2" y="40"/>
                  </a:lnTo>
                  <a:lnTo>
                    <a:pt x="124" y="40"/>
                  </a:lnTo>
                  <a:lnTo>
                    <a:pt x="126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9" y="38"/>
                  </a:lnTo>
                  <a:lnTo>
                    <a:pt x="142" y="38"/>
                  </a:lnTo>
                  <a:lnTo>
                    <a:pt x="146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60" y="45"/>
                  </a:lnTo>
                  <a:lnTo>
                    <a:pt x="160" y="45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60" y="47"/>
                  </a:lnTo>
                  <a:lnTo>
                    <a:pt x="160" y="47"/>
                  </a:lnTo>
                  <a:lnTo>
                    <a:pt x="160" y="47"/>
                  </a:lnTo>
                  <a:lnTo>
                    <a:pt x="160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0" y="47"/>
                  </a:lnTo>
                  <a:lnTo>
                    <a:pt x="160" y="45"/>
                  </a:lnTo>
                  <a:lnTo>
                    <a:pt x="164" y="49"/>
                  </a:lnTo>
                  <a:lnTo>
                    <a:pt x="169" y="49"/>
                  </a:lnTo>
                  <a:lnTo>
                    <a:pt x="171" y="49"/>
                  </a:lnTo>
                  <a:lnTo>
                    <a:pt x="173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3" y="51"/>
                  </a:lnTo>
                  <a:lnTo>
                    <a:pt x="173" y="51"/>
                  </a:lnTo>
                  <a:lnTo>
                    <a:pt x="173" y="51"/>
                  </a:lnTo>
                  <a:lnTo>
                    <a:pt x="173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5" y="51"/>
                  </a:lnTo>
                  <a:lnTo>
                    <a:pt x="178" y="51"/>
                  </a:lnTo>
                  <a:lnTo>
                    <a:pt x="178" y="51"/>
                  </a:lnTo>
                  <a:lnTo>
                    <a:pt x="178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2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4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91" y="47"/>
                  </a:lnTo>
                  <a:lnTo>
                    <a:pt x="191" y="47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1" y="45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3" y="42"/>
                  </a:lnTo>
                  <a:lnTo>
                    <a:pt x="196" y="42"/>
                  </a:lnTo>
                  <a:lnTo>
                    <a:pt x="196" y="42"/>
                  </a:lnTo>
                  <a:lnTo>
                    <a:pt x="196" y="42"/>
                  </a:lnTo>
                  <a:lnTo>
                    <a:pt x="196" y="42"/>
                  </a:lnTo>
                  <a:lnTo>
                    <a:pt x="196" y="42"/>
                  </a:lnTo>
                  <a:lnTo>
                    <a:pt x="196" y="42"/>
                  </a:lnTo>
                  <a:lnTo>
                    <a:pt x="198" y="42"/>
                  </a:lnTo>
                  <a:lnTo>
                    <a:pt x="198" y="42"/>
                  </a:lnTo>
                  <a:lnTo>
                    <a:pt x="198" y="42"/>
                  </a:lnTo>
                  <a:lnTo>
                    <a:pt x="198" y="42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0" y="42"/>
                  </a:lnTo>
                  <a:lnTo>
                    <a:pt x="202" y="42"/>
                  </a:lnTo>
                  <a:lnTo>
                    <a:pt x="202" y="42"/>
                  </a:lnTo>
                  <a:lnTo>
                    <a:pt x="205" y="42"/>
                  </a:lnTo>
                  <a:lnTo>
                    <a:pt x="207" y="40"/>
                  </a:lnTo>
                  <a:lnTo>
                    <a:pt x="205" y="40"/>
                  </a:lnTo>
                  <a:lnTo>
                    <a:pt x="205" y="40"/>
                  </a:lnTo>
                  <a:lnTo>
                    <a:pt x="205" y="40"/>
                  </a:lnTo>
                  <a:lnTo>
                    <a:pt x="205" y="40"/>
                  </a:lnTo>
                  <a:lnTo>
                    <a:pt x="205" y="40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0" y="40"/>
                  </a:lnTo>
                  <a:lnTo>
                    <a:pt x="200" y="40"/>
                  </a:lnTo>
                  <a:lnTo>
                    <a:pt x="200" y="40"/>
                  </a:lnTo>
                  <a:lnTo>
                    <a:pt x="200" y="38"/>
                  </a:lnTo>
                  <a:lnTo>
                    <a:pt x="198" y="38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8" y="40"/>
                  </a:lnTo>
                  <a:lnTo>
                    <a:pt x="196" y="40"/>
                  </a:lnTo>
                  <a:lnTo>
                    <a:pt x="196" y="40"/>
                  </a:lnTo>
                  <a:lnTo>
                    <a:pt x="196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6" y="38"/>
                  </a:lnTo>
                  <a:lnTo>
                    <a:pt x="196" y="38"/>
                  </a:lnTo>
                  <a:lnTo>
                    <a:pt x="196" y="38"/>
                  </a:lnTo>
                  <a:lnTo>
                    <a:pt x="196" y="38"/>
                  </a:lnTo>
                  <a:lnTo>
                    <a:pt x="196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5" y="36"/>
                  </a:lnTo>
                  <a:lnTo>
                    <a:pt x="205" y="38"/>
                  </a:lnTo>
                  <a:lnTo>
                    <a:pt x="207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4" y="38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8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9" y="36"/>
                  </a:lnTo>
                  <a:lnTo>
                    <a:pt x="232" y="36"/>
                  </a:lnTo>
                  <a:lnTo>
                    <a:pt x="234" y="36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6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38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5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1" y="38"/>
                  </a:lnTo>
                  <a:lnTo>
                    <a:pt x="241" y="38"/>
                  </a:lnTo>
                  <a:lnTo>
                    <a:pt x="241" y="38"/>
                  </a:lnTo>
                  <a:lnTo>
                    <a:pt x="241" y="38"/>
                  </a:lnTo>
                  <a:lnTo>
                    <a:pt x="241" y="38"/>
                  </a:lnTo>
                  <a:lnTo>
                    <a:pt x="241" y="38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36" y="38"/>
                  </a:lnTo>
                  <a:lnTo>
                    <a:pt x="236" y="38"/>
                  </a:lnTo>
                  <a:lnTo>
                    <a:pt x="236" y="38"/>
                  </a:lnTo>
                  <a:lnTo>
                    <a:pt x="236" y="38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32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3" y="40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0"/>
                  </a:lnTo>
                  <a:lnTo>
                    <a:pt x="223" y="40"/>
                  </a:lnTo>
                  <a:lnTo>
                    <a:pt x="223" y="40"/>
                  </a:lnTo>
                  <a:lnTo>
                    <a:pt x="223" y="40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5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2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7"/>
                  </a:lnTo>
                  <a:lnTo>
                    <a:pt x="220" y="47"/>
                  </a:lnTo>
                  <a:lnTo>
                    <a:pt x="220" y="47"/>
                  </a:lnTo>
                  <a:lnTo>
                    <a:pt x="220" y="47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0" y="42"/>
                  </a:lnTo>
                  <a:lnTo>
                    <a:pt x="223" y="42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2"/>
                  </a:lnTo>
                  <a:lnTo>
                    <a:pt x="223" y="42"/>
                  </a:lnTo>
                  <a:lnTo>
                    <a:pt x="225" y="42"/>
                  </a:lnTo>
                  <a:lnTo>
                    <a:pt x="225" y="42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7" y="45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49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18" y="51"/>
                  </a:lnTo>
                  <a:lnTo>
                    <a:pt x="218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0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3" y="54"/>
                  </a:lnTo>
                  <a:lnTo>
                    <a:pt x="223" y="54"/>
                  </a:lnTo>
                  <a:lnTo>
                    <a:pt x="223" y="54"/>
                  </a:lnTo>
                  <a:lnTo>
                    <a:pt x="225" y="51"/>
                  </a:lnTo>
                  <a:lnTo>
                    <a:pt x="223" y="51"/>
                  </a:lnTo>
                  <a:lnTo>
                    <a:pt x="223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9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9" y="47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29" y="51"/>
                  </a:lnTo>
                  <a:lnTo>
                    <a:pt x="229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4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4" y="58"/>
                  </a:lnTo>
                  <a:lnTo>
                    <a:pt x="234" y="58"/>
                  </a:lnTo>
                  <a:lnTo>
                    <a:pt x="234" y="58"/>
                  </a:lnTo>
                  <a:lnTo>
                    <a:pt x="234" y="58"/>
                  </a:lnTo>
                  <a:lnTo>
                    <a:pt x="234" y="60"/>
                  </a:lnTo>
                  <a:lnTo>
                    <a:pt x="234" y="60"/>
                  </a:lnTo>
                  <a:lnTo>
                    <a:pt x="234" y="58"/>
                  </a:lnTo>
                  <a:lnTo>
                    <a:pt x="234" y="58"/>
                  </a:lnTo>
                  <a:lnTo>
                    <a:pt x="234" y="56"/>
                  </a:lnTo>
                  <a:lnTo>
                    <a:pt x="234" y="56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6" y="54"/>
                  </a:lnTo>
                  <a:lnTo>
                    <a:pt x="236" y="56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6" y="60"/>
                  </a:lnTo>
                  <a:lnTo>
                    <a:pt x="236" y="56"/>
                  </a:lnTo>
                  <a:lnTo>
                    <a:pt x="236" y="56"/>
                  </a:lnTo>
                  <a:lnTo>
                    <a:pt x="236" y="56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8" y="54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1"/>
                  </a:lnTo>
                  <a:lnTo>
                    <a:pt x="236" y="51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41" y="56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3" y="60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3"/>
                  </a:lnTo>
                  <a:lnTo>
                    <a:pt x="245" y="63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60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5" y="58"/>
                  </a:lnTo>
                  <a:lnTo>
                    <a:pt x="243" y="58"/>
                  </a:lnTo>
                  <a:lnTo>
                    <a:pt x="243" y="58"/>
                  </a:lnTo>
                  <a:lnTo>
                    <a:pt x="243" y="56"/>
                  </a:lnTo>
                  <a:lnTo>
                    <a:pt x="243" y="56"/>
                  </a:lnTo>
                  <a:lnTo>
                    <a:pt x="245" y="56"/>
                  </a:lnTo>
                  <a:lnTo>
                    <a:pt x="245" y="56"/>
                  </a:lnTo>
                  <a:lnTo>
                    <a:pt x="245" y="56"/>
                  </a:lnTo>
                  <a:lnTo>
                    <a:pt x="247" y="58"/>
                  </a:lnTo>
                  <a:lnTo>
                    <a:pt x="247" y="58"/>
                  </a:lnTo>
                  <a:lnTo>
                    <a:pt x="247" y="58"/>
                  </a:lnTo>
                  <a:lnTo>
                    <a:pt x="250" y="58"/>
                  </a:lnTo>
                  <a:lnTo>
                    <a:pt x="250" y="58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50" y="56"/>
                  </a:lnTo>
                  <a:lnTo>
                    <a:pt x="250" y="56"/>
                  </a:lnTo>
                  <a:lnTo>
                    <a:pt x="250" y="56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4" y="60"/>
                  </a:lnTo>
                  <a:lnTo>
                    <a:pt x="254" y="60"/>
                  </a:lnTo>
                  <a:lnTo>
                    <a:pt x="254" y="60"/>
                  </a:lnTo>
                  <a:lnTo>
                    <a:pt x="254" y="60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6" y="63"/>
                  </a:lnTo>
                  <a:lnTo>
                    <a:pt x="259" y="63"/>
                  </a:lnTo>
                  <a:lnTo>
                    <a:pt x="259" y="63"/>
                  </a:lnTo>
                  <a:lnTo>
                    <a:pt x="259" y="63"/>
                  </a:lnTo>
                  <a:lnTo>
                    <a:pt x="259" y="63"/>
                  </a:lnTo>
                  <a:lnTo>
                    <a:pt x="259" y="63"/>
                  </a:lnTo>
                  <a:lnTo>
                    <a:pt x="261" y="63"/>
                  </a:lnTo>
                  <a:lnTo>
                    <a:pt x="261" y="63"/>
                  </a:lnTo>
                  <a:lnTo>
                    <a:pt x="261" y="63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1" y="65"/>
                  </a:lnTo>
                  <a:lnTo>
                    <a:pt x="263" y="65"/>
                  </a:lnTo>
                  <a:lnTo>
                    <a:pt x="263" y="65"/>
                  </a:lnTo>
                  <a:lnTo>
                    <a:pt x="263" y="65"/>
                  </a:lnTo>
                  <a:lnTo>
                    <a:pt x="263" y="65"/>
                  </a:lnTo>
                  <a:lnTo>
                    <a:pt x="263" y="65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5" y="67"/>
                  </a:lnTo>
                  <a:lnTo>
                    <a:pt x="265" y="67"/>
                  </a:lnTo>
                  <a:lnTo>
                    <a:pt x="265" y="67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5" y="69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3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59" y="74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2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4"/>
                  </a:lnTo>
                  <a:lnTo>
                    <a:pt x="261" y="76"/>
                  </a:lnTo>
                  <a:lnTo>
                    <a:pt x="261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8"/>
                  </a:lnTo>
                  <a:lnTo>
                    <a:pt x="259" y="78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9" y="81"/>
                  </a:lnTo>
                  <a:lnTo>
                    <a:pt x="259" y="81"/>
                  </a:lnTo>
                  <a:lnTo>
                    <a:pt x="256" y="81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6" y="85"/>
                  </a:lnTo>
                  <a:lnTo>
                    <a:pt x="256" y="85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2" y="85"/>
                  </a:lnTo>
                  <a:lnTo>
                    <a:pt x="252" y="85"/>
                  </a:lnTo>
                  <a:lnTo>
                    <a:pt x="250" y="85"/>
                  </a:lnTo>
                  <a:lnTo>
                    <a:pt x="247" y="85"/>
                  </a:lnTo>
                  <a:lnTo>
                    <a:pt x="247" y="85"/>
                  </a:lnTo>
                  <a:lnTo>
                    <a:pt x="247" y="85"/>
                  </a:lnTo>
                  <a:lnTo>
                    <a:pt x="245" y="85"/>
                  </a:lnTo>
                  <a:lnTo>
                    <a:pt x="245" y="85"/>
                  </a:lnTo>
                  <a:lnTo>
                    <a:pt x="245" y="85"/>
                  </a:lnTo>
                  <a:lnTo>
                    <a:pt x="245" y="87"/>
                  </a:lnTo>
                  <a:lnTo>
                    <a:pt x="247" y="87"/>
                  </a:lnTo>
                  <a:lnTo>
                    <a:pt x="247" y="87"/>
                  </a:lnTo>
                  <a:lnTo>
                    <a:pt x="247" y="87"/>
                  </a:lnTo>
                  <a:lnTo>
                    <a:pt x="247" y="87"/>
                  </a:lnTo>
                  <a:lnTo>
                    <a:pt x="247" y="87"/>
                  </a:lnTo>
                  <a:lnTo>
                    <a:pt x="247" y="87"/>
                  </a:lnTo>
                  <a:lnTo>
                    <a:pt x="250" y="87"/>
                  </a:lnTo>
                  <a:lnTo>
                    <a:pt x="250" y="87"/>
                  </a:lnTo>
                  <a:lnTo>
                    <a:pt x="250" y="87"/>
                  </a:lnTo>
                  <a:lnTo>
                    <a:pt x="250" y="87"/>
                  </a:lnTo>
                  <a:lnTo>
                    <a:pt x="250" y="87"/>
                  </a:lnTo>
                  <a:lnTo>
                    <a:pt x="250" y="87"/>
                  </a:lnTo>
                  <a:lnTo>
                    <a:pt x="250" y="87"/>
                  </a:lnTo>
                  <a:lnTo>
                    <a:pt x="250" y="90"/>
                  </a:lnTo>
                  <a:lnTo>
                    <a:pt x="250" y="90"/>
                  </a:lnTo>
                  <a:lnTo>
                    <a:pt x="250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0"/>
                  </a:lnTo>
                  <a:lnTo>
                    <a:pt x="256" y="90"/>
                  </a:lnTo>
                  <a:lnTo>
                    <a:pt x="259" y="90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2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5" y="85"/>
                  </a:lnTo>
                  <a:lnTo>
                    <a:pt x="265" y="87"/>
                  </a:lnTo>
                  <a:lnTo>
                    <a:pt x="268" y="87"/>
                  </a:lnTo>
                  <a:lnTo>
                    <a:pt x="268" y="87"/>
                  </a:lnTo>
                  <a:lnTo>
                    <a:pt x="268" y="87"/>
                  </a:lnTo>
                  <a:lnTo>
                    <a:pt x="268" y="87"/>
                  </a:lnTo>
                  <a:lnTo>
                    <a:pt x="268" y="87"/>
                  </a:lnTo>
                  <a:lnTo>
                    <a:pt x="270" y="87"/>
                  </a:lnTo>
                  <a:lnTo>
                    <a:pt x="270" y="87"/>
                  </a:lnTo>
                  <a:lnTo>
                    <a:pt x="270" y="87"/>
                  </a:lnTo>
                  <a:lnTo>
                    <a:pt x="270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2" y="85"/>
                  </a:lnTo>
                  <a:lnTo>
                    <a:pt x="272" y="85"/>
                  </a:lnTo>
                  <a:lnTo>
                    <a:pt x="277" y="85"/>
                  </a:lnTo>
                  <a:lnTo>
                    <a:pt x="277" y="85"/>
                  </a:lnTo>
                  <a:lnTo>
                    <a:pt x="279" y="85"/>
                  </a:lnTo>
                  <a:lnTo>
                    <a:pt x="279" y="87"/>
                  </a:lnTo>
                  <a:lnTo>
                    <a:pt x="279" y="87"/>
                  </a:lnTo>
                  <a:lnTo>
                    <a:pt x="281" y="87"/>
                  </a:lnTo>
                  <a:lnTo>
                    <a:pt x="281" y="90"/>
                  </a:lnTo>
                  <a:lnTo>
                    <a:pt x="283" y="92"/>
                  </a:lnTo>
                  <a:lnTo>
                    <a:pt x="283" y="94"/>
                  </a:lnTo>
                  <a:lnTo>
                    <a:pt x="283" y="94"/>
                  </a:lnTo>
                  <a:lnTo>
                    <a:pt x="283" y="94"/>
                  </a:lnTo>
                  <a:lnTo>
                    <a:pt x="283" y="94"/>
                  </a:lnTo>
                  <a:lnTo>
                    <a:pt x="283" y="94"/>
                  </a:lnTo>
                  <a:lnTo>
                    <a:pt x="283" y="94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9" y="99"/>
                  </a:lnTo>
                  <a:lnTo>
                    <a:pt x="277" y="99"/>
                  </a:lnTo>
                  <a:lnTo>
                    <a:pt x="277" y="101"/>
                  </a:lnTo>
                  <a:lnTo>
                    <a:pt x="277" y="101"/>
                  </a:lnTo>
                  <a:lnTo>
                    <a:pt x="277" y="101"/>
                  </a:lnTo>
                  <a:lnTo>
                    <a:pt x="274" y="101"/>
                  </a:lnTo>
                  <a:lnTo>
                    <a:pt x="274" y="101"/>
                  </a:lnTo>
                  <a:lnTo>
                    <a:pt x="274" y="101"/>
                  </a:lnTo>
                  <a:lnTo>
                    <a:pt x="274" y="103"/>
                  </a:lnTo>
                  <a:lnTo>
                    <a:pt x="274" y="103"/>
                  </a:lnTo>
                  <a:lnTo>
                    <a:pt x="272" y="103"/>
                  </a:lnTo>
                  <a:lnTo>
                    <a:pt x="272" y="103"/>
                  </a:lnTo>
                  <a:lnTo>
                    <a:pt x="272" y="105"/>
                  </a:lnTo>
                  <a:lnTo>
                    <a:pt x="272" y="105"/>
                  </a:lnTo>
                  <a:lnTo>
                    <a:pt x="270" y="105"/>
                  </a:lnTo>
                  <a:lnTo>
                    <a:pt x="270" y="105"/>
                  </a:lnTo>
                  <a:lnTo>
                    <a:pt x="268" y="105"/>
                  </a:lnTo>
                  <a:lnTo>
                    <a:pt x="268" y="105"/>
                  </a:lnTo>
                  <a:lnTo>
                    <a:pt x="268" y="108"/>
                  </a:lnTo>
                  <a:lnTo>
                    <a:pt x="268" y="108"/>
                  </a:lnTo>
                  <a:lnTo>
                    <a:pt x="268" y="108"/>
                  </a:lnTo>
                  <a:lnTo>
                    <a:pt x="268" y="108"/>
                  </a:lnTo>
                  <a:lnTo>
                    <a:pt x="268" y="108"/>
                  </a:lnTo>
                  <a:lnTo>
                    <a:pt x="268" y="108"/>
                  </a:lnTo>
                  <a:lnTo>
                    <a:pt x="268" y="110"/>
                  </a:lnTo>
                  <a:lnTo>
                    <a:pt x="268" y="110"/>
                  </a:lnTo>
                  <a:lnTo>
                    <a:pt x="268" y="110"/>
                  </a:lnTo>
                  <a:lnTo>
                    <a:pt x="268" y="110"/>
                  </a:lnTo>
                  <a:lnTo>
                    <a:pt x="268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0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5" y="112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5" y="114"/>
                  </a:lnTo>
                  <a:lnTo>
                    <a:pt x="268" y="114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8" y="117"/>
                  </a:lnTo>
                  <a:lnTo>
                    <a:pt x="265" y="117"/>
                  </a:lnTo>
                  <a:lnTo>
                    <a:pt x="265" y="119"/>
                  </a:lnTo>
                  <a:lnTo>
                    <a:pt x="265" y="119"/>
                  </a:lnTo>
                  <a:lnTo>
                    <a:pt x="265" y="119"/>
                  </a:lnTo>
                  <a:lnTo>
                    <a:pt x="265" y="119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70" y="119"/>
                  </a:lnTo>
                  <a:lnTo>
                    <a:pt x="270" y="119"/>
                  </a:lnTo>
                  <a:lnTo>
                    <a:pt x="270" y="119"/>
                  </a:lnTo>
                  <a:lnTo>
                    <a:pt x="270" y="119"/>
                  </a:lnTo>
                  <a:lnTo>
                    <a:pt x="270" y="121"/>
                  </a:lnTo>
                  <a:lnTo>
                    <a:pt x="270" y="121"/>
                  </a:lnTo>
                  <a:lnTo>
                    <a:pt x="270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1"/>
                  </a:lnTo>
                  <a:lnTo>
                    <a:pt x="272" y="123"/>
                  </a:lnTo>
                  <a:lnTo>
                    <a:pt x="272" y="123"/>
                  </a:lnTo>
                  <a:lnTo>
                    <a:pt x="272" y="123"/>
                  </a:lnTo>
                  <a:lnTo>
                    <a:pt x="272" y="123"/>
                  </a:lnTo>
                  <a:lnTo>
                    <a:pt x="272" y="123"/>
                  </a:lnTo>
                  <a:lnTo>
                    <a:pt x="272" y="123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8" y="128"/>
                  </a:lnTo>
                  <a:lnTo>
                    <a:pt x="265" y="128"/>
                  </a:lnTo>
                  <a:lnTo>
                    <a:pt x="265" y="128"/>
                  </a:lnTo>
                  <a:lnTo>
                    <a:pt x="265" y="128"/>
                  </a:lnTo>
                  <a:lnTo>
                    <a:pt x="265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28"/>
                  </a:lnTo>
                  <a:lnTo>
                    <a:pt x="261" y="128"/>
                  </a:lnTo>
                  <a:lnTo>
                    <a:pt x="261" y="128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9" y="130"/>
                  </a:lnTo>
                  <a:lnTo>
                    <a:pt x="256" y="130"/>
                  </a:lnTo>
                  <a:lnTo>
                    <a:pt x="256" y="130"/>
                  </a:lnTo>
                  <a:lnTo>
                    <a:pt x="256" y="130"/>
                  </a:lnTo>
                  <a:lnTo>
                    <a:pt x="256" y="130"/>
                  </a:lnTo>
                  <a:lnTo>
                    <a:pt x="256" y="130"/>
                  </a:lnTo>
                  <a:lnTo>
                    <a:pt x="256" y="130"/>
                  </a:lnTo>
                  <a:lnTo>
                    <a:pt x="254" y="132"/>
                  </a:lnTo>
                  <a:lnTo>
                    <a:pt x="254" y="132"/>
                  </a:lnTo>
                  <a:lnTo>
                    <a:pt x="254" y="132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41"/>
                  </a:lnTo>
                  <a:lnTo>
                    <a:pt x="254" y="141"/>
                  </a:lnTo>
                  <a:lnTo>
                    <a:pt x="254" y="141"/>
                  </a:lnTo>
                  <a:lnTo>
                    <a:pt x="254" y="141"/>
                  </a:lnTo>
                  <a:lnTo>
                    <a:pt x="254" y="141"/>
                  </a:lnTo>
                  <a:lnTo>
                    <a:pt x="256" y="141"/>
                  </a:lnTo>
                  <a:lnTo>
                    <a:pt x="256" y="141"/>
                  </a:lnTo>
                  <a:lnTo>
                    <a:pt x="256" y="141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6"/>
                  </a:lnTo>
                  <a:lnTo>
                    <a:pt x="252" y="146"/>
                  </a:lnTo>
                  <a:lnTo>
                    <a:pt x="252" y="146"/>
                  </a:lnTo>
                  <a:lnTo>
                    <a:pt x="252" y="146"/>
                  </a:lnTo>
                  <a:lnTo>
                    <a:pt x="250" y="148"/>
                  </a:lnTo>
                  <a:lnTo>
                    <a:pt x="250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0"/>
                  </a:lnTo>
                  <a:lnTo>
                    <a:pt x="250" y="150"/>
                  </a:lnTo>
                  <a:lnTo>
                    <a:pt x="252" y="153"/>
                  </a:lnTo>
                  <a:lnTo>
                    <a:pt x="254" y="155"/>
                  </a:lnTo>
                  <a:lnTo>
                    <a:pt x="254" y="157"/>
                  </a:lnTo>
                  <a:lnTo>
                    <a:pt x="256" y="159"/>
                  </a:lnTo>
                  <a:lnTo>
                    <a:pt x="259" y="162"/>
                  </a:lnTo>
                  <a:lnTo>
                    <a:pt x="259" y="164"/>
                  </a:lnTo>
                  <a:lnTo>
                    <a:pt x="261" y="166"/>
                  </a:lnTo>
                  <a:lnTo>
                    <a:pt x="263" y="166"/>
                  </a:lnTo>
                  <a:lnTo>
                    <a:pt x="263" y="166"/>
                  </a:lnTo>
                  <a:lnTo>
                    <a:pt x="263" y="168"/>
                  </a:lnTo>
                  <a:lnTo>
                    <a:pt x="263" y="168"/>
                  </a:lnTo>
                  <a:lnTo>
                    <a:pt x="265" y="173"/>
                  </a:lnTo>
                  <a:lnTo>
                    <a:pt x="265" y="173"/>
                  </a:lnTo>
                  <a:lnTo>
                    <a:pt x="265" y="175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59" y="180"/>
                  </a:lnTo>
                  <a:lnTo>
                    <a:pt x="259" y="180"/>
                  </a:lnTo>
                  <a:lnTo>
                    <a:pt x="259" y="180"/>
                  </a:lnTo>
                  <a:lnTo>
                    <a:pt x="259" y="180"/>
                  </a:lnTo>
                  <a:lnTo>
                    <a:pt x="259" y="180"/>
                  </a:lnTo>
                  <a:lnTo>
                    <a:pt x="259" y="180"/>
                  </a:lnTo>
                  <a:lnTo>
                    <a:pt x="259" y="182"/>
                  </a:lnTo>
                  <a:lnTo>
                    <a:pt x="259" y="182"/>
                  </a:lnTo>
                  <a:lnTo>
                    <a:pt x="256" y="182"/>
                  </a:lnTo>
                  <a:lnTo>
                    <a:pt x="256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4" y="184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50" y="186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9"/>
                  </a:lnTo>
                  <a:lnTo>
                    <a:pt x="245" y="189"/>
                  </a:lnTo>
                  <a:lnTo>
                    <a:pt x="245" y="189"/>
                  </a:lnTo>
                  <a:lnTo>
                    <a:pt x="245" y="189"/>
                  </a:lnTo>
                  <a:lnTo>
                    <a:pt x="245" y="189"/>
                  </a:lnTo>
                  <a:lnTo>
                    <a:pt x="245" y="191"/>
                  </a:lnTo>
                  <a:lnTo>
                    <a:pt x="245" y="191"/>
                  </a:lnTo>
                  <a:lnTo>
                    <a:pt x="245" y="189"/>
                  </a:lnTo>
                  <a:lnTo>
                    <a:pt x="243" y="189"/>
                  </a:lnTo>
                  <a:lnTo>
                    <a:pt x="243" y="189"/>
                  </a:lnTo>
                  <a:lnTo>
                    <a:pt x="243" y="191"/>
                  </a:lnTo>
                  <a:lnTo>
                    <a:pt x="243" y="191"/>
                  </a:lnTo>
                  <a:lnTo>
                    <a:pt x="243" y="191"/>
                  </a:lnTo>
                  <a:lnTo>
                    <a:pt x="243" y="189"/>
                  </a:lnTo>
                  <a:lnTo>
                    <a:pt x="241" y="189"/>
                  </a:lnTo>
                  <a:lnTo>
                    <a:pt x="241" y="189"/>
                  </a:lnTo>
                  <a:lnTo>
                    <a:pt x="241" y="191"/>
                  </a:lnTo>
                  <a:lnTo>
                    <a:pt x="241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38" y="193"/>
                  </a:lnTo>
                  <a:lnTo>
                    <a:pt x="236" y="193"/>
                  </a:lnTo>
                  <a:lnTo>
                    <a:pt x="236" y="193"/>
                  </a:lnTo>
                  <a:lnTo>
                    <a:pt x="236" y="193"/>
                  </a:lnTo>
                  <a:lnTo>
                    <a:pt x="236" y="191"/>
                  </a:lnTo>
                  <a:lnTo>
                    <a:pt x="236" y="191"/>
                  </a:lnTo>
                  <a:lnTo>
                    <a:pt x="234" y="191"/>
                  </a:lnTo>
                  <a:lnTo>
                    <a:pt x="234" y="193"/>
                  </a:lnTo>
                  <a:lnTo>
                    <a:pt x="232" y="193"/>
                  </a:lnTo>
                  <a:lnTo>
                    <a:pt x="232" y="193"/>
                  </a:lnTo>
                  <a:lnTo>
                    <a:pt x="227" y="191"/>
                  </a:lnTo>
                  <a:lnTo>
                    <a:pt x="227" y="191"/>
                  </a:lnTo>
                  <a:lnTo>
                    <a:pt x="225" y="191"/>
                  </a:lnTo>
                  <a:lnTo>
                    <a:pt x="225" y="191"/>
                  </a:lnTo>
                  <a:lnTo>
                    <a:pt x="225" y="193"/>
                  </a:lnTo>
                  <a:lnTo>
                    <a:pt x="225" y="193"/>
                  </a:lnTo>
                  <a:lnTo>
                    <a:pt x="225" y="193"/>
                  </a:lnTo>
                  <a:lnTo>
                    <a:pt x="225" y="193"/>
                  </a:lnTo>
                  <a:lnTo>
                    <a:pt x="225" y="193"/>
                  </a:lnTo>
                  <a:lnTo>
                    <a:pt x="225" y="193"/>
                  </a:lnTo>
                  <a:lnTo>
                    <a:pt x="223" y="193"/>
                  </a:lnTo>
                  <a:lnTo>
                    <a:pt x="223" y="193"/>
                  </a:lnTo>
                  <a:lnTo>
                    <a:pt x="223" y="195"/>
                  </a:lnTo>
                  <a:lnTo>
                    <a:pt x="223" y="195"/>
                  </a:lnTo>
                  <a:lnTo>
                    <a:pt x="220" y="195"/>
                  </a:lnTo>
                  <a:lnTo>
                    <a:pt x="220" y="195"/>
                  </a:lnTo>
                  <a:lnTo>
                    <a:pt x="220" y="195"/>
                  </a:lnTo>
                  <a:lnTo>
                    <a:pt x="218" y="195"/>
                  </a:lnTo>
                  <a:lnTo>
                    <a:pt x="218" y="195"/>
                  </a:lnTo>
                  <a:lnTo>
                    <a:pt x="218" y="195"/>
                  </a:lnTo>
                  <a:lnTo>
                    <a:pt x="218" y="198"/>
                  </a:lnTo>
                  <a:lnTo>
                    <a:pt x="218" y="198"/>
                  </a:lnTo>
                  <a:lnTo>
                    <a:pt x="218" y="198"/>
                  </a:lnTo>
                  <a:lnTo>
                    <a:pt x="218" y="198"/>
                  </a:lnTo>
                  <a:lnTo>
                    <a:pt x="218" y="200"/>
                  </a:lnTo>
                  <a:lnTo>
                    <a:pt x="218" y="200"/>
                  </a:lnTo>
                  <a:lnTo>
                    <a:pt x="218" y="200"/>
                  </a:lnTo>
                  <a:lnTo>
                    <a:pt x="218" y="200"/>
                  </a:lnTo>
                  <a:lnTo>
                    <a:pt x="218" y="200"/>
                  </a:lnTo>
                  <a:lnTo>
                    <a:pt x="220" y="200"/>
                  </a:lnTo>
                  <a:lnTo>
                    <a:pt x="220" y="202"/>
                  </a:lnTo>
                  <a:lnTo>
                    <a:pt x="220" y="202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18" y="207"/>
                  </a:lnTo>
                  <a:lnTo>
                    <a:pt x="216" y="207"/>
                  </a:lnTo>
                  <a:lnTo>
                    <a:pt x="216" y="207"/>
                  </a:lnTo>
                  <a:lnTo>
                    <a:pt x="216" y="207"/>
                  </a:lnTo>
                  <a:lnTo>
                    <a:pt x="216" y="207"/>
                  </a:lnTo>
                  <a:lnTo>
                    <a:pt x="216" y="207"/>
                  </a:lnTo>
                  <a:lnTo>
                    <a:pt x="214" y="207"/>
                  </a:lnTo>
                  <a:lnTo>
                    <a:pt x="214" y="204"/>
                  </a:lnTo>
                  <a:lnTo>
                    <a:pt x="214" y="204"/>
                  </a:lnTo>
                  <a:lnTo>
                    <a:pt x="214" y="204"/>
                  </a:lnTo>
                  <a:lnTo>
                    <a:pt x="211" y="202"/>
                  </a:lnTo>
                  <a:lnTo>
                    <a:pt x="209" y="200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7" y="198"/>
                  </a:lnTo>
                  <a:lnTo>
                    <a:pt x="207" y="195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8" y="198"/>
                  </a:lnTo>
                  <a:lnTo>
                    <a:pt x="196" y="198"/>
                  </a:lnTo>
                  <a:lnTo>
                    <a:pt x="196" y="198"/>
                  </a:lnTo>
                  <a:lnTo>
                    <a:pt x="196" y="198"/>
                  </a:lnTo>
                  <a:lnTo>
                    <a:pt x="193" y="198"/>
                  </a:lnTo>
                  <a:lnTo>
                    <a:pt x="193" y="198"/>
                  </a:lnTo>
                  <a:lnTo>
                    <a:pt x="193" y="198"/>
                  </a:lnTo>
                  <a:lnTo>
                    <a:pt x="191" y="198"/>
                  </a:lnTo>
                  <a:lnTo>
                    <a:pt x="191" y="198"/>
                  </a:lnTo>
                  <a:lnTo>
                    <a:pt x="191" y="195"/>
                  </a:lnTo>
                  <a:lnTo>
                    <a:pt x="191" y="195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89" y="193"/>
                  </a:lnTo>
                  <a:lnTo>
                    <a:pt x="189" y="193"/>
                  </a:lnTo>
                  <a:lnTo>
                    <a:pt x="187" y="193"/>
                  </a:lnTo>
                  <a:lnTo>
                    <a:pt x="180" y="193"/>
                  </a:lnTo>
                  <a:lnTo>
                    <a:pt x="180" y="193"/>
                  </a:lnTo>
                  <a:lnTo>
                    <a:pt x="180" y="193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5" y="189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8" y="191"/>
                  </a:lnTo>
                  <a:lnTo>
                    <a:pt x="178" y="191"/>
                  </a:lnTo>
                  <a:lnTo>
                    <a:pt x="178" y="193"/>
                  </a:lnTo>
                  <a:lnTo>
                    <a:pt x="178" y="193"/>
                  </a:lnTo>
                  <a:lnTo>
                    <a:pt x="178" y="193"/>
                  </a:lnTo>
                  <a:lnTo>
                    <a:pt x="178" y="193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8"/>
                  </a:lnTo>
                  <a:lnTo>
                    <a:pt x="180" y="198"/>
                  </a:lnTo>
                  <a:lnTo>
                    <a:pt x="182" y="200"/>
                  </a:lnTo>
                  <a:lnTo>
                    <a:pt x="184" y="202"/>
                  </a:lnTo>
                  <a:lnTo>
                    <a:pt x="184" y="202"/>
                  </a:lnTo>
                  <a:lnTo>
                    <a:pt x="187" y="202"/>
                  </a:lnTo>
                  <a:lnTo>
                    <a:pt x="187" y="202"/>
                  </a:lnTo>
                  <a:lnTo>
                    <a:pt x="187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7" y="209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20"/>
                  </a:lnTo>
                  <a:lnTo>
                    <a:pt x="191" y="220"/>
                  </a:lnTo>
                  <a:lnTo>
                    <a:pt x="191" y="225"/>
                  </a:lnTo>
                  <a:lnTo>
                    <a:pt x="193" y="225"/>
                  </a:lnTo>
                  <a:lnTo>
                    <a:pt x="193" y="227"/>
                  </a:lnTo>
                  <a:lnTo>
                    <a:pt x="193" y="227"/>
                  </a:lnTo>
                  <a:lnTo>
                    <a:pt x="193" y="227"/>
                  </a:lnTo>
                  <a:lnTo>
                    <a:pt x="193" y="227"/>
                  </a:lnTo>
                  <a:lnTo>
                    <a:pt x="193" y="229"/>
                  </a:lnTo>
                  <a:lnTo>
                    <a:pt x="191" y="229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91" y="231"/>
                  </a:lnTo>
                  <a:lnTo>
                    <a:pt x="193" y="231"/>
                  </a:lnTo>
                  <a:lnTo>
                    <a:pt x="196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5" y="234"/>
                  </a:lnTo>
                  <a:lnTo>
                    <a:pt x="205" y="234"/>
                  </a:lnTo>
                  <a:lnTo>
                    <a:pt x="207" y="234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8"/>
                  </a:lnTo>
                  <a:lnTo>
                    <a:pt x="205" y="238"/>
                  </a:lnTo>
                  <a:lnTo>
                    <a:pt x="205" y="238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2" y="240"/>
                  </a:lnTo>
                  <a:lnTo>
                    <a:pt x="202" y="240"/>
                  </a:lnTo>
                  <a:lnTo>
                    <a:pt x="202" y="240"/>
                  </a:lnTo>
                  <a:lnTo>
                    <a:pt x="202" y="240"/>
                  </a:lnTo>
                  <a:lnTo>
                    <a:pt x="200" y="240"/>
                  </a:lnTo>
                  <a:lnTo>
                    <a:pt x="198" y="245"/>
                  </a:lnTo>
                  <a:lnTo>
                    <a:pt x="198" y="245"/>
                  </a:lnTo>
                  <a:lnTo>
                    <a:pt x="196" y="245"/>
                  </a:lnTo>
                  <a:lnTo>
                    <a:pt x="193" y="245"/>
                  </a:lnTo>
                  <a:lnTo>
                    <a:pt x="193" y="245"/>
                  </a:lnTo>
                  <a:lnTo>
                    <a:pt x="193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91" y="247"/>
                  </a:lnTo>
                  <a:lnTo>
                    <a:pt x="191" y="249"/>
                  </a:lnTo>
                  <a:lnTo>
                    <a:pt x="191" y="252"/>
                  </a:lnTo>
                  <a:lnTo>
                    <a:pt x="191" y="252"/>
                  </a:lnTo>
                  <a:lnTo>
                    <a:pt x="191" y="252"/>
                  </a:lnTo>
                  <a:lnTo>
                    <a:pt x="191" y="252"/>
                  </a:lnTo>
                  <a:lnTo>
                    <a:pt x="189" y="254"/>
                  </a:lnTo>
                  <a:lnTo>
                    <a:pt x="189" y="254"/>
                  </a:lnTo>
                  <a:lnTo>
                    <a:pt x="189" y="254"/>
                  </a:lnTo>
                  <a:lnTo>
                    <a:pt x="187" y="256"/>
                  </a:lnTo>
                  <a:lnTo>
                    <a:pt x="187" y="256"/>
                  </a:lnTo>
                  <a:lnTo>
                    <a:pt x="184" y="256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6"/>
                  </a:lnTo>
                  <a:lnTo>
                    <a:pt x="184" y="256"/>
                  </a:lnTo>
                  <a:lnTo>
                    <a:pt x="184" y="256"/>
                  </a:lnTo>
                  <a:lnTo>
                    <a:pt x="184" y="256"/>
                  </a:lnTo>
                  <a:lnTo>
                    <a:pt x="184" y="256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0" y="258"/>
                  </a:lnTo>
                  <a:lnTo>
                    <a:pt x="180" y="258"/>
                  </a:lnTo>
                  <a:lnTo>
                    <a:pt x="180" y="258"/>
                  </a:lnTo>
                  <a:lnTo>
                    <a:pt x="180" y="258"/>
                  </a:lnTo>
                  <a:lnTo>
                    <a:pt x="178" y="261"/>
                  </a:lnTo>
                  <a:lnTo>
                    <a:pt x="175" y="261"/>
                  </a:lnTo>
                  <a:lnTo>
                    <a:pt x="175" y="261"/>
                  </a:lnTo>
                  <a:lnTo>
                    <a:pt x="175" y="261"/>
                  </a:lnTo>
                  <a:lnTo>
                    <a:pt x="175" y="261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5"/>
                  </a:lnTo>
                  <a:lnTo>
                    <a:pt x="169" y="265"/>
                  </a:lnTo>
                  <a:lnTo>
                    <a:pt x="166" y="267"/>
                  </a:lnTo>
                  <a:lnTo>
                    <a:pt x="166" y="267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2" y="272"/>
                  </a:lnTo>
                  <a:lnTo>
                    <a:pt x="162" y="272"/>
                  </a:lnTo>
                  <a:lnTo>
                    <a:pt x="162" y="272"/>
                  </a:lnTo>
                  <a:lnTo>
                    <a:pt x="162" y="272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60" y="276"/>
                  </a:lnTo>
                  <a:lnTo>
                    <a:pt x="160" y="276"/>
                  </a:lnTo>
                  <a:lnTo>
                    <a:pt x="160" y="276"/>
                  </a:lnTo>
                  <a:lnTo>
                    <a:pt x="160" y="274"/>
                  </a:lnTo>
                  <a:lnTo>
                    <a:pt x="160" y="274"/>
                  </a:lnTo>
                  <a:lnTo>
                    <a:pt x="160" y="274"/>
                  </a:lnTo>
                  <a:lnTo>
                    <a:pt x="160" y="272"/>
                  </a:lnTo>
                  <a:lnTo>
                    <a:pt x="160" y="272"/>
                  </a:lnTo>
                  <a:lnTo>
                    <a:pt x="160" y="270"/>
                  </a:lnTo>
                  <a:lnTo>
                    <a:pt x="160" y="270"/>
                  </a:lnTo>
                  <a:lnTo>
                    <a:pt x="160" y="270"/>
                  </a:lnTo>
                  <a:lnTo>
                    <a:pt x="160" y="270"/>
                  </a:lnTo>
                  <a:lnTo>
                    <a:pt x="160" y="267"/>
                  </a:lnTo>
                  <a:lnTo>
                    <a:pt x="160" y="267"/>
                  </a:lnTo>
                  <a:lnTo>
                    <a:pt x="160" y="267"/>
                  </a:lnTo>
                  <a:lnTo>
                    <a:pt x="157" y="267"/>
                  </a:lnTo>
                  <a:lnTo>
                    <a:pt x="157" y="267"/>
                  </a:lnTo>
                  <a:lnTo>
                    <a:pt x="157" y="267"/>
                  </a:lnTo>
                  <a:lnTo>
                    <a:pt x="155" y="267"/>
                  </a:lnTo>
                  <a:lnTo>
                    <a:pt x="155" y="267"/>
                  </a:lnTo>
                  <a:lnTo>
                    <a:pt x="155" y="267"/>
                  </a:lnTo>
                  <a:lnTo>
                    <a:pt x="155" y="267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1" y="270"/>
                  </a:lnTo>
                  <a:lnTo>
                    <a:pt x="151" y="272"/>
                  </a:lnTo>
                  <a:lnTo>
                    <a:pt x="151" y="272"/>
                  </a:lnTo>
                  <a:lnTo>
                    <a:pt x="151" y="272"/>
                  </a:lnTo>
                  <a:lnTo>
                    <a:pt x="151" y="272"/>
                  </a:lnTo>
                  <a:lnTo>
                    <a:pt x="148" y="272"/>
                  </a:lnTo>
                  <a:lnTo>
                    <a:pt x="148" y="272"/>
                  </a:lnTo>
                  <a:lnTo>
                    <a:pt x="148" y="274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6" y="274"/>
                  </a:lnTo>
                  <a:lnTo>
                    <a:pt x="146" y="272"/>
                  </a:lnTo>
                  <a:lnTo>
                    <a:pt x="146" y="272"/>
                  </a:lnTo>
                  <a:lnTo>
                    <a:pt x="144" y="274"/>
                  </a:lnTo>
                  <a:lnTo>
                    <a:pt x="142" y="274"/>
                  </a:lnTo>
                  <a:lnTo>
                    <a:pt x="142" y="272"/>
                  </a:lnTo>
                  <a:lnTo>
                    <a:pt x="133" y="263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2"/>
                  </a:lnTo>
                  <a:lnTo>
                    <a:pt x="130" y="252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8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38"/>
                  </a:lnTo>
                  <a:lnTo>
                    <a:pt x="126" y="238"/>
                  </a:lnTo>
                  <a:lnTo>
                    <a:pt x="124" y="238"/>
                  </a:lnTo>
                  <a:lnTo>
                    <a:pt x="124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4"/>
                  </a:lnTo>
                  <a:lnTo>
                    <a:pt x="126" y="234"/>
                  </a:lnTo>
                  <a:lnTo>
                    <a:pt x="126" y="234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31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5" y="225"/>
                  </a:lnTo>
                  <a:lnTo>
                    <a:pt x="115" y="225"/>
                  </a:lnTo>
                  <a:lnTo>
                    <a:pt x="115" y="222"/>
                  </a:lnTo>
                  <a:lnTo>
                    <a:pt x="115" y="222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5"/>
                  </a:lnTo>
                  <a:lnTo>
                    <a:pt x="113" y="222"/>
                  </a:lnTo>
                  <a:lnTo>
                    <a:pt x="113" y="222"/>
                  </a:lnTo>
                  <a:lnTo>
                    <a:pt x="113" y="222"/>
                  </a:lnTo>
                  <a:lnTo>
                    <a:pt x="113" y="220"/>
                  </a:lnTo>
                  <a:lnTo>
                    <a:pt x="115" y="220"/>
                  </a:lnTo>
                  <a:lnTo>
                    <a:pt x="115" y="218"/>
                  </a:lnTo>
                  <a:lnTo>
                    <a:pt x="117" y="218"/>
                  </a:lnTo>
                  <a:lnTo>
                    <a:pt x="117" y="218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19" y="213"/>
                  </a:lnTo>
                  <a:lnTo>
                    <a:pt x="119" y="213"/>
                  </a:lnTo>
                  <a:lnTo>
                    <a:pt x="122" y="213"/>
                  </a:lnTo>
                  <a:lnTo>
                    <a:pt x="122" y="213"/>
                  </a:lnTo>
                  <a:lnTo>
                    <a:pt x="122" y="213"/>
                  </a:lnTo>
                  <a:lnTo>
                    <a:pt x="122" y="213"/>
                  </a:lnTo>
                  <a:lnTo>
                    <a:pt x="124" y="211"/>
                  </a:lnTo>
                  <a:lnTo>
                    <a:pt x="124" y="211"/>
                  </a:lnTo>
                  <a:lnTo>
                    <a:pt x="124" y="209"/>
                  </a:lnTo>
                  <a:lnTo>
                    <a:pt x="124" y="209"/>
                  </a:lnTo>
                  <a:lnTo>
                    <a:pt x="122" y="209"/>
                  </a:lnTo>
                  <a:lnTo>
                    <a:pt x="122" y="209"/>
                  </a:lnTo>
                  <a:lnTo>
                    <a:pt x="122" y="207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5"/>
                  </a:lnTo>
                  <a:lnTo>
                    <a:pt x="115" y="193"/>
                  </a:lnTo>
                  <a:lnTo>
                    <a:pt x="115" y="193"/>
                  </a:lnTo>
                  <a:lnTo>
                    <a:pt x="115" y="193"/>
                  </a:lnTo>
                  <a:lnTo>
                    <a:pt x="115" y="193"/>
                  </a:lnTo>
                  <a:lnTo>
                    <a:pt x="115" y="193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3" y="191"/>
                  </a:lnTo>
                  <a:lnTo>
                    <a:pt x="113" y="189"/>
                  </a:lnTo>
                  <a:lnTo>
                    <a:pt x="113" y="189"/>
                  </a:lnTo>
                  <a:lnTo>
                    <a:pt x="115" y="189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5" y="186"/>
                  </a:lnTo>
                  <a:lnTo>
                    <a:pt x="113" y="186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4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0"/>
                  </a:lnTo>
                  <a:lnTo>
                    <a:pt x="113" y="180"/>
                  </a:lnTo>
                  <a:lnTo>
                    <a:pt x="113" y="180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3" y="177"/>
                  </a:lnTo>
                  <a:lnTo>
                    <a:pt x="115" y="177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5" y="175"/>
                  </a:lnTo>
                  <a:lnTo>
                    <a:pt x="113" y="175"/>
                  </a:lnTo>
                  <a:lnTo>
                    <a:pt x="113" y="175"/>
                  </a:lnTo>
                  <a:lnTo>
                    <a:pt x="113" y="175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8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3" y="166"/>
                  </a:lnTo>
                  <a:lnTo>
                    <a:pt x="113" y="164"/>
                  </a:lnTo>
                  <a:lnTo>
                    <a:pt x="113" y="164"/>
                  </a:lnTo>
                  <a:lnTo>
                    <a:pt x="115" y="164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7" y="162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5"/>
                  </a:lnTo>
                  <a:lnTo>
                    <a:pt x="117" y="155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22" y="150"/>
                  </a:lnTo>
                  <a:lnTo>
                    <a:pt x="122" y="150"/>
                  </a:lnTo>
                  <a:lnTo>
                    <a:pt x="122" y="148"/>
                  </a:lnTo>
                  <a:lnTo>
                    <a:pt x="124" y="148"/>
                  </a:lnTo>
                  <a:lnTo>
                    <a:pt x="124" y="148"/>
                  </a:lnTo>
                  <a:lnTo>
                    <a:pt x="124" y="148"/>
                  </a:lnTo>
                  <a:lnTo>
                    <a:pt x="124" y="148"/>
                  </a:lnTo>
                  <a:lnTo>
                    <a:pt x="122" y="146"/>
                  </a:lnTo>
                  <a:lnTo>
                    <a:pt x="122" y="146"/>
                  </a:lnTo>
                  <a:lnTo>
                    <a:pt x="122" y="144"/>
                  </a:lnTo>
                  <a:lnTo>
                    <a:pt x="122" y="144"/>
                  </a:lnTo>
                  <a:lnTo>
                    <a:pt x="122" y="144"/>
                  </a:lnTo>
                  <a:lnTo>
                    <a:pt x="122" y="144"/>
                  </a:lnTo>
                  <a:lnTo>
                    <a:pt x="122" y="144"/>
                  </a:lnTo>
                  <a:lnTo>
                    <a:pt x="122" y="144"/>
                  </a:lnTo>
                  <a:lnTo>
                    <a:pt x="119" y="141"/>
                  </a:lnTo>
                  <a:lnTo>
                    <a:pt x="119" y="141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3" y="141"/>
                  </a:lnTo>
                  <a:lnTo>
                    <a:pt x="113" y="144"/>
                  </a:lnTo>
                  <a:lnTo>
                    <a:pt x="113" y="144"/>
                  </a:lnTo>
                  <a:lnTo>
                    <a:pt x="113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4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8" y="144"/>
                  </a:lnTo>
                  <a:lnTo>
                    <a:pt x="86" y="146"/>
                  </a:lnTo>
                  <a:lnTo>
                    <a:pt x="86" y="146"/>
                  </a:lnTo>
                  <a:lnTo>
                    <a:pt x="83" y="146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1" y="146"/>
                  </a:lnTo>
                  <a:lnTo>
                    <a:pt x="81" y="146"/>
                  </a:lnTo>
                  <a:lnTo>
                    <a:pt x="81" y="146"/>
                  </a:lnTo>
                  <a:lnTo>
                    <a:pt x="79" y="144"/>
                  </a:lnTo>
                  <a:lnTo>
                    <a:pt x="79" y="141"/>
                  </a:lnTo>
                  <a:lnTo>
                    <a:pt x="77" y="139"/>
                  </a:lnTo>
                  <a:lnTo>
                    <a:pt x="74" y="137"/>
                  </a:lnTo>
                  <a:lnTo>
                    <a:pt x="74" y="135"/>
                  </a:lnTo>
                  <a:lnTo>
                    <a:pt x="72" y="132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1" y="126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4" y="121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0" y="123"/>
                  </a:lnTo>
                  <a:lnTo>
                    <a:pt x="50" y="123"/>
                  </a:lnTo>
                  <a:lnTo>
                    <a:pt x="50" y="123"/>
                  </a:lnTo>
                  <a:lnTo>
                    <a:pt x="50" y="123"/>
                  </a:lnTo>
                  <a:lnTo>
                    <a:pt x="47" y="123"/>
                  </a:lnTo>
                  <a:lnTo>
                    <a:pt x="47" y="126"/>
                  </a:lnTo>
                  <a:lnTo>
                    <a:pt x="45" y="123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1" y="123"/>
                  </a:lnTo>
                  <a:lnTo>
                    <a:pt x="41" y="123"/>
                  </a:lnTo>
                  <a:lnTo>
                    <a:pt x="41" y="123"/>
                  </a:lnTo>
                  <a:lnTo>
                    <a:pt x="41" y="123"/>
                  </a:lnTo>
                  <a:lnTo>
                    <a:pt x="41" y="12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3" y="114"/>
                  </a:lnTo>
                  <a:lnTo>
                    <a:pt x="23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0" y="96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7" y="65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0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49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6" y="38"/>
                  </a:lnTo>
                  <a:lnTo>
                    <a:pt x="16" y="36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0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3" y="13"/>
                  </a:lnTo>
                  <a:lnTo>
                    <a:pt x="41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6" y="24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4" y="47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6"/>
                  </a:lnTo>
                  <a:lnTo>
                    <a:pt x="27" y="56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29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2" y="63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1" y="76"/>
                  </a:lnTo>
                  <a:lnTo>
                    <a:pt x="43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1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5" y="49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3" y="47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7" y="29"/>
                  </a:lnTo>
                  <a:lnTo>
                    <a:pt x="50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61" y="22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5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8" y="22"/>
                  </a:lnTo>
                  <a:lnTo>
                    <a:pt x="68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2" y="20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20"/>
                  </a:lnTo>
                  <a:lnTo>
                    <a:pt x="79" y="20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2" y="13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79" y="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463"/>
            <p:cNvSpPr>
              <a:spLocks/>
            </p:cNvSpPr>
            <p:nvPr/>
          </p:nvSpPr>
          <p:spPr bwMode="auto">
            <a:xfrm>
              <a:off x="6042037" y="23010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464"/>
            <p:cNvSpPr>
              <a:spLocks noEditPoints="1"/>
            </p:cNvSpPr>
            <p:nvPr/>
          </p:nvSpPr>
          <p:spPr bwMode="auto">
            <a:xfrm>
              <a:off x="11434055" y="4487237"/>
              <a:ext cx="71872" cy="285813"/>
            </a:xfrm>
            <a:custGeom>
              <a:avLst/>
              <a:gdLst>
                <a:gd name="T0" fmla="*/ 41 w 43"/>
                <a:gd name="T1" fmla="*/ 169 h 171"/>
                <a:gd name="T2" fmla="*/ 34 w 43"/>
                <a:gd name="T3" fmla="*/ 155 h 171"/>
                <a:gd name="T4" fmla="*/ 34 w 43"/>
                <a:gd name="T5" fmla="*/ 149 h 171"/>
                <a:gd name="T6" fmla="*/ 36 w 43"/>
                <a:gd name="T7" fmla="*/ 153 h 171"/>
                <a:gd name="T8" fmla="*/ 38 w 43"/>
                <a:gd name="T9" fmla="*/ 135 h 171"/>
                <a:gd name="T10" fmla="*/ 36 w 43"/>
                <a:gd name="T11" fmla="*/ 142 h 171"/>
                <a:gd name="T12" fmla="*/ 32 w 43"/>
                <a:gd name="T13" fmla="*/ 137 h 171"/>
                <a:gd name="T14" fmla="*/ 25 w 43"/>
                <a:gd name="T15" fmla="*/ 106 h 171"/>
                <a:gd name="T16" fmla="*/ 29 w 43"/>
                <a:gd name="T17" fmla="*/ 110 h 171"/>
                <a:gd name="T18" fmla="*/ 27 w 43"/>
                <a:gd name="T19" fmla="*/ 113 h 171"/>
                <a:gd name="T20" fmla="*/ 25 w 43"/>
                <a:gd name="T21" fmla="*/ 113 h 171"/>
                <a:gd name="T22" fmla="*/ 23 w 43"/>
                <a:gd name="T23" fmla="*/ 110 h 171"/>
                <a:gd name="T24" fmla="*/ 20 w 43"/>
                <a:gd name="T25" fmla="*/ 110 h 171"/>
                <a:gd name="T26" fmla="*/ 23 w 43"/>
                <a:gd name="T27" fmla="*/ 106 h 171"/>
                <a:gd name="T28" fmla="*/ 27 w 43"/>
                <a:gd name="T29" fmla="*/ 106 h 171"/>
                <a:gd name="T30" fmla="*/ 34 w 43"/>
                <a:gd name="T31" fmla="*/ 93 h 171"/>
                <a:gd name="T32" fmla="*/ 27 w 43"/>
                <a:gd name="T33" fmla="*/ 86 h 171"/>
                <a:gd name="T34" fmla="*/ 29 w 43"/>
                <a:gd name="T35" fmla="*/ 88 h 171"/>
                <a:gd name="T36" fmla="*/ 29 w 43"/>
                <a:gd name="T37" fmla="*/ 88 h 171"/>
                <a:gd name="T38" fmla="*/ 25 w 43"/>
                <a:gd name="T39" fmla="*/ 86 h 171"/>
                <a:gd name="T40" fmla="*/ 29 w 43"/>
                <a:gd name="T41" fmla="*/ 84 h 171"/>
                <a:gd name="T42" fmla="*/ 29 w 43"/>
                <a:gd name="T43" fmla="*/ 81 h 171"/>
                <a:gd name="T44" fmla="*/ 25 w 43"/>
                <a:gd name="T45" fmla="*/ 77 h 171"/>
                <a:gd name="T46" fmla="*/ 27 w 43"/>
                <a:gd name="T47" fmla="*/ 75 h 171"/>
                <a:gd name="T48" fmla="*/ 14 w 43"/>
                <a:gd name="T49" fmla="*/ 72 h 171"/>
                <a:gd name="T50" fmla="*/ 16 w 43"/>
                <a:gd name="T51" fmla="*/ 75 h 171"/>
                <a:gd name="T52" fmla="*/ 18 w 43"/>
                <a:gd name="T53" fmla="*/ 77 h 171"/>
                <a:gd name="T54" fmla="*/ 20 w 43"/>
                <a:gd name="T55" fmla="*/ 81 h 171"/>
                <a:gd name="T56" fmla="*/ 18 w 43"/>
                <a:gd name="T57" fmla="*/ 81 h 171"/>
                <a:gd name="T58" fmla="*/ 16 w 43"/>
                <a:gd name="T59" fmla="*/ 84 h 171"/>
                <a:gd name="T60" fmla="*/ 11 w 43"/>
                <a:gd name="T61" fmla="*/ 81 h 171"/>
                <a:gd name="T62" fmla="*/ 11 w 43"/>
                <a:gd name="T63" fmla="*/ 79 h 171"/>
                <a:gd name="T64" fmla="*/ 9 w 43"/>
                <a:gd name="T65" fmla="*/ 75 h 171"/>
                <a:gd name="T66" fmla="*/ 9 w 43"/>
                <a:gd name="T67" fmla="*/ 68 h 171"/>
                <a:gd name="T68" fmla="*/ 11 w 43"/>
                <a:gd name="T69" fmla="*/ 63 h 171"/>
                <a:gd name="T70" fmla="*/ 11 w 43"/>
                <a:gd name="T71" fmla="*/ 63 h 171"/>
                <a:gd name="T72" fmla="*/ 11 w 43"/>
                <a:gd name="T73" fmla="*/ 59 h 171"/>
                <a:gd name="T74" fmla="*/ 32 w 43"/>
                <a:gd name="T75" fmla="*/ 61 h 171"/>
                <a:gd name="T76" fmla="*/ 32 w 43"/>
                <a:gd name="T77" fmla="*/ 66 h 171"/>
                <a:gd name="T78" fmla="*/ 23 w 43"/>
                <a:gd name="T79" fmla="*/ 59 h 171"/>
                <a:gd name="T80" fmla="*/ 27 w 43"/>
                <a:gd name="T81" fmla="*/ 57 h 171"/>
                <a:gd name="T82" fmla="*/ 34 w 43"/>
                <a:gd name="T83" fmla="*/ 57 h 171"/>
                <a:gd name="T84" fmla="*/ 34 w 43"/>
                <a:gd name="T85" fmla="*/ 45 h 171"/>
                <a:gd name="T86" fmla="*/ 34 w 43"/>
                <a:gd name="T87" fmla="*/ 52 h 171"/>
                <a:gd name="T88" fmla="*/ 9 w 43"/>
                <a:gd name="T89" fmla="*/ 48 h 171"/>
                <a:gd name="T90" fmla="*/ 11 w 43"/>
                <a:gd name="T91" fmla="*/ 48 h 171"/>
                <a:gd name="T92" fmla="*/ 14 w 43"/>
                <a:gd name="T93" fmla="*/ 52 h 171"/>
                <a:gd name="T94" fmla="*/ 14 w 43"/>
                <a:gd name="T95" fmla="*/ 59 h 171"/>
                <a:gd name="T96" fmla="*/ 5 w 43"/>
                <a:gd name="T97" fmla="*/ 61 h 171"/>
                <a:gd name="T98" fmla="*/ 2 w 43"/>
                <a:gd name="T99" fmla="*/ 59 h 171"/>
                <a:gd name="T100" fmla="*/ 2 w 43"/>
                <a:gd name="T101" fmla="*/ 50 h 171"/>
                <a:gd name="T102" fmla="*/ 2 w 43"/>
                <a:gd name="T103" fmla="*/ 41 h 171"/>
                <a:gd name="T104" fmla="*/ 5 w 43"/>
                <a:gd name="T105" fmla="*/ 39 h 171"/>
                <a:gd name="T106" fmla="*/ 7 w 43"/>
                <a:gd name="T107" fmla="*/ 48 h 171"/>
                <a:gd name="T108" fmla="*/ 23 w 43"/>
                <a:gd name="T109" fmla="*/ 30 h 171"/>
                <a:gd name="T110" fmla="*/ 25 w 43"/>
                <a:gd name="T111" fmla="*/ 25 h 171"/>
                <a:gd name="T112" fmla="*/ 25 w 43"/>
                <a:gd name="T113" fmla="*/ 21 h 171"/>
                <a:gd name="T114" fmla="*/ 25 w 43"/>
                <a:gd name="T115" fmla="*/ 16 h 171"/>
                <a:gd name="T116" fmla="*/ 29 w 43"/>
                <a:gd name="T117" fmla="*/ 14 h 171"/>
                <a:gd name="T118" fmla="*/ 25 w 43"/>
                <a:gd name="T119" fmla="*/ 12 h 171"/>
                <a:gd name="T120" fmla="*/ 9 w 43"/>
                <a:gd name="T121" fmla="*/ 9 h 171"/>
                <a:gd name="T122" fmla="*/ 9 w 43"/>
                <a:gd name="T123" fmla="*/ 3 h 171"/>
                <a:gd name="T124" fmla="*/ 9 w 43"/>
                <a:gd name="T125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" h="171">
                  <a:moveTo>
                    <a:pt x="41" y="171"/>
                  </a:move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3" y="169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close/>
                  <a:moveTo>
                    <a:pt x="36" y="158"/>
                  </a:moveTo>
                  <a:lnTo>
                    <a:pt x="36" y="158"/>
                  </a:lnTo>
                  <a:lnTo>
                    <a:pt x="36" y="158"/>
                  </a:lnTo>
                  <a:lnTo>
                    <a:pt x="34" y="158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2" y="155"/>
                  </a:lnTo>
                  <a:lnTo>
                    <a:pt x="34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8"/>
                  </a:lnTo>
                  <a:close/>
                  <a:moveTo>
                    <a:pt x="36" y="135"/>
                  </a:moveTo>
                  <a:lnTo>
                    <a:pt x="36" y="135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6" y="140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2" y="140"/>
                  </a:lnTo>
                  <a:lnTo>
                    <a:pt x="32" y="140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4" y="133"/>
                  </a:lnTo>
                  <a:lnTo>
                    <a:pt x="34" y="133"/>
                  </a:lnTo>
                  <a:lnTo>
                    <a:pt x="34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6" y="135"/>
                  </a:lnTo>
                  <a:close/>
                  <a:moveTo>
                    <a:pt x="25" y="106"/>
                  </a:moveTo>
                  <a:lnTo>
                    <a:pt x="25" y="106"/>
                  </a:lnTo>
                  <a:lnTo>
                    <a:pt x="25" y="106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27" y="106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9" y="108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close/>
                  <a:moveTo>
                    <a:pt x="23" y="108"/>
                  </a:moveTo>
                  <a:lnTo>
                    <a:pt x="23" y="108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8"/>
                  </a:lnTo>
                  <a:lnTo>
                    <a:pt x="23" y="108"/>
                  </a:lnTo>
                  <a:close/>
                  <a:moveTo>
                    <a:pt x="27" y="106"/>
                  </a:move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4"/>
                  </a:lnTo>
                  <a:lnTo>
                    <a:pt x="27" y="104"/>
                  </a:lnTo>
                  <a:lnTo>
                    <a:pt x="27" y="106"/>
                  </a:lnTo>
                  <a:close/>
                  <a:moveTo>
                    <a:pt x="27" y="97"/>
                  </a:moveTo>
                  <a:lnTo>
                    <a:pt x="27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7" y="97"/>
                  </a:lnTo>
                  <a:close/>
                  <a:moveTo>
                    <a:pt x="34" y="93"/>
                  </a:moveTo>
                  <a:lnTo>
                    <a:pt x="34" y="93"/>
                  </a:lnTo>
                  <a:lnTo>
                    <a:pt x="34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3"/>
                  </a:lnTo>
                  <a:close/>
                  <a:moveTo>
                    <a:pt x="27" y="84"/>
                  </a:move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close/>
                  <a:moveTo>
                    <a:pt x="32" y="84"/>
                  </a:moveTo>
                  <a:lnTo>
                    <a:pt x="32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4"/>
                  </a:lnTo>
                  <a:lnTo>
                    <a:pt x="32" y="84"/>
                  </a:lnTo>
                  <a:close/>
                  <a:moveTo>
                    <a:pt x="29" y="81"/>
                  </a:moveTo>
                  <a:lnTo>
                    <a:pt x="29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close/>
                  <a:moveTo>
                    <a:pt x="32" y="77"/>
                  </a:moveTo>
                  <a:lnTo>
                    <a:pt x="32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close/>
                  <a:moveTo>
                    <a:pt x="14" y="72"/>
                  </a:move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8" y="75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18" y="81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2"/>
                  </a:lnTo>
                  <a:lnTo>
                    <a:pt x="9" y="75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1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70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close/>
                  <a:moveTo>
                    <a:pt x="11" y="63"/>
                  </a:move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close/>
                  <a:moveTo>
                    <a:pt x="11" y="61"/>
                  </a:move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61"/>
                  </a:lnTo>
                  <a:lnTo>
                    <a:pt x="11" y="61"/>
                  </a:lnTo>
                  <a:close/>
                  <a:moveTo>
                    <a:pt x="32" y="70"/>
                  </a:moveTo>
                  <a:lnTo>
                    <a:pt x="32" y="70"/>
                  </a:lnTo>
                  <a:lnTo>
                    <a:pt x="32" y="70"/>
                  </a:lnTo>
                  <a:lnTo>
                    <a:pt x="29" y="70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59"/>
                  </a:lnTo>
                  <a:lnTo>
                    <a:pt x="32" y="57"/>
                  </a:lnTo>
                  <a:lnTo>
                    <a:pt x="34" y="57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70"/>
                  </a:lnTo>
                  <a:lnTo>
                    <a:pt x="32" y="70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27" y="57"/>
                  </a:move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7"/>
                  </a:lnTo>
                  <a:close/>
                  <a:moveTo>
                    <a:pt x="14" y="45"/>
                  </a:move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close/>
                  <a:moveTo>
                    <a:pt x="34" y="54"/>
                  </a:moveTo>
                  <a:lnTo>
                    <a:pt x="34" y="57"/>
                  </a:lnTo>
                  <a:lnTo>
                    <a:pt x="34" y="57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close/>
                  <a:moveTo>
                    <a:pt x="7" y="50"/>
                  </a:move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7"/>
                  </a:lnTo>
                  <a:lnTo>
                    <a:pt x="14" y="57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7" y="59"/>
                  </a:lnTo>
                  <a:lnTo>
                    <a:pt x="7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3"/>
                  </a:lnTo>
                  <a:lnTo>
                    <a:pt x="0" y="43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5" y="45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5" y="50"/>
                  </a:lnTo>
                  <a:lnTo>
                    <a:pt x="7" y="50"/>
                  </a:lnTo>
                  <a:close/>
                  <a:moveTo>
                    <a:pt x="25" y="25"/>
                  </a:move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close/>
                  <a:moveTo>
                    <a:pt x="27" y="18"/>
                  </a:move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close/>
                  <a:moveTo>
                    <a:pt x="32" y="14"/>
                  </a:moveTo>
                  <a:lnTo>
                    <a:pt x="29" y="14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close/>
                  <a:moveTo>
                    <a:pt x="25" y="12"/>
                  </a:move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2"/>
                  </a:lnTo>
                  <a:lnTo>
                    <a:pt x="23" y="12"/>
                  </a:lnTo>
                  <a:lnTo>
                    <a:pt x="25" y="12"/>
                  </a:lnTo>
                  <a:close/>
                  <a:moveTo>
                    <a:pt x="11" y="9"/>
                  </a:moveTo>
                  <a:lnTo>
                    <a:pt x="11" y="9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1" y="9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3"/>
                  </a:lnTo>
                  <a:lnTo>
                    <a:pt x="11" y="3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9" y="5"/>
                  </a:lnTo>
                  <a:close/>
                  <a:moveTo>
                    <a:pt x="9" y="3"/>
                  </a:move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466"/>
            <p:cNvSpPr>
              <a:spLocks/>
            </p:cNvSpPr>
            <p:nvPr/>
          </p:nvSpPr>
          <p:spPr bwMode="auto">
            <a:xfrm>
              <a:off x="3695356" y="5164164"/>
              <a:ext cx="175500" cy="195556"/>
            </a:xfrm>
            <a:custGeom>
              <a:avLst/>
              <a:gdLst>
                <a:gd name="T0" fmla="*/ 22 w 105"/>
                <a:gd name="T1" fmla="*/ 2 h 117"/>
                <a:gd name="T2" fmla="*/ 25 w 105"/>
                <a:gd name="T3" fmla="*/ 5 h 117"/>
                <a:gd name="T4" fmla="*/ 29 w 105"/>
                <a:gd name="T5" fmla="*/ 9 h 117"/>
                <a:gd name="T6" fmla="*/ 36 w 105"/>
                <a:gd name="T7" fmla="*/ 14 h 117"/>
                <a:gd name="T8" fmla="*/ 38 w 105"/>
                <a:gd name="T9" fmla="*/ 18 h 117"/>
                <a:gd name="T10" fmla="*/ 40 w 105"/>
                <a:gd name="T11" fmla="*/ 25 h 117"/>
                <a:gd name="T12" fmla="*/ 43 w 105"/>
                <a:gd name="T13" fmla="*/ 23 h 117"/>
                <a:gd name="T14" fmla="*/ 47 w 105"/>
                <a:gd name="T15" fmla="*/ 20 h 117"/>
                <a:gd name="T16" fmla="*/ 49 w 105"/>
                <a:gd name="T17" fmla="*/ 20 h 117"/>
                <a:gd name="T18" fmla="*/ 54 w 105"/>
                <a:gd name="T19" fmla="*/ 25 h 117"/>
                <a:gd name="T20" fmla="*/ 58 w 105"/>
                <a:gd name="T21" fmla="*/ 29 h 117"/>
                <a:gd name="T22" fmla="*/ 63 w 105"/>
                <a:gd name="T23" fmla="*/ 32 h 117"/>
                <a:gd name="T24" fmla="*/ 70 w 105"/>
                <a:gd name="T25" fmla="*/ 34 h 117"/>
                <a:gd name="T26" fmla="*/ 74 w 105"/>
                <a:gd name="T27" fmla="*/ 38 h 117"/>
                <a:gd name="T28" fmla="*/ 81 w 105"/>
                <a:gd name="T29" fmla="*/ 43 h 117"/>
                <a:gd name="T30" fmla="*/ 83 w 105"/>
                <a:gd name="T31" fmla="*/ 45 h 117"/>
                <a:gd name="T32" fmla="*/ 85 w 105"/>
                <a:gd name="T33" fmla="*/ 45 h 117"/>
                <a:gd name="T34" fmla="*/ 92 w 105"/>
                <a:gd name="T35" fmla="*/ 52 h 117"/>
                <a:gd name="T36" fmla="*/ 94 w 105"/>
                <a:gd name="T37" fmla="*/ 56 h 117"/>
                <a:gd name="T38" fmla="*/ 103 w 105"/>
                <a:gd name="T39" fmla="*/ 61 h 117"/>
                <a:gd name="T40" fmla="*/ 101 w 105"/>
                <a:gd name="T41" fmla="*/ 68 h 117"/>
                <a:gd name="T42" fmla="*/ 99 w 105"/>
                <a:gd name="T43" fmla="*/ 72 h 117"/>
                <a:gd name="T44" fmla="*/ 101 w 105"/>
                <a:gd name="T45" fmla="*/ 85 h 117"/>
                <a:gd name="T46" fmla="*/ 101 w 105"/>
                <a:gd name="T47" fmla="*/ 90 h 117"/>
                <a:gd name="T48" fmla="*/ 99 w 105"/>
                <a:gd name="T49" fmla="*/ 99 h 117"/>
                <a:gd name="T50" fmla="*/ 96 w 105"/>
                <a:gd name="T51" fmla="*/ 103 h 117"/>
                <a:gd name="T52" fmla="*/ 90 w 105"/>
                <a:gd name="T53" fmla="*/ 110 h 117"/>
                <a:gd name="T54" fmla="*/ 90 w 105"/>
                <a:gd name="T55" fmla="*/ 108 h 117"/>
                <a:gd name="T56" fmla="*/ 87 w 105"/>
                <a:gd name="T57" fmla="*/ 108 h 117"/>
                <a:gd name="T58" fmla="*/ 90 w 105"/>
                <a:gd name="T59" fmla="*/ 110 h 117"/>
                <a:gd name="T60" fmla="*/ 79 w 105"/>
                <a:gd name="T61" fmla="*/ 117 h 117"/>
                <a:gd name="T62" fmla="*/ 76 w 105"/>
                <a:gd name="T63" fmla="*/ 115 h 117"/>
                <a:gd name="T64" fmla="*/ 72 w 105"/>
                <a:gd name="T65" fmla="*/ 115 h 117"/>
                <a:gd name="T66" fmla="*/ 63 w 105"/>
                <a:gd name="T67" fmla="*/ 112 h 117"/>
                <a:gd name="T68" fmla="*/ 54 w 105"/>
                <a:gd name="T69" fmla="*/ 115 h 117"/>
                <a:gd name="T70" fmla="*/ 52 w 105"/>
                <a:gd name="T71" fmla="*/ 115 h 117"/>
                <a:gd name="T72" fmla="*/ 47 w 105"/>
                <a:gd name="T73" fmla="*/ 112 h 117"/>
                <a:gd name="T74" fmla="*/ 43 w 105"/>
                <a:gd name="T75" fmla="*/ 110 h 117"/>
                <a:gd name="T76" fmla="*/ 36 w 105"/>
                <a:gd name="T77" fmla="*/ 108 h 117"/>
                <a:gd name="T78" fmla="*/ 34 w 105"/>
                <a:gd name="T79" fmla="*/ 106 h 117"/>
                <a:gd name="T80" fmla="*/ 25 w 105"/>
                <a:gd name="T81" fmla="*/ 103 h 117"/>
                <a:gd name="T82" fmla="*/ 18 w 105"/>
                <a:gd name="T83" fmla="*/ 106 h 117"/>
                <a:gd name="T84" fmla="*/ 11 w 105"/>
                <a:gd name="T85" fmla="*/ 99 h 117"/>
                <a:gd name="T86" fmla="*/ 7 w 105"/>
                <a:gd name="T87" fmla="*/ 92 h 117"/>
                <a:gd name="T88" fmla="*/ 2 w 105"/>
                <a:gd name="T89" fmla="*/ 83 h 117"/>
                <a:gd name="T90" fmla="*/ 2 w 105"/>
                <a:gd name="T91" fmla="*/ 79 h 117"/>
                <a:gd name="T92" fmla="*/ 2 w 105"/>
                <a:gd name="T93" fmla="*/ 72 h 117"/>
                <a:gd name="T94" fmla="*/ 7 w 105"/>
                <a:gd name="T95" fmla="*/ 68 h 117"/>
                <a:gd name="T96" fmla="*/ 4 w 105"/>
                <a:gd name="T97" fmla="*/ 63 h 117"/>
                <a:gd name="T98" fmla="*/ 2 w 105"/>
                <a:gd name="T99" fmla="*/ 56 h 117"/>
                <a:gd name="T100" fmla="*/ 0 w 105"/>
                <a:gd name="T101" fmla="*/ 47 h 117"/>
                <a:gd name="T102" fmla="*/ 0 w 105"/>
                <a:gd name="T103" fmla="*/ 43 h 117"/>
                <a:gd name="T104" fmla="*/ 0 w 105"/>
                <a:gd name="T105" fmla="*/ 34 h 117"/>
                <a:gd name="T106" fmla="*/ 2 w 105"/>
                <a:gd name="T107" fmla="*/ 29 h 117"/>
                <a:gd name="T108" fmla="*/ 2 w 105"/>
                <a:gd name="T109" fmla="*/ 23 h 117"/>
                <a:gd name="T110" fmla="*/ 2 w 105"/>
                <a:gd name="T111" fmla="*/ 18 h 117"/>
                <a:gd name="T112" fmla="*/ 0 w 105"/>
                <a:gd name="T113" fmla="*/ 11 h 117"/>
                <a:gd name="T114" fmla="*/ 4 w 105"/>
                <a:gd name="T115" fmla="*/ 2 h 117"/>
                <a:gd name="T116" fmla="*/ 9 w 105"/>
                <a:gd name="T117" fmla="*/ 5 h 117"/>
                <a:gd name="T118" fmla="*/ 11 w 105"/>
                <a:gd name="T119" fmla="*/ 5 h 117"/>
                <a:gd name="T120" fmla="*/ 13 w 105"/>
                <a:gd name="T121" fmla="*/ 2 h 117"/>
                <a:gd name="T122" fmla="*/ 18 w 105"/>
                <a:gd name="T1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" h="117">
                  <a:moveTo>
                    <a:pt x="18" y="0"/>
                  </a:move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2" y="20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3" y="29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6" y="59"/>
                  </a:lnTo>
                  <a:lnTo>
                    <a:pt x="99" y="59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3" y="63"/>
                  </a:lnTo>
                  <a:lnTo>
                    <a:pt x="103" y="65"/>
                  </a:lnTo>
                  <a:lnTo>
                    <a:pt x="103" y="65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99" y="70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4"/>
                  </a:lnTo>
                  <a:lnTo>
                    <a:pt x="99" y="77"/>
                  </a:lnTo>
                  <a:lnTo>
                    <a:pt x="99" y="79"/>
                  </a:lnTo>
                  <a:lnTo>
                    <a:pt x="99" y="83"/>
                  </a:lnTo>
                  <a:lnTo>
                    <a:pt x="99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8"/>
                  </a:lnTo>
                  <a:lnTo>
                    <a:pt x="103" y="88"/>
                  </a:lnTo>
                  <a:lnTo>
                    <a:pt x="103" y="88"/>
                  </a:lnTo>
                  <a:lnTo>
                    <a:pt x="103" y="88"/>
                  </a:lnTo>
                  <a:lnTo>
                    <a:pt x="103" y="88"/>
                  </a:lnTo>
                  <a:lnTo>
                    <a:pt x="103" y="88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1" y="97"/>
                  </a:lnTo>
                  <a:lnTo>
                    <a:pt x="99" y="97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6" y="103"/>
                  </a:lnTo>
                  <a:lnTo>
                    <a:pt x="96" y="103"/>
                  </a:lnTo>
                  <a:lnTo>
                    <a:pt x="94" y="106"/>
                  </a:lnTo>
                  <a:lnTo>
                    <a:pt x="92" y="108"/>
                  </a:lnTo>
                  <a:lnTo>
                    <a:pt x="92" y="108"/>
                  </a:lnTo>
                  <a:lnTo>
                    <a:pt x="92" y="108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10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85" y="112"/>
                  </a:lnTo>
                  <a:lnTo>
                    <a:pt x="83" y="112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1" y="115"/>
                  </a:lnTo>
                  <a:lnTo>
                    <a:pt x="79" y="115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0" y="115"/>
                  </a:lnTo>
                  <a:lnTo>
                    <a:pt x="70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3" y="112"/>
                  </a:lnTo>
                  <a:lnTo>
                    <a:pt x="61" y="112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9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1" y="106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29" y="103"/>
                  </a:lnTo>
                  <a:lnTo>
                    <a:pt x="27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0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6" y="103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2" y="88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467"/>
            <p:cNvSpPr>
              <a:spLocks noEditPoints="1"/>
            </p:cNvSpPr>
            <p:nvPr/>
          </p:nvSpPr>
          <p:spPr bwMode="auto">
            <a:xfrm>
              <a:off x="845576" y="1214586"/>
              <a:ext cx="2692666" cy="1754996"/>
            </a:xfrm>
            <a:custGeom>
              <a:avLst/>
              <a:gdLst>
                <a:gd name="T0" fmla="*/ 294 w 1611"/>
                <a:gd name="T1" fmla="*/ 243 h 1050"/>
                <a:gd name="T2" fmla="*/ 229 w 1611"/>
                <a:gd name="T3" fmla="*/ 279 h 1050"/>
                <a:gd name="T4" fmla="*/ 132 w 1611"/>
                <a:gd name="T5" fmla="*/ 315 h 1050"/>
                <a:gd name="T6" fmla="*/ 87 w 1611"/>
                <a:gd name="T7" fmla="*/ 330 h 1050"/>
                <a:gd name="T8" fmla="*/ 9 w 1611"/>
                <a:gd name="T9" fmla="*/ 346 h 1050"/>
                <a:gd name="T10" fmla="*/ 157 w 1611"/>
                <a:gd name="T11" fmla="*/ 292 h 1050"/>
                <a:gd name="T12" fmla="*/ 168 w 1611"/>
                <a:gd name="T13" fmla="*/ 270 h 1050"/>
                <a:gd name="T14" fmla="*/ 146 w 1611"/>
                <a:gd name="T15" fmla="*/ 243 h 1050"/>
                <a:gd name="T16" fmla="*/ 135 w 1611"/>
                <a:gd name="T17" fmla="*/ 220 h 1050"/>
                <a:gd name="T18" fmla="*/ 123 w 1611"/>
                <a:gd name="T19" fmla="*/ 209 h 1050"/>
                <a:gd name="T20" fmla="*/ 249 w 1611"/>
                <a:gd name="T21" fmla="*/ 162 h 1050"/>
                <a:gd name="T22" fmla="*/ 215 w 1611"/>
                <a:gd name="T23" fmla="*/ 124 h 1050"/>
                <a:gd name="T24" fmla="*/ 323 w 1611"/>
                <a:gd name="T25" fmla="*/ 106 h 1050"/>
                <a:gd name="T26" fmla="*/ 316 w 1611"/>
                <a:gd name="T27" fmla="*/ 85 h 1050"/>
                <a:gd name="T28" fmla="*/ 465 w 1611"/>
                <a:gd name="T29" fmla="*/ 22 h 1050"/>
                <a:gd name="T30" fmla="*/ 566 w 1611"/>
                <a:gd name="T31" fmla="*/ 7 h 1050"/>
                <a:gd name="T32" fmla="*/ 696 w 1611"/>
                <a:gd name="T33" fmla="*/ 27 h 1050"/>
                <a:gd name="T34" fmla="*/ 597 w 1611"/>
                <a:gd name="T35" fmla="*/ 267 h 1050"/>
                <a:gd name="T36" fmla="*/ 582 w 1611"/>
                <a:gd name="T37" fmla="*/ 326 h 1050"/>
                <a:gd name="T38" fmla="*/ 584 w 1611"/>
                <a:gd name="T39" fmla="*/ 290 h 1050"/>
                <a:gd name="T40" fmla="*/ 582 w 1611"/>
                <a:gd name="T41" fmla="*/ 252 h 1050"/>
                <a:gd name="T42" fmla="*/ 552 w 1611"/>
                <a:gd name="T43" fmla="*/ 263 h 1050"/>
                <a:gd name="T44" fmla="*/ 519 w 1611"/>
                <a:gd name="T45" fmla="*/ 249 h 1050"/>
                <a:gd name="T46" fmla="*/ 458 w 1611"/>
                <a:gd name="T47" fmla="*/ 220 h 1050"/>
                <a:gd name="T48" fmla="*/ 420 w 1611"/>
                <a:gd name="T49" fmla="*/ 213 h 1050"/>
                <a:gd name="T50" fmla="*/ 397 w 1611"/>
                <a:gd name="T51" fmla="*/ 225 h 1050"/>
                <a:gd name="T52" fmla="*/ 341 w 1611"/>
                <a:gd name="T53" fmla="*/ 245 h 1050"/>
                <a:gd name="T54" fmla="*/ 1386 w 1611"/>
                <a:gd name="T55" fmla="*/ 713 h 1050"/>
                <a:gd name="T56" fmla="*/ 1363 w 1611"/>
                <a:gd name="T57" fmla="*/ 731 h 1050"/>
                <a:gd name="T58" fmla="*/ 1372 w 1611"/>
                <a:gd name="T59" fmla="*/ 760 h 1050"/>
                <a:gd name="T60" fmla="*/ 1375 w 1611"/>
                <a:gd name="T61" fmla="*/ 785 h 1050"/>
                <a:gd name="T62" fmla="*/ 1359 w 1611"/>
                <a:gd name="T63" fmla="*/ 805 h 1050"/>
                <a:gd name="T64" fmla="*/ 1336 w 1611"/>
                <a:gd name="T65" fmla="*/ 823 h 1050"/>
                <a:gd name="T66" fmla="*/ 1262 w 1611"/>
                <a:gd name="T67" fmla="*/ 875 h 1050"/>
                <a:gd name="T68" fmla="*/ 1231 w 1611"/>
                <a:gd name="T69" fmla="*/ 922 h 1050"/>
                <a:gd name="T70" fmla="*/ 1217 w 1611"/>
                <a:gd name="T71" fmla="*/ 1045 h 1050"/>
                <a:gd name="T72" fmla="*/ 1195 w 1611"/>
                <a:gd name="T73" fmla="*/ 989 h 1050"/>
                <a:gd name="T74" fmla="*/ 1170 w 1611"/>
                <a:gd name="T75" fmla="*/ 935 h 1050"/>
                <a:gd name="T76" fmla="*/ 1116 w 1611"/>
                <a:gd name="T77" fmla="*/ 920 h 1050"/>
                <a:gd name="T78" fmla="*/ 1053 w 1611"/>
                <a:gd name="T79" fmla="*/ 933 h 1050"/>
                <a:gd name="T80" fmla="*/ 1069 w 1611"/>
                <a:gd name="T81" fmla="*/ 951 h 1050"/>
                <a:gd name="T82" fmla="*/ 1035 w 1611"/>
                <a:gd name="T83" fmla="*/ 953 h 1050"/>
                <a:gd name="T84" fmla="*/ 952 w 1611"/>
                <a:gd name="T85" fmla="*/ 940 h 1050"/>
                <a:gd name="T86" fmla="*/ 901 w 1611"/>
                <a:gd name="T87" fmla="*/ 976 h 1050"/>
                <a:gd name="T88" fmla="*/ 885 w 1611"/>
                <a:gd name="T89" fmla="*/ 1032 h 1050"/>
                <a:gd name="T90" fmla="*/ 824 w 1611"/>
                <a:gd name="T91" fmla="*/ 942 h 1050"/>
                <a:gd name="T92" fmla="*/ 743 w 1611"/>
                <a:gd name="T93" fmla="*/ 902 h 1050"/>
                <a:gd name="T94" fmla="*/ 528 w 1611"/>
                <a:gd name="T95" fmla="*/ 866 h 1050"/>
                <a:gd name="T96" fmla="*/ 474 w 1611"/>
                <a:gd name="T97" fmla="*/ 751 h 1050"/>
                <a:gd name="T98" fmla="*/ 469 w 1611"/>
                <a:gd name="T99" fmla="*/ 701 h 1050"/>
                <a:gd name="T100" fmla="*/ 543 w 1611"/>
                <a:gd name="T101" fmla="*/ 566 h 1050"/>
                <a:gd name="T102" fmla="*/ 568 w 1611"/>
                <a:gd name="T103" fmla="*/ 513 h 1050"/>
                <a:gd name="T104" fmla="*/ 591 w 1611"/>
                <a:gd name="T105" fmla="*/ 524 h 1050"/>
                <a:gd name="T106" fmla="*/ 627 w 1611"/>
                <a:gd name="T107" fmla="*/ 483 h 1050"/>
                <a:gd name="T108" fmla="*/ 1285 w 1611"/>
                <a:gd name="T109" fmla="*/ 528 h 1050"/>
                <a:gd name="T110" fmla="*/ 1539 w 1611"/>
                <a:gd name="T111" fmla="*/ 571 h 1050"/>
                <a:gd name="T112" fmla="*/ 1599 w 1611"/>
                <a:gd name="T113" fmla="*/ 587 h 1050"/>
                <a:gd name="T114" fmla="*/ 1559 w 1611"/>
                <a:gd name="T115" fmla="*/ 602 h 1050"/>
                <a:gd name="T116" fmla="*/ 1521 w 1611"/>
                <a:gd name="T117" fmla="*/ 629 h 1050"/>
                <a:gd name="T118" fmla="*/ 1507 w 1611"/>
                <a:gd name="T119" fmla="*/ 659 h 1050"/>
                <a:gd name="T120" fmla="*/ 1435 w 1611"/>
                <a:gd name="T121" fmla="*/ 683 h 1050"/>
                <a:gd name="T122" fmla="*/ 1406 w 1611"/>
                <a:gd name="T123" fmla="*/ 724 h 1050"/>
                <a:gd name="T124" fmla="*/ 1388 w 1611"/>
                <a:gd name="T125" fmla="*/ 737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1" h="1050">
                  <a:moveTo>
                    <a:pt x="321" y="245"/>
                  </a:moveTo>
                  <a:lnTo>
                    <a:pt x="316" y="243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6" y="240"/>
                  </a:lnTo>
                  <a:lnTo>
                    <a:pt x="316" y="240"/>
                  </a:lnTo>
                  <a:lnTo>
                    <a:pt x="319" y="240"/>
                  </a:lnTo>
                  <a:lnTo>
                    <a:pt x="319" y="240"/>
                  </a:lnTo>
                  <a:lnTo>
                    <a:pt x="319" y="240"/>
                  </a:lnTo>
                  <a:lnTo>
                    <a:pt x="323" y="236"/>
                  </a:lnTo>
                  <a:lnTo>
                    <a:pt x="325" y="236"/>
                  </a:lnTo>
                  <a:lnTo>
                    <a:pt x="325" y="236"/>
                  </a:lnTo>
                  <a:lnTo>
                    <a:pt x="325" y="236"/>
                  </a:lnTo>
                  <a:lnTo>
                    <a:pt x="334" y="231"/>
                  </a:lnTo>
                  <a:lnTo>
                    <a:pt x="334" y="231"/>
                  </a:lnTo>
                  <a:lnTo>
                    <a:pt x="337" y="231"/>
                  </a:lnTo>
                  <a:lnTo>
                    <a:pt x="337" y="229"/>
                  </a:lnTo>
                  <a:lnTo>
                    <a:pt x="339" y="229"/>
                  </a:lnTo>
                  <a:lnTo>
                    <a:pt x="339" y="229"/>
                  </a:lnTo>
                  <a:lnTo>
                    <a:pt x="339" y="229"/>
                  </a:lnTo>
                  <a:lnTo>
                    <a:pt x="339" y="229"/>
                  </a:lnTo>
                  <a:lnTo>
                    <a:pt x="339" y="229"/>
                  </a:lnTo>
                  <a:lnTo>
                    <a:pt x="341" y="227"/>
                  </a:lnTo>
                  <a:lnTo>
                    <a:pt x="341" y="227"/>
                  </a:lnTo>
                  <a:lnTo>
                    <a:pt x="341" y="227"/>
                  </a:lnTo>
                  <a:lnTo>
                    <a:pt x="341" y="227"/>
                  </a:lnTo>
                  <a:lnTo>
                    <a:pt x="343" y="225"/>
                  </a:lnTo>
                  <a:lnTo>
                    <a:pt x="343" y="225"/>
                  </a:lnTo>
                  <a:lnTo>
                    <a:pt x="346" y="225"/>
                  </a:lnTo>
                  <a:lnTo>
                    <a:pt x="346" y="225"/>
                  </a:lnTo>
                  <a:lnTo>
                    <a:pt x="346" y="225"/>
                  </a:lnTo>
                  <a:lnTo>
                    <a:pt x="346" y="222"/>
                  </a:lnTo>
                  <a:lnTo>
                    <a:pt x="346" y="222"/>
                  </a:lnTo>
                  <a:lnTo>
                    <a:pt x="346" y="222"/>
                  </a:lnTo>
                  <a:lnTo>
                    <a:pt x="346" y="222"/>
                  </a:lnTo>
                  <a:lnTo>
                    <a:pt x="346" y="220"/>
                  </a:lnTo>
                  <a:lnTo>
                    <a:pt x="348" y="220"/>
                  </a:lnTo>
                  <a:lnTo>
                    <a:pt x="348" y="220"/>
                  </a:lnTo>
                  <a:lnTo>
                    <a:pt x="350" y="220"/>
                  </a:lnTo>
                  <a:lnTo>
                    <a:pt x="350" y="220"/>
                  </a:lnTo>
                  <a:lnTo>
                    <a:pt x="350" y="220"/>
                  </a:lnTo>
                  <a:lnTo>
                    <a:pt x="350" y="220"/>
                  </a:lnTo>
                  <a:lnTo>
                    <a:pt x="355" y="220"/>
                  </a:lnTo>
                  <a:lnTo>
                    <a:pt x="355" y="220"/>
                  </a:lnTo>
                  <a:lnTo>
                    <a:pt x="355" y="218"/>
                  </a:lnTo>
                  <a:lnTo>
                    <a:pt x="364" y="216"/>
                  </a:lnTo>
                  <a:lnTo>
                    <a:pt x="366" y="216"/>
                  </a:lnTo>
                  <a:lnTo>
                    <a:pt x="370" y="213"/>
                  </a:lnTo>
                  <a:lnTo>
                    <a:pt x="373" y="213"/>
                  </a:lnTo>
                  <a:lnTo>
                    <a:pt x="373" y="213"/>
                  </a:lnTo>
                  <a:lnTo>
                    <a:pt x="373" y="213"/>
                  </a:lnTo>
                  <a:lnTo>
                    <a:pt x="373" y="216"/>
                  </a:lnTo>
                  <a:lnTo>
                    <a:pt x="373" y="216"/>
                  </a:lnTo>
                  <a:lnTo>
                    <a:pt x="373" y="216"/>
                  </a:lnTo>
                  <a:lnTo>
                    <a:pt x="373" y="216"/>
                  </a:lnTo>
                  <a:lnTo>
                    <a:pt x="373" y="216"/>
                  </a:lnTo>
                  <a:lnTo>
                    <a:pt x="375" y="216"/>
                  </a:lnTo>
                  <a:lnTo>
                    <a:pt x="377" y="216"/>
                  </a:lnTo>
                  <a:lnTo>
                    <a:pt x="377" y="216"/>
                  </a:lnTo>
                  <a:lnTo>
                    <a:pt x="379" y="216"/>
                  </a:lnTo>
                  <a:lnTo>
                    <a:pt x="379" y="216"/>
                  </a:lnTo>
                  <a:lnTo>
                    <a:pt x="382" y="216"/>
                  </a:lnTo>
                  <a:lnTo>
                    <a:pt x="382" y="216"/>
                  </a:lnTo>
                  <a:lnTo>
                    <a:pt x="382" y="216"/>
                  </a:lnTo>
                  <a:lnTo>
                    <a:pt x="382" y="216"/>
                  </a:lnTo>
                  <a:lnTo>
                    <a:pt x="382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4" y="216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91" y="218"/>
                  </a:lnTo>
                  <a:lnTo>
                    <a:pt x="391" y="218"/>
                  </a:lnTo>
                  <a:lnTo>
                    <a:pt x="391" y="218"/>
                  </a:lnTo>
                  <a:lnTo>
                    <a:pt x="391" y="218"/>
                  </a:lnTo>
                  <a:lnTo>
                    <a:pt x="391" y="218"/>
                  </a:lnTo>
                  <a:lnTo>
                    <a:pt x="391" y="218"/>
                  </a:lnTo>
                  <a:lnTo>
                    <a:pt x="391" y="216"/>
                  </a:lnTo>
                  <a:lnTo>
                    <a:pt x="391" y="216"/>
                  </a:lnTo>
                  <a:lnTo>
                    <a:pt x="388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4" y="216"/>
                  </a:lnTo>
                  <a:lnTo>
                    <a:pt x="382" y="213"/>
                  </a:lnTo>
                  <a:lnTo>
                    <a:pt x="382" y="213"/>
                  </a:lnTo>
                  <a:lnTo>
                    <a:pt x="382" y="213"/>
                  </a:lnTo>
                  <a:lnTo>
                    <a:pt x="379" y="211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2" y="211"/>
                  </a:lnTo>
                  <a:lnTo>
                    <a:pt x="384" y="211"/>
                  </a:lnTo>
                  <a:lnTo>
                    <a:pt x="384" y="209"/>
                  </a:lnTo>
                  <a:lnTo>
                    <a:pt x="384" y="209"/>
                  </a:lnTo>
                  <a:lnTo>
                    <a:pt x="386" y="209"/>
                  </a:lnTo>
                  <a:lnTo>
                    <a:pt x="386" y="209"/>
                  </a:lnTo>
                  <a:lnTo>
                    <a:pt x="386" y="209"/>
                  </a:lnTo>
                  <a:lnTo>
                    <a:pt x="388" y="207"/>
                  </a:lnTo>
                  <a:lnTo>
                    <a:pt x="388" y="207"/>
                  </a:lnTo>
                  <a:lnTo>
                    <a:pt x="388" y="207"/>
                  </a:lnTo>
                  <a:lnTo>
                    <a:pt x="391" y="207"/>
                  </a:lnTo>
                  <a:lnTo>
                    <a:pt x="391" y="207"/>
                  </a:lnTo>
                  <a:lnTo>
                    <a:pt x="391" y="207"/>
                  </a:lnTo>
                  <a:lnTo>
                    <a:pt x="391" y="207"/>
                  </a:lnTo>
                  <a:lnTo>
                    <a:pt x="393" y="207"/>
                  </a:lnTo>
                  <a:lnTo>
                    <a:pt x="393" y="207"/>
                  </a:lnTo>
                  <a:lnTo>
                    <a:pt x="400" y="204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2" y="204"/>
                  </a:lnTo>
                  <a:lnTo>
                    <a:pt x="400" y="204"/>
                  </a:lnTo>
                  <a:lnTo>
                    <a:pt x="400" y="204"/>
                  </a:lnTo>
                  <a:lnTo>
                    <a:pt x="400" y="204"/>
                  </a:lnTo>
                  <a:lnTo>
                    <a:pt x="395" y="204"/>
                  </a:lnTo>
                  <a:lnTo>
                    <a:pt x="393" y="204"/>
                  </a:lnTo>
                  <a:lnTo>
                    <a:pt x="391" y="204"/>
                  </a:lnTo>
                  <a:lnTo>
                    <a:pt x="391" y="207"/>
                  </a:lnTo>
                  <a:lnTo>
                    <a:pt x="388" y="207"/>
                  </a:lnTo>
                  <a:lnTo>
                    <a:pt x="388" y="207"/>
                  </a:lnTo>
                  <a:lnTo>
                    <a:pt x="388" y="207"/>
                  </a:lnTo>
                  <a:lnTo>
                    <a:pt x="388" y="207"/>
                  </a:lnTo>
                  <a:lnTo>
                    <a:pt x="386" y="209"/>
                  </a:lnTo>
                  <a:lnTo>
                    <a:pt x="386" y="209"/>
                  </a:lnTo>
                  <a:lnTo>
                    <a:pt x="386" y="209"/>
                  </a:lnTo>
                  <a:lnTo>
                    <a:pt x="384" y="209"/>
                  </a:lnTo>
                  <a:lnTo>
                    <a:pt x="384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9" y="209"/>
                  </a:lnTo>
                  <a:lnTo>
                    <a:pt x="377" y="209"/>
                  </a:lnTo>
                  <a:lnTo>
                    <a:pt x="377" y="209"/>
                  </a:lnTo>
                  <a:lnTo>
                    <a:pt x="377" y="209"/>
                  </a:lnTo>
                  <a:lnTo>
                    <a:pt x="375" y="209"/>
                  </a:lnTo>
                  <a:lnTo>
                    <a:pt x="375" y="209"/>
                  </a:lnTo>
                  <a:lnTo>
                    <a:pt x="375" y="207"/>
                  </a:lnTo>
                  <a:lnTo>
                    <a:pt x="377" y="207"/>
                  </a:lnTo>
                  <a:lnTo>
                    <a:pt x="377" y="207"/>
                  </a:lnTo>
                  <a:lnTo>
                    <a:pt x="377" y="207"/>
                  </a:lnTo>
                  <a:lnTo>
                    <a:pt x="375" y="207"/>
                  </a:lnTo>
                  <a:lnTo>
                    <a:pt x="375" y="209"/>
                  </a:lnTo>
                  <a:lnTo>
                    <a:pt x="375" y="209"/>
                  </a:lnTo>
                  <a:lnTo>
                    <a:pt x="375" y="209"/>
                  </a:lnTo>
                  <a:lnTo>
                    <a:pt x="375" y="209"/>
                  </a:lnTo>
                  <a:lnTo>
                    <a:pt x="373" y="209"/>
                  </a:lnTo>
                  <a:lnTo>
                    <a:pt x="370" y="209"/>
                  </a:lnTo>
                  <a:lnTo>
                    <a:pt x="368" y="209"/>
                  </a:lnTo>
                  <a:lnTo>
                    <a:pt x="366" y="211"/>
                  </a:lnTo>
                  <a:lnTo>
                    <a:pt x="366" y="211"/>
                  </a:lnTo>
                  <a:lnTo>
                    <a:pt x="366" y="211"/>
                  </a:lnTo>
                  <a:lnTo>
                    <a:pt x="366" y="211"/>
                  </a:lnTo>
                  <a:lnTo>
                    <a:pt x="366" y="211"/>
                  </a:lnTo>
                  <a:lnTo>
                    <a:pt x="366" y="211"/>
                  </a:lnTo>
                  <a:lnTo>
                    <a:pt x="364" y="211"/>
                  </a:lnTo>
                  <a:lnTo>
                    <a:pt x="364" y="211"/>
                  </a:lnTo>
                  <a:lnTo>
                    <a:pt x="361" y="213"/>
                  </a:lnTo>
                  <a:lnTo>
                    <a:pt x="361" y="213"/>
                  </a:lnTo>
                  <a:lnTo>
                    <a:pt x="359" y="213"/>
                  </a:lnTo>
                  <a:lnTo>
                    <a:pt x="359" y="213"/>
                  </a:lnTo>
                  <a:lnTo>
                    <a:pt x="357" y="213"/>
                  </a:lnTo>
                  <a:lnTo>
                    <a:pt x="357" y="213"/>
                  </a:lnTo>
                  <a:lnTo>
                    <a:pt x="357" y="213"/>
                  </a:lnTo>
                  <a:lnTo>
                    <a:pt x="355" y="213"/>
                  </a:lnTo>
                  <a:lnTo>
                    <a:pt x="355" y="213"/>
                  </a:lnTo>
                  <a:lnTo>
                    <a:pt x="355" y="213"/>
                  </a:lnTo>
                  <a:lnTo>
                    <a:pt x="352" y="213"/>
                  </a:lnTo>
                  <a:lnTo>
                    <a:pt x="352" y="213"/>
                  </a:lnTo>
                  <a:lnTo>
                    <a:pt x="350" y="216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48" y="216"/>
                  </a:lnTo>
                  <a:lnTo>
                    <a:pt x="348" y="216"/>
                  </a:lnTo>
                  <a:lnTo>
                    <a:pt x="346" y="216"/>
                  </a:lnTo>
                  <a:lnTo>
                    <a:pt x="346" y="218"/>
                  </a:lnTo>
                  <a:lnTo>
                    <a:pt x="343" y="218"/>
                  </a:lnTo>
                  <a:lnTo>
                    <a:pt x="343" y="218"/>
                  </a:lnTo>
                  <a:lnTo>
                    <a:pt x="343" y="218"/>
                  </a:lnTo>
                  <a:lnTo>
                    <a:pt x="343" y="218"/>
                  </a:lnTo>
                  <a:lnTo>
                    <a:pt x="343" y="220"/>
                  </a:lnTo>
                  <a:lnTo>
                    <a:pt x="343" y="220"/>
                  </a:lnTo>
                  <a:lnTo>
                    <a:pt x="341" y="220"/>
                  </a:lnTo>
                  <a:lnTo>
                    <a:pt x="341" y="220"/>
                  </a:lnTo>
                  <a:lnTo>
                    <a:pt x="341" y="220"/>
                  </a:lnTo>
                  <a:lnTo>
                    <a:pt x="341" y="220"/>
                  </a:lnTo>
                  <a:lnTo>
                    <a:pt x="341" y="220"/>
                  </a:lnTo>
                  <a:lnTo>
                    <a:pt x="341" y="220"/>
                  </a:lnTo>
                  <a:lnTo>
                    <a:pt x="341" y="220"/>
                  </a:lnTo>
                  <a:lnTo>
                    <a:pt x="339" y="220"/>
                  </a:lnTo>
                  <a:lnTo>
                    <a:pt x="339" y="220"/>
                  </a:lnTo>
                  <a:lnTo>
                    <a:pt x="337" y="220"/>
                  </a:lnTo>
                  <a:lnTo>
                    <a:pt x="337" y="222"/>
                  </a:lnTo>
                  <a:lnTo>
                    <a:pt x="337" y="222"/>
                  </a:lnTo>
                  <a:lnTo>
                    <a:pt x="337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4" y="222"/>
                  </a:lnTo>
                  <a:lnTo>
                    <a:pt x="332" y="222"/>
                  </a:lnTo>
                  <a:lnTo>
                    <a:pt x="332" y="222"/>
                  </a:lnTo>
                  <a:lnTo>
                    <a:pt x="332" y="222"/>
                  </a:lnTo>
                  <a:lnTo>
                    <a:pt x="332" y="222"/>
                  </a:lnTo>
                  <a:lnTo>
                    <a:pt x="332" y="225"/>
                  </a:lnTo>
                  <a:lnTo>
                    <a:pt x="330" y="225"/>
                  </a:lnTo>
                  <a:lnTo>
                    <a:pt x="328" y="225"/>
                  </a:lnTo>
                  <a:lnTo>
                    <a:pt x="325" y="225"/>
                  </a:lnTo>
                  <a:lnTo>
                    <a:pt x="325" y="227"/>
                  </a:lnTo>
                  <a:lnTo>
                    <a:pt x="325" y="227"/>
                  </a:lnTo>
                  <a:lnTo>
                    <a:pt x="325" y="227"/>
                  </a:lnTo>
                  <a:lnTo>
                    <a:pt x="325" y="227"/>
                  </a:lnTo>
                  <a:lnTo>
                    <a:pt x="325" y="227"/>
                  </a:lnTo>
                  <a:lnTo>
                    <a:pt x="325" y="227"/>
                  </a:lnTo>
                  <a:lnTo>
                    <a:pt x="325" y="227"/>
                  </a:lnTo>
                  <a:lnTo>
                    <a:pt x="323" y="229"/>
                  </a:lnTo>
                  <a:lnTo>
                    <a:pt x="321" y="229"/>
                  </a:lnTo>
                  <a:lnTo>
                    <a:pt x="321" y="229"/>
                  </a:lnTo>
                  <a:lnTo>
                    <a:pt x="321" y="229"/>
                  </a:lnTo>
                  <a:lnTo>
                    <a:pt x="321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16" y="231"/>
                  </a:lnTo>
                  <a:lnTo>
                    <a:pt x="316" y="231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4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29"/>
                  </a:lnTo>
                  <a:lnTo>
                    <a:pt x="312" y="229"/>
                  </a:lnTo>
                  <a:lnTo>
                    <a:pt x="312" y="229"/>
                  </a:lnTo>
                  <a:lnTo>
                    <a:pt x="310" y="229"/>
                  </a:lnTo>
                  <a:lnTo>
                    <a:pt x="310" y="229"/>
                  </a:lnTo>
                  <a:lnTo>
                    <a:pt x="310" y="229"/>
                  </a:lnTo>
                  <a:lnTo>
                    <a:pt x="307" y="229"/>
                  </a:lnTo>
                  <a:lnTo>
                    <a:pt x="307" y="229"/>
                  </a:lnTo>
                  <a:lnTo>
                    <a:pt x="307" y="229"/>
                  </a:lnTo>
                  <a:lnTo>
                    <a:pt x="310" y="229"/>
                  </a:lnTo>
                  <a:lnTo>
                    <a:pt x="310" y="229"/>
                  </a:lnTo>
                  <a:lnTo>
                    <a:pt x="310" y="229"/>
                  </a:lnTo>
                  <a:lnTo>
                    <a:pt x="312" y="229"/>
                  </a:lnTo>
                  <a:lnTo>
                    <a:pt x="312" y="229"/>
                  </a:lnTo>
                  <a:lnTo>
                    <a:pt x="312" y="231"/>
                  </a:lnTo>
                  <a:lnTo>
                    <a:pt x="310" y="231"/>
                  </a:lnTo>
                  <a:lnTo>
                    <a:pt x="310" y="231"/>
                  </a:lnTo>
                  <a:lnTo>
                    <a:pt x="310" y="231"/>
                  </a:lnTo>
                  <a:lnTo>
                    <a:pt x="310" y="231"/>
                  </a:lnTo>
                  <a:lnTo>
                    <a:pt x="310" y="231"/>
                  </a:lnTo>
                  <a:lnTo>
                    <a:pt x="312" y="231"/>
                  </a:lnTo>
                  <a:lnTo>
                    <a:pt x="312" y="231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4"/>
                  </a:lnTo>
                  <a:lnTo>
                    <a:pt x="312" y="236"/>
                  </a:lnTo>
                  <a:lnTo>
                    <a:pt x="310" y="236"/>
                  </a:lnTo>
                  <a:lnTo>
                    <a:pt x="310" y="236"/>
                  </a:lnTo>
                  <a:lnTo>
                    <a:pt x="310" y="236"/>
                  </a:lnTo>
                  <a:lnTo>
                    <a:pt x="310" y="236"/>
                  </a:lnTo>
                  <a:lnTo>
                    <a:pt x="310" y="236"/>
                  </a:lnTo>
                  <a:lnTo>
                    <a:pt x="310" y="236"/>
                  </a:lnTo>
                  <a:lnTo>
                    <a:pt x="307" y="236"/>
                  </a:lnTo>
                  <a:lnTo>
                    <a:pt x="307" y="236"/>
                  </a:lnTo>
                  <a:lnTo>
                    <a:pt x="307" y="238"/>
                  </a:lnTo>
                  <a:lnTo>
                    <a:pt x="305" y="238"/>
                  </a:lnTo>
                  <a:lnTo>
                    <a:pt x="305" y="238"/>
                  </a:lnTo>
                  <a:lnTo>
                    <a:pt x="303" y="238"/>
                  </a:lnTo>
                  <a:lnTo>
                    <a:pt x="303" y="238"/>
                  </a:lnTo>
                  <a:lnTo>
                    <a:pt x="303" y="238"/>
                  </a:lnTo>
                  <a:lnTo>
                    <a:pt x="303" y="238"/>
                  </a:lnTo>
                  <a:lnTo>
                    <a:pt x="303" y="238"/>
                  </a:lnTo>
                  <a:lnTo>
                    <a:pt x="303" y="238"/>
                  </a:lnTo>
                  <a:lnTo>
                    <a:pt x="301" y="238"/>
                  </a:lnTo>
                  <a:lnTo>
                    <a:pt x="301" y="238"/>
                  </a:lnTo>
                  <a:lnTo>
                    <a:pt x="301" y="238"/>
                  </a:lnTo>
                  <a:lnTo>
                    <a:pt x="299" y="238"/>
                  </a:lnTo>
                  <a:lnTo>
                    <a:pt x="296" y="238"/>
                  </a:lnTo>
                  <a:lnTo>
                    <a:pt x="296" y="238"/>
                  </a:lnTo>
                  <a:lnTo>
                    <a:pt x="294" y="240"/>
                  </a:lnTo>
                  <a:lnTo>
                    <a:pt x="294" y="240"/>
                  </a:lnTo>
                  <a:lnTo>
                    <a:pt x="294" y="240"/>
                  </a:lnTo>
                  <a:lnTo>
                    <a:pt x="294" y="240"/>
                  </a:lnTo>
                  <a:lnTo>
                    <a:pt x="296" y="240"/>
                  </a:lnTo>
                  <a:lnTo>
                    <a:pt x="296" y="240"/>
                  </a:lnTo>
                  <a:lnTo>
                    <a:pt x="296" y="240"/>
                  </a:lnTo>
                  <a:lnTo>
                    <a:pt x="296" y="240"/>
                  </a:lnTo>
                  <a:lnTo>
                    <a:pt x="296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9" y="240"/>
                  </a:lnTo>
                  <a:lnTo>
                    <a:pt x="296" y="240"/>
                  </a:lnTo>
                  <a:lnTo>
                    <a:pt x="296" y="243"/>
                  </a:lnTo>
                  <a:lnTo>
                    <a:pt x="296" y="243"/>
                  </a:lnTo>
                  <a:lnTo>
                    <a:pt x="294" y="243"/>
                  </a:lnTo>
                  <a:lnTo>
                    <a:pt x="294" y="243"/>
                  </a:lnTo>
                  <a:lnTo>
                    <a:pt x="292" y="243"/>
                  </a:lnTo>
                  <a:lnTo>
                    <a:pt x="292" y="243"/>
                  </a:lnTo>
                  <a:lnTo>
                    <a:pt x="292" y="245"/>
                  </a:lnTo>
                  <a:lnTo>
                    <a:pt x="292" y="245"/>
                  </a:lnTo>
                  <a:lnTo>
                    <a:pt x="290" y="245"/>
                  </a:lnTo>
                  <a:lnTo>
                    <a:pt x="290" y="245"/>
                  </a:lnTo>
                  <a:lnTo>
                    <a:pt x="292" y="243"/>
                  </a:lnTo>
                  <a:lnTo>
                    <a:pt x="292" y="243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90" y="245"/>
                  </a:lnTo>
                  <a:lnTo>
                    <a:pt x="290" y="245"/>
                  </a:lnTo>
                  <a:lnTo>
                    <a:pt x="290" y="245"/>
                  </a:lnTo>
                  <a:lnTo>
                    <a:pt x="290" y="245"/>
                  </a:lnTo>
                  <a:lnTo>
                    <a:pt x="290" y="245"/>
                  </a:lnTo>
                  <a:lnTo>
                    <a:pt x="290" y="245"/>
                  </a:lnTo>
                  <a:lnTo>
                    <a:pt x="287" y="245"/>
                  </a:lnTo>
                  <a:lnTo>
                    <a:pt x="287" y="245"/>
                  </a:lnTo>
                  <a:lnTo>
                    <a:pt x="287" y="245"/>
                  </a:lnTo>
                  <a:lnTo>
                    <a:pt x="287" y="245"/>
                  </a:lnTo>
                  <a:lnTo>
                    <a:pt x="287" y="243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92" y="243"/>
                  </a:lnTo>
                  <a:lnTo>
                    <a:pt x="292" y="243"/>
                  </a:lnTo>
                  <a:lnTo>
                    <a:pt x="292" y="243"/>
                  </a:lnTo>
                  <a:lnTo>
                    <a:pt x="290" y="243"/>
                  </a:lnTo>
                  <a:lnTo>
                    <a:pt x="290" y="240"/>
                  </a:lnTo>
                  <a:lnTo>
                    <a:pt x="290" y="240"/>
                  </a:lnTo>
                  <a:lnTo>
                    <a:pt x="290" y="240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90" y="243"/>
                  </a:lnTo>
                  <a:lnTo>
                    <a:pt x="287" y="243"/>
                  </a:lnTo>
                  <a:lnTo>
                    <a:pt x="287" y="243"/>
                  </a:lnTo>
                  <a:lnTo>
                    <a:pt x="287" y="245"/>
                  </a:lnTo>
                  <a:lnTo>
                    <a:pt x="285" y="245"/>
                  </a:lnTo>
                  <a:lnTo>
                    <a:pt x="285" y="245"/>
                  </a:lnTo>
                  <a:lnTo>
                    <a:pt x="285" y="245"/>
                  </a:lnTo>
                  <a:lnTo>
                    <a:pt x="285" y="245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3"/>
                  </a:lnTo>
                  <a:lnTo>
                    <a:pt x="285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5" y="245"/>
                  </a:lnTo>
                  <a:lnTo>
                    <a:pt x="285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7"/>
                  </a:lnTo>
                  <a:lnTo>
                    <a:pt x="278" y="247"/>
                  </a:lnTo>
                  <a:lnTo>
                    <a:pt x="278" y="245"/>
                  </a:lnTo>
                  <a:lnTo>
                    <a:pt x="278" y="245"/>
                  </a:lnTo>
                  <a:lnTo>
                    <a:pt x="278" y="245"/>
                  </a:lnTo>
                  <a:lnTo>
                    <a:pt x="278" y="247"/>
                  </a:lnTo>
                  <a:lnTo>
                    <a:pt x="278" y="247"/>
                  </a:lnTo>
                  <a:lnTo>
                    <a:pt x="278" y="247"/>
                  </a:lnTo>
                  <a:lnTo>
                    <a:pt x="278" y="247"/>
                  </a:lnTo>
                  <a:lnTo>
                    <a:pt x="278" y="247"/>
                  </a:lnTo>
                  <a:lnTo>
                    <a:pt x="278" y="247"/>
                  </a:lnTo>
                  <a:lnTo>
                    <a:pt x="278" y="247"/>
                  </a:lnTo>
                  <a:lnTo>
                    <a:pt x="278" y="249"/>
                  </a:lnTo>
                  <a:lnTo>
                    <a:pt x="276" y="249"/>
                  </a:lnTo>
                  <a:lnTo>
                    <a:pt x="276" y="249"/>
                  </a:lnTo>
                  <a:lnTo>
                    <a:pt x="276" y="249"/>
                  </a:lnTo>
                  <a:lnTo>
                    <a:pt x="274" y="249"/>
                  </a:lnTo>
                  <a:lnTo>
                    <a:pt x="274" y="249"/>
                  </a:lnTo>
                  <a:lnTo>
                    <a:pt x="274" y="249"/>
                  </a:lnTo>
                  <a:lnTo>
                    <a:pt x="274" y="249"/>
                  </a:lnTo>
                  <a:lnTo>
                    <a:pt x="274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69" y="249"/>
                  </a:lnTo>
                  <a:lnTo>
                    <a:pt x="269" y="249"/>
                  </a:lnTo>
                  <a:lnTo>
                    <a:pt x="269" y="249"/>
                  </a:lnTo>
                  <a:lnTo>
                    <a:pt x="269" y="249"/>
                  </a:lnTo>
                  <a:lnTo>
                    <a:pt x="269" y="249"/>
                  </a:lnTo>
                  <a:lnTo>
                    <a:pt x="269" y="252"/>
                  </a:lnTo>
                  <a:lnTo>
                    <a:pt x="269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72" y="249"/>
                  </a:lnTo>
                  <a:lnTo>
                    <a:pt x="269" y="252"/>
                  </a:lnTo>
                  <a:lnTo>
                    <a:pt x="267" y="252"/>
                  </a:lnTo>
                  <a:lnTo>
                    <a:pt x="267" y="252"/>
                  </a:lnTo>
                  <a:lnTo>
                    <a:pt x="267" y="252"/>
                  </a:lnTo>
                  <a:lnTo>
                    <a:pt x="267" y="252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5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3" y="254"/>
                  </a:lnTo>
                  <a:lnTo>
                    <a:pt x="260" y="254"/>
                  </a:lnTo>
                  <a:lnTo>
                    <a:pt x="260" y="254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3" y="256"/>
                  </a:lnTo>
                  <a:lnTo>
                    <a:pt x="263" y="256"/>
                  </a:lnTo>
                  <a:lnTo>
                    <a:pt x="263" y="256"/>
                  </a:lnTo>
                  <a:lnTo>
                    <a:pt x="263" y="256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0" y="256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0" y="258"/>
                  </a:lnTo>
                  <a:lnTo>
                    <a:pt x="260" y="256"/>
                  </a:lnTo>
                  <a:lnTo>
                    <a:pt x="263" y="256"/>
                  </a:lnTo>
                  <a:lnTo>
                    <a:pt x="263" y="256"/>
                  </a:lnTo>
                  <a:lnTo>
                    <a:pt x="263" y="256"/>
                  </a:lnTo>
                  <a:lnTo>
                    <a:pt x="265" y="256"/>
                  </a:lnTo>
                  <a:lnTo>
                    <a:pt x="267" y="256"/>
                  </a:lnTo>
                  <a:lnTo>
                    <a:pt x="267" y="256"/>
                  </a:lnTo>
                  <a:lnTo>
                    <a:pt x="267" y="256"/>
                  </a:lnTo>
                  <a:lnTo>
                    <a:pt x="269" y="256"/>
                  </a:lnTo>
                  <a:lnTo>
                    <a:pt x="269" y="256"/>
                  </a:lnTo>
                  <a:lnTo>
                    <a:pt x="269" y="256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69" y="258"/>
                  </a:lnTo>
                  <a:lnTo>
                    <a:pt x="272" y="258"/>
                  </a:lnTo>
                  <a:lnTo>
                    <a:pt x="272" y="258"/>
                  </a:lnTo>
                  <a:lnTo>
                    <a:pt x="272" y="258"/>
                  </a:lnTo>
                  <a:lnTo>
                    <a:pt x="272" y="258"/>
                  </a:lnTo>
                  <a:lnTo>
                    <a:pt x="272" y="258"/>
                  </a:lnTo>
                  <a:lnTo>
                    <a:pt x="272" y="258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69" y="261"/>
                  </a:lnTo>
                  <a:lnTo>
                    <a:pt x="269" y="261"/>
                  </a:lnTo>
                  <a:lnTo>
                    <a:pt x="269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72" y="261"/>
                  </a:lnTo>
                  <a:lnTo>
                    <a:pt x="269" y="261"/>
                  </a:lnTo>
                  <a:lnTo>
                    <a:pt x="269" y="261"/>
                  </a:lnTo>
                  <a:lnTo>
                    <a:pt x="269" y="261"/>
                  </a:lnTo>
                  <a:lnTo>
                    <a:pt x="269" y="263"/>
                  </a:lnTo>
                  <a:lnTo>
                    <a:pt x="267" y="263"/>
                  </a:lnTo>
                  <a:lnTo>
                    <a:pt x="267" y="263"/>
                  </a:lnTo>
                  <a:lnTo>
                    <a:pt x="265" y="263"/>
                  </a:lnTo>
                  <a:lnTo>
                    <a:pt x="265" y="263"/>
                  </a:lnTo>
                  <a:lnTo>
                    <a:pt x="263" y="265"/>
                  </a:lnTo>
                  <a:lnTo>
                    <a:pt x="263" y="265"/>
                  </a:lnTo>
                  <a:lnTo>
                    <a:pt x="263" y="265"/>
                  </a:lnTo>
                  <a:lnTo>
                    <a:pt x="260" y="265"/>
                  </a:lnTo>
                  <a:lnTo>
                    <a:pt x="260" y="265"/>
                  </a:lnTo>
                  <a:lnTo>
                    <a:pt x="260" y="265"/>
                  </a:lnTo>
                  <a:lnTo>
                    <a:pt x="260" y="265"/>
                  </a:lnTo>
                  <a:lnTo>
                    <a:pt x="258" y="267"/>
                  </a:lnTo>
                  <a:lnTo>
                    <a:pt x="256" y="267"/>
                  </a:lnTo>
                  <a:lnTo>
                    <a:pt x="256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4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67"/>
                  </a:lnTo>
                  <a:lnTo>
                    <a:pt x="251" y="270"/>
                  </a:lnTo>
                  <a:lnTo>
                    <a:pt x="251" y="270"/>
                  </a:lnTo>
                  <a:lnTo>
                    <a:pt x="251" y="270"/>
                  </a:lnTo>
                  <a:lnTo>
                    <a:pt x="251" y="270"/>
                  </a:lnTo>
                  <a:lnTo>
                    <a:pt x="251" y="270"/>
                  </a:lnTo>
                  <a:lnTo>
                    <a:pt x="251" y="270"/>
                  </a:lnTo>
                  <a:lnTo>
                    <a:pt x="251" y="270"/>
                  </a:lnTo>
                  <a:lnTo>
                    <a:pt x="249" y="270"/>
                  </a:lnTo>
                  <a:lnTo>
                    <a:pt x="249" y="270"/>
                  </a:lnTo>
                  <a:lnTo>
                    <a:pt x="249" y="270"/>
                  </a:lnTo>
                  <a:lnTo>
                    <a:pt x="247" y="270"/>
                  </a:lnTo>
                  <a:lnTo>
                    <a:pt x="247" y="270"/>
                  </a:lnTo>
                  <a:lnTo>
                    <a:pt x="247" y="270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7" y="272"/>
                  </a:lnTo>
                  <a:lnTo>
                    <a:pt x="245" y="272"/>
                  </a:lnTo>
                  <a:lnTo>
                    <a:pt x="245" y="272"/>
                  </a:lnTo>
                  <a:lnTo>
                    <a:pt x="242" y="272"/>
                  </a:lnTo>
                  <a:lnTo>
                    <a:pt x="242" y="272"/>
                  </a:lnTo>
                  <a:lnTo>
                    <a:pt x="242" y="272"/>
                  </a:lnTo>
                  <a:lnTo>
                    <a:pt x="242" y="272"/>
                  </a:lnTo>
                  <a:lnTo>
                    <a:pt x="242" y="272"/>
                  </a:lnTo>
                  <a:lnTo>
                    <a:pt x="242" y="272"/>
                  </a:lnTo>
                  <a:lnTo>
                    <a:pt x="242" y="272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38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2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4"/>
                  </a:lnTo>
                  <a:lnTo>
                    <a:pt x="240" y="276"/>
                  </a:lnTo>
                  <a:lnTo>
                    <a:pt x="240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8" y="276"/>
                  </a:lnTo>
                  <a:lnTo>
                    <a:pt x="236" y="276"/>
                  </a:lnTo>
                  <a:lnTo>
                    <a:pt x="236" y="276"/>
                  </a:lnTo>
                  <a:lnTo>
                    <a:pt x="236" y="276"/>
                  </a:lnTo>
                  <a:lnTo>
                    <a:pt x="236" y="276"/>
                  </a:lnTo>
                  <a:lnTo>
                    <a:pt x="236" y="276"/>
                  </a:lnTo>
                  <a:lnTo>
                    <a:pt x="236" y="279"/>
                  </a:lnTo>
                  <a:lnTo>
                    <a:pt x="233" y="279"/>
                  </a:lnTo>
                  <a:lnTo>
                    <a:pt x="233" y="279"/>
                  </a:lnTo>
                  <a:lnTo>
                    <a:pt x="233" y="279"/>
                  </a:lnTo>
                  <a:lnTo>
                    <a:pt x="233" y="279"/>
                  </a:lnTo>
                  <a:lnTo>
                    <a:pt x="233" y="276"/>
                  </a:lnTo>
                  <a:lnTo>
                    <a:pt x="233" y="276"/>
                  </a:lnTo>
                  <a:lnTo>
                    <a:pt x="233" y="276"/>
                  </a:lnTo>
                  <a:lnTo>
                    <a:pt x="233" y="276"/>
                  </a:lnTo>
                  <a:lnTo>
                    <a:pt x="233" y="276"/>
                  </a:lnTo>
                  <a:lnTo>
                    <a:pt x="233" y="276"/>
                  </a:lnTo>
                  <a:lnTo>
                    <a:pt x="236" y="276"/>
                  </a:lnTo>
                  <a:lnTo>
                    <a:pt x="236" y="276"/>
                  </a:lnTo>
                  <a:lnTo>
                    <a:pt x="236" y="276"/>
                  </a:lnTo>
                  <a:lnTo>
                    <a:pt x="233" y="276"/>
                  </a:lnTo>
                  <a:lnTo>
                    <a:pt x="233" y="276"/>
                  </a:lnTo>
                  <a:lnTo>
                    <a:pt x="233" y="279"/>
                  </a:lnTo>
                  <a:lnTo>
                    <a:pt x="231" y="279"/>
                  </a:lnTo>
                  <a:lnTo>
                    <a:pt x="231" y="279"/>
                  </a:lnTo>
                  <a:lnTo>
                    <a:pt x="231" y="276"/>
                  </a:lnTo>
                  <a:lnTo>
                    <a:pt x="231" y="279"/>
                  </a:lnTo>
                  <a:lnTo>
                    <a:pt x="231" y="279"/>
                  </a:lnTo>
                  <a:lnTo>
                    <a:pt x="231" y="279"/>
                  </a:lnTo>
                  <a:lnTo>
                    <a:pt x="231" y="279"/>
                  </a:lnTo>
                  <a:lnTo>
                    <a:pt x="231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9" y="279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7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79"/>
                  </a:lnTo>
                  <a:lnTo>
                    <a:pt x="224" y="279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0" y="281"/>
                  </a:lnTo>
                  <a:lnTo>
                    <a:pt x="220" y="281"/>
                  </a:lnTo>
                  <a:lnTo>
                    <a:pt x="220" y="281"/>
                  </a:lnTo>
                  <a:lnTo>
                    <a:pt x="220" y="281"/>
                  </a:lnTo>
                  <a:lnTo>
                    <a:pt x="218" y="281"/>
                  </a:lnTo>
                  <a:lnTo>
                    <a:pt x="218" y="281"/>
                  </a:lnTo>
                  <a:lnTo>
                    <a:pt x="218" y="283"/>
                  </a:lnTo>
                  <a:lnTo>
                    <a:pt x="218" y="283"/>
                  </a:lnTo>
                  <a:lnTo>
                    <a:pt x="215" y="283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3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11" y="285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9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6" y="285"/>
                  </a:lnTo>
                  <a:lnTo>
                    <a:pt x="204" y="285"/>
                  </a:lnTo>
                  <a:lnTo>
                    <a:pt x="204" y="285"/>
                  </a:lnTo>
                  <a:lnTo>
                    <a:pt x="204" y="285"/>
                  </a:lnTo>
                  <a:lnTo>
                    <a:pt x="204" y="285"/>
                  </a:lnTo>
                  <a:lnTo>
                    <a:pt x="204" y="288"/>
                  </a:lnTo>
                  <a:lnTo>
                    <a:pt x="204" y="288"/>
                  </a:lnTo>
                  <a:lnTo>
                    <a:pt x="202" y="288"/>
                  </a:lnTo>
                  <a:lnTo>
                    <a:pt x="202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88"/>
                  </a:lnTo>
                  <a:lnTo>
                    <a:pt x="200" y="290"/>
                  </a:lnTo>
                  <a:lnTo>
                    <a:pt x="200" y="290"/>
                  </a:lnTo>
                  <a:lnTo>
                    <a:pt x="200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7" y="290"/>
                  </a:lnTo>
                  <a:lnTo>
                    <a:pt x="195" y="290"/>
                  </a:lnTo>
                  <a:lnTo>
                    <a:pt x="195" y="290"/>
                  </a:lnTo>
                  <a:lnTo>
                    <a:pt x="195" y="290"/>
                  </a:lnTo>
                  <a:lnTo>
                    <a:pt x="195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2"/>
                  </a:lnTo>
                  <a:lnTo>
                    <a:pt x="191" y="292"/>
                  </a:lnTo>
                  <a:lnTo>
                    <a:pt x="191" y="292"/>
                  </a:lnTo>
                  <a:lnTo>
                    <a:pt x="191" y="292"/>
                  </a:lnTo>
                  <a:lnTo>
                    <a:pt x="191" y="292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88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6" y="292"/>
                  </a:lnTo>
                  <a:lnTo>
                    <a:pt x="184" y="292"/>
                  </a:lnTo>
                  <a:lnTo>
                    <a:pt x="184" y="292"/>
                  </a:lnTo>
                  <a:lnTo>
                    <a:pt x="179" y="294"/>
                  </a:lnTo>
                  <a:lnTo>
                    <a:pt x="179" y="294"/>
                  </a:lnTo>
                  <a:lnTo>
                    <a:pt x="179" y="294"/>
                  </a:lnTo>
                  <a:lnTo>
                    <a:pt x="177" y="294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82" y="294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82" y="297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9" y="297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77" y="297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9" y="299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7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5" y="301"/>
                  </a:lnTo>
                  <a:lnTo>
                    <a:pt x="175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70" y="301"/>
                  </a:lnTo>
                  <a:lnTo>
                    <a:pt x="170" y="303"/>
                  </a:lnTo>
                  <a:lnTo>
                    <a:pt x="170" y="303"/>
                  </a:lnTo>
                  <a:lnTo>
                    <a:pt x="170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68" y="303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8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4" y="303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1" y="303"/>
                  </a:lnTo>
                  <a:lnTo>
                    <a:pt x="161" y="303"/>
                  </a:lnTo>
                  <a:lnTo>
                    <a:pt x="161" y="303"/>
                  </a:lnTo>
                  <a:lnTo>
                    <a:pt x="161" y="303"/>
                  </a:lnTo>
                  <a:lnTo>
                    <a:pt x="161" y="303"/>
                  </a:lnTo>
                  <a:lnTo>
                    <a:pt x="161" y="303"/>
                  </a:lnTo>
                  <a:lnTo>
                    <a:pt x="161" y="303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6"/>
                  </a:lnTo>
                  <a:lnTo>
                    <a:pt x="159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5" y="306"/>
                  </a:lnTo>
                  <a:lnTo>
                    <a:pt x="157" y="306"/>
                  </a:lnTo>
                  <a:lnTo>
                    <a:pt x="155" y="306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2" y="308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08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3" y="310"/>
                  </a:lnTo>
                  <a:lnTo>
                    <a:pt x="143" y="310"/>
                  </a:lnTo>
                  <a:lnTo>
                    <a:pt x="143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41" y="310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9" y="310"/>
                  </a:lnTo>
                  <a:lnTo>
                    <a:pt x="137" y="310"/>
                  </a:lnTo>
                  <a:lnTo>
                    <a:pt x="137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2" y="312"/>
                  </a:lnTo>
                  <a:lnTo>
                    <a:pt x="132" y="312"/>
                  </a:lnTo>
                  <a:lnTo>
                    <a:pt x="132" y="312"/>
                  </a:lnTo>
                  <a:lnTo>
                    <a:pt x="132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2"/>
                  </a:lnTo>
                  <a:lnTo>
                    <a:pt x="137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2" y="312"/>
                  </a:lnTo>
                  <a:lnTo>
                    <a:pt x="132" y="312"/>
                  </a:lnTo>
                  <a:lnTo>
                    <a:pt x="132" y="312"/>
                  </a:lnTo>
                  <a:lnTo>
                    <a:pt x="130" y="312"/>
                  </a:lnTo>
                  <a:lnTo>
                    <a:pt x="130" y="315"/>
                  </a:lnTo>
                  <a:lnTo>
                    <a:pt x="130" y="315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5"/>
                  </a:lnTo>
                  <a:lnTo>
                    <a:pt x="130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8" y="315"/>
                  </a:lnTo>
                  <a:lnTo>
                    <a:pt x="126" y="315"/>
                  </a:lnTo>
                  <a:lnTo>
                    <a:pt x="126" y="315"/>
                  </a:lnTo>
                  <a:lnTo>
                    <a:pt x="123" y="315"/>
                  </a:lnTo>
                  <a:lnTo>
                    <a:pt x="123" y="315"/>
                  </a:lnTo>
                  <a:lnTo>
                    <a:pt x="123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19" y="317"/>
                  </a:lnTo>
                  <a:lnTo>
                    <a:pt x="119" y="317"/>
                  </a:lnTo>
                  <a:lnTo>
                    <a:pt x="119" y="319"/>
                  </a:lnTo>
                  <a:lnTo>
                    <a:pt x="117" y="319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1" y="317"/>
                  </a:lnTo>
                  <a:lnTo>
                    <a:pt x="123" y="317"/>
                  </a:lnTo>
                  <a:lnTo>
                    <a:pt x="121" y="317"/>
                  </a:lnTo>
                  <a:lnTo>
                    <a:pt x="121" y="319"/>
                  </a:lnTo>
                  <a:lnTo>
                    <a:pt x="123" y="317"/>
                  </a:lnTo>
                  <a:lnTo>
                    <a:pt x="123" y="317"/>
                  </a:lnTo>
                  <a:lnTo>
                    <a:pt x="123" y="317"/>
                  </a:lnTo>
                  <a:lnTo>
                    <a:pt x="123" y="317"/>
                  </a:lnTo>
                  <a:lnTo>
                    <a:pt x="123" y="317"/>
                  </a:lnTo>
                  <a:lnTo>
                    <a:pt x="126" y="317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3" y="319"/>
                  </a:lnTo>
                  <a:lnTo>
                    <a:pt x="123" y="319"/>
                  </a:lnTo>
                  <a:lnTo>
                    <a:pt x="123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3" y="319"/>
                  </a:lnTo>
                  <a:lnTo>
                    <a:pt x="123" y="319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6" y="319"/>
                  </a:lnTo>
                  <a:lnTo>
                    <a:pt x="123" y="319"/>
                  </a:lnTo>
                  <a:lnTo>
                    <a:pt x="123" y="319"/>
                  </a:lnTo>
                  <a:lnTo>
                    <a:pt x="123" y="319"/>
                  </a:lnTo>
                  <a:lnTo>
                    <a:pt x="123" y="319"/>
                  </a:lnTo>
                  <a:lnTo>
                    <a:pt x="123" y="321"/>
                  </a:lnTo>
                  <a:lnTo>
                    <a:pt x="123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21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4"/>
                  </a:lnTo>
                  <a:lnTo>
                    <a:pt x="117" y="324"/>
                  </a:lnTo>
                  <a:lnTo>
                    <a:pt x="117" y="324"/>
                  </a:lnTo>
                  <a:lnTo>
                    <a:pt x="117" y="324"/>
                  </a:lnTo>
                  <a:lnTo>
                    <a:pt x="117" y="324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4" y="321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2" y="324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4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7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9" y="321"/>
                  </a:lnTo>
                  <a:lnTo>
                    <a:pt x="117" y="321"/>
                  </a:lnTo>
                  <a:lnTo>
                    <a:pt x="114" y="319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7" y="321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4" y="321"/>
                  </a:lnTo>
                  <a:lnTo>
                    <a:pt x="112" y="321"/>
                  </a:lnTo>
                  <a:lnTo>
                    <a:pt x="112" y="321"/>
                  </a:lnTo>
                  <a:lnTo>
                    <a:pt x="112" y="321"/>
                  </a:lnTo>
                  <a:lnTo>
                    <a:pt x="112" y="321"/>
                  </a:lnTo>
                  <a:lnTo>
                    <a:pt x="112" y="321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10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05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3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101" y="326"/>
                  </a:lnTo>
                  <a:lnTo>
                    <a:pt x="99" y="326"/>
                  </a:lnTo>
                  <a:lnTo>
                    <a:pt x="99" y="326"/>
                  </a:lnTo>
                  <a:lnTo>
                    <a:pt x="99" y="328"/>
                  </a:lnTo>
                  <a:lnTo>
                    <a:pt x="99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92" y="328"/>
                  </a:lnTo>
                  <a:lnTo>
                    <a:pt x="92" y="330"/>
                  </a:lnTo>
                  <a:lnTo>
                    <a:pt x="92" y="330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2" y="328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87" y="330"/>
                  </a:lnTo>
                  <a:lnTo>
                    <a:pt x="87" y="330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1" y="335"/>
                  </a:lnTo>
                  <a:lnTo>
                    <a:pt x="81" y="335"/>
                  </a:lnTo>
                  <a:lnTo>
                    <a:pt x="81" y="335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1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0"/>
                  </a:lnTo>
                  <a:lnTo>
                    <a:pt x="85" y="330"/>
                  </a:lnTo>
                  <a:lnTo>
                    <a:pt x="85" y="330"/>
                  </a:lnTo>
                  <a:lnTo>
                    <a:pt x="87" y="330"/>
                  </a:lnTo>
                  <a:lnTo>
                    <a:pt x="87" y="330"/>
                  </a:lnTo>
                  <a:lnTo>
                    <a:pt x="85" y="330"/>
                  </a:lnTo>
                  <a:lnTo>
                    <a:pt x="87" y="330"/>
                  </a:lnTo>
                  <a:lnTo>
                    <a:pt x="87" y="330"/>
                  </a:lnTo>
                  <a:lnTo>
                    <a:pt x="87" y="330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87" y="328"/>
                  </a:lnTo>
                  <a:lnTo>
                    <a:pt x="87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30"/>
                  </a:lnTo>
                  <a:lnTo>
                    <a:pt x="85" y="330"/>
                  </a:lnTo>
                  <a:lnTo>
                    <a:pt x="83" y="330"/>
                  </a:lnTo>
                  <a:lnTo>
                    <a:pt x="83" y="330"/>
                  </a:lnTo>
                  <a:lnTo>
                    <a:pt x="83" y="328"/>
                  </a:lnTo>
                  <a:lnTo>
                    <a:pt x="83" y="328"/>
                  </a:lnTo>
                  <a:lnTo>
                    <a:pt x="83" y="328"/>
                  </a:lnTo>
                  <a:lnTo>
                    <a:pt x="83" y="328"/>
                  </a:lnTo>
                  <a:lnTo>
                    <a:pt x="83" y="328"/>
                  </a:lnTo>
                  <a:lnTo>
                    <a:pt x="83" y="330"/>
                  </a:lnTo>
                  <a:lnTo>
                    <a:pt x="83" y="330"/>
                  </a:lnTo>
                  <a:lnTo>
                    <a:pt x="83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81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8" y="330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72" y="333"/>
                  </a:lnTo>
                  <a:lnTo>
                    <a:pt x="69" y="335"/>
                  </a:lnTo>
                  <a:lnTo>
                    <a:pt x="69" y="335"/>
                  </a:lnTo>
                  <a:lnTo>
                    <a:pt x="69" y="335"/>
                  </a:lnTo>
                  <a:lnTo>
                    <a:pt x="69" y="335"/>
                  </a:lnTo>
                  <a:lnTo>
                    <a:pt x="69" y="335"/>
                  </a:lnTo>
                  <a:lnTo>
                    <a:pt x="67" y="335"/>
                  </a:lnTo>
                  <a:lnTo>
                    <a:pt x="67" y="335"/>
                  </a:lnTo>
                  <a:lnTo>
                    <a:pt x="67" y="335"/>
                  </a:lnTo>
                  <a:lnTo>
                    <a:pt x="67" y="335"/>
                  </a:lnTo>
                  <a:lnTo>
                    <a:pt x="67" y="337"/>
                  </a:lnTo>
                  <a:lnTo>
                    <a:pt x="67" y="337"/>
                  </a:lnTo>
                  <a:lnTo>
                    <a:pt x="65" y="337"/>
                  </a:lnTo>
                  <a:lnTo>
                    <a:pt x="65" y="337"/>
                  </a:lnTo>
                  <a:lnTo>
                    <a:pt x="65" y="335"/>
                  </a:lnTo>
                  <a:lnTo>
                    <a:pt x="67" y="335"/>
                  </a:lnTo>
                  <a:lnTo>
                    <a:pt x="67" y="335"/>
                  </a:lnTo>
                  <a:lnTo>
                    <a:pt x="67" y="333"/>
                  </a:lnTo>
                  <a:lnTo>
                    <a:pt x="67" y="333"/>
                  </a:lnTo>
                  <a:lnTo>
                    <a:pt x="67" y="335"/>
                  </a:lnTo>
                  <a:lnTo>
                    <a:pt x="65" y="335"/>
                  </a:lnTo>
                  <a:lnTo>
                    <a:pt x="65" y="335"/>
                  </a:lnTo>
                  <a:lnTo>
                    <a:pt x="65" y="335"/>
                  </a:lnTo>
                  <a:lnTo>
                    <a:pt x="63" y="335"/>
                  </a:lnTo>
                  <a:lnTo>
                    <a:pt x="63" y="335"/>
                  </a:lnTo>
                  <a:lnTo>
                    <a:pt x="63" y="335"/>
                  </a:lnTo>
                  <a:lnTo>
                    <a:pt x="63" y="335"/>
                  </a:lnTo>
                  <a:lnTo>
                    <a:pt x="63" y="335"/>
                  </a:lnTo>
                  <a:lnTo>
                    <a:pt x="65" y="335"/>
                  </a:lnTo>
                  <a:lnTo>
                    <a:pt x="63" y="335"/>
                  </a:lnTo>
                  <a:lnTo>
                    <a:pt x="63" y="337"/>
                  </a:lnTo>
                  <a:lnTo>
                    <a:pt x="63" y="337"/>
                  </a:lnTo>
                  <a:lnTo>
                    <a:pt x="60" y="337"/>
                  </a:lnTo>
                  <a:lnTo>
                    <a:pt x="60" y="337"/>
                  </a:lnTo>
                  <a:lnTo>
                    <a:pt x="60" y="337"/>
                  </a:lnTo>
                  <a:lnTo>
                    <a:pt x="60" y="337"/>
                  </a:lnTo>
                  <a:lnTo>
                    <a:pt x="60" y="337"/>
                  </a:lnTo>
                  <a:lnTo>
                    <a:pt x="60" y="337"/>
                  </a:lnTo>
                  <a:lnTo>
                    <a:pt x="60" y="337"/>
                  </a:lnTo>
                  <a:lnTo>
                    <a:pt x="60" y="335"/>
                  </a:lnTo>
                  <a:lnTo>
                    <a:pt x="60" y="335"/>
                  </a:lnTo>
                  <a:lnTo>
                    <a:pt x="60" y="335"/>
                  </a:lnTo>
                  <a:lnTo>
                    <a:pt x="60" y="335"/>
                  </a:lnTo>
                  <a:lnTo>
                    <a:pt x="60" y="335"/>
                  </a:lnTo>
                  <a:lnTo>
                    <a:pt x="58" y="337"/>
                  </a:lnTo>
                  <a:lnTo>
                    <a:pt x="56" y="337"/>
                  </a:lnTo>
                  <a:lnTo>
                    <a:pt x="56" y="337"/>
                  </a:lnTo>
                  <a:lnTo>
                    <a:pt x="54" y="337"/>
                  </a:lnTo>
                  <a:lnTo>
                    <a:pt x="49" y="339"/>
                  </a:lnTo>
                  <a:lnTo>
                    <a:pt x="49" y="339"/>
                  </a:lnTo>
                  <a:lnTo>
                    <a:pt x="49" y="339"/>
                  </a:lnTo>
                  <a:lnTo>
                    <a:pt x="49" y="339"/>
                  </a:lnTo>
                  <a:lnTo>
                    <a:pt x="49" y="339"/>
                  </a:lnTo>
                  <a:lnTo>
                    <a:pt x="47" y="339"/>
                  </a:lnTo>
                  <a:lnTo>
                    <a:pt x="45" y="339"/>
                  </a:lnTo>
                  <a:lnTo>
                    <a:pt x="45" y="339"/>
                  </a:lnTo>
                  <a:lnTo>
                    <a:pt x="47" y="339"/>
                  </a:lnTo>
                  <a:lnTo>
                    <a:pt x="47" y="337"/>
                  </a:lnTo>
                  <a:lnTo>
                    <a:pt x="47" y="337"/>
                  </a:lnTo>
                  <a:lnTo>
                    <a:pt x="49" y="337"/>
                  </a:lnTo>
                  <a:lnTo>
                    <a:pt x="49" y="337"/>
                  </a:lnTo>
                  <a:lnTo>
                    <a:pt x="49" y="335"/>
                  </a:lnTo>
                  <a:lnTo>
                    <a:pt x="51" y="335"/>
                  </a:lnTo>
                  <a:lnTo>
                    <a:pt x="51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6" y="335"/>
                  </a:lnTo>
                  <a:lnTo>
                    <a:pt x="56" y="335"/>
                  </a:lnTo>
                  <a:lnTo>
                    <a:pt x="56" y="335"/>
                  </a:lnTo>
                  <a:lnTo>
                    <a:pt x="56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5"/>
                  </a:lnTo>
                  <a:lnTo>
                    <a:pt x="54" y="333"/>
                  </a:lnTo>
                  <a:lnTo>
                    <a:pt x="54" y="333"/>
                  </a:lnTo>
                  <a:lnTo>
                    <a:pt x="54" y="333"/>
                  </a:lnTo>
                  <a:lnTo>
                    <a:pt x="54" y="333"/>
                  </a:lnTo>
                  <a:lnTo>
                    <a:pt x="49" y="333"/>
                  </a:lnTo>
                  <a:lnTo>
                    <a:pt x="49" y="333"/>
                  </a:lnTo>
                  <a:lnTo>
                    <a:pt x="49" y="335"/>
                  </a:lnTo>
                  <a:lnTo>
                    <a:pt x="49" y="335"/>
                  </a:lnTo>
                  <a:lnTo>
                    <a:pt x="49" y="335"/>
                  </a:lnTo>
                  <a:lnTo>
                    <a:pt x="47" y="335"/>
                  </a:lnTo>
                  <a:lnTo>
                    <a:pt x="47" y="335"/>
                  </a:lnTo>
                  <a:lnTo>
                    <a:pt x="45" y="335"/>
                  </a:lnTo>
                  <a:lnTo>
                    <a:pt x="45" y="335"/>
                  </a:lnTo>
                  <a:lnTo>
                    <a:pt x="45" y="337"/>
                  </a:lnTo>
                  <a:lnTo>
                    <a:pt x="45" y="337"/>
                  </a:lnTo>
                  <a:lnTo>
                    <a:pt x="45" y="337"/>
                  </a:lnTo>
                  <a:lnTo>
                    <a:pt x="45" y="337"/>
                  </a:lnTo>
                  <a:lnTo>
                    <a:pt x="45" y="337"/>
                  </a:lnTo>
                  <a:lnTo>
                    <a:pt x="42" y="337"/>
                  </a:lnTo>
                  <a:lnTo>
                    <a:pt x="42" y="337"/>
                  </a:lnTo>
                  <a:lnTo>
                    <a:pt x="42" y="337"/>
                  </a:lnTo>
                  <a:lnTo>
                    <a:pt x="42" y="339"/>
                  </a:lnTo>
                  <a:lnTo>
                    <a:pt x="38" y="339"/>
                  </a:lnTo>
                  <a:lnTo>
                    <a:pt x="38" y="342"/>
                  </a:lnTo>
                  <a:lnTo>
                    <a:pt x="38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6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3" y="342"/>
                  </a:lnTo>
                  <a:lnTo>
                    <a:pt x="33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31" y="346"/>
                  </a:lnTo>
                  <a:lnTo>
                    <a:pt x="29" y="346"/>
                  </a:lnTo>
                  <a:lnTo>
                    <a:pt x="29" y="346"/>
                  </a:lnTo>
                  <a:lnTo>
                    <a:pt x="29" y="346"/>
                  </a:lnTo>
                  <a:lnTo>
                    <a:pt x="29" y="346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29" y="344"/>
                  </a:lnTo>
                  <a:lnTo>
                    <a:pt x="31" y="344"/>
                  </a:lnTo>
                  <a:lnTo>
                    <a:pt x="31" y="344"/>
                  </a:lnTo>
                  <a:lnTo>
                    <a:pt x="29" y="344"/>
                  </a:lnTo>
                  <a:lnTo>
                    <a:pt x="27" y="344"/>
                  </a:lnTo>
                  <a:lnTo>
                    <a:pt x="27" y="346"/>
                  </a:lnTo>
                  <a:lnTo>
                    <a:pt x="27" y="346"/>
                  </a:lnTo>
                  <a:lnTo>
                    <a:pt x="27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4" y="346"/>
                  </a:lnTo>
                  <a:lnTo>
                    <a:pt x="22" y="346"/>
                  </a:lnTo>
                  <a:lnTo>
                    <a:pt x="22" y="346"/>
                  </a:lnTo>
                  <a:lnTo>
                    <a:pt x="22" y="346"/>
                  </a:lnTo>
                  <a:lnTo>
                    <a:pt x="22" y="346"/>
                  </a:lnTo>
                  <a:lnTo>
                    <a:pt x="22" y="346"/>
                  </a:lnTo>
                  <a:lnTo>
                    <a:pt x="22" y="346"/>
                  </a:lnTo>
                  <a:lnTo>
                    <a:pt x="22" y="346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4" y="344"/>
                  </a:lnTo>
                  <a:lnTo>
                    <a:pt x="24" y="344"/>
                  </a:lnTo>
                  <a:lnTo>
                    <a:pt x="24" y="344"/>
                  </a:lnTo>
                  <a:lnTo>
                    <a:pt x="24" y="344"/>
                  </a:lnTo>
                  <a:lnTo>
                    <a:pt x="24" y="344"/>
                  </a:lnTo>
                  <a:lnTo>
                    <a:pt x="24" y="344"/>
                  </a:lnTo>
                  <a:lnTo>
                    <a:pt x="24" y="342"/>
                  </a:lnTo>
                  <a:lnTo>
                    <a:pt x="24" y="342"/>
                  </a:lnTo>
                  <a:lnTo>
                    <a:pt x="24" y="342"/>
                  </a:lnTo>
                  <a:lnTo>
                    <a:pt x="24" y="342"/>
                  </a:lnTo>
                  <a:lnTo>
                    <a:pt x="24" y="342"/>
                  </a:lnTo>
                  <a:lnTo>
                    <a:pt x="24" y="339"/>
                  </a:lnTo>
                  <a:lnTo>
                    <a:pt x="24" y="339"/>
                  </a:lnTo>
                  <a:lnTo>
                    <a:pt x="24" y="339"/>
                  </a:lnTo>
                  <a:lnTo>
                    <a:pt x="24" y="342"/>
                  </a:lnTo>
                  <a:lnTo>
                    <a:pt x="22" y="342"/>
                  </a:lnTo>
                  <a:lnTo>
                    <a:pt x="22" y="342"/>
                  </a:lnTo>
                  <a:lnTo>
                    <a:pt x="22" y="342"/>
                  </a:lnTo>
                  <a:lnTo>
                    <a:pt x="20" y="342"/>
                  </a:lnTo>
                  <a:lnTo>
                    <a:pt x="20" y="342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18" y="348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8" y="346"/>
                  </a:lnTo>
                  <a:lnTo>
                    <a:pt x="15" y="346"/>
                  </a:lnTo>
                  <a:lnTo>
                    <a:pt x="15" y="348"/>
                  </a:lnTo>
                  <a:lnTo>
                    <a:pt x="15" y="348"/>
                  </a:lnTo>
                  <a:lnTo>
                    <a:pt x="15" y="348"/>
                  </a:lnTo>
                  <a:lnTo>
                    <a:pt x="15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8"/>
                  </a:lnTo>
                  <a:lnTo>
                    <a:pt x="13" y="348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1" y="348"/>
                  </a:lnTo>
                  <a:lnTo>
                    <a:pt x="11" y="346"/>
                  </a:lnTo>
                  <a:lnTo>
                    <a:pt x="11" y="346"/>
                  </a:lnTo>
                  <a:lnTo>
                    <a:pt x="13" y="346"/>
                  </a:lnTo>
                  <a:lnTo>
                    <a:pt x="13" y="346"/>
                  </a:lnTo>
                  <a:lnTo>
                    <a:pt x="13" y="346"/>
                  </a:lnTo>
                  <a:lnTo>
                    <a:pt x="11" y="346"/>
                  </a:lnTo>
                  <a:lnTo>
                    <a:pt x="11" y="346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9" y="344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9" y="346"/>
                  </a:lnTo>
                  <a:lnTo>
                    <a:pt x="6" y="346"/>
                  </a:lnTo>
                  <a:lnTo>
                    <a:pt x="9" y="346"/>
                  </a:lnTo>
                  <a:lnTo>
                    <a:pt x="9" y="348"/>
                  </a:lnTo>
                  <a:lnTo>
                    <a:pt x="9" y="348"/>
                  </a:lnTo>
                  <a:lnTo>
                    <a:pt x="9" y="348"/>
                  </a:lnTo>
                  <a:lnTo>
                    <a:pt x="9" y="348"/>
                  </a:lnTo>
                  <a:lnTo>
                    <a:pt x="9" y="348"/>
                  </a:lnTo>
                  <a:lnTo>
                    <a:pt x="9" y="348"/>
                  </a:lnTo>
                  <a:lnTo>
                    <a:pt x="6" y="348"/>
                  </a:lnTo>
                  <a:lnTo>
                    <a:pt x="4" y="351"/>
                  </a:lnTo>
                  <a:lnTo>
                    <a:pt x="4" y="351"/>
                  </a:lnTo>
                  <a:lnTo>
                    <a:pt x="2" y="351"/>
                  </a:lnTo>
                  <a:lnTo>
                    <a:pt x="2" y="351"/>
                  </a:lnTo>
                  <a:lnTo>
                    <a:pt x="2" y="351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0" y="351"/>
                  </a:lnTo>
                  <a:lnTo>
                    <a:pt x="2" y="351"/>
                  </a:lnTo>
                  <a:lnTo>
                    <a:pt x="2" y="351"/>
                  </a:lnTo>
                  <a:lnTo>
                    <a:pt x="2" y="351"/>
                  </a:lnTo>
                  <a:lnTo>
                    <a:pt x="2" y="348"/>
                  </a:lnTo>
                  <a:lnTo>
                    <a:pt x="2" y="348"/>
                  </a:lnTo>
                  <a:lnTo>
                    <a:pt x="2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2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4" y="348"/>
                  </a:lnTo>
                  <a:lnTo>
                    <a:pt x="6" y="348"/>
                  </a:lnTo>
                  <a:lnTo>
                    <a:pt x="6" y="348"/>
                  </a:lnTo>
                  <a:lnTo>
                    <a:pt x="6" y="346"/>
                  </a:lnTo>
                  <a:lnTo>
                    <a:pt x="6" y="346"/>
                  </a:lnTo>
                  <a:lnTo>
                    <a:pt x="6" y="346"/>
                  </a:lnTo>
                  <a:lnTo>
                    <a:pt x="6" y="346"/>
                  </a:lnTo>
                  <a:lnTo>
                    <a:pt x="6" y="346"/>
                  </a:lnTo>
                  <a:lnTo>
                    <a:pt x="9" y="344"/>
                  </a:lnTo>
                  <a:lnTo>
                    <a:pt x="9" y="344"/>
                  </a:lnTo>
                  <a:lnTo>
                    <a:pt x="9" y="344"/>
                  </a:lnTo>
                  <a:lnTo>
                    <a:pt x="9" y="344"/>
                  </a:lnTo>
                  <a:lnTo>
                    <a:pt x="9" y="344"/>
                  </a:lnTo>
                  <a:lnTo>
                    <a:pt x="9" y="344"/>
                  </a:lnTo>
                  <a:lnTo>
                    <a:pt x="13" y="344"/>
                  </a:lnTo>
                  <a:lnTo>
                    <a:pt x="15" y="342"/>
                  </a:lnTo>
                  <a:lnTo>
                    <a:pt x="18" y="342"/>
                  </a:lnTo>
                  <a:lnTo>
                    <a:pt x="15" y="342"/>
                  </a:lnTo>
                  <a:lnTo>
                    <a:pt x="15" y="342"/>
                  </a:lnTo>
                  <a:lnTo>
                    <a:pt x="15" y="342"/>
                  </a:lnTo>
                  <a:lnTo>
                    <a:pt x="15" y="342"/>
                  </a:lnTo>
                  <a:lnTo>
                    <a:pt x="13" y="344"/>
                  </a:lnTo>
                  <a:lnTo>
                    <a:pt x="13" y="344"/>
                  </a:lnTo>
                  <a:lnTo>
                    <a:pt x="15" y="344"/>
                  </a:lnTo>
                  <a:lnTo>
                    <a:pt x="15" y="344"/>
                  </a:lnTo>
                  <a:lnTo>
                    <a:pt x="15" y="344"/>
                  </a:lnTo>
                  <a:lnTo>
                    <a:pt x="15" y="344"/>
                  </a:lnTo>
                  <a:lnTo>
                    <a:pt x="15" y="344"/>
                  </a:lnTo>
                  <a:lnTo>
                    <a:pt x="15" y="344"/>
                  </a:lnTo>
                  <a:lnTo>
                    <a:pt x="15" y="344"/>
                  </a:lnTo>
                  <a:lnTo>
                    <a:pt x="18" y="344"/>
                  </a:lnTo>
                  <a:lnTo>
                    <a:pt x="18" y="342"/>
                  </a:lnTo>
                  <a:lnTo>
                    <a:pt x="20" y="342"/>
                  </a:lnTo>
                  <a:lnTo>
                    <a:pt x="20" y="342"/>
                  </a:lnTo>
                  <a:lnTo>
                    <a:pt x="18" y="342"/>
                  </a:lnTo>
                  <a:lnTo>
                    <a:pt x="20" y="342"/>
                  </a:lnTo>
                  <a:lnTo>
                    <a:pt x="22" y="342"/>
                  </a:lnTo>
                  <a:lnTo>
                    <a:pt x="22" y="339"/>
                  </a:lnTo>
                  <a:lnTo>
                    <a:pt x="22" y="339"/>
                  </a:lnTo>
                  <a:lnTo>
                    <a:pt x="24" y="339"/>
                  </a:lnTo>
                  <a:lnTo>
                    <a:pt x="24" y="339"/>
                  </a:lnTo>
                  <a:lnTo>
                    <a:pt x="27" y="339"/>
                  </a:lnTo>
                  <a:lnTo>
                    <a:pt x="27" y="339"/>
                  </a:lnTo>
                  <a:lnTo>
                    <a:pt x="27" y="339"/>
                  </a:lnTo>
                  <a:lnTo>
                    <a:pt x="27" y="339"/>
                  </a:lnTo>
                  <a:lnTo>
                    <a:pt x="27" y="339"/>
                  </a:lnTo>
                  <a:lnTo>
                    <a:pt x="27" y="339"/>
                  </a:lnTo>
                  <a:lnTo>
                    <a:pt x="27" y="339"/>
                  </a:lnTo>
                  <a:lnTo>
                    <a:pt x="29" y="339"/>
                  </a:lnTo>
                  <a:lnTo>
                    <a:pt x="29" y="339"/>
                  </a:lnTo>
                  <a:lnTo>
                    <a:pt x="29" y="339"/>
                  </a:lnTo>
                  <a:lnTo>
                    <a:pt x="29" y="339"/>
                  </a:lnTo>
                  <a:lnTo>
                    <a:pt x="29" y="339"/>
                  </a:lnTo>
                  <a:lnTo>
                    <a:pt x="29" y="339"/>
                  </a:lnTo>
                  <a:lnTo>
                    <a:pt x="29" y="339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7" y="337"/>
                  </a:lnTo>
                  <a:lnTo>
                    <a:pt x="27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40" y="330"/>
                  </a:lnTo>
                  <a:lnTo>
                    <a:pt x="42" y="330"/>
                  </a:lnTo>
                  <a:lnTo>
                    <a:pt x="42" y="330"/>
                  </a:lnTo>
                  <a:lnTo>
                    <a:pt x="45" y="330"/>
                  </a:lnTo>
                  <a:lnTo>
                    <a:pt x="45" y="330"/>
                  </a:lnTo>
                  <a:lnTo>
                    <a:pt x="47" y="330"/>
                  </a:lnTo>
                  <a:lnTo>
                    <a:pt x="49" y="328"/>
                  </a:lnTo>
                  <a:lnTo>
                    <a:pt x="49" y="328"/>
                  </a:lnTo>
                  <a:lnTo>
                    <a:pt x="51" y="328"/>
                  </a:lnTo>
                  <a:lnTo>
                    <a:pt x="54" y="328"/>
                  </a:lnTo>
                  <a:lnTo>
                    <a:pt x="54" y="328"/>
                  </a:lnTo>
                  <a:lnTo>
                    <a:pt x="56" y="326"/>
                  </a:lnTo>
                  <a:lnTo>
                    <a:pt x="56" y="326"/>
                  </a:lnTo>
                  <a:lnTo>
                    <a:pt x="58" y="326"/>
                  </a:lnTo>
                  <a:lnTo>
                    <a:pt x="60" y="326"/>
                  </a:lnTo>
                  <a:lnTo>
                    <a:pt x="63" y="326"/>
                  </a:lnTo>
                  <a:lnTo>
                    <a:pt x="63" y="326"/>
                  </a:lnTo>
                  <a:lnTo>
                    <a:pt x="63" y="326"/>
                  </a:lnTo>
                  <a:lnTo>
                    <a:pt x="67" y="324"/>
                  </a:lnTo>
                  <a:lnTo>
                    <a:pt x="65" y="326"/>
                  </a:lnTo>
                  <a:lnTo>
                    <a:pt x="65" y="326"/>
                  </a:lnTo>
                  <a:lnTo>
                    <a:pt x="65" y="326"/>
                  </a:lnTo>
                  <a:lnTo>
                    <a:pt x="63" y="326"/>
                  </a:lnTo>
                  <a:lnTo>
                    <a:pt x="65" y="326"/>
                  </a:lnTo>
                  <a:lnTo>
                    <a:pt x="65" y="326"/>
                  </a:lnTo>
                  <a:lnTo>
                    <a:pt x="65" y="326"/>
                  </a:lnTo>
                  <a:lnTo>
                    <a:pt x="67" y="326"/>
                  </a:lnTo>
                  <a:lnTo>
                    <a:pt x="67" y="326"/>
                  </a:lnTo>
                  <a:lnTo>
                    <a:pt x="67" y="326"/>
                  </a:lnTo>
                  <a:lnTo>
                    <a:pt x="67" y="326"/>
                  </a:lnTo>
                  <a:lnTo>
                    <a:pt x="67" y="326"/>
                  </a:lnTo>
                  <a:lnTo>
                    <a:pt x="69" y="326"/>
                  </a:lnTo>
                  <a:lnTo>
                    <a:pt x="69" y="326"/>
                  </a:lnTo>
                  <a:lnTo>
                    <a:pt x="69" y="326"/>
                  </a:lnTo>
                  <a:lnTo>
                    <a:pt x="69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69" y="326"/>
                  </a:lnTo>
                  <a:lnTo>
                    <a:pt x="69" y="326"/>
                  </a:lnTo>
                  <a:lnTo>
                    <a:pt x="69" y="326"/>
                  </a:lnTo>
                  <a:lnTo>
                    <a:pt x="69" y="326"/>
                  </a:lnTo>
                  <a:lnTo>
                    <a:pt x="67" y="326"/>
                  </a:lnTo>
                  <a:lnTo>
                    <a:pt x="67" y="326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28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7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30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69" y="328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2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6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30"/>
                  </a:lnTo>
                  <a:lnTo>
                    <a:pt x="74" y="328"/>
                  </a:lnTo>
                  <a:lnTo>
                    <a:pt x="76" y="328"/>
                  </a:lnTo>
                  <a:lnTo>
                    <a:pt x="76" y="328"/>
                  </a:lnTo>
                  <a:lnTo>
                    <a:pt x="76" y="328"/>
                  </a:lnTo>
                  <a:lnTo>
                    <a:pt x="76" y="330"/>
                  </a:lnTo>
                  <a:lnTo>
                    <a:pt x="76" y="330"/>
                  </a:lnTo>
                  <a:lnTo>
                    <a:pt x="76" y="330"/>
                  </a:lnTo>
                  <a:lnTo>
                    <a:pt x="76" y="330"/>
                  </a:lnTo>
                  <a:lnTo>
                    <a:pt x="76" y="330"/>
                  </a:lnTo>
                  <a:lnTo>
                    <a:pt x="76" y="330"/>
                  </a:lnTo>
                  <a:lnTo>
                    <a:pt x="78" y="330"/>
                  </a:lnTo>
                  <a:lnTo>
                    <a:pt x="76" y="330"/>
                  </a:lnTo>
                  <a:lnTo>
                    <a:pt x="76" y="330"/>
                  </a:lnTo>
                  <a:lnTo>
                    <a:pt x="76" y="328"/>
                  </a:lnTo>
                  <a:lnTo>
                    <a:pt x="76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6"/>
                  </a:lnTo>
                  <a:lnTo>
                    <a:pt x="76" y="324"/>
                  </a:lnTo>
                  <a:lnTo>
                    <a:pt x="78" y="324"/>
                  </a:lnTo>
                  <a:lnTo>
                    <a:pt x="81" y="324"/>
                  </a:lnTo>
                  <a:lnTo>
                    <a:pt x="81" y="324"/>
                  </a:lnTo>
                  <a:lnTo>
                    <a:pt x="81" y="321"/>
                  </a:lnTo>
                  <a:lnTo>
                    <a:pt x="83" y="321"/>
                  </a:lnTo>
                  <a:lnTo>
                    <a:pt x="83" y="321"/>
                  </a:lnTo>
                  <a:lnTo>
                    <a:pt x="83" y="321"/>
                  </a:lnTo>
                  <a:lnTo>
                    <a:pt x="85" y="321"/>
                  </a:lnTo>
                  <a:lnTo>
                    <a:pt x="85" y="319"/>
                  </a:lnTo>
                  <a:lnTo>
                    <a:pt x="85" y="319"/>
                  </a:lnTo>
                  <a:lnTo>
                    <a:pt x="87" y="319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96" y="315"/>
                  </a:lnTo>
                  <a:lnTo>
                    <a:pt x="101" y="315"/>
                  </a:lnTo>
                  <a:lnTo>
                    <a:pt x="103" y="312"/>
                  </a:lnTo>
                  <a:lnTo>
                    <a:pt x="105" y="312"/>
                  </a:lnTo>
                  <a:lnTo>
                    <a:pt x="112" y="310"/>
                  </a:lnTo>
                  <a:lnTo>
                    <a:pt x="110" y="310"/>
                  </a:lnTo>
                  <a:lnTo>
                    <a:pt x="110" y="310"/>
                  </a:lnTo>
                  <a:lnTo>
                    <a:pt x="110" y="310"/>
                  </a:lnTo>
                  <a:lnTo>
                    <a:pt x="110" y="310"/>
                  </a:lnTo>
                  <a:lnTo>
                    <a:pt x="112" y="310"/>
                  </a:lnTo>
                  <a:lnTo>
                    <a:pt x="114" y="310"/>
                  </a:lnTo>
                  <a:lnTo>
                    <a:pt x="114" y="310"/>
                  </a:lnTo>
                  <a:lnTo>
                    <a:pt x="117" y="310"/>
                  </a:lnTo>
                  <a:lnTo>
                    <a:pt x="117" y="310"/>
                  </a:lnTo>
                  <a:lnTo>
                    <a:pt x="117" y="310"/>
                  </a:lnTo>
                  <a:lnTo>
                    <a:pt x="117" y="310"/>
                  </a:lnTo>
                  <a:lnTo>
                    <a:pt x="117" y="310"/>
                  </a:lnTo>
                  <a:lnTo>
                    <a:pt x="117" y="310"/>
                  </a:lnTo>
                  <a:lnTo>
                    <a:pt x="117" y="308"/>
                  </a:lnTo>
                  <a:lnTo>
                    <a:pt x="119" y="308"/>
                  </a:lnTo>
                  <a:lnTo>
                    <a:pt x="119" y="308"/>
                  </a:lnTo>
                  <a:lnTo>
                    <a:pt x="121" y="308"/>
                  </a:lnTo>
                  <a:lnTo>
                    <a:pt x="123" y="306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8" y="306"/>
                  </a:lnTo>
                  <a:lnTo>
                    <a:pt x="128" y="306"/>
                  </a:lnTo>
                  <a:lnTo>
                    <a:pt x="128" y="306"/>
                  </a:lnTo>
                  <a:lnTo>
                    <a:pt x="126" y="306"/>
                  </a:lnTo>
                  <a:lnTo>
                    <a:pt x="123" y="306"/>
                  </a:lnTo>
                  <a:lnTo>
                    <a:pt x="123" y="306"/>
                  </a:lnTo>
                  <a:lnTo>
                    <a:pt x="123" y="306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3" y="308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8"/>
                  </a:lnTo>
                  <a:lnTo>
                    <a:pt x="126" y="308"/>
                  </a:lnTo>
                  <a:lnTo>
                    <a:pt x="126" y="308"/>
                  </a:lnTo>
                  <a:lnTo>
                    <a:pt x="126" y="308"/>
                  </a:lnTo>
                  <a:lnTo>
                    <a:pt x="128" y="308"/>
                  </a:lnTo>
                  <a:lnTo>
                    <a:pt x="128" y="308"/>
                  </a:lnTo>
                  <a:lnTo>
                    <a:pt x="128" y="308"/>
                  </a:lnTo>
                  <a:lnTo>
                    <a:pt x="128" y="308"/>
                  </a:lnTo>
                  <a:lnTo>
                    <a:pt x="128" y="308"/>
                  </a:lnTo>
                  <a:lnTo>
                    <a:pt x="128" y="308"/>
                  </a:lnTo>
                  <a:lnTo>
                    <a:pt x="128" y="308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30" y="306"/>
                  </a:lnTo>
                  <a:lnTo>
                    <a:pt x="132" y="303"/>
                  </a:lnTo>
                  <a:lnTo>
                    <a:pt x="132" y="303"/>
                  </a:lnTo>
                  <a:lnTo>
                    <a:pt x="132" y="303"/>
                  </a:lnTo>
                  <a:lnTo>
                    <a:pt x="135" y="303"/>
                  </a:lnTo>
                  <a:lnTo>
                    <a:pt x="135" y="301"/>
                  </a:lnTo>
                  <a:lnTo>
                    <a:pt x="135" y="301"/>
                  </a:lnTo>
                  <a:lnTo>
                    <a:pt x="137" y="301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50" y="294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52" y="294"/>
                  </a:lnTo>
                  <a:lnTo>
                    <a:pt x="155" y="292"/>
                  </a:lnTo>
                  <a:lnTo>
                    <a:pt x="157" y="292"/>
                  </a:lnTo>
                  <a:lnTo>
                    <a:pt x="157" y="292"/>
                  </a:lnTo>
                  <a:lnTo>
                    <a:pt x="159" y="292"/>
                  </a:lnTo>
                  <a:lnTo>
                    <a:pt x="159" y="290"/>
                  </a:lnTo>
                  <a:lnTo>
                    <a:pt x="161" y="290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4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70" y="290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6" y="288"/>
                  </a:lnTo>
                  <a:lnTo>
                    <a:pt x="166" y="288"/>
                  </a:lnTo>
                  <a:lnTo>
                    <a:pt x="166" y="288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6" y="288"/>
                  </a:lnTo>
                  <a:lnTo>
                    <a:pt x="166" y="288"/>
                  </a:lnTo>
                  <a:lnTo>
                    <a:pt x="166" y="288"/>
                  </a:lnTo>
                  <a:lnTo>
                    <a:pt x="166" y="288"/>
                  </a:lnTo>
                  <a:lnTo>
                    <a:pt x="166" y="288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85"/>
                  </a:lnTo>
                  <a:lnTo>
                    <a:pt x="168" y="285"/>
                  </a:lnTo>
                  <a:lnTo>
                    <a:pt x="170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5" y="281"/>
                  </a:lnTo>
                  <a:lnTo>
                    <a:pt x="177" y="279"/>
                  </a:lnTo>
                  <a:lnTo>
                    <a:pt x="179" y="279"/>
                  </a:lnTo>
                  <a:lnTo>
                    <a:pt x="179" y="279"/>
                  </a:lnTo>
                  <a:lnTo>
                    <a:pt x="179" y="276"/>
                  </a:lnTo>
                  <a:lnTo>
                    <a:pt x="179" y="276"/>
                  </a:lnTo>
                  <a:lnTo>
                    <a:pt x="182" y="276"/>
                  </a:lnTo>
                  <a:lnTo>
                    <a:pt x="182" y="276"/>
                  </a:lnTo>
                  <a:lnTo>
                    <a:pt x="182" y="276"/>
                  </a:lnTo>
                  <a:lnTo>
                    <a:pt x="182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6" y="276"/>
                  </a:lnTo>
                  <a:lnTo>
                    <a:pt x="186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8" y="276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6" y="272"/>
                  </a:lnTo>
                  <a:lnTo>
                    <a:pt x="188" y="270"/>
                  </a:lnTo>
                  <a:lnTo>
                    <a:pt x="191" y="270"/>
                  </a:lnTo>
                  <a:lnTo>
                    <a:pt x="193" y="270"/>
                  </a:lnTo>
                  <a:lnTo>
                    <a:pt x="193" y="267"/>
                  </a:lnTo>
                  <a:lnTo>
                    <a:pt x="193" y="267"/>
                  </a:lnTo>
                  <a:lnTo>
                    <a:pt x="197" y="267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4" y="265"/>
                  </a:lnTo>
                  <a:lnTo>
                    <a:pt x="204" y="265"/>
                  </a:lnTo>
                  <a:lnTo>
                    <a:pt x="206" y="263"/>
                  </a:lnTo>
                  <a:lnTo>
                    <a:pt x="206" y="263"/>
                  </a:lnTo>
                  <a:lnTo>
                    <a:pt x="204" y="263"/>
                  </a:lnTo>
                  <a:lnTo>
                    <a:pt x="204" y="265"/>
                  </a:lnTo>
                  <a:lnTo>
                    <a:pt x="204" y="265"/>
                  </a:lnTo>
                  <a:lnTo>
                    <a:pt x="204" y="263"/>
                  </a:lnTo>
                  <a:lnTo>
                    <a:pt x="204" y="263"/>
                  </a:lnTo>
                  <a:lnTo>
                    <a:pt x="206" y="261"/>
                  </a:lnTo>
                  <a:lnTo>
                    <a:pt x="206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4"/>
                  </a:lnTo>
                  <a:lnTo>
                    <a:pt x="218" y="256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5" y="256"/>
                  </a:lnTo>
                  <a:lnTo>
                    <a:pt x="213" y="256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09" y="258"/>
                  </a:lnTo>
                  <a:lnTo>
                    <a:pt x="209" y="261"/>
                  </a:lnTo>
                  <a:lnTo>
                    <a:pt x="206" y="261"/>
                  </a:lnTo>
                  <a:lnTo>
                    <a:pt x="206" y="261"/>
                  </a:lnTo>
                  <a:lnTo>
                    <a:pt x="206" y="261"/>
                  </a:lnTo>
                  <a:lnTo>
                    <a:pt x="202" y="261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197" y="263"/>
                  </a:lnTo>
                  <a:lnTo>
                    <a:pt x="195" y="263"/>
                  </a:lnTo>
                  <a:lnTo>
                    <a:pt x="195" y="263"/>
                  </a:lnTo>
                  <a:lnTo>
                    <a:pt x="191" y="265"/>
                  </a:lnTo>
                  <a:lnTo>
                    <a:pt x="186" y="265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79" y="267"/>
                  </a:lnTo>
                  <a:lnTo>
                    <a:pt x="179" y="265"/>
                  </a:lnTo>
                  <a:lnTo>
                    <a:pt x="179" y="265"/>
                  </a:lnTo>
                  <a:lnTo>
                    <a:pt x="182" y="265"/>
                  </a:lnTo>
                  <a:lnTo>
                    <a:pt x="182" y="265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79" y="263"/>
                  </a:lnTo>
                  <a:lnTo>
                    <a:pt x="179" y="263"/>
                  </a:lnTo>
                  <a:lnTo>
                    <a:pt x="179" y="263"/>
                  </a:lnTo>
                  <a:lnTo>
                    <a:pt x="179" y="263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8" y="258"/>
                  </a:lnTo>
                  <a:lnTo>
                    <a:pt x="188" y="258"/>
                  </a:lnTo>
                  <a:lnTo>
                    <a:pt x="188" y="258"/>
                  </a:lnTo>
                  <a:lnTo>
                    <a:pt x="188" y="258"/>
                  </a:lnTo>
                  <a:lnTo>
                    <a:pt x="191" y="258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91" y="258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3" y="261"/>
                  </a:lnTo>
                  <a:lnTo>
                    <a:pt x="193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1" y="261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93" y="258"/>
                  </a:lnTo>
                  <a:lnTo>
                    <a:pt x="191" y="258"/>
                  </a:lnTo>
                  <a:lnTo>
                    <a:pt x="191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8" y="256"/>
                  </a:lnTo>
                  <a:lnTo>
                    <a:pt x="186" y="256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6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9" y="258"/>
                  </a:lnTo>
                  <a:lnTo>
                    <a:pt x="179" y="258"/>
                  </a:lnTo>
                  <a:lnTo>
                    <a:pt x="179" y="258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79" y="258"/>
                  </a:lnTo>
                  <a:lnTo>
                    <a:pt x="179" y="258"/>
                  </a:lnTo>
                  <a:lnTo>
                    <a:pt x="179" y="261"/>
                  </a:lnTo>
                  <a:lnTo>
                    <a:pt x="179" y="261"/>
                  </a:lnTo>
                  <a:lnTo>
                    <a:pt x="177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3" y="265"/>
                  </a:lnTo>
                  <a:lnTo>
                    <a:pt x="173" y="265"/>
                  </a:lnTo>
                  <a:lnTo>
                    <a:pt x="173" y="265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3"/>
                  </a:lnTo>
                  <a:lnTo>
                    <a:pt x="173" y="265"/>
                  </a:lnTo>
                  <a:lnTo>
                    <a:pt x="170" y="267"/>
                  </a:lnTo>
                  <a:lnTo>
                    <a:pt x="170" y="267"/>
                  </a:lnTo>
                  <a:lnTo>
                    <a:pt x="170" y="267"/>
                  </a:lnTo>
                  <a:lnTo>
                    <a:pt x="170" y="267"/>
                  </a:lnTo>
                  <a:lnTo>
                    <a:pt x="170" y="267"/>
                  </a:lnTo>
                  <a:lnTo>
                    <a:pt x="170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70" y="270"/>
                  </a:lnTo>
                  <a:lnTo>
                    <a:pt x="170" y="270"/>
                  </a:lnTo>
                  <a:lnTo>
                    <a:pt x="170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8" y="270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0"/>
                  </a:lnTo>
                  <a:lnTo>
                    <a:pt x="166" y="272"/>
                  </a:lnTo>
                  <a:lnTo>
                    <a:pt x="166" y="272"/>
                  </a:lnTo>
                  <a:lnTo>
                    <a:pt x="166" y="272"/>
                  </a:lnTo>
                  <a:lnTo>
                    <a:pt x="164" y="272"/>
                  </a:lnTo>
                  <a:lnTo>
                    <a:pt x="161" y="272"/>
                  </a:lnTo>
                  <a:lnTo>
                    <a:pt x="161" y="272"/>
                  </a:lnTo>
                  <a:lnTo>
                    <a:pt x="161" y="270"/>
                  </a:lnTo>
                  <a:lnTo>
                    <a:pt x="161" y="270"/>
                  </a:lnTo>
                  <a:lnTo>
                    <a:pt x="161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1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4" y="270"/>
                  </a:lnTo>
                  <a:lnTo>
                    <a:pt x="164" y="267"/>
                  </a:lnTo>
                  <a:lnTo>
                    <a:pt x="164" y="265"/>
                  </a:lnTo>
                  <a:lnTo>
                    <a:pt x="164" y="263"/>
                  </a:lnTo>
                  <a:lnTo>
                    <a:pt x="164" y="263"/>
                  </a:lnTo>
                  <a:lnTo>
                    <a:pt x="164" y="263"/>
                  </a:lnTo>
                  <a:lnTo>
                    <a:pt x="164" y="263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1" y="263"/>
                  </a:lnTo>
                  <a:lnTo>
                    <a:pt x="161" y="261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6" y="261"/>
                  </a:lnTo>
                  <a:lnTo>
                    <a:pt x="166" y="261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6" y="258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4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61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3"/>
                  </a:lnTo>
                  <a:lnTo>
                    <a:pt x="159" y="263"/>
                  </a:lnTo>
                  <a:lnTo>
                    <a:pt x="159" y="263"/>
                  </a:lnTo>
                  <a:lnTo>
                    <a:pt x="159" y="263"/>
                  </a:lnTo>
                  <a:lnTo>
                    <a:pt x="159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5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8"/>
                  </a:lnTo>
                  <a:lnTo>
                    <a:pt x="157" y="256"/>
                  </a:lnTo>
                  <a:lnTo>
                    <a:pt x="157" y="256"/>
                  </a:lnTo>
                  <a:lnTo>
                    <a:pt x="157" y="256"/>
                  </a:lnTo>
                  <a:lnTo>
                    <a:pt x="155" y="256"/>
                  </a:lnTo>
                  <a:lnTo>
                    <a:pt x="155" y="256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1" y="263"/>
                  </a:lnTo>
                  <a:lnTo>
                    <a:pt x="141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43" y="261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61"/>
                  </a:lnTo>
                  <a:lnTo>
                    <a:pt x="137" y="263"/>
                  </a:lnTo>
                  <a:lnTo>
                    <a:pt x="137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28" y="265"/>
                  </a:lnTo>
                  <a:lnTo>
                    <a:pt x="126" y="265"/>
                  </a:lnTo>
                  <a:lnTo>
                    <a:pt x="126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19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21" y="267"/>
                  </a:lnTo>
                  <a:lnTo>
                    <a:pt x="117" y="267"/>
                  </a:lnTo>
                  <a:lnTo>
                    <a:pt x="114" y="267"/>
                  </a:lnTo>
                  <a:lnTo>
                    <a:pt x="114" y="265"/>
                  </a:lnTo>
                  <a:lnTo>
                    <a:pt x="117" y="265"/>
                  </a:lnTo>
                  <a:lnTo>
                    <a:pt x="117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19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3" y="265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8" y="261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0" y="258"/>
                  </a:lnTo>
                  <a:lnTo>
                    <a:pt x="132" y="258"/>
                  </a:lnTo>
                  <a:lnTo>
                    <a:pt x="132" y="258"/>
                  </a:lnTo>
                  <a:lnTo>
                    <a:pt x="132" y="256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7" y="256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5" y="256"/>
                  </a:lnTo>
                  <a:lnTo>
                    <a:pt x="132" y="256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2" y="254"/>
                  </a:lnTo>
                  <a:lnTo>
                    <a:pt x="132" y="254"/>
                  </a:lnTo>
                  <a:lnTo>
                    <a:pt x="132" y="252"/>
                  </a:lnTo>
                  <a:lnTo>
                    <a:pt x="132" y="252"/>
                  </a:lnTo>
                  <a:lnTo>
                    <a:pt x="135" y="252"/>
                  </a:lnTo>
                  <a:lnTo>
                    <a:pt x="135" y="252"/>
                  </a:lnTo>
                  <a:lnTo>
                    <a:pt x="132" y="252"/>
                  </a:lnTo>
                  <a:lnTo>
                    <a:pt x="132" y="252"/>
                  </a:lnTo>
                  <a:lnTo>
                    <a:pt x="132" y="252"/>
                  </a:lnTo>
                  <a:lnTo>
                    <a:pt x="132" y="254"/>
                  </a:lnTo>
                  <a:lnTo>
                    <a:pt x="132" y="252"/>
                  </a:lnTo>
                  <a:lnTo>
                    <a:pt x="135" y="252"/>
                  </a:lnTo>
                  <a:lnTo>
                    <a:pt x="135" y="252"/>
                  </a:lnTo>
                  <a:lnTo>
                    <a:pt x="135" y="252"/>
                  </a:lnTo>
                  <a:lnTo>
                    <a:pt x="135" y="252"/>
                  </a:lnTo>
                  <a:lnTo>
                    <a:pt x="137" y="252"/>
                  </a:lnTo>
                  <a:lnTo>
                    <a:pt x="137" y="249"/>
                  </a:lnTo>
                  <a:lnTo>
                    <a:pt x="137" y="249"/>
                  </a:lnTo>
                  <a:lnTo>
                    <a:pt x="137" y="249"/>
                  </a:lnTo>
                  <a:lnTo>
                    <a:pt x="137" y="249"/>
                  </a:lnTo>
                  <a:lnTo>
                    <a:pt x="139" y="249"/>
                  </a:lnTo>
                  <a:lnTo>
                    <a:pt x="139" y="249"/>
                  </a:lnTo>
                  <a:lnTo>
                    <a:pt x="139" y="249"/>
                  </a:lnTo>
                  <a:lnTo>
                    <a:pt x="139" y="249"/>
                  </a:lnTo>
                  <a:lnTo>
                    <a:pt x="139" y="249"/>
                  </a:lnTo>
                  <a:lnTo>
                    <a:pt x="141" y="249"/>
                  </a:lnTo>
                  <a:lnTo>
                    <a:pt x="141" y="247"/>
                  </a:lnTo>
                  <a:lnTo>
                    <a:pt x="141" y="247"/>
                  </a:lnTo>
                  <a:lnTo>
                    <a:pt x="141" y="247"/>
                  </a:lnTo>
                  <a:lnTo>
                    <a:pt x="143" y="247"/>
                  </a:lnTo>
                  <a:lnTo>
                    <a:pt x="143" y="247"/>
                  </a:lnTo>
                  <a:lnTo>
                    <a:pt x="143" y="247"/>
                  </a:lnTo>
                  <a:lnTo>
                    <a:pt x="143" y="247"/>
                  </a:lnTo>
                  <a:lnTo>
                    <a:pt x="143" y="247"/>
                  </a:lnTo>
                  <a:lnTo>
                    <a:pt x="146" y="245"/>
                  </a:lnTo>
                  <a:lnTo>
                    <a:pt x="146" y="245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8" y="240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48" y="238"/>
                  </a:lnTo>
                  <a:lnTo>
                    <a:pt x="150" y="238"/>
                  </a:lnTo>
                  <a:lnTo>
                    <a:pt x="150" y="238"/>
                  </a:lnTo>
                  <a:lnTo>
                    <a:pt x="148" y="236"/>
                  </a:lnTo>
                  <a:lnTo>
                    <a:pt x="148" y="236"/>
                  </a:lnTo>
                  <a:lnTo>
                    <a:pt x="148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7" y="231"/>
                  </a:lnTo>
                  <a:lnTo>
                    <a:pt x="157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5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4"/>
                  </a:lnTo>
                  <a:lnTo>
                    <a:pt x="152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4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31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5" y="229"/>
                  </a:lnTo>
                  <a:lnTo>
                    <a:pt x="157" y="227"/>
                  </a:lnTo>
                  <a:lnTo>
                    <a:pt x="157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4" y="225"/>
                  </a:lnTo>
                  <a:lnTo>
                    <a:pt x="164" y="225"/>
                  </a:lnTo>
                  <a:lnTo>
                    <a:pt x="164" y="225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8" y="222"/>
                  </a:lnTo>
                  <a:lnTo>
                    <a:pt x="168" y="222"/>
                  </a:lnTo>
                  <a:lnTo>
                    <a:pt x="170" y="222"/>
                  </a:lnTo>
                  <a:lnTo>
                    <a:pt x="170" y="222"/>
                  </a:lnTo>
                  <a:lnTo>
                    <a:pt x="170" y="222"/>
                  </a:lnTo>
                  <a:lnTo>
                    <a:pt x="170" y="222"/>
                  </a:lnTo>
                  <a:lnTo>
                    <a:pt x="173" y="220"/>
                  </a:lnTo>
                  <a:lnTo>
                    <a:pt x="173" y="220"/>
                  </a:lnTo>
                  <a:lnTo>
                    <a:pt x="170" y="220"/>
                  </a:lnTo>
                  <a:lnTo>
                    <a:pt x="170" y="220"/>
                  </a:lnTo>
                  <a:lnTo>
                    <a:pt x="168" y="222"/>
                  </a:lnTo>
                  <a:lnTo>
                    <a:pt x="168" y="222"/>
                  </a:lnTo>
                  <a:lnTo>
                    <a:pt x="168" y="222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68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61" y="225"/>
                  </a:lnTo>
                  <a:lnTo>
                    <a:pt x="159" y="227"/>
                  </a:lnTo>
                  <a:lnTo>
                    <a:pt x="157" y="227"/>
                  </a:lnTo>
                  <a:lnTo>
                    <a:pt x="157" y="227"/>
                  </a:lnTo>
                  <a:lnTo>
                    <a:pt x="157" y="227"/>
                  </a:lnTo>
                  <a:lnTo>
                    <a:pt x="157" y="227"/>
                  </a:lnTo>
                  <a:lnTo>
                    <a:pt x="157" y="227"/>
                  </a:lnTo>
                  <a:lnTo>
                    <a:pt x="157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9"/>
                  </a:lnTo>
                  <a:lnTo>
                    <a:pt x="155" y="229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2" y="227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2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29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48" y="231"/>
                  </a:lnTo>
                  <a:lnTo>
                    <a:pt x="150" y="231"/>
                  </a:lnTo>
                  <a:lnTo>
                    <a:pt x="150" y="231"/>
                  </a:lnTo>
                  <a:lnTo>
                    <a:pt x="148" y="231"/>
                  </a:lnTo>
                  <a:lnTo>
                    <a:pt x="148" y="234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3" y="236"/>
                  </a:lnTo>
                  <a:lnTo>
                    <a:pt x="143" y="236"/>
                  </a:lnTo>
                  <a:lnTo>
                    <a:pt x="143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7" y="238"/>
                  </a:lnTo>
                  <a:lnTo>
                    <a:pt x="130" y="240"/>
                  </a:lnTo>
                  <a:lnTo>
                    <a:pt x="126" y="240"/>
                  </a:lnTo>
                  <a:lnTo>
                    <a:pt x="119" y="240"/>
                  </a:lnTo>
                  <a:lnTo>
                    <a:pt x="114" y="240"/>
                  </a:lnTo>
                  <a:lnTo>
                    <a:pt x="112" y="240"/>
                  </a:lnTo>
                  <a:lnTo>
                    <a:pt x="112" y="240"/>
                  </a:lnTo>
                  <a:lnTo>
                    <a:pt x="112" y="238"/>
                  </a:lnTo>
                  <a:lnTo>
                    <a:pt x="112" y="238"/>
                  </a:lnTo>
                  <a:lnTo>
                    <a:pt x="112" y="238"/>
                  </a:lnTo>
                  <a:lnTo>
                    <a:pt x="114" y="238"/>
                  </a:lnTo>
                  <a:lnTo>
                    <a:pt x="114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4" y="236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4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31"/>
                  </a:lnTo>
                  <a:lnTo>
                    <a:pt x="114" y="229"/>
                  </a:lnTo>
                  <a:lnTo>
                    <a:pt x="114" y="229"/>
                  </a:lnTo>
                  <a:lnTo>
                    <a:pt x="114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4" y="229"/>
                  </a:lnTo>
                  <a:lnTo>
                    <a:pt x="114" y="229"/>
                  </a:lnTo>
                  <a:lnTo>
                    <a:pt x="114" y="229"/>
                  </a:lnTo>
                  <a:lnTo>
                    <a:pt x="112" y="229"/>
                  </a:lnTo>
                  <a:lnTo>
                    <a:pt x="112" y="229"/>
                  </a:lnTo>
                  <a:lnTo>
                    <a:pt x="110" y="229"/>
                  </a:lnTo>
                  <a:lnTo>
                    <a:pt x="110" y="229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4" y="227"/>
                  </a:lnTo>
                  <a:lnTo>
                    <a:pt x="114" y="227"/>
                  </a:lnTo>
                  <a:lnTo>
                    <a:pt x="114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4" y="225"/>
                  </a:lnTo>
                  <a:lnTo>
                    <a:pt x="114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5"/>
                  </a:lnTo>
                  <a:lnTo>
                    <a:pt x="112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4" y="222"/>
                  </a:lnTo>
                  <a:lnTo>
                    <a:pt x="117" y="222"/>
                  </a:lnTo>
                  <a:lnTo>
                    <a:pt x="117" y="222"/>
                  </a:lnTo>
                  <a:lnTo>
                    <a:pt x="119" y="222"/>
                  </a:lnTo>
                  <a:lnTo>
                    <a:pt x="119" y="220"/>
                  </a:lnTo>
                  <a:lnTo>
                    <a:pt x="121" y="220"/>
                  </a:lnTo>
                  <a:lnTo>
                    <a:pt x="121" y="220"/>
                  </a:lnTo>
                  <a:lnTo>
                    <a:pt x="121" y="220"/>
                  </a:lnTo>
                  <a:lnTo>
                    <a:pt x="121" y="220"/>
                  </a:lnTo>
                  <a:lnTo>
                    <a:pt x="121" y="220"/>
                  </a:lnTo>
                  <a:lnTo>
                    <a:pt x="123" y="220"/>
                  </a:lnTo>
                  <a:lnTo>
                    <a:pt x="123" y="220"/>
                  </a:lnTo>
                  <a:lnTo>
                    <a:pt x="123" y="220"/>
                  </a:lnTo>
                  <a:lnTo>
                    <a:pt x="123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30" y="218"/>
                  </a:lnTo>
                  <a:lnTo>
                    <a:pt x="130" y="216"/>
                  </a:lnTo>
                  <a:lnTo>
                    <a:pt x="130" y="216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5" y="220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2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8" y="222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2" y="222"/>
                  </a:lnTo>
                  <a:lnTo>
                    <a:pt x="135" y="222"/>
                  </a:lnTo>
                  <a:lnTo>
                    <a:pt x="135" y="222"/>
                  </a:lnTo>
                  <a:lnTo>
                    <a:pt x="135" y="220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41" y="220"/>
                  </a:lnTo>
                  <a:lnTo>
                    <a:pt x="139" y="220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9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9" y="225"/>
                  </a:lnTo>
                  <a:lnTo>
                    <a:pt x="139" y="222"/>
                  </a:lnTo>
                  <a:lnTo>
                    <a:pt x="141" y="222"/>
                  </a:lnTo>
                  <a:lnTo>
                    <a:pt x="146" y="222"/>
                  </a:lnTo>
                  <a:lnTo>
                    <a:pt x="146" y="220"/>
                  </a:lnTo>
                  <a:lnTo>
                    <a:pt x="146" y="220"/>
                  </a:lnTo>
                  <a:lnTo>
                    <a:pt x="148" y="220"/>
                  </a:lnTo>
                  <a:lnTo>
                    <a:pt x="148" y="220"/>
                  </a:lnTo>
                  <a:lnTo>
                    <a:pt x="148" y="220"/>
                  </a:lnTo>
                  <a:lnTo>
                    <a:pt x="148" y="220"/>
                  </a:lnTo>
                  <a:lnTo>
                    <a:pt x="148" y="220"/>
                  </a:lnTo>
                  <a:lnTo>
                    <a:pt x="148" y="218"/>
                  </a:lnTo>
                  <a:lnTo>
                    <a:pt x="143" y="218"/>
                  </a:lnTo>
                  <a:lnTo>
                    <a:pt x="141" y="218"/>
                  </a:lnTo>
                  <a:lnTo>
                    <a:pt x="141" y="218"/>
                  </a:lnTo>
                  <a:lnTo>
                    <a:pt x="143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46" y="218"/>
                  </a:lnTo>
                  <a:lnTo>
                    <a:pt x="148" y="218"/>
                  </a:lnTo>
                  <a:lnTo>
                    <a:pt x="148" y="218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46" y="216"/>
                  </a:lnTo>
                  <a:lnTo>
                    <a:pt x="146" y="216"/>
                  </a:lnTo>
                  <a:lnTo>
                    <a:pt x="146" y="216"/>
                  </a:lnTo>
                  <a:lnTo>
                    <a:pt x="146" y="216"/>
                  </a:lnTo>
                  <a:lnTo>
                    <a:pt x="146" y="216"/>
                  </a:lnTo>
                  <a:lnTo>
                    <a:pt x="143" y="216"/>
                  </a:lnTo>
                  <a:lnTo>
                    <a:pt x="143" y="216"/>
                  </a:lnTo>
                  <a:lnTo>
                    <a:pt x="143" y="216"/>
                  </a:lnTo>
                  <a:lnTo>
                    <a:pt x="143" y="218"/>
                  </a:lnTo>
                  <a:lnTo>
                    <a:pt x="141" y="218"/>
                  </a:lnTo>
                  <a:lnTo>
                    <a:pt x="141" y="218"/>
                  </a:lnTo>
                  <a:lnTo>
                    <a:pt x="139" y="218"/>
                  </a:lnTo>
                  <a:lnTo>
                    <a:pt x="135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0" y="216"/>
                  </a:lnTo>
                  <a:lnTo>
                    <a:pt x="130" y="216"/>
                  </a:lnTo>
                  <a:lnTo>
                    <a:pt x="130" y="216"/>
                  </a:lnTo>
                  <a:lnTo>
                    <a:pt x="130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30" y="216"/>
                  </a:lnTo>
                  <a:lnTo>
                    <a:pt x="130" y="216"/>
                  </a:lnTo>
                  <a:lnTo>
                    <a:pt x="130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8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3" y="216"/>
                  </a:lnTo>
                  <a:lnTo>
                    <a:pt x="123" y="216"/>
                  </a:lnTo>
                  <a:lnTo>
                    <a:pt x="123" y="216"/>
                  </a:lnTo>
                  <a:lnTo>
                    <a:pt x="126" y="213"/>
                  </a:lnTo>
                  <a:lnTo>
                    <a:pt x="128" y="213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32" y="213"/>
                  </a:lnTo>
                  <a:lnTo>
                    <a:pt x="132" y="213"/>
                  </a:lnTo>
                  <a:lnTo>
                    <a:pt x="132" y="213"/>
                  </a:lnTo>
                  <a:lnTo>
                    <a:pt x="132" y="213"/>
                  </a:lnTo>
                  <a:lnTo>
                    <a:pt x="132" y="213"/>
                  </a:lnTo>
                  <a:lnTo>
                    <a:pt x="135" y="213"/>
                  </a:lnTo>
                  <a:lnTo>
                    <a:pt x="135" y="213"/>
                  </a:lnTo>
                  <a:lnTo>
                    <a:pt x="135" y="213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2" y="213"/>
                  </a:lnTo>
                  <a:lnTo>
                    <a:pt x="132" y="211"/>
                  </a:lnTo>
                  <a:lnTo>
                    <a:pt x="130" y="211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2" y="211"/>
                  </a:lnTo>
                  <a:lnTo>
                    <a:pt x="132" y="211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11"/>
                  </a:lnTo>
                  <a:lnTo>
                    <a:pt x="132" y="211"/>
                  </a:lnTo>
                  <a:lnTo>
                    <a:pt x="132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30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7" y="207"/>
                  </a:lnTo>
                  <a:lnTo>
                    <a:pt x="137" y="207"/>
                  </a:lnTo>
                  <a:lnTo>
                    <a:pt x="139" y="207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6" y="204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3" y="204"/>
                  </a:lnTo>
                  <a:lnTo>
                    <a:pt x="143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9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2" y="207"/>
                  </a:lnTo>
                  <a:lnTo>
                    <a:pt x="132" y="209"/>
                  </a:lnTo>
                  <a:lnTo>
                    <a:pt x="132" y="207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2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3" y="213"/>
                  </a:lnTo>
                  <a:lnTo>
                    <a:pt x="121" y="213"/>
                  </a:lnTo>
                  <a:lnTo>
                    <a:pt x="121" y="213"/>
                  </a:lnTo>
                  <a:lnTo>
                    <a:pt x="121" y="213"/>
                  </a:lnTo>
                  <a:lnTo>
                    <a:pt x="121" y="211"/>
                  </a:lnTo>
                  <a:lnTo>
                    <a:pt x="121" y="211"/>
                  </a:lnTo>
                  <a:lnTo>
                    <a:pt x="121" y="211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3" y="211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6" y="204"/>
                  </a:lnTo>
                  <a:lnTo>
                    <a:pt x="126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30" y="204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6" y="202"/>
                  </a:lnTo>
                  <a:lnTo>
                    <a:pt x="123" y="202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4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32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0" y="200"/>
                  </a:lnTo>
                  <a:lnTo>
                    <a:pt x="130" y="198"/>
                  </a:lnTo>
                  <a:lnTo>
                    <a:pt x="132" y="198"/>
                  </a:lnTo>
                  <a:lnTo>
                    <a:pt x="132" y="198"/>
                  </a:lnTo>
                  <a:lnTo>
                    <a:pt x="135" y="198"/>
                  </a:lnTo>
                  <a:lnTo>
                    <a:pt x="135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8" y="191"/>
                  </a:lnTo>
                  <a:lnTo>
                    <a:pt x="148" y="189"/>
                  </a:lnTo>
                  <a:lnTo>
                    <a:pt x="150" y="189"/>
                  </a:lnTo>
                  <a:lnTo>
                    <a:pt x="155" y="186"/>
                  </a:lnTo>
                  <a:lnTo>
                    <a:pt x="159" y="184"/>
                  </a:lnTo>
                  <a:lnTo>
                    <a:pt x="159" y="184"/>
                  </a:lnTo>
                  <a:lnTo>
                    <a:pt x="161" y="184"/>
                  </a:lnTo>
                  <a:lnTo>
                    <a:pt x="161" y="184"/>
                  </a:lnTo>
                  <a:lnTo>
                    <a:pt x="161" y="184"/>
                  </a:lnTo>
                  <a:lnTo>
                    <a:pt x="164" y="182"/>
                  </a:lnTo>
                  <a:lnTo>
                    <a:pt x="166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4"/>
                  </a:lnTo>
                  <a:lnTo>
                    <a:pt x="173" y="184"/>
                  </a:lnTo>
                  <a:lnTo>
                    <a:pt x="170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68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84" y="177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79" y="177"/>
                  </a:lnTo>
                  <a:lnTo>
                    <a:pt x="179" y="177"/>
                  </a:lnTo>
                  <a:lnTo>
                    <a:pt x="177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5"/>
                  </a:lnTo>
                  <a:lnTo>
                    <a:pt x="177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8" y="171"/>
                  </a:lnTo>
                  <a:lnTo>
                    <a:pt x="188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5" y="168"/>
                  </a:lnTo>
                  <a:lnTo>
                    <a:pt x="195" y="168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202" y="166"/>
                  </a:lnTo>
                  <a:lnTo>
                    <a:pt x="204" y="166"/>
                  </a:lnTo>
                  <a:lnTo>
                    <a:pt x="206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6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6" y="168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2" y="171"/>
                  </a:lnTo>
                  <a:lnTo>
                    <a:pt x="202" y="173"/>
                  </a:lnTo>
                  <a:lnTo>
                    <a:pt x="202" y="171"/>
                  </a:lnTo>
                  <a:lnTo>
                    <a:pt x="204" y="171"/>
                  </a:lnTo>
                  <a:lnTo>
                    <a:pt x="206" y="171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68"/>
                  </a:lnTo>
                  <a:lnTo>
                    <a:pt x="209" y="171"/>
                  </a:lnTo>
                  <a:lnTo>
                    <a:pt x="209" y="171"/>
                  </a:lnTo>
                  <a:lnTo>
                    <a:pt x="209" y="171"/>
                  </a:lnTo>
                  <a:lnTo>
                    <a:pt x="209" y="171"/>
                  </a:lnTo>
                  <a:lnTo>
                    <a:pt x="211" y="171"/>
                  </a:lnTo>
                  <a:lnTo>
                    <a:pt x="215" y="171"/>
                  </a:lnTo>
                  <a:lnTo>
                    <a:pt x="215" y="171"/>
                  </a:lnTo>
                  <a:lnTo>
                    <a:pt x="215" y="171"/>
                  </a:lnTo>
                  <a:lnTo>
                    <a:pt x="215" y="171"/>
                  </a:lnTo>
                  <a:lnTo>
                    <a:pt x="218" y="168"/>
                  </a:lnTo>
                  <a:lnTo>
                    <a:pt x="218" y="168"/>
                  </a:lnTo>
                  <a:lnTo>
                    <a:pt x="218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2" y="168"/>
                  </a:lnTo>
                  <a:lnTo>
                    <a:pt x="222" y="168"/>
                  </a:lnTo>
                  <a:lnTo>
                    <a:pt x="222" y="168"/>
                  </a:lnTo>
                  <a:lnTo>
                    <a:pt x="222" y="168"/>
                  </a:lnTo>
                  <a:lnTo>
                    <a:pt x="222" y="166"/>
                  </a:lnTo>
                  <a:lnTo>
                    <a:pt x="224" y="166"/>
                  </a:lnTo>
                  <a:lnTo>
                    <a:pt x="224" y="166"/>
                  </a:lnTo>
                  <a:lnTo>
                    <a:pt x="229" y="166"/>
                  </a:lnTo>
                  <a:lnTo>
                    <a:pt x="236" y="164"/>
                  </a:lnTo>
                  <a:lnTo>
                    <a:pt x="236" y="162"/>
                  </a:lnTo>
                  <a:lnTo>
                    <a:pt x="236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9"/>
                  </a:lnTo>
                  <a:lnTo>
                    <a:pt x="242" y="159"/>
                  </a:lnTo>
                  <a:lnTo>
                    <a:pt x="242" y="159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2" y="162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49" y="162"/>
                  </a:lnTo>
                  <a:lnTo>
                    <a:pt x="251" y="162"/>
                  </a:lnTo>
                  <a:lnTo>
                    <a:pt x="251" y="162"/>
                  </a:lnTo>
                  <a:lnTo>
                    <a:pt x="251" y="162"/>
                  </a:lnTo>
                  <a:lnTo>
                    <a:pt x="251" y="162"/>
                  </a:lnTo>
                  <a:lnTo>
                    <a:pt x="251" y="162"/>
                  </a:lnTo>
                  <a:lnTo>
                    <a:pt x="251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8" y="162"/>
                  </a:lnTo>
                  <a:lnTo>
                    <a:pt x="260" y="159"/>
                  </a:lnTo>
                  <a:lnTo>
                    <a:pt x="263" y="159"/>
                  </a:lnTo>
                  <a:lnTo>
                    <a:pt x="263" y="159"/>
                  </a:lnTo>
                  <a:lnTo>
                    <a:pt x="263" y="159"/>
                  </a:lnTo>
                  <a:lnTo>
                    <a:pt x="265" y="159"/>
                  </a:lnTo>
                  <a:lnTo>
                    <a:pt x="265" y="157"/>
                  </a:lnTo>
                  <a:lnTo>
                    <a:pt x="267" y="157"/>
                  </a:lnTo>
                  <a:lnTo>
                    <a:pt x="267" y="157"/>
                  </a:lnTo>
                  <a:lnTo>
                    <a:pt x="269" y="157"/>
                  </a:lnTo>
                  <a:lnTo>
                    <a:pt x="269" y="155"/>
                  </a:lnTo>
                  <a:lnTo>
                    <a:pt x="274" y="155"/>
                  </a:lnTo>
                  <a:lnTo>
                    <a:pt x="274" y="153"/>
                  </a:lnTo>
                  <a:lnTo>
                    <a:pt x="276" y="151"/>
                  </a:lnTo>
                  <a:lnTo>
                    <a:pt x="276" y="148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1" y="142"/>
                  </a:lnTo>
                  <a:lnTo>
                    <a:pt x="281" y="142"/>
                  </a:lnTo>
                  <a:lnTo>
                    <a:pt x="281" y="142"/>
                  </a:lnTo>
                  <a:lnTo>
                    <a:pt x="281" y="142"/>
                  </a:lnTo>
                  <a:lnTo>
                    <a:pt x="281" y="142"/>
                  </a:lnTo>
                  <a:lnTo>
                    <a:pt x="281" y="142"/>
                  </a:lnTo>
                  <a:lnTo>
                    <a:pt x="283" y="142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78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3" y="139"/>
                  </a:lnTo>
                  <a:lnTo>
                    <a:pt x="283" y="139"/>
                  </a:lnTo>
                  <a:lnTo>
                    <a:pt x="283" y="139"/>
                  </a:lnTo>
                  <a:lnTo>
                    <a:pt x="285" y="139"/>
                  </a:lnTo>
                  <a:lnTo>
                    <a:pt x="287" y="139"/>
                  </a:lnTo>
                  <a:lnTo>
                    <a:pt x="287" y="139"/>
                  </a:lnTo>
                  <a:lnTo>
                    <a:pt x="287" y="139"/>
                  </a:lnTo>
                  <a:lnTo>
                    <a:pt x="287" y="139"/>
                  </a:lnTo>
                  <a:lnTo>
                    <a:pt x="290" y="139"/>
                  </a:lnTo>
                  <a:lnTo>
                    <a:pt x="290" y="139"/>
                  </a:lnTo>
                  <a:lnTo>
                    <a:pt x="290" y="139"/>
                  </a:lnTo>
                  <a:lnTo>
                    <a:pt x="290" y="139"/>
                  </a:lnTo>
                  <a:lnTo>
                    <a:pt x="290" y="139"/>
                  </a:lnTo>
                  <a:lnTo>
                    <a:pt x="294" y="137"/>
                  </a:lnTo>
                  <a:lnTo>
                    <a:pt x="294" y="137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6" y="135"/>
                  </a:lnTo>
                  <a:lnTo>
                    <a:pt x="296" y="133"/>
                  </a:lnTo>
                  <a:lnTo>
                    <a:pt x="299" y="133"/>
                  </a:lnTo>
                  <a:lnTo>
                    <a:pt x="296" y="133"/>
                  </a:lnTo>
                  <a:lnTo>
                    <a:pt x="296" y="133"/>
                  </a:lnTo>
                  <a:lnTo>
                    <a:pt x="296" y="133"/>
                  </a:lnTo>
                  <a:lnTo>
                    <a:pt x="296" y="133"/>
                  </a:lnTo>
                  <a:lnTo>
                    <a:pt x="296" y="130"/>
                  </a:lnTo>
                  <a:lnTo>
                    <a:pt x="296" y="130"/>
                  </a:lnTo>
                  <a:lnTo>
                    <a:pt x="296" y="130"/>
                  </a:lnTo>
                  <a:lnTo>
                    <a:pt x="296" y="130"/>
                  </a:lnTo>
                  <a:lnTo>
                    <a:pt x="296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9" y="130"/>
                  </a:lnTo>
                  <a:lnTo>
                    <a:pt x="296" y="130"/>
                  </a:lnTo>
                  <a:lnTo>
                    <a:pt x="296" y="130"/>
                  </a:lnTo>
                  <a:lnTo>
                    <a:pt x="294" y="130"/>
                  </a:lnTo>
                  <a:lnTo>
                    <a:pt x="294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2" y="133"/>
                  </a:lnTo>
                  <a:lnTo>
                    <a:pt x="290" y="133"/>
                  </a:lnTo>
                  <a:lnTo>
                    <a:pt x="290" y="133"/>
                  </a:lnTo>
                  <a:lnTo>
                    <a:pt x="290" y="133"/>
                  </a:lnTo>
                  <a:lnTo>
                    <a:pt x="290" y="133"/>
                  </a:lnTo>
                  <a:lnTo>
                    <a:pt x="290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7" y="135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5"/>
                  </a:lnTo>
                  <a:lnTo>
                    <a:pt x="285" y="133"/>
                  </a:lnTo>
                  <a:lnTo>
                    <a:pt x="285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5"/>
                  </a:lnTo>
                  <a:lnTo>
                    <a:pt x="281" y="135"/>
                  </a:lnTo>
                  <a:lnTo>
                    <a:pt x="278" y="135"/>
                  </a:lnTo>
                  <a:lnTo>
                    <a:pt x="278" y="135"/>
                  </a:lnTo>
                  <a:lnTo>
                    <a:pt x="278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78" y="135"/>
                  </a:lnTo>
                  <a:lnTo>
                    <a:pt x="278" y="135"/>
                  </a:lnTo>
                  <a:lnTo>
                    <a:pt x="278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4" y="135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5" y="139"/>
                  </a:lnTo>
                  <a:lnTo>
                    <a:pt x="263" y="139"/>
                  </a:lnTo>
                  <a:lnTo>
                    <a:pt x="263" y="139"/>
                  </a:lnTo>
                  <a:lnTo>
                    <a:pt x="263" y="139"/>
                  </a:lnTo>
                  <a:lnTo>
                    <a:pt x="260" y="139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6" y="144"/>
                  </a:lnTo>
                  <a:lnTo>
                    <a:pt x="256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4" y="144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8" y="139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8" y="137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1" y="137"/>
                  </a:lnTo>
                  <a:lnTo>
                    <a:pt x="251" y="137"/>
                  </a:lnTo>
                  <a:lnTo>
                    <a:pt x="251" y="137"/>
                  </a:lnTo>
                  <a:lnTo>
                    <a:pt x="251" y="137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6" y="139"/>
                  </a:lnTo>
                  <a:lnTo>
                    <a:pt x="256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42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49" y="142"/>
                  </a:lnTo>
                  <a:lnTo>
                    <a:pt x="249" y="142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7" y="137"/>
                  </a:lnTo>
                  <a:lnTo>
                    <a:pt x="245" y="137"/>
                  </a:lnTo>
                  <a:lnTo>
                    <a:pt x="242" y="139"/>
                  </a:lnTo>
                  <a:lnTo>
                    <a:pt x="236" y="139"/>
                  </a:lnTo>
                  <a:lnTo>
                    <a:pt x="238" y="139"/>
                  </a:lnTo>
                  <a:lnTo>
                    <a:pt x="236" y="137"/>
                  </a:lnTo>
                  <a:lnTo>
                    <a:pt x="229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39"/>
                  </a:lnTo>
                  <a:lnTo>
                    <a:pt x="224" y="142"/>
                  </a:lnTo>
                  <a:lnTo>
                    <a:pt x="222" y="142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7" y="139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0" y="142"/>
                  </a:lnTo>
                  <a:lnTo>
                    <a:pt x="215" y="139"/>
                  </a:lnTo>
                  <a:lnTo>
                    <a:pt x="211" y="139"/>
                  </a:lnTo>
                  <a:lnTo>
                    <a:pt x="209" y="139"/>
                  </a:lnTo>
                  <a:lnTo>
                    <a:pt x="206" y="139"/>
                  </a:lnTo>
                  <a:lnTo>
                    <a:pt x="204" y="137"/>
                  </a:lnTo>
                  <a:lnTo>
                    <a:pt x="204" y="137"/>
                  </a:lnTo>
                  <a:lnTo>
                    <a:pt x="206" y="135"/>
                  </a:lnTo>
                  <a:lnTo>
                    <a:pt x="206" y="135"/>
                  </a:lnTo>
                  <a:lnTo>
                    <a:pt x="206" y="135"/>
                  </a:lnTo>
                  <a:lnTo>
                    <a:pt x="206" y="135"/>
                  </a:lnTo>
                  <a:lnTo>
                    <a:pt x="209" y="133"/>
                  </a:lnTo>
                  <a:lnTo>
                    <a:pt x="209" y="133"/>
                  </a:lnTo>
                  <a:lnTo>
                    <a:pt x="209" y="133"/>
                  </a:lnTo>
                  <a:lnTo>
                    <a:pt x="209" y="133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3"/>
                  </a:lnTo>
                  <a:lnTo>
                    <a:pt x="211" y="133"/>
                  </a:lnTo>
                  <a:lnTo>
                    <a:pt x="211" y="133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3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09" y="130"/>
                  </a:lnTo>
                  <a:lnTo>
                    <a:pt x="209" y="130"/>
                  </a:lnTo>
                  <a:lnTo>
                    <a:pt x="211" y="130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09" y="128"/>
                  </a:lnTo>
                  <a:lnTo>
                    <a:pt x="209" y="128"/>
                  </a:lnTo>
                  <a:lnTo>
                    <a:pt x="209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3" y="124"/>
                  </a:lnTo>
                  <a:lnTo>
                    <a:pt x="215" y="124"/>
                  </a:lnTo>
                  <a:lnTo>
                    <a:pt x="215" y="124"/>
                  </a:lnTo>
                  <a:lnTo>
                    <a:pt x="215" y="124"/>
                  </a:lnTo>
                  <a:lnTo>
                    <a:pt x="213" y="124"/>
                  </a:lnTo>
                  <a:lnTo>
                    <a:pt x="213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8"/>
                  </a:lnTo>
                  <a:lnTo>
                    <a:pt x="213" y="128"/>
                  </a:lnTo>
                  <a:lnTo>
                    <a:pt x="213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20" y="126"/>
                  </a:lnTo>
                  <a:lnTo>
                    <a:pt x="220" y="124"/>
                  </a:lnTo>
                  <a:lnTo>
                    <a:pt x="220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4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4" y="124"/>
                  </a:lnTo>
                  <a:lnTo>
                    <a:pt x="224" y="124"/>
                  </a:lnTo>
                  <a:lnTo>
                    <a:pt x="224" y="124"/>
                  </a:lnTo>
                  <a:lnTo>
                    <a:pt x="222" y="124"/>
                  </a:lnTo>
                  <a:lnTo>
                    <a:pt x="222" y="124"/>
                  </a:lnTo>
                  <a:lnTo>
                    <a:pt x="222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20" y="121"/>
                  </a:lnTo>
                  <a:lnTo>
                    <a:pt x="220" y="124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3" y="121"/>
                  </a:lnTo>
                  <a:lnTo>
                    <a:pt x="211" y="121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9" y="119"/>
                  </a:lnTo>
                  <a:lnTo>
                    <a:pt x="206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4" y="117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09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1" y="115"/>
                  </a:lnTo>
                  <a:lnTo>
                    <a:pt x="215" y="115"/>
                  </a:lnTo>
                  <a:lnTo>
                    <a:pt x="218" y="115"/>
                  </a:lnTo>
                  <a:lnTo>
                    <a:pt x="218" y="115"/>
                  </a:lnTo>
                  <a:lnTo>
                    <a:pt x="218" y="115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0" y="112"/>
                  </a:lnTo>
                  <a:lnTo>
                    <a:pt x="224" y="110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7" y="112"/>
                  </a:lnTo>
                  <a:lnTo>
                    <a:pt x="229" y="110"/>
                  </a:lnTo>
                  <a:lnTo>
                    <a:pt x="231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40" y="108"/>
                  </a:lnTo>
                  <a:lnTo>
                    <a:pt x="245" y="106"/>
                  </a:lnTo>
                  <a:lnTo>
                    <a:pt x="245" y="106"/>
                  </a:lnTo>
                  <a:lnTo>
                    <a:pt x="247" y="106"/>
                  </a:lnTo>
                  <a:lnTo>
                    <a:pt x="247" y="106"/>
                  </a:lnTo>
                  <a:lnTo>
                    <a:pt x="249" y="106"/>
                  </a:lnTo>
                  <a:lnTo>
                    <a:pt x="249" y="106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1" y="106"/>
                  </a:lnTo>
                  <a:lnTo>
                    <a:pt x="256" y="106"/>
                  </a:lnTo>
                  <a:lnTo>
                    <a:pt x="260" y="106"/>
                  </a:lnTo>
                  <a:lnTo>
                    <a:pt x="260" y="106"/>
                  </a:lnTo>
                  <a:lnTo>
                    <a:pt x="260" y="106"/>
                  </a:lnTo>
                  <a:lnTo>
                    <a:pt x="260" y="106"/>
                  </a:lnTo>
                  <a:lnTo>
                    <a:pt x="260" y="103"/>
                  </a:lnTo>
                  <a:lnTo>
                    <a:pt x="258" y="103"/>
                  </a:lnTo>
                  <a:lnTo>
                    <a:pt x="258" y="103"/>
                  </a:lnTo>
                  <a:lnTo>
                    <a:pt x="258" y="103"/>
                  </a:lnTo>
                  <a:lnTo>
                    <a:pt x="258" y="103"/>
                  </a:lnTo>
                  <a:lnTo>
                    <a:pt x="258" y="103"/>
                  </a:lnTo>
                  <a:lnTo>
                    <a:pt x="260" y="103"/>
                  </a:lnTo>
                  <a:lnTo>
                    <a:pt x="263" y="101"/>
                  </a:lnTo>
                  <a:lnTo>
                    <a:pt x="269" y="101"/>
                  </a:lnTo>
                  <a:lnTo>
                    <a:pt x="272" y="101"/>
                  </a:lnTo>
                  <a:lnTo>
                    <a:pt x="272" y="99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6" y="101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6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78" y="99"/>
                  </a:lnTo>
                  <a:lnTo>
                    <a:pt x="281" y="99"/>
                  </a:lnTo>
                  <a:lnTo>
                    <a:pt x="283" y="97"/>
                  </a:lnTo>
                  <a:lnTo>
                    <a:pt x="285" y="97"/>
                  </a:lnTo>
                  <a:lnTo>
                    <a:pt x="290" y="97"/>
                  </a:lnTo>
                  <a:lnTo>
                    <a:pt x="294" y="97"/>
                  </a:lnTo>
                  <a:lnTo>
                    <a:pt x="299" y="97"/>
                  </a:lnTo>
                  <a:lnTo>
                    <a:pt x="301" y="97"/>
                  </a:lnTo>
                  <a:lnTo>
                    <a:pt x="303" y="97"/>
                  </a:lnTo>
                  <a:lnTo>
                    <a:pt x="303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9" y="99"/>
                  </a:lnTo>
                  <a:lnTo>
                    <a:pt x="299" y="99"/>
                  </a:lnTo>
                  <a:lnTo>
                    <a:pt x="299" y="99"/>
                  </a:lnTo>
                  <a:lnTo>
                    <a:pt x="296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99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2" y="101"/>
                  </a:lnTo>
                  <a:lnTo>
                    <a:pt x="292" y="101"/>
                  </a:lnTo>
                  <a:lnTo>
                    <a:pt x="292" y="101"/>
                  </a:lnTo>
                  <a:lnTo>
                    <a:pt x="292" y="101"/>
                  </a:lnTo>
                  <a:lnTo>
                    <a:pt x="292" y="103"/>
                  </a:lnTo>
                  <a:lnTo>
                    <a:pt x="292" y="103"/>
                  </a:lnTo>
                  <a:lnTo>
                    <a:pt x="292" y="103"/>
                  </a:lnTo>
                  <a:lnTo>
                    <a:pt x="292" y="103"/>
                  </a:lnTo>
                  <a:lnTo>
                    <a:pt x="292" y="103"/>
                  </a:lnTo>
                  <a:lnTo>
                    <a:pt x="290" y="103"/>
                  </a:lnTo>
                  <a:lnTo>
                    <a:pt x="290" y="103"/>
                  </a:lnTo>
                  <a:lnTo>
                    <a:pt x="287" y="103"/>
                  </a:lnTo>
                  <a:lnTo>
                    <a:pt x="287" y="103"/>
                  </a:lnTo>
                  <a:lnTo>
                    <a:pt x="285" y="103"/>
                  </a:lnTo>
                  <a:lnTo>
                    <a:pt x="285" y="103"/>
                  </a:lnTo>
                  <a:lnTo>
                    <a:pt x="285" y="103"/>
                  </a:lnTo>
                  <a:lnTo>
                    <a:pt x="285" y="103"/>
                  </a:lnTo>
                  <a:lnTo>
                    <a:pt x="283" y="103"/>
                  </a:lnTo>
                  <a:lnTo>
                    <a:pt x="283" y="106"/>
                  </a:lnTo>
                  <a:lnTo>
                    <a:pt x="285" y="106"/>
                  </a:lnTo>
                  <a:lnTo>
                    <a:pt x="287" y="103"/>
                  </a:lnTo>
                  <a:lnTo>
                    <a:pt x="285" y="106"/>
                  </a:lnTo>
                  <a:lnTo>
                    <a:pt x="285" y="106"/>
                  </a:lnTo>
                  <a:lnTo>
                    <a:pt x="287" y="106"/>
                  </a:lnTo>
                  <a:lnTo>
                    <a:pt x="287" y="106"/>
                  </a:lnTo>
                  <a:lnTo>
                    <a:pt x="287" y="103"/>
                  </a:lnTo>
                  <a:lnTo>
                    <a:pt x="287" y="103"/>
                  </a:lnTo>
                  <a:lnTo>
                    <a:pt x="287" y="103"/>
                  </a:lnTo>
                  <a:lnTo>
                    <a:pt x="287" y="103"/>
                  </a:lnTo>
                  <a:lnTo>
                    <a:pt x="287" y="106"/>
                  </a:lnTo>
                  <a:lnTo>
                    <a:pt x="287" y="106"/>
                  </a:lnTo>
                  <a:lnTo>
                    <a:pt x="287" y="106"/>
                  </a:lnTo>
                  <a:lnTo>
                    <a:pt x="287" y="108"/>
                  </a:lnTo>
                  <a:lnTo>
                    <a:pt x="287" y="108"/>
                  </a:lnTo>
                  <a:lnTo>
                    <a:pt x="294" y="106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6" y="108"/>
                  </a:lnTo>
                  <a:lnTo>
                    <a:pt x="299" y="108"/>
                  </a:lnTo>
                  <a:lnTo>
                    <a:pt x="299" y="108"/>
                  </a:lnTo>
                  <a:lnTo>
                    <a:pt x="299" y="106"/>
                  </a:lnTo>
                  <a:lnTo>
                    <a:pt x="301" y="106"/>
                  </a:lnTo>
                  <a:lnTo>
                    <a:pt x="301" y="106"/>
                  </a:lnTo>
                  <a:lnTo>
                    <a:pt x="303" y="106"/>
                  </a:lnTo>
                  <a:lnTo>
                    <a:pt x="303" y="106"/>
                  </a:lnTo>
                  <a:lnTo>
                    <a:pt x="303" y="106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1" y="108"/>
                  </a:lnTo>
                  <a:lnTo>
                    <a:pt x="301" y="108"/>
                  </a:lnTo>
                  <a:lnTo>
                    <a:pt x="301" y="108"/>
                  </a:lnTo>
                  <a:lnTo>
                    <a:pt x="301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5" y="108"/>
                  </a:lnTo>
                  <a:lnTo>
                    <a:pt x="305" y="108"/>
                  </a:lnTo>
                  <a:lnTo>
                    <a:pt x="305" y="108"/>
                  </a:lnTo>
                  <a:lnTo>
                    <a:pt x="305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07" y="108"/>
                  </a:lnTo>
                  <a:lnTo>
                    <a:pt x="310" y="108"/>
                  </a:lnTo>
                  <a:lnTo>
                    <a:pt x="312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2" y="108"/>
                  </a:lnTo>
                  <a:lnTo>
                    <a:pt x="312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2" y="110"/>
                  </a:lnTo>
                  <a:lnTo>
                    <a:pt x="312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9" y="108"/>
                  </a:lnTo>
                  <a:lnTo>
                    <a:pt x="319" y="108"/>
                  </a:lnTo>
                  <a:lnTo>
                    <a:pt x="319" y="108"/>
                  </a:lnTo>
                  <a:lnTo>
                    <a:pt x="319" y="108"/>
                  </a:lnTo>
                  <a:lnTo>
                    <a:pt x="316" y="108"/>
                  </a:lnTo>
                  <a:lnTo>
                    <a:pt x="319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1" y="106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6"/>
                  </a:lnTo>
                  <a:lnTo>
                    <a:pt x="323" y="106"/>
                  </a:lnTo>
                  <a:lnTo>
                    <a:pt x="323" y="106"/>
                  </a:lnTo>
                  <a:lnTo>
                    <a:pt x="325" y="103"/>
                  </a:lnTo>
                  <a:lnTo>
                    <a:pt x="325" y="103"/>
                  </a:lnTo>
                  <a:lnTo>
                    <a:pt x="325" y="103"/>
                  </a:lnTo>
                  <a:lnTo>
                    <a:pt x="325" y="103"/>
                  </a:lnTo>
                  <a:lnTo>
                    <a:pt x="325" y="103"/>
                  </a:lnTo>
                  <a:lnTo>
                    <a:pt x="328" y="103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3"/>
                  </a:lnTo>
                  <a:lnTo>
                    <a:pt x="332" y="106"/>
                  </a:lnTo>
                  <a:lnTo>
                    <a:pt x="332" y="106"/>
                  </a:lnTo>
                  <a:lnTo>
                    <a:pt x="332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28" y="106"/>
                  </a:lnTo>
                  <a:lnTo>
                    <a:pt x="328" y="106"/>
                  </a:lnTo>
                  <a:lnTo>
                    <a:pt x="328" y="106"/>
                  </a:lnTo>
                  <a:lnTo>
                    <a:pt x="328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0" y="106"/>
                  </a:lnTo>
                  <a:lnTo>
                    <a:pt x="332" y="106"/>
                  </a:lnTo>
                  <a:lnTo>
                    <a:pt x="332" y="106"/>
                  </a:lnTo>
                  <a:lnTo>
                    <a:pt x="332" y="106"/>
                  </a:lnTo>
                  <a:lnTo>
                    <a:pt x="334" y="103"/>
                  </a:lnTo>
                  <a:lnTo>
                    <a:pt x="334" y="103"/>
                  </a:lnTo>
                  <a:lnTo>
                    <a:pt x="334" y="103"/>
                  </a:lnTo>
                  <a:lnTo>
                    <a:pt x="334" y="103"/>
                  </a:lnTo>
                  <a:lnTo>
                    <a:pt x="334" y="103"/>
                  </a:lnTo>
                  <a:lnTo>
                    <a:pt x="334" y="101"/>
                  </a:lnTo>
                  <a:lnTo>
                    <a:pt x="334" y="101"/>
                  </a:lnTo>
                  <a:lnTo>
                    <a:pt x="334" y="101"/>
                  </a:lnTo>
                  <a:lnTo>
                    <a:pt x="334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2" y="101"/>
                  </a:lnTo>
                  <a:lnTo>
                    <a:pt x="330" y="101"/>
                  </a:lnTo>
                  <a:lnTo>
                    <a:pt x="328" y="101"/>
                  </a:lnTo>
                  <a:lnTo>
                    <a:pt x="328" y="101"/>
                  </a:lnTo>
                  <a:lnTo>
                    <a:pt x="325" y="101"/>
                  </a:lnTo>
                  <a:lnTo>
                    <a:pt x="325" y="101"/>
                  </a:lnTo>
                  <a:lnTo>
                    <a:pt x="323" y="101"/>
                  </a:lnTo>
                  <a:lnTo>
                    <a:pt x="323" y="101"/>
                  </a:lnTo>
                  <a:lnTo>
                    <a:pt x="323" y="101"/>
                  </a:lnTo>
                  <a:lnTo>
                    <a:pt x="323" y="101"/>
                  </a:lnTo>
                  <a:lnTo>
                    <a:pt x="323" y="101"/>
                  </a:lnTo>
                  <a:lnTo>
                    <a:pt x="323" y="101"/>
                  </a:lnTo>
                  <a:lnTo>
                    <a:pt x="323" y="103"/>
                  </a:lnTo>
                  <a:lnTo>
                    <a:pt x="323" y="103"/>
                  </a:lnTo>
                  <a:lnTo>
                    <a:pt x="323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3" y="101"/>
                  </a:lnTo>
                  <a:lnTo>
                    <a:pt x="323" y="101"/>
                  </a:lnTo>
                  <a:lnTo>
                    <a:pt x="325" y="101"/>
                  </a:lnTo>
                  <a:lnTo>
                    <a:pt x="325" y="99"/>
                  </a:lnTo>
                  <a:lnTo>
                    <a:pt x="325" y="99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8" y="97"/>
                  </a:lnTo>
                  <a:lnTo>
                    <a:pt x="328" y="97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25" y="94"/>
                  </a:lnTo>
                  <a:lnTo>
                    <a:pt x="325" y="94"/>
                  </a:lnTo>
                  <a:lnTo>
                    <a:pt x="325" y="94"/>
                  </a:lnTo>
                  <a:lnTo>
                    <a:pt x="325" y="94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2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8" y="90"/>
                  </a:lnTo>
                  <a:lnTo>
                    <a:pt x="328" y="90"/>
                  </a:lnTo>
                  <a:lnTo>
                    <a:pt x="328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2" y="90"/>
                  </a:lnTo>
                  <a:lnTo>
                    <a:pt x="332" y="90"/>
                  </a:lnTo>
                  <a:lnTo>
                    <a:pt x="334" y="90"/>
                  </a:lnTo>
                  <a:lnTo>
                    <a:pt x="334" y="90"/>
                  </a:lnTo>
                  <a:lnTo>
                    <a:pt x="334" y="90"/>
                  </a:lnTo>
                  <a:lnTo>
                    <a:pt x="332" y="90"/>
                  </a:lnTo>
                  <a:lnTo>
                    <a:pt x="332" y="92"/>
                  </a:lnTo>
                  <a:lnTo>
                    <a:pt x="332" y="92"/>
                  </a:lnTo>
                  <a:lnTo>
                    <a:pt x="332" y="92"/>
                  </a:lnTo>
                  <a:lnTo>
                    <a:pt x="332" y="92"/>
                  </a:lnTo>
                  <a:lnTo>
                    <a:pt x="332" y="92"/>
                  </a:lnTo>
                  <a:lnTo>
                    <a:pt x="332" y="94"/>
                  </a:lnTo>
                  <a:lnTo>
                    <a:pt x="330" y="94"/>
                  </a:lnTo>
                  <a:lnTo>
                    <a:pt x="330" y="94"/>
                  </a:lnTo>
                  <a:lnTo>
                    <a:pt x="330" y="94"/>
                  </a:lnTo>
                  <a:lnTo>
                    <a:pt x="330" y="94"/>
                  </a:lnTo>
                  <a:lnTo>
                    <a:pt x="330" y="97"/>
                  </a:lnTo>
                  <a:lnTo>
                    <a:pt x="330" y="97"/>
                  </a:lnTo>
                  <a:lnTo>
                    <a:pt x="328" y="97"/>
                  </a:lnTo>
                  <a:lnTo>
                    <a:pt x="328" y="97"/>
                  </a:lnTo>
                  <a:lnTo>
                    <a:pt x="330" y="99"/>
                  </a:lnTo>
                  <a:lnTo>
                    <a:pt x="330" y="99"/>
                  </a:lnTo>
                  <a:lnTo>
                    <a:pt x="334" y="99"/>
                  </a:lnTo>
                  <a:lnTo>
                    <a:pt x="334" y="99"/>
                  </a:lnTo>
                  <a:lnTo>
                    <a:pt x="334" y="99"/>
                  </a:lnTo>
                  <a:lnTo>
                    <a:pt x="337" y="99"/>
                  </a:lnTo>
                  <a:lnTo>
                    <a:pt x="337" y="99"/>
                  </a:lnTo>
                  <a:lnTo>
                    <a:pt x="337" y="99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9"/>
                  </a:lnTo>
                  <a:lnTo>
                    <a:pt x="339" y="99"/>
                  </a:lnTo>
                  <a:lnTo>
                    <a:pt x="341" y="99"/>
                  </a:lnTo>
                  <a:lnTo>
                    <a:pt x="341" y="99"/>
                  </a:lnTo>
                  <a:lnTo>
                    <a:pt x="341" y="99"/>
                  </a:lnTo>
                  <a:lnTo>
                    <a:pt x="341" y="101"/>
                  </a:lnTo>
                  <a:lnTo>
                    <a:pt x="341" y="101"/>
                  </a:lnTo>
                  <a:lnTo>
                    <a:pt x="343" y="101"/>
                  </a:lnTo>
                  <a:lnTo>
                    <a:pt x="343" y="101"/>
                  </a:lnTo>
                  <a:lnTo>
                    <a:pt x="348" y="101"/>
                  </a:lnTo>
                  <a:lnTo>
                    <a:pt x="350" y="101"/>
                  </a:lnTo>
                  <a:lnTo>
                    <a:pt x="350" y="101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52" y="99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7" y="97"/>
                  </a:lnTo>
                  <a:lnTo>
                    <a:pt x="357" y="94"/>
                  </a:lnTo>
                  <a:lnTo>
                    <a:pt x="357" y="94"/>
                  </a:lnTo>
                  <a:lnTo>
                    <a:pt x="357" y="94"/>
                  </a:lnTo>
                  <a:lnTo>
                    <a:pt x="357" y="94"/>
                  </a:lnTo>
                  <a:lnTo>
                    <a:pt x="357" y="94"/>
                  </a:lnTo>
                  <a:lnTo>
                    <a:pt x="355" y="94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5" y="94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0" y="97"/>
                  </a:lnTo>
                  <a:lnTo>
                    <a:pt x="350" y="97"/>
                  </a:lnTo>
                  <a:lnTo>
                    <a:pt x="350" y="97"/>
                  </a:lnTo>
                  <a:lnTo>
                    <a:pt x="348" y="94"/>
                  </a:lnTo>
                  <a:lnTo>
                    <a:pt x="348" y="94"/>
                  </a:lnTo>
                  <a:lnTo>
                    <a:pt x="346" y="94"/>
                  </a:lnTo>
                  <a:lnTo>
                    <a:pt x="343" y="94"/>
                  </a:lnTo>
                  <a:lnTo>
                    <a:pt x="343" y="94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7" y="97"/>
                  </a:lnTo>
                  <a:lnTo>
                    <a:pt x="337" y="97"/>
                  </a:lnTo>
                  <a:lnTo>
                    <a:pt x="337" y="97"/>
                  </a:lnTo>
                  <a:lnTo>
                    <a:pt x="337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7"/>
                  </a:lnTo>
                  <a:lnTo>
                    <a:pt x="334" y="94"/>
                  </a:lnTo>
                  <a:lnTo>
                    <a:pt x="334" y="94"/>
                  </a:lnTo>
                  <a:lnTo>
                    <a:pt x="334" y="92"/>
                  </a:lnTo>
                  <a:lnTo>
                    <a:pt x="334" y="92"/>
                  </a:lnTo>
                  <a:lnTo>
                    <a:pt x="334" y="92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9" y="92"/>
                  </a:lnTo>
                  <a:lnTo>
                    <a:pt x="339" y="92"/>
                  </a:lnTo>
                  <a:lnTo>
                    <a:pt x="339" y="90"/>
                  </a:lnTo>
                  <a:lnTo>
                    <a:pt x="339" y="90"/>
                  </a:lnTo>
                  <a:lnTo>
                    <a:pt x="339" y="90"/>
                  </a:lnTo>
                  <a:lnTo>
                    <a:pt x="341" y="90"/>
                  </a:lnTo>
                  <a:lnTo>
                    <a:pt x="341" y="90"/>
                  </a:lnTo>
                  <a:lnTo>
                    <a:pt x="343" y="90"/>
                  </a:lnTo>
                  <a:lnTo>
                    <a:pt x="343" y="90"/>
                  </a:lnTo>
                  <a:lnTo>
                    <a:pt x="343" y="90"/>
                  </a:lnTo>
                  <a:lnTo>
                    <a:pt x="343" y="90"/>
                  </a:lnTo>
                  <a:lnTo>
                    <a:pt x="343" y="90"/>
                  </a:lnTo>
                  <a:lnTo>
                    <a:pt x="343" y="90"/>
                  </a:lnTo>
                  <a:lnTo>
                    <a:pt x="343" y="88"/>
                  </a:lnTo>
                  <a:lnTo>
                    <a:pt x="346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6" y="88"/>
                  </a:lnTo>
                  <a:lnTo>
                    <a:pt x="343" y="88"/>
                  </a:lnTo>
                  <a:lnTo>
                    <a:pt x="343" y="88"/>
                  </a:lnTo>
                  <a:lnTo>
                    <a:pt x="343" y="88"/>
                  </a:lnTo>
                  <a:lnTo>
                    <a:pt x="343" y="88"/>
                  </a:lnTo>
                  <a:lnTo>
                    <a:pt x="343" y="88"/>
                  </a:lnTo>
                  <a:lnTo>
                    <a:pt x="343" y="88"/>
                  </a:lnTo>
                  <a:lnTo>
                    <a:pt x="343" y="88"/>
                  </a:lnTo>
                  <a:lnTo>
                    <a:pt x="341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7" y="88"/>
                  </a:lnTo>
                  <a:lnTo>
                    <a:pt x="334" y="88"/>
                  </a:lnTo>
                  <a:lnTo>
                    <a:pt x="334" y="88"/>
                  </a:lnTo>
                  <a:lnTo>
                    <a:pt x="334" y="88"/>
                  </a:lnTo>
                  <a:lnTo>
                    <a:pt x="334" y="88"/>
                  </a:lnTo>
                  <a:lnTo>
                    <a:pt x="332" y="88"/>
                  </a:lnTo>
                  <a:lnTo>
                    <a:pt x="332" y="88"/>
                  </a:lnTo>
                  <a:lnTo>
                    <a:pt x="332" y="88"/>
                  </a:lnTo>
                  <a:lnTo>
                    <a:pt x="332" y="88"/>
                  </a:lnTo>
                  <a:lnTo>
                    <a:pt x="334" y="88"/>
                  </a:lnTo>
                  <a:lnTo>
                    <a:pt x="334" y="88"/>
                  </a:lnTo>
                  <a:lnTo>
                    <a:pt x="334" y="88"/>
                  </a:lnTo>
                  <a:lnTo>
                    <a:pt x="337" y="85"/>
                  </a:lnTo>
                  <a:lnTo>
                    <a:pt x="337" y="85"/>
                  </a:lnTo>
                  <a:lnTo>
                    <a:pt x="339" y="85"/>
                  </a:lnTo>
                  <a:lnTo>
                    <a:pt x="339" y="85"/>
                  </a:lnTo>
                  <a:lnTo>
                    <a:pt x="339" y="85"/>
                  </a:lnTo>
                  <a:lnTo>
                    <a:pt x="339" y="85"/>
                  </a:lnTo>
                  <a:lnTo>
                    <a:pt x="339" y="85"/>
                  </a:lnTo>
                  <a:lnTo>
                    <a:pt x="337" y="85"/>
                  </a:lnTo>
                  <a:lnTo>
                    <a:pt x="337" y="85"/>
                  </a:lnTo>
                  <a:lnTo>
                    <a:pt x="339" y="85"/>
                  </a:lnTo>
                  <a:lnTo>
                    <a:pt x="339" y="85"/>
                  </a:lnTo>
                  <a:lnTo>
                    <a:pt x="337" y="85"/>
                  </a:lnTo>
                  <a:lnTo>
                    <a:pt x="337" y="85"/>
                  </a:lnTo>
                  <a:lnTo>
                    <a:pt x="334" y="88"/>
                  </a:lnTo>
                  <a:lnTo>
                    <a:pt x="332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28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8" y="88"/>
                  </a:lnTo>
                  <a:lnTo>
                    <a:pt x="325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19" y="85"/>
                  </a:lnTo>
                  <a:lnTo>
                    <a:pt x="319" y="85"/>
                  </a:lnTo>
                  <a:lnTo>
                    <a:pt x="316" y="85"/>
                  </a:lnTo>
                  <a:lnTo>
                    <a:pt x="316" y="85"/>
                  </a:lnTo>
                  <a:lnTo>
                    <a:pt x="316" y="85"/>
                  </a:lnTo>
                  <a:lnTo>
                    <a:pt x="316" y="85"/>
                  </a:lnTo>
                  <a:lnTo>
                    <a:pt x="319" y="83"/>
                  </a:lnTo>
                  <a:lnTo>
                    <a:pt x="319" y="83"/>
                  </a:lnTo>
                  <a:lnTo>
                    <a:pt x="319" y="83"/>
                  </a:lnTo>
                  <a:lnTo>
                    <a:pt x="321" y="81"/>
                  </a:lnTo>
                  <a:lnTo>
                    <a:pt x="321" y="81"/>
                  </a:lnTo>
                  <a:lnTo>
                    <a:pt x="323" y="79"/>
                  </a:lnTo>
                  <a:lnTo>
                    <a:pt x="323" y="76"/>
                  </a:lnTo>
                  <a:lnTo>
                    <a:pt x="323" y="76"/>
                  </a:lnTo>
                  <a:lnTo>
                    <a:pt x="321" y="74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19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19" y="72"/>
                  </a:lnTo>
                  <a:lnTo>
                    <a:pt x="319" y="72"/>
                  </a:lnTo>
                  <a:lnTo>
                    <a:pt x="319" y="70"/>
                  </a:lnTo>
                  <a:lnTo>
                    <a:pt x="319" y="70"/>
                  </a:lnTo>
                  <a:lnTo>
                    <a:pt x="316" y="67"/>
                  </a:lnTo>
                  <a:lnTo>
                    <a:pt x="316" y="67"/>
                  </a:lnTo>
                  <a:lnTo>
                    <a:pt x="314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0" y="65"/>
                  </a:lnTo>
                  <a:lnTo>
                    <a:pt x="312" y="63"/>
                  </a:lnTo>
                  <a:lnTo>
                    <a:pt x="312" y="63"/>
                  </a:lnTo>
                  <a:lnTo>
                    <a:pt x="312" y="63"/>
                  </a:lnTo>
                  <a:lnTo>
                    <a:pt x="312" y="63"/>
                  </a:lnTo>
                  <a:lnTo>
                    <a:pt x="310" y="63"/>
                  </a:lnTo>
                  <a:lnTo>
                    <a:pt x="310" y="61"/>
                  </a:lnTo>
                  <a:lnTo>
                    <a:pt x="305" y="61"/>
                  </a:lnTo>
                  <a:lnTo>
                    <a:pt x="303" y="61"/>
                  </a:lnTo>
                  <a:lnTo>
                    <a:pt x="303" y="61"/>
                  </a:lnTo>
                  <a:lnTo>
                    <a:pt x="303" y="61"/>
                  </a:lnTo>
                  <a:lnTo>
                    <a:pt x="303" y="61"/>
                  </a:lnTo>
                  <a:lnTo>
                    <a:pt x="307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0" y="58"/>
                  </a:lnTo>
                  <a:lnTo>
                    <a:pt x="305" y="61"/>
                  </a:lnTo>
                  <a:lnTo>
                    <a:pt x="305" y="61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10" y="58"/>
                  </a:lnTo>
                  <a:lnTo>
                    <a:pt x="310" y="58"/>
                  </a:lnTo>
                  <a:lnTo>
                    <a:pt x="312" y="61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2" y="58"/>
                  </a:lnTo>
                  <a:lnTo>
                    <a:pt x="314" y="58"/>
                  </a:lnTo>
                  <a:lnTo>
                    <a:pt x="314" y="58"/>
                  </a:lnTo>
                  <a:lnTo>
                    <a:pt x="316" y="58"/>
                  </a:lnTo>
                  <a:lnTo>
                    <a:pt x="316" y="56"/>
                  </a:lnTo>
                  <a:lnTo>
                    <a:pt x="316" y="56"/>
                  </a:lnTo>
                  <a:lnTo>
                    <a:pt x="319" y="56"/>
                  </a:lnTo>
                  <a:lnTo>
                    <a:pt x="319" y="56"/>
                  </a:lnTo>
                  <a:lnTo>
                    <a:pt x="319" y="56"/>
                  </a:lnTo>
                  <a:lnTo>
                    <a:pt x="319" y="56"/>
                  </a:lnTo>
                  <a:lnTo>
                    <a:pt x="319" y="56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1" y="54"/>
                  </a:lnTo>
                  <a:lnTo>
                    <a:pt x="321" y="54"/>
                  </a:lnTo>
                  <a:lnTo>
                    <a:pt x="321" y="54"/>
                  </a:lnTo>
                  <a:lnTo>
                    <a:pt x="321" y="54"/>
                  </a:lnTo>
                  <a:lnTo>
                    <a:pt x="321" y="54"/>
                  </a:lnTo>
                  <a:lnTo>
                    <a:pt x="323" y="54"/>
                  </a:lnTo>
                  <a:lnTo>
                    <a:pt x="323" y="54"/>
                  </a:lnTo>
                  <a:lnTo>
                    <a:pt x="323" y="54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2"/>
                  </a:lnTo>
                  <a:lnTo>
                    <a:pt x="325" y="52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30" y="49"/>
                  </a:lnTo>
                  <a:lnTo>
                    <a:pt x="330" y="49"/>
                  </a:lnTo>
                  <a:lnTo>
                    <a:pt x="334" y="49"/>
                  </a:lnTo>
                  <a:lnTo>
                    <a:pt x="337" y="49"/>
                  </a:lnTo>
                  <a:lnTo>
                    <a:pt x="341" y="49"/>
                  </a:lnTo>
                  <a:lnTo>
                    <a:pt x="346" y="49"/>
                  </a:lnTo>
                  <a:lnTo>
                    <a:pt x="350" y="49"/>
                  </a:lnTo>
                  <a:lnTo>
                    <a:pt x="357" y="49"/>
                  </a:lnTo>
                  <a:lnTo>
                    <a:pt x="359" y="49"/>
                  </a:lnTo>
                  <a:lnTo>
                    <a:pt x="361" y="49"/>
                  </a:lnTo>
                  <a:lnTo>
                    <a:pt x="364" y="47"/>
                  </a:lnTo>
                  <a:lnTo>
                    <a:pt x="366" y="47"/>
                  </a:lnTo>
                  <a:lnTo>
                    <a:pt x="366" y="47"/>
                  </a:lnTo>
                  <a:lnTo>
                    <a:pt x="368" y="47"/>
                  </a:lnTo>
                  <a:lnTo>
                    <a:pt x="370" y="47"/>
                  </a:lnTo>
                  <a:lnTo>
                    <a:pt x="375" y="45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91" y="38"/>
                  </a:lnTo>
                  <a:lnTo>
                    <a:pt x="391" y="38"/>
                  </a:lnTo>
                  <a:lnTo>
                    <a:pt x="391" y="38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1" y="40"/>
                  </a:lnTo>
                  <a:lnTo>
                    <a:pt x="391" y="38"/>
                  </a:lnTo>
                  <a:lnTo>
                    <a:pt x="391" y="38"/>
                  </a:lnTo>
                  <a:lnTo>
                    <a:pt x="391" y="38"/>
                  </a:lnTo>
                  <a:lnTo>
                    <a:pt x="391" y="38"/>
                  </a:lnTo>
                  <a:lnTo>
                    <a:pt x="391" y="38"/>
                  </a:lnTo>
                  <a:lnTo>
                    <a:pt x="393" y="38"/>
                  </a:lnTo>
                  <a:lnTo>
                    <a:pt x="393" y="38"/>
                  </a:lnTo>
                  <a:lnTo>
                    <a:pt x="393" y="38"/>
                  </a:lnTo>
                  <a:lnTo>
                    <a:pt x="393" y="38"/>
                  </a:lnTo>
                  <a:lnTo>
                    <a:pt x="393" y="38"/>
                  </a:lnTo>
                  <a:lnTo>
                    <a:pt x="393" y="38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5" y="36"/>
                  </a:lnTo>
                  <a:lnTo>
                    <a:pt x="397" y="36"/>
                  </a:lnTo>
                  <a:lnTo>
                    <a:pt x="397" y="36"/>
                  </a:lnTo>
                  <a:lnTo>
                    <a:pt x="397" y="36"/>
                  </a:lnTo>
                  <a:lnTo>
                    <a:pt x="397" y="34"/>
                  </a:lnTo>
                  <a:lnTo>
                    <a:pt x="397" y="34"/>
                  </a:lnTo>
                  <a:lnTo>
                    <a:pt x="400" y="34"/>
                  </a:lnTo>
                  <a:lnTo>
                    <a:pt x="400" y="34"/>
                  </a:lnTo>
                  <a:lnTo>
                    <a:pt x="400" y="34"/>
                  </a:lnTo>
                  <a:lnTo>
                    <a:pt x="400" y="34"/>
                  </a:lnTo>
                  <a:lnTo>
                    <a:pt x="400" y="34"/>
                  </a:lnTo>
                  <a:lnTo>
                    <a:pt x="402" y="34"/>
                  </a:lnTo>
                  <a:lnTo>
                    <a:pt x="402" y="34"/>
                  </a:lnTo>
                  <a:lnTo>
                    <a:pt x="402" y="34"/>
                  </a:lnTo>
                  <a:lnTo>
                    <a:pt x="402" y="34"/>
                  </a:lnTo>
                  <a:lnTo>
                    <a:pt x="402" y="34"/>
                  </a:lnTo>
                  <a:lnTo>
                    <a:pt x="402" y="31"/>
                  </a:lnTo>
                  <a:lnTo>
                    <a:pt x="402" y="31"/>
                  </a:lnTo>
                  <a:lnTo>
                    <a:pt x="402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9" y="29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27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20" y="27"/>
                  </a:lnTo>
                  <a:lnTo>
                    <a:pt x="420" y="27"/>
                  </a:lnTo>
                  <a:lnTo>
                    <a:pt x="420" y="27"/>
                  </a:lnTo>
                  <a:lnTo>
                    <a:pt x="422" y="25"/>
                  </a:lnTo>
                  <a:lnTo>
                    <a:pt x="422" y="25"/>
                  </a:lnTo>
                  <a:lnTo>
                    <a:pt x="422" y="25"/>
                  </a:lnTo>
                  <a:lnTo>
                    <a:pt x="422" y="25"/>
                  </a:lnTo>
                  <a:lnTo>
                    <a:pt x="424" y="25"/>
                  </a:lnTo>
                  <a:lnTo>
                    <a:pt x="424" y="25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31" y="22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3" y="20"/>
                  </a:lnTo>
                  <a:lnTo>
                    <a:pt x="436" y="20"/>
                  </a:lnTo>
                  <a:lnTo>
                    <a:pt x="436" y="20"/>
                  </a:lnTo>
                  <a:lnTo>
                    <a:pt x="436" y="20"/>
                  </a:lnTo>
                  <a:lnTo>
                    <a:pt x="436" y="20"/>
                  </a:lnTo>
                  <a:lnTo>
                    <a:pt x="436" y="20"/>
                  </a:lnTo>
                  <a:lnTo>
                    <a:pt x="436" y="20"/>
                  </a:lnTo>
                  <a:lnTo>
                    <a:pt x="436" y="20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8" y="22"/>
                  </a:lnTo>
                  <a:lnTo>
                    <a:pt x="438" y="22"/>
                  </a:lnTo>
                  <a:lnTo>
                    <a:pt x="436" y="22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1" y="25"/>
                  </a:lnTo>
                  <a:lnTo>
                    <a:pt x="431" y="25"/>
                  </a:lnTo>
                  <a:lnTo>
                    <a:pt x="431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5"/>
                  </a:lnTo>
                  <a:lnTo>
                    <a:pt x="429" y="25"/>
                  </a:lnTo>
                  <a:lnTo>
                    <a:pt x="427" y="25"/>
                  </a:lnTo>
                  <a:lnTo>
                    <a:pt x="427" y="25"/>
                  </a:lnTo>
                  <a:lnTo>
                    <a:pt x="431" y="25"/>
                  </a:lnTo>
                  <a:lnTo>
                    <a:pt x="431" y="25"/>
                  </a:lnTo>
                  <a:lnTo>
                    <a:pt x="433" y="22"/>
                  </a:lnTo>
                  <a:lnTo>
                    <a:pt x="433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3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6" y="22"/>
                  </a:lnTo>
                  <a:lnTo>
                    <a:pt x="438" y="22"/>
                  </a:lnTo>
                  <a:lnTo>
                    <a:pt x="438" y="22"/>
                  </a:lnTo>
                  <a:lnTo>
                    <a:pt x="438" y="22"/>
                  </a:lnTo>
                  <a:lnTo>
                    <a:pt x="438" y="22"/>
                  </a:lnTo>
                  <a:lnTo>
                    <a:pt x="442" y="22"/>
                  </a:lnTo>
                  <a:lnTo>
                    <a:pt x="445" y="22"/>
                  </a:lnTo>
                  <a:lnTo>
                    <a:pt x="447" y="20"/>
                  </a:lnTo>
                  <a:lnTo>
                    <a:pt x="449" y="20"/>
                  </a:lnTo>
                  <a:lnTo>
                    <a:pt x="449" y="20"/>
                  </a:lnTo>
                  <a:lnTo>
                    <a:pt x="449" y="20"/>
                  </a:lnTo>
                  <a:lnTo>
                    <a:pt x="449" y="20"/>
                  </a:lnTo>
                  <a:lnTo>
                    <a:pt x="449" y="20"/>
                  </a:lnTo>
                  <a:lnTo>
                    <a:pt x="449" y="22"/>
                  </a:lnTo>
                  <a:lnTo>
                    <a:pt x="449" y="22"/>
                  </a:lnTo>
                  <a:lnTo>
                    <a:pt x="449" y="20"/>
                  </a:lnTo>
                  <a:lnTo>
                    <a:pt x="449" y="20"/>
                  </a:lnTo>
                  <a:lnTo>
                    <a:pt x="449" y="20"/>
                  </a:lnTo>
                  <a:lnTo>
                    <a:pt x="451" y="20"/>
                  </a:lnTo>
                  <a:lnTo>
                    <a:pt x="458" y="18"/>
                  </a:lnTo>
                  <a:lnTo>
                    <a:pt x="458" y="18"/>
                  </a:lnTo>
                  <a:lnTo>
                    <a:pt x="458" y="18"/>
                  </a:lnTo>
                  <a:lnTo>
                    <a:pt x="456" y="18"/>
                  </a:lnTo>
                  <a:lnTo>
                    <a:pt x="454" y="20"/>
                  </a:lnTo>
                  <a:lnTo>
                    <a:pt x="456" y="20"/>
                  </a:lnTo>
                  <a:lnTo>
                    <a:pt x="458" y="18"/>
                  </a:lnTo>
                  <a:lnTo>
                    <a:pt x="463" y="18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69" y="16"/>
                  </a:lnTo>
                  <a:lnTo>
                    <a:pt x="472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8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67" y="18"/>
                  </a:lnTo>
                  <a:lnTo>
                    <a:pt x="467" y="18"/>
                  </a:lnTo>
                  <a:lnTo>
                    <a:pt x="465" y="18"/>
                  </a:lnTo>
                  <a:lnTo>
                    <a:pt x="465" y="18"/>
                  </a:lnTo>
                  <a:lnTo>
                    <a:pt x="467" y="18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67" y="18"/>
                  </a:lnTo>
                  <a:lnTo>
                    <a:pt x="467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3" y="20"/>
                  </a:lnTo>
                  <a:lnTo>
                    <a:pt x="463" y="20"/>
                  </a:lnTo>
                  <a:lnTo>
                    <a:pt x="463" y="20"/>
                  </a:lnTo>
                  <a:lnTo>
                    <a:pt x="465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0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5" y="22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9" y="20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69" y="18"/>
                  </a:lnTo>
                  <a:lnTo>
                    <a:pt x="472" y="18"/>
                  </a:lnTo>
                  <a:lnTo>
                    <a:pt x="472" y="18"/>
                  </a:lnTo>
                  <a:lnTo>
                    <a:pt x="472" y="18"/>
                  </a:lnTo>
                  <a:lnTo>
                    <a:pt x="472" y="18"/>
                  </a:lnTo>
                  <a:lnTo>
                    <a:pt x="472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6" y="18"/>
                  </a:lnTo>
                  <a:lnTo>
                    <a:pt x="476" y="18"/>
                  </a:lnTo>
                  <a:lnTo>
                    <a:pt x="478" y="18"/>
                  </a:lnTo>
                  <a:lnTo>
                    <a:pt x="478" y="18"/>
                  </a:lnTo>
                  <a:lnTo>
                    <a:pt x="478" y="18"/>
                  </a:lnTo>
                  <a:lnTo>
                    <a:pt x="478" y="18"/>
                  </a:lnTo>
                  <a:lnTo>
                    <a:pt x="478" y="18"/>
                  </a:lnTo>
                  <a:lnTo>
                    <a:pt x="478" y="18"/>
                  </a:lnTo>
                  <a:lnTo>
                    <a:pt x="480" y="18"/>
                  </a:lnTo>
                  <a:lnTo>
                    <a:pt x="480" y="18"/>
                  </a:lnTo>
                  <a:lnTo>
                    <a:pt x="480" y="16"/>
                  </a:lnTo>
                  <a:lnTo>
                    <a:pt x="478" y="18"/>
                  </a:lnTo>
                  <a:lnTo>
                    <a:pt x="478" y="16"/>
                  </a:lnTo>
                  <a:lnTo>
                    <a:pt x="476" y="16"/>
                  </a:lnTo>
                  <a:lnTo>
                    <a:pt x="476" y="16"/>
                  </a:lnTo>
                  <a:lnTo>
                    <a:pt x="476" y="18"/>
                  </a:lnTo>
                  <a:lnTo>
                    <a:pt x="476" y="18"/>
                  </a:lnTo>
                  <a:lnTo>
                    <a:pt x="476" y="18"/>
                  </a:lnTo>
                  <a:lnTo>
                    <a:pt x="476" y="18"/>
                  </a:lnTo>
                  <a:lnTo>
                    <a:pt x="476" y="18"/>
                  </a:lnTo>
                  <a:lnTo>
                    <a:pt x="476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4" y="18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4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2" y="16"/>
                  </a:lnTo>
                  <a:lnTo>
                    <a:pt x="476" y="13"/>
                  </a:lnTo>
                  <a:lnTo>
                    <a:pt x="476" y="13"/>
                  </a:lnTo>
                  <a:lnTo>
                    <a:pt x="478" y="13"/>
                  </a:lnTo>
                  <a:lnTo>
                    <a:pt x="478" y="13"/>
                  </a:lnTo>
                  <a:lnTo>
                    <a:pt x="478" y="13"/>
                  </a:lnTo>
                  <a:lnTo>
                    <a:pt x="478" y="13"/>
                  </a:lnTo>
                  <a:lnTo>
                    <a:pt x="483" y="11"/>
                  </a:lnTo>
                  <a:lnTo>
                    <a:pt x="483" y="11"/>
                  </a:lnTo>
                  <a:lnTo>
                    <a:pt x="483" y="11"/>
                  </a:lnTo>
                  <a:lnTo>
                    <a:pt x="483" y="11"/>
                  </a:lnTo>
                  <a:lnTo>
                    <a:pt x="485" y="11"/>
                  </a:lnTo>
                  <a:lnTo>
                    <a:pt x="485" y="11"/>
                  </a:lnTo>
                  <a:lnTo>
                    <a:pt x="487" y="11"/>
                  </a:lnTo>
                  <a:lnTo>
                    <a:pt x="487" y="11"/>
                  </a:lnTo>
                  <a:lnTo>
                    <a:pt x="489" y="11"/>
                  </a:lnTo>
                  <a:lnTo>
                    <a:pt x="489" y="11"/>
                  </a:lnTo>
                  <a:lnTo>
                    <a:pt x="494" y="9"/>
                  </a:lnTo>
                  <a:lnTo>
                    <a:pt x="492" y="11"/>
                  </a:lnTo>
                  <a:lnTo>
                    <a:pt x="489" y="11"/>
                  </a:lnTo>
                  <a:lnTo>
                    <a:pt x="489" y="11"/>
                  </a:lnTo>
                  <a:lnTo>
                    <a:pt x="492" y="11"/>
                  </a:lnTo>
                  <a:lnTo>
                    <a:pt x="492" y="11"/>
                  </a:lnTo>
                  <a:lnTo>
                    <a:pt x="492" y="11"/>
                  </a:lnTo>
                  <a:lnTo>
                    <a:pt x="492" y="11"/>
                  </a:lnTo>
                  <a:lnTo>
                    <a:pt x="489" y="11"/>
                  </a:lnTo>
                  <a:lnTo>
                    <a:pt x="487" y="11"/>
                  </a:lnTo>
                  <a:lnTo>
                    <a:pt x="485" y="11"/>
                  </a:lnTo>
                  <a:lnTo>
                    <a:pt x="485" y="11"/>
                  </a:lnTo>
                  <a:lnTo>
                    <a:pt x="487" y="11"/>
                  </a:lnTo>
                  <a:lnTo>
                    <a:pt x="487" y="11"/>
                  </a:lnTo>
                  <a:lnTo>
                    <a:pt x="487" y="13"/>
                  </a:lnTo>
                  <a:lnTo>
                    <a:pt x="487" y="11"/>
                  </a:lnTo>
                  <a:lnTo>
                    <a:pt x="487" y="11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3"/>
                  </a:lnTo>
                  <a:lnTo>
                    <a:pt x="487" y="11"/>
                  </a:lnTo>
                  <a:lnTo>
                    <a:pt x="489" y="11"/>
                  </a:lnTo>
                  <a:lnTo>
                    <a:pt x="489" y="11"/>
                  </a:lnTo>
                  <a:lnTo>
                    <a:pt x="492" y="11"/>
                  </a:lnTo>
                  <a:lnTo>
                    <a:pt x="494" y="11"/>
                  </a:lnTo>
                  <a:lnTo>
                    <a:pt x="492" y="11"/>
                  </a:lnTo>
                  <a:lnTo>
                    <a:pt x="492" y="11"/>
                  </a:lnTo>
                  <a:lnTo>
                    <a:pt x="492" y="11"/>
                  </a:lnTo>
                  <a:lnTo>
                    <a:pt x="496" y="11"/>
                  </a:lnTo>
                  <a:lnTo>
                    <a:pt x="503" y="11"/>
                  </a:lnTo>
                  <a:lnTo>
                    <a:pt x="503" y="11"/>
                  </a:lnTo>
                  <a:lnTo>
                    <a:pt x="501" y="11"/>
                  </a:lnTo>
                  <a:lnTo>
                    <a:pt x="501" y="11"/>
                  </a:lnTo>
                  <a:lnTo>
                    <a:pt x="503" y="11"/>
                  </a:lnTo>
                  <a:lnTo>
                    <a:pt x="503" y="11"/>
                  </a:lnTo>
                  <a:lnTo>
                    <a:pt x="507" y="11"/>
                  </a:lnTo>
                  <a:lnTo>
                    <a:pt x="512" y="11"/>
                  </a:lnTo>
                  <a:lnTo>
                    <a:pt x="516" y="9"/>
                  </a:lnTo>
                  <a:lnTo>
                    <a:pt x="516" y="9"/>
                  </a:lnTo>
                  <a:lnTo>
                    <a:pt x="519" y="9"/>
                  </a:lnTo>
                  <a:lnTo>
                    <a:pt x="519" y="9"/>
                  </a:lnTo>
                  <a:lnTo>
                    <a:pt x="519" y="9"/>
                  </a:lnTo>
                  <a:lnTo>
                    <a:pt x="528" y="7"/>
                  </a:lnTo>
                  <a:lnTo>
                    <a:pt x="532" y="4"/>
                  </a:lnTo>
                  <a:lnTo>
                    <a:pt x="534" y="4"/>
                  </a:lnTo>
                  <a:lnTo>
                    <a:pt x="541" y="2"/>
                  </a:lnTo>
                  <a:lnTo>
                    <a:pt x="543" y="0"/>
                  </a:lnTo>
                  <a:lnTo>
                    <a:pt x="546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50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546" y="0"/>
                  </a:lnTo>
                  <a:lnTo>
                    <a:pt x="546" y="0"/>
                  </a:lnTo>
                  <a:lnTo>
                    <a:pt x="546" y="0"/>
                  </a:lnTo>
                  <a:lnTo>
                    <a:pt x="546" y="0"/>
                  </a:lnTo>
                  <a:lnTo>
                    <a:pt x="546" y="2"/>
                  </a:lnTo>
                  <a:lnTo>
                    <a:pt x="546" y="2"/>
                  </a:lnTo>
                  <a:lnTo>
                    <a:pt x="543" y="2"/>
                  </a:lnTo>
                  <a:lnTo>
                    <a:pt x="546" y="2"/>
                  </a:lnTo>
                  <a:lnTo>
                    <a:pt x="546" y="2"/>
                  </a:lnTo>
                  <a:lnTo>
                    <a:pt x="546" y="2"/>
                  </a:lnTo>
                  <a:lnTo>
                    <a:pt x="546" y="2"/>
                  </a:lnTo>
                  <a:lnTo>
                    <a:pt x="548" y="2"/>
                  </a:lnTo>
                  <a:lnTo>
                    <a:pt x="550" y="2"/>
                  </a:lnTo>
                  <a:lnTo>
                    <a:pt x="550" y="2"/>
                  </a:lnTo>
                  <a:lnTo>
                    <a:pt x="548" y="2"/>
                  </a:lnTo>
                  <a:lnTo>
                    <a:pt x="548" y="2"/>
                  </a:lnTo>
                  <a:lnTo>
                    <a:pt x="550" y="2"/>
                  </a:lnTo>
                  <a:lnTo>
                    <a:pt x="550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48" y="4"/>
                  </a:lnTo>
                  <a:lnTo>
                    <a:pt x="550" y="4"/>
                  </a:lnTo>
                  <a:lnTo>
                    <a:pt x="550" y="4"/>
                  </a:lnTo>
                  <a:lnTo>
                    <a:pt x="550" y="4"/>
                  </a:lnTo>
                  <a:lnTo>
                    <a:pt x="550" y="2"/>
                  </a:lnTo>
                  <a:lnTo>
                    <a:pt x="550" y="4"/>
                  </a:lnTo>
                  <a:lnTo>
                    <a:pt x="550" y="4"/>
                  </a:lnTo>
                  <a:lnTo>
                    <a:pt x="550" y="4"/>
                  </a:lnTo>
                  <a:lnTo>
                    <a:pt x="550" y="4"/>
                  </a:lnTo>
                  <a:lnTo>
                    <a:pt x="552" y="4"/>
                  </a:lnTo>
                  <a:lnTo>
                    <a:pt x="552" y="4"/>
                  </a:lnTo>
                  <a:lnTo>
                    <a:pt x="555" y="4"/>
                  </a:lnTo>
                  <a:lnTo>
                    <a:pt x="555" y="4"/>
                  </a:lnTo>
                  <a:lnTo>
                    <a:pt x="555" y="4"/>
                  </a:lnTo>
                  <a:lnTo>
                    <a:pt x="555" y="4"/>
                  </a:lnTo>
                  <a:lnTo>
                    <a:pt x="552" y="7"/>
                  </a:lnTo>
                  <a:lnTo>
                    <a:pt x="552" y="7"/>
                  </a:lnTo>
                  <a:lnTo>
                    <a:pt x="552" y="7"/>
                  </a:lnTo>
                  <a:lnTo>
                    <a:pt x="550" y="7"/>
                  </a:lnTo>
                  <a:lnTo>
                    <a:pt x="550" y="7"/>
                  </a:lnTo>
                  <a:lnTo>
                    <a:pt x="550" y="7"/>
                  </a:lnTo>
                  <a:lnTo>
                    <a:pt x="550" y="7"/>
                  </a:lnTo>
                  <a:lnTo>
                    <a:pt x="550" y="7"/>
                  </a:lnTo>
                  <a:lnTo>
                    <a:pt x="548" y="7"/>
                  </a:lnTo>
                  <a:lnTo>
                    <a:pt x="548" y="7"/>
                  </a:lnTo>
                  <a:lnTo>
                    <a:pt x="548" y="7"/>
                  </a:lnTo>
                  <a:lnTo>
                    <a:pt x="548" y="7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6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39" y="9"/>
                  </a:lnTo>
                  <a:lnTo>
                    <a:pt x="539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9"/>
                  </a:lnTo>
                  <a:lnTo>
                    <a:pt x="541" y="11"/>
                  </a:lnTo>
                  <a:lnTo>
                    <a:pt x="541" y="11"/>
                  </a:lnTo>
                  <a:lnTo>
                    <a:pt x="541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7" y="11"/>
                  </a:lnTo>
                  <a:lnTo>
                    <a:pt x="537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39" y="11"/>
                  </a:lnTo>
                  <a:lnTo>
                    <a:pt x="541" y="11"/>
                  </a:lnTo>
                  <a:lnTo>
                    <a:pt x="541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3" y="11"/>
                  </a:lnTo>
                  <a:lnTo>
                    <a:pt x="546" y="11"/>
                  </a:lnTo>
                  <a:lnTo>
                    <a:pt x="546" y="11"/>
                  </a:lnTo>
                  <a:lnTo>
                    <a:pt x="546" y="11"/>
                  </a:lnTo>
                  <a:lnTo>
                    <a:pt x="546" y="11"/>
                  </a:lnTo>
                  <a:lnTo>
                    <a:pt x="546" y="11"/>
                  </a:lnTo>
                  <a:lnTo>
                    <a:pt x="546" y="11"/>
                  </a:lnTo>
                  <a:lnTo>
                    <a:pt x="546" y="11"/>
                  </a:lnTo>
                  <a:lnTo>
                    <a:pt x="548" y="9"/>
                  </a:lnTo>
                  <a:lnTo>
                    <a:pt x="548" y="9"/>
                  </a:lnTo>
                  <a:lnTo>
                    <a:pt x="548" y="9"/>
                  </a:lnTo>
                  <a:lnTo>
                    <a:pt x="548" y="9"/>
                  </a:lnTo>
                  <a:lnTo>
                    <a:pt x="550" y="9"/>
                  </a:lnTo>
                  <a:lnTo>
                    <a:pt x="550" y="9"/>
                  </a:lnTo>
                  <a:lnTo>
                    <a:pt x="550" y="9"/>
                  </a:lnTo>
                  <a:lnTo>
                    <a:pt x="552" y="7"/>
                  </a:lnTo>
                  <a:lnTo>
                    <a:pt x="552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5" y="7"/>
                  </a:lnTo>
                  <a:lnTo>
                    <a:pt x="557" y="7"/>
                  </a:lnTo>
                  <a:lnTo>
                    <a:pt x="557" y="7"/>
                  </a:lnTo>
                  <a:lnTo>
                    <a:pt x="557" y="7"/>
                  </a:lnTo>
                  <a:lnTo>
                    <a:pt x="557" y="7"/>
                  </a:lnTo>
                  <a:lnTo>
                    <a:pt x="557" y="7"/>
                  </a:lnTo>
                  <a:lnTo>
                    <a:pt x="557" y="7"/>
                  </a:lnTo>
                  <a:lnTo>
                    <a:pt x="557" y="7"/>
                  </a:lnTo>
                  <a:lnTo>
                    <a:pt x="559" y="4"/>
                  </a:lnTo>
                  <a:lnTo>
                    <a:pt x="559" y="4"/>
                  </a:lnTo>
                  <a:lnTo>
                    <a:pt x="559" y="4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7"/>
                  </a:lnTo>
                  <a:lnTo>
                    <a:pt x="561" y="7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57" y="7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59" y="7"/>
                  </a:lnTo>
                  <a:lnTo>
                    <a:pt x="561" y="7"/>
                  </a:lnTo>
                  <a:lnTo>
                    <a:pt x="561" y="7"/>
                  </a:lnTo>
                  <a:lnTo>
                    <a:pt x="561" y="7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1" y="4"/>
                  </a:lnTo>
                  <a:lnTo>
                    <a:pt x="564" y="4"/>
                  </a:lnTo>
                  <a:lnTo>
                    <a:pt x="564" y="4"/>
                  </a:lnTo>
                  <a:lnTo>
                    <a:pt x="564" y="4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6" y="7"/>
                  </a:lnTo>
                  <a:lnTo>
                    <a:pt x="566" y="7"/>
                  </a:lnTo>
                  <a:lnTo>
                    <a:pt x="566" y="7"/>
                  </a:lnTo>
                  <a:lnTo>
                    <a:pt x="564" y="7"/>
                  </a:lnTo>
                  <a:lnTo>
                    <a:pt x="564" y="7"/>
                  </a:lnTo>
                  <a:lnTo>
                    <a:pt x="564" y="9"/>
                  </a:lnTo>
                  <a:lnTo>
                    <a:pt x="564" y="9"/>
                  </a:lnTo>
                  <a:lnTo>
                    <a:pt x="564" y="9"/>
                  </a:lnTo>
                  <a:lnTo>
                    <a:pt x="564" y="9"/>
                  </a:lnTo>
                  <a:lnTo>
                    <a:pt x="561" y="9"/>
                  </a:lnTo>
                  <a:lnTo>
                    <a:pt x="561" y="9"/>
                  </a:lnTo>
                  <a:lnTo>
                    <a:pt x="561" y="9"/>
                  </a:lnTo>
                  <a:lnTo>
                    <a:pt x="561" y="9"/>
                  </a:lnTo>
                  <a:lnTo>
                    <a:pt x="561" y="9"/>
                  </a:lnTo>
                  <a:lnTo>
                    <a:pt x="561" y="9"/>
                  </a:lnTo>
                  <a:lnTo>
                    <a:pt x="559" y="9"/>
                  </a:lnTo>
                  <a:lnTo>
                    <a:pt x="559" y="9"/>
                  </a:lnTo>
                  <a:lnTo>
                    <a:pt x="559" y="9"/>
                  </a:lnTo>
                  <a:lnTo>
                    <a:pt x="559" y="9"/>
                  </a:lnTo>
                  <a:lnTo>
                    <a:pt x="559" y="11"/>
                  </a:lnTo>
                  <a:lnTo>
                    <a:pt x="559" y="11"/>
                  </a:lnTo>
                  <a:lnTo>
                    <a:pt x="559" y="11"/>
                  </a:lnTo>
                  <a:lnTo>
                    <a:pt x="559" y="11"/>
                  </a:lnTo>
                  <a:lnTo>
                    <a:pt x="559" y="11"/>
                  </a:lnTo>
                  <a:lnTo>
                    <a:pt x="559" y="11"/>
                  </a:lnTo>
                  <a:lnTo>
                    <a:pt x="561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4" y="11"/>
                  </a:lnTo>
                  <a:lnTo>
                    <a:pt x="566" y="11"/>
                  </a:lnTo>
                  <a:lnTo>
                    <a:pt x="566" y="11"/>
                  </a:lnTo>
                  <a:lnTo>
                    <a:pt x="568" y="11"/>
                  </a:lnTo>
                  <a:lnTo>
                    <a:pt x="570" y="11"/>
                  </a:lnTo>
                  <a:lnTo>
                    <a:pt x="570" y="9"/>
                  </a:lnTo>
                  <a:lnTo>
                    <a:pt x="573" y="9"/>
                  </a:lnTo>
                  <a:lnTo>
                    <a:pt x="573" y="9"/>
                  </a:lnTo>
                  <a:lnTo>
                    <a:pt x="577" y="9"/>
                  </a:lnTo>
                  <a:lnTo>
                    <a:pt x="579" y="9"/>
                  </a:lnTo>
                  <a:lnTo>
                    <a:pt x="579" y="9"/>
                  </a:lnTo>
                  <a:lnTo>
                    <a:pt x="579" y="9"/>
                  </a:lnTo>
                  <a:lnTo>
                    <a:pt x="582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6" y="11"/>
                  </a:lnTo>
                  <a:lnTo>
                    <a:pt x="586" y="11"/>
                  </a:lnTo>
                  <a:lnTo>
                    <a:pt x="586" y="11"/>
                  </a:lnTo>
                  <a:lnTo>
                    <a:pt x="586" y="11"/>
                  </a:lnTo>
                  <a:lnTo>
                    <a:pt x="586" y="11"/>
                  </a:lnTo>
                  <a:lnTo>
                    <a:pt x="586" y="11"/>
                  </a:lnTo>
                  <a:lnTo>
                    <a:pt x="588" y="9"/>
                  </a:lnTo>
                  <a:lnTo>
                    <a:pt x="588" y="9"/>
                  </a:lnTo>
                  <a:lnTo>
                    <a:pt x="588" y="9"/>
                  </a:lnTo>
                  <a:lnTo>
                    <a:pt x="588" y="9"/>
                  </a:lnTo>
                  <a:lnTo>
                    <a:pt x="588" y="9"/>
                  </a:lnTo>
                  <a:lnTo>
                    <a:pt x="588" y="11"/>
                  </a:lnTo>
                  <a:lnTo>
                    <a:pt x="588" y="11"/>
                  </a:lnTo>
                  <a:lnTo>
                    <a:pt x="588" y="11"/>
                  </a:lnTo>
                  <a:lnTo>
                    <a:pt x="588" y="11"/>
                  </a:lnTo>
                  <a:lnTo>
                    <a:pt x="588" y="11"/>
                  </a:lnTo>
                  <a:lnTo>
                    <a:pt x="588" y="11"/>
                  </a:lnTo>
                  <a:lnTo>
                    <a:pt x="591" y="11"/>
                  </a:lnTo>
                  <a:lnTo>
                    <a:pt x="591" y="9"/>
                  </a:lnTo>
                  <a:lnTo>
                    <a:pt x="588" y="9"/>
                  </a:lnTo>
                  <a:lnTo>
                    <a:pt x="588" y="9"/>
                  </a:lnTo>
                  <a:lnTo>
                    <a:pt x="591" y="9"/>
                  </a:lnTo>
                  <a:lnTo>
                    <a:pt x="593" y="9"/>
                  </a:lnTo>
                  <a:lnTo>
                    <a:pt x="595" y="11"/>
                  </a:lnTo>
                  <a:lnTo>
                    <a:pt x="595" y="11"/>
                  </a:lnTo>
                  <a:lnTo>
                    <a:pt x="595" y="11"/>
                  </a:lnTo>
                  <a:lnTo>
                    <a:pt x="593" y="11"/>
                  </a:lnTo>
                  <a:lnTo>
                    <a:pt x="591" y="13"/>
                  </a:lnTo>
                  <a:lnTo>
                    <a:pt x="591" y="13"/>
                  </a:lnTo>
                  <a:lnTo>
                    <a:pt x="591" y="13"/>
                  </a:lnTo>
                  <a:lnTo>
                    <a:pt x="591" y="13"/>
                  </a:lnTo>
                  <a:lnTo>
                    <a:pt x="588" y="13"/>
                  </a:lnTo>
                  <a:lnTo>
                    <a:pt x="588" y="13"/>
                  </a:lnTo>
                  <a:lnTo>
                    <a:pt x="588" y="13"/>
                  </a:lnTo>
                  <a:lnTo>
                    <a:pt x="588" y="13"/>
                  </a:lnTo>
                  <a:lnTo>
                    <a:pt x="588" y="13"/>
                  </a:lnTo>
                  <a:lnTo>
                    <a:pt x="586" y="13"/>
                  </a:lnTo>
                  <a:lnTo>
                    <a:pt x="586" y="13"/>
                  </a:lnTo>
                  <a:lnTo>
                    <a:pt x="586" y="16"/>
                  </a:lnTo>
                  <a:lnTo>
                    <a:pt x="586" y="16"/>
                  </a:lnTo>
                  <a:lnTo>
                    <a:pt x="588" y="16"/>
                  </a:lnTo>
                  <a:lnTo>
                    <a:pt x="591" y="16"/>
                  </a:lnTo>
                  <a:lnTo>
                    <a:pt x="591" y="16"/>
                  </a:lnTo>
                  <a:lnTo>
                    <a:pt x="591" y="16"/>
                  </a:lnTo>
                  <a:lnTo>
                    <a:pt x="591" y="16"/>
                  </a:lnTo>
                  <a:lnTo>
                    <a:pt x="588" y="16"/>
                  </a:lnTo>
                  <a:lnTo>
                    <a:pt x="586" y="16"/>
                  </a:lnTo>
                  <a:lnTo>
                    <a:pt x="584" y="16"/>
                  </a:lnTo>
                  <a:lnTo>
                    <a:pt x="584" y="16"/>
                  </a:lnTo>
                  <a:lnTo>
                    <a:pt x="584" y="16"/>
                  </a:lnTo>
                  <a:lnTo>
                    <a:pt x="584" y="16"/>
                  </a:lnTo>
                  <a:lnTo>
                    <a:pt x="582" y="16"/>
                  </a:lnTo>
                  <a:lnTo>
                    <a:pt x="582" y="16"/>
                  </a:lnTo>
                  <a:lnTo>
                    <a:pt x="582" y="16"/>
                  </a:lnTo>
                  <a:lnTo>
                    <a:pt x="582" y="16"/>
                  </a:lnTo>
                  <a:lnTo>
                    <a:pt x="582" y="16"/>
                  </a:lnTo>
                  <a:lnTo>
                    <a:pt x="582" y="16"/>
                  </a:lnTo>
                  <a:lnTo>
                    <a:pt x="582" y="16"/>
                  </a:lnTo>
                  <a:lnTo>
                    <a:pt x="584" y="16"/>
                  </a:lnTo>
                  <a:lnTo>
                    <a:pt x="584" y="16"/>
                  </a:lnTo>
                  <a:lnTo>
                    <a:pt x="593" y="16"/>
                  </a:lnTo>
                  <a:lnTo>
                    <a:pt x="593" y="16"/>
                  </a:lnTo>
                  <a:lnTo>
                    <a:pt x="595" y="16"/>
                  </a:lnTo>
                  <a:lnTo>
                    <a:pt x="595" y="16"/>
                  </a:lnTo>
                  <a:lnTo>
                    <a:pt x="595" y="16"/>
                  </a:lnTo>
                  <a:lnTo>
                    <a:pt x="595" y="16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591" y="18"/>
                  </a:lnTo>
                  <a:lnTo>
                    <a:pt x="591" y="18"/>
                  </a:lnTo>
                  <a:lnTo>
                    <a:pt x="588" y="18"/>
                  </a:lnTo>
                  <a:lnTo>
                    <a:pt x="591" y="18"/>
                  </a:lnTo>
                  <a:lnTo>
                    <a:pt x="595" y="18"/>
                  </a:lnTo>
                  <a:lnTo>
                    <a:pt x="597" y="18"/>
                  </a:lnTo>
                  <a:lnTo>
                    <a:pt x="597" y="18"/>
                  </a:lnTo>
                  <a:lnTo>
                    <a:pt x="597" y="20"/>
                  </a:lnTo>
                  <a:lnTo>
                    <a:pt x="597" y="20"/>
                  </a:lnTo>
                  <a:lnTo>
                    <a:pt x="597" y="20"/>
                  </a:lnTo>
                  <a:lnTo>
                    <a:pt x="597" y="20"/>
                  </a:lnTo>
                  <a:lnTo>
                    <a:pt x="597" y="20"/>
                  </a:lnTo>
                  <a:lnTo>
                    <a:pt x="597" y="20"/>
                  </a:lnTo>
                  <a:lnTo>
                    <a:pt x="600" y="20"/>
                  </a:lnTo>
                  <a:lnTo>
                    <a:pt x="600" y="20"/>
                  </a:lnTo>
                  <a:lnTo>
                    <a:pt x="600" y="18"/>
                  </a:lnTo>
                  <a:lnTo>
                    <a:pt x="600" y="18"/>
                  </a:lnTo>
                  <a:lnTo>
                    <a:pt x="600" y="18"/>
                  </a:lnTo>
                  <a:lnTo>
                    <a:pt x="604" y="18"/>
                  </a:lnTo>
                  <a:lnTo>
                    <a:pt x="604" y="18"/>
                  </a:lnTo>
                  <a:lnTo>
                    <a:pt x="604" y="18"/>
                  </a:lnTo>
                  <a:lnTo>
                    <a:pt x="604" y="18"/>
                  </a:lnTo>
                  <a:lnTo>
                    <a:pt x="606" y="18"/>
                  </a:lnTo>
                  <a:lnTo>
                    <a:pt x="606" y="18"/>
                  </a:lnTo>
                  <a:lnTo>
                    <a:pt x="606" y="18"/>
                  </a:lnTo>
                  <a:lnTo>
                    <a:pt x="606" y="18"/>
                  </a:lnTo>
                  <a:lnTo>
                    <a:pt x="606" y="18"/>
                  </a:lnTo>
                  <a:lnTo>
                    <a:pt x="606" y="18"/>
                  </a:lnTo>
                  <a:lnTo>
                    <a:pt x="609" y="18"/>
                  </a:lnTo>
                  <a:lnTo>
                    <a:pt x="606" y="18"/>
                  </a:lnTo>
                  <a:lnTo>
                    <a:pt x="606" y="18"/>
                  </a:lnTo>
                  <a:lnTo>
                    <a:pt x="609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1" y="18"/>
                  </a:lnTo>
                  <a:lnTo>
                    <a:pt x="613" y="18"/>
                  </a:lnTo>
                  <a:lnTo>
                    <a:pt x="613" y="18"/>
                  </a:lnTo>
                  <a:lnTo>
                    <a:pt x="613" y="18"/>
                  </a:lnTo>
                  <a:lnTo>
                    <a:pt x="613" y="18"/>
                  </a:lnTo>
                  <a:lnTo>
                    <a:pt x="611" y="18"/>
                  </a:lnTo>
                  <a:lnTo>
                    <a:pt x="611" y="20"/>
                  </a:lnTo>
                  <a:lnTo>
                    <a:pt x="611" y="20"/>
                  </a:lnTo>
                  <a:lnTo>
                    <a:pt x="613" y="18"/>
                  </a:lnTo>
                  <a:lnTo>
                    <a:pt x="615" y="18"/>
                  </a:lnTo>
                  <a:lnTo>
                    <a:pt x="622" y="18"/>
                  </a:lnTo>
                  <a:lnTo>
                    <a:pt x="622" y="18"/>
                  </a:lnTo>
                  <a:lnTo>
                    <a:pt x="622" y="18"/>
                  </a:lnTo>
                  <a:lnTo>
                    <a:pt x="622" y="18"/>
                  </a:lnTo>
                  <a:lnTo>
                    <a:pt x="624" y="18"/>
                  </a:lnTo>
                  <a:lnTo>
                    <a:pt x="627" y="18"/>
                  </a:lnTo>
                  <a:lnTo>
                    <a:pt x="627" y="18"/>
                  </a:lnTo>
                  <a:lnTo>
                    <a:pt x="629" y="18"/>
                  </a:lnTo>
                  <a:lnTo>
                    <a:pt x="629" y="18"/>
                  </a:lnTo>
                  <a:lnTo>
                    <a:pt x="627" y="18"/>
                  </a:lnTo>
                  <a:lnTo>
                    <a:pt x="627" y="18"/>
                  </a:lnTo>
                  <a:lnTo>
                    <a:pt x="627" y="18"/>
                  </a:lnTo>
                  <a:lnTo>
                    <a:pt x="627" y="18"/>
                  </a:lnTo>
                  <a:lnTo>
                    <a:pt x="629" y="18"/>
                  </a:lnTo>
                  <a:lnTo>
                    <a:pt x="629" y="18"/>
                  </a:lnTo>
                  <a:lnTo>
                    <a:pt x="629" y="18"/>
                  </a:lnTo>
                  <a:lnTo>
                    <a:pt x="629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3" y="18"/>
                  </a:lnTo>
                  <a:lnTo>
                    <a:pt x="636" y="20"/>
                  </a:lnTo>
                  <a:lnTo>
                    <a:pt x="636" y="20"/>
                  </a:lnTo>
                  <a:lnTo>
                    <a:pt x="636" y="18"/>
                  </a:lnTo>
                  <a:lnTo>
                    <a:pt x="638" y="18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38" y="20"/>
                  </a:lnTo>
                  <a:lnTo>
                    <a:pt x="640" y="20"/>
                  </a:lnTo>
                  <a:lnTo>
                    <a:pt x="642" y="20"/>
                  </a:lnTo>
                  <a:lnTo>
                    <a:pt x="642" y="20"/>
                  </a:lnTo>
                  <a:lnTo>
                    <a:pt x="642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2"/>
                  </a:lnTo>
                  <a:lnTo>
                    <a:pt x="644" y="22"/>
                  </a:lnTo>
                  <a:lnTo>
                    <a:pt x="647" y="20"/>
                  </a:lnTo>
                  <a:lnTo>
                    <a:pt x="647" y="20"/>
                  </a:lnTo>
                  <a:lnTo>
                    <a:pt x="647" y="20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7" y="22"/>
                  </a:lnTo>
                  <a:lnTo>
                    <a:pt x="644" y="22"/>
                  </a:lnTo>
                  <a:lnTo>
                    <a:pt x="644" y="22"/>
                  </a:lnTo>
                  <a:lnTo>
                    <a:pt x="644" y="22"/>
                  </a:lnTo>
                  <a:lnTo>
                    <a:pt x="647" y="22"/>
                  </a:lnTo>
                  <a:lnTo>
                    <a:pt x="651" y="22"/>
                  </a:lnTo>
                  <a:lnTo>
                    <a:pt x="651" y="25"/>
                  </a:lnTo>
                  <a:lnTo>
                    <a:pt x="653" y="25"/>
                  </a:lnTo>
                  <a:lnTo>
                    <a:pt x="653" y="25"/>
                  </a:lnTo>
                  <a:lnTo>
                    <a:pt x="653" y="25"/>
                  </a:lnTo>
                  <a:lnTo>
                    <a:pt x="653" y="25"/>
                  </a:lnTo>
                  <a:lnTo>
                    <a:pt x="653" y="25"/>
                  </a:lnTo>
                  <a:lnTo>
                    <a:pt x="653" y="25"/>
                  </a:lnTo>
                  <a:lnTo>
                    <a:pt x="653" y="25"/>
                  </a:lnTo>
                  <a:lnTo>
                    <a:pt x="658" y="25"/>
                  </a:lnTo>
                  <a:lnTo>
                    <a:pt x="658" y="22"/>
                  </a:lnTo>
                  <a:lnTo>
                    <a:pt x="658" y="22"/>
                  </a:lnTo>
                  <a:lnTo>
                    <a:pt x="660" y="22"/>
                  </a:lnTo>
                  <a:lnTo>
                    <a:pt x="665" y="25"/>
                  </a:lnTo>
                  <a:lnTo>
                    <a:pt x="667" y="25"/>
                  </a:lnTo>
                  <a:lnTo>
                    <a:pt x="669" y="25"/>
                  </a:lnTo>
                  <a:lnTo>
                    <a:pt x="671" y="25"/>
                  </a:lnTo>
                  <a:lnTo>
                    <a:pt x="671" y="25"/>
                  </a:lnTo>
                  <a:lnTo>
                    <a:pt x="671" y="25"/>
                  </a:lnTo>
                  <a:lnTo>
                    <a:pt x="671" y="25"/>
                  </a:lnTo>
                  <a:lnTo>
                    <a:pt x="671" y="25"/>
                  </a:lnTo>
                  <a:lnTo>
                    <a:pt x="671" y="25"/>
                  </a:lnTo>
                  <a:lnTo>
                    <a:pt x="674" y="25"/>
                  </a:lnTo>
                  <a:lnTo>
                    <a:pt x="674" y="25"/>
                  </a:lnTo>
                  <a:lnTo>
                    <a:pt x="674" y="25"/>
                  </a:lnTo>
                  <a:lnTo>
                    <a:pt x="674" y="25"/>
                  </a:lnTo>
                  <a:lnTo>
                    <a:pt x="674" y="25"/>
                  </a:lnTo>
                  <a:lnTo>
                    <a:pt x="674" y="25"/>
                  </a:lnTo>
                  <a:lnTo>
                    <a:pt x="674" y="25"/>
                  </a:lnTo>
                  <a:lnTo>
                    <a:pt x="674" y="27"/>
                  </a:lnTo>
                  <a:lnTo>
                    <a:pt x="674" y="27"/>
                  </a:lnTo>
                  <a:lnTo>
                    <a:pt x="674" y="27"/>
                  </a:lnTo>
                  <a:lnTo>
                    <a:pt x="676" y="25"/>
                  </a:lnTo>
                  <a:lnTo>
                    <a:pt x="676" y="25"/>
                  </a:lnTo>
                  <a:lnTo>
                    <a:pt x="676" y="25"/>
                  </a:lnTo>
                  <a:lnTo>
                    <a:pt x="676" y="25"/>
                  </a:lnTo>
                  <a:lnTo>
                    <a:pt x="676" y="25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8" y="27"/>
                  </a:lnTo>
                  <a:lnTo>
                    <a:pt x="678" y="27"/>
                  </a:lnTo>
                  <a:lnTo>
                    <a:pt x="678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8" y="27"/>
                  </a:lnTo>
                  <a:lnTo>
                    <a:pt x="680" y="27"/>
                  </a:lnTo>
                  <a:lnTo>
                    <a:pt x="683" y="27"/>
                  </a:lnTo>
                  <a:lnTo>
                    <a:pt x="683" y="27"/>
                  </a:lnTo>
                  <a:lnTo>
                    <a:pt x="683" y="27"/>
                  </a:lnTo>
                  <a:lnTo>
                    <a:pt x="685" y="27"/>
                  </a:lnTo>
                  <a:lnTo>
                    <a:pt x="687" y="27"/>
                  </a:lnTo>
                  <a:lnTo>
                    <a:pt x="687" y="27"/>
                  </a:lnTo>
                  <a:lnTo>
                    <a:pt x="689" y="27"/>
                  </a:lnTo>
                  <a:lnTo>
                    <a:pt x="692" y="27"/>
                  </a:lnTo>
                  <a:lnTo>
                    <a:pt x="694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4" y="27"/>
                  </a:lnTo>
                  <a:lnTo>
                    <a:pt x="696" y="27"/>
                  </a:lnTo>
                  <a:lnTo>
                    <a:pt x="696" y="27"/>
                  </a:lnTo>
                  <a:lnTo>
                    <a:pt x="698" y="27"/>
                  </a:lnTo>
                  <a:lnTo>
                    <a:pt x="698" y="27"/>
                  </a:lnTo>
                  <a:lnTo>
                    <a:pt x="698" y="27"/>
                  </a:lnTo>
                  <a:lnTo>
                    <a:pt x="698" y="25"/>
                  </a:lnTo>
                  <a:lnTo>
                    <a:pt x="698" y="25"/>
                  </a:lnTo>
                  <a:lnTo>
                    <a:pt x="698" y="25"/>
                  </a:lnTo>
                  <a:lnTo>
                    <a:pt x="698" y="25"/>
                  </a:lnTo>
                  <a:lnTo>
                    <a:pt x="698" y="25"/>
                  </a:lnTo>
                  <a:lnTo>
                    <a:pt x="698" y="25"/>
                  </a:lnTo>
                  <a:lnTo>
                    <a:pt x="698" y="25"/>
                  </a:lnTo>
                  <a:lnTo>
                    <a:pt x="698" y="27"/>
                  </a:lnTo>
                  <a:lnTo>
                    <a:pt x="698" y="27"/>
                  </a:lnTo>
                  <a:lnTo>
                    <a:pt x="701" y="25"/>
                  </a:lnTo>
                  <a:lnTo>
                    <a:pt x="701" y="25"/>
                  </a:lnTo>
                  <a:lnTo>
                    <a:pt x="701" y="25"/>
                  </a:lnTo>
                  <a:lnTo>
                    <a:pt x="701" y="25"/>
                  </a:lnTo>
                  <a:lnTo>
                    <a:pt x="701" y="25"/>
                  </a:lnTo>
                  <a:lnTo>
                    <a:pt x="703" y="25"/>
                  </a:lnTo>
                  <a:lnTo>
                    <a:pt x="703" y="25"/>
                  </a:lnTo>
                  <a:lnTo>
                    <a:pt x="703" y="25"/>
                  </a:lnTo>
                  <a:lnTo>
                    <a:pt x="703" y="25"/>
                  </a:lnTo>
                  <a:lnTo>
                    <a:pt x="705" y="25"/>
                  </a:lnTo>
                  <a:lnTo>
                    <a:pt x="705" y="25"/>
                  </a:lnTo>
                  <a:lnTo>
                    <a:pt x="705" y="25"/>
                  </a:lnTo>
                  <a:lnTo>
                    <a:pt x="705" y="25"/>
                  </a:lnTo>
                  <a:lnTo>
                    <a:pt x="705" y="25"/>
                  </a:lnTo>
                  <a:lnTo>
                    <a:pt x="707" y="25"/>
                  </a:lnTo>
                  <a:lnTo>
                    <a:pt x="707" y="25"/>
                  </a:lnTo>
                  <a:lnTo>
                    <a:pt x="705" y="25"/>
                  </a:lnTo>
                  <a:lnTo>
                    <a:pt x="705" y="25"/>
                  </a:lnTo>
                  <a:lnTo>
                    <a:pt x="710" y="25"/>
                  </a:lnTo>
                  <a:lnTo>
                    <a:pt x="710" y="25"/>
                  </a:lnTo>
                  <a:lnTo>
                    <a:pt x="710" y="25"/>
                  </a:lnTo>
                  <a:lnTo>
                    <a:pt x="707" y="27"/>
                  </a:lnTo>
                  <a:lnTo>
                    <a:pt x="707" y="27"/>
                  </a:lnTo>
                  <a:lnTo>
                    <a:pt x="710" y="27"/>
                  </a:lnTo>
                  <a:lnTo>
                    <a:pt x="710" y="27"/>
                  </a:lnTo>
                  <a:lnTo>
                    <a:pt x="710" y="25"/>
                  </a:lnTo>
                  <a:lnTo>
                    <a:pt x="710" y="25"/>
                  </a:lnTo>
                  <a:lnTo>
                    <a:pt x="710" y="25"/>
                  </a:lnTo>
                  <a:lnTo>
                    <a:pt x="710" y="25"/>
                  </a:lnTo>
                  <a:lnTo>
                    <a:pt x="712" y="25"/>
                  </a:lnTo>
                  <a:lnTo>
                    <a:pt x="712" y="25"/>
                  </a:lnTo>
                  <a:lnTo>
                    <a:pt x="712" y="25"/>
                  </a:lnTo>
                  <a:lnTo>
                    <a:pt x="712" y="25"/>
                  </a:lnTo>
                  <a:lnTo>
                    <a:pt x="712" y="25"/>
                  </a:lnTo>
                  <a:lnTo>
                    <a:pt x="712" y="25"/>
                  </a:lnTo>
                  <a:lnTo>
                    <a:pt x="714" y="25"/>
                  </a:lnTo>
                  <a:lnTo>
                    <a:pt x="714" y="25"/>
                  </a:lnTo>
                  <a:lnTo>
                    <a:pt x="714" y="25"/>
                  </a:lnTo>
                  <a:lnTo>
                    <a:pt x="714" y="27"/>
                  </a:lnTo>
                  <a:lnTo>
                    <a:pt x="714" y="27"/>
                  </a:lnTo>
                  <a:lnTo>
                    <a:pt x="714" y="27"/>
                  </a:lnTo>
                  <a:lnTo>
                    <a:pt x="714" y="27"/>
                  </a:lnTo>
                  <a:lnTo>
                    <a:pt x="714" y="27"/>
                  </a:lnTo>
                  <a:lnTo>
                    <a:pt x="714" y="25"/>
                  </a:lnTo>
                  <a:lnTo>
                    <a:pt x="714" y="27"/>
                  </a:lnTo>
                  <a:lnTo>
                    <a:pt x="716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6" y="27"/>
                  </a:lnTo>
                  <a:lnTo>
                    <a:pt x="716" y="27"/>
                  </a:lnTo>
                  <a:lnTo>
                    <a:pt x="716" y="27"/>
                  </a:lnTo>
                  <a:lnTo>
                    <a:pt x="716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7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19" y="29"/>
                  </a:lnTo>
                  <a:lnTo>
                    <a:pt x="721" y="29"/>
                  </a:lnTo>
                  <a:lnTo>
                    <a:pt x="721" y="31"/>
                  </a:lnTo>
                  <a:lnTo>
                    <a:pt x="721" y="31"/>
                  </a:lnTo>
                  <a:lnTo>
                    <a:pt x="721" y="31"/>
                  </a:lnTo>
                  <a:lnTo>
                    <a:pt x="721" y="31"/>
                  </a:lnTo>
                  <a:lnTo>
                    <a:pt x="721" y="31"/>
                  </a:lnTo>
                  <a:lnTo>
                    <a:pt x="723" y="31"/>
                  </a:lnTo>
                  <a:lnTo>
                    <a:pt x="723" y="31"/>
                  </a:lnTo>
                  <a:lnTo>
                    <a:pt x="723" y="31"/>
                  </a:lnTo>
                  <a:lnTo>
                    <a:pt x="723" y="31"/>
                  </a:lnTo>
                  <a:lnTo>
                    <a:pt x="725" y="31"/>
                  </a:lnTo>
                  <a:lnTo>
                    <a:pt x="725" y="34"/>
                  </a:lnTo>
                  <a:lnTo>
                    <a:pt x="728" y="34"/>
                  </a:lnTo>
                  <a:lnTo>
                    <a:pt x="728" y="34"/>
                  </a:lnTo>
                  <a:lnTo>
                    <a:pt x="728" y="34"/>
                  </a:lnTo>
                  <a:lnTo>
                    <a:pt x="728" y="34"/>
                  </a:lnTo>
                  <a:lnTo>
                    <a:pt x="728" y="34"/>
                  </a:lnTo>
                  <a:lnTo>
                    <a:pt x="728" y="34"/>
                  </a:lnTo>
                  <a:lnTo>
                    <a:pt x="728" y="34"/>
                  </a:lnTo>
                  <a:lnTo>
                    <a:pt x="730" y="34"/>
                  </a:lnTo>
                  <a:lnTo>
                    <a:pt x="730" y="34"/>
                  </a:lnTo>
                  <a:lnTo>
                    <a:pt x="730" y="34"/>
                  </a:lnTo>
                  <a:lnTo>
                    <a:pt x="730" y="34"/>
                  </a:lnTo>
                  <a:lnTo>
                    <a:pt x="730" y="34"/>
                  </a:lnTo>
                  <a:lnTo>
                    <a:pt x="730" y="34"/>
                  </a:lnTo>
                  <a:lnTo>
                    <a:pt x="730" y="34"/>
                  </a:lnTo>
                  <a:lnTo>
                    <a:pt x="732" y="34"/>
                  </a:lnTo>
                  <a:lnTo>
                    <a:pt x="732" y="34"/>
                  </a:lnTo>
                  <a:lnTo>
                    <a:pt x="730" y="38"/>
                  </a:lnTo>
                  <a:lnTo>
                    <a:pt x="725" y="40"/>
                  </a:lnTo>
                  <a:lnTo>
                    <a:pt x="721" y="43"/>
                  </a:lnTo>
                  <a:lnTo>
                    <a:pt x="719" y="45"/>
                  </a:lnTo>
                  <a:lnTo>
                    <a:pt x="714" y="49"/>
                  </a:lnTo>
                  <a:lnTo>
                    <a:pt x="712" y="52"/>
                  </a:lnTo>
                  <a:lnTo>
                    <a:pt x="707" y="54"/>
                  </a:lnTo>
                  <a:lnTo>
                    <a:pt x="703" y="58"/>
                  </a:lnTo>
                  <a:lnTo>
                    <a:pt x="701" y="61"/>
                  </a:lnTo>
                  <a:lnTo>
                    <a:pt x="696" y="63"/>
                  </a:lnTo>
                  <a:lnTo>
                    <a:pt x="694" y="67"/>
                  </a:lnTo>
                  <a:lnTo>
                    <a:pt x="689" y="70"/>
                  </a:lnTo>
                  <a:lnTo>
                    <a:pt x="687" y="72"/>
                  </a:lnTo>
                  <a:lnTo>
                    <a:pt x="683" y="76"/>
                  </a:lnTo>
                  <a:lnTo>
                    <a:pt x="678" y="79"/>
                  </a:lnTo>
                  <a:lnTo>
                    <a:pt x="676" y="81"/>
                  </a:lnTo>
                  <a:lnTo>
                    <a:pt x="671" y="85"/>
                  </a:lnTo>
                  <a:lnTo>
                    <a:pt x="669" y="88"/>
                  </a:lnTo>
                  <a:lnTo>
                    <a:pt x="665" y="90"/>
                  </a:lnTo>
                  <a:lnTo>
                    <a:pt x="660" y="94"/>
                  </a:lnTo>
                  <a:lnTo>
                    <a:pt x="658" y="97"/>
                  </a:lnTo>
                  <a:lnTo>
                    <a:pt x="653" y="99"/>
                  </a:lnTo>
                  <a:lnTo>
                    <a:pt x="651" y="103"/>
                  </a:lnTo>
                  <a:lnTo>
                    <a:pt x="647" y="106"/>
                  </a:lnTo>
                  <a:lnTo>
                    <a:pt x="644" y="108"/>
                  </a:lnTo>
                  <a:lnTo>
                    <a:pt x="640" y="112"/>
                  </a:lnTo>
                  <a:lnTo>
                    <a:pt x="638" y="115"/>
                  </a:lnTo>
                  <a:lnTo>
                    <a:pt x="633" y="117"/>
                  </a:lnTo>
                  <a:lnTo>
                    <a:pt x="629" y="121"/>
                  </a:lnTo>
                  <a:lnTo>
                    <a:pt x="627" y="124"/>
                  </a:lnTo>
                  <a:lnTo>
                    <a:pt x="622" y="126"/>
                  </a:lnTo>
                  <a:lnTo>
                    <a:pt x="620" y="130"/>
                  </a:lnTo>
                  <a:lnTo>
                    <a:pt x="615" y="133"/>
                  </a:lnTo>
                  <a:lnTo>
                    <a:pt x="613" y="135"/>
                  </a:lnTo>
                  <a:lnTo>
                    <a:pt x="609" y="139"/>
                  </a:lnTo>
                  <a:lnTo>
                    <a:pt x="606" y="142"/>
                  </a:lnTo>
                  <a:lnTo>
                    <a:pt x="602" y="146"/>
                  </a:lnTo>
                  <a:lnTo>
                    <a:pt x="600" y="148"/>
                  </a:lnTo>
                  <a:lnTo>
                    <a:pt x="595" y="151"/>
                  </a:lnTo>
                  <a:lnTo>
                    <a:pt x="593" y="155"/>
                  </a:lnTo>
                  <a:lnTo>
                    <a:pt x="588" y="157"/>
                  </a:lnTo>
                  <a:lnTo>
                    <a:pt x="586" y="159"/>
                  </a:lnTo>
                  <a:lnTo>
                    <a:pt x="582" y="164"/>
                  </a:lnTo>
                  <a:lnTo>
                    <a:pt x="579" y="166"/>
                  </a:lnTo>
                  <a:lnTo>
                    <a:pt x="575" y="171"/>
                  </a:lnTo>
                  <a:lnTo>
                    <a:pt x="573" y="173"/>
                  </a:lnTo>
                  <a:lnTo>
                    <a:pt x="568" y="175"/>
                  </a:lnTo>
                  <a:lnTo>
                    <a:pt x="566" y="180"/>
                  </a:lnTo>
                  <a:lnTo>
                    <a:pt x="561" y="182"/>
                  </a:lnTo>
                  <a:lnTo>
                    <a:pt x="559" y="184"/>
                  </a:lnTo>
                  <a:lnTo>
                    <a:pt x="555" y="189"/>
                  </a:lnTo>
                  <a:lnTo>
                    <a:pt x="552" y="191"/>
                  </a:lnTo>
                  <a:lnTo>
                    <a:pt x="548" y="195"/>
                  </a:lnTo>
                  <a:lnTo>
                    <a:pt x="546" y="198"/>
                  </a:lnTo>
                  <a:lnTo>
                    <a:pt x="541" y="200"/>
                  </a:lnTo>
                  <a:lnTo>
                    <a:pt x="539" y="204"/>
                  </a:lnTo>
                  <a:lnTo>
                    <a:pt x="534" y="207"/>
                  </a:lnTo>
                  <a:lnTo>
                    <a:pt x="532" y="211"/>
                  </a:lnTo>
                  <a:lnTo>
                    <a:pt x="528" y="213"/>
                  </a:lnTo>
                  <a:lnTo>
                    <a:pt x="525" y="216"/>
                  </a:lnTo>
                  <a:lnTo>
                    <a:pt x="521" y="220"/>
                  </a:lnTo>
                  <a:lnTo>
                    <a:pt x="519" y="222"/>
                  </a:lnTo>
                  <a:lnTo>
                    <a:pt x="514" y="227"/>
                  </a:lnTo>
                  <a:lnTo>
                    <a:pt x="512" y="229"/>
                  </a:lnTo>
                  <a:lnTo>
                    <a:pt x="512" y="229"/>
                  </a:lnTo>
                  <a:lnTo>
                    <a:pt x="512" y="229"/>
                  </a:lnTo>
                  <a:lnTo>
                    <a:pt x="512" y="229"/>
                  </a:lnTo>
                  <a:lnTo>
                    <a:pt x="514" y="231"/>
                  </a:lnTo>
                  <a:lnTo>
                    <a:pt x="516" y="231"/>
                  </a:lnTo>
                  <a:lnTo>
                    <a:pt x="516" y="231"/>
                  </a:lnTo>
                  <a:lnTo>
                    <a:pt x="519" y="231"/>
                  </a:lnTo>
                  <a:lnTo>
                    <a:pt x="519" y="231"/>
                  </a:lnTo>
                  <a:lnTo>
                    <a:pt x="519" y="231"/>
                  </a:lnTo>
                  <a:lnTo>
                    <a:pt x="521" y="229"/>
                  </a:lnTo>
                  <a:lnTo>
                    <a:pt x="521" y="229"/>
                  </a:lnTo>
                  <a:lnTo>
                    <a:pt x="521" y="229"/>
                  </a:lnTo>
                  <a:lnTo>
                    <a:pt x="521" y="231"/>
                  </a:lnTo>
                  <a:lnTo>
                    <a:pt x="523" y="231"/>
                  </a:lnTo>
                  <a:lnTo>
                    <a:pt x="525" y="231"/>
                  </a:lnTo>
                  <a:lnTo>
                    <a:pt x="525" y="231"/>
                  </a:lnTo>
                  <a:lnTo>
                    <a:pt x="528" y="231"/>
                  </a:lnTo>
                  <a:lnTo>
                    <a:pt x="530" y="231"/>
                  </a:lnTo>
                  <a:lnTo>
                    <a:pt x="532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7" y="229"/>
                  </a:lnTo>
                  <a:lnTo>
                    <a:pt x="539" y="229"/>
                  </a:lnTo>
                  <a:lnTo>
                    <a:pt x="541" y="229"/>
                  </a:lnTo>
                  <a:lnTo>
                    <a:pt x="543" y="229"/>
                  </a:lnTo>
                  <a:lnTo>
                    <a:pt x="543" y="229"/>
                  </a:lnTo>
                  <a:lnTo>
                    <a:pt x="543" y="229"/>
                  </a:lnTo>
                  <a:lnTo>
                    <a:pt x="543" y="229"/>
                  </a:lnTo>
                  <a:lnTo>
                    <a:pt x="541" y="231"/>
                  </a:lnTo>
                  <a:lnTo>
                    <a:pt x="539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6"/>
                  </a:lnTo>
                  <a:lnTo>
                    <a:pt x="537" y="236"/>
                  </a:lnTo>
                  <a:lnTo>
                    <a:pt x="537" y="236"/>
                  </a:lnTo>
                  <a:lnTo>
                    <a:pt x="539" y="238"/>
                  </a:lnTo>
                  <a:lnTo>
                    <a:pt x="541" y="238"/>
                  </a:lnTo>
                  <a:lnTo>
                    <a:pt x="541" y="238"/>
                  </a:lnTo>
                  <a:lnTo>
                    <a:pt x="541" y="238"/>
                  </a:lnTo>
                  <a:lnTo>
                    <a:pt x="541" y="238"/>
                  </a:lnTo>
                  <a:lnTo>
                    <a:pt x="539" y="240"/>
                  </a:lnTo>
                  <a:lnTo>
                    <a:pt x="539" y="240"/>
                  </a:lnTo>
                  <a:lnTo>
                    <a:pt x="539" y="243"/>
                  </a:lnTo>
                  <a:lnTo>
                    <a:pt x="539" y="243"/>
                  </a:lnTo>
                  <a:lnTo>
                    <a:pt x="541" y="245"/>
                  </a:lnTo>
                  <a:lnTo>
                    <a:pt x="541" y="247"/>
                  </a:lnTo>
                  <a:lnTo>
                    <a:pt x="543" y="247"/>
                  </a:lnTo>
                  <a:lnTo>
                    <a:pt x="543" y="249"/>
                  </a:lnTo>
                  <a:lnTo>
                    <a:pt x="543" y="252"/>
                  </a:lnTo>
                  <a:lnTo>
                    <a:pt x="546" y="254"/>
                  </a:lnTo>
                  <a:lnTo>
                    <a:pt x="546" y="254"/>
                  </a:lnTo>
                  <a:lnTo>
                    <a:pt x="546" y="254"/>
                  </a:lnTo>
                  <a:lnTo>
                    <a:pt x="543" y="256"/>
                  </a:lnTo>
                  <a:lnTo>
                    <a:pt x="543" y="256"/>
                  </a:lnTo>
                  <a:lnTo>
                    <a:pt x="541" y="258"/>
                  </a:lnTo>
                  <a:lnTo>
                    <a:pt x="541" y="261"/>
                  </a:lnTo>
                  <a:lnTo>
                    <a:pt x="539" y="261"/>
                  </a:lnTo>
                  <a:lnTo>
                    <a:pt x="539" y="261"/>
                  </a:lnTo>
                  <a:lnTo>
                    <a:pt x="541" y="261"/>
                  </a:lnTo>
                  <a:lnTo>
                    <a:pt x="541" y="261"/>
                  </a:lnTo>
                  <a:lnTo>
                    <a:pt x="543" y="258"/>
                  </a:lnTo>
                  <a:lnTo>
                    <a:pt x="546" y="258"/>
                  </a:lnTo>
                  <a:lnTo>
                    <a:pt x="548" y="258"/>
                  </a:lnTo>
                  <a:lnTo>
                    <a:pt x="552" y="256"/>
                  </a:lnTo>
                  <a:lnTo>
                    <a:pt x="557" y="254"/>
                  </a:lnTo>
                  <a:lnTo>
                    <a:pt x="557" y="254"/>
                  </a:lnTo>
                  <a:lnTo>
                    <a:pt x="559" y="254"/>
                  </a:lnTo>
                  <a:lnTo>
                    <a:pt x="559" y="254"/>
                  </a:lnTo>
                  <a:lnTo>
                    <a:pt x="561" y="254"/>
                  </a:lnTo>
                  <a:lnTo>
                    <a:pt x="564" y="252"/>
                  </a:lnTo>
                  <a:lnTo>
                    <a:pt x="564" y="252"/>
                  </a:lnTo>
                  <a:lnTo>
                    <a:pt x="566" y="252"/>
                  </a:lnTo>
                  <a:lnTo>
                    <a:pt x="568" y="249"/>
                  </a:lnTo>
                  <a:lnTo>
                    <a:pt x="568" y="247"/>
                  </a:lnTo>
                  <a:lnTo>
                    <a:pt x="570" y="249"/>
                  </a:lnTo>
                  <a:lnTo>
                    <a:pt x="570" y="249"/>
                  </a:lnTo>
                  <a:lnTo>
                    <a:pt x="570" y="247"/>
                  </a:lnTo>
                  <a:lnTo>
                    <a:pt x="573" y="247"/>
                  </a:lnTo>
                  <a:lnTo>
                    <a:pt x="575" y="247"/>
                  </a:lnTo>
                  <a:lnTo>
                    <a:pt x="575" y="247"/>
                  </a:lnTo>
                  <a:lnTo>
                    <a:pt x="575" y="245"/>
                  </a:lnTo>
                  <a:lnTo>
                    <a:pt x="575" y="245"/>
                  </a:lnTo>
                  <a:lnTo>
                    <a:pt x="575" y="245"/>
                  </a:lnTo>
                  <a:lnTo>
                    <a:pt x="577" y="245"/>
                  </a:lnTo>
                  <a:lnTo>
                    <a:pt x="582" y="245"/>
                  </a:lnTo>
                  <a:lnTo>
                    <a:pt x="582" y="243"/>
                  </a:lnTo>
                  <a:lnTo>
                    <a:pt x="584" y="243"/>
                  </a:lnTo>
                  <a:lnTo>
                    <a:pt x="588" y="243"/>
                  </a:lnTo>
                  <a:lnTo>
                    <a:pt x="593" y="240"/>
                  </a:lnTo>
                  <a:lnTo>
                    <a:pt x="593" y="240"/>
                  </a:lnTo>
                  <a:lnTo>
                    <a:pt x="593" y="243"/>
                  </a:lnTo>
                  <a:lnTo>
                    <a:pt x="593" y="243"/>
                  </a:lnTo>
                  <a:lnTo>
                    <a:pt x="595" y="243"/>
                  </a:lnTo>
                  <a:lnTo>
                    <a:pt x="595" y="243"/>
                  </a:lnTo>
                  <a:lnTo>
                    <a:pt x="595" y="245"/>
                  </a:lnTo>
                  <a:lnTo>
                    <a:pt x="595" y="245"/>
                  </a:lnTo>
                  <a:lnTo>
                    <a:pt x="595" y="245"/>
                  </a:lnTo>
                  <a:lnTo>
                    <a:pt x="595" y="245"/>
                  </a:lnTo>
                  <a:lnTo>
                    <a:pt x="595" y="245"/>
                  </a:lnTo>
                  <a:lnTo>
                    <a:pt x="595" y="245"/>
                  </a:lnTo>
                  <a:lnTo>
                    <a:pt x="595" y="247"/>
                  </a:lnTo>
                  <a:lnTo>
                    <a:pt x="595" y="247"/>
                  </a:lnTo>
                  <a:lnTo>
                    <a:pt x="593" y="247"/>
                  </a:lnTo>
                  <a:lnTo>
                    <a:pt x="593" y="247"/>
                  </a:lnTo>
                  <a:lnTo>
                    <a:pt x="593" y="249"/>
                  </a:lnTo>
                  <a:lnTo>
                    <a:pt x="591" y="249"/>
                  </a:lnTo>
                  <a:lnTo>
                    <a:pt x="593" y="249"/>
                  </a:lnTo>
                  <a:lnTo>
                    <a:pt x="591" y="249"/>
                  </a:lnTo>
                  <a:lnTo>
                    <a:pt x="591" y="252"/>
                  </a:lnTo>
                  <a:lnTo>
                    <a:pt x="591" y="252"/>
                  </a:lnTo>
                  <a:lnTo>
                    <a:pt x="591" y="252"/>
                  </a:lnTo>
                  <a:lnTo>
                    <a:pt x="591" y="252"/>
                  </a:lnTo>
                  <a:lnTo>
                    <a:pt x="591" y="252"/>
                  </a:lnTo>
                  <a:lnTo>
                    <a:pt x="593" y="252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5" y="254"/>
                  </a:lnTo>
                  <a:lnTo>
                    <a:pt x="595" y="254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6"/>
                  </a:lnTo>
                  <a:lnTo>
                    <a:pt x="593" y="256"/>
                  </a:lnTo>
                  <a:lnTo>
                    <a:pt x="595" y="256"/>
                  </a:lnTo>
                  <a:lnTo>
                    <a:pt x="595" y="256"/>
                  </a:lnTo>
                  <a:lnTo>
                    <a:pt x="595" y="256"/>
                  </a:lnTo>
                  <a:lnTo>
                    <a:pt x="595" y="256"/>
                  </a:lnTo>
                  <a:lnTo>
                    <a:pt x="595" y="256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3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3" y="261"/>
                  </a:lnTo>
                  <a:lnTo>
                    <a:pt x="593" y="261"/>
                  </a:lnTo>
                  <a:lnTo>
                    <a:pt x="593" y="261"/>
                  </a:lnTo>
                  <a:lnTo>
                    <a:pt x="593" y="261"/>
                  </a:lnTo>
                  <a:lnTo>
                    <a:pt x="595" y="263"/>
                  </a:lnTo>
                  <a:lnTo>
                    <a:pt x="597" y="263"/>
                  </a:lnTo>
                  <a:lnTo>
                    <a:pt x="597" y="265"/>
                  </a:lnTo>
                  <a:lnTo>
                    <a:pt x="597" y="265"/>
                  </a:lnTo>
                  <a:lnTo>
                    <a:pt x="597" y="265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7" y="270"/>
                  </a:lnTo>
                  <a:lnTo>
                    <a:pt x="600" y="270"/>
                  </a:lnTo>
                  <a:lnTo>
                    <a:pt x="600" y="272"/>
                  </a:lnTo>
                  <a:lnTo>
                    <a:pt x="597" y="272"/>
                  </a:lnTo>
                  <a:lnTo>
                    <a:pt x="597" y="274"/>
                  </a:lnTo>
                  <a:lnTo>
                    <a:pt x="597" y="274"/>
                  </a:lnTo>
                  <a:lnTo>
                    <a:pt x="597" y="276"/>
                  </a:lnTo>
                  <a:lnTo>
                    <a:pt x="597" y="276"/>
                  </a:lnTo>
                  <a:lnTo>
                    <a:pt x="597" y="279"/>
                  </a:lnTo>
                  <a:lnTo>
                    <a:pt x="595" y="279"/>
                  </a:lnTo>
                  <a:lnTo>
                    <a:pt x="595" y="281"/>
                  </a:lnTo>
                  <a:lnTo>
                    <a:pt x="595" y="281"/>
                  </a:lnTo>
                  <a:lnTo>
                    <a:pt x="595" y="283"/>
                  </a:lnTo>
                  <a:lnTo>
                    <a:pt x="595" y="285"/>
                  </a:lnTo>
                  <a:lnTo>
                    <a:pt x="595" y="288"/>
                  </a:lnTo>
                  <a:lnTo>
                    <a:pt x="595" y="290"/>
                  </a:lnTo>
                  <a:lnTo>
                    <a:pt x="595" y="292"/>
                  </a:lnTo>
                  <a:lnTo>
                    <a:pt x="595" y="292"/>
                  </a:lnTo>
                  <a:lnTo>
                    <a:pt x="595" y="294"/>
                  </a:lnTo>
                  <a:lnTo>
                    <a:pt x="595" y="297"/>
                  </a:lnTo>
                  <a:lnTo>
                    <a:pt x="593" y="299"/>
                  </a:lnTo>
                  <a:lnTo>
                    <a:pt x="593" y="299"/>
                  </a:lnTo>
                  <a:lnTo>
                    <a:pt x="591" y="301"/>
                  </a:lnTo>
                  <a:lnTo>
                    <a:pt x="593" y="301"/>
                  </a:lnTo>
                  <a:lnTo>
                    <a:pt x="593" y="301"/>
                  </a:lnTo>
                  <a:lnTo>
                    <a:pt x="588" y="306"/>
                  </a:lnTo>
                  <a:lnTo>
                    <a:pt x="593" y="308"/>
                  </a:lnTo>
                  <a:lnTo>
                    <a:pt x="593" y="308"/>
                  </a:lnTo>
                  <a:lnTo>
                    <a:pt x="591" y="308"/>
                  </a:lnTo>
                  <a:lnTo>
                    <a:pt x="591" y="308"/>
                  </a:lnTo>
                  <a:lnTo>
                    <a:pt x="591" y="308"/>
                  </a:lnTo>
                  <a:lnTo>
                    <a:pt x="591" y="308"/>
                  </a:lnTo>
                  <a:lnTo>
                    <a:pt x="591" y="308"/>
                  </a:lnTo>
                  <a:lnTo>
                    <a:pt x="591" y="308"/>
                  </a:lnTo>
                  <a:lnTo>
                    <a:pt x="591" y="310"/>
                  </a:lnTo>
                  <a:lnTo>
                    <a:pt x="591" y="310"/>
                  </a:lnTo>
                  <a:lnTo>
                    <a:pt x="591" y="310"/>
                  </a:lnTo>
                  <a:lnTo>
                    <a:pt x="588" y="312"/>
                  </a:lnTo>
                  <a:lnTo>
                    <a:pt x="588" y="312"/>
                  </a:lnTo>
                  <a:lnTo>
                    <a:pt x="588" y="312"/>
                  </a:lnTo>
                  <a:lnTo>
                    <a:pt x="591" y="312"/>
                  </a:lnTo>
                  <a:lnTo>
                    <a:pt x="593" y="312"/>
                  </a:lnTo>
                  <a:lnTo>
                    <a:pt x="593" y="312"/>
                  </a:lnTo>
                  <a:lnTo>
                    <a:pt x="593" y="312"/>
                  </a:lnTo>
                  <a:lnTo>
                    <a:pt x="593" y="312"/>
                  </a:lnTo>
                  <a:lnTo>
                    <a:pt x="595" y="315"/>
                  </a:lnTo>
                  <a:lnTo>
                    <a:pt x="597" y="315"/>
                  </a:lnTo>
                  <a:lnTo>
                    <a:pt x="597" y="315"/>
                  </a:lnTo>
                  <a:lnTo>
                    <a:pt x="600" y="317"/>
                  </a:lnTo>
                  <a:lnTo>
                    <a:pt x="602" y="317"/>
                  </a:lnTo>
                  <a:lnTo>
                    <a:pt x="602" y="317"/>
                  </a:lnTo>
                  <a:lnTo>
                    <a:pt x="602" y="319"/>
                  </a:lnTo>
                  <a:lnTo>
                    <a:pt x="604" y="319"/>
                  </a:lnTo>
                  <a:lnTo>
                    <a:pt x="604" y="319"/>
                  </a:lnTo>
                  <a:lnTo>
                    <a:pt x="604" y="319"/>
                  </a:lnTo>
                  <a:lnTo>
                    <a:pt x="604" y="319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24"/>
                  </a:lnTo>
                  <a:lnTo>
                    <a:pt x="606" y="324"/>
                  </a:lnTo>
                  <a:lnTo>
                    <a:pt x="606" y="324"/>
                  </a:lnTo>
                  <a:lnTo>
                    <a:pt x="609" y="321"/>
                  </a:lnTo>
                  <a:lnTo>
                    <a:pt x="609" y="324"/>
                  </a:lnTo>
                  <a:lnTo>
                    <a:pt x="609" y="324"/>
                  </a:lnTo>
                  <a:lnTo>
                    <a:pt x="609" y="324"/>
                  </a:lnTo>
                  <a:lnTo>
                    <a:pt x="609" y="324"/>
                  </a:lnTo>
                  <a:lnTo>
                    <a:pt x="609" y="326"/>
                  </a:lnTo>
                  <a:lnTo>
                    <a:pt x="609" y="326"/>
                  </a:lnTo>
                  <a:lnTo>
                    <a:pt x="606" y="326"/>
                  </a:lnTo>
                  <a:lnTo>
                    <a:pt x="606" y="326"/>
                  </a:lnTo>
                  <a:lnTo>
                    <a:pt x="606" y="328"/>
                  </a:lnTo>
                  <a:lnTo>
                    <a:pt x="606" y="328"/>
                  </a:lnTo>
                  <a:lnTo>
                    <a:pt x="604" y="328"/>
                  </a:lnTo>
                  <a:lnTo>
                    <a:pt x="602" y="328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2" y="330"/>
                  </a:lnTo>
                  <a:lnTo>
                    <a:pt x="600" y="330"/>
                  </a:lnTo>
                  <a:lnTo>
                    <a:pt x="600" y="333"/>
                  </a:lnTo>
                  <a:lnTo>
                    <a:pt x="600" y="333"/>
                  </a:lnTo>
                  <a:lnTo>
                    <a:pt x="600" y="333"/>
                  </a:lnTo>
                  <a:lnTo>
                    <a:pt x="600" y="333"/>
                  </a:lnTo>
                  <a:lnTo>
                    <a:pt x="600" y="333"/>
                  </a:lnTo>
                  <a:lnTo>
                    <a:pt x="600" y="333"/>
                  </a:lnTo>
                  <a:lnTo>
                    <a:pt x="597" y="335"/>
                  </a:lnTo>
                  <a:lnTo>
                    <a:pt x="597" y="335"/>
                  </a:lnTo>
                  <a:lnTo>
                    <a:pt x="597" y="335"/>
                  </a:lnTo>
                  <a:lnTo>
                    <a:pt x="597" y="335"/>
                  </a:lnTo>
                  <a:lnTo>
                    <a:pt x="597" y="335"/>
                  </a:lnTo>
                  <a:lnTo>
                    <a:pt x="597" y="337"/>
                  </a:lnTo>
                  <a:lnTo>
                    <a:pt x="597" y="337"/>
                  </a:lnTo>
                  <a:lnTo>
                    <a:pt x="597" y="337"/>
                  </a:lnTo>
                  <a:lnTo>
                    <a:pt x="597" y="337"/>
                  </a:lnTo>
                  <a:lnTo>
                    <a:pt x="597" y="337"/>
                  </a:lnTo>
                  <a:lnTo>
                    <a:pt x="595" y="339"/>
                  </a:lnTo>
                  <a:lnTo>
                    <a:pt x="595" y="339"/>
                  </a:lnTo>
                  <a:lnTo>
                    <a:pt x="595" y="339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3" y="342"/>
                  </a:lnTo>
                  <a:lnTo>
                    <a:pt x="591" y="342"/>
                  </a:lnTo>
                  <a:lnTo>
                    <a:pt x="591" y="344"/>
                  </a:lnTo>
                  <a:lnTo>
                    <a:pt x="591" y="344"/>
                  </a:lnTo>
                  <a:lnTo>
                    <a:pt x="591" y="344"/>
                  </a:lnTo>
                  <a:lnTo>
                    <a:pt x="591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6"/>
                  </a:lnTo>
                  <a:lnTo>
                    <a:pt x="586" y="346"/>
                  </a:lnTo>
                  <a:lnTo>
                    <a:pt x="586" y="346"/>
                  </a:lnTo>
                  <a:lnTo>
                    <a:pt x="586" y="346"/>
                  </a:lnTo>
                  <a:lnTo>
                    <a:pt x="586" y="346"/>
                  </a:lnTo>
                  <a:lnTo>
                    <a:pt x="586" y="346"/>
                  </a:lnTo>
                  <a:lnTo>
                    <a:pt x="584" y="348"/>
                  </a:lnTo>
                  <a:lnTo>
                    <a:pt x="584" y="348"/>
                  </a:lnTo>
                  <a:lnTo>
                    <a:pt x="584" y="348"/>
                  </a:lnTo>
                  <a:lnTo>
                    <a:pt x="582" y="348"/>
                  </a:lnTo>
                  <a:lnTo>
                    <a:pt x="582" y="348"/>
                  </a:lnTo>
                  <a:lnTo>
                    <a:pt x="582" y="351"/>
                  </a:lnTo>
                  <a:lnTo>
                    <a:pt x="579" y="351"/>
                  </a:lnTo>
                  <a:lnTo>
                    <a:pt x="577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7" y="351"/>
                  </a:lnTo>
                  <a:lnTo>
                    <a:pt x="577" y="351"/>
                  </a:lnTo>
                  <a:lnTo>
                    <a:pt x="577" y="351"/>
                  </a:lnTo>
                  <a:lnTo>
                    <a:pt x="577" y="351"/>
                  </a:lnTo>
                  <a:lnTo>
                    <a:pt x="577" y="351"/>
                  </a:lnTo>
                  <a:lnTo>
                    <a:pt x="575" y="351"/>
                  </a:lnTo>
                  <a:lnTo>
                    <a:pt x="573" y="353"/>
                  </a:lnTo>
                  <a:lnTo>
                    <a:pt x="573" y="353"/>
                  </a:lnTo>
                  <a:lnTo>
                    <a:pt x="573" y="353"/>
                  </a:lnTo>
                  <a:lnTo>
                    <a:pt x="573" y="353"/>
                  </a:lnTo>
                  <a:lnTo>
                    <a:pt x="573" y="353"/>
                  </a:lnTo>
                  <a:lnTo>
                    <a:pt x="573" y="353"/>
                  </a:lnTo>
                  <a:lnTo>
                    <a:pt x="573" y="353"/>
                  </a:lnTo>
                  <a:lnTo>
                    <a:pt x="573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48"/>
                  </a:lnTo>
                  <a:lnTo>
                    <a:pt x="575" y="348"/>
                  </a:lnTo>
                  <a:lnTo>
                    <a:pt x="575" y="348"/>
                  </a:lnTo>
                  <a:lnTo>
                    <a:pt x="575" y="348"/>
                  </a:lnTo>
                  <a:lnTo>
                    <a:pt x="577" y="348"/>
                  </a:lnTo>
                  <a:lnTo>
                    <a:pt x="577" y="348"/>
                  </a:lnTo>
                  <a:lnTo>
                    <a:pt x="575" y="348"/>
                  </a:lnTo>
                  <a:lnTo>
                    <a:pt x="575" y="348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5" y="351"/>
                  </a:lnTo>
                  <a:lnTo>
                    <a:pt x="573" y="351"/>
                  </a:lnTo>
                  <a:lnTo>
                    <a:pt x="573" y="351"/>
                  </a:lnTo>
                  <a:lnTo>
                    <a:pt x="573" y="351"/>
                  </a:lnTo>
                  <a:lnTo>
                    <a:pt x="573" y="351"/>
                  </a:lnTo>
                  <a:lnTo>
                    <a:pt x="573" y="351"/>
                  </a:lnTo>
                  <a:lnTo>
                    <a:pt x="573" y="351"/>
                  </a:lnTo>
                  <a:lnTo>
                    <a:pt x="570" y="353"/>
                  </a:lnTo>
                  <a:lnTo>
                    <a:pt x="570" y="353"/>
                  </a:lnTo>
                  <a:lnTo>
                    <a:pt x="570" y="353"/>
                  </a:lnTo>
                  <a:lnTo>
                    <a:pt x="570" y="351"/>
                  </a:lnTo>
                  <a:lnTo>
                    <a:pt x="570" y="351"/>
                  </a:lnTo>
                  <a:lnTo>
                    <a:pt x="570" y="351"/>
                  </a:lnTo>
                  <a:lnTo>
                    <a:pt x="570" y="351"/>
                  </a:lnTo>
                  <a:lnTo>
                    <a:pt x="570" y="351"/>
                  </a:lnTo>
                  <a:lnTo>
                    <a:pt x="570" y="351"/>
                  </a:lnTo>
                  <a:lnTo>
                    <a:pt x="570" y="351"/>
                  </a:lnTo>
                  <a:lnTo>
                    <a:pt x="570" y="348"/>
                  </a:lnTo>
                  <a:lnTo>
                    <a:pt x="570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8"/>
                  </a:lnTo>
                  <a:lnTo>
                    <a:pt x="573" y="346"/>
                  </a:lnTo>
                  <a:lnTo>
                    <a:pt x="573" y="346"/>
                  </a:lnTo>
                  <a:lnTo>
                    <a:pt x="573" y="346"/>
                  </a:lnTo>
                  <a:lnTo>
                    <a:pt x="575" y="346"/>
                  </a:lnTo>
                  <a:lnTo>
                    <a:pt x="575" y="346"/>
                  </a:lnTo>
                  <a:lnTo>
                    <a:pt x="575" y="346"/>
                  </a:lnTo>
                  <a:lnTo>
                    <a:pt x="577" y="344"/>
                  </a:lnTo>
                  <a:lnTo>
                    <a:pt x="577" y="344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9" y="346"/>
                  </a:lnTo>
                  <a:lnTo>
                    <a:pt x="579" y="346"/>
                  </a:lnTo>
                  <a:lnTo>
                    <a:pt x="579" y="346"/>
                  </a:lnTo>
                  <a:lnTo>
                    <a:pt x="579" y="344"/>
                  </a:lnTo>
                  <a:lnTo>
                    <a:pt x="579" y="344"/>
                  </a:lnTo>
                  <a:lnTo>
                    <a:pt x="579" y="344"/>
                  </a:lnTo>
                  <a:lnTo>
                    <a:pt x="582" y="344"/>
                  </a:lnTo>
                  <a:lnTo>
                    <a:pt x="584" y="342"/>
                  </a:lnTo>
                  <a:lnTo>
                    <a:pt x="588" y="339"/>
                  </a:lnTo>
                  <a:lnTo>
                    <a:pt x="588" y="339"/>
                  </a:lnTo>
                  <a:lnTo>
                    <a:pt x="588" y="339"/>
                  </a:lnTo>
                  <a:lnTo>
                    <a:pt x="588" y="339"/>
                  </a:lnTo>
                  <a:lnTo>
                    <a:pt x="586" y="339"/>
                  </a:lnTo>
                  <a:lnTo>
                    <a:pt x="586" y="339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4" y="342"/>
                  </a:lnTo>
                  <a:lnTo>
                    <a:pt x="584" y="344"/>
                  </a:lnTo>
                  <a:lnTo>
                    <a:pt x="582" y="344"/>
                  </a:lnTo>
                  <a:lnTo>
                    <a:pt x="582" y="344"/>
                  </a:lnTo>
                  <a:lnTo>
                    <a:pt x="579" y="346"/>
                  </a:lnTo>
                  <a:lnTo>
                    <a:pt x="577" y="346"/>
                  </a:lnTo>
                  <a:lnTo>
                    <a:pt x="577" y="346"/>
                  </a:lnTo>
                  <a:lnTo>
                    <a:pt x="577" y="344"/>
                  </a:lnTo>
                  <a:lnTo>
                    <a:pt x="577" y="344"/>
                  </a:lnTo>
                  <a:lnTo>
                    <a:pt x="579" y="344"/>
                  </a:lnTo>
                  <a:lnTo>
                    <a:pt x="577" y="344"/>
                  </a:lnTo>
                  <a:lnTo>
                    <a:pt x="577" y="344"/>
                  </a:lnTo>
                  <a:lnTo>
                    <a:pt x="577" y="344"/>
                  </a:lnTo>
                  <a:lnTo>
                    <a:pt x="577" y="344"/>
                  </a:lnTo>
                  <a:lnTo>
                    <a:pt x="575" y="346"/>
                  </a:lnTo>
                  <a:lnTo>
                    <a:pt x="575" y="346"/>
                  </a:lnTo>
                  <a:lnTo>
                    <a:pt x="573" y="346"/>
                  </a:lnTo>
                  <a:lnTo>
                    <a:pt x="573" y="344"/>
                  </a:lnTo>
                  <a:lnTo>
                    <a:pt x="573" y="344"/>
                  </a:lnTo>
                  <a:lnTo>
                    <a:pt x="575" y="344"/>
                  </a:lnTo>
                  <a:lnTo>
                    <a:pt x="575" y="344"/>
                  </a:lnTo>
                  <a:lnTo>
                    <a:pt x="575" y="344"/>
                  </a:lnTo>
                  <a:lnTo>
                    <a:pt x="577" y="342"/>
                  </a:lnTo>
                  <a:lnTo>
                    <a:pt x="577" y="342"/>
                  </a:lnTo>
                  <a:lnTo>
                    <a:pt x="577" y="342"/>
                  </a:lnTo>
                  <a:lnTo>
                    <a:pt x="577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39"/>
                  </a:lnTo>
                  <a:lnTo>
                    <a:pt x="584" y="339"/>
                  </a:lnTo>
                  <a:lnTo>
                    <a:pt x="584" y="339"/>
                  </a:lnTo>
                  <a:lnTo>
                    <a:pt x="584" y="339"/>
                  </a:lnTo>
                  <a:lnTo>
                    <a:pt x="584" y="339"/>
                  </a:lnTo>
                  <a:lnTo>
                    <a:pt x="584" y="339"/>
                  </a:lnTo>
                  <a:lnTo>
                    <a:pt x="584" y="339"/>
                  </a:lnTo>
                  <a:lnTo>
                    <a:pt x="582" y="339"/>
                  </a:lnTo>
                  <a:lnTo>
                    <a:pt x="582" y="339"/>
                  </a:lnTo>
                  <a:lnTo>
                    <a:pt x="582" y="339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6" y="335"/>
                  </a:lnTo>
                  <a:lnTo>
                    <a:pt x="586" y="333"/>
                  </a:lnTo>
                  <a:lnTo>
                    <a:pt x="586" y="333"/>
                  </a:lnTo>
                  <a:lnTo>
                    <a:pt x="586" y="333"/>
                  </a:lnTo>
                  <a:lnTo>
                    <a:pt x="586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0"/>
                  </a:lnTo>
                  <a:lnTo>
                    <a:pt x="588" y="330"/>
                  </a:lnTo>
                  <a:lnTo>
                    <a:pt x="588" y="330"/>
                  </a:lnTo>
                  <a:lnTo>
                    <a:pt x="588" y="330"/>
                  </a:lnTo>
                  <a:lnTo>
                    <a:pt x="588" y="330"/>
                  </a:lnTo>
                  <a:lnTo>
                    <a:pt x="588" y="330"/>
                  </a:lnTo>
                  <a:lnTo>
                    <a:pt x="588" y="330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8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6"/>
                  </a:lnTo>
                  <a:lnTo>
                    <a:pt x="588" y="324"/>
                  </a:lnTo>
                  <a:lnTo>
                    <a:pt x="593" y="324"/>
                  </a:lnTo>
                  <a:lnTo>
                    <a:pt x="591" y="324"/>
                  </a:lnTo>
                  <a:lnTo>
                    <a:pt x="591" y="324"/>
                  </a:lnTo>
                  <a:lnTo>
                    <a:pt x="591" y="324"/>
                  </a:lnTo>
                  <a:lnTo>
                    <a:pt x="593" y="321"/>
                  </a:lnTo>
                  <a:lnTo>
                    <a:pt x="593" y="324"/>
                  </a:lnTo>
                  <a:lnTo>
                    <a:pt x="591" y="324"/>
                  </a:lnTo>
                  <a:lnTo>
                    <a:pt x="591" y="324"/>
                  </a:lnTo>
                  <a:lnTo>
                    <a:pt x="591" y="324"/>
                  </a:lnTo>
                  <a:lnTo>
                    <a:pt x="591" y="324"/>
                  </a:lnTo>
                  <a:lnTo>
                    <a:pt x="588" y="324"/>
                  </a:lnTo>
                  <a:lnTo>
                    <a:pt x="588" y="324"/>
                  </a:lnTo>
                  <a:lnTo>
                    <a:pt x="586" y="326"/>
                  </a:lnTo>
                  <a:lnTo>
                    <a:pt x="586" y="326"/>
                  </a:lnTo>
                  <a:lnTo>
                    <a:pt x="586" y="326"/>
                  </a:lnTo>
                  <a:lnTo>
                    <a:pt x="584" y="326"/>
                  </a:lnTo>
                  <a:lnTo>
                    <a:pt x="584" y="326"/>
                  </a:lnTo>
                  <a:lnTo>
                    <a:pt x="584" y="326"/>
                  </a:lnTo>
                  <a:lnTo>
                    <a:pt x="584" y="324"/>
                  </a:lnTo>
                  <a:lnTo>
                    <a:pt x="584" y="326"/>
                  </a:lnTo>
                  <a:lnTo>
                    <a:pt x="584" y="326"/>
                  </a:lnTo>
                  <a:lnTo>
                    <a:pt x="582" y="326"/>
                  </a:lnTo>
                  <a:lnTo>
                    <a:pt x="582" y="326"/>
                  </a:lnTo>
                  <a:lnTo>
                    <a:pt x="582" y="326"/>
                  </a:lnTo>
                  <a:lnTo>
                    <a:pt x="579" y="326"/>
                  </a:lnTo>
                  <a:lnTo>
                    <a:pt x="579" y="326"/>
                  </a:lnTo>
                  <a:lnTo>
                    <a:pt x="579" y="326"/>
                  </a:lnTo>
                  <a:lnTo>
                    <a:pt x="579" y="326"/>
                  </a:lnTo>
                  <a:lnTo>
                    <a:pt x="579" y="326"/>
                  </a:lnTo>
                  <a:lnTo>
                    <a:pt x="579" y="326"/>
                  </a:lnTo>
                  <a:lnTo>
                    <a:pt x="579" y="326"/>
                  </a:lnTo>
                  <a:lnTo>
                    <a:pt x="577" y="326"/>
                  </a:lnTo>
                  <a:lnTo>
                    <a:pt x="577" y="326"/>
                  </a:lnTo>
                  <a:lnTo>
                    <a:pt x="577" y="328"/>
                  </a:lnTo>
                  <a:lnTo>
                    <a:pt x="577" y="328"/>
                  </a:lnTo>
                  <a:lnTo>
                    <a:pt x="577" y="328"/>
                  </a:lnTo>
                  <a:lnTo>
                    <a:pt x="575" y="328"/>
                  </a:lnTo>
                  <a:lnTo>
                    <a:pt x="575" y="328"/>
                  </a:lnTo>
                  <a:lnTo>
                    <a:pt x="575" y="328"/>
                  </a:lnTo>
                  <a:lnTo>
                    <a:pt x="575" y="328"/>
                  </a:lnTo>
                  <a:lnTo>
                    <a:pt x="575" y="328"/>
                  </a:lnTo>
                  <a:lnTo>
                    <a:pt x="573" y="328"/>
                  </a:lnTo>
                  <a:lnTo>
                    <a:pt x="573" y="328"/>
                  </a:lnTo>
                  <a:lnTo>
                    <a:pt x="573" y="328"/>
                  </a:lnTo>
                  <a:lnTo>
                    <a:pt x="573" y="328"/>
                  </a:lnTo>
                  <a:lnTo>
                    <a:pt x="573" y="328"/>
                  </a:lnTo>
                  <a:lnTo>
                    <a:pt x="575" y="328"/>
                  </a:lnTo>
                  <a:lnTo>
                    <a:pt x="575" y="328"/>
                  </a:lnTo>
                  <a:lnTo>
                    <a:pt x="575" y="328"/>
                  </a:lnTo>
                  <a:lnTo>
                    <a:pt x="575" y="330"/>
                  </a:lnTo>
                  <a:lnTo>
                    <a:pt x="573" y="330"/>
                  </a:lnTo>
                  <a:lnTo>
                    <a:pt x="573" y="330"/>
                  </a:lnTo>
                  <a:lnTo>
                    <a:pt x="573" y="330"/>
                  </a:lnTo>
                  <a:lnTo>
                    <a:pt x="573" y="330"/>
                  </a:lnTo>
                  <a:lnTo>
                    <a:pt x="573" y="330"/>
                  </a:lnTo>
                  <a:lnTo>
                    <a:pt x="570" y="330"/>
                  </a:lnTo>
                  <a:lnTo>
                    <a:pt x="570" y="333"/>
                  </a:lnTo>
                  <a:lnTo>
                    <a:pt x="570" y="333"/>
                  </a:lnTo>
                  <a:lnTo>
                    <a:pt x="570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3"/>
                  </a:lnTo>
                  <a:lnTo>
                    <a:pt x="568" y="335"/>
                  </a:lnTo>
                  <a:lnTo>
                    <a:pt x="568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6" y="335"/>
                  </a:lnTo>
                  <a:lnTo>
                    <a:pt x="564" y="335"/>
                  </a:lnTo>
                  <a:lnTo>
                    <a:pt x="564" y="335"/>
                  </a:lnTo>
                  <a:lnTo>
                    <a:pt x="564" y="335"/>
                  </a:lnTo>
                  <a:lnTo>
                    <a:pt x="564" y="333"/>
                  </a:lnTo>
                  <a:lnTo>
                    <a:pt x="564" y="333"/>
                  </a:lnTo>
                  <a:lnTo>
                    <a:pt x="564" y="330"/>
                  </a:lnTo>
                  <a:lnTo>
                    <a:pt x="564" y="330"/>
                  </a:lnTo>
                  <a:lnTo>
                    <a:pt x="564" y="330"/>
                  </a:lnTo>
                  <a:lnTo>
                    <a:pt x="564" y="330"/>
                  </a:lnTo>
                  <a:lnTo>
                    <a:pt x="566" y="330"/>
                  </a:lnTo>
                  <a:lnTo>
                    <a:pt x="566" y="330"/>
                  </a:lnTo>
                  <a:lnTo>
                    <a:pt x="566" y="330"/>
                  </a:lnTo>
                  <a:lnTo>
                    <a:pt x="566" y="330"/>
                  </a:lnTo>
                  <a:lnTo>
                    <a:pt x="566" y="330"/>
                  </a:lnTo>
                  <a:lnTo>
                    <a:pt x="566" y="330"/>
                  </a:lnTo>
                  <a:lnTo>
                    <a:pt x="566" y="330"/>
                  </a:lnTo>
                  <a:lnTo>
                    <a:pt x="568" y="328"/>
                  </a:lnTo>
                  <a:lnTo>
                    <a:pt x="568" y="328"/>
                  </a:lnTo>
                  <a:lnTo>
                    <a:pt x="568" y="328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0" y="328"/>
                  </a:lnTo>
                  <a:lnTo>
                    <a:pt x="573" y="326"/>
                  </a:lnTo>
                  <a:lnTo>
                    <a:pt x="573" y="326"/>
                  </a:lnTo>
                  <a:lnTo>
                    <a:pt x="573" y="326"/>
                  </a:lnTo>
                  <a:lnTo>
                    <a:pt x="573" y="326"/>
                  </a:lnTo>
                  <a:lnTo>
                    <a:pt x="573" y="326"/>
                  </a:lnTo>
                  <a:lnTo>
                    <a:pt x="575" y="326"/>
                  </a:lnTo>
                  <a:lnTo>
                    <a:pt x="575" y="326"/>
                  </a:lnTo>
                  <a:lnTo>
                    <a:pt x="575" y="326"/>
                  </a:lnTo>
                  <a:lnTo>
                    <a:pt x="575" y="326"/>
                  </a:lnTo>
                  <a:lnTo>
                    <a:pt x="575" y="326"/>
                  </a:lnTo>
                  <a:lnTo>
                    <a:pt x="575" y="324"/>
                  </a:lnTo>
                  <a:lnTo>
                    <a:pt x="577" y="324"/>
                  </a:lnTo>
                  <a:lnTo>
                    <a:pt x="577" y="321"/>
                  </a:lnTo>
                  <a:lnTo>
                    <a:pt x="579" y="321"/>
                  </a:lnTo>
                  <a:lnTo>
                    <a:pt x="579" y="321"/>
                  </a:lnTo>
                  <a:lnTo>
                    <a:pt x="582" y="321"/>
                  </a:lnTo>
                  <a:lnTo>
                    <a:pt x="584" y="321"/>
                  </a:lnTo>
                  <a:lnTo>
                    <a:pt x="584" y="321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6" y="319"/>
                  </a:lnTo>
                  <a:lnTo>
                    <a:pt x="586" y="319"/>
                  </a:lnTo>
                  <a:lnTo>
                    <a:pt x="588" y="319"/>
                  </a:lnTo>
                  <a:lnTo>
                    <a:pt x="586" y="319"/>
                  </a:lnTo>
                  <a:lnTo>
                    <a:pt x="586" y="319"/>
                  </a:lnTo>
                  <a:lnTo>
                    <a:pt x="586" y="319"/>
                  </a:lnTo>
                  <a:lnTo>
                    <a:pt x="584" y="319"/>
                  </a:lnTo>
                  <a:lnTo>
                    <a:pt x="584" y="319"/>
                  </a:lnTo>
                  <a:lnTo>
                    <a:pt x="584" y="319"/>
                  </a:lnTo>
                  <a:lnTo>
                    <a:pt x="582" y="319"/>
                  </a:lnTo>
                  <a:lnTo>
                    <a:pt x="579" y="319"/>
                  </a:lnTo>
                  <a:lnTo>
                    <a:pt x="582" y="319"/>
                  </a:lnTo>
                  <a:lnTo>
                    <a:pt x="582" y="317"/>
                  </a:lnTo>
                  <a:lnTo>
                    <a:pt x="582" y="317"/>
                  </a:lnTo>
                  <a:lnTo>
                    <a:pt x="582" y="317"/>
                  </a:lnTo>
                  <a:lnTo>
                    <a:pt x="582" y="317"/>
                  </a:lnTo>
                  <a:lnTo>
                    <a:pt x="582" y="317"/>
                  </a:lnTo>
                  <a:lnTo>
                    <a:pt x="579" y="317"/>
                  </a:lnTo>
                  <a:lnTo>
                    <a:pt x="579" y="317"/>
                  </a:lnTo>
                  <a:lnTo>
                    <a:pt x="579" y="317"/>
                  </a:lnTo>
                  <a:lnTo>
                    <a:pt x="579" y="317"/>
                  </a:lnTo>
                  <a:lnTo>
                    <a:pt x="579" y="317"/>
                  </a:lnTo>
                  <a:lnTo>
                    <a:pt x="579" y="317"/>
                  </a:lnTo>
                  <a:lnTo>
                    <a:pt x="579" y="315"/>
                  </a:lnTo>
                  <a:lnTo>
                    <a:pt x="579" y="315"/>
                  </a:lnTo>
                  <a:lnTo>
                    <a:pt x="579" y="315"/>
                  </a:lnTo>
                  <a:lnTo>
                    <a:pt x="579" y="315"/>
                  </a:lnTo>
                  <a:lnTo>
                    <a:pt x="579" y="315"/>
                  </a:lnTo>
                  <a:lnTo>
                    <a:pt x="579" y="315"/>
                  </a:lnTo>
                  <a:lnTo>
                    <a:pt x="579" y="312"/>
                  </a:lnTo>
                  <a:lnTo>
                    <a:pt x="579" y="312"/>
                  </a:lnTo>
                  <a:lnTo>
                    <a:pt x="579" y="312"/>
                  </a:lnTo>
                  <a:lnTo>
                    <a:pt x="579" y="312"/>
                  </a:lnTo>
                  <a:lnTo>
                    <a:pt x="579" y="312"/>
                  </a:lnTo>
                  <a:lnTo>
                    <a:pt x="579" y="312"/>
                  </a:lnTo>
                  <a:lnTo>
                    <a:pt x="582" y="310"/>
                  </a:lnTo>
                  <a:lnTo>
                    <a:pt x="582" y="310"/>
                  </a:lnTo>
                  <a:lnTo>
                    <a:pt x="579" y="310"/>
                  </a:lnTo>
                  <a:lnTo>
                    <a:pt x="579" y="310"/>
                  </a:lnTo>
                  <a:lnTo>
                    <a:pt x="577" y="312"/>
                  </a:lnTo>
                  <a:lnTo>
                    <a:pt x="577" y="310"/>
                  </a:lnTo>
                  <a:lnTo>
                    <a:pt x="577" y="310"/>
                  </a:lnTo>
                  <a:lnTo>
                    <a:pt x="577" y="310"/>
                  </a:lnTo>
                  <a:lnTo>
                    <a:pt x="577" y="310"/>
                  </a:lnTo>
                  <a:lnTo>
                    <a:pt x="579" y="310"/>
                  </a:lnTo>
                  <a:lnTo>
                    <a:pt x="579" y="310"/>
                  </a:lnTo>
                  <a:lnTo>
                    <a:pt x="579" y="310"/>
                  </a:lnTo>
                  <a:lnTo>
                    <a:pt x="579" y="310"/>
                  </a:lnTo>
                  <a:lnTo>
                    <a:pt x="579" y="310"/>
                  </a:lnTo>
                  <a:lnTo>
                    <a:pt x="579" y="310"/>
                  </a:lnTo>
                  <a:lnTo>
                    <a:pt x="579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4" y="308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4" y="306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82" y="308"/>
                  </a:lnTo>
                  <a:lnTo>
                    <a:pt x="579" y="308"/>
                  </a:lnTo>
                  <a:lnTo>
                    <a:pt x="579" y="308"/>
                  </a:lnTo>
                  <a:lnTo>
                    <a:pt x="579" y="308"/>
                  </a:lnTo>
                  <a:lnTo>
                    <a:pt x="577" y="306"/>
                  </a:lnTo>
                  <a:lnTo>
                    <a:pt x="577" y="306"/>
                  </a:lnTo>
                  <a:lnTo>
                    <a:pt x="577" y="306"/>
                  </a:lnTo>
                  <a:lnTo>
                    <a:pt x="577" y="306"/>
                  </a:lnTo>
                  <a:lnTo>
                    <a:pt x="577" y="306"/>
                  </a:lnTo>
                  <a:lnTo>
                    <a:pt x="577" y="306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7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79" y="303"/>
                  </a:lnTo>
                  <a:lnTo>
                    <a:pt x="582" y="303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82" y="301"/>
                  </a:lnTo>
                  <a:lnTo>
                    <a:pt x="579" y="301"/>
                  </a:lnTo>
                  <a:lnTo>
                    <a:pt x="579" y="301"/>
                  </a:lnTo>
                  <a:lnTo>
                    <a:pt x="579" y="301"/>
                  </a:lnTo>
                  <a:lnTo>
                    <a:pt x="579" y="301"/>
                  </a:lnTo>
                  <a:lnTo>
                    <a:pt x="579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7" y="301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5" y="301"/>
                  </a:lnTo>
                  <a:lnTo>
                    <a:pt x="577" y="301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5" y="299"/>
                  </a:lnTo>
                  <a:lnTo>
                    <a:pt x="575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7" y="299"/>
                  </a:lnTo>
                  <a:lnTo>
                    <a:pt x="575" y="299"/>
                  </a:lnTo>
                  <a:lnTo>
                    <a:pt x="575" y="299"/>
                  </a:lnTo>
                  <a:lnTo>
                    <a:pt x="575" y="299"/>
                  </a:lnTo>
                  <a:lnTo>
                    <a:pt x="573" y="301"/>
                  </a:lnTo>
                  <a:lnTo>
                    <a:pt x="573" y="301"/>
                  </a:lnTo>
                  <a:lnTo>
                    <a:pt x="573" y="299"/>
                  </a:lnTo>
                  <a:lnTo>
                    <a:pt x="573" y="299"/>
                  </a:lnTo>
                  <a:lnTo>
                    <a:pt x="573" y="299"/>
                  </a:lnTo>
                  <a:lnTo>
                    <a:pt x="573" y="299"/>
                  </a:lnTo>
                  <a:lnTo>
                    <a:pt x="573" y="299"/>
                  </a:lnTo>
                  <a:lnTo>
                    <a:pt x="573" y="299"/>
                  </a:lnTo>
                  <a:lnTo>
                    <a:pt x="570" y="299"/>
                  </a:lnTo>
                  <a:lnTo>
                    <a:pt x="570" y="299"/>
                  </a:lnTo>
                  <a:lnTo>
                    <a:pt x="570" y="299"/>
                  </a:lnTo>
                  <a:lnTo>
                    <a:pt x="570" y="299"/>
                  </a:lnTo>
                  <a:lnTo>
                    <a:pt x="570" y="299"/>
                  </a:lnTo>
                  <a:lnTo>
                    <a:pt x="573" y="299"/>
                  </a:lnTo>
                  <a:lnTo>
                    <a:pt x="573" y="297"/>
                  </a:lnTo>
                  <a:lnTo>
                    <a:pt x="573" y="297"/>
                  </a:lnTo>
                  <a:lnTo>
                    <a:pt x="573" y="297"/>
                  </a:lnTo>
                  <a:lnTo>
                    <a:pt x="573" y="297"/>
                  </a:lnTo>
                  <a:lnTo>
                    <a:pt x="573" y="297"/>
                  </a:lnTo>
                  <a:lnTo>
                    <a:pt x="573" y="297"/>
                  </a:lnTo>
                  <a:lnTo>
                    <a:pt x="575" y="297"/>
                  </a:lnTo>
                  <a:lnTo>
                    <a:pt x="575" y="297"/>
                  </a:lnTo>
                  <a:lnTo>
                    <a:pt x="575" y="297"/>
                  </a:lnTo>
                  <a:lnTo>
                    <a:pt x="577" y="297"/>
                  </a:lnTo>
                  <a:lnTo>
                    <a:pt x="579" y="297"/>
                  </a:lnTo>
                  <a:lnTo>
                    <a:pt x="579" y="297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82" y="294"/>
                  </a:lnTo>
                  <a:lnTo>
                    <a:pt x="582" y="294"/>
                  </a:lnTo>
                  <a:lnTo>
                    <a:pt x="582" y="294"/>
                  </a:lnTo>
                  <a:lnTo>
                    <a:pt x="584" y="294"/>
                  </a:lnTo>
                  <a:lnTo>
                    <a:pt x="584" y="294"/>
                  </a:lnTo>
                  <a:lnTo>
                    <a:pt x="584" y="294"/>
                  </a:lnTo>
                  <a:lnTo>
                    <a:pt x="582" y="294"/>
                  </a:lnTo>
                  <a:lnTo>
                    <a:pt x="582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7" y="294"/>
                  </a:lnTo>
                  <a:lnTo>
                    <a:pt x="577" y="294"/>
                  </a:lnTo>
                  <a:lnTo>
                    <a:pt x="577" y="294"/>
                  </a:lnTo>
                  <a:lnTo>
                    <a:pt x="577" y="294"/>
                  </a:lnTo>
                  <a:lnTo>
                    <a:pt x="577" y="294"/>
                  </a:lnTo>
                  <a:lnTo>
                    <a:pt x="577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4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9" y="292"/>
                  </a:lnTo>
                  <a:lnTo>
                    <a:pt x="577" y="292"/>
                  </a:lnTo>
                  <a:lnTo>
                    <a:pt x="577" y="292"/>
                  </a:lnTo>
                  <a:lnTo>
                    <a:pt x="577" y="292"/>
                  </a:lnTo>
                  <a:lnTo>
                    <a:pt x="577" y="292"/>
                  </a:lnTo>
                  <a:lnTo>
                    <a:pt x="577" y="292"/>
                  </a:lnTo>
                  <a:lnTo>
                    <a:pt x="577" y="292"/>
                  </a:lnTo>
                  <a:lnTo>
                    <a:pt x="577" y="292"/>
                  </a:lnTo>
                  <a:lnTo>
                    <a:pt x="579" y="290"/>
                  </a:lnTo>
                  <a:lnTo>
                    <a:pt x="579" y="290"/>
                  </a:lnTo>
                  <a:lnTo>
                    <a:pt x="579" y="290"/>
                  </a:lnTo>
                  <a:lnTo>
                    <a:pt x="582" y="290"/>
                  </a:lnTo>
                  <a:lnTo>
                    <a:pt x="582" y="290"/>
                  </a:lnTo>
                  <a:lnTo>
                    <a:pt x="584" y="290"/>
                  </a:lnTo>
                  <a:lnTo>
                    <a:pt x="584" y="290"/>
                  </a:lnTo>
                  <a:lnTo>
                    <a:pt x="582" y="290"/>
                  </a:lnTo>
                  <a:lnTo>
                    <a:pt x="582" y="290"/>
                  </a:lnTo>
                  <a:lnTo>
                    <a:pt x="582" y="290"/>
                  </a:lnTo>
                  <a:lnTo>
                    <a:pt x="579" y="290"/>
                  </a:lnTo>
                  <a:lnTo>
                    <a:pt x="577" y="290"/>
                  </a:lnTo>
                  <a:lnTo>
                    <a:pt x="577" y="290"/>
                  </a:lnTo>
                  <a:lnTo>
                    <a:pt x="577" y="290"/>
                  </a:lnTo>
                  <a:lnTo>
                    <a:pt x="577" y="288"/>
                  </a:lnTo>
                  <a:lnTo>
                    <a:pt x="577" y="288"/>
                  </a:lnTo>
                  <a:lnTo>
                    <a:pt x="579" y="288"/>
                  </a:lnTo>
                  <a:lnTo>
                    <a:pt x="579" y="288"/>
                  </a:lnTo>
                  <a:lnTo>
                    <a:pt x="579" y="288"/>
                  </a:lnTo>
                  <a:lnTo>
                    <a:pt x="579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2" y="288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90"/>
                  </a:lnTo>
                  <a:lnTo>
                    <a:pt x="586" y="288"/>
                  </a:lnTo>
                  <a:lnTo>
                    <a:pt x="586" y="288"/>
                  </a:lnTo>
                  <a:lnTo>
                    <a:pt x="586" y="288"/>
                  </a:lnTo>
                  <a:lnTo>
                    <a:pt x="586" y="288"/>
                  </a:lnTo>
                  <a:lnTo>
                    <a:pt x="586" y="288"/>
                  </a:lnTo>
                  <a:lnTo>
                    <a:pt x="584" y="288"/>
                  </a:lnTo>
                  <a:lnTo>
                    <a:pt x="584" y="288"/>
                  </a:lnTo>
                  <a:lnTo>
                    <a:pt x="584" y="285"/>
                  </a:lnTo>
                  <a:lnTo>
                    <a:pt x="584" y="285"/>
                  </a:lnTo>
                  <a:lnTo>
                    <a:pt x="584" y="285"/>
                  </a:lnTo>
                  <a:lnTo>
                    <a:pt x="584" y="285"/>
                  </a:lnTo>
                  <a:lnTo>
                    <a:pt x="584" y="285"/>
                  </a:lnTo>
                  <a:lnTo>
                    <a:pt x="584" y="285"/>
                  </a:lnTo>
                  <a:lnTo>
                    <a:pt x="586" y="283"/>
                  </a:lnTo>
                  <a:lnTo>
                    <a:pt x="586" y="283"/>
                  </a:lnTo>
                  <a:lnTo>
                    <a:pt x="586" y="283"/>
                  </a:lnTo>
                  <a:lnTo>
                    <a:pt x="586" y="283"/>
                  </a:lnTo>
                  <a:lnTo>
                    <a:pt x="588" y="283"/>
                  </a:lnTo>
                  <a:lnTo>
                    <a:pt x="588" y="283"/>
                  </a:lnTo>
                  <a:lnTo>
                    <a:pt x="588" y="283"/>
                  </a:lnTo>
                  <a:lnTo>
                    <a:pt x="588" y="283"/>
                  </a:lnTo>
                  <a:lnTo>
                    <a:pt x="588" y="283"/>
                  </a:lnTo>
                  <a:lnTo>
                    <a:pt x="591" y="283"/>
                  </a:lnTo>
                  <a:lnTo>
                    <a:pt x="591" y="283"/>
                  </a:lnTo>
                  <a:lnTo>
                    <a:pt x="591" y="283"/>
                  </a:lnTo>
                  <a:lnTo>
                    <a:pt x="591" y="283"/>
                  </a:lnTo>
                  <a:lnTo>
                    <a:pt x="591" y="283"/>
                  </a:lnTo>
                  <a:lnTo>
                    <a:pt x="593" y="283"/>
                  </a:lnTo>
                  <a:lnTo>
                    <a:pt x="593" y="283"/>
                  </a:lnTo>
                  <a:lnTo>
                    <a:pt x="591" y="283"/>
                  </a:lnTo>
                  <a:lnTo>
                    <a:pt x="591" y="283"/>
                  </a:lnTo>
                  <a:lnTo>
                    <a:pt x="586" y="281"/>
                  </a:lnTo>
                  <a:lnTo>
                    <a:pt x="586" y="281"/>
                  </a:lnTo>
                  <a:lnTo>
                    <a:pt x="586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4" y="283"/>
                  </a:lnTo>
                  <a:lnTo>
                    <a:pt x="582" y="285"/>
                  </a:lnTo>
                  <a:lnTo>
                    <a:pt x="582" y="285"/>
                  </a:lnTo>
                  <a:lnTo>
                    <a:pt x="582" y="285"/>
                  </a:lnTo>
                  <a:lnTo>
                    <a:pt x="582" y="285"/>
                  </a:lnTo>
                  <a:lnTo>
                    <a:pt x="582" y="283"/>
                  </a:lnTo>
                  <a:lnTo>
                    <a:pt x="582" y="283"/>
                  </a:lnTo>
                  <a:lnTo>
                    <a:pt x="582" y="283"/>
                  </a:lnTo>
                  <a:lnTo>
                    <a:pt x="582" y="283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4" y="281"/>
                  </a:lnTo>
                  <a:lnTo>
                    <a:pt x="586" y="281"/>
                  </a:lnTo>
                  <a:lnTo>
                    <a:pt x="586" y="281"/>
                  </a:lnTo>
                  <a:lnTo>
                    <a:pt x="586" y="281"/>
                  </a:lnTo>
                  <a:lnTo>
                    <a:pt x="584" y="281"/>
                  </a:lnTo>
                  <a:lnTo>
                    <a:pt x="584" y="279"/>
                  </a:lnTo>
                  <a:lnTo>
                    <a:pt x="586" y="279"/>
                  </a:lnTo>
                  <a:lnTo>
                    <a:pt x="586" y="279"/>
                  </a:lnTo>
                  <a:lnTo>
                    <a:pt x="586" y="279"/>
                  </a:lnTo>
                  <a:lnTo>
                    <a:pt x="588" y="279"/>
                  </a:lnTo>
                  <a:lnTo>
                    <a:pt x="588" y="276"/>
                  </a:lnTo>
                  <a:lnTo>
                    <a:pt x="588" y="276"/>
                  </a:lnTo>
                  <a:lnTo>
                    <a:pt x="588" y="276"/>
                  </a:lnTo>
                  <a:lnTo>
                    <a:pt x="588" y="276"/>
                  </a:lnTo>
                  <a:lnTo>
                    <a:pt x="588" y="276"/>
                  </a:lnTo>
                  <a:lnTo>
                    <a:pt x="588" y="276"/>
                  </a:lnTo>
                  <a:lnTo>
                    <a:pt x="588" y="276"/>
                  </a:lnTo>
                  <a:lnTo>
                    <a:pt x="586" y="276"/>
                  </a:lnTo>
                  <a:lnTo>
                    <a:pt x="586" y="276"/>
                  </a:lnTo>
                  <a:lnTo>
                    <a:pt x="586" y="279"/>
                  </a:lnTo>
                  <a:lnTo>
                    <a:pt x="586" y="279"/>
                  </a:lnTo>
                  <a:lnTo>
                    <a:pt x="584" y="279"/>
                  </a:lnTo>
                  <a:lnTo>
                    <a:pt x="584" y="279"/>
                  </a:lnTo>
                  <a:lnTo>
                    <a:pt x="584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81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79" y="279"/>
                  </a:lnTo>
                  <a:lnTo>
                    <a:pt x="579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9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4" y="276"/>
                  </a:lnTo>
                  <a:lnTo>
                    <a:pt x="584" y="276"/>
                  </a:lnTo>
                  <a:lnTo>
                    <a:pt x="584" y="276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6" y="274"/>
                  </a:lnTo>
                  <a:lnTo>
                    <a:pt x="586" y="274"/>
                  </a:lnTo>
                  <a:lnTo>
                    <a:pt x="586" y="274"/>
                  </a:lnTo>
                  <a:lnTo>
                    <a:pt x="586" y="274"/>
                  </a:lnTo>
                  <a:lnTo>
                    <a:pt x="586" y="274"/>
                  </a:lnTo>
                  <a:lnTo>
                    <a:pt x="586" y="274"/>
                  </a:lnTo>
                  <a:lnTo>
                    <a:pt x="586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93" y="270"/>
                  </a:lnTo>
                  <a:lnTo>
                    <a:pt x="595" y="270"/>
                  </a:lnTo>
                  <a:lnTo>
                    <a:pt x="595" y="270"/>
                  </a:lnTo>
                  <a:lnTo>
                    <a:pt x="593" y="270"/>
                  </a:lnTo>
                  <a:lnTo>
                    <a:pt x="593" y="270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91" y="270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8" y="272"/>
                  </a:lnTo>
                  <a:lnTo>
                    <a:pt x="586" y="272"/>
                  </a:lnTo>
                  <a:lnTo>
                    <a:pt x="586" y="272"/>
                  </a:lnTo>
                  <a:lnTo>
                    <a:pt x="586" y="272"/>
                  </a:lnTo>
                  <a:lnTo>
                    <a:pt x="586" y="272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4" y="274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82" y="276"/>
                  </a:lnTo>
                  <a:lnTo>
                    <a:pt x="579" y="276"/>
                  </a:lnTo>
                  <a:lnTo>
                    <a:pt x="579" y="274"/>
                  </a:lnTo>
                  <a:lnTo>
                    <a:pt x="579" y="274"/>
                  </a:lnTo>
                  <a:lnTo>
                    <a:pt x="579" y="272"/>
                  </a:lnTo>
                  <a:lnTo>
                    <a:pt x="579" y="272"/>
                  </a:lnTo>
                  <a:lnTo>
                    <a:pt x="579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7" y="272"/>
                  </a:lnTo>
                  <a:lnTo>
                    <a:pt x="575" y="272"/>
                  </a:lnTo>
                  <a:lnTo>
                    <a:pt x="575" y="272"/>
                  </a:lnTo>
                  <a:lnTo>
                    <a:pt x="575" y="272"/>
                  </a:lnTo>
                  <a:lnTo>
                    <a:pt x="575" y="272"/>
                  </a:lnTo>
                  <a:lnTo>
                    <a:pt x="575" y="272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67"/>
                  </a:lnTo>
                  <a:lnTo>
                    <a:pt x="577" y="267"/>
                  </a:lnTo>
                  <a:lnTo>
                    <a:pt x="577" y="267"/>
                  </a:lnTo>
                  <a:lnTo>
                    <a:pt x="577" y="267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9" y="265"/>
                  </a:lnTo>
                  <a:lnTo>
                    <a:pt x="579" y="265"/>
                  </a:lnTo>
                  <a:lnTo>
                    <a:pt x="579" y="265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7" y="263"/>
                  </a:lnTo>
                  <a:lnTo>
                    <a:pt x="577" y="263"/>
                  </a:lnTo>
                  <a:lnTo>
                    <a:pt x="577" y="265"/>
                  </a:lnTo>
                  <a:lnTo>
                    <a:pt x="577" y="263"/>
                  </a:lnTo>
                  <a:lnTo>
                    <a:pt x="577" y="263"/>
                  </a:lnTo>
                  <a:lnTo>
                    <a:pt x="577" y="263"/>
                  </a:lnTo>
                  <a:lnTo>
                    <a:pt x="577" y="261"/>
                  </a:lnTo>
                  <a:lnTo>
                    <a:pt x="579" y="261"/>
                  </a:lnTo>
                  <a:lnTo>
                    <a:pt x="579" y="261"/>
                  </a:lnTo>
                  <a:lnTo>
                    <a:pt x="579" y="261"/>
                  </a:lnTo>
                  <a:lnTo>
                    <a:pt x="579" y="261"/>
                  </a:lnTo>
                  <a:lnTo>
                    <a:pt x="579" y="258"/>
                  </a:lnTo>
                  <a:lnTo>
                    <a:pt x="579" y="258"/>
                  </a:lnTo>
                  <a:lnTo>
                    <a:pt x="582" y="258"/>
                  </a:lnTo>
                  <a:lnTo>
                    <a:pt x="582" y="258"/>
                  </a:lnTo>
                  <a:lnTo>
                    <a:pt x="582" y="258"/>
                  </a:lnTo>
                  <a:lnTo>
                    <a:pt x="582" y="258"/>
                  </a:lnTo>
                  <a:lnTo>
                    <a:pt x="582" y="258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4" y="254"/>
                  </a:lnTo>
                  <a:lnTo>
                    <a:pt x="584" y="254"/>
                  </a:lnTo>
                  <a:lnTo>
                    <a:pt x="584" y="254"/>
                  </a:lnTo>
                  <a:lnTo>
                    <a:pt x="584" y="252"/>
                  </a:lnTo>
                  <a:lnTo>
                    <a:pt x="584" y="252"/>
                  </a:lnTo>
                  <a:lnTo>
                    <a:pt x="586" y="249"/>
                  </a:lnTo>
                  <a:lnTo>
                    <a:pt x="588" y="249"/>
                  </a:lnTo>
                  <a:lnTo>
                    <a:pt x="588" y="247"/>
                  </a:lnTo>
                  <a:lnTo>
                    <a:pt x="588" y="247"/>
                  </a:lnTo>
                  <a:lnTo>
                    <a:pt x="586" y="249"/>
                  </a:lnTo>
                  <a:lnTo>
                    <a:pt x="584" y="252"/>
                  </a:lnTo>
                  <a:lnTo>
                    <a:pt x="584" y="252"/>
                  </a:lnTo>
                  <a:lnTo>
                    <a:pt x="584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82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82" y="254"/>
                  </a:lnTo>
                  <a:lnTo>
                    <a:pt x="579" y="254"/>
                  </a:lnTo>
                  <a:lnTo>
                    <a:pt x="579" y="254"/>
                  </a:lnTo>
                  <a:lnTo>
                    <a:pt x="579" y="254"/>
                  </a:lnTo>
                  <a:lnTo>
                    <a:pt x="579" y="254"/>
                  </a:lnTo>
                  <a:lnTo>
                    <a:pt x="579" y="254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9" y="256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58"/>
                  </a:lnTo>
                  <a:lnTo>
                    <a:pt x="577" y="261"/>
                  </a:lnTo>
                  <a:lnTo>
                    <a:pt x="577" y="261"/>
                  </a:lnTo>
                  <a:lnTo>
                    <a:pt x="577" y="261"/>
                  </a:lnTo>
                  <a:lnTo>
                    <a:pt x="577" y="261"/>
                  </a:lnTo>
                  <a:lnTo>
                    <a:pt x="577" y="261"/>
                  </a:lnTo>
                  <a:lnTo>
                    <a:pt x="575" y="261"/>
                  </a:lnTo>
                  <a:lnTo>
                    <a:pt x="575" y="261"/>
                  </a:lnTo>
                  <a:lnTo>
                    <a:pt x="575" y="263"/>
                  </a:lnTo>
                  <a:lnTo>
                    <a:pt x="575" y="263"/>
                  </a:lnTo>
                  <a:lnTo>
                    <a:pt x="575" y="263"/>
                  </a:lnTo>
                  <a:lnTo>
                    <a:pt x="575" y="265"/>
                  </a:lnTo>
                  <a:lnTo>
                    <a:pt x="575" y="265"/>
                  </a:lnTo>
                  <a:lnTo>
                    <a:pt x="573" y="265"/>
                  </a:lnTo>
                  <a:lnTo>
                    <a:pt x="573" y="267"/>
                  </a:lnTo>
                  <a:lnTo>
                    <a:pt x="573" y="267"/>
                  </a:lnTo>
                  <a:lnTo>
                    <a:pt x="573" y="267"/>
                  </a:lnTo>
                  <a:lnTo>
                    <a:pt x="573" y="267"/>
                  </a:lnTo>
                  <a:lnTo>
                    <a:pt x="573" y="267"/>
                  </a:lnTo>
                  <a:lnTo>
                    <a:pt x="570" y="267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70" y="270"/>
                  </a:lnTo>
                  <a:lnTo>
                    <a:pt x="568" y="272"/>
                  </a:lnTo>
                  <a:lnTo>
                    <a:pt x="568" y="272"/>
                  </a:lnTo>
                  <a:lnTo>
                    <a:pt x="568" y="274"/>
                  </a:lnTo>
                  <a:lnTo>
                    <a:pt x="568" y="274"/>
                  </a:lnTo>
                  <a:lnTo>
                    <a:pt x="568" y="274"/>
                  </a:lnTo>
                  <a:lnTo>
                    <a:pt x="568" y="274"/>
                  </a:lnTo>
                  <a:lnTo>
                    <a:pt x="568" y="274"/>
                  </a:lnTo>
                  <a:lnTo>
                    <a:pt x="568" y="274"/>
                  </a:lnTo>
                  <a:lnTo>
                    <a:pt x="566" y="274"/>
                  </a:lnTo>
                  <a:lnTo>
                    <a:pt x="566" y="274"/>
                  </a:lnTo>
                  <a:lnTo>
                    <a:pt x="566" y="274"/>
                  </a:lnTo>
                  <a:lnTo>
                    <a:pt x="566" y="274"/>
                  </a:lnTo>
                  <a:lnTo>
                    <a:pt x="566" y="274"/>
                  </a:lnTo>
                  <a:lnTo>
                    <a:pt x="566" y="274"/>
                  </a:lnTo>
                  <a:lnTo>
                    <a:pt x="566" y="276"/>
                  </a:lnTo>
                  <a:lnTo>
                    <a:pt x="566" y="276"/>
                  </a:lnTo>
                  <a:lnTo>
                    <a:pt x="564" y="276"/>
                  </a:lnTo>
                  <a:lnTo>
                    <a:pt x="564" y="274"/>
                  </a:lnTo>
                  <a:lnTo>
                    <a:pt x="564" y="274"/>
                  </a:lnTo>
                  <a:lnTo>
                    <a:pt x="564" y="274"/>
                  </a:lnTo>
                  <a:lnTo>
                    <a:pt x="564" y="272"/>
                  </a:lnTo>
                  <a:lnTo>
                    <a:pt x="564" y="272"/>
                  </a:lnTo>
                  <a:lnTo>
                    <a:pt x="564" y="272"/>
                  </a:lnTo>
                  <a:lnTo>
                    <a:pt x="564" y="272"/>
                  </a:lnTo>
                  <a:lnTo>
                    <a:pt x="564" y="270"/>
                  </a:lnTo>
                  <a:lnTo>
                    <a:pt x="564" y="270"/>
                  </a:lnTo>
                  <a:lnTo>
                    <a:pt x="564" y="270"/>
                  </a:lnTo>
                  <a:lnTo>
                    <a:pt x="564" y="270"/>
                  </a:lnTo>
                  <a:lnTo>
                    <a:pt x="564" y="270"/>
                  </a:lnTo>
                  <a:lnTo>
                    <a:pt x="564" y="270"/>
                  </a:lnTo>
                  <a:lnTo>
                    <a:pt x="564" y="272"/>
                  </a:lnTo>
                  <a:lnTo>
                    <a:pt x="564" y="272"/>
                  </a:lnTo>
                  <a:lnTo>
                    <a:pt x="564" y="272"/>
                  </a:lnTo>
                  <a:lnTo>
                    <a:pt x="564" y="272"/>
                  </a:lnTo>
                  <a:lnTo>
                    <a:pt x="561" y="272"/>
                  </a:lnTo>
                  <a:lnTo>
                    <a:pt x="561" y="272"/>
                  </a:lnTo>
                  <a:lnTo>
                    <a:pt x="561" y="272"/>
                  </a:lnTo>
                  <a:lnTo>
                    <a:pt x="561" y="272"/>
                  </a:lnTo>
                  <a:lnTo>
                    <a:pt x="561" y="272"/>
                  </a:lnTo>
                  <a:lnTo>
                    <a:pt x="561" y="272"/>
                  </a:lnTo>
                  <a:lnTo>
                    <a:pt x="561" y="272"/>
                  </a:lnTo>
                  <a:lnTo>
                    <a:pt x="559" y="272"/>
                  </a:lnTo>
                  <a:lnTo>
                    <a:pt x="555" y="272"/>
                  </a:lnTo>
                  <a:lnTo>
                    <a:pt x="555" y="272"/>
                  </a:lnTo>
                  <a:lnTo>
                    <a:pt x="555" y="272"/>
                  </a:lnTo>
                  <a:lnTo>
                    <a:pt x="557" y="272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7" y="270"/>
                  </a:lnTo>
                  <a:lnTo>
                    <a:pt x="559" y="270"/>
                  </a:lnTo>
                  <a:lnTo>
                    <a:pt x="559" y="270"/>
                  </a:lnTo>
                  <a:lnTo>
                    <a:pt x="559" y="270"/>
                  </a:lnTo>
                  <a:lnTo>
                    <a:pt x="559" y="270"/>
                  </a:lnTo>
                  <a:lnTo>
                    <a:pt x="559" y="270"/>
                  </a:lnTo>
                  <a:lnTo>
                    <a:pt x="559" y="267"/>
                  </a:lnTo>
                  <a:lnTo>
                    <a:pt x="559" y="267"/>
                  </a:lnTo>
                  <a:lnTo>
                    <a:pt x="559" y="267"/>
                  </a:lnTo>
                  <a:lnTo>
                    <a:pt x="559" y="267"/>
                  </a:lnTo>
                  <a:lnTo>
                    <a:pt x="559" y="267"/>
                  </a:lnTo>
                  <a:lnTo>
                    <a:pt x="561" y="267"/>
                  </a:lnTo>
                  <a:lnTo>
                    <a:pt x="561" y="267"/>
                  </a:lnTo>
                  <a:lnTo>
                    <a:pt x="561" y="267"/>
                  </a:lnTo>
                  <a:lnTo>
                    <a:pt x="561" y="267"/>
                  </a:lnTo>
                  <a:lnTo>
                    <a:pt x="561" y="267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1" y="265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64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8" y="261"/>
                  </a:lnTo>
                  <a:lnTo>
                    <a:pt x="568" y="261"/>
                  </a:lnTo>
                  <a:lnTo>
                    <a:pt x="568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58"/>
                  </a:lnTo>
                  <a:lnTo>
                    <a:pt x="564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6" y="258"/>
                  </a:lnTo>
                  <a:lnTo>
                    <a:pt x="564" y="258"/>
                  </a:lnTo>
                  <a:lnTo>
                    <a:pt x="566" y="258"/>
                  </a:lnTo>
                  <a:lnTo>
                    <a:pt x="564" y="258"/>
                  </a:lnTo>
                  <a:lnTo>
                    <a:pt x="564" y="258"/>
                  </a:lnTo>
                  <a:lnTo>
                    <a:pt x="564" y="258"/>
                  </a:lnTo>
                  <a:lnTo>
                    <a:pt x="564" y="258"/>
                  </a:lnTo>
                  <a:lnTo>
                    <a:pt x="564" y="258"/>
                  </a:lnTo>
                  <a:lnTo>
                    <a:pt x="561" y="261"/>
                  </a:lnTo>
                  <a:lnTo>
                    <a:pt x="561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4" y="261"/>
                  </a:lnTo>
                  <a:lnTo>
                    <a:pt x="561" y="261"/>
                  </a:lnTo>
                  <a:lnTo>
                    <a:pt x="561" y="263"/>
                  </a:lnTo>
                  <a:lnTo>
                    <a:pt x="561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7" y="263"/>
                  </a:lnTo>
                  <a:lnTo>
                    <a:pt x="557" y="263"/>
                  </a:lnTo>
                  <a:lnTo>
                    <a:pt x="557" y="263"/>
                  </a:lnTo>
                  <a:lnTo>
                    <a:pt x="557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9" y="263"/>
                  </a:lnTo>
                  <a:lnTo>
                    <a:pt x="557" y="263"/>
                  </a:lnTo>
                  <a:lnTo>
                    <a:pt x="557" y="263"/>
                  </a:lnTo>
                  <a:lnTo>
                    <a:pt x="555" y="263"/>
                  </a:lnTo>
                  <a:lnTo>
                    <a:pt x="555" y="263"/>
                  </a:lnTo>
                  <a:lnTo>
                    <a:pt x="555" y="261"/>
                  </a:lnTo>
                  <a:lnTo>
                    <a:pt x="557" y="261"/>
                  </a:lnTo>
                  <a:lnTo>
                    <a:pt x="557" y="258"/>
                  </a:lnTo>
                  <a:lnTo>
                    <a:pt x="557" y="258"/>
                  </a:lnTo>
                  <a:lnTo>
                    <a:pt x="557" y="258"/>
                  </a:lnTo>
                  <a:lnTo>
                    <a:pt x="557" y="258"/>
                  </a:lnTo>
                  <a:lnTo>
                    <a:pt x="557" y="258"/>
                  </a:lnTo>
                  <a:lnTo>
                    <a:pt x="555" y="261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5" y="261"/>
                  </a:lnTo>
                  <a:lnTo>
                    <a:pt x="555" y="261"/>
                  </a:lnTo>
                  <a:lnTo>
                    <a:pt x="555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58"/>
                  </a:lnTo>
                  <a:lnTo>
                    <a:pt x="552" y="258"/>
                  </a:lnTo>
                  <a:lnTo>
                    <a:pt x="552" y="258"/>
                  </a:lnTo>
                  <a:lnTo>
                    <a:pt x="552" y="258"/>
                  </a:lnTo>
                  <a:lnTo>
                    <a:pt x="552" y="258"/>
                  </a:lnTo>
                  <a:lnTo>
                    <a:pt x="552" y="258"/>
                  </a:lnTo>
                  <a:lnTo>
                    <a:pt x="550" y="256"/>
                  </a:lnTo>
                  <a:lnTo>
                    <a:pt x="550" y="256"/>
                  </a:lnTo>
                  <a:lnTo>
                    <a:pt x="550" y="256"/>
                  </a:lnTo>
                  <a:lnTo>
                    <a:pt x="550" y="256"/>
                  </a:lnTo>
                  <a:lnTo>
                    <a:pt x="550" y="256"/>
                  </a:lnTo>
                  <a:lnTo>
                    <a:pt x="550" y="258"/>
                  </a:lnTo>
                  <a:lnTo>
                    <a:pt x="550" y="258"/>
                  </a:lnTo>
                  <a:lnTo>
                    <a:pt x="550" y="258"/>
                  </a:lnTo>
                  <a:lnTo>
                    <a:pt x="550" y="258"/>
                  </a:lnTo>
                  <a:lnTo>
                    <a:pt x="550" y="258"/>
                  </a:lnTo>
                  <a:lnTo>
                    <a:pt x="550" y="258"/>
                  </a:lnTo>
                  <a:lnTo>
                    <a:pt x="550" y="258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6" y="261"/>
                  </a:lnTo>
                  <a:lnTo>
                    <a:pt x="546" y="261"/>
                  </a:lnTo>
                  <a:lnTo>
                    <a:pt x="546" y="261"/>
                  </a:lnTo>
                  <a:lnTo>
                    <a:pt x="543" y="263"/>
                  </a:lnTo>
                  <a:lnTo>
                    <a:pt x="543" y="263"/>
                  </a:lnTo>
                  <a:lnTo>
                    <a:pt x="543" y="263"/>
                  </a:lnTo>
                  <a:lnTo>
                    <a:pt x="546" y="263"/>
                  </a:lnTo>
                  <a:lnTo>
                    <a:pt x="546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3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1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5" y="261"/>
                  </a:lnTo>
                  <a:lnTo>
                    <a:pt x="555" y="261"/>
                  </a:lnTo>
                  <a:lnTo>
                    <a:pt x="555" y="263"/>
                  </a:lnTo>
                  <a:lnTo>
                    <a:pt x="555" y="263"/>
                  </a:lnTo>
                  <a:lnTo>
                    <a:pt x="555" y="263"/>
                  </a:lnTo>
                  <a:lnTo>
                    <a:pt x="555" y="263"/>
                  </a:lnTo>
                  <a:lnTo>
                    <a:pt x="555" y="263"/>
                  </a:lnTo>
                  <a:lnTo>
                    <a:pt x="555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3"/>
                  </a:lnTo>
                  <a:lnTo>
                    <a:pt x="552" y="263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2" y="265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5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2" y="270"/>
                  </a:lnTo>
                  <a:lnTo>
                    <a:pt x="552" y="270"/>
                  </a:lnTo>
                  <a:lnTo>
                    <a:pt x="552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2" y="272"/>
                  </a:lnTo>
                  <a:lnTo>
                    <a:pt x="552" y="272"/>
                  </a:lnTo>
                  <a:lnTo>
                    <a:pt x="552" y="272"/>
                  </a:lnTo>
                  <a:lnTo>
                    <a:pt x="552" y="272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74"/>
                  </a:lnTo>
                  <a:lnTo>
                    <a:pt x="548" y="274"/>
                  </a:lnTo>
                  <a:lnTo>
                    <a:pt x="548" y="274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0"/>
                  </a:lnTo>
                  <a:lnTo>
                    <a:pt x="546" y="270"/>
                  </a:lnTo>
                  <a:lnTo>
                    <a:pt x="546" y="270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6" y="272"/>
                  </a:lnTo>
                  <a:lnTo>
                    <a:pt x="548" y="272"/>
                  </a:lnTo>
                  <a:lnTo>
                    <a:pt x="548" y="272"/>
                  </a:lnTo>
                  <a:lnTo>
                    <a:pt x="546" y="272"/>
                  </a:lnTo>
                  <a:lnTo>
                    <a:pt x="546" y="274"/>
                  </a:lnTo>
                  <a:lnTo>
                    <a:pt x="546" y="274"/>
                  </a:lnTo>
                  <a:lnTo>
                    <a:pt x="546" y="274"/>
                  </a:lnTo>
                  <a:lnTo>
                    <a:pt x="546" y="274"/>
                  </a:lnTo>
                  <a:lnTo>
                    <a:pt x="543" y="274"/>
                  </a:lnTo>
                  <a:lnTo>
                    <a:pt x="543" y="274"/>
                  </a:lnTo>
                  <a:lnTo>
                    <a:pt x="543" y="274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3" y="272"/>
                  </a:lnTo>
                  <a:lnTo>
                    <a:pt x="541" y="272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6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6"/>
                  </a:lnTo>
                  <a:lnTo>
                    <a:pt x="539" y="276"/>
                  </a:lnTo>
                  <a:lnTo>
                    <a:pt x="539" y="276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41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2"/>
                  </a:lnTo>
                  <a:lnTo>
                    <a:pt x="539" y="274"/>
                  </a:lnTo>
                  <a:lnTo>
                    <a:pt x="539" y="274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7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4" y="272"/>
                  </a:lnTo>
                  <a:lnTo>
                    <a:pt x="534" y="272"/>
                  </a:lnTo>
                  <a:lnTo>
                    <a:pt x="534" y="270"/>
                  </a:lnTo>
                  <a:lnTo>
                    <a:pt x="534" y="270"/>
                  </a:lnTo>
                  <a:lnTo>
                    <a:pt x="534" y="270"/>
                  </a:lnTo>
                  <a:lnTo>
                    <a:pt x="534" y="270"/>
                  </a:lnTo>
                  <a:lnTo>
                    <a:pt x="534" y="270"/>
                  </a:lnTo>
                  <a:lnTo>
                    <a:pt x="532" y="270"/>
                  </a:lnTo>
                  <a:lnTo>
                    <a:pt x="532" y="270"/>
                  </a:lnTo>
                  <a:lnTo>
                    <a:pt x="532" y="267"/>
                  </a:lnTo>
                  <a:lnTo>
                    <a:pt x="532" y="267"/>
                  </a:lnTo>
                  <a:lnTo>
                    <a:pt x="532" y="267"/>
                  </a:lnTo>
                  <a:lnTo>
                    <a:pt x="532" y="267"/>
                  </a:lnTo>
                  <a:lnTo>
                    <a:pt x="530" y="267"/>
                  </a:lnTo>
                  <a:lnTo>
                    <a:pt x="530" y="267"/>
                  </a:lnTo>
                  <a:lnTo>
                    <a:pt x="532" y="267"/>
                  </a:lnTo>
                  <a:lnTo>
                    <a:pt x="532" y="267"/>
                  </a:lnTo>
                  <a:lnTo>
                    <a:pt x="532" y="267"/>
                  </a:lnTo>
                  <a:lnTo>
                    <a:pt x="532" y="267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2" y="265"/>
                  </a:lnTo>
                  <a:lnTo>
                    <a:pt x="532" y="267"/>
                  </a:lnTo>
                  <a:lnTo>
                    <a:pt x="530" y="267"/>
                  </a:lnTo>
                  <a:lnTo>
                    <a:pt x="530" y="265"/>
                  </a:lnTo>
                  <a:lnTo>
                    <a:pt x="532" y="265"/>
                  </a:lnTo>
                  <a:lnTo>
                    <a:pt x="532" y="265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3"/>
                  </a:lnTo>
                  <a:lnTo>
                    <a:pt x="530" y="261"/>
                  </a:lnTo>
                  <a:lnTo>
                    <a:pt x="532" y="261"/>
                  </a:lnTo>
                  <a:lnTo>
                    <a:pt x="532" y="261"/>
                  </a:lnTo>
                  <a:lnTo>
                    <a:pt x="530" y="258"/>
                  </a:lnTo>
                  <a:lnTo>
                    <a:pt x="530" y="256"/>
                  </a:lnTo>
                  <a:lnTo>
                    <a:pt x="530" y="256"/>
                  </a:lnTo>
                  <a:lnTo>
                    <a:pt x="530" y="256"/>
                  </a:lnTo>
                  <a:lnTo>
                    <a:pt x="528" y="256"/>
                  </a:lnTo>
                  <a:lnTo>
                    <a:pt x="528" y="256"/>
                  </a:lnTo>
                  <a:lnTo>
                    <a:pt x="528" y="256"/>
                  </a:lnTo>
                  <a:lnTo>
                    <a:pt x="528" y="256"/>
                  </a:lnTo>
                  <a:lnTo>
                    <a:pt x="528" y="256"/>
                  </a:lnTo>
                  <a:lnTo>
                    <a:pt x="530" y="256"/>
                  </a:lnTo>
                  <a:lnTo>
                    <a:pt x="528" y="256"/>
                  </a:lnTo>
                  <a:lnTo>
                    <a:pt x="525" y="256"/>
                  </a:lnTo>
                  <a:lnTo>
                    <a:pt x="525" y="256"/>
                  </a:lnTo>
                  <a:lnTo>
                    <a:pt x="528" y="256"/>
                  </a:lnTo>
                  <a:lnTo>
                    <a:pt x="528" y="256"/>
                  </a:lnTo>
                  <a:lnTo>
                    <a:pt x="528" y="256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0" y="254"/>
                  </a:lnTo>
                  <a:lnTo>
                    <a:pt x="530" y="254"/>
                  </a:lnTo>
                  <a:lnTo>
                    <a:pt x="530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5" y="254"/>
                  </a:lnTo>
                  <a:lnTo>
                    <a:pt x="525" y="254"/>
                  </a:lnTo>
                  <a:lnTo>
                    <a:pt x="525" y="254"/>
                  </a:lnTo>
                  <a:lnTo>
                    <a:pt x="525" y="254"/>
                  </a:lnTo>
                  <a:lnTo>
                    <a:pt x="525" y="256"/>
                  </a:lnTo>
                  <a:lnTo>
                    <a:pt x="525" y="254"/>
                  </a:lnTo>
                  <a:lnTo>
                    <a:pt x="525" y="254"/>
                  </a:lnTo>
                  <a:lnTo>
                    <a:pt x="525" y="254"/>
                  </a:lnTo>
                  <a:lnTo>
                    <a:pt x="525" y="254"/>
                  </a:lnTo>
                  <a:lnTo>
                    <a:pt x="523" y="254"/>
                  </a:lnTo>
                  <a:lnTo>
                    <a:pt x="523" y="254"/>
                  </a:lnTo>
                  <a:lnTo>
                    <a:pt x="523" y="252"/>
                  </a:lnTo>
                  <a:lnTo>
                    <a:pt x="519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21" y="252"/>
                  </a:lnTo>
                  <a:lnTo>
                    <a:pt x="519" y="252"/>
                  </a:lnTo>
                  <a:lnTo>
                    <a:pt x="521" y="249"/>
                  </a:lnTo>
                  <a:lnTo>
                    <a:pt x="521" y="249"/>
                  </a:lnTo>
                  <a:lnTo>
                    <a:pt x="521" y="249"/>
                  </a:lnTo>
                  <a:lnTo>
                    <a:pt x="521" y="249"/>
                  </a:lnTo>
                  <a:lnTo>
                    <a:pt x="521" y="249"/>
                  </a:lnTo>
                  <a:lnTo>
                    <a:pt x="521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52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9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6" y="249"/>
                  </a:lnTo>
                  <a:lnTo>
                    <a:pt x="516" y="247"/>
                  </a:lnTo>
                  <a:lnTo>
                    <a:pt x="514" y="247"/>
                  </a:lnTo>
                  <a:lnTo>
                    <a:pt x="514" y="245"/>
                  </a:lnTo>
                  <a:lnTo>
                    <a:pt x="514" y="247"/>
                  </a:lnTo>
                  <a:lnTo>
                    <a:pt x="516" y="247"/>
                  </a:lnTo>
                  <a:lnTo>
                    <a:pt x="516" y="247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6" y="245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21" y="245"/>
                  </a:lnTo>
                  <a:lnTo>
                    <a:pt x="521" y="245"/>
                  </a:lnTo>
                  <a:lnTo>
                    <a:pt x="521" y="245"/>
                  </a:lnTo>
                  <a:lnTo>
                    <a:pt x="523" y="243"/>
                  </a:lnTo>
                  <a:lnTo>
                    <a:pt x="523" y="243"/>
                  </a:lnTo>
                  <a:lnTo>
                    <a:pt x="523" y="243"/>
                  </a:lnTo>
                  <a:lnTo>
                    <a:pt x="523" y="243"/>
                  </a:lnTo>
                  <a:lnTo>
                    <a:pt x="523" y="240"/>
                  </a:lnTo>
                  <a:lnTo>
                    <a:pt x="523" y="240"/>
                  </a:lnTo>
                  <a:lnTo>
                    <a:pt x="523" y="240"/>
                  </a:lnTo>
                  <a:lnTo>
                    <a:pt x="525" y="240"/>
                  </a:lnTo>
                  <a:lnTo>
                    <a:pt x="525" y="240"/>
                  </a:lnTo>
                  <a:lnTo>
                    <a:pt x="525" y="238"/>
                  </a:lnTo>
                  <a:lnTo>
                    <a:pt x="525" y="238"/>
                  </a:lnTo>
                  <a:lnTo>
                    <a:pt x="525" y="238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30" y="238"/>
                  </a:lnTo>
                  <a:lnTo>
                    <a:pt x="530" y="238"/>
                  </a:lnTo>
                  <a:lnTo>
                    <a:pt x="530" y="240"/>
                  </a:lnTo>
                  <a:lnTo>
                    <a:pt x="530" y="240"/>
                  </a:lnTo>
                  <a:lnTo>
                    <a:pt x="528" y="240"/>
                  </a:lnTo>
                  <a:lnTo>
                    <a:pt x="528" y="240"/>
                  </a:lnTo>
                  <a:lnTo>
                    <a:pt x="528" y="240"/>
                  </a:lnTo>
                  <a:lnTo>
                    <a:pt x="528" y="243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5" y="245"/>
                  </a:lnTo>
                  <a:lnTo>
                    <a:pt x="525" y="245"/>
                  </a:lnTo>
                  <a:lnTo>
                    <a:pt x="525" y="245"/>
                  </a:lnTo>
                  <a:lnTo>
                    <a:pt x="525" y="245"/>
                  </a:lnTo>
                  <a:lnTo>
                    <a:pt x="523" y="245"/>
                  </a:lnTo>
                  <a:lnTo>
                    <a:pt x="523" y="245"/>
                  </a:lnTo>
                  <a:lnTo>
                    <a:pt x="523" y="245"/>
                  </a:lnTo>
                  <a:lnTo>
                    <a:pt x="523" y="245"/>
                  </a:lnTo>
                  <a:lnTo>
                    <a:pt x="525" y="245"/>
                  </a:lnTo>
                  <a:lnTo>
                    <a:pt x="525" y="245"/>
                  </a:lnTo>
                  <a:lnTo>
                    <a:pt x="525" y="245"/>
                  </a:lnTo>
                  <a:lnTo>
                    <a:pt x="525" y="243"/>
                  </a:lnTo>
                  <a:lnTo>
                    <a:pt x="525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3"/>
                  </a:lnTo>
                  <a:lnTo>
                    <a:pt x="528" y="240"/>
                  </a:lnTo>
                  <a:lnTo>
                    <a:pt x="528" y="240"/>
                  </a:lnTo>
                  <a:lnTo>
                    <a:pt x="530" y="240"/>
                  </a:lnTo>
                  <a:lnTo>
                    <a:pt x="530" y="240"/>
                  </a:lnTo>
                  <a:lnTo>
                    <a:pt x="530" y="240"/>
                  </a:lnTo>
                  <a:lnTo>
                    <a:pt x="530" y="240"/>
                  </a:lnTo>
                  <a:lnTo>
                    <a:pt x="532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7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4" y="240"/>
                  </a:lnTo>
                  <a:lnTo>
                    <a:pt x="532" y="238"/>
                  </a:lnTo>
                  <a:lnTo>
                    <a:pt x="532" y="238"/>
                  </a:lnTo>
                  <a:lnTo>
                    <a:pt x="532" y="238"/>
                  </a:lnTo>
                  <a:lnTo>
                    <a:pt x="532" y="238"/>
                  </a:lnTo>
                  <a:lnTo>
                    <a:pt x="532" y="238"/>
                  </a:lnTo>
                  <a:lnTo>
                    <a:pt x="532" y="236"/>
                  </a:lnTo>
                  <a:lnTo>
                    <a:pt x="532" y="236"/>
                  </a:lnTo>
                  <a:lnTo>
                    <a:pt x="532" y="236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30" y="236"/>
                  </a:lnTo>
                  <a:lnTo>
                    <a:pt x="528" y="236"/>
                  </a:lnTo>
                  <a:lnTo>
                    <a:pt x="528" y="236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25" y="238"/>
                  </a:lnTo>
                  <a:lnTo>
                    <a:pt x="525" y="238"/>
                  </a:lnTo>
                  <a:lnTo>
                    <a:pt x="525" y="238"/>
                  </a:lnTo>
                  <a:lnTo>
                    <a:pt x="523" y="238"/>
                  </a:lnTo>
                  <a:lnTo>
                    <a:pt x="521" y="240"/>
                  </a:lnTo>
                  <a:lnTo>
                    <a:pt x="521" y="240"/>
                  </a:lnTo>
                  <a:lnTo>
                    <a:pt x="516" y="240"/>
                  </a:lnTo>
                  <a:lnTo>
                    <a:pt x="516" y="240"/>
                  </a:lnTo>
                  <a:lnTo>
                    <a:pt x="514" y="243"/>
                  </a:lnTo>
                  <a:lnTo>
                    <a:pt x="510" y="243"/>
                  </a:lnTo>
                  <a:lnTo>
                    <a:pt x="510" y="243"/>
                  </a:lnTo>
                  <a:lnTo>
                    <a:pt x="507" y="243"/>
                  </a:lnTo>
                  <a:lnTo>
                    <a:pt x="505" y="243"/>
                  </a:lnTo>
                  <a:lnTo>
                    <a:pt x="503" y="243"/>
                  </a:lnTo>
                  <a:lnTo>
                    <a:pt x="503" y="243"/>
                  </a:lnTo>
                  <a:lnTo>
                    <a:pt x="501" y="243"/>
                  </a:lnTo>
                  <a:lnTo>
                    <a:pt x="501" y="240"/>
                  </a:lnTo>
                  <a:lnTo>
                    <a:pt x="498" y="240"/>
                  </a:lnTo>
                  <a:lnTo>
                    <a:pt x="496" y="240"/>
                  </a:lnTo>
                  <a:lnTo>
                    <a:pt x="496" y="238"/>
                  </a:lnTo>
                  <a:lnTo>
                    <a:pt x="494" y="238"/>
                  </a:lnTo>
                  <a:lnTo>
                    <a:pt x="494" y="238"/>
                  </a:lnTo>
                  <a:lnTo>
                    <a:pt x="494" y="238"/>
                  </a:lnTo>
                  <a:lnTo>
                    <a:pt x="494" y="238"/>
                  </a:lnTo>
                  <a:lnTo>
                    <a:pt x="496" y="238"/>
                  </a:lnTo>
                  <a:lnTo>
                    <a:pt x="496" y="238"/>
                  </a:lnTo>
                  <a:lnTo>
                    <a:pt x="496" y="238"/>
                  </a:lnTo>
                  <a:lnTo>
                    <a:pt x="496" y="238"/>
                  </a:lnTo>
                  <a:lnTo>
                    <a:pt x="494" y="238"/>
                  </a:lnTo>
                  <a:lnTo>
                    <a:pt x="494" y="238"/>
                  </a:lnTo>
                  <a:lnTo>
                    <a:pt x="496" y="238"/>
                  </a:lnTo>
                  <a:lnTo>
                    <a:pt x="496" y="238"/>
                  </a:lnTo>
                  <a:lnTo>
                    <a:pt x="496" y="238"/>
                  </a:lnTo>
                  <a:lnTo>
                    <a:pt x="496" y="238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498" y="238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6"/>
                  </a:lnTo>
                  <a:lnTo>
                    <a:pt x="501" y="234"/>
                  </a:lnTo>
                  <a:lnTo>
                    <a:pt x="501" y="234"/>
                  </a:lnTo>
                  <a:lnTo>
                    <a:pt x="501" y="234"/>
                  </a:lnTo>
                  <a:lnTo>
                    <a:pt x="501" y="234"/>
                  </a:lnTo>
                  <a:lnTo>
                    <a:pt x="501" y="234"/>
                  </a:lnTo>
                  <a:lnTo>
                    <a:pt x="498" y="234"/>
                  </a:lnTo>
                  <a:lnTo>
                    <a:pt x="498" y="234"/>
                  </a:lnTo>
                  <a:lnTo>
                    <a:pt x="498" y="234"/>
                  </a:lnTo>
                  <a:lnTo>
                    <a:pt x="498" y="234"/>
                  </a:lnTo>
                  <a:lnTo>
                    <a:pt x="498" y="234"/>
                  </a:lnTo>
                  <a:lnTo>
                    <a:pt x="498" y="236"/>
                  </a:lnTo>
                  <a:lnTo>
                    <a:pt x="498" y="236"/>
                  </a:lnTo>
                  <a:lnTo>
                    <a:pt x="498" y="236"/>
                  </a:lnTo>
                  <a:lnTo>
                    <a:pt x="498" y="236"/>
                  </a:lnTo>
                  <a:lnTo>
                    <a:pt x="498" y="236"/>
                  </a:lnTo>
                  <a:lnTo>
                    <a:pt x="496" y="236"/>
                  </a:lnTo>
                  <a:lnTo>
                    <a:pt x="494" y="236"/>
                  </a:lnTo>
                  <a:lnTo>
                    <a:pt x="492" y="238"/>
                  </a:lnTo>
                  <a:lnTo>
                    <a:pt x="492" y="238"/>
                  </a:lnTo>
                  <a:lnTo>
                    <a:pt x="489" y="236"/>
                  </a:lnTo>
                  <a:lnTo>
                    <a:pt x="489" y="236"/>
                  </a:lnTo>
                  <a:lnTo>
                    <a:pt x="487" y="236"/>
                  </a:lnTo>
                  <a:lnTo>
                    <a:pt x="485" y="236"/>
                  </a:lnTo>
                  <a:lnTo>
                    <a:pt x="483" y="236"/>
                  </a:lnTo>
                  <a:lnTo>
                    <a:pt x="480" y="234"/>
                  </a:lnTo>
                  <a:lnTo>
                    <a:pt x="480" y="234"/>
                  </a:lnTo>
                  <a:lnTo>
                    <a:pt x="476" y="234"/>
                  </a:lnTo>
                  <a:lnTo>
                    <a:pt x="474" y="234"/>
                  </a:lnTo>
                  <a:lnTo>
                    <a:pt x="469" y="236"/>
                  </a:lnTo>
                  <a:lnTo>
                    <a:pt x="465" y="236"/>
                  </a:lnTo>
                  <a:lnTo>
                    <a:pt x="463" y="236"/>
                  </a:lnTo>
                  <a:lnTo>
                    <a:pt x="458" y="236"/>
                  </a:lnTo>
                  <a:lnTo>
                    <a:pt x="456" y="236"/>
                  </a:lnTo>
                  <a:lnTo>
                    <a:pt x="456" y="236"/>
                  </a:lnTo>
                  <a:lnTo>
                    <a:pt x="454" y="236"/>
                  </a:lnTo>
                  <a:lnTo>
                    <a:pt x="454" y="236"/>
                  </a:lnTo>
                  <a:lnTo>
                    <a:pt x="451" y="236"/>
                  </a:lnTo>
                  <a:lnTo>
                    <a:pt x="454" y="236"/>
                  </a:lnTo>
                  <a:lnTo>
                    <a:pt x="454" y="236"/>
                  </a:lnTo>
                  <a:lnTo>
                    <a:pt x="456" y="236"/>
                  </a:lnTo>
                  <a:lnTo>
                    <a:pt x="456" y="236"/>
                  </a:lnTo>
                  <a:lnTo>
                    <a:pt x="456" y="234"/>
                  </a:lnTo>
                  <a:lnTo>
                    <a:pt x="454" y="234"/>
                  </a:lnTo>
                  <a:lnTo>
                    <a:pt x="454" y="234"/>
                  </a:lnTo>
                  <a:lnTo>
                    <a:pt x="454" y="234"/>
                  </a:lnTo>
                  <a:lnTo>
                    <a:pt x="454" y="234"/>
                  </a:lnTo>
                  <a:lnTo>
                    <a:pt x="454" y="234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6" y="231"/>
                  </a:lnTo>
                  <a:lnTo>
                    <a:pt x="454" y="231"/>
                  </a:lnTo>
                  <a:lnTo>
                    <a:pt x="454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51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7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31"/>
                  </a:lnTo>
                  <a:lnTo>
                    <a:pt x="449" y="229"/>
                  </a:lnTo>
                  <a:lnTo>
                    <a:pt x="449" y="229"/>
                  </a:lnTo>
                  <a:lnTo>
                    <a:pt x="449" y="229"/>
                  </a:lnTo>
                  <a:lnTo>
                    <a:pt x="449" y="229"/>
                  </a:lnTo>
                  <a:lnTo>
                    <a:pt x="449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5" y="229"/>
                  </a:lnTo>
                  <a:lnTo>
                    <a:pt x="445" y="229"/>
                  </a:lnTo>
                  <a:lnTo>
                    <a:pt x="445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9"/>
                  </a:lnTo>
                  <a:lnTo>
                    <a:pt x="447" y="227"/>
                  </a:lnTo>
                  <a:lnTo>
                    <a:pt x="447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51" y="227"/>
                  </a:lnTo>
                  <a:lnTo>
                    <a:pt x="451" y="227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7"/>
                  </a:lnTo>
                  <a:lnTo>
                    <a:pt x="451" y="227"/>
                  </a:lnTo>
                  <a:lnTo>
                    <a:pt x="451" y="227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4" y="225"/>
                  </a:lnTo>
                  <a:lnTo>
                    <a:pt x="454" y="225"/>
                  </a:lnTo>
                  <a:lnTo>
                    <a:pt x="454" y="225"/>
                  </a:lnTo>
                  <a:lnTo>
                    <a:pt x="454" y="225"/>
                  </a:lnTo>
                  <a:lnTo>
                    <a:pt x="454" y="225"/>
                  </a:lnTo>
                  <a:lnTo>
                    <a:pt x="454" y="225"/>
                  </a:lnTo>
                  <a:lnTo>
                    <a:pt x="454" y="225"/>
                  </a:lnTo>
                  <a:lnTo>
                    <a:pt x="454" y="222"/>
                  </a:lnTo>
                  <a:lnTo>
                    <a:pt x="454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8" y="222"/>
                  </a:lnTo>
                  <a:lnTo>
                    <a:pt x="458" y="222"/>
                  </a:lnTo>
                  <a:lnTo>
                    <a:pt x="458" y="222"/>
                  </a:lnTo>
                  <a:lnTo>
                    <a:pt x="458" y="222"/>
                  </a:lnTo>
                  <a:lnTo>
                    <a:pt x="458" y="222"/>
                  </a:lnTo>
                  <a:lnTo>
                    <a:pt x="458" y="222"/>
                  </a:lnTo>
                  <a:lnTo>
                    <a:pt x="460" y="222"/>
                  </a:lnTo>
                  <a:lnTo>
                    <a:pt x="460" y="222"/>
                  </a:lnTo>
                  <a:lnTo>
                    <a:pt x="460" y="220"/>
                  </a:lnTo>
                  <a:lnTo>
                    <a:pt x="460" y="220"/>
                  </a:lnTo>
                  <a:lnTo>
                    <a:pt x="460" y="220"/>
                  </a:lnTo>
                  <a:lnTo>
                    <a:pt x="460" y="220"/>
                  </a:lnTo>
                  <a:lnTo>
                    <a:pt x="458" y="220"/>
                  </a:lnTo>
                  <a:lnTo>
                    <a:pt x="458" y="220"/>
                  </a:lnTo>
                  <a:lnTo>
                    <a:pt x="458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6" y="222"/>
                  </a:lnTo>
                  <a:lnTo>
                    <a:pt x="454" y="222"/>
                  </a:lnTo>
                  <a:lnTo>
                    <a:pt x="454" y="222"/>
                  </a:lnTo>
                  <a:lnTo>
                    <a:pt x="454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7" y="227"/>
                  </a:lnTo>
                  <a:lnTo>
                    <a:pt x="447" y="227"/>
                  </a:lnTo>
                  <a:lnTo>
                    <a:pt x="445" y="227"/>
                  </a:lnTo>
                  <a:lnTo>
                    <a:pt x="445" y="227"/>
                  </a:lnTo>
                  <a:lnTo>
                    <a:pt x="442" y="229"/>
                  </a:lnTo>
                  <a:lnTo>
                    <a:pt x="440" y="229"/>
                  </a:lnTo>
                  <a:lnTo>
                    <a:pt x="440" y="229"/>
                  </a:lnTo>
                  <a:lnTo>
                    <a:pt x="440" y="229"/>
                  </a:lnTo>
                  <a:lnTo>
                    <a:pt x="440" y="229"/>
                  </a:lnTo>
                  <a:lnTo>
                    <a:pt x="440" y="229"/>
                  </a:lnTo>
                  <a:lnTo>
                    <a:pt x="440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8" y="227"/>
                  </a:lnTo>
                  <a:lnTo>
                    <a:pt x="436" y="227"/>
                  </a:lnTo>
                  <a:lnTo>
                    <a:pt x="433" y="227"/>
                  </a:lnTo>
                  <a:lnTo>
                    <a:pt x="433" y="227"/>
                  </a:lnTo>
                  <a:lnTo>
                    <a:pt x="433" y="227"/>
                  </a:lnTo>
                  <a:lnTo>
                    <a:pt x="433" y="225"/>
                  </a:lnTo>
                  <a:lnTo>
                    <a:pt x="433" y="225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40" y="222"/>
                  </a:lnTo>
                  <a:lnTo>
                    <a:pt x="440" y="222"/>
                  </a:lnTo>
                  <a:lnTo>
                    <a:pt x="440" y="222"/>
                  </a:lnTo>
                  <a:lnTo>
                    <a:pt x="442" y="222"/>
                  </a:lnTo>
                  <a:lnTo>
                    <a:pt x="442" y="222"/>
                  </a:lnTo>
                  <a:lnTo>
                    <a:pt x="442" y="222"/>
                  </a:lnTo>
                  <a:lnTo>
                    <a:pt x="442" y="222"/>
                  </a:lnTo>
                  <a:lnTo>
                    <a:pt x="442" y="222"/>
                  </a:lnTo>
                  <a:lnTo>
                    <a:pt x="440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40" y="222"/>
                  </a:lnTo>
                  <a:lnTo>
                    <a:pt x="440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40" y="222"/>
                  </a:lnTo>
                  <a:lnTo>
                    <a:pt x="440" y="220"/>
                  </a:lnTo>
                  <a:lnTo>
                    <a:pt x="440" y="220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38" y="222"/>
                  </a:lnTo>
                  <a:lnTo>
                    <a:pt x="438" y="222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36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1" y="222"/>
                  </a:lnTo>
                  <a:lnTo>
                    <a:pt x="433" y="222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18"/>
                  </a:lnTo>
                  <a:lnTo>
                    <a:pt x="438" y="218"/>
                  </a:lnTo>
                  <a:lnTo>
                    <a:pt x="438" y="218"/>
                  </a:lnTo>
                  <a:lnTo>
                    <a:pt x="438" y="218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8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6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1" y="220"/>
                  </a:lnTo>
                  <a:lnTo>
                    <a:pt x="431" y="220"/>
                  </a:lnTo>
                  <a:lnTo>
                    <a:pt x="431" y="220"/>
                  </a:lnTo>
                  <a:lnTo>
                    <a:pt x="429" y="220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7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31" y="220"/>
                  </a:lnTo>
                  <a:lnTo>
                    <a:pt x="431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31" y="220"/>
                  </a:lnTo>
                  <a:lnTo>
                    <a:pt x="431" y="220"/>
                  </a:lnTo>
                  <a:lnTo>
                    <a:pt x="431" y="220"/>
                  </a:lnTo>
                  <a:lnTo>
                    <a:pt x="431" y="220"/>
                  </a:lnTo>
                  <a:lnTo>
                    <a:pt x="433" y="220"/>
                  </a:lnTo>
                  <a:lnTo>
                    <a:pt x="433" y="220"/>
                  </a:lnTo>
                  <a:lnTo>
                    <a:pt x="436" y="218"/>
                  </a:lnTo>
                  <a:lnTo>
                    <a:pt x="436" y="218"/>
                  </a:lnTo>
                  <a:lnTo>
                    <a:pt x="436" y="218"/>
                  </a:lnTo>
                  <a:lnTo>
                    <a:pt x="436" y="218"/>
                  </a:lnTo>
                  <a:lnTo>
                    <a:pt x="436" y="218"/>
                  </a:lnTo>
                  <a:lnTo>
                    <a:pt x="436" y="218"/>
                  </a:lnTo>
                  <a:lnTo>
                    <a:pt x="438" y="218"/>
                  </a:lnTo>
                  <a:lnTo>
                    <a:pt x="438" y="218"/>
                  </a:lnTo>
                  <a:lnTo>
                    <a:pt x="438" y="218"/>
                  </a:lnTo>
                  <a:lnTo>
                    <a:pt x="438" y="218"/>
                  </a:lnTo>
                  <a:lnTo>
                    <a:pt x="436" y="218"/>
                  </a:lnTo>
                  <a:lnTo>
                    <a:pt x="436" y="218"/>
                  </a:lnTo>
                  <a:lnTo>
                    <a:pt x="433" y="218"/>
                  </a:lnTo>
                  <a:lnTo>
                    <a:pt x="433" y="218"/>
                  </a:lnTo>
                  <a:lnTo>
                    <a:pt x="433" y="218"/>
                  </a:lnTo>
                  <a:lnTo>
                    <a:pt x="433" y="218"/>
                  </a:lnTo>
                  <a:lnTo>
                    <a:pt x="433" y="218"/>
                  </a:lnTo>
                  <a:lnTo>
                    <a:pt x="433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31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29" y="218"/>
                  </a:lnTo>
                  <a:lnTo>
                    <a:pt x="429" y="216"/>
                  </a:lnTo>
                  <a:lnTo>
                    <a:pt x="429" y="216"/>
                  </a:lnTo>
                  <a:lnTo>
                    <a:pt x="429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31" y="216"/>
                  </a:lnTo>
                  <a:lnTo>
                    <a:pt x="431" y="216"/>
                  </a:lnTo>
                  <a:lnTo>
                    <a:pt x="431" y="216"/>
                  </a:lnTo>
                  <a:lnTo>
                    <a:pt x="431" y="216"/>
                  </a:lnTo>
                  <a:lnTo>
                    <a:pt x="431" y="216"/>
                  </a:lnTo>
                  <a:lnTo>
                    <a:pt x="433" y="216"/>
                  </a:lnTo>
                  <a:lnTo>
                    <a:pt x="433" y="216"/>
                  </a:lnTo>
                  <a:lnTo>
                    <a:pt x="433" y="216"/>
                  </a:lnTo>
                  <a:lnTo>
                    <a:pt x="431" y="216"/>
                  </a:lnTo>
                  <a:lnTo>
                    <a:pt x="431" y="216"/>
                  </a:lnTo>
                  <a:lnTo>
                    <a:pt x="433" y="216"/>
                  </a:lnTo>
                  <a:lnTo>
                    <a:pt x="433" y="213"/>
                  </a:lnTo>
                  <a:lnTo>
                    <a:pt x="433" y="213"/>
                  </a:lnTo>
                  <a:lnTo>
                    <a:pt x="433" y="213"/>
                  </a:lnTo>
                  <a:lnTo>
                    <a:pt x="433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36" y="213"/>
                  </a:lnTo>
                  <a:lnTo>
                    <a:pt x="440" y="213"/>
                  </a:lnTo>
                  <a:lnTo>
                    <a:pt x="442" y="213"/>
                  </a:lnTo>
                  <a:lnTo>
                    <a:pt x="442" y="211"/>
                  </a:lnTo>
                  <a:lnTo>
                    <a:pt x="442" y="211"/>
                  </a:lnTo>
                  <a:lnTo>
                    <a:pt x="442" y="211"/>
                  </a:lnTo>
                  <a:lnTo>
                    <a:pt x="440" y="211"/>
                  </a:lnTo>
                  <a:lnTo>
                    <a:pt x="440" y="211"/>
                  </a:lnTo>
                  <a:lnTo>
                    <a:pt x="438" y="211"/>
                  </a:lnTo>
                  <a:lnTo>
                    <a:pt x="438" y="211"/>
                  </a:lnTo>
                  <a:lnTo>
                    <a:pt x="438" y="211"/>
                  </a:lnTo>
                  <a:lnTo>
                    <a:pt x="436" y="211"/>
                  </a:lnTo>
                  <a:lnTo>
                    <a:pt x="436" y="213"/>
                  </a:lnTo>
                  <a:lnTo>
                    <a:pt x="433" y="213"/>
                  </a:lnTo>
                  <a:lnTo>
                    <a:pt x="431" y="213"/>
                  </a:lnTo>
                  <a:lnTo>
                    <a:pt x="429" y="213"/>
                  </a:lnTo>
                  <a:lnTo>
                    <a:pt x="429" y="216"/>
                  </a:lnTo>
                  <a:lnTo>
                    <a:pt x="429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3"/>
                  </a:lnTo>
                  <a:lnTo>
                    <a:pt x="427" y="213"/>
                  </a:lnTo>
                  <a:lnTo>
                    <a:pt x="427" y="213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6"/>
                  </a:lnTo>
                  <a:lnTo>
                    <a:pt x="427" y="213"/>
                  </a:lnTo>
                  <a:lnTo>
                    <a:pt x="427" y="213"/>
                  </a:lnTo>
                  <a:lnTo>
                    <a:pt x="427" y="213"/>
                  </a:lnTo>
                  <a:lnTo>
                    <a:pt x="424" y="216"/>
                  </a:lnTo>
                  <a:lnTo>
                    <a:pt x="424" y="216"/>
                  </a:lnTo>
                  <a:lnTo>
                    <a:pt x="424" y="216"/>
                  </a:lnTo>
                  <a:lnTo>
                    <a:pt x="424" y="216"/>
                  </a:lnTo>
                  <a:lnTo>
                    <a:pt x="424" y="216"/>
                  </a:lnTo>
                  <a:lnTo>
                    <a:pt x="424" y="216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4" y="216"/>
                  </a:lnTo>
                  <a:lnTo>
                    <a:pt x="424" y="216"/>
                  </a:lnTo>
                  <a:lnTo>
                    <a:pt x="424" y="213"/>
                  </a:lnTo>
                  <a:lnTo>
                    <a:pt x="424" y="213"/>
                  </a:lnTo>
                  <a:lnTo>
                    <a:pt x="424" y="213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2" y="213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2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20" y="216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6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20" y="216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8" y="216"/>
                  </a:lnTo>
                  <a:lnTo>
                    <a:pt x="418" y="213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22" y="213"/>
                  </a:lnTo>
                  <a:lnTo>
                    <a:pt x="420" y="213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2" y="211"/>
                  </a:lnTo>
                  <a:lnTo>
                    <a:pt x="420" y="211"/>
                  </a:lnTo>
                  <a:lnTo>
                    <a:pt x="420" y="211"/>
                  </a:lnTo>
                  <a:lnTo>
                    <a:pt x="420" y="211"/>
                  </a:lnTo>
                  <a:lnTo>
                    <a:pt x="420" y="211"/>
                  </a:lnTo>
                  <a:lnTo>
                    <a:pt x="420" y="213"/>
                  </a:lnTo>
                  <a:lnTo>
                    <a:pt x="420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3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8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5" y="218"/>
                  </a:lnTo>
                  <a:lnTo>
                    <a:pt x="415" y="218"/>
                  </a:lnTo>
                  <a:lnTo>
                    <a:pt x="413" y="218"/>
                  </a:lnTo>
                  <a:lnTo>
                    <a:pt x="413" y="218"/>
                  </a:lnTo>
                  <a:lnTo>
                    <a:pt x="413" y="218"/>
                  </a:lnTo>
                  <a:lnTo>
                    <a:pt x="413" y="216"/>
                  </a:lnTo>
                  <a:lnTo>
                    <a:pt x="413" y="218"/>
                  </a:lnTo>
                  <a:lnTo>
                    <a:pt x="413" y="218"/>
                  </a:lnTo>
                  <a:lnTo>
                    <a:pt x="413" y="218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5" y="216"/>
                  </a:lnTo>
                  <a:lnTo>
                    <a:pt x="415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3" y="216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09" y="218"/>
                  </a:lnTo>
                  <a:lnTo>
                    <a:pt x="409" y="218"/>
                  </a:lnTo>
                  <a:lnTo>
                    <a:pt x="409" y="218"/>
                  </a:lnTo>
                  <a:lnTo>
                    <a:pt x="409" y="218"/>
                  </a:lnTo>
                  <a:lnTo>
                    <a:pt x="409" y="218"/>
                  </a:lnTo>
                  <a:lnTo>
                    <a:pt x="409" y="218"/>
                  </a:lnTo>
                  <a:lnTo>
                    <a:pt x="409" y="216"/>
                  </a:lnTo>
                  <a:lnTo>
                    <a:pt x="409" y="216"/>
                  </a:lnTo>
                  <a:lnTo>
                    <a:pt x="409" y="216"/>
                  </a:lnTo>
                  <a:lnTo>
                    <a:pt x="409" y="216"/>
                  </a:lnTo>
                  <a:lnTo>
                    <a:pt x="409" y="216"/>
                  </a:lnTo>
                  <a:lnTo>
                    <a:pt x="409" y="216"/>
                  </a:lnTo>
                  <a:lnTo>
                    <a:pt x="411" y="216"/>
                  </a:lnTo>
                  <a:lnTo>
                    <a:pt x="411" y="216"/>
                  </a:lnTo>
                  <a:lnTo>
                    <a:pt x="411" y="216"/>
                  </a:lnTo>
                  <a:lnTo>
                    <a:pt x="411" y="216"/>
                  </a:lnTo>
                  <a:lnTo>
                    <a:pt x="411" y="216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3" y="213"/>
                  </a:lnTo>
                  <a:lnTo>
                    <a:pt x="413" y="213"/>
                  </a:lnTo>
                  <a:lnTo>
                    <a:pt x="413" y="213"/>
                  </a:lnTo>
                  <a:lnTo>
                    <a:pt x="413" y="213"/>
                  </a:lnTo>
                  <a:lnTo>
                    <a:pt x="415" y="213"/>
                  </a:lnTo>
                  <a:lnTo>
                    <a:pt x="415" y="211"/>
                  </a:lnTo>
                  <a:lnTo>
                    <a:pt x="418" y="211"/>
                  </a:lnTo>
                  <a:lnTo>
                    <a:pt x="418" y="211"/>
                  </a:lnTo>
                  <a:lnTo>
                    <a:pt x="418" y="211"/>
                  </a:lnTo>
                  <a:lnTo>
                    <a:pt x="420" y="211"/>
                  </a:lnTo>
                  <a:lnTo>
                    <a:pt x="420" y="211"/>
                  </a:lnTo>
                  <a:lnTo>
                    <a:pt x="420" y="211"/>
                  </a:lnTo>
                  <a:lnTo>
                    <a:pt x="420" y="209"/>
                  </a:lnTo>
                  <a:lnTo>
                    <a:pt x="422" y="209"/>
                  </a:lnTo>
                  <a:lnTo>
                    <a:pt x="420" y="209"/>
                  </a:lnTo>
                  <a:lnTo>
                    <a:pt x="420" y="209"/>
                  </a:lnTo>
                  <a:lnTo>
                    <a:pt x="420" y="209"/>
                  </a:lnTo>
                  <a:lnTo>
                    <a:pt x="422" y="209"/>
                  </a:lnTo>
                  <a:lnTo>
                    <a:pt x="422" y="209"/>
                  </a:lnTo>
                  <a:lnTo>
                    <a:pt x="422" y="209"/>
                  </a:lnTo>
                  <a:lnTo>
                    <a:pt x="422" y="209"/>
                  </a:lnTo>
                  <a:lnTo>
                    <a:pt x="420" y="209"/>
                  </a:lnTo>
                  <a:lnTo>
                    <a:pt x="420" y="209"/>
                  </a:lnTo>
                  <a:lnTo>
                    <a:pt x="418" y="211"/>
                  </a:lnTo>
                  <a:lnTo>
                    <a:pt x="418" y="211"/>
                  </a:lnTo>
                  <a:lnTo>
                    <a:pt x="418" y="211"/>
                  </a:lnTo>
                  <a:lnTo>
                    <a:pt x="415" y="211"/>
                  </a:lnTo>
                  <a:lnTo>
                    <a:pt x="413" y="211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3"/>
                  </a:lnTo>
                  <a:lnTo>
                    <a:pt x="411" y="211"/>
                  </a:lnTo>
                  <a:lnTo>
                    <a:pt x="411" y="211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6" y="213"/>
                  </a:lnTo>
                  <a:lnTo>
                    <a:pt x="406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6" y="216"/>
                  </a:lnTo>
                  <a:lnTo>
                    <a:pt x="406" y="216"/>
                  </a:lnTo>
                  <a:lnTo>
                    <a:pt x="406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2" y="218"/>
                  </a:lnTo>
                  <a:lnTo>
                    <a:pt x="400" y="218"/>
                  </a:lnTo>
                  <a:lnTo>
                    <a:pt x="400" y="218"/>
                  </a:lnTo>
                  <a:lnTo>
                    <a:pt x="400" y="218"/>
                  </a:lnTo>
                  <a:lnTo>
                    <a:pt x="400" y="218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18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397" y="218"/>
                  </a:lnTo>
                  <a:lnTo>
                    <a:pt x="400" y="218"/>
                  </a:lnTo>
                  <a:lnTo>
                    <a:pt x="397" y="218"/>
                  </a:lnTo>
                  <a:lnTo>
                    <a:pt x="397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3" y="220"/>
                  </a:lnTo>
                  <a:lnTo>
                    <a:pt x="393" y="220"/>
                  </a:lnTo>
                  <a:lnTo>
                    <a:pt x="393" y="220"/>
                  </a:lnTo>
                  <a:lnTo>
                    <a:pt x="393" y="222"/>
                  </a:lnTo>
                  <a:lnTo>
                    <a:pt x="391" y="222"/>
                  </a:lnTo>
                  <a:lnTo>
                    <a:pt x="391" y="222"/>
                  </a:lnTo>
                  <a:lnTo>
                    <a:pt x="393" y="222"/>
                  </a:lnTo>
                  <a:lnTo>
                    <a:pt x="393" y="222"/>
                  </a:lnTo>
                  <a:lnTo>
                    <a:pt x="393" y="222"/>
                  </a:lnTo>
                  <a:lnTo>
                    <a:pt x="393" y="220"/>
                  </a:lnTo>
                  <a:lnTo>
                    <a:pt x="393" y="220"/>
                  </a:lnTo>
                  <a:lnTo>
                    <a:pt x="393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0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5" y="222"/>
                  </a:lnTo>
                  <a:lnTo>
                    <a:pt x="395" y="222"/>
                  </a:lnTo>
                  <a:lnTo>
                    <a:pt x="395" y="222"/>
                  </a:lnTo>
                  <a:lnTo>
                    <a:pt x="395" y="222"/>
                  </a:lnTo>
                  <a:lnTo>
                    <a:pt x="395" y="222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7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2" y="220"/>
                  </a:lnTo>
                  <a:lnTo>
                    <a:pt x="402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0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7" y="222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3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2"/>
                  </a:lnTo>
                  <a:lnTo>
                    <a:pt x="393" y="222"/>
                  </a:lnTo>
                  <a:lnTo>
                    <a:pt x="393" y="225"/>
                  </a:lnTo>
                  <a:lnTo>
                    <a:pt x="391" y="225"/>
                  </a:lnTo>
                  <a:lnTo>
                    <a:pt x="391" y="225"/>
                  </a:lnTo>
                  <a:lnTo>
                    <a:pt x="388" y="225"/>
                  </a:lnTo>
                  <a:lnTo>
                    <a:pt x="388" y="225"/>
                  </a:lnTo>
                  <a:lnTo>
                    <a:pt x="386" y="227"/>
                  </a:lnTo>
                  <a:lnTo>
                    <a:pt x="386" y="227"/>
                  </a:lnTo>
                  <a:lnTo>
                    <a:pt x="386" y="227"/>
                  </a:lnTo>
                  <a:lnTo>
                    <a:pt x="386" y="227"/>
                  </a:lnTo>
                  <a:lnTo>
                    <a:pt x="388" y="225"/>
                  </a:lnTo>
                  <a:lnTo>
                    <a:pt x="391" y="225"/>
                  </a:lnTo>
                  <a:lnTo>
                    <a:pt x="391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3" y="227"/>
                  </a:lnTo>
                  <a:lnTo>
                    <a:pt x="393" y="225"/>
                  </a:lnTo>
                  <a:lnTo>
                    <a:pt x="393" y="225"/>
                  </a:lnTo>
                  <a:lnTo>
                    <a:pt x="395" y="225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5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397" y="225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5"/>
                  </a:lnTo>
                  <a:lnTo>
                    <a:pt x="400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397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5" y="227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3" y="229"/>
                  </a:lnTo>
                  <a:lnTo>
                    <a:pt x="393" y="229"/>
                  </a:lnTo>
                  <a:lnTo>
                    <a:pt x="393" y="229"/>
                  </a:lnTo>
                  <a:lnTo>
                    <a:pt x="393" y="229"/>
                  </a:lnTo>
                  <a:lnTo>
                    <a:pt x="393" y="229"/>
                  </a:lnTo>
                  <a:lnTo>
                    <a:pt x="393" y="227"/>
                  </a:lnTo>
                  <a:lnTo>
                    <a:pt x="393" y="227"/>
                  </a:lnTo>
                  <a:lnTo>
                    <a:pt x="391" y="227"/>
                  </a:lnTo>
                  <a:lnTo>
                    <a:pt x="391" y="229"/>
                  </a:lnTo>
                  <a:lnTo>
                    <a:pt x="391" y="229"/>
                  </a:lnTo>
                  <a:lnTo>
                    <a:pt x="391" y="229"/>
                  </a:lnTo>
                  <a:lnTo>
                    <a:pt x="391" y="229"/>
                  </a:lnTo>
                  <a:lnTo>
                    <a:pt x="391" y="229"/>
                  </a:lnTo>
                  <a:lnTo>
                    <a:pt x="391" y="229"/>
                  </a:lnTo>
                  <a:lnTo>
                    <a:pt x="391" y="229"/>
                  </a:lnTo>
                  <a:lnTo>
                    <a:pt x="388" y="229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29"/>
                  </a:lnTo>
                  <a:lnTo>
                    <a:pt x="388" y="229"/>
                  </a:lnTo>
                  <a:lnTo>
                    <a:pt x="388" y="229"/>
                  </a:lnTo>
                  <a:lnTo>
                    <a:pt x="386" y="229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4" y="231"/>
                  </a:lnTo>
                  <a:lnTo>
                    <a:pt x="384" y="231"/>
                  </a:lnTo>
                  <a:lnTo>
                    <a:pt x="384" y="231"/>
                  </a:lnTo>
                  <a:lnTo>
                    <a:pt x="384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6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8" y="231"/>
                  </a:lnTo>
                  <a:lnTo>
                    <a:pt x="386" y="234"/>
                  </a:lnTo>
                  <a:lnTo>
                    <a:pt x="388" y="234"/>
                  </a:lnTo>
                  <a:lnTo>
                    <a:pt x="388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91" y="231"/>
                  </a:lnTo>
                  <a:lnTo>
                    <a:pt x="388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6" y="234"/>
                  </a:lnTo>
                  <a:lnTo>
                    <a:pt x="386" y="231"/>
                  </a:lnTo>
                  <a:lnTo>
                    <a:pt x="386" y="234"/>
                  </a:lnTo>
                  <a:lnTo>
                    <a:pt x="384" y="234"/>
                  </a:lnTo>
                  <a:lnTo>
                    <a:pt x="384" y="234"/>
                  </a:lnTo>
                  <a:lnTo>
                    <a:pt x="382" y="236"/>
                  </a:lnTo>
                  <a:lnTo>
                    <a:pt x="382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82" y="236"/>
                  </a:lnTo>
                  <a:lnTo>
                    <a:pt x="382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9" y="238"/>
                  </a:lnTo>
                  <a:lnTo>
                    <a:pt x="379" y="238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9" y="236"/>
                  </a:lnTo>
                  <a:lnTo>
                    <a:pt x="377" y="236"/>
                  </a:lnTo>
                  <a:lnTo>
                    <a:pt x="377" y="236"/>
                  </a:lnTo>
                  <a:lnTo>
                    <a:pt x="377" y="236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3" y="236"/>
                  </a:lnTo>
                  <a:lnTo>
                    <a:pt x="373" y="238"/>
                  </a:lnTo>
                  <a:lnTo>
                    <a:pt x="370" y="238"/>
                  </a:lnTo>
                  <a:lnTo>
                    <a:pt x="370" y="238"/>
                  </a:lnTo>
                  <a:lnTo>
                    <a:pt x="370" y="238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68" y="236"/>
                  </a:lnTo>
                  <a:lnTo>
                    <a:pt x="370" y="236"/>
                  </a:lnTo>
                  <a:lnTo>
                    <a:pt x="368" y="236"/>
                  </a:lnTo>
                  <a:lnTo>
                    <a:pt x="368" y="236"/>
                  </a:lnTo>
                  <a:lnTo>
                    <a:pt x="368" y="236"/>
                  </a:lnTo>
                  <a:lnTo>
                    <a:pt x="368" y="236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70" y="236"/>
                  </a:lnTo>
                  <a:lnTo>
                    <a:pt x="368" y="236"/>
                  </a:lnTo>
                  <a:lnTo>
                    <a:pt x="368" y="236"/>
                  </a:lnTo>
                  <a:lnTo>
                    <a:pt x="368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8"/>
                  </a:lnTo>
                  <a:lnTo>
                    <a:pt x="366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8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4"/>
                  </a:lnTo>
                  <a:lnTo>
                    <a:pt x="366" y="234"/>
                  </a:lnTo>
                  <a:lnTo>
                    <a:pt x="366" y="234"/>
                  </a:lnTo>
                  <a:lnTo>
                    <a:pt x="366" y="234"/>
                  </a:lnTo>
                  <a:lnTo>
                    <a:pt x="366" y="234"/>
                  </a:lnTo>
                  <a:lnTo>
                    <a:pt x="366" y="234"/>
                  </a:lnTo>
                  <a:lnTo>
                    <a:pt x="366" y="234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4" y="236"/>
                  </a:lnTo>
                  <a:lnTo>
                    <a:pt x="361" y="236"/>
                  </a:lnTo>
                  <a:lnTo>
                    <a:pt x="361" y="236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61" y="238"/>
                  </a:lnTo>
                  <a:lnTo>
                    <a:pt x="359" y="238"/>
                  </a:lnTo>
                  <a:lnTo>
                    <a:pt x="359" y="238"/>
                  </a:lnTo>
                  <a:lnTo>
                    <a:pt x="359" y="238"/>
                  </a:lnTo>
                  <a:lnTo>
                    <a:pt x="359" y="238"/>
                  </a:lnTo>
                  <a:lnTo>
                    <a:pt x="359" y="238"/>
                  </a:lnTo>
                  <a:lnTo>
                    <a:pt x="357" y="240"/>
                  </a:lnTo>
                  <a:lnTo>
                    <a:pt x="357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7" y="240"/>
                  </a:lnTo>
                  <a:lnTo>
                    <a:pt x="357" y="240"/>
                  </a:lnTo>
                  <a:lnTo>
                    <a:pt x="355" y="240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5" y="240"/>
                  </a:lnTo>
                  <a:lnTo>
                    <a:pt x="357" y="238"/>
                  </a:lnTo>
                  <a:lnTo>
                    <a:pt x="357" y="238"/>
                  </a:lnTo>
                  <a:lnTo>
                    <a:pt x="357" y="238"/>
                  </a:lnTo>
                  <a:lnTo>
                    <a:pt x="357" y="238"/>
                  </a:lnTo>
                  <a:lnTo>
                    <a:pt x="357" y="238"/>
                  </a:lnTo>
                  <a:lnTo>
                    <a:pt x="357" y="238"/>
                  </a:lnTo>
                  <a:lnTo>
                    <a:pt x="357" y="238"/>
                  </a:lnTo>
                  <a:lnTo>
                    <a:pt x="355" y="238"/>
                  </a:lnTo>
                  <a:lnTo>
                    <a:pt x="355" y="238"/>
                  </a:lnTo>
                  <a:lnTo>
                    <a:pt x="355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3"/>
                  </a:lnTo>
                  <a:lnTo>
                    <a:pt x="350" y="240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8" y="240"/>
                  </a:lnTo>
                  <a:lnTo>
                    <a:pt x="348" y="240"/>
                  </a:lnTo>
                  <a:lnTo>
                    <a:pt x="348" y="240"/>
                  </a:lnTo>
                  <a:lnTo>
                    <a:pt x="348" y="240"/>
                  </a:lnTo>
                  <a:lnTo>
                    <a:pt x="348" y="243"/>
                  </a:lnTo>
                  <a:lnTo>
                    <a:pt x="348" y="243"/>
                  </a:lnTo>
                  <a:lnTo>
                    <a:pt x="348" y="243"/>
                  </a:lnTo>
                  <a:lnTo>
                    <a:pt x="348" y="243"/>
                  </a:lnTo>
                  <a:lnTo>
                    <a:pt x="348" y="243"/>
                  </a:lnTo>
                  <a:lnTo>
                    <a:pt x="348" y="243"/>
                  </a:lnTo>
                  <a:lnTo>
                    <a:pt x="346" y="243"/>
                  </a:lnTo>
                  <a:lnTo>
                    <a:pt x="346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6" y="243"/>
                  </a:lnTo>
                  <a:lnTo>
                    <a:pt x="346" y="243"/>
                  </a:lnTo>
                  <a:lnTo>
                    <a:pt x="346" y="243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39" y="245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39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7" y="247"/>
                  </a:lnTo>
                  <a:lnTo>
                    <a:pt x="339" y="245"/>
                  </a:lnTo>
                  <a:lnTo>
                    <a:pt x="339" y="245"/>
                  </a:lnTo>
                  <a:lnTo>
                    <a:pt x="339" y="245"/>
                  </a:lnTo>
                  <a:lnTo>
                    <a:pt x="339" y="245"/>
                  </a:lnTo>
                  <a:lnTo>
                    <a:pt x="339" y="245"/>
                  </a:lnTo>
                  <a:lnTo>
                    <a:pt x="339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5"/>
                  </a:lnTo>
                  <a:lnTo>
                    <a:pt x="341" y="243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1" y="243"/>
                  </a:lnTo>
                  <a:lnTo>
                    <a:pt x="339" y="245"/>
                  </a:lnTo>
                  <a:lnTo>
                    <a:pt x="337" y="245"/>
                  </a:lnTo>
                  <a:lnTo>
                    <a:pt x="337" y="245"/>
                  </a:lnTo>
                  <a:lnTo>
                    <a:pt x="334" y="247"/>
                  </a:lnTo>
                  <a:lnTo>
                    <a:pt x="334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4" y="247"/>
                  </a:lnTo>
                  <a:lnTo>
                    <a:pt x="334" y="245"/>
                  </a:lnTo>
                  <a:lnTo>
                    <a:pt x="337" y="245"/>
                  </a:lnTo>
                  <a:lnTo>
                    <a:pt x="334" y="245"/>
                  </a:lnTo>
                  <a:lnTo>
                    <a:pt x="332" y="245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0" y="247"/>
                  </a:lnTo>
                  <a:lnTo>
                    <a:pt x="330" y="247"/>
                  </a:lnTo>
                  <a:lnTo>
                    <a:pt x="330" y="247"/>
                  </a:lnTo>
                  <a:lnTo>
                    <a:pt x="330" y="249"/>
                  </a:lnTo>
                  <a:lnTo>
                    <a:pt x="330" y="249"/>
                  </a:lnTo>
                  <a:lnTo>
                    <a:pt x="330" y="249"/>
                  </a:lnTo>
                  <a:lnTo>
                    <a:pt x="330" y="249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8" y="249"/>
                  </a:lnTo>
                  <a:lnTo>
                    <a:pt x="325" y="249"/>
                  </a:lnTo>
                  <a:lnTo>
                    <a:pt x="325" y="249"/>
                  </a:lnTo>
                  <a:lnTo>
                    <a:pt x="325" y="249"/>
                  </a:lnTo>
                  <a:lnTo>
                    <a:pt x="323" y="252"/>
                  </a:lnTo>
                  <a:lnTo>
                    <a:pt x="323" y="252"/>
                  </a:lnTo>
                  <a:lnTo>
                    <a:pt x="323" y="252"/>
                  </a:lnTo>
                  <a:lnTo>
                    <a:pt x="321" y="252"/>
                  </a:lnTo>
                  <a:lnTo>
                    <a:pt x="321" y="252"/>
                  </a:lnTo>
                  <a:lnTo>
                    <a:pt x="321" y="252"/>
                  </a:lnTo>
                  <a:lnTo>
                    <a:pt x="321" y="252"/>
                  </a:lnTo>
                  <a:lnTo>
                    <a:pt x="321" y="252"/>
                  </a:lnTo>
                  <a:lnTo>
                    <a:pt x="321" y="252"/>
                  </a:lnTo>
                  <a:lnTo>
                    <a:pt x="319" y="254"/>
                  </a:lnTo>
                  <a:lnTo>
                    <a:pt x="319" y="254"/>
                  </a:lnTo>
                  <a:lnTo>
                    <a:pt x="319" y="254"/>
                  </a:lnTo>
                  <a:lnTo>
                    <a:pt x="319" y="254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9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2"/>
                  </a:lnTo>
                  <a:lnTo>
                    <a:pt x="316" y="254"/>
                  </a:lnTo>
                  <a:lnTo>
                    <a:pt x="316" y="254"/>
                  </a:lnTo>
                  <a:lnTo>
                    <a:pt x="316" y="254"/>
                  </a:lnTo>
                  <a:lnTo>
                    <a:pt x="316" y="254"/>
                  </a:lnTo>
                  <a:lnTo>
                    <a:pt x="314" y="254"/>
                  </a:lnTo>
                  <a:lnTo>
                    <a:pt x="314" y="254"/>
                  </a:lnTo>
                  <a:lnTo>
                    <a:pt x="314" y="254"/>
                  </a:lnTo>
                  <a:lnTo>
                    <a:pt x="314" y="254"/>
                  </a:lnTo>
                  <a:lnTo>
                    <a:pt x="314" y="254"/>
                  </a:lnTo>
                  <a:lnTo>
                    <a:pt x="314" y="254"/>
                  </a:lnTo>
                  <a:lnTo>
                    <a:pt x="314" y="254"/>
                  </a:lnTo>
                  <a:lnTo>
                    <a:pt x="312" y="254"/>
                  </a:lnTo>
                  <a:lnTo>
                    <a:pt x="312" y="254"/>
                  </a:lnTo>
                  <a:lnTo>
                    <a:pt x="312" y="252"/>
                  </a:lnTo>
                  <a:lnTo>
                    <a:pt x="312" y="252"/>
                  </a:lnTo>
                  <a:lnTo>
                    <a:pt x="312" y="252"/>
                  </a:lnTo>
                  <a:lnTo>
                    <a:pt x="312" y="252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10" y="254"/>
                  </a:lnTo>
                  <a:lnTo>
                    <a:pt x="307" y="254"/>
                  </a:lnTo>
                  <a:lnTo>
                    <a:pt x="307" y="254"/>
                  </a:lnTo>
                  <a:lnTo>
                    <a:pt x="307" y="254"/>
                  </a:lnTo>
                  <a:lnTo>
                    <a:pt x="307" y="254"/>
                  </a:lnTo>
                  <a:lnTo>
                    <a:pt x="307" y="254"/>
                  </a:lnTo>
                  <a:lnTo>
                    <a:pt x="307" y="254"/>
                  </a:lnTo>
                  <a:lnTo>
                    <a:pt x="307" y="254"/>
                  </a:lnTo>
                  <a:lnTo>
                    <a:pt x="305" y="254"/>
                  </a:lnTo>
                  <a:lnTo>
                    <a:pt x="305" y="254"/>
                  </a:lnTo>
                  <a:lnTo>
                    <a:pt x="305" y="254"/>
                  </a:lnTo>
                  <a:lnTo>
                    <a:pt x="305" y="254"/>
                  </a:lnTo>
                  <a:lnTo>
                    <a:pt x="305" y="254"/>
                  </a:lnTo>
                  <a:lnTo>
                    <a:pt x="305" y="254"/>
                  </a:lnTo>
                  <a:lnTo>
                    <a:pt x="303" y="254"/>
                  </a:lnTo>
                  <a:lnTo>
                    <a:pt x="303" y="254"/>
                  </a:lnTo>
                  <a:lnTo>
                    <a:pt x="303" y="254"/>
                  </a:lnTo>
                  <a:lnTo>
                    <a:pt x="303" y="254"/>
                  </a:lnTo>
                  <a:lnTo>
                    <a:pt x="303" y="254"/>
                  </a:lnTo>
                  <a:lnTo>
                    <a:pt x="303" y="254"/>
                  </a:lnTo>
                  <a:lnTo>
                    <a:pt x="303" y="254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3" y="252"/>
                  </a:lnTo>
                  <a:lnTo>
                    <a:pt x="305" y="252"/>
                  </a:lnTo>
                  <a:lnTo>
                    <a:pt x="305" y="249"/>
                  </a:lnTo>
                  <a:lnTo>
                    <a:pt x="305" y="249"/>
                  </a:lnTo>
                  <a:lnTo>
                    <a:pt x="307" y="249"/>
                  </a:lnTo>
                  <a:lnTo>
                    <a:pt x="307" y="249"/>
                  </a:lnTo>
                  <a:lnTo>
                    <a:pt x="307" y="249"/>
                  </a:lnTo>
                  <a:lnTo>
                    <a:pt x="307" y="249"/>
                  </a:lnTo>
                  <a:lnTo>
                    <a:pt x="307" y="249"/>
                  </a:lnTo>
                  <a:lnTo>
                    <a:pt x="307" y="249"/>
                  </a:lnTo>
                  <a:lnTo>
                    <a:pt x="310" y="249"/>
                  </a:lnTo>
                  <a:lnTo>
                    <a:pt x="310" y="249"/>
                  </a:lnTo>
                  <a:lnTo>
                    <a:pt x="312" y="249"/>
                  </a:lnTo>
                  <a:lnTo>
                    <a:pt x="312" y="247"/>
                  </a:lnTo>
                  <a:lnTo>
                    <a:pt x="312" y="247"/>
                  </a:lnTo>
                  <a:lnTo>
                    <a:pt x="314" y="247"/>
                  </a:lnTo>
                  <a:lnTo>
                    <a:pt x="316" y="247"/>
                  </a:lnTo>
                  <a:lnTo>
                    <a:pt x="316" y="247"/>
                  </a:lnTo>
                  <a:lnTo>
                    <a:pt x="316" y="247"/>
                  </a:lnTo>
                  <a:lnTo>
                    <a:pt x="316" y="249"/>
                  </a:lnTo>
                  <a:lnTo>
                    <a:pt x="316" y="249"/>
                  </a:lnTo>
                  <a:lnTo>
                    <a:pt x="316" y="247"/>
                  </a:lnTo>
                  <a:lnTo>
                    <a:pt x="316" y="247"/>
                  </a:lnTo>
                  <a:lnTo>
                    <a:pt x="316" y="247"/>
                  </a:lnTo>
                  <a:lnTo>
                    <a:pt x="316" y="247"/>
                  </a:lnTo>
                  <a:lnTo>
                    <a:pt x="319" y="247"/>
                  </a:lnTo>
                  <a:lnTo>
                    <a:pt x="319" y="247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3" y="245"/>
                  </a:lnTo>
                  <a:lnTo>
                    <a:pt x="323" y="245"/>
                  </a:lnTo>
                  <a:lnTo>
                    <a:pt x="323" y="245"/>
                  </a:lnTo>
                  <a:lnTo>
                    <a:pt x="323" y="245"/>
                  </a:lnTo>
                  <a:lnTo>
                    <a:pt x="323" y="245"/>
                  </a:lnTo>
                  <a:lnTo>
                    <a:pt x="325" y="245"/>
                  </a:lnTo>
                  <a:lnTo>
                    <a:pt x="325" y="245"/>
                  </a:lnTo>
                  <a:lnTo>
                    <a:pt x="325" y="245"/>
                  </a:lnTo>
                  <a:lnTo>
                    <a:pt x="325" y="245"/>
                  </a:lnTo>
                  <a:lnTo>
                    <a:pt x="325" y="243"/>
                  </a:lnTo>
                  <a:lnTo>
                    <a:pt x="325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30" y="243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0" y="240"/>
                  </a:lnTo>
                  <a:lnTo>
                    <a:pt x="330" y="240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3" y="243"/>
                  </a:lnTo>
                  <a:lnTo>
                    <a:pt x="321" y="243"/>
                  </a:lnTo>
                  <a:lnTo>
                    <a:pt x="321" y="243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lnTo>
                    <a:pt x="321" y="245"/>
                  </a:lnTo>
                  <a:close/>
                  <a:moveTo>
                    <a:pt x="1397" y="710"/>
                  </a:moveTo>
                  <a:lnTo>
                    <a:pt x="1397" y="710"/>
                  </a:lnTo>
                  <a:lnTo>
                    <a:pt x="1397" y="710"/>
                  </a:lnTo>
                  <a:lnTo>
                    <a:pt x="1397" y="710"/>
                  </a:lnTo>
                  <a:lnTo>
                    <a:pt x="1397" y="710"/>
                  </a:lnTo>
                  <a:lnTo>
                    <a:pt x="1395" y="710"/>
                  </a:lnTo>
                  <a:lnTo>
                    <a:pt x="1395" y="708"/>
                  </a:lnTo>
                  <a:lnTo>
                    <a:pt x="1395" y="708"/>
                  </a:lnTo>
                  <a:lnTo>
                    <a:pt x="1395" y="708"/>
                  </a:lnTo>
                  <a:lnTo>
                    <a:pt x="1397" y="708"/>
                  </a:lnTo>
                  <a:lnTo>
                    <a:pt x="1397" y="708"/>
                  </a:lnTo>
                  <a:lnTo>
                    <a:pt x="1397" y="708"/>
                  </a:lnTo>
                  <a:lnTo>
                    <a:pt x="1397" y="708"/>
                  </a:lnTo>
                  <a:lnTo>
                    <a:pt x="1399" y="708"/>
                  </a:lnTo>
                  <a:lnTo>
                    <a:pt x="1399" y="708"/>
                  </a:lnTo>
                  <a:lnTo>
                    <a:pt x="1397" y="708"/>
                  </a:lnTo>
                  <a:lnTo>
                    <a:pt x="1397" y="706"/>
                  </a:lnTo>
                  <a:lnTo>
                    <a:pt x="1397" y="706"/>
                  </a:lnTo>
                  <a:lnTo>
                    <a:pt x="1397" y="706"/>
                  </a:lnTo>
                  <a:lnTo>
                    <a:pt x="1399" y="706"/>
                  </a:lnTo>
                  <a:lnTo>
                    <a:pt x="1399" y="706"/>
                  </a:lnTo>
                  <a:lnTo>
                    <a:pt x="1399" y="704"/>
                  </a:lnTo>
                  <a:lnTo>
                    <a:pt x="1399" y="706"/>
                  </a:lnTo>
                  <a:lnTo>
                    <a:pt x="1399" y="706"/>
                  </a:lnTo>
                  <a:lnTo>
                    <a:pt x="1397" y="706"/>
                  </a:lnTo>
                  <a:lnTo>
                    <a:pt x="1397" y="706"/>
                  </a:lnTo>
                  <a:lnTo>
                    <a:pt x="1395" y="708"/>
                  </a:lnTo>
                  <a:lnTo>
                    <a:pt x="1395" y="708"/>
                  </a:lnTo>
                  <a:lnTo>
                    <a:pt x="1395" y="708"/>
                  </a:lnTo>
                  <a:lnTo>
                    <a:pt x="1395" y="706"/>
                  </a:lnTo>
                  <a:lnTo>
                    <a:pt x="1397" y="706"/>
                  </a:lnTo>
                  <a:lnTo>
                    <a:pt x="1397" y="706"/>
                  </a:lnTo>
                  <a:lnTo>
                    <a:pt x="1397" y="706"/>
                  </a:lnTo>
                  <a:lnTo>
                    <a:pt x="1397" y="704"/>
                  </a:lnTo>
                  <a:lnTo>
                    <a:pt x="1397" y="704"/>
                  </a:lnTo>
                  <a:lnTo>
                    <a:pt x="1397" y="704"/>
                  </a:lnTo>
                  <a:lnTo>
                    <a:pt x="1397" y="706"/>
                  </a:lnTo>
                  <a:lnTo>
                    <a:pt x="1397" y="706"/>
                  </a:lnTo>
                  <a:lnTo>
                    <a:pt x="1395" y="706"/>
                  </a:lnTo>
                  <a:lnTo>
                    <a:pt x="1395" y="706"/>
                  </a:lnTo>
                  <a:lnTo>
                    <a:pt x="1395" y="706"/>
                  </a:lnTo>
                  <a:lnTo>
                    <a:pt x="1395" y="706"/>
                  </a:lnTo>
                  <a:lnTo>
                    <a:pt x="1393" y="706"/>
                  </a:lnTo>
                  <a:lnTo>
                    <a:pt x="1393" y="708"/>
                  </a:lnTo>
                  <a:lnTo>
                    <a:pt x="1395" y="708"/>
                  </a:lnTo>
                  <a:lnTo>
                    <a:pt x="1395" y="708"/>
                  </a:lnTo>
                  <a:lnTo>
                    <a:pt x="1395" y="708"/>
                  </a:lnTo>
                  <a:lnTo>
                    <a:pt x="1393" y="708"/>
                  </a:lnTo>
                  <a:lnTo>
                    <a:pt x="1393" y="708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08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08"/>
                  </a:lnTo>
                  <a:lnTo>
                    <a:pt x="1388" y="708"/>
                  </a:lnTo>
                  <a:lnTo>
                    <a:pt x="1386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8" y="710"/>
                  </a:lnTo>
                  <a:lnTo>
                    <a:pt x="1386" y="710"/>
                  </a:lnTo>
                  <a:lnTo>
                    <a:pt x="1386" y="710"/>
                  </a:lnTo>
                  <a:lnTo>
                    <a:pt x="1386" y="710"/>
                  </a:lnTo>
                  <a:lnTo>
                    <a:pt x="1386" y="710"/>
                  </a:lnTo>
                  <a:lnTo>
                    <a:pt x="1386" y="710"/>
                  </a:lnTo>
                  <a:lnTo>
                    <a:pt x="1386" y="710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0"/>
                  </a:lnTo>
                  <a:lnTo>
                    <a:pt x="1384" y="710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6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1" y="713"/>
                  </a:lnTo>
                  <a:lnTo>
                    <a:pt x="1384" y="713"/>
                  </a:lnTo>
                  <a:lnTo>
                    <a:pt x="1384" y="713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5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7"/>
                  </a:lnTo>
                  <a:lnTo>
                    <a:pt x="1384" y="719"/>
                  </a:lnTo>
                  <a:lnTo>
                    <a:pt x="1384" y="719"/>
                  </a:lnTo>
                  <a:lnTo>
                    <a:pt x="1384" y="719"/>
                  </a:lnTo>
                  <a:lnTo>
                    <a:pt x="1384" y="719"/>
                  </a:lnTo>
                  <a:lnTo>
                    <a:pt x="1384" y="719"/>
                  </a:lnTo>
                  <a:lnTo>
                    <a:pt x="1384" y="719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7"/>
                  </a:lnTo>
                  <a:lnTo>
                    <a:pt x="1381" y="719"/>
                  </a:lnTo>
                  <a:lnTo>
                    <a:pt x="1384" y="719"/>
                  </a:lnTo>
                  <a:lnTo>
                    <a:pt x="1384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19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2"/>
                  </a:lnTo>
                  <a:lnTo>
                    <a:pt x="1381" y="724"/>
                  </a:lnTo>
                  <a:lnTo>
                    <a:pt x="1381" y="724"/>
                  </a:lnTo>
                  <a:lnTo>
                    <a:pt x="1379" y="724"/>
                  </a:lnTo>
                  <a:lnTo>
                    <a:pt x="1379" y="724"/>
                  </a:lnTo>
                  <a:lnTo>
                    <a:pt x="1379" y="724"/>
                  </a:lnTo>
                  <a:lnTo>
                    <a:pt x="1379" y="724"/>
                  </a:lnTo>
                  <a:lnTo>
                    <a:pt x="1379" y="726"/>
                  </a:lnTo>
                  <a:lnTo>
                    <a:pt x="1379" y="726"/>
                  </a:lnTo>
                  <a:lnTo>
                    <a:pt x="1379" y="726"/>
                  </a:lnTo>
                  <a:lnTo>
                    <a:pt x="1379" y="726"/>
                  </a:lnTo>
                  <a:lnTo>
                    <a:pt x="1379" y="728"/>
                  </a:lnTo>
                  <a:lnTo>
                    <a:pt x="1379" y="728"/>
                  </a:lnTo>
                  <a:lnTo>
                    <a:pt x="1379" y="728"/>
                  </a:lnTo>
                  <a:lnTo>
                    <a:pt x="1379" y="731"/>
                  </a:lnTo>
                  <a:lnTo>
                    <a:pt x="1379" y="731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9" y="733"/>
                  </a:lnTo>
                  <a:lnTo>
                    <a:pt x="1377" y="733"/>
                  </a:lnTo>
                  <a:lnTo>
                    <a:pt x="1377" y="733"/>
                  </a:lnTo>
                  <a:lnTo>
                    <a:pt x="1377" y="733"/>
                  </a:lnTo>
                  <a:lnTo>
                    <a:pt x="1377" y="733"/>
                  </a:lnTo>
                  <a:lnTo>
                    <a:pt x="1377" y="731"/>
                  </a:lnTo>
                  <a:lnTo>
                    <a:pt x="1377" y="731"/>
                  </a:lnTo>
                  <a:lnTo>
                    <a:pt x="1377" y="731"/>
                  </a:lnTo>
                  <a:lnTo>
                    <a:pt x="1377" y="726"/>
                  </a:lnTo>
                  <a:lnTo>
                    <a:pt x="1377" y="726"/>
                  </a:lnTo>
                  <a:lnTo>
                    <a:pt x="1377" y="726"/>
                  </a:lnTo>
                  <a:lnTo>
                    <a:pt x="1377" y="726"/>
                  </a:lnTo>
                  <a:lnTo>
                    <a:pt x="1377" y="726"/>
                  </a:lnTo>
                  <a:lnTo>
                    <a:pt x="1375" y="728"/>
                  </a:lnTo>
                  <a:lnTo>
                    <a:pt x="1375" y="728"/>
                  </a:lnTo>
                  <a:lnTo>
                    <a:pt x="1375" y="728"/>
                  </a:lnTo>
                  <a:lnTo>
                    <a:pt x="1375" y="731"/>
                  </a:lnTo>
                  <a:lnTo>
                    <a:pt x="1375" y="731"/>
                  </a:lnTo>
                  <a:lnTo>
                    <a:pt x="1375" y="731"/>
                  </a:lnTo>
                  <a:lnTo>
                    <a:pt x="1375" y="731"/>
                  </a:lnTo>
                  <a:lnTo>
                    <a:pt x="1375" y="731"/>
                  </a:lnTo>
                  <a:lnTo>
                    <a:pt x="1375" y="733"/>
                  </a:lnTo>
                  <a:lnTo>
                    <a:pt x="1377" y="733"/>
                  </a:lnTo>
                  <a:lnTo>
                    <a:pt x="1377" y="733"/>
                  </a:lnTo>
                  <a:lnTo>
                    <a:pt x="1377" y="733"/>
                  </a:lnTo>
                  <a:lnTo>
                    <a:pt x="1377" y="735"/>
                  </a:lnTo>
                  <a:lnTo>
                    <a:pt x="1377" y="735"/>
                  </a:lnTo>
                  <a:lnTo>
                    <a:pt x="1377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5"/>
                  </a:lnTo>
                  <a:lnTo>
                    <a:pt x="1379" y="737"/>
                  </a:lnTo>
                  <a:lnTo>
                    <a:pt x="1379" y="737"/>
                  </a:lnTo>
                  <a:lnTo>
                    <a:pt x="1379" y="737"/>
                  </a:lnTo>
                  <a:lnTo>
                    <a:pt x="1379" y="737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9" y="740"/>
                  </a:lnTo>
                  <a:lnTo>
                    <a:pt x="1379" y="742"/>
                  </a:lnTo>
                  <a:lnTo>
                    <a:pt x="1379" y="742"/>
                  </a:lnTo>
                  <a:lnTo>
                    <a:pt x="1379" y="740"/>
                  </a:lnTo>
                  <a:lnTo>
                    <a:pt x="1377" y="740"/>
                  </a:lnTo>
                  <a:lnTo>
                    <a:pt x="1377" y="740"/>
                  </a:lnTo>
                  <a:lnTo>
                    <a:pt x="1377" y="740"/>
                  </a:lnTo>
                  <a:lnTo>
                    <a:pt x="1377" y="737"/>
                  </a:lnTo>
                  <a:lnTo>
                    <a:pt x="1377" y="737"/>
                  </a:lnTo>
                  <a:lnTo>
                    <a:pt x="1377" y="737"/>
                  </a:lnTo>
                  <a:lnTo>
                    <a:pt x="1377" y="737"/>
                  </a:lnTo>
                  <a:lnTo>
                    <a:pt x="1377" y="737"/>
                  </a:lnTo>
                  <a:lnTo>
                    <a:pt x="1377" y="737"/>
                  </a:lnTo>
                  <a:lnTo>
                    <a:pt x="1377" y="740"/>
                  </a:lnTo>
                  <a:lnTo>
                    <a:pt x="1377" y="740"/>
                  </a:lnTo>
                  <a:lnTo>
                    <a:pt x="1377" y="740"/>
                  </a:lnTo>
                  <a:lnTo>
                    <a:pt x="1377" y="740"/>
                  </a:lnTo>
                  <a:lnTo>
                    <a:pt x="1377" y="737"/>
                  </a:lnTo>
                  <a:lnTo>
                    <a:pt x="1377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5" y="737"/>
                  </a:lnTo>
                  <a:lnTo>
                    <a:pt x="1372" y="737"/>
                  </a:lnTo>
                  <a:lnTo>
                    <a:pt x="1372" y="737"/>
                  </a:lnTo>
                  <a:lnTo>
                    <a:pt x="1372" y="737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70" y="733"/>
                  </a:lnTo>
                  <a:lnTo>
                    <a:pt x="1370" y="733"/>
                  </a:lnTo>
                  <a:lnTo>
                    <a:pt x="1370" y="733"/>
                  </a:lnTo>
                  <a:lnTo>
                    <a:pt x="1370" y="733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70" y="735"/>
                  </a:lnTo>
                  <a:lnTo>
                    <a:pt x="1368" y="735"/>
                  </a:lnTo>
                  <a:lnTo>
                    <a:pt x="1368" y="733"/>
                  </a:lnTo>
                  <a:lnTo>
                    <a:pt x="1368" y="733"/>
                  </a:lnTo>
                  <a:lnTo>
                    <a:pt x="1368" y="731"/>
                  </a:lnTo>
                  <a:lnTo>
                    <a:pt x="1368" y="731"/>
                  </a:lnTo>
                  <a:lnTo>
                    <a:pt x="1368" y="731"/>
                  </a:lnTo>
                  <a:lnTo>
                    <a:pt x="1368" y="731"/>
                  </a:lnTo>
                  <a:lnTo>
                    <a:pt x="1368" y="731"/>
                  </a:lnTo>
                  <a:lnTo>
                    <a:pt x="1368" y="731"/>
                  </a:lnTo>
                  <a:lnTo>
                    <a:pt x="1368" y="733"/>
                  </a:lnTo>
                  <a:lnTo>
                    <a:pt x="1368" y="733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3" y="733"/>
                  </a:lnTo>
                  <a:lnTo>
                    <a:pt x="1363" y="733"/>
                  </a:lnTo>
                  <a:lnTo>
                    <a:pt x="1363" y="733"/>
                  </a:lnTo>
                  <a:lnTo>
                    <a:pt x="1363" y="733"/>
                  </a:lnTo>
                  <a:lnTo>
                    <a:pt x="1363" y="733"/>
                  </a:lnTo>
                  <a:lnTo>
                    <a:pt x="1363" y="733"/>
                  </a:lnTo>
                  <a:lnTo>
                    <a:pt x="1363" y="731"/>
                  </a:lnTo>
                  <a:lnTo>
                    <a:pt x="1363" y="731"/>
                  </a:lnTo>
                  <a:lnTo>
                    <a:pt x="1363" y="731"/>
                  </a:lnTo>
                  <a:lnTo>
                    <a:pt x="1363" y="731"/>
                  </a:lnTo>
                  <a:lnTo>
                    <a:pt x="1363" y="731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8" y="728"/>
                  </a:lnTo>
                  <a:lnTo>
                    <a:pt x="1368" y="728"/>
                  </a:lnTo>
                  <a:lnTo>
                    <a:pt x="1368" y="728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70" y="726"/>
                  </a:lnTo>
                  <a:lnTo>
                    <a:pt x="1370" y="726"/>
                  </a:lnTo>
                  <a:lnTo>
                    <a:pt x="1370" y="724"/>
                  </a:lnTo>
                  <a:lnTo>
                    <a:pt x="1370" y="724"/>
                  </a:lnTo>
                  <a:lnTo>
                    <a:pt x="1370" y="724"/>
                  </a:lnTo>
                  <a:lnTo>
                    <a:pt x="1370" y="724"/>
                  </a:lnTo>
                  <a:lnTo>
                    <a:pt x="1370" y="724"/>
                  </a:lnTo>
                  <a:lnTo>
                    <a:pt x="1370" y="724"/>
                  </a:lnTo>
                  <a:lnTo>
                    <a:pt x="1370" y="722"/>
                  </a:lnTo>
                  <a:lnTo>
                    <a:pt x="1370" y="722"/>
                  </a:lnTo>
                  <a:lnTo>
                    <a:pt x="1370" y="722"/>
                  </a:lnTo>
                  <a:lnTo>
                    <a:pt x="1370" y="722"/>
                  </a:lnTo>
                  <a:lnTo>
                    <a:pt x="1370" y="722"/>
                  </a:lnTo>
                  <a:lnTo>
                    <a:pt x="1370" y="722"/>
                  </a:lnTo>
                  <a:lnTo>
                    <a:pt x="1370" y="722"/>
                  </a:lnTo>
                  <a:lnTo>
                    <a:pt x="1370" y="724"/>
                  </a:lnTo>
                  <a:lnTo>
                    <a:pt x="1370" y="724"/>
                  </a:lnTo>
                  <a:lnTo>
                    <a:pt x="1370" y="726"/>
                  </a:lnTo>
                  <a:lnTo>
                    <a:pt x="1370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8" y="726"/>
                  </a:lnTo>
                  <a:lnTo>
                    <a:pt x="1366" y="726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6" y="726"/>
                  </a:lnTo>
                  <a:lnTo>
                    <a:pt x="1366" y="726"/>
                  </a:lnTo>
                  <a:lnTo>
                    <a:pt x="1366" y="726"/>
                  </a:lnTo>
                  <a:lnTo>
                    <a:pt x="1366" y="726"/>
                  </a:lnTo>
                  <a:lnTo>
                    <a:pt x="1366" y="726"/>
                  </a:lnTo>
                  <a:lnTo>
                    <a:pt x="1366" y="726"/>
                  </a:lnTo>
                  <a:lnTo>
                    <a:pt x="1366" y="728"/>
                  </a:lnTo>
                  <a:lnTo>
                    <a:pt x="1366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28"/>
                  </a:lnTo>
                  <a:lnTo>
                    <a:pt x="1363" y="731"/>
                  </a:lnTo>
                  <a:lnTo>
                    <a:pt x="1363" y="731"/>
                  </a:lnTo>
                  <a:lnTo>
                    <a:pt x="1363" y="731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3" y="733"/>
                  </a:lnTo>
                  <a:lnTo>
                    <a:pt x="1363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3"/>
                  </a:lnTo>
                  <a:lnTo>
                    <a:pt x="1361" y="735"/>
                  </a:lnTo>
                  <a:lnTo>
                    <a:pt x="1363" y="735"/>
                  </a:lnTo>
                  <a:lnTo>
                    <a:pt x="1363" y="735"/>
                  </a:lnTo>
                  <a:lnTo>
                    <a:pt x="1363" y="735"/>
                  </a:lnTo>
                  <a:lnTo>
                    <a:pt x="1366" y="733"/>
                  </a:lnTo>
                  <a:lnTo>
                    <a:pt x="1366" y="733"/>
                  </a:lnTo>
                  <a:lnTo>
                    <a:pt x="1368" y="733"/>
                  </a:lnTo>
                  <a:lnTo>
                    <a:pt x="1368" y="733"/>
                  </a:lnTo>
                  <a:lnTo>
                    <a:pt x="1368" y="733"/>
                  </a:lnTo>
                  <a:lnTo>
                    <a:pt x="1368" y="733"/>
                  </a:lnTo>
                  <a:lnTo>
                    <a:pt x="1368" y="733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6" y="735"/>
                  </a:lnTo>
                  <a:lnTo>
                    <a:pt x="1366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5"/>
                  </a:lnTo>
                  <a:lnTo>
                    <a:pt x="1368" y="737"/>
                  </a:lnTo>
                  <a:lnTo>
                    <a:pt x="1368" y="737"/>
                  </a:lnTo>
                  <a:lnTo>
                    <a:pt x="1368" y="737"/>
                  </a:lnTo>
                  <a:lnTo>
                    <a:pt x="1368" y="737"/>
                  </a:lnTo>
                  <a:lnTo>
                    <a:pt x="1368" y="737"/>
                  </a:lnTo>
                  <a:lnTo>
                    <a:pt x="1368" y="737"/>
                  </a:lnTo>
                  <a:lnTo>
                    <a:pt x="1370" y="737"/>
                  </a:lnTo>
                  <a:lnTo>
                    <a:pt x="1370" y="737"/>
                  </a:lnTo>
                  <a:lnTo>
                    <a:pt x="1370" y="737"/>
                  </a:lnTo>
                  <a:lnTo>
                    <a:pt x="1370" y="737"/>
                  </a:lnTo>
                  <a:lnTo>
                    <a:pt x="1370" y="737"/>
                  </a:lnTo>
                  <a:lnTo>
                    <a:pt x="1370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2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2"/>
                  </a:lnTo>
                  <a:lnTo>
                    <a:pt x="1375" y="742"/>
                  </a:lnTo>
                  <a:lnTo>
                    <a:pt x="1375" y="742"/>
                  </a:lnTo>
                  <a:lnTo>
                    <a:pt x="1375" y="742"/>
                  </a:lnTo>
                  <a:lnTo>
                    <a:pt x="1375" y="742"/>
                  </a:lnTo>
                  <a:lnTo>
                    <a:pt x="1375" y="742"/>
                  </a:lnTo>
                  <a:lnTo>
                    <a:pt x="1375" y="742"/>
                  </a:lnTo>
                  <a:lnTo>
                    <a:pt x="1377" y="742"/>
                  </a:lnTo>
                  <a:lnTo>
                    <a:pt x="1377" y="742"/>
                  </a:lnTo>
                  <a:lnTo>
                    <a:pt x="1377" y="742"/>
                  </a:lnTo>
                  <a:lnTo>
                    <a:pt x="1377" y="742"/>
                  </a:lnTo>
                  <a:lnTo>
                    <a:pt x="1377" y="742"/>
                  </a:lnTo>
                  <a:lnTo>
                    <a:pt x="1375" y="742"/>
                  </a:lnTo>
                  <a:lnTo>
                    <a:pt x="1377" y="742"/>
                  </a:lnTo>
                  <a:lnTo>
                    <a:pt x="1377" y="742"/>
                  </a:lnTo>
                  <a:lnTo>
                    <a:pt x="1377" y="744"/>
                  </a:lnTo>
                  <a:lnTo>
                    <a:pt x="1379" y="744"/>
                  </a:lnTo>
                  <a:lnTo>
                    <a:pt x="1379" y="744"/>
                  </a:lnTo>
                  <a:lnTo>
                    <a:pt x="1379" y="744"/>
                  </a:lnTo>
                  <a:lnTo>
                    <a:pt x="1379" y="744"/>
                  </a:lnTo>
                  <a:lnTo>
                    <a:pt x="1379" y="746"/>
                  </a:lnTo>
                  <a:lnTo>
                    <a:pt x="1379" y="746"/>
                  </a:lnTo>
                  <a:lnTo>
                    <a:pt x="1379" y="746"/>
                  </a:lnTo>
                  <a:lnTo>
                    <a:pt x="1379" y="746"/>
                  </a:lnTo>
                  <a:lnTo>
                    <a:pt x="1377" y="746"/>
                  </a:lnTo>
                  <a:lnTo>
                    <a:pt x="1377" y="746"/>
                  </a:lnTo>
                  <a:lnTo>
                    <a:pt x="1377" y="746"/>
                  </a:lnTo>
                  <a:lnTo>
                    <a:pt x="1377" y="746"/>
                  </a:lnTo>
                  <a:lnTo>
                    <a:pt x="1377" y="746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49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7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49"/>
                  </a:lnTo>
                  <a:lnTo>
                    <a:pt x="1375" y="749"/>
                  </a:lnTo>
                  <a:lnTo>
                    <a:pt x="1372" y="749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6"/>
                  </a:lnTo>
                  <a:lnTo>
                    <a:pt x="1372" y="746"/>
                  </a:lnTo>
                  <a:lnTo>
                    <a:pt x="1372" y="746"/>
                  </a:lnTo>
                  <a:lnTo>
                    <a:pt x="1372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4"/>
                  </a:lnTo>
                  <a:lnTo>
                    <a:pt x="1370" y="744"/>
                  </a:lnTo>
                  <a:lnTo>
                    <a:pt x="1368" y="744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0"/>
                  </a:lnTo>
                  <a:lnTo>
                    <a:pt x="1368" y="740"/>
                  </a:lnTo>
                  <a:lnTo>
                    <a:pt x="1368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37"/>
                  </a:lnTo>
                  <a:lnTo>
                    <a:pt x="1363" y="737"/>
                  </a:lnTo>
                  <a:lnTo>
                    <a:pt x="1363" y="737"/>
                  </a:lnTo>
                  <a:lnTo>
                    <a:pt x="1363" y="737"/>
                  </a:lnTo>
                  <a:lnTo>
                    <a:pt x="1363" y="740"/>
                  </a:lnTo>
                  <a:lnTo>
                    <a:pt x="1363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6" y="740"/>
                  </a:lnTo>
                  <a:lnTo>
                    <a:pt x="1368" y="740"/>
                  </a:lnTo>
                  <a:lnTo>
                    <a:pt x="1368" y="740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2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4"/>
                  </a:lnTo>
                  <a:lnTo>
                    <a:pt x="1368" y="746"/>
                  </a:lnTo>
                  <a:lnTo>
                    <a:pt x="1368" y="746"/>
                  </a:lnTo>
                  <a:lnTo>
                    <a:pt x="1368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6"/>
                  </a:lnTo>
                  <a:lnTo>
                    <a:pt x="1370" y="749"/>
                  </a:lnTo>
                  <a:lnTo>
                    <a:pt x="1370" y="749"/>
                  </a:lnTo>
                  <a:lnTo>
                    <a:pt x="1370" y="749"/>
                  </a:lnTo>
                  <a:lnTo>
                    <a:pt x="1370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49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2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1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7" y="753"/>
                  </a:lnTo>
                  <a:lnTo>
                    <a:pt x="1377" y="753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5" y="753"/>
                  </a:lnTo>
                  <a:lnTo>
                    <a:pt x="1375" y="755"/>
                  </a:lnTo>
                  <a:lnTo>
                    <a:pt x="1375" y="753"/>
                  </a:lnTo>
                  <a:lnTo>
                    <a:pt x="1377" y="753"/>
                  </a:lnTo>
                  <a:lnTo>
                    <a:pt x="1377" y="753"/>
                  </a:lnTo>
                  <a:lnTo>
                    <a:pt x="1377" y="753"/>
                  </a:lnTo>
                  <a:lnTo>
                    <a:pt x="1377" y="755"/>
                  </a:lnTo>
                  <a:lnTo>
                    <a:pt x="1377" y="755"/>
                  </a:lnTo>
                  <a:lnTo>
                    <a:pt x="1377" y="755"/>
                  </a:lnTo>
                  <a:lnTo>
                    <a:pt x="1377" y="755"/>
                  </a:lnTo>
                  <a:lnTo>
                    <a:pt x="1375" y="755"/>
                  </a:lnTo>
                  <a:lnTo>
                    <a:pt x="1377" y="755"/>
                  </a:lnTo>
                  <a:lnTo>
                    <a:pt x="1377" y="755"/>
                  </a:lnTo>
                  <a:lnTo>
                    <a:pt x="1377" y="755"/>
                  </a:lnTo>
                  <a:lnTo>
                    <a:pt x="1377" y="755"/>
                  </a:lnTo>
                  <a:lnTo>
                    <a:pt x="1377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5" y="758"/>
                  </a:lnTo>
                  <a:lnTo>
                    <a:pt x="1372" y="758"/>
                  </a:lnTo>
                  <a:lnTo>
                    <a:pt x="1372" y="755"/>
                  </a:lnTo>
                  <a:lnTo>
                    <a:pt x="1372" y="755"/>
                  </a:lnTo>
                  <a:lnTo>
                    <a:pt x="1372" y="755"/>
                  </a:lnTo>
                  <a:lnTo>
                    <a:pt x="1372" y="755"/>
                  </a:lnTo>
                  <a:lnTo>
                    <a:pt x="1372" y="755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58"/>
                  </a:lnTo>
                  <a:lnTo>
                    <a:pt x="1372" y="760"/>
                  </a:lnTo>
                  <a:lnTo>
                    <a:pt x="1372" y="760"/>
                  </a:lnTo>
                  <a:lnTo>
                    <a:pt x="1372" y="760"/>
                  </a:lnTo>
                  <a:lnTo>
                    <a:pt x="1370" y="760"/>
                  </a:lnTo>
                  <a:lnTo>
                    <a:pt x="1370" y="760"/>
                  </a:lnTo>
                  <a:lnTo>
                    <a:pt x="1370" y="760"/>
                  </a:lnTo>
                  <a:lnTo>
                    <a:pt x="1370" y="760"/>
                  </a:lnTo>
                  <a:lnTo>
                    <a:pt x="1370" y="758"/>
                  </a:lnTo>
                  <a:lnTo>
                    <a:pt x="1370" y="758"/>
                  </a:lnTo>
                  <a:lnTo>
                    <a:pt x="1368" y="758"/>
                  </a:lnTo>
                  <a:lnTo>
                    <a:pt x="1368" y="758"/>
                  </a:lnTo>
                  <a:lnTo>
                    <a:pt x="1368" y="755"/>
                  </a:lnTo>
                  <a:lnTo>
                    <a:pt x="1368" y="755"/>
                  </a:lnTo>
                  <a:lnTo>
                    <a:pt x="1368" y="755"/>
                  </a:lnTo>
                  <a:lnTo>
                    <a:pt x="1368" y="755"/>
                  </a:lnTo>
                  <a:lnTo>
                    <a:pt x="1368" y="755"/>
                  </a:lnTo>
                  <a:lnTo>
                    <a:pt x="1366" y="753"/>
                  </a:lnTo>
                  <a:lnTo>
                    <a:pt x="1366" y="753"/>
                  </a:lnTo>
                  <a:lnTo>
                    <a:pt x="1366" y="753"/>
                  </a:lnTo>
                  <a:lnTo>
                    <a:pt x="1366" y="753"/>
                  </a:lnTo>
                  <a:lnTo>
                    <a:pt x="1366" y="753"/>
                  </a:lnTo>
                  <a:lnTo>
                    <a:pt x="1366" y="755"/>
                  </a:lnTo>
                  <a:lnTo>
                    <a:pt x="1366" y="755"/>
                  </a:lnTo>
                  <a:lnTo>
                    <a:pt x="1366" y="755"/>
                  </a:lnTo>
                  <a:lnTo>
                    <a:pt x="1366" y="755"/>
                  </a:lnTo>
                  <a:lnTo>
                    <a:pt x="1366" y="755"/>
                  </a:lnTo>
                  <a:lnTo>
                    <a:pt x="1368" y="755"/>
                  </a:lnTo>
                  <a:lnTo>
                    <a:pt x="1368" y="758"/>
                  </a:lnTo>
                  <a:lnTo>
                    <a:pt x="1368" y="758"/>
                  </a:lnTo>
                  <a:lnTo>
                    <a:pt x="1368" y="760"/>
                  </a:lnTo>
                  <a:lnTo>
                    <a:pt x="1370" y="760"/>
                  </a:lnTo>
                  <a:lnTo>
                    <a:pt x="1370" y="760"/>
                  </a:lnTo>
                  <a:lnTo>
                    <a:pt x="1370" y="760"/>
                  </a:lnTo>
                  <a:lnTo>
                    <a:pt x="1370" y="760"/>
                  </a:lnTo>
                  <a:lnTo>
                    <a:pt x="1372" y="760"/>
                  </a:lnTo>
                  <a:lnTo>
                    <a:pt x="1372" y="760"/>
                  </a:lnTo>
                  <a:lnTo>
                    <a:pt x="1372" y="760"/>
                  </a:lnTo>
                  <a:lnTo>
                    <a:pt x="1372" y="760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2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4"/>
                  </a:lnTo>
                  <a:lnTo>
                    <a:pt x="1372" y="767"/>
                  </a:lnTo>
                  <a:lnTo>
                    <a:pt x="1372" y="767"/>
                  </a:lnTo>
                  <a:lnTo>
                    <a:pt x="1372" y="767"/>
                  </a:lnTo>
                  <a:lnTo>
                    <a:pt x="1370" y="767"/>
                  </a:lnTo>
                  <a:lnTo>
                    <a:pt x="1370" y="767"/>
                  </a:lnTo>
                  <a:lnTo>
                    <a:pt x="1370" y="767"/>
                  </a:lnTo>
                  <a:lnTo>
                    <a:pt x="1370" y="767"/>
                  </a:lnTo>
                  <a:lnTo>
                    <a:pt x="1370" y="767"/>
                  </a:lnTo>
                  <a:lnTo>
                    <a:pt x="1370" y="767"/>
                  </a:lnTo>
                  <a:lnTo>
                    <a:pt x="1370" y="764"/>
                  </a:lnTo>
                  <a:lnTo>
                    <a:pt x="1368" y="764"/>
                  </a:lnTo>
                  <a:lnTo>
                    <a:pt x="1368" y="764"/>
                  </a:lnTo>
                  <a:lnTo>
                    <a:pt x="1368" y="764"/>
                  </a:lnTo>
                  <a:lnTo>
                    <a:pt x="1368" y="762"/>
                  </a:lnTo>
                  <a:lnTo>
                    <a:pt x="1368" y="762"/>
                  </a:lnTo>
                  <a:lnTo>
                    <a:pt x="1368" y="762"/>
                  </a:lnTo>
                  <a:lnTo>
                    <a:pt x="1368" y="762"/>
                  </a:lnTo>
                  <a:lnTo>
                    <a:pt x="1368" y="762"/>
                  </a:lnTo>
                  <a:lnTo>
                    <a:pt x="1368" y="760"/>
                  </a:lnTo>
                  <a:lnTo>
                    <a:pt x="1366" y="760"/>
                  </a:lnTo>
                  <a:lnTo>
                    <a:pt x="1366" y="760"/>
                  </a:lnTo>
                  <a:lnTo>
                    <a:pt x="1366" y="760"/>
                  </a:lnTo>
                  <a:lnTo>
                    <a:pt x="1366" y="760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58"/>
                  </a:lnTo>
                  <a:lnTo>
                    <a:pt x="1363" y="758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3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58"/>
                  </a:lnTo>
                  <a:lnTo>
                    <a:pt x="1361" y="758"/>
                  </a:lnTo>
                  <a:lnTo>
                    <a:pt x="1361" y="758"/>
                  </a:lnTo>
                  <a:lnTo>
                    <a:pt x="1361" y="758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58"/>
                  </a:lnTo>
                  <a:lnTo>
                    <a:pt x="1359" y="758"/>
                  </a:lnTo>
                  <a:lnTo>
                    <a:pt x="1359" y="758"/>
                  </a:lnTo>
                  <a:lnTo>
                    <a:pt x="1359" y="758"/>
                  </a:lnTo>
                  <a:lnTo>
                    <a:pt x="1359" y="758"/>
                  </a:lnTo>
                  <a:lnTo>
                    <a:pt x="1359" y="758"/>
                  </a:lnTo>
                  <a:lnTo>
                    <a:pt x="1359" y="758"/>
                  </a:lnTo>
                  <a:lnTo>
                    <a:pt x="1357" y="758"/>
                  </a:lnTo>
                  <a:lnTo>
                    <a:pt x="1357" y="758"/>
                  </a:lnTo>
                  <a:lnTo>
                    <a:pt x="1357" y="758"/>
                  </a:lnTo>
                  <a:lnTo>
                    <a:pt x="1357" y="758"/>
                  </a:lnTo>
                  <a:lnTo>
                    <a:pt x="1357" y="758"/>
                  </a:lnTo>
                  <a:lnTo>
                    <a:pt x="1357" y="758"/>
                  </a:lnTo>
                  <a:lnTo>
                    <a:pt x="1357" y="758"/>
                  </a:lnTo>
                  <a:lnTo>
                    <a:pt x="1354" y="758"/>
                  </a:lnTo>
                  <a:lnTo>
                    <a:pt x="1354" y="758"/>
                  </a:lnTo>
                  <a:lnTo>
                    <a:pt x="1354" y="758"/>
                  </a:lnTo>
                  <a:lnTo>
                    <a:pt x="1354" y="760"/>
                  </a:lnTo>
                  <a:lnTo>
                    <a:pt x="1354" y="760"/>
                  </a:lnTo>
                  <a:lnTo>
                    <a:pt x="1357" y="760"/>
                  </a:lnTo>
                  <a:lnTo>
                    <a:pt x="1357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59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0"/>
                  </a:lnTo>
                  <a:lnTo>
                    <a:pt x="1361" y="762"/>
                  </a:lnTo>
                  <a:lnTo>
                    <a:pt x="1361" y="762"/>
                  </a:lnTo>
                  <a:lnTo>
                    <a:pt x="1363" y="762"/>
                  </a:lnTo>
                  <a:lnTo>
                    <a:pt x="1363" y="762"/>
                  </a:lnTo>
                  <a:lnTo>
                    <a:pt x="1363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2"/>
                  </a:lnTo>
                  <a:lnTo>
                    <a:pt x="1366" y="764"/>
                  </a:lnTo>
                  <a:lnTo>
                    <a:pt x="1366" y="764"/>
                  </a:lnTo>
                  <a:lnTo>
                    <a:pt x="1366" y="764"/>
                  </a:lnTo>
                  <a:lnTo>
                    <a:pt x="1368" y="764"/>
                  </a:lnTo>
                  <a:lnTo>
                    <a:pt x="1368" y="767"/>
                  </a:lnTo>
                  <a:lnTo>
                    <a:pt x="1366" y="767"/>
                  </a:lnTo>
                  <a:lnTo>
                    <a:pt x="1366" y="767"/>
                  </a:lnTo>
                  <a:lnTo>
                    <a:pt x="1366" y="767"/>
                  </a:lnTo>
                  <a:lnTo>
                    <a:pt x="1366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7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68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2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0" y="769"/>
                  </a:lnTo>
                  <a:lnTo>
                    <a:pt x="1372" y="769"/>
                  </a:lnTo>
                  <a:lnTo>
                    <a:pt x="1372" y="769"/>
                  </a:lnTo>
                  <a:lnTo>
                    <a:pt x="1372" y="769"/>
                  </a:lnTo>
                  <a:lnTo>
                    <a:pt x="1372" y="767"/>
                  </a:lnTo>
                  <a:lnTo>
                    <a:pt x="1372" y="767"/>
                  </a:lnTo>
                  <a:lnTo>
                    <a:pt x="1372" y="767"/>
                  </a:lnTo>
                  <a:lnTo>
                    <a:pt x="1375" y="769"/>
                  </a:lnTo>
                  <a:lnTo>
                    <a:pt x="1375" y="769"/>
                  </a:lnTo>
                  <a:lnTo>
                    <a:pt x="1377" y="769"/>
                  </a:lnTo>
                  <a:lnTo>
                    <a:pt x="1377" y="769"/>
                  </a:lnTo>
                  <a:lnTo>
                    <a:pt x="1377" y="769"/>
                  </a:lnTo>
                  <a:lnTo>
                    <a:pt x="1377" y="769"/>
                  </a:lnTo>
                  <a:lnTo>
                    <a:pt x="1377" y="769"/>
                  </a:lnTo>
                  <a:lnTo>
                    <a:pt x="1377" y="771"/>
                  </a:lnTo>
                  <a:lnTo>
                    <a:pt x="1379" y="776"/>
                  </a:lnTo>
                  <a:lnTo>
                    <a:pt x="1377" y="778"/>
                  </a:lnTo>
                  <a:lnTo>
                    <a:pt x="1377" y="780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5"/>
                  </a:lnTo>
                  <a:lnTo>
                    <a:pt x="1377" y="787"/>
                  </a:lnTo>
                  <a:lnTo>
                    <a:pt x="1379" y="791"/>
                  </a:lnTo>
                  <a:lnTo>
                    <a:pt x="1379" y="794"/>
                  </a:lnTo>
                  <a:lnTo>
                    <a:pt x="1379" y="796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4"/>
                  </a:lnTo>
                  <a:lnTo>
                    <a:pt x="1379" y="791"/>
                  </a:lnTo>
                  <a:lnTo>
                    <a:pt x="1379" y="791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9" y="789"/>
                  </a:lnTo>
                  <a:lnTo>
                    <a:pt x="1379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9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5"/>
                  </a:lnTo>
                  <a:lnTo>
                    <a:pt x="1377" y="785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0"/>
                  </a:lnTo>
                  <a:lnTo>
                    <a:pt x="1377" y="780"/>
                  </a:lnTo>
                  <a:lnTo>
                    <a:pt x="1377" y="780"/>
                  </a:lnTo>
                  <a:lnTo>
                    <a:pt x="1377" y="780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3"/>
                  </a:lnTo>
                  <a:lnTo>
                    <a:pt x="1377" y="773"/>
                  </a:lnTo>
                  <a:lnTo>
                    <a:pt x="1377" y="773"/>
                  </a:lnTo>
                  <a:lnTo>
                    <a:pt x="1377" y="773"/>
                  </a:lnTo>
                  <a:lnTo>
                    <a:pt x="1377" y="773"/>
                  </a:lnTo>
                  <a:lnTo>
                    <a:pt x="1377" y="773"/>
                  </a:lnTo>
                  <a:lnTo>
                    <a:pt x="1377" y="776"/>
                  </a:lnTo>
                  <a:lnTo>
                    <a:pt x="1375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6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7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6"/>
                  </a:lnTo>
                  <a:lnTo>
                    <a:pt x="1375" y="776"/>
                  </a:lnTo>
                  <a:lnTo>
                    <a:pt x="1375" y="776"/>
                  </a:lnTo>
                  <a:lnTo>
                    <a:pt x="1375" y="776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78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5" y="780"/>
                  </a:lnTo>
                  <a:lnTo>
                    <a:pt x="1377" y="780"/>
                  </a:lnTo>
                  <a:lnTo>
                    <a:pt x="1377" y="780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2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7"/>
                  </a:lnTo>
                  <a:lnTo>
                    <a:pt x="1377" y="789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5" y="782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5"/>
                  </a:lnTo>
                  <a:lnTo>
                    <a:pt x="1375" y="787"/>
                  </a:lnTo>
                  <a:lnTo>
                    <a:pt x="1375" y="787"/>
                  </a:lnTo>
                  <a:lnTo>
                    <a:pt x="1372" y="785"/>
                  </a:lnTo>
                  <a:lnTo>
                    <a:pt x="1372" y="785"/>
                  </a:lnTo>
                  <a:lnTo>
                    <a:pt x="1372" y="785"/>
                  </a:lnTo>
                  <a:lnTo>
                    <a:pt x="1372" y="785"/>
                  </a:lnTo>
                  <a:lnTo>
                    <a:pt x="1372" y="785"/>
                  </a:lnTo>
                  <a:lnTo>
                    <a:pt x="1372" y="785"/>
                  </a:lnTo>
                  <a:lnTo>
                    <a:pt x="1372" y="785"/>
                  </a:lnTo>
                  <a:lnTo>
                    <a:pt x="1370" y="785"/>
                  </a:lnTo>
                  <a:lnTo>
                    <a:pt x="1370" y="785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2"/>
                  </a:lnTo>
                  <a:lnTo>
                    <a:pt x="1370" y="785"/>
                  </a:lnTo>
                  <a:lnTo>
                    <a:pt x="1370" y="785"/>
                  </a:lnTo>
                  <a:lnTo>
                    <a:pt x="1370" y="785"/>
                  </a:lnTo>
                  <a:lnTo>
                    <a:pt x="1370" y="785"/>
                  </a:lnTo>
                  <a:lnTo>
                    <a:pt x="1370" y="785"/>
                  </a:lnTo>
                  <a:lnTo>
                    <a:pt x="1370" y="785"/>
                  </a:lnTo>
                  <a:lnTo>
                    <a:pt x="1372" y="787"/>
                  </a:lnTo>
                  <a:lnTo>
                    <a:pt x="1372" y="787"/>
                  </a:lnTo>
                  <a:lnTo>
                    <a:pt x="1372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70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5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8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6" y="785"/>
                  </a:lnTo>
                  <a:lnTo>
                    <a:pt x="1366" y="787"/>
                  </a:lnTo>
                  <a:lnTo>
                    <a:pt x="1363" y="785"/>
                  </a:lnTo>
                  <a:lnTo>
                    <a:pt x="1363" y="785"/>
                  </a:lnTo>
                  <a:lnTo>
                    <a:pt x="1363" y="785"/>
                  </a:lnTo>
                  <a:lnTo>
                    <a:pt x="1363" y="785"/>
                  </a:lnTo>
                  <a:lnTo>
                    <a:pt x="1363" y="787"/>
                  </a:lnTo>
                  <a:lnTo>
                    <a:pt x="1363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6" y="787"/>
                  </a:lnTo>
                  <a:lnTo>
                    <a:pt x="1363" y="787"/>
                  </a:lnTo>
                  <a:lnTo>
                    <a:pt x="1363" y="789"/>
                  </a:lnTo>
                  <a:lnTo>
                    <a:pt x="1363" y="789"/>
                  </a:lnTo>
                  <a:lnTo>
                    <a:pt x="1363" y="789"/>
                  </a:lnTo>
                  <a:lnTo>
                    <a:pt x="1363" y="789"/>
                  </a:lnTo>
                  <a:lnTo>
                    <a:pt x="1363" y="789"/>
                  </a:lnTo>
                  <a:lnTo>
                    <a:pt x="1363" y="789"/>
                  </a:lnTo>
                  <a:lnTo>
                    <a:pt x="1361" y="789"/>
                  </a:lnTo>
                  <a:lnTo>
                    <a:pt x="1361" y="789"/>
                  </a:lnTo>
                  <a:lnTo>
                    <a:pt x="1361" y="789"/>
                  </a:lnTo>
                  <a:lnTo>
                    <a:pt x="1361" y="789"/>
                  </a:lnTo>
                  <a:lnTo>
                    <a:pt x="1361" y="789"/>
                  </a:lnTo>
                  <a:lnTo>
                    <a:pt x="1359" y="789"/>
                  </a:lnTo>
                  <a:lnTo>
                    <a:pt x="1359" y="789"/>
                  </a:lnTo>
                  <a:lnTo>
                    <a:pt x="1359" y="789"/>
                  </a:lnTo>
                  <a:lnTo>
                    <a:pt x="1359" y="789"/>
                  </a:lnTo>
                  <a:lnTo>
                    <a:pt x="1359" y="789"/>
                  </a:lnTo>
                  <a:lnTo>
                    <a:pt x="1359" y="787"/>
                  </a:lnTo>
                  <a:lnTo>
                    <a:pt x="1359" y="787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2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9" y="785"/>
                  </a:lnTo>
                  <a:lnTo>
                    <a:pt x="1357" y="787"/>
                  </a:lnTo>
                  <a:lnTo>
                    <a:pt x="1357" y="787"/>
                  </a:lnTo>
                  <a:lnTo>
                    <a:pt x="1357" y="787"/>
                  </a:lnTo>
                  <a:lnTo>
                    <a:pt x="1357" y="789"/>
                  </a:lnTo>
                  <a:lnTo>
                    <a:pt x="1357" y="789"/>
                  </a:lnTo>
                  <a:lnTo>
                    <a:pt x="1357" y="789"/>
                  </a:lnTo>
                  <a:lnTo>
                    <a:pt x="1359" y="789"/>
                  </a:lnTo>
                  <a:lnTo>
                    <a:pt x="1359" y="789"/>
                  </a:lnTo>
                  <a:lnTo>
                    <a:pt x="1357" y="789"/>
                  </a:lnTo>
                  <a:lnTo>
                    <a:pt x="1357" y="789"/>
                  </a:lnTo>
                  <a:lnTo>
                    <a:pt x="1359" y="789"/>
                  </a:lnTo>
                  <a:lnTo>
                    <a:pt x="1359" y="789"/>
                  </a:lnTo>
                  <a:lnTo>
                    <a:pt x="1357" y="791"/>
                  </a:lnTo>
                  <a:lnTo>
                    <a:pt x="1357" y="791"/>
                  </a:lnTo>
                  <a:lnTo>
                    <a:pt x="1359" y="791"/>
                  </a:lnTo>
                  <a:lnTo>
                    <a:pt x="1359" y="791"/>
                  </a:lnTo>
                  <a:lnTo>
                    <a:pt x="1361" y="791"/>
                  </a:lnTo>
                  <a:lnTo>
                    <a:pt x="1361" y="791"/>
                  </a:lnTo>
                  <a:lnTo>
                    <a:pt x="1361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3" y="791"/>
                  </a:lnTo>
                  <a:lnTo>
                    <a:pt x="1366" y="791"/>
                  </a:lnTo>
                  <a:lnTo>
                    <a:pt x="1366" y="791"/>
                  </a:lnTo>
                  <a:lnTo>
                    <a:pt x="1366" y="791"/>
                  </a:lnTo>
                  <a:lnTo>
                    <a:pt x="1366" y="791"/>
                  </a:lnTo>
                  <a:lnTo>
                    <a:pt x="1366" y="791"/>
                  </a:lnTo>
                  <a:lnTo>
                    <a:pt x="1366" y="791"/>
                  </a:lnTo>
                  <a:lnTo>
                    <a:pt x="1366" y="791"/>
                  </a:lnTo>
                  <a:lnTo>
                    <a:pt x="1368" y="789"/>
                  </a:lnTo>
                  <a:lnTo>
                    <a:pt x="1370" y="789"/>
                  </a:lnTo>
                  <a:lnTo>
                    <a:pt x="1370" y="789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1"/>
                  </a:lnTo>
                  <a:lnTo>
                    <a:pt x="1370" y="794"/>
                  </a:lnTo>
                  <a:lnTo>
                    <a:pt x="1370" y="794"/>
                  </a:lnTo>
                  <a:lnTo>
                    <a:pt x="1370" y="794"/>
                  </a:lnTo>
                  <a:lnTo>
                    <a:pt x="1368" y="794"/>
                  </a:lnTo>
                  <a:lnTo>
                    <a:pt x="1370" y="794"/>
                  </a:lnTo>
                  <a:lnTo>
                    <a:pt x="1370" y="794"/>
                  </a:lnTo>
                  <a:lnTo>
                    <a:pt x="1370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70" y="796"/>
                  </a:lnTo>
                  <a:lnTo>
                    <a:pt x="1370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6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68" y="798"/>
                  </a:lnTo>
                  <a:lnTo>
                    <a:pt x="1370" y="796"/>
                  </a:lnTo>
                  <a:lnTo>
                    <a:pt x="1370" y="796"/>
                  </a:lnTo>
                  <a:lnTo>
                    <a:pt x="1370" y="794"/>
                  </a:lnTo>
                  <a:lnTo>
                    <a:pt x="1370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2" y="794"/>
                  </a:lnTo>
                  <a:lnTo>
                    <a:pt x="1372" y="794"/>
                  </a:lnTo>
                  <a:lnTo>
                    <a:pt x="1372" y="794"/>
                  </a:lnTo>
                  <a:lnTo>
                    <a:pt x="1375" y="794"/>
                  </a:lnTo>
                  <a:lnTo>
                    <a:pt x="1375" y="794"/>
                  </a:lnTo>
                  <a:lnTo>
                    <a:pt x="1375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2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5" y="791"/>
                  </a:lnTo>
                  <a:lnTo>
                    <a:pt x="1377" y="794"/>
                  </a:lnTo>
                  <a:lnTo>
                    <a:pt x="1375" y="794"/>
                  </a:lnTo>
                  <a:lnTo>
                    <a:pt x="1377" y="794"/>
                  </a:lnTo>
                  <a:lnTo>
                    <a:pt x="1377" y="794"/>
                  </a:lnTo>
                  <a:lnTo>
                    <a:pt x="1377" y="794"/>
                  </a:lnTo>
                  <a:lnTo>
                    <a:pt x="1375" y="796"/>
                  </a:lnTo>
                  <a:lnTo>
                    <a:pt x="1375" y="796"/>
                  </a:lnTo>
                  <a:lnTo>
                    <a:pt x="1375" y="796"/>
                  </a:lnTo>
                  <a:lnTo>
                    <a:pt x="1375" y="796"/>
                  </a:lnTo>
                  <a:lnTo>
                    <a:pt x="1375" y="796"/>
                  </a:lnTo>
                  <a:lnTo>
                    <a:pt x="1375" y="796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798"/>
                  </a:lnTo>
                  <a:lnTo>
                    <a:pt x="1375" y="800"/>
                  </a:lnTo>
                  <a:lnTo>
                    <a:pt x="1375" y="800"/>
                  </a:lnTo>
                  <a:lnTo>
                    <a:pt x="1375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800"/>
                  </a:lnTo>
                  <a:lnTo>
                    <a:pt x="1372" y="798"/>
                  </a:lnTo>
                  <a:lnTo>
                    <a:pt x="1372" y="798"/>
                  </a:lnTo>
                  <a:lnTo>
                    <a:pt x="1372" y="798"/>
                  </a:lnTo>
                  <a:lnTo>
                    <a:pt x="1370" y="800"/>
                  </a:lnTo>
                  <a:lnTo>
                    <a:pt x="1370" y="800"/>
                  </a:lnTo>
                  <a:lnTo>
                    <a:pt x="1370" y="800"/>
                  </a:lnTo>
                  <a:lnTo>
                    <a:pt x="1370" y="800"/>
                  </a:lnTo>
                  <a:lnTo>
                    <a:pt x="1370" y="800"/>
                  </a:lnTo>
                  <a:lnTo>
                    <a:pt x="1368" y="800"/>
                  </a:lnTo>
                  <a:lnTo>
                    <a:pt x="1368" y="800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5"/>
                  </a:lnTo>
                  <a:lnTo>
                    <a:pt x="1368" y="805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8" y="803"/>
                  </a:lnTo>
                  <a:lnTo>
                    <a:pt x="1366" y="803"/>
                  </a:lnTo>
                  <a:lnTo>
                    <a:pt x="1366" y="805"/>
                  </a:lnTo>
                  <a:lnTo>
                    <a:pt x="1366" y="805"/>
                  </a:lnTo>
                  <a:lnTo>
                    <a:pt x="1366" y="805"/>
                  </a:lnTo>
                  <a:lnTo>
                    <a:pt x="1366" y="805"/>
                  </a:lnTo>
                  <a:lnTo>
                    <a:pt x="1366" y="805"/>
                  </a:lnTo>
                  <a:lnTo>
                    <a:pt x="1366" y="805"/>
                  </a:lnTo>
                  <a:lnTo>
                    <a:pt x="1366" y="805"/>
                  </a:lnTo>
                  <a:lnTo>
                    <a:pt x="1363" y="805"/>
                  </a:lnTo>
                  <a:lnTo>
                    <a:pt x="1363" y="805"/>
                  </a:lnTo>
                  <a:lnTo>
                    <a:pt x="1363" y="805"/>
                  </a:lnTo>
                  <a:lnTo>
                    <a:pt x="1363" y="805"/>
                  </a:lnTo>
                  <a:lnTo>
                    <a:pt x="1363" y="805"/>
                  </a:lnTo>
                  <a:lnTo>
                    <a:pt x="1363" y="805"/>
                  </a:lnTo>
                  <a:lnTo>
                    <a:pt x="1363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5"/>
                  </a:lnTo>
                  <a:lnTo>
                    <a:pt x="1361" y="803"/>
                  </a:lnTo>
                  <a:lnTo>
                    <a:pt x="1361" y="803"/>
                  </a:lnTo>
                  <a:lnTo>
                    <a:pt x="1359" y="803"/>
                  </a:lnTo>
                  <a:lnTo>
                    <a:pt x="1359" y="803"/>
                  </a:lnTo>
                  <a:lnTo>
                    <a:pt x="1359" y="803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9" y="805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9" y="805"/>
                  </a:lnTo>
                  <a:lnTo>
                    <a:pt x="1359" y="803"/>
                  </a:lnTo>
                  <a:lnTo>
                    <a:pt x="1359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9" y="803"/>
                  </a:lnTo>
                  <a:lnTo>
                    <a:pt x="1359" y="803"/>
                  </a:lnTo>
                  <a:lnTo>
                    <a:pt x="1359" y="800"/>
                  </a:lnTo>
                  <a:lnTo>
                    <a:pt x="1359" y="800"/>
                  </a:lnTo>
                  <a:lnTo>
                    <a:pt x="1359" y="800"/>
                  </a:lnTo>
                  <a:lnTo>
                    <a:pt x="1357" y="800"/>
                  </a:lnTo>
                  <a:lnTo>
                    <a:pt x="1357" y="800"/>
                  </a:lnTo>
                  <a:lnTo>
                    <a:pt x="1357" y="800"/>
                  </a:lnTo>
                  <a:lnTo>
                    <a:pt x="1357" y="800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3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7" y="805"/>
                  </a:lnTo>
                  <a:lnTo>
                    <a:pt x="1354" y="805"/>
                  </a:lnTo>
                  <a:lnTo>
                    <a:pt x="1354" y="805"/>
                  </a:lnTo>
                  <a:lnTo>
                    <a:pt x="1354" y="803"/>
                  </a:lnTo>
                  <a:lnTo>
                    <a:pt x="1354" y="803"/>
                  </a:lnTo>
                  <a:lnTo>
                    <a:pt x="1354" y="803"/>
                  </a:lnTo>
                  <a:lnTo>
                    <a:pt x="1354" y="803"/>
                  </a:lnTo>
                  <a:lnTo>
                    <a:pt x="1354" y="805"/>
                  </a:lnTo>
                  <a:lnTo>
                    <a:pt x="1354" y="803"/>
                  </a:lnTo>
                  <a:lnTo>
                    <a:pt x="1352" y="805"/>
                  </a:lnTo>
                  <a:lnTo>
                    <a:pt x="1352" y="803"/>
                  </a:lnTo>
                  <a:lnTo>
                    <a:pt x="1352" y="803"/>
                  </a:lnTo>
                  <a:lnTo>
                    <a:pt x="1352" y="803"/>
                  </a:lnTo>
                  <a:lnTo>
                    <a:pt x="1350" y="803"/>
                  </a:lnTo>
                  <a:lnTo>
                    <a:pt x="1350" y="803"/>
                  </a:lnTo>
                  <a:lnTo>
                    <a:pt x="1350" y="803"/>
                  </a:lnTo>
                  <a:lnTo>
                    <a:pt x="1348" y="803"/>
                  </a:lnTo>
                  <a:lnTo>
                    <a:pt x="1348" y="803"/>
                  </a:lnTo>
                  <a:lnTo>
                    <a:pt x="1348" y="800"/>
                  </a:lnTo>
                  <a:lnTo>
                    <a:pt x="1348" y="803"/>
                  </a:lnTo>
                  <a:lnTo>
                    <a:pt x="1348" y="803"/>
                  </a:lnTo>
                  <a:lnTo>
                    <a:pt x="1348" y="803"/>
                  </a:lnTo>
                  <a:lnTo>
                    <a:pt x="1348" y="803"/>
                  </a:lnTo>
                  <a:lnTo>
                    <a:pt x="1348" y="803"/>
                  </a:lnTo>
                  <a:lnTo>
                    <a:pt x="1348" y="803"/>
                  </a:lnTo>
                  <a:lnTo>
                    <a:pt x="1350" y="803"/>
                  </a:lnTo>
                  <a:lnTo>
                    <a:pt x="1350" y="803"/>
                  </a:lnTo>
                  <a:lnTo>
                    <a:pt x="1350" y="805"/>
                  </a:lnTo>
                  <a:lnTo>
                    <a:pt x="1352" y="805"/>
                  </a:lnTo>
                  <a:lnTo>
                    <a:pt x="1352" y="805"/>
                  </a:lnTo>
                  <a:lnTo>
                    <a:pt x="1352" y="805"/>
                  </a:lnTo>
                  <a:lnTo>
                    <a:pt x="1354" y="805"/>
                  </a:lnTo>
                  <a:lnTo>
                    <a:pt x="1354" y="805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7"/>
                  </a:lnTo>
                  <a:lnTo>
                    <a:pt x="1357" y="809"/>
                  </a:lnTo>
                  <a:lnTo>
                    <a:pt x="1357" y="809"/>
                  </a:lnTo>
                  <a:lnTo>
                    <a:pt x="1357" y="807"/>
                  </a:lnTo>
                  <a:lnTo>
                    <a:pt x="1357" y="809"/>
                  </a:lnTo>
                  <a:lnTo>
                    <a:pt x="1357" y="809"/>
                  </a:lnTo>
                  <a:lnTo>
                    <a:pt x="1357" y="809"/>
                  </a:lnTo>
                  <a:lnTo>
                    <a:pt x="1357" y="809"/>
                  </a:lnTo>
                  <a:lnTo>
                    <a:pt x="1357" y="809"/>
                  </a:lnTo>
                  <a:lnTo>
                    <a:pt x="1357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2" y="809"/>
                  </a:lnTo>
                  <a:lnTo>
                    <a:pt x="1352" y="809"/>
                  </a:lnTo>
                  <a:lnTo>
                    <a:pt x="1352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09"/>
                  </a:lnTo>
                  <a:lnTo>
                    <a:pt x="1354" y="812"/>
                  </a:lnTo>
                  <a:lnTo>
                    <a:pt x="1354" y="812"/>
                  </a:lnTo>
                  <a:lnTo>
                    <a:pt x="1354" y="812"/>
                  </a:lnTo>
                  <a:lnTo>
                    <a:pt x="1354" y="812"/>
                  </a:lnTo>
                  <a:lnTo>
                    <a:pt x="1352" y="812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0" y="814"/>
                  </a:lnTo>
                  <a:lnTo>
                    <a:pt x="1350" y="814"/>
                  </a:lnTo>
                  <a:lnTo>
                    <a:pt x="1350" y="814"/>
                  </a:lnTo>
                  <a:lnTo>
                    <a:pt x="1348" y="814"/>
                  </a:lnTo>
                  <a:lnTo>
                    <a:pt x="1348" y="814"/>
                  </a:lnTo>
                  <a:lnTo>
                    <a:pt x="1348" y="814"/>
                  </a:lnTo>
                  <a:lnTo>
                    <a:pt x="1348" y="812"/>
                  </a:lnTo>
                  <a:lnTo>
                    <a:pt x="1348" y="812"/>
                  </a:lnTo>
                  <a:lnTo>
                    <a:pt x="1345" y="812"/>
                  </a:lnTo>
                  <a:lnTo>
                    <a:pt x="1345" y="809"/>
                  </a:lnTo>
                  <a:lnTo>
                    <a:pt x="1345" y="809"/>
                  </a:lnTo>
                  <a:lnTo>
                    <a:pt x="1345" y="812"/>
                  </a:lnTo>
                  <a:lnTo>
                    <a:pt x="1345" y="812"/>
                  </a:lnTo>
                  <a:lnTo>
                    <a:pt x="1345" y="812"/>
                  </a:lnTo>
                  <a:lnTo>
                    <a:pt x="1345" y="812"/>
                  </a:lnTo>
                  <a:lnTo>
                    <a:pt x="1345" y="814"/>
                  </a:lnTo>
                  <a:lnTo>
                    <a:pt x="1345" y="814"/>
                  </a:lnTo>
                  <a:lnTo>
                    <a:pt x="1348" y="814"/>
                  </a:lnTo>
                  <a:lnTo>
                    <a:pt x="1348" y="814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0" y="816"/>
                  </a:lnTo>
                  <a:lnTo>
                    <a:pt x="1352" y="816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2" y="814"/>
                  </a:lnTo>
                  <a:lnTo>
                    <a:pt x="1354" y="816"/>
                  </a:lnTo>
                  <a:lnTo>
                    <a:pt x="1354" y="816"/>
                  </a:lnTo>
                  <a:lnTo>
                    <a:pt x="1354" y="816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4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2"/>
                  </a:lnTo>
                  <a:lnTo>
                    <a:pt x="1357" y="812"/>
                  </a:lnTo>
                  <a:lnTo>
                    <a:pt x="1357" y="812"/>
                  </a:lnTo>
                  <a:lnTo>
                    <a:pt x="1357" y="812"/>
                  </a:lnTo>
                  <a:lnTo>
                    <a:pt x="1357" y="812"/>
                  </a:lnTo>
                  <a:lnTo>
                    <a:pt x="1357" y="812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4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4"/>
                  </a:lnTo>
                  <a:lnTo>
                    <a:pt x="1357" y="816"/>
                  </a:lnTo>
                  <a:lnTo>
                    <a:pt x="1357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4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9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6"/>
                  </a:lnTo>
                  <a:lnTo>
                    <a:pt x="1357" y="818"/>
                  </a:lnTo>
                  <a:lnTo>
                    <a:pt x="1357" y="818"/>
                  </a:lnTo>
                  <a:lnTo>
                    <a:pt x="1357" y="818"/>
                  </a:lnTo>
                  <a:lnTo>
                    <a:pt x="1354" y="818"/>
                  </a:lnTo>
                  <a:lnTo>
                    <a:pt x="1354" y="818"/>
                  </a:lnTo>
                  <a:lnTo>
                    <a:pt x="1354" y="818"/>
                  </a:lnTo>
                  <a:lnTo>
                    <a:pt x="1354" y="818"/>
                  </a:lnTo>
                  <a:lnTo>
                    <a:pt x="1354" y="818"/>
                  </a:lnTo>
                  <a:lnTo>
                    <a:pt x="1354" y="818"/>
                  </a:lnTo>
                  <a:lnTo>
                    <a:pt x="1354" y="818"/>
                  </a:lnTo>
                  <a:lnTo>
                    <a:pt x="1354" y="821"/>
                  </a:lnTo>
                  <a:lnTo>
                    <a:pt x="1354" y="821"/>
                  </a:lnTo>
                  <a:lnTo>
                    <a:pt x="1354" y="821"/>
                  </a:lnTo>
                  <a:lnTo>
                    <a:pt x="1354" y="821"/>
                  </a:lnTo>
                  <a:lnTo>
                    <a:pt x="1352" y="821"/>
                  </a:lnTo>
                  <a:lnTo>
                    <a:pt x="1352" y="821"/>
                  </a:lnTo>
                  <a:lnTo>
                    <a:pt x="1352" y="821"/>
                  </a:lnTo>
                  <a:lnTo>
                    <a:pt x="1352" y="821"/>
                  </a:lnTo>
                  <a:lnTo>
                    <a:pt x="1352" y="818"/>
                  </a:lnTo>
                  <a:lnTo>
                    <a:pt x="1352" y="818"/>
                  </a:lnTo>
                  <a:lnTo>
                    <a:pt x="1352" y="818"/>
                  </a:lnTo>
                  <a:lnTo>
                    <a:pt x="1352" y="818"/>
                  </a:lnTo>
                  <a:lnTo>
                    <a:pt x="1352" y="818"/>
                  </a:lnTo>
                  <a:lnTo>
                    <a:pt x="1352" y="821"/>
                  </a:lnTo>
                  <a:lnTo>
                    <a:pt x="1350" y="821"/>
                  </a:lnTo>
                  <a:lnTo>
                    <a:pt x="1350" y="821"/>
                  </a:lnTo>
                  <a:lnTo>
                    <a:pt x="1350" y="821"/>
                  </a:lnTo>
                  <a:lnTo>
                    <a:pt x="1350" y="818"/>
                  </a:lnTo>
                  <a:lnTo>
                    <a:pt x="1350" y="818"/>
                  </a:lnTo>
                  <a:lnTo>
                    <a:pt x="1350" y="818"/>
                  </a:lnTo>
                  <a:lnTo>
                    <a:pt x="1350" y="818"/>
                  </a:lnTo>
                  <a:lnTo>
                    <a:pt x="1350" y="818"/>
                  </a:lnTo>
                  <a:lnTo>
                    <a:pt x="1350" y="818"/>
                  </a:lnTo>
                  <a:lnTo>
                    <a:pt x="1348" y="821"/>
                  </a:lnTo>
                  <a:lnTo>
                    <a:pt x="1350" y="821"/>
                  </a:lnTo>
                  <a:lnTo>
                    <a:pt x="1350" y="821"/>
                  </a:lnTo>
                  <a:lnTo>
                    <a:pt x="1350" y="821"/>
                  </a:lnTo>
                  <a:lnTo>
                    <a:pt x="1350" y="818"/>
                  </a:lnTo>
                  <a:lnTo>
                    <a:pt x="1350" y="821"/>
                  </a:lnTo>
                  <a:lnTo>
                    <a:pt x="1350" y="821"/>
                  </a:lnTo>
                  <a:lnTo>
                    <a:pt x="1345" y="821"/>
                  </a:lnTo>
                  <a:lnTo>
                    <a:pt x="1345" y="821"/>
                  </a:lnTo>
                  <a:lnTo>
                    <a:pt x="1343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18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1"/>
                  </a:lnTo>
                  <a:lnTo>
                    <a:pt x="1341" y="823"/>
                  </a:lnTo>
                  <a:lnTo>
                    <a:pt x="1339" y="823"/>
                  </a:lnTo>
                  <a:lnTo>
                    <a:pt x="1339" y="823"/>
                  </a:lnTo>
                  <a:lnTo>
                    <a:pt x="1336" y="823"/>
                  </a:lnTo>
                  <a:lnTo>
                    <a:pt x="1336" y="823"/>
                  </a:lnTo>
                  <a:lnTo>
                    <a:pt x="1336" y="825"/>
                  </a:lnTo>
                  <a:lnTo>
                    <a:pt x="1336" y="825"/>
                  </a:lnTo>
                  <a:lnTo>
                    <a:pt x="1336" y="823"/>
                  </a:lnTo>
                  <a:lnTo>
                    <a:pt x="1336" y="823"/>
                  </a:lnTo>
                  <a:lnTo>
                    <a:pt x="1336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6" y="823"/>
                  </a:lnTo>
                  <a:lnTo>
                    <a:pt x="1336" y="823"/>
                  </a:lnTo>
                  <a:lnTo>
                    <a:pt x="1336" y="823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4" y="821"/>
                  </a:lnTo>
                  <a:lnTo>
                    <a:pt x="1334" y="821"/>
                  </a:lnTo>
                  <a:lnTo>
                    <a:pt x="1334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1"/>
                  </a:lnTo>
                  <a:lnTo>
                    <a:pt x="1336" y="823"/>
                  </a:lnTo>
                  <a:lnTo>
                    <a:pt x="1336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3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4" y="825"/>
                  </a:lnTo>
                  <a:lnTo>
                    <a:pt x="1332" y="827"/>
                  </a:lnTo>
                  <a:lnTo>
                    <a:pt x="1327" y="830"/>
                  </a:lnTo>
                  <a:lnTo>
                    <a:pt x="1327" y="830"/>
                  </a:lnTo>
                  <a:lnTo>
                    <a:pt x="1325" y="832"/>
                  </a:lnTo>
                  <a:lnTo>
                    <a:pt x="1325" y="832"/>
                  </a:lnTo>
                  <a:lnTo>
                    <a:pt x="1323" y="832"/>
                  </a:lnTo>
                  <a:lnTo>
                    <a:pt x="1323" y="834"/>
                  </a:lnTo>
                  <a:lnTo>
                    <a:pt x="1323" y="834"/>
                  </a:lnTo>
                  <a:lnTo>
                    <a:pt x="1323" y="834"/>
                  </a:lnTo>
                  <a:lnTo>
                    <a:pt x="1321" y="836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6"/>
                  </a:lnTo>
                  <a:lnTo>
                    <a:pt x="1321" y="834"/>
                  </a:lnTo>
                  <a:lnTo>
                    <a:pt x="1321" y="834"/>
                  </a:lnTo>
                  <a:lnTo>
                    <a:pt x="1321" y="834"/>
                  </a:lnTo>
                  <a:lnTo>
                    <a:pt x="1321" y="834"/>
                  </a:lnTo>
                  <a:lnTo>
                    <a:pt x="1321" y="834"/>
                  </a:lnTo>
                  <a:lnTo>
                    <a:pt x="1321" y="836"/>
                  </a:lnTo>
                  <a:lnTo>
                    <a:pt x="1321" y="836"/>
                  </a:lnTo>
                  <a:lnTo>
                    <a:pt x="1321" y="836"/>
                  </a:lnTo>
                  <a:lnTo>
                    <a:pt x="1321" y="836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21" y="839"/>
                  </a:lnTo>
                  <a:lnTo>
                    <a:pt x="1318" y="841"/>
                  </a:lnTo>
                  <a:lnTo>
                    <a:pt x="1318" y="841"/>
                  </a:lnTo>
                  <a:lnTo>
                    <a:pt x="1318" y="841"/>
                  </a:lnTo>
                  <a:lnTo>
                    <a:pt x="1318" y="841"/>
                  </a:lnTo>
                  <a:lnTo>
                    <a:pt x="1316" y="839"/>
                  </a:lnTo>
                  <a:lnTo>
                    <a:pt x="1316" y="839"/>
                  </a:lnTo>
                  <a:lnTo>
                    <a:pt x="1314" y="839"/>
                  </a:lnTo>
                  <a:lnTo>
                    <a:pt x="1314" y="839"/>
                  </a:lnTo>
                  <a:lnTo>
                    <a:pt x="1314" y="839"/>
                  </a:lnTo>
                  <a:lnTo>
                    <a:pt x="1312" y="841"/>
                  </a:lnTo>
                  <a:lnTo>
                    <a:pt x="1312" y="839"/>
                  </a:lnTo>
                  <a:lnTo>
                    <a:pt x="1312" y="839"/>
                  </a:lnTo>
                  <a:lnTo>
                    <a:pt x="1312" y="839"/>
                  </a:lnTo>
                  <a:lnTo>
                    <a:pt x="1312" y="839"/>
                  </a:lnTo>
                  <a:lnTo>
                    <a:pt x="1312" y="839"/>
                  </a:lnTo>
                  <a:lnTo>
                    <a:pt x="1312" y="839"/>
                  </a:lnTo>
                  <a:lnTo>
                    <a:pt x="1312" y="841"/>
                  </a:lnTo>
                  <a:lnTo>
                    <a:pt x="1309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7" y="841"/>
                  </a:lnTo>
                  <a:lnTo>
                    <a:pt x="1305" y="841"/>
                  </a:lnTo>
                  <a:lnTo>
                    <a:pt x="1303" y="843"/>
                  </a:lnTo>
                  <a:lnTo>
                    <a:pt x="1300" y="845"/>
                  </a:lnTo>
                  <a:lnTo>
                    <a:pt x="1298" y="845"/>
                  </a:lnTo>
                  <a:lnTo>
                    <a:pt x="1296" y="850"/>
                  </a:lnTo>
                  <a:lnTo>
                    <a:pt x="1294" y="852"/>
                  </a:lnTo>
                  <a:lnTo>
                    <a:pt x="1292" y="852"/>
                  </a:lnTo>
                  <a:lnTo>
                    <a:pt x="1294" y="852"/>
                  </a:lnTo>
                  <a:lnTo>
                    <a:pt x="1292" y="852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4"/>
                  </a:lnTo>
                  <a:lnTo>
                    <a:pt x="1292" y="854"/>
                  </a:lnTo>
                  <a:lnTo>
                    <a:pt x="1292" y="854"/>
                  </a:lnTo>
                  <a:lnTo>
                    <a:pt x="1292" y="854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92" y="852"/>
                  </a:lnTo>
                  <a:lnTo>
                    <a:pt x="1292" y="852"/>
                  </a:lnTo>
                  <a:lnTo>
                    <a:pt x="1292" y="852"/>
                  </a:lnTo>
                  <a:lnTo>
                    <a:pt x="1292" y="852"/>
                  </a:lnTo>
                  <a:lnTo>
                    <a:pt x="1292" y="852"/>
                  </a:lnTo>
                  <a:lnTo>
                    <a:pt x="1292" y="852"/>
                  </a:lnTo>
                  <a:lnTo>
                    <a:pt x="1289" y="852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89" y="854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92" y="857"/>
                  </a:lnTo>
                  <a:lnTo>
                    <a:pt x="1289" y="857"/>
                  </a:lnTo>
                  <a:lnTo>
                    <a:pt x="1289" y="857"/>
                  </a:lnTo>
                  <a:lnTo>
                    <a:pt x="1289" y="859"/>
                  </a:lnTo>
                  <a:lnTo>
                    <a:pt x="1289" y="857"/>
                  </a:lnTo>
                  <a:lnTo>
                    <a:pt x="1289" y="857"/>
                  </a:lnTo>
                  <a:lnTo>
                    <a:pt x="1289" y="857"/>
                  </a:lnTo>
                  <a:lnTo>
                    <a:pt x="1289" y="857"/>
                  </a:lnTo>
                  <a:lnTo>
                    <a:pt x="1289" y="857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7" y="857"/>
                  </a:lnTo>
                  <a:lnTo>
                    <a:pt x="1287" y="857"/>
                  </a:lnTo>
                  <a:lnTo>
                    <a:pt x="1287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9" y="859"/>
                  </a:lnTo>
                  <a:lnTo>
                    <a:pt x="1287" y="859"/>
                  </a:lnTo>
                  <a:lnTo>
                    <a:pt x="1287" y="859"/>
                  </a:lnTo>
                  <a:lnTo>
                    <a:pt x="1287" y="859"/>
                  </a:lnTo>
                  <a:lnTo>
                    <a:pt x="1287" y="861"/>
                  </a:lnTo>
                  <a:lnTo>
                    <a:pt x="1287" y="861"/>
                  </a:lnTo>
                  <a:lnTo>
                    <a:pt x="1287" y="861"/>
                  </a:lnTo>
                  <a:lnTo>
                    <a:pt x="1285" y="861"/>
                  </a:lnTo>
                  <a:lnTo>
                    <a:pt x="1285" y="861"/>
                  </a:lnTo>
                  <a:lnTo>
                    <a:pt x="1285" y="861"/>
                  </a:lnTo>
                  <a:lnTo>
                    <a:pt x="1285" y="861"/>
                  </a:lnTo>
                  <a:lnTo>
                    <a:pt x="1285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3" y="861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3" y="863"/>
                  </a:lnTo>
                  <a:lnTo>
                    <a:pt x="1283" y="863"/>
                  </a:lnTo>
                  <a:lnTo>
                    <a:pt x="1283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80" y="863"/>
                  </a:lnTo>
                  <a:lnTo>
                    <a:pt x="1278" y="866"/>
                  </a:lnTo>
                  <a:lnTo>
                    <a:pt x="1278" y="866"/>
                  </a:lnTo>
                  <a:lnTo>
                    <a:pt x="1278" y="866"/>
                  </a:lnTo>
                  <a:lnTo>
                    <a:pt x="1278" y="866"/>
                  </a:lnTo>
                  <a:lnTo>
                    <a:pt x="1276" y="866"/>
                  </a:lnTo>
                  <a:lnTo>
                    <a:pt x="1276" y="868"/>
                  </a:lnTo>
                  <a:lnTo>
                    <a:pt x="1276" y="868"/>
                  </a:lnTo>
                  <a:lnTo>
                    <a:pt x="1276" y="868"/>
                  </a:lnTo>
                  <a:lnTo>
                    <a:pt x="1276" y="866"/>
                  </a:lnTo>
                  <a:lnTo>
                    <a:pt x="1276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6" y="866"/>
                  </a:lnTo>
                  <a:lnTo>
                    <a:pt x="1276" y="866"/>
                  </a:lnTo>
                  <a:lnTo>
                    <a:pt x="1276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6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68"/>
                  </a:lnTo>
                  <a:lnTo>
                    <a:pt x="1274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71" y="870"/>
                  </a:lnTo>
                  <a:lnTo>
                    <a:pt x="1269" y="870"/>
                  </a:lnTo>
                  <a:lnTo>
                    <a:pt x="1269" y="870"/>
                  </a:lnTo>
                  <a:lnTo>
                    <a:pt x="1269" y="870"/>
                  </a:lnTo>
                  <a:lnTo>
                    <a:pt x="1269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0"/>
                  </a:lnTo>
                  <a:lnTo>
                    <a:pt x="1267" y="870"/>
                  </a:lnTo>
                  <a:lnTo>
                    <a:pt x="1267" y="870"/>
                  </a:lnTo>
                  <a:lnTo>
                    <a:pt x="1267" y="870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7" y="872"/>
                  </a:lnTo>
                  <a:lnTo>
                    <a:pt x="1265" y="872"/>
                  </a:lnTo>
                  <a:lnTo>
                    <a:pt x="1265" y="872"/>
                  </a:lnTo>
                  <a:lnTo>
                    <a:pt x="1265" y="875"/>
                  </a:lnTo>
                  <a:lnTo>
                    <a:pt x="1265" y="875"/>
                  </a:lnTo>
                  <a:lnTo>
                    <a:pt x="1265" y="872"/>
                  </a:lnTo>
                  <a:lnTo>
                    <a:pt x="1265" y="872"/>
                  </a:lnTo>
                  <a:lnTo>
                    <a:pt x="1265" y="872"/>
                  </a:lnTo>
                  <a:lnTo>
                    <a:pt x="1265" y="872"/>
                  </a:lnTo>
                  <a:lnTo>
                    <a:pt x="1265" y="872"/>
                  </a:lnTo>
                  <a:lnTo>
                    <a:pt x="1262" y="872"/>
                  </a:lnTo>
                  <a:lnTo>
                    <a:pt x="1262" y="872"/>
                  </a:lnTo>
                  <a:lnTo>
                    <a:pt x="1262" y="875"/>
                  </a:lnTo>
                  <a:lnTo>
                    <a:pt x="1262" y="875"/>
                  </a:lnTo>
                  <a:lnTo>
                    <a:pt x="1262" y="875"/>
                  </a:lnTo>
                  <a:lnTo>
                    <a:pt x="1262" y="875"/>
                  </a:lnTo>
                  <a:lnTo>
                    <a:pt x="1262" y="872"/>
                  </a:lnTo>
                  <a:lnTo>
                    <a:pt x="1262" y="872"/>
                  </a:lnTo>
                  <a:lnTo>
                    <a:pt x="1262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58" y="872"/>
                  </a:lnTo>
                  <a:lnTo>
                    <a:pt x="1258" y="872"/>
                  </a:lnTo>
                  <a:lnTo>
                    <a:pt x="1258" y="872"/>
                  </a:lnTo>
                  <a:lnTo>
                    <a:pt x="1258" y="872"/>
                  </a:lnTo>
                  <a:lnTo>
                    <a:pt x="1258" y="872"/>
                  </a:lnTo>
                  <a:lnTo>
                    <a:pt x="1258" y="872"/>
                  </a:lnTo>
                  <a:lnTo>
                    <a:pt x="1258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2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58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5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58" y="877"/>
                  </a:lnTo>
                  <a:lnTo>
                    <a:pt x="1258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2" y="875"/>
                  </a:lnTo>
                  <a:lnTo>
                    <a:pt x="1262" y="875"/>
                  </a:lnTo>
                  <a:lnTo>
                    <a:pt x="1262" y="875"/>
                  </a:lnTo>
                  <a:lnTo>
                    <a:pt x="1262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60" y="877"/>
                  </a:lnTo>
                  <a:lnTo>
                    <a:pt x="1258" y="879"/>
                  </a:lnTo>
                  <a:lnTo>
                    <a:pt x="1258" y="879"/>
                  </a:lnTo>
                  <a:lnTo>
                    <a:pt x="1258" y="879"/>
                  </a:lnTo>
                  <a:lnTo>
                    <a:pt x="1258" y="879"/>
                  </a:lnTo>
                  <a:lnTo>
                    <a:pt x="1258" y="879"/>
                  </a:lnTo>
                  <a:lnTo>
                    <a:pt x="1256" y="879"/>
                  </a:lnTo>
                  <a:lnTo>
                    <a:pt x="1256" y="879"/>
                  </a:lnTo>
                  <a:lnTo>
                    <a:pt x="1258" y="877"/>
                  </a:lnTo>
                  <a:lnTo>
                    <a:pt x="1258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8" y="875"/>
                  </a:lnTo>
                  <a:lnTo>
                    <a:pt x="1256" y="875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7"/>
                  </a:lnTo>
                  <a:lnTo>
                    <a:pt x="1256" y="875"/>
                  </a:lnTo>
                  <a:lnTo>
                    <a:pt x="1256" y="875"/>
                  </a:lnTo>
                  <a:lnTo>
                    <a:pt x="1256" y="875"/>
                  </a:lnTo>
                  <a:lnTo>
                    <a:pt x="1256" y="872"/>
                  </a:lnTo>
                  <a:lnTo>
                    <a:pt x="1256" y="872"/>
                  </a:lnTo>
                  <a:lnTo>
                    <a:pt x="1256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2"/>
                  </a:lnTo>
                  <a:lnTo>
                    <a:pt x="1253" y="875"/>
                  </a:lnTo>
                  <a:lnTo>
                    <a:pt x="1253" y="875"/>
                  </a:lnTo>
                  <a:lnTo>
                    <a:pt x="1253" y="875"/>
                  </a:lnTo>
                  <a:lnTo>
                    <a:pt x="1253" y="875"/>
                  </a:lnTo>
                  <a:lnTo>
                    <a:pt x="1253" y="877"/>
                  </a:lnTo>
                  <a:lnTo>
                    <a:pt x="1253" y="877"/>
                  </a:lnTo>
                  <a:lnTo>
                    <a:pt x="1253" y="877"/>
                  </a:lnTo>
                  <a:lnTo>
                    <a:pt x="1253" y="877"/>
                  </a:lnTo>
                  <a:lnTo>
                    <a:pt x="1253" y="877"/>
                  </a:lnTo>
                  <a:lnTo>
                    <a:pt x="1253" y="877"/>
                  </a:lnTo>
                  <a:lnTo>
                    <a:pt x="1253" y="879"/>
                  </a:lnTo>
                  <a:lnTo>
                    <a:pt x="1256" y="879"/>
                  </a:lnTo>
                  <a:lnTo>
                    <a:pt x="1256" y="879"/>
                  </a:lnTo>
                  <a:lnTo>
                    <a:pt x="1256" y="879"/>
                  </a:lnTo>
                  <a:lnTo>
                    <a:pt x="1256" y="879"/>
                  </a:lnTo>
                  <a:lnTo>
                    <a:pt x="1256" y="879"/>
                  </a:lnTo>
                  <a:lnTo>
                    <a:pt x="1256" y="879"/>
                  </a:lnTo>
                  <a:lnTo>
                    <a:pt x="1256" y="881"/>
                  </a:lnTo>
                  <a:lnTo>
                    <a:pt x="1253" y="881"/>
                  </a:lnTo>
                  <a:lnTo>
                    <a:pt x="1251" y="884"/>
                  </a:lnTo>
                  <a:lnTo>
                    <a:pt x="1253" y="881"/>
                  </a:lnTo>
                  <a:lnTo>
                    <a:pt x="1253" y="881"/>
                  </a:lnTo>
                  <a:lnTo>
                    <a:pt x="1253" y="879"/>
                  </a:lnTo>
                  <a:lnTo>
                    <a:pt x="1253" y="879"/>
                  </a:lnTo>
                  <a:lnTo>
                    <a:pt x="1253" y="879"/>
                  </a:lnTo>
                  <a:lnTo>
                    <a:pt x="1253" y="879"/>
                  </a:lnTo>
                  <a:lnTo>
                    <a:pt x="1253" y="881"/>
                  </a:lnTo>
                  <a:lnTo>
                    <a:pt x="1253" y="881"/>
                  </a:lnTo>
                  <a:lnTo>
                    <a:pt x="1253" y="881"/>
                  </a:lnTo>
                  <a:lnTo>
                    <a:pt x="1251" y="881"/>
                  </a:lnTo>
                  <a:lnTo>
                    <a:pt x="1251" y="881"/>
                  </a:lnTo>
                  <a:lnTo>
                    <a:pt x="1251" y="881"/>
                  </a:lnTo>
                  <a:lnTo>
                    <a:pt x="1251" y="884"/>
                  </a:lnTo>
                  <a:lnTo>
                    <a:pt x="1251" y="884"/>
                  </a:lnTo>
                  <a:lnTo>
                    <a:pt x="1251" y="884"/>
                  </a:lnTo>
                  <a:lnTo>
                    <a:pt x="1251" y="884"/>
                  </a:lnTo>
                  <a:lnTo>
                    <a:pt x="1251" y="884"/>
                  </a:lnTo>
                  <a:lnTo>
                    <a:pt x="1251" y="884"/>
                  </a:lnTo>
                  <a:lnTo>
                    <a:pt x="1251" y="884"/>
                  </a:lnTo>
                  <a:lnTo>
                    <a:pt x="1251" y="886"/>
                  </a:lnTo>
                  <a:lnTo>
                    <a:pt x="1251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6"/>
                  </a:lnTo>
                  <a:lnTo>
                    <a:pt x="1249" y="888"/>
                  </a:lnTo>
                  <a:lnTo>
                    <a:pt x="1249" y="888"/>
                  </a:lnTo>
                  <a:lnTo>
                    <a:pt x="1249" y="888"/>
                  </a:lnTo>
                  <a:lnTo>
                    <a:pt x="1247" y="888"/>
                  </a:lnTo>
                  <a:lnTo>
                    <a:pt x="1247" y="888"/>
                  </a:lnTo>
                  <a:lnTo>
                    <a:pt x="1247" y="888"/>
                  </a:lnTo>
                  <a:lnTo>
                    <a:pt x="1247" y="888"/>
                  </a:lnTo>
                  <a:lnTo>
                    <a:pt x="1247" y="888"/>
                  </a:lnTo>
                  <a:lnTo>
                    <a:pt x="1247" y="888"/>
                  </a:lnTo>
                  <a:lnTo>
                    <a:pt x="1247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4" y="888"/>
                  </a:lnTo>
                  <a:lnTo>
                    <a:pt x="1247" y="890"/>
                  </a:lnTo>
                  <a:lnTo>
                    <a:pt x="1247" y="890"/>
                  </a:lnTo>
                  <a:lnTo>
                    <a:pt x="1247" y="890"/>
                  </a:lnTo>
                  <a:lnTo>
                    <a:pt x="1247" y="890"/>
                  </a:lnTo>
                  <a:lnTo>
                    <a:pt x="1244" y="890"/>
                  </a:lnTo>
                  <a:lnTo>
                    <a:pt x="1244" y="890"/>
                  </a:lnTo>
                  <a:lnTo>
                    <a:pt x="1244" y="890"/>
                  </a:lnTo>
                  <a:lnTo>
                    <a:pt x="1244" y="890"/>
                  </a:lnTo>
                  <a:lnTo>
                    <a:pt x="1242" y="890"/>
                  </a:lnTo>
                  <a:lnTo>
                    <a:pt x="1242" y="890"/>
                  </a:lnTo>
                  <a:lnTo>
                    <a:pt x="1242" y="890"/>
                  </a:lnTo>
                  <a:lnTo>
                    <a:pt x="1242" y="890"/>
                  </a:lnTo>
                  <a:lnTo>
                    <a:pt x="1242" y="890"/>
                  </a:lnTo>
                  <a:lnTo>
                    <a:pt x="1242" y="890"/>
                  </a:lnTo>
                  <a:lnTo>
                    <a:pt x="1240" y="890"/>
                  </a:lnTo>
                  <a:lnTo>
                    <a:pt x="1240" y="890"/>
                  </a:lnTo>
                  <a:lnTo>
                    <a:pt x="1242" y="890"/>
                  </a:lnTo>
                  <a:lnTo>
                    <a:pt x="1242" y="890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2" y="893"/>
                  </a:lnTo>
                  <a:lnTo>
                    <a:pt x="1244" y="893"/>
                  </a:lnTo>
                  <a:lnTo>
                    <a:pt x="1244" y="893"/>
                  </a:lnTo>
                  <a:lnTo>
                    <a:pt x="1242" y="893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0" y="893"/>
                  </a:lnTo>
                  <a:lnTo>
                    <a:pt x="1240" y="895"/>
                  </a:lnTo>
                  <a:lnTo>
                    <a:pt x="1242" y="895"/>
                  </a:lnTo>
                  <a:lnTo>
                    <a:pt x="1242" y="895"/>
                  </a:lnTo>
                  <a:lnTo>
                    <a:pt x="1240" y="895"/>
                  </a:lnTo>
                  <a:lnTo>
                    <a:pt x="1240" y="895"/>
                  </a:lnTo>
                  <a:lnTo>
                    <a:pt x="1240" y="895"/>
                  </a:lnTo>
                  <a:lnTo>
                    <a:pt x="1240" y="895"/>
                  </a:lnTo>
                  <a:lnTo>
                    <a:pt x="1240" y="895"/>
                  </a:lnTo>
                  <a:lnTo>
                    <a:pt x="1240" y="895"/>
                  </a:lnTo>
                  <a:lnTo>
                    <a:pt x="1238" y="895"/>
                  </a:lnTo>
                  <a:lnTo>
                    <a:pt x="1238" y="895"/>
                  </a:lnTo>
                  <a:lnTo>
                    <a:pt x="1238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0" y="897"/>
                  </a:lnTo>
                  <a:lnTo>
                    <a:pt x="1242" y="897"/>
                  </a:lnTo>
                  <a:lnTo>
                    <a:pt x="1242" y="897"/>
                  </a:lnTo>
                  <a:lnTo>
                    <a:pt x="1242" y="897"/>
                  </a:lnTo>
                  <a:lnTo>
                    <a:pt x="1240" y="899"/>
                  </a:lnTo>
                  <a:lnTo>
                    <a:pt x="1240" y="899"/>
                  </a:lnTo>
                  <a:lnTo>
                    <a:pt x="1240" y="899"/>
                  </a:lnTo>
                  <a:lnTo>
                    <a:pt x="1240" y="899"/>
                  </a:lnTo>
                  <a:lnTo>
                    <a:pt x="1240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899"/>
                  </a:lnTo>
                  <a:lnTo>
                    <a:pt x="1238" y="902"/>
                  </a:lnTo>
                  <a:lnTo>
                    <a:pt x="1238" y="902"/>
                  </a:lnTo>
                  <a:lnTo>
                    <a:pt x="1238" y="902"/>
                  </a:lnTo>
                  <a:lnTo>
                    <a:pt x="1235" y="902"/>
                  </a:lnTo>
                  <a:lnTo>
                    <a:pt x="1235" y="899"/>
                  </a:lnTo>
                  <a:lnTo>
                    <a:pt x="1235" y="899"/>
                  </a:lnTo>
                  <a:lnTo>
                    <a:pt x="1235" y="899"/>
                  </a:lnTo>
                  <a:lnTo>
                    <a:pt x="1235" y="899"/>
                  </a:lnTo>
                  <a:lnTo>
                    <a:pt x="1235" y="902"/>
                  </a:lnTo>
                  <a:lnTo>
                    <a:pt x="1235" y="902"/>
                  </a:lnTo>
                  <a:lnTo>
                    <a:pt x="1235" y="902"/>
                  </a:lnTo>
                  <a:lnTo>
                    <a:pt x="1238" y="902"/>
                  </a:lnTo>
                  <a:lnTo>
                    <a:pt x="1238" y="902"/>
                  </a:lnTo>
                  <a:lnTo>
                    <a:pt x="1238" y="902"/>
                  </a:lnTo>
                  <a:lnTo>
                    <a:pt x="1238" y="902"/>
                  </a:lnTo>
                  <a:lnTo>
                    <a:pt x="1238" y="904"/>
                  </a:lnTo>
                  <a:lnTo>
                    <a:pt x="1238" y="904"/>
                  </a:lnTo>
                  <a:lnTo>
                    <a:pt x="1238" y="904"/>
                  </a:lnTo>
                  <a:lnTo>
                    <a:pt x="1238" y="904"/>
                  </a:lnTo>
                  <a:lnTo>
                    <a:pt x="1235" y="904"/>
                  </a:lnTo>
                  <a:lnTo>
                    <a:pt x="1235" y="906"/>
                  </a:lnTo>
                  <a:lnTo>
                    <a:pt x="1235" y="906"/>
                  </a:lnTo>
                  <a:lnTo>
                    <a:pt x="1235" y="906"/>
                  </a:lnTo>
                  <a:lnTo>
                    <a:pt x="1235" y="906"/>
                  </a:lnTo>
                  <a:lnTo>
                    <a:pt x="1235" y="906"/>
                  </a:lnTo>
                  <a:lnTo>
                    <a:pt x="1235" y="904"/>
                  </a:lnTo>
                  <a:lnTo>
                    <a:pt x="1235" y="904"/>
                  </a:lnTo>
                  <a:lnTo>
                    <a:pt x="1235" y="904"/>
                  </a:lnTo>
                  <a:lnTo>
                    <a:pt x="1233" y="904"/>
                  </a:lnTo>
                  <a:lnTo>
                    <a:pt x="1233" y="904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8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5" y="906"/>
                  </a:lnTo>
                  <a:lnTo>
                    <a:pt x="1235" y="906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3" y="906"/>
                  </a:lnTo>
                  <a:lnTo>
                    <a:pt x="1233" y="906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3" y="908"/>
                  </a:lnTo>
                  <a:lnTo>
                    <a:pt x="1231" y="908"/>
                  </a:lnTo>
                  <a:lnTo>
                    <a:pt x="1231" y="911"/>
                  </a:lnTo>
                  <a:lnTo>
                    <a:pt x="1231" y="911"/>
                  </a:lnTo>
                  <a:lnTo>
                    <a:pt x="1233" y="911"/>
                  </a:lnTo>
                  <a:lnTo>
                    <a:pt x="1233" y="911"/>
                  </a:lnTo>
                  <a:lnTo>
                    <a:pt x="1233" y="911"/>
                  </a:lnTo>
                  <a:lnTo>
                    <a:pt x="1231" y="911"/>
                  </a:lnTo>
                  <a:lnTo>
                    <a:pt x="1231" y="911"/>
                  </a:lnTo>
                  <a:lnTo>
                    <a:pt x="1231" y="911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3"/>
                  </a:lnTo>
                  <a:lnTo>
                    <a:pt x="1231" y="915"/>
                  </a:lnTo>
                  <a:lnTo>
                    <a:pt x="1231" y="915"/>
                  </a:lnTo>
                  <a:lnTo>
                    <a:pt x="1231" y="915"/>
                  </a:lnTo>
                  <a:lnTo>
                    <a:pt x="1231" y="915"/>
                  </a:lnTo>
                  <a:lnTo>
                    <a:pt x="1231" y="915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5"/>
                  </a:lnTo>
                  <a:lnTo>
                    <a:pt x="1231" y="915"/>
                  </a:lnTo>
                  <a:lnTo>
                    <a:pt x="1231" y="915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17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29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0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2"/>
                  </a:lnTo>
                  <a:lnTo>
                    <a:pt x="1231" y="924"/>
                  </a:lnTo>
                  <a:lnTo>
                    <a:pt x="1231" y="924"/>
                  </a:lnTo>
                  <a:lnTo>
                    <a:pt x="1231" y="924"/>
                  </a:lnTo>
                  <a:lnTo>
                    <a:pt x="1231" y="924"/>
                  </a:lnTo>
                  <a:lnTo>
                    <a:pt x="1231" y="924"/>
                  </a:lnTo>
                  <a:lnTo>
                    <a:pt x="1231" y="924"/>
                  </a:lnTo>
                  <a:lnTo>
                    <a:pt x="1231" y="926"/>
                  </a:lnTo>
                  <a:lnTo>
                    <a:pt x="1231" y="928"/>
                  </a:lnTo>
                  <a:lnTo>
                    <a:pt x="1231" y="928"/>
                  </a:lnTo>
                  <a:lnTo>
                    <a:pt x="1231" y="928"/>
                  </a:lnTo>
                  <a:lnTo>
                    <a:pt x="1231" y="931"/>
                  </a:lnTo>
                  <a:lnTo>
                    <a:pt x="1231" y="931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5"/>
                  </a:lnTo>
                  <a:lnTo>
                    <a:pt x="1231" y="937"/>
                  </a:lnTo>
                  <a:lnTo>
                    <a:pt x="1231" y="937"/>
                  </a:lnTo>
                  <a:lnTo>
                    <a:pt x="1231" y="937"/>
                  </a:lnTo>
                  <a:lnTo>
                    <a:pt x="1231" y="937"/>
                  </a:lnTo>
                  <a:lnTo>
                    <a:pt x="1231" y="940"/>
                  </a:lnTo>
                  <a:lnTo>
                    <a:pt x="1231" y="940"/>
                  </a:lnTo>
                  <a:lnTo>
                    <a:pt x="1231" y="942"/>
                  </a:lnTo>
                  <a:lnTo>
                    <a:pt x="1231" y="942"/>
                  </a:lnTo>
                  <a:lnTo>
                    <a:pt x="1231" y="942"/>
                  </a:lnTo>
                  <a:lnTo>
                    <a:pt x="1231" y="942"/>
                  </a:lnTo>
                  <a:lnTo>
                    <a:pt x="1231" y="944"/>
                  </a:lnTo>
                  <a:lnTo>
                    <a:pt x="1233" y="946"/>
                  </a:lnTo>
                  <a:lnTo>
                    <a:pt x="1233" y="951"/>
                  </a:lnTo>
                  <a:lnTo>
                    <a:pt x="1233" y="955"/>
                  </a:lnTo>
                  <a:lnTo>
                    <a:pt x="1233" y="955"/>
                  </a:lnTo>
                  <a:lnTo>
                    <a:pt x="1233" y="955"/>
                  </a:lnTo>
                  <a:lnTo>
                    <a:pt x="1235" y="955"/>
                  </a:lnTo>
                  <a:lnTo>
                    <a:pt x="1235" y="955"/>
                  </a:lnTo>
                  <a:lnTo>
                    <a:pt x="1235" y="955"/>
                  </a:lnTo>
                  <a:lnTo>
                    <a:pt x="1235" y="960"/>
                  </a:lnTo>
                  <a:lnTo>
                    <a:pt x="1238" y="962"/>
                  </a:lnTo>
                  <a:lnTo>
                    <a:pt x="1238" y="964"/>
                  </a:lnTo>
                  <a:lnTo>
                    <a:pt x="1238" y="967"/>
                  </a:lnTo>
                  <a:lnTo>
                    <a:pt x="1240" y="969"/>
                  </a:lnTo>
                  <a:lnTo>
                    <a:pt x="1240" y="969"/>
                  </a:lnTo>
                  <a:lnTo>
                    <a:pt x="1238" y="969"/>
                  </a:lnTo>
                  <a:lnTo>
                    <a:pt x="1238" y="971"/>
                  </a:lnTo>
                  <a:lnTo>
                    <a:pt x="1238" y="971"/>
                  </a:lnTo>
                  <a:lnTo>
                    <a:pt x="1238" y="971"/>
                  </a:lnTo>
                  <a:lnTo>
                    <a:pt x="1238" y="971"/>
                  </a:lnTo>
                  <a:lnTo>
                    <a:pt x="1238" y="971"/>
                  </a:lnTo>
                  <a:lnTo>
                    <a:pt x="1238" y="971"/>
                  </a:lnTo>
                  <a:lnTo>
                    <a:pt x="1238" y="971"/>
                  </a:lnTo>
                  <a:lnTo>
                    <a:pt x="1238" y="973"/>
                  </a:lnTo>
                  <a:lnTo>
                    <a:pt x="1238" y="973"/>
                  </a:lnTo>
                  <a:lnTo>
                    <a:pt x="1238" y="973"/>
                  </a:lnTo>
                  <a:lnTo>
                    <a:pt x="1238" y="973"/>
                  </a:lnTo>
                  <a:lnTo>
                    <a:pt x="1235" y="976"/>
                  </a:lnTo>
                  <a:lnTo>
                    <a:pt x="1235" y="978"/>
                  </a:lnTo>
                  <a:lnTo>
                    <a:pt x="1238" y="978"/>
                  </a:lnTo>
                  <a:lnTo>
                    <a:pt x="1238" y="978"/>
                  </a:lnTo>
                  <a:lnTo>
                    <a:pt x="1238" y="980"/>
                  </a:lnTo>
                  <a:lnTo>
                    <a:pt x="1238" y="982"/>
                  </a:lnTo>
                  <a:lnTo>
                    <a:pt x="1238" y="985"/>
                  </a:lnTo>
                  <a:lnTo>
                    <a:pt x="1238" y="982"/>
                  </a:lnTo>
                  <a:lnTo>
                    <a:pt x="1238" y="982"/>
                  </a:lnTo>
                  <a:lnTo>
                    <a:pt x="1238" y="982"/>
                  </a:lnTo>
                  <a:lnTo>
                    <a:pt x="1238" y="982"/>
                  </a:lnTo>
                  <a:lnTo>
                    <a:pt x="1238" y="980"/>
                  </a:lnTo>
                  <a:lnTo>
                    <a:pt x="1235" y="978"/>
                  </a:lnTo>
                  <a:lnTo>
                    <a:pt x="1235" y="976"/>
                  </a:lnTo>
                  <a:lnTo>
                    <a:pt x="1235" y="976"/>
                  </a:lnTo>
                  <a:lnTo>
                    <a:pt x="1238" y="971"/>
                  </a:lnTo>
                  <a:lnTo>
                    <a:pt x="1238" y="969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8" y="967"/>
                  </a:lnTo>
                  <a:lnTo>
                    <a:pt x="1235" y="967"/>
                  </a:lnTo>
                  <a:lnTo>
                    <a:pt x="1235" y="967"/>
                  </a:lnTo>
                  <a:lnTo>
                    <a:pt x="1235" y="967"/>
                  </a:lnTo>
                  <a:lnTo>
                    <a:pt x="1235" y="964"/>
                  </a:lnTo>
                  <a:lnTo>
                    <a:pt x="1235" y="964"/>
                  </a:lnTo>
                  <a:lnTo>
                    <a:pt x="1235" y="964"/>
                  </a:lnTo>
                  <a:lnTo>
                    <a:pt x="1235" y="964"/>
                  </a:lnTo>
                  <a:lnTo>
                    <a:pt x="1235" y="964"/>
                  </a:lnTo>
                  <a:lnTo>
                    <a:pt x="1235" y="964"/>
                  </a:lnTo>
                  <a:lnTo>
                    <a:pt x="1235" y="964"/>
                  </a:lnTo>
                  <a:lnTo>
                    <a:pt x="1235" y="962"/>
                  </a:lnTo>
                  <a:lnTo>
                    <a:pt x="1235" y="962"/>
                  </a:lnTo>
                  <a:lnTo>
                    <a:pt x="1235" y="962"/>
                  </a:lnTo>
                  <a:lnTo>
                    <a:pt x="1235" y="962"/>
                  </a:lnTo>
                  <a:lnTo>
                    <a:pt x="1233" y="962"/>
                  </a:lnTo>
                  <a:lnTo>
                    <a:pt x="1233" y="964"/>
                  </a:lnTo>
                  <a:lnTo>
                    <a:pt x="1233" y="964"/>
                  </a:lnTo>
                  <a:lnTo>
                    <a:pt x="1233" y="964"/>
                  </a:lnTo>
                  <a:lnTo>
                    <a:pt x="1233" y="964"/>
                  </a:lnTo>
                  <a:lnTo>
                    <a:pt x="1233" y="967"/>
                  </a:lnTo>
                  <a:lnTo>
                    <a:pt x="1233" y="967"/>
                  </a:lnTo>
                  <a:lnTo>
                    <a:pt x="1233" y="967"/>
                  </a:lnTo>
                  <a:lnTo>
                    <a:pt x="1233" y="969"/>
                  </a:lnTo>
                  <a:lnTo>
                    <a:pt x="1233" y="971"/>
                  </a:lnTo>
                  <a:lnTo>
                    <a:pt x="1235" y="971"/>
                  </a:lnTo>
                  <a:lnTo>
                    <a:pt x="1235" y="973"/>
                  </a:lnTo>
                  <a:lnTo>
                    <a:pt x="1235" y="973"/>
                  </a:lnTo>
                  <a:lnTo>
                    <a:pt x="1238" y="989"/>
                  </a:lnTo>
                  <a:lnTo>
                    <a:pt x="1238" y="991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998"/>
                  </a:lnTo>
                  <a:lnTo>
                    <a:pt x="1240" y="998"/>
                  </a:lnTo>
                  <a:lnTo>
                    <a:pt x="1238" y="998"/>
                  </a:lnTo>
                  <a:lnTo>
                    <a:pt x="1238" y="998"/>
                  </a:lnTo>
                  <a:lnTo>
                    <a:pt x="1238" y="998"/>
                  </a:lnTo>
                  <a:lnTo>
                    <a:pt x="1238" y="998"/>
                  </a:lnTo>
                  <a:lnTo>
                    <a:pt x="1238" y="998"/>
                  </a:lnTo>
                  <a:lnTo>
                    <a:pt x="1238" y="998"/>
                  </a:lnTo>
                  <a:lnTo>
                    <a:pt x="1238" y="998"/>
                  </a:lnTo>
                  <a:lnTo>
                    <a:pt x="1238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0"/>
                  </a:lnTo>
                  <a:lnTo>
                    <a:pt x="1240" y="1003"/>
                  </a:lnTo>
                  <a:lnTo>
                    <a:pt x="1242" y="1003"/>
                  </a:lnTo>
                  <a:lnTo>
                    <a:pt x="1242" y="1005"/>
                  </a:lnTo>
                  <a:lnTo>
                    <a:pt x="1242" y="1005"/>
                  </a:lnTo>
                  <a:lnTo>
                    <a:pt x="1242" y="1005"/>
                  </a:lnTo>
                  <a:lnTo>
                    <a:pt x="1242" y="1005"/>
                  </a:lnTo>
                  <a:lnTo>
                    <a:pt x="1242" y="1005"/>
                  </a:lnTo>
                  <a:lnTo>
                    <a:pt x="1240" y="1005"/>
                  </a:lnTo>
                  <a:lnTo>
                    <a:pt x="1240" y="1005"/>
                  </a:lnTo>
                  <a:lnTo>
                    <a:pt x="1240" y="1005"/>
                  </a:lnTo>
                  <a:lnTo>
                    <a:pt x="1240" y="1005"/>
                  </a:lnTo>
                  <a:lnTo>
                    <a:pt x="1242" y="1005"/>
                  </a:lnTo>
                  <a:lnTo>
                    <a:pt x="1242" y="1007"/>
                  </a:lnTo>
                  <a:lnTo>
                    <a:pt x="1242" y="1007"/>
                  </a:lnTo>
                  <a:lnTo>
                    <a:pt x="1242" y="1009"/>
                  </a:lnTo>
                  <a:lnTo>
                    <a:pt x="1242" y="1009"/>
                  </a:lnTo>
                  <a:lnTo>
                    <a:pt x="1242" y="1009"/>
                  </a:lnTo>
                  <a:lnTo>
                    <a:pt x="1242" y="1009"/>
                  </a:lnTo>
                  <a:lnTo>
                    <a:pt x="1242" y="1009"/>
                  </a:lnTo>
                  <a:lnTo>
                    <a:pt x="1242" y="1012"/>
                  </a:lnTo>
                  <a:lnTo>
                    <a:pt x="1240" y="1014"/>
                  </a:lnTo>
                  <a:lnTo>
                    <a:pt x="1240" y="1014"/>
                  </a:lnTo>
                  <a:lnTo>
                    <a:pt x="1240" y="1014"/>
                  </a:lnTo>
                  <a:lnTo>
                    <a:pt x="1240" y="1018"/>
                  </a:lnTo>
                  <a:lnTo>
                    <a:pt x="1240" y="1018"/>
                  </a:lnTo>
                  <a:lnTo>
                    <a:pt x="1240" y="1018"/>
                  </a:lnTo>
                  <a:lnTo>
                    <a:pt x="1240" y="1021"/>
                  </a:lnTo>
                  <a:lnTo>
                    <a:pt x="1240" y="1021"/>
                  </a:lnTo>
                  <a:lnTo>
                    <a:pt x="1238" y="1021"/>
                  </a:lnTo>
                  <a:lnTo>
                    <a:pt x="1238" y="1021"/>
                  </a:lnTo>
                  <a:lnTo>
                    <a:pt x="1238" y="1025"/>
                  </a:lnTo>
                  <a:lnTo>
                    <a:pt x="1238" y="1025"/>
                  </a:lnTo>
                  <a:lnTo>
                    <a:pt x="1238" y="1025"/>
                  </a:lnTo>
                  <a:lnTo>
                    <a:pt x="1238" y="1025"/>
                  </a:lnTo>
                  <a:lnTo>
                    <a:pt x="1238" y="1027"/>
                  </a:lnTo>
                  <a:lnTo>
                    <a:pt x="1235" y="1034"/>
                  </a:lnTo>
                  <a:lnTo>
                    <a:pt x="1235" y="1034"/>
                  </a:lnTo>
                  <a:lnTo>
                    <a:pt x="1235" y="1032"/>
                  </a:lnTo>
                  <a:lnTo>
                    <a:pt x="1235" y="1032"/>
                  </a:lnTo>
                  <a:lnTo>
                    <a:pt x="1235" y="1030"/>
                  </a:lnTo>
                  <a:lnTo>
                    <a:pt x="1235" y="1030"/>
                  </a:lnTo>
                  <a:lnTo>
                    <a:pt x="1235" y="1030"/>
                  </a:lnTo>
                  <a:lnTo>
                    <a:pt x="1235" y="1032"/>
                  </a:lnTo>
                  <a:lnTo>
                    <a:pt x="1235" y="1032"/>
                  </a:lnTo>
                  <a:lnTo>
                    <a:pt x="1235" y="1032"/>
                  </a:lnTo>
                  <a:lnTo>
                    <a:pt x="1233" y="1034"/>
                  </a:lnTo>
                  <a:lnTo>
                    <a:pt x="1233" y="1034"/>
                  </a:lnTo>
                  <a:lnTo>
                    <a:pt x="1233" y="1034"/>
                  </a:lnTo>
                  <a:lnTo>
                    <a:pt x="1233" y="1034"/>
                  </a:lnTo>
                  <a:lnTo>
                    <a:pt x="1233" y="1034"/>
                  </a:lnTo>
                  <a:lnTo>
                    <a:pt x="1233" y="1034"/>
                  </a:lnTo>
                  <a:lnTo>
                    <a:pt x="1233" y="1034"/>
                  </a:lnTo>
                  <a:lnTo>
                    <a:pt x="1233" y="1036"/>
                  </a:lnTo>
                  <a:lnTo>
                    <a:pt x="1233" y="1036"/>
                  </a:lnTo>
                  <a:lnTo>
                    <a:pt x="1231" y="1036"/>
                  </a:lnTo>
                  <a:lnTo>
                    <a:pt x="1231" y="1039"/>
                  </a:lnTo>
                  <a:lnTo>
                    <a:pt x="1231" y="1039"/>
                  </a:lnTo>
                  <a:lnTo>
                    <a:pt x="1231" y="1039"/>
                  </a:lnTo>
                  <a:lnTo>
                    <a:pt x="1231" y="1039"/>
                  </a:lnTo>
                  <a:lnTo>
                    <a:pt x="1231" y="1041"/>
                  </a:lnTo>
                  <a:lnTo>
                    <a:pt x="1231" y="1041"/>
                  </a:lnTo>
                  <a:lnTo>
                    <a:pt x="1231" y="1041"/>
                  </a:lnTo>
                  <a:lnTo>
                    <a:pt x="1231" y="1041"/>
                  </a:lnTo>
                  <a:lnTo>
                    <a:pt x="1231" y="1041"/>
                  </a:lnTo>
                  <a:lnTo>
                    <a:pt x="1231" y="1041"/>
                  </a:lnTo>
                  <a:lnTo>
                    <a:pt x="1231" y="1041"/>
                  </a:lnTo>
                  <a:lnTo>
                    <a:pt x="1229" y="1043"/>
                  </a:lnTo>
                  <a:lnTo>
                    <a:pt x="1231" y="1043"/>
                  </a:lnTo>
                  <a:lnTo>
                    <a:pt x="1231" y="1043"/>
                  </a:lnTo>
                  <a:lnTo>
                    <a:pt x="1231" y="1043"/>
                  </a:lnTo>
                  <a:lnTo>
                    <a:pt x="1231" y="1043"/>
                  </a:lnTo>
                  <a:lnTo>
                    <a:pt x="1229" y="1043"/>
                  </a:lnTo>
                  <a:lnTo>
                    <a:pt x="1229" y="1045"/>
                  </a:lnTo>
                  <a:lnTo>
                    <a:pt x="1229" y="1045"/>
                  </a:lnTo>
                  <a:lnTo>
                    <a:pt x="1229" y="1045"/>
                  </a:lnTo>
                  <a:lnTo>
                    <a:pt x="1229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8"/>
                  </a:lnTo>
                  <a:lnTo>
                    <a:pt x="1229" y="1048"/>
                  </a:lnTo>
                  <a:lnTo>
                    <a:pt x="1229" y="1048"/>
                  </a:lnTo>
                  <a:lnTo>
                    <a:pt x="1226" y="1048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8"/>
                  </a:lnTo>
                  <a:lnTo>
                    <a:pt x="1226" y="1045"/>
                  </a:lnTo>
                  <a:lnTo>
                    <a:pt x="1224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6" y="1045"/>
                  </a:lnTo>
                  <a:lnTo>
                    <a:pt x="1224" y="1045"/>
                  </a:lnTo>
                  <a:lnTo>
                    <a:pt x="1224" y="1045"/>
                  </a:lnTo>
                  <a:lnTo>
                    <a:pt x="1224" y="1045"/>
                  </a:lnTo>
                  <a:lnTo>
                    <a:pt x="1224" y="1048"/>
                  </a:lnTo>
                  <a:lnTo>
                    <a:pt x="1224" y="1048"/>
                  </a:lnTo>
                  <a:lnTo>
                    <a:pt x="1224" y="1048"/>
                  </a:lnTo>
                  <a:lnTo>
                    <a:pt x="1224" y="1048"/>
                  </a:lnTo>
                  <a:lnTo>
                    <a:pt x="1224" y="1048"/>
                  </a:lnTo>
                  <a:lnTo>
                    <a:pt x="1224" y="1048"/>
                  </a:lnTo>
                  <a:lnTo>
                    <a:pt x="1224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2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20" y="1048"/>
                  </a:lnTo>
                  <a:lnTo>
                    <a:pt x="1217" y="1048"/>
                  </a:lnTo>
                  <a:lnTo>
                    <a:pt x="1217" y="1048"/>
                  </a:lnTo>
                  <a:lnTo>
                    <a:pt x="1217" y="1048"/>
                  </a:lnTo>
                  <a:lnTo>
                    <a:pt x="1217" y="1048"/>
                  </a:lnTo>
                  <a:lnTo>
                    <a:pt x="1217" y="1048"/>
                  </a:lnTo>
                  <a:lnTo>
                    <a:pt x="1215" y="1048"/>
                  </a:lnTo>
                  <a:lnTo>
                    <a:pt x="1215" y="1048"/>
                  </a:lnTo>
                  <a:lnTo>
                    <a:pt x="1215" y="1048"/>
                  </a:lnTo>
                  <a:lnTo>
                    <a:pt x="1213" y="1050"/>
                  </a:lnTo>
                  <a:lnTo>
                    <a:pt x="1213" y="1048"/>
                  </a:lnTo>
                  <a:lnTo>
                    <a:pt x="1213" y="1048"/>
                  </a:lnTo>
                  <a:lnTo>
                    <a:pt x="1213" y="1048"/>
                  </a:lnTo>
                  <a:lnTo>
                    <a:pt x="1213" y="1045"/>
                  </a:lnTo>
                  <a:lnTo>
                    <a:pt x="1213" y="1045"/>
                  </a:lnTo>
                  <a:lnTo>
                    <a:pt x="1213" y="1045"/>
                  </a:lnTo>
                  <a:lnTo>
                    <a:pt x="1213" y="1043"/>
                  </a:lnTo>
                  <a:lnTo>
                    <a:pt x="1213" y="1043"/>
                  </a:lnTo>
                  <a:lnTo>
                    <a:pt x="1213" y="1043"/>
                  </a:lnTo>
                  <a:lnTo>
                    <a:pt x="1213" y="1043"/>
                  </a:lnTo>
                  <a:lnTo>
                    <a:pt x="1213" y="1043"/>
                  </a:lnTo>
                  <a:lnTo>
                    <a:pt x="1213" y="1043"/>
                  </a:lnTo>
                  <a:lnTo>
                    <a:pt x="1213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5"/>
                  </a:lnTo>
                  <a:lnTo>
                    <a:pt x="1215" y="1048"/>
                  </a:lnTo>
                  <a:lnTo>
                    <a:pt x="1215" y="1048"/>
                  </a:lnTo>
                  <a:lnTo>
                    <a:pt x="1215" y="1048"/>
                  </a:lnTo>
                  <a:lnTo>
                    <a:pt x="1217" y="1048"/>
                  </a:lnTo>
                  <a:lnTo>
                    <a:pt x="1217" y="1045"/>
                  </a:lnTo>
                  <a:lnTo>
                    <a:pt x="1217" y="1045"/>
                  </a:lnTo>
                  <a:lnTo>
                    <a:pt x="1217" y="1045"/>
                  </a:lnTo>
                  <a:lnTo>
                    <a:pt x="1217" y="1043"/>
                  </a:lnTo>
                  <a:lnTo>
                    <a:pt x="1215" y="1043"/>
                  </a:lnTo>
                  <a:lnTo>
                    <a:pt x="1215" y="1043"/>
                  </a:lnTo>
                  <a:lnTo>
                    <a:pt x="1215" y="1043"/>
                  </a:lnTo>
                  <a:lnTo>
                    <a:pt x="1215" y="1043"/>
                  </a:lnTo>
                  <a:lnTo>
                    <a:pt x="1215" y="1043"/>
                  </a:lnTo>
                  <a:lnTo>
                    <a:pt x="1213" y="1043"/>
                  </a:lnTo>
                  <a:lnTo>
                    <a:pt x="1213" y="1043"/>
                  </a:lnTo>
                  <a:lnTo>
                    <a:pt x="1213" y="1041"/>
                  </a:lnTo>
                  <a:lnTo>
                    <a:pt x="1213" y="1041"/>
                  </a:lnTo>
                  <a:lnTo>
                    <a:pt x="1213" y="1041"/>
                  </a:lnTo>
                  <a:lnTo>
                    <a:pt x="1213" y="1041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9"/>
                  </a:lnTo>
                  <a:lnTo>
                    <a:pt x="1213" y="1036"/>
                  </a:lnTo>
                  <a:lnTo>
                    <a:pt x="1213" y="1036"/>
                  </a:lnTo>
                  <a:lnTo>
                    <a:pt x="1213" y="1036"/>
                  </a:lnTo>
                  <a:lnTo>
                    <a:pt x="1211" y="1036"/>
                  </a:lnTo>
                  <a:lnTo>
                    <a:pt x="1211" y="1036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4"/>
                  </a:lnTo>
                  <a:lnTo>
                    <a:pt x="1211" y="1032"/>
                  </a:lnTo>
                  <a:lnTo>
                    <a:pt x="1211" y="1032"/>
                  </a:lnTo>
                  <a:lnTo>
                    <a:pt x="1211" y="1032"/>
                  </a:lnTo>
                  <a:lnTo>
                    <a:pt x="1211" y="1032"/>
                  </a:lnTo>
                  <a:lnTo>
                    <a:pt x="1211" y="1032"/>
                  </a:lnTo>
                  <a:lnTo>
                    <a:pt x="1211" y="1032"/>
                  </a:lnTo>
                  <a:lnTo>
                    <a:pt x="1208" y="1032"/>
                  </a:lnTo>
                  <a:lnTo>
                    <a:pt x="1208" y="1032"/>
                  </a:lnTo>
                  <a:lnTo>
                    <a:pt x="1208" y="1032"/>
                  </a:lnTo>
                  <a:lnTo>
                    <a:pt x="1208" y="1030"/>
                  </a:lnTo>
                  <a:lnTo>
                    <a:pt x="1208" y="1030"/>
                  </a:lnTo>
                  <a:lnTo>
                    <a:pt x="1208" y="1030"/>
                  </a:lnTo>
                  <a:lnTo>
                    <a:pt x="1208" y="1030"/>
                  </a:lnTo>
                  <a:lnTo>
                    <a:pt x="1208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6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30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7"/>
                  </a:lnTo>
                  <a:lnTo>
                    <a:pt x="1204" y="1025"/>
                  </a:lnTo>
                  <a:lnTo>
                    <a:pt x="1204" y="1025"/>
                  </a:lnTo>
                  <a:lnTo>
                    <a:pt x="1204" y="1025"/>
                  </a:lnTo>
                  <a:lnTo>
                    <a:pt x="1204" y="1025"/>
                  </a:lnTo>
                  <a:lnTo>
                    <a:pt x="1204" y="1025"/>
                  </a:lnTo>
                  <a:lnTo>
                    <a:pt x="1204" y="1025"/>
                  </a:lnTo>
                  <a:lnTo>
                    <a:pt x="1202" y="1025"/>
                  </a:lnTo>
                  <a:lnTo>
                    <a:pt x="1202" y="1023"/>
                  </a:lnTo>
                  <a:lnTo>
                    <a:pt x="1204" y="1023"/>
                  </a:lnTo>
                  <a:lnTo>
                    <a:pt x="1204" y="1021"/>
                  </a:lnTo>
                  <a:lnTo>
                    <a:pt x="1204" y="1021"/>
                  </a:lnTo>
                  <a:lnTo>
                    <a:pt x="1204" y="1021"/>
                  </a:lnTo>
                  <a:lnTo>
                    <a:pt x="1202" y="1021"/>
                  </a:lnTo>
                  <a:lnTo>
                    <a:pt x="1202" y="1018"/>
                  </a:lnTo>
                  <a:lnTo>
                    <a:pt x="1204" y="1018"/>
                  </a:lnTo>
                  <a:lnTo>
                    <a:pt x="1204" y="1018"/>
                  </a:lnTo>
                  <a:lnTo>
                    <a:pt x="1204" y="1018"/>
                  </a:lnTo>
                  <a:lnTo>
                    <a:pt x="1204" y="1018"/>
                  </a:lnTo>
                  <a:lnTo>
                    <a:pt x="1204" y="1018"/>
                  </a:lnTo>
                  <a:lnTo>
                    <a:pt x="1204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4"/>
                  </a:lnTo>
                  <a:lnTo>
                    <a:pt x="1204" y="1014"/>
                  </a:lnTo>
                  <a:lnTo>
                    <a:pt x="1204" y="1014"/>
                  </a:lnTo>
                  <a:lnTo>
                    <a:pt x="1204" y="1014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6" y="1012"/>
                  </a:lnTo>
                  <a:lnTo>
                    <a:pt x="1206" y="1012"/>
                  </a:lnTo>
                  <a:lnTo>
                    <a:pt x="1206" y="1012"/>
                  </a:lnTo>
                  <a:lnTo>
                    <a:pt x="1206" y="1012"/>
                  </a:lnTo>
                  <a:lnTo>
                    <a:pt x="1206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4" y="1012"/>
                  </a:lnTo>
                  <a:lnTo>
                    <a:pt x="1202" y="1014"/>
                  </a:lnTo>
                  <a:lnTo>
                    <a:pt x="1202" y="1014"/>
                  </a:lnTo>
                  <a:lnTo>
                    <a:pt x="1202" y="1014"/>
                  </a:lnTo>
                  <a:lnTo>
                    <a:pt x="1202" y="1014"/>
                  </a:lnTo>
                  <a:lnTo>
                    <a:pt x="1202" y="1016"/>
                  </a:lnTo>
                  <a:lnTo>
                    <a:pt x="1202" y="1016"/>
                  </a:lnTo>
                  <a:lnTo>
                    <a:pt x="1202" y="1014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6"/>
                  </a:lnTo>
                  <a:lnTo>
                    <a:pt x="1199" y="1014"/>
                  </a:lnTo>
                  <a:lnTo>
                    <a:pt x="1199" y="1014"/>
                  </a:lnTo>
                  <a:lnTo>
                    <a:pt x="1199" y="1014"/>
                  </a:lnTo>
                  <a:lnTo>
                    <a:pt x="1199" y="1014"/>
                  </a:lnTo>
                  <a:lnTo>
                    <a:pt x="1199" y="1014"/>
                  </a:lnTo>
                  <a:lnTo>
                    <a:pt x="1199" y="1014"/>
                  </a:lnTo>
                  <a:lnTo>
                    <a:pt x="1199" y="1012"/>
                  </a:lnTo>
                  <a:lnTo>
                    <a:pt x="1199" y="1012"/>
                  </a:lnTo>
                  <a:lnTo>
                    <a:pt x="1199" y="1012"/>
                  </a:lnTo>
                  <a:lnTo>
                    <a:pt x="1199" y="1009"/>
                  </a:lnTo>
                  <a:lnTo>
                    <a:pt x="1202" y="1007"/>
                  </a:lnTo>
                  <a:lnTo>
                    <a:pt x="1202" y="1007"/>
                  </a:lnTo>
                  <a:lnTo>
                    <a:pt x="1202" y="1007"/>
                  </a:lnTo>
                  <a:lnTo>
                    <a:pt x="1199" y="1007"/>
                  </a:lnTo>
                  <a:lnTo>
                    <a:pt x="1199" y="1007"/>
                  </a:lnTo>
                  <a:lnTo>
                    <a:pt x="1199" y="1007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204" y="1005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202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9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3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5"/>
                  </a:lnTo>
                  <a:lnTo>
                    <a:pt x="1197" y="1007"/>
                  </a:lnTo>
                  <a:lnTo>
                    <a:pt x="1199" y="1007"/>
                  </a:lnTo>
                  <a:lnTo>
                    <a:pt x="1199" y="1007"/>
                  </a:lnTo>
                  <a:lnTo>
                    <a:pt x="1199" y="1007"/>
                  </a:lnTo>
                  <a:lnTo>
                    <a:pt x="1199" y="1009"/>
                  </a:lnTo>
                  <a:lnTo>
                    <a:pt x="1199" y="1009"/>
                  </a:lnTo>
                  <a:lnTo>
                    <a:pt x="1199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7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9"/>
                  </a:lnTo>
                  <a:lnTo>
                    <a:pt x="1197" y="1007"/>
                  </a:lnTo>
                  <a:lnTo>
                    <a:pt x="1197" y="1007"/>
                  </a:lnTo>
                  <a:lnTo>
                    <a:pt x="1197" y="1007"/>
                  </a:lnTo>
                  <a:lnTo>
                    <a:pt x="1195" y="1007"/>
                  </a:lnTo>
                  <a:lnTo>
                    <a:pt x="1195" y="1007"/>
                  </a:lnTo>
                  <a:lnTo>
                    <a:pt x="1195" y="1005"/>
                  </a:lnTo>
                  <a:lnTo>
                    <a:pt x="1195" y="1005"/>
                  </a:lnTo>
                  <a:lnTo>
                    <a:pt x="1195" y="1005"/>
                  </a:lnTo>
                  <a:lnTo>
                    <a:pt x="1195" y="1005"/>
                  </a:lnTo>
                  <a:lnTo>
                    <a:pt x="1195" y="1007"/>
                  </a:lnTo>
                  <a:lnTo>
                    <a:pt x="1195" y="1007"/>
                  </a:lnTo>
                  <a:lnTo>
                    <a:pt x="1195" y="1007"/>
                  </a:lnTo>
                  <a:lnTo>
                    <a:pt x="1195" y="1005"/>
                  </a:lnTo>
                  <a:lnTo>
                    <a:pt x="1195" y="1005"/>
                  </a:lnTo>
                  <a:lnTo>
                    <a:pt x="1193" y="1003"/>
                  </a:lnTo>
                  <a:lnTo>
                    <a:pt x="1193" y="1000"/>
                  </a:lnTo>
                  <a:lnTo>
                    <a:pt x="1193" y="1000"/>
                  </a:lnTo>
                  <a:lnTo>
                    <a:pt x="1193" y="998"/>
                  </a:lnTo>
                  <a:lnTo>
                    <a:pt x="1193" y="1000"/>
                  </a:lnTo>
                  <a:lnTo>
                    <a:pt x="1193" y="1000"/>
                  </a:lnTo>
                  <a:lnTo>
                    <a:pt x="1193" y="1000"/>
                  </a:lnTo>
                  <a:lnTo>
                    <a:pt x="1193" y="1000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6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8"/>
                  </a:lnTo>
                  <a:lnTo>
                    <a:pt x="1193" y="996"/>
                  </a:lnTo>
                  <a:lnTo>
                    <a:pt x="1193" y="996"/>
                  </a:lnTo>
                  <a:lnTo>
                    <a:pt x="1193" y="994"/>
                  </a:lnTo>
                  <a:lnTo>
                    <a:pt x="1193" y="994"/>
                  </a:lnTo>
                  <a:lnTo>
                    <a:pt x="1193" y="994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1"/>
                  </a:lnTo>
                  <a:lnTo>
                    <a:pt x="1193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0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91"/>
                  </a:lnTo>
                  <a:lnTo>
                    <a:pt x="1193" y="989"/>
                  </a:lnTo>
                  <a:lnTo>
                    <a:pt x="1193" y="989"/>
                  </a:lnTo>
                  <a:lnTo>
                    <a:pt x="1195" y="989"/>
                  </a:lnTo>
                  <a:lnTo>
                    <a:pt x="1195" y="989"/>
                  </a:lnTo>
                  <a:lnTo>
                    <a:pt x="1195" y="989"/>
                  </a:lnTo>
                  <a:lnTo>
                    <a:pt x="1195" y="987"/>
                  </a:lnTo>
                  <a:lnTo>
                    <a:pt x="1195" y="987"/>
                  </a:lnTo>
                  <a:lnTo>
                    <a:pt x="1195" y="987"/>
                  </a:lnTo>
                  <a:lnTo>
                    <a:pt x="1195" y="987"/>
                  </a:lnTo>
                  <a:lnTo>
                    <a:pt x="1195" y="987"/>
                  </a:lnTo>
                  <a:lnTo>
                    <a:pt x="1197" y="987"/>
                  </a:lnTo>
                  <a:lnTo>
                    <a:pt x="1197" y="987"/>
                  </a:lnTo>
                  <a:lnTo>
                    <a:pt x="1197" y="987"/>
                  </a:lnTo>
                  <a:lnTo>
                    <a:pt x="1197" y="987"/>
                  </a:lnTo>
                  <a:lnTo>
                    <a:pt x="1197" y="985"/>
                  </a:lnTo>
                  <a:lnTo>
                    <a:pt x="1197" y="985"/>
                  </a:lnTo>
                  <a:lnTo>
                    <a:pt x="1197" y="985"/>
                  </a:lnTo>
                  <a:lnTo>
                    <a:pt x="1197" y="982"/>
                  </a:lnTo>
                  <a:lnTo>
                    <a:pt x="1197" y="982"/>
                  </a:lnTo>
                  <a:lnTo>
                    <a:pt x="1197" y="982"/>
                  </a:lnTo>
                  <a:lnTo>
                    <a:pt x="1197" y="982"/>
                  </a:lnTo>
                  <a:lnTo>
                    <a:pt x="1197" y="982"/>
                  </a:lnTo>
                  <a:lnTo>
                    <a:pt x="1197" y="982"/>
                  </a:lnTo>
                  <a:lnTo>
                    <a:pt x="1197" y="982"/>
                  </a:lnTo>
                  <a:lnTo>
                    <a:pt x="1197" y="985"/>
                  </a:lnTo>
                  <a:lnTo>
                    <a:pt x="1197" y="985"/>
                  </a:lnTo>
                  <a:lnTo>
                    <a:pt x="1197" y="985"/>
                  </a:lnTo>
                  <a:lnTo>
                    <a:pt x="1197" y="985"/>
                  </a:lnTo>
                  <a:lnTo>
                    <a:pt x="1195" y="985"/>
                  </a:lnTo>
                  <a:lnTo>
                    <a:pt x="1195" y="985"/>
                  </a:lnTo>
                  <a:lnTo>
                    <a:pt x="1195" y="985"/>
                  </a:lnTo>
                  <a:lnTo>
                    <a:pt x="1195" y="982"/>
                  </a:lnTo>
                  <a:lnTo>
                    <a:pt x="1195" y="982"/>
                  </a:lnTo>
                  <a:lnTo>
                    <a:pt x="1195" y="982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5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0"/>
                  </a:lnTo>
                  <a:lnTo>
                    <a:pt x="1193" y="982"/>
                  </a:lnTo>
                  <a:lnTo>
                    <a:pt x="1193" y="982"/>
                  </a:lnTo>
                  <a:lnTo>
                    <a:pt x="1193" y="982"/>
                  </a:lnTo>
                  <a:lnTo>
                    <a:pt x="1193" y="982"/>
                  </a:lnTo>
                  <a:lnTo>
                    <a:pt x="1195" y="982"/>
                  </a:lnTo>
                  <a:lnTo>
                    <a:pt x="1195" y="982"/>
                  </a:lnTo>
                  <a:lnTo>
                    <a:pt x="1195" y="982"/>
                  </a:lnTo>
                  <a:lnTo>
                    <a:pt x="1195" y="982"/>
                  </a:lnTo>
                  <a:lnTo>
                    <a:pt x="1195" y="985"/>
                  </a:lnTo>
                  <a:lnTo>
                    <a:pt x="1195" y="985"/>
                  </a:lnTo>
                  <a:lnTo>
                    <a:pt x="1195" y="985"/>
                  </a:lnTo>
                  <a:lnTo>
                    <a:pt x="1195" y="985"/>
                  </a:lnTo>
                  <a:lnTo>
                    <a:pt x="1193" y="985"/>
                  </a:lnTo>
                  <a:lnTo>
                    <a:pt x="1193" y="985"/>
                  </a:lnTo>
                  <a:lnTo>
                    <a:pt x="1193" y="985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3" y="987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90" y="985"/>
                  </a:lnTo>
                  <a:lnTo>
                    <a:pt x="1190" y="985"/>
                  </a:lnTo>
                  <a:lnTo>
                    <a:pt x="1190" y="985"/>
                  </a:lnTo>
                  <a:lnTo>
                    <a:pt x="1190" y="985"/>
                  </a:lnTo>
                  <a:lnTo>
                    <a:pt x="1190" y="985"/>
                  </a:lnTo>
                  <a:lnTo>
                    <a:pt x="1190" y="985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90" y="989"/>
                  </a:lnTo>
                  <a:lnTo>
                    <a:pt x="1190" y="989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90" y="987"/>
                  </a:lnTo>
                  <a:lnTo>
                    <a:pt x="1188" y="985"/>
                  </a:lnTo>
                  <a:lnTo>
                    <a:pt x="1188" y="985"/>
                  </a:lnTo>
                  <a:lnTo>
                    <a:pt x="1188" y="985"/>
                  </a:lnTo>
                  <a:lnTo>
                    <a:pt x="1188" y="982"/>
                  </a:lnTo>
                  <a:lnTo>
                    <a:pt x="1188" y="982"/>
                  </a:lnTo>
                  <a:lnTo>
                    <a:pt x="1188" y="982"/>
                  </a:lnTo>
                  <a:lnTo>
                    <a:pt x="1190" y="982"/>
                  </a:lnTo>
                  <a:lnTo>
                    <a:pt x="1190" y="982"/>
                  </a:lnTo>
                  <a:lnTo>
                    <a:pt x="1190" y="982"/>
                  </a:lnTo>
                  <a:lnTo>
                    <a:pt x="1190" y="982"/>
                  </a:lnTo>
                  <a:lnTo>
                    <a:pt x="1190" y="982"/>
                  </a:lnTo>
                  <a:lnTo>
                    <a:pt x="1190" y="982"/>
                  </a:lnTo>
                  <a:lnTo>
                    <a:pt x="1190" y="982"/>
                  </a:lnTo>
                  <a:lnTo>
                    <a:pt x="1190" y="980"/>
                  </a:lnTo>
                  <a:lnTo>
                    <a:pt x="1190" y="978"/>
                  </a:lnTo>
                  <a:lnTo>
                    <a:pt x="1193" y="978"/>
                  </a:lnTo>
                  <a:lnTo>
                    <a:pt x="1193" y="978"/>
                  </a:lnTo>
                  <a:lnTo>
                    <a:pt x="1193" y="978"/>
                  </a:lnTo>
                  <a:lnTo>
                    <a:pt x="1193" y="978"/>
                  </a:lnTo>
                  <a:lnTo>
                    <a:pt x="1193" y="978"/>
                  </a:lnTo>
                  <a:lnTo>
                    <a:pt x="1193" y="976"/>
                  </a:lnTo>
                  <a:lnTo>
                    <a:pt x="1193" y="976"/>
                  </a:lnTo>
                  <a:lnTo>
                    <a:pt x="1193" y="976"/>
                  </a:lnTo>
                  <a:lnTo>
                    <a:pt x="1193" y="976"/>
                  </a:lnTo>
                  <a:lnTo>
                    <a:pt x="1193" y="976"/>
                  </a:lnTo>
                  <a:lnTo>
                    <a:pt x="1193" y="976"/>
                  </a:lnTo>
                  <a:lnTo>
                    <a:pt x="1193" y="976"/>
                  </a:lnTo>
                  <a:lnTo>
                    <a:pt x="1193" y="973"/>
                  </a:lnTo>
                  <a:lnTo>
                    <a:pt x="1193" y="973"/>
                  </a:lnTo>
                  <a:lnTo>
                    <a:pt x="1195" y="973"/>
                  </a:lnTo>
                  <a:lnTo>
                    <a:pt x="1195" y="973"/>
                  </a:lnTo>
                  <a:lnTo>
                    <a:pt x="1193" y="973"/>
                  </a:lnTo>
                  <a:lnTo>
                    <a:pt x="1193" y="973"/>
                  </a:lnTo>
                  <a:lnTo>
                    <a:pt x="1193" y="973"/>
                  </a:lnTo>
                  <a:lnTo>
                    <a:pt x="1195" y="971"/>
                  </a:lnTo>
                  <a:lnTo>
                    <a:pt x="1195" y="971"/>
                  </a:lnTo>
                  <a:lnTo>
                    <a:pt x="1195" y="971"/>
                  </a:lnTo>
                  <a:lnTo>
                    <a:pt x="1195" y="971"/>
                  </a:lnTo>
                  <a:lnTo>
                    <a:pt x="1195" y="969"/>
                  </a:lnTo>
                  <a:lnTo>
                    <a:pt x="1195" y="969"/>
                  </a:lnTo>
                  <a:lnTo>
                    <a:pt x="1195" y="969"/>
                  </a:lnTo>
                  <a:lnTo>
                    <a:pt x="1197" y="967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4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2"/>
                  </a:lnTo>
                  <a:lnTo>
                    <a:pt x="1197" y="960"/>
                  </a:lnTo>
                  <a:lnTo>
                    <a:pt x="1197" y="960"/>
                  </a:lnTo>
                  <a:lnTo>
                    <a:pt x="1197" y="962"/>
                  </a:lnTo>
                  <a:lnTo>
                    <a:pt x="1197" y="960"/>
                  </a:lnTo>
                  <a:lnTo>
                    <a:pt x="1197" y="960"/>
                  </a:lnTo>
                  <a:lnTo>
                    <a:pt x="1199" y="960"/>
                  </a:lnTo>
                  <a:lnTo>
                    <a:pt x="1199" y="960"/>
                  </a:lnTo>
                  <a:lnTo>
                    <a:pt x="1197" y="958"/>
                  </a:lnTo>
                  <a:lnTo>
                    <a:pt x="1197" y="958"/>
                  </a:lnTo>
                  <a:lnTo>
                    <a:pt x="1197" y="958"/>
                  </a:lnTo>
                  <a:lnTo>
                    <a:pt x="1197" y="958"/>
                  </a:lnTo>
                  <a:lnTo>
                    <a:pt x="1197" y="958"/>
                  </a:lnTo>
                  <a:lnTo>
                    <a:pt x="1197" y="958"/>
                  </a:lnTo>
                  <a:lnTo>
                    <a:pt x="1197" y="958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5"/>
                  </a:lnTo>
                  <a:lnTo>
                    <a:pt x="1197" y="953"/>
                  </a:lnTo>
                  <a:lnTo>
                    <a:pt x="1197" y="953"/>
                  </a:lnTo>
                  <a:lnTo>
                    <a:pt x="1197" y="953"/>
                  </a:lnTo>
                  <a:lnTo>
                    <a:pt x="1197" y="953"/>
                  </a:lnTo>
                  <a:lnTo>
                    <a:pt x="1197" y="953"/>
                  </a:lnTo>
                  <a:lnTo>
                    <a:pt x="1197" y="953"/>
                  </a:lnTo>
                  <a:lnTo>
                    <a:pt x="1197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3"/>
                  </a:lnTo>
                  <a:lnTo>
                    <a:pt x="1195" y="951"/>
                  </a:lnTo>
                  <a:lnTo>
                    <a:pt x="1193" y="951"/>
                  </a:lnTo>
                  <a:lnTo>
                    <a:pt x="1193" y="951"/>
                  </a:lnTo>
                  <a:lnTo>
                    <a:pt x="1193" y="953"/>
                  </a:lnTo>
                  <a:lnTo>
                    <a:pt x="1193" y="953"/>
                  </a:lnTo>
                  <a:lnTo>
                    <a:pt x="1193" y="953"/>
                  </a:lnTo>
                  <a:lnTo>
                    <a:pt x="1193" y="953"/>
                  </a:lnTo>
                  <a:lnTo>
                    <a:pt x="1193" y="953"/>
                  </a:lnTo>
                  <a:lnTo>
                    <a:pt x="1190" y="951"/>
                  </a:lnTo>
                  <a:lnTo>
                    <a:pt x="1193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51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9"/>
                  </a:lnTo>
                  <a:lnTo>
                    <a:pt x="1190" y="946"/>
                  </a:lnTo>
                  <a:lnTo>
                    <a:pt x="1188" y="946"/>
                  </a:lnTo>
                  <a:lnTo>
                    <a:pt x="1188" y="946"/>
                  </a:lnTo>
                  <a:lnTo>
                    <a:pt x="1188" y="946"/>
                  </a:lnTo>
                  <a:lnTo>
                    <a:pt x="1188" y="946"/>
                  </a:lnTo>
                  <a:lnTo>
                    <a:pt x="1188" y="946"/>
                  </a:lnTo>
                  <a:lnTo>
                    <a:pt x="1186" y="944"/>
                  </a:lnTo>
                  <a:lnTo>
                    <a:pt x="1186" y="944"/>
                  </a:lnTo>
                  <a:lnTo>
                    <a:pt x="1186" y="944"/>
                  </a:lnTo>
                  <a:lnTo>
                    <a:pt x="1186" y="944"/>
                  </a:lnTo>
                  <a:lnTo>
                    <a:pt x="1186" y="944"/>
                  </a:lnTo>
                  <a:lnTo>
                    <a:pt x="1186" y="944"/>
                  </a:lnTo>
                  <a:lnTo>
                    <a:pt x="1186" y="942"/>
                  </a:lnTo>
                  <a:lnTo>
                    <a:pt x="1186" y="942"/>
                  </a:lnTo>
                  <a:lnTo>
                    <a:pt x="1186" y="942"/>
                  </a:lnTo>
                  <a:lnTo>
                    <a:pt x="1186" y="942"/>
                  </a:lnTo>
                  <a:lnTo>
                    <a:pt x="1186" y="942"/>
                  </a:lnTo>
                  <a:lnTo>
                    <a:pt x="1186" y="942"/>
                  </a:lnTo>
                  <a:lnTo>
                    <a:pt x="1186" y="940"/>
                  </a:lnTo>
                  <a:lnTo>
                    <a:pt x="1186" y="940"/>
                  </a:lnTo>
                  <a:lnTo>
                    <a:pt x="1186" y="940"/>
                  </a:lnTo>
                  <a:lnTo>
                    <a:pt x="1186" y="940"/>
                  </a:lnTo>
                  <a:lnTo>
                    <a:pt x="1186" y="940"/>
                  </a:lnTo>
                  <a:lnTo>
                    <a:pt x="1186" y="940"/>
                  </a:lnTo>
                  <a:lnTo>
                    <a:pt x="1186" y="940"/>
                  </a:lnTo>
                  <a:lnTo>
                    <a:pt x="1184" y="940"/>
                  </a:lnTo>
                  <a:lnTo>
                    <a:pt x="1184" y="940"/>
                  </a:lnTo>
                  <a:lnTo>
                    <a:pt x="1184" y="940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7"/>
                  </a:lnTo>
                  <a:lnTo>
                    <a:pt x="1184" y="935"/>
                  </a:lnTo>
                  <a:lnTo>
                    <a:pt x="1184" y="935"/>
                  </a:lnTo>
                  <a:lnTo>
                    <a:pt x="1184" y="935"/>
                  </a:lnTo>
                  <a:lnTo>
                    <a:pt x="1181" y="935"/>
                  </a:lnTo>
                  <a:lnTo>
                    <a:pt x="1181" y="933"/>
                  </a:lnTo>
                  <a:lnTo>
                    <a:pt x="1181" y="933"/>
                  </a:lnTo>
                  <a:lnTo>
                    <a:pt x="1181" y="933"/>
                  </a:lnTo>
                  <a:lnTo>
                    <a:pt x="1181" y="933"/>
                  </a:lnTo>
                  <a:lnTo>
                    <a:pt x="1181" y="933"/>
                  </a:lnTo>
                  <a:lnTo>
                    <a:pt x="1179" y="933"/>
                  </a:lnTo>
                  <a:lnTo>
                    <a:pt x="1179" y="933"/>
                  </a:lnTo>
                  <a:lnTo>
                    <a:pt x="1177" y="931"/>
                  </a:lnTo>
                  <a:lnTo>
                    <a:pt x="1177" y="931"/>
                  </a:lnTo>
                  <a:lnTo>
                    <a:pt x="1177" y="931"/>
                  </a:lnTo>
                  <a:lnTo>
                    <a:pt x="1175" y="931"/>
                  </a:lnTo>
                  <a:lnTo>
                    <a:pt x="1175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2" y="931"/>
                  </a:lnTo>
                  <a:lnTo>
                    <a:pt x="1170" y="931"/>
                  </a:lnTo>
                  <a:lnTo>
                    <a:pt x="1170" y="931"/>
                  </a:lnTo>
                  <a:lnTo>
                    <a:pt x="1170" y="931"/>
                  </a:lnTo>
                  <a:lnTo>
                    <a:pt x="1170" y="931"/>
                  </a:lnTo>
                  <a:lnTo>
                    <a:pt x="1170" y="931"/>
                  </a:lnTo>
                  <a:lnTo>
                    <a:pt x="1170" y="931"/>
                  </a:lnTo>
                  <a:lnTo>
                    <a:pt x="1170" y="931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70" y="933"/>
                  </a:lnTo>
                  <a:lnTo>
                    <a:pt x="1170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68" y="933"/>
                  </a:lnTo>
                  <a:lnTo>
                    <a:pt x="1170" y="933"/>
                  </a:lnTo>
                  <a:lnTo>
                    <a:pt x="1170" y="935"/>
                  </a:lnTo>
                  <a:lnTo>
                    <a:pt x="1168" y="935"/>
                  </a:lnTo>
                  <a:lnTo>
                    <a:pt x="1168" y="935"/>
                  </a:lnTo>
                  <a:lnTo>
                    <a:pt x="1168" y="935"/>
                  </a:lnTo>
                  <a:lnTo>
                    <a:pt x="1168" y="935"/>
                  </a:lnTo>
                  <a:lnTo>
                    <a:pt x="1168" y="935"/>
                  </a:lnTo>
                  <a:lnTo>
                    <a:pt x="1168" y="935"/>
                  </a:lnTo>
                  <a:lnTo>
                    <a:pt x="1168" y="935"/>
                  </a:lnTo>
                  <a:lnTo>
                    <a:pt x="1166" y="935"/>
                  </a:lnTo>
                  <a:lnTo>
                    <a:pt x="1166" y="935"/>
                  </a:lnTo>
                  <a:lnTo>
                    <a:pt x="1166" y="935"/>
                  </a:lnTo>
                  <a:lnTo>
                    <a:pt x="1166" y="935"/>
                  </a:lnTo>
                  <a:lnTo>
                    <a:pt x="1163" y="935"/>
                  </a:lnTo>
                  <a:lnTo>
                    <a:pt x="1163" y="935"/>
                  </a:lnTo>
                  <a:lnTo>
                    <a:pt x="1163" y="935"/>
                  </a:lnTo>
                  <a:lnTo>
                    <a:pt x="1161" y="937"/>
                  </a:lnTo>
                  <a:lnTo>
                    <a:pt x="1161" y="937"/>
                  </a:lnTo>
                  <a:lnTo>
                    <a:pt x="1161" y="937"/>
                  </a:lnTo>
                  <a:lnTo>
                    <a:pt x="1159" y="937"/>
                  </a:lnTo>
                  <a:lnTo>
                    <a:pt x="1159" y="937"/>
                  </a:lnTo>
                  <a:lnTo>
                    <a:pt x="1159" y="937"/>
                  </a:lnTo>
                  <a:lnTo>
                    <a:pt x="1159" y="937"/>
                  </a:lnTo>
                  <a:lnTo>
                    <a:pt x="1159" y="937"/>
                  </a:lnTo>
                  <a:lnTo>
                    <a:pt x="1157" y="940"/>
                  </a:lnTo>
                  <a:lnTo>
                    <a:pt x="1157" y="940"/>
                  </a:lnTo>
                  <a:lnTo>
                    <a:pt x="1157" y="940"/>
                  </a:lnTo>
                  <a:lnTo>
                    <a:pt x="1157" y="940"/>
                  </a:lnTo>
                  <a:lnTo>
                    <a:pt x="1157" y="937"/>
                  </a:lnTo>
                  <a:lnTo>
                    <a:pt x="1159" y="937"/>
                  </a:lnTo>
                  <a:lnTo>
                    <a:pt x="1157" y="937"/>
                  </a:lnTo>
                  <a:lnTo>
                    <a:pt x="1157" y="937"/>
                  </a:lnTo>
                  <a:lnTo>
                    <a:pt x="1157" y="937"/>
                  </a:lnTo>
                  <a:lnTo>
                    <a:pt x="1157" y="937"/>
                  </a:lnTo>
                  <a:lnTo>
                    <a:pt x="1157" y="937"/>
                  </a:lnTo>
                  <a:lnTo>
                    <a:pt x="1157" y="937"/>
                  </a:lnTo>
                  <a:lnTo>
                    <a:pt x="1154" y="940"/>
                  </a:lnTo>
                  <a:lnTo>
                    <a:pt x="1154" y="940"/>
                  </a:lnTo>
                  <a:lnTo>
                    <a:pt x="1154" y="940"/>
                  </a:lnTo>
                  <a:lnTo>
                    <a:pt x="1152" y="940"/>
                  </a:lnTo>
                  <a:lnTo>
                    <a:pt x="1152" y="940"/>
                  </a:lnTo>
                  <a:lnTo>
                    <a:pt x="1150" y="940"/>
                  </a:lnTo>
                  <a:lnTo>
                    <a:pt x="1150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37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8" y="937"/>
                  </a:lnTo>
                  <a:lnTo>
                    <a:pt x="1148" y="937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48" y="940"/>
                  </a:lnTo>
                  <a:lnTo>
                    <a:pt x="1150" y="937"/>
                  </a:lnTo>
                  <a:lnTo>
                    <a:pt x="1150" y="937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8" y="935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5" y="933"/>
                  </a:lnTo>
                  <a:lnTo>
                    <a:pt x="1143" y="931"/>
                  </a:lnTo>
                  <a:lnTo>
                    <a:pt x="1143" y="931"/>
                  </a:lnTo>
                  <a:lnTo>
                    <a:pt x="1143" y="931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8" y="933"/>
                  </a:lnTo>
                  <a:lnTo>
                    <a:pt x="1148" y="933"/>
                  </a:lnTo>
                  <a:lnTo>
                    <a:pt x="1148" y="933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8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8" y="928"/>
                  </a:lnTo>
                  <a:lnTo>
                    <a:pt x="1148" y="928"/>
                  </a:lnTo>
                  <a:lnTo>
                    <a:pt x="1145" y="928"/>
                  </a:lnTo>
                  <a:lnTo>
                    <a:pt x="1145" y="928"/>
                  </a:lnTo>
                  <a:lnTo>
                    <a:pt x="1145" y="928"/>
                  </a:lnTo>
                  <a:lnTo>
                    <a:pt x="1145" y="928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31"/>
                  </a:lnTo>
                  <a:lnTo>
                    <a:pt x="1145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6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5" y="924"/>
                  </a:lnTo>
                  <a:lnTo>
                    <a:pt x="1145" y="924"/>
                  </a:lnTo>
                  <a:lnTo>
                    <a:pt x="1145" y="924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5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3" y="924"/>
                  </a:lnTo>
                  <a:lnTo>
                    <a:pt x="1143" y="926"/>
                  </a:lnTo>
                  <a:lnTo>
                    <a:pt x="1143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1" y="926"/>
                  </a:lnTo>
                  <a:lnTo>
                    <a:pt x="1143" y="926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1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3" y="928"/>
                  </a:lnTo>
                  <a:lnTo>
                    <a:pt x="1141" y="928"/>
                  </a:lnTo>
                  <a:lnTo>
                    <a:pt x="1141" y="928"/>
                  </a:lnTo>
                  <a:lnTo>
                    <a:pt x="1139" y="926"/>
                  </a:lnTo>
                  <a:lnTo>
                    <a:pt x="1136" y="926"/>
                  </a:lnTo>
                  <a:lnTo>
                    <a:pt x="1134" y="924"/>
                  </a:lnTo>
                  <a:lnTo>
                    <a:pt x="1130" y="924"/>
                  </a:lnTo>
                  <a:lnTo>
                    <a:pt x="1128" y="924"/>
                  </a:lnTo>
                  <a:lnTo>
                    <a:pt x="1128" y="924"/>
                  </a:lnTo>
                  <a:lnTo>
                    <a:pt x="1128" y="924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32" y="924"/>
                  </a:lnTo>
                  <a:lnTo>
                    <a:pt x="1132" y="924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4"/>
                  </a:lnTo>
                  <a:lnTo>
                    <a:pt x="1134" y="924"/>
                  </a:lnTo>
                  <a:lnTo>
                    <a:pt x="1134" y="924"/>
                  </a:lnTo>
                  <a:lnTo>
                    <a:pt x="1134" y="924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4"/>
                  </a:lnTo>
                  <a:lnTo>
                    <a:pt x="1134" y="924"/>
                  </a:lnTo>
                  <a:lnTo>
                    <a:pt x="1136" y="924"/>
                  </a:lnTo>
                  <a:lnTo>
                    <a:pt x="1136" y="924"/>
                  </a:lnTo>
                  <a:lnTo>
                    <a:pt x="1136" y="924"/>
                  </a:lnTo>
                  <a:lnTo>
                    <a:pt x="1136" y="924"/>
                  </a:lnTo>
                  <a:lnTo>
                    <a:pt x="1136" y="924"/>
                  </a:lnTo>
                  <a:lnTo>
                    <a:pt x="1136" y="922"/>
                  </a:lnTo>
                  <a:lnTo>
                    <a:pt x="1136" y="922"/>
                  </a:lnTo>
                  <a:lnTo>
                    <a:pt x="1136" y="922"/>
                  </a:lnTo>
                  <a:lnTo>
                    <a:pt x="1136" y="922"/>
                  </a:lnTo>
                  <a:lnTo>
                    <a:pt x="1136" y="922"/>
                  </a:lnTo>
                  <a:lnTo>
                    <a:pt x="1136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4" y="920"/>
                  </a:lnTo>
                  <a:lnTo>
                    <a:pt x="1134" y="922"/>
                  </a:lnTo>
                  <a:lnTo>
                    <a:pt x="1134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2" y="922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30" y="920"/>
                  </a:lnTo>
                  <a:lnTo>
                    <a:pt x="1130" y="920"/>
                  </a:lnTo>
                  <a:lnTo>
                    <a:pt x="1130" y="920"/>
                  </a:lnTo>
                  <a:lnTo>
                    <a:pt x="1130" y="920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30" y="920"/>
                  </a:lnTo>
                  <a:lnTo>
                    <a:pt x="1130" y="920"/>
                  </a:lnTo>
                  <a:lnTo>
                    <a:pt x="1130" y="920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30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8" y="922"/>
                  </a:lnTo>
                  <a:lnTo>
                    <a:pt x="1125" y="922"/>
                  </a:lnTo>
                  <a:lnTo>
                    <a:pt x="1125" y="922"/>
                  </a:lnTo>
                  <a:lnTo>
                    <a:pt x="1123" y="922"/>
                  </a:lnTo>
                  <a:lnTo>
                    <a:pt x="1123" y="922"/>
                  </a:lnTo>
                  <a:lnTo>
                    <a:pt x="1123" y="922"/>
                  </a:lnTo>
                  <a:lnTo>
                    <a:pt x="1121" y="924"/>
                  </a:lnTo>
                  <a:lnTo>
                    <a:pt x="1121" y="924"/>
                  </a:lnTo>
                  <a:lnTo>
                    <a:pt x="1116" y="924"/>
                  </a:lnTo>
                  <a:lnTo>
                    <a:pt x="1114" y="924"/>
                  </a:lnTo>
                  <a:lnTo>
                    <a:pt x="1114" y="924"/>
                  </a:lnTo>
                  <a:lnTo>
                    <a:pt x="1114" y="924"/>
                  </a:lnTo>
                  <a:lnTo>
                    <a:pt x="1114" y="924"/>
                  </a:lnTo>
                  <a:lnTo>
                    <a:pt x="1114" y="924"/>
                  </a:lnTo>
                  <a:lnTo>
                    <a:pt x="1116" y="924"/>
                  </a:lnTo>
                  <a:lnTo>
                    <a:pt x="1116" y="924"/>
                  </a:lnTo>
                  <a:lnTo>
                    <a:pt x="1119" y="924"/>
                  </a:lnTo>
                  <a:lnTo>
                    <a:pt x="1119" y="924"/>
                  </a:lnTo>
                  <a:lnTo>
                    <a:pt x="1119" y="922"/>
                  </a:lnTo>
                  <a:lnTo>
                    <a:pt x="1121" y="922"/>
                  </a:lnTo>
                  <a:lnTo>
                    <a:pt x="1121" y="922"/>
                  </a:lnTo>
                  <a:lnTo>
                    <a:pt x="1121" y="922"/>
                  </a:lnTo>
                  <a:lnTo>
                    <a:pt x="1121" y="922"/>
                  </a:lnTo>
                  <a:lnTo>
                    <a:pt x="1121" y="922"/>
                  </a:lnTo>
                  <a:lnTo>
                    <a:pt x="1121" y="922"/>
                  </a:lnTo>
                  <a:lnTo>
                    <a:pt x="1119" y="922"/>
                  </a:lnTo>
                  <a:lnTo>
                    <a:pt x="1119" y="922"/>
                  </a:lnTo>
                  <a:lnTo>
                    <a:pt x="1119" y="922"/>
                  </a:lnTo>
                  <a:lnTo>
                    <a:pt x="1119" y="922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21" y="920"/>
                  </a:lnTo>
                  <a:lnTo>
                    <a:pt x="1121" y="920"/>
                  </a:lnTo>
                  <a:lnTo>
                    <a:pt x="1121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17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9" y="920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0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6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4" y="922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12" y="924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07" y="926"/>
                  </a:lnTo>
                  <a:lnTo>
                    <a:pt x="1110" y="926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2"/>
                  </a:lnTo>
                  <a:lnTo>
                    <a:pt x="1112" y="922"/>
                  </a:lnTo>
                  <a:lnTo>
                    <a:pt x="1112" y="922"/>
                  </a:lnTo>
                  <a:lnTo>
                    <a:pt x="1112" y="922"/>
                  </a:lnTo>
                  <a:lnTo>
                    <a:pt x="1112" y="922"/>
                  </a:lnTo>
                  <a:lnTo>
                    <a:pt x="1112" y="922"/>
                  </a:lnTo>
                  <a:lnTo>
                    <a:pt x="1112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2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10" y="924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07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4"/>
                  </a:lnTo>
                  <a:lnTo>
                    <a:pt x="1105" y="926"/>
                  </a:lnTo>
                  <a:lnTo>
                    <a:pt x="1105" y="926"/>
                  </a:lnTo>
                  <a:lnTo>
                    <a:pt x="1105" y="926"/>
                  </a:lnTo>
                  <a:lnTo>
                    <a:pt x="1105" y="926"/>
                  </a:lnTo>
                  <a:lnTo>
                    <a:pt x="1105" y="926"/>
                  </a:lnTo>
                  <a:lnTo>
                    <a:pt x="1105" y="926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098" y="926"/>
                  </a:lnTo>
                  <a:lnTo>
                    <a:pt x="1096" y="926"/>
                  </a:lnTo>
                  <a:lnTo>
                    <a:pt x="1096" y="926"/>
                  </a:lnTo>
                  <a:lnTo>
                    <a:pt x="1096" y="926"/>
                  </a:lnTo>
                  <a:lnTo>
                    <a:pt x="1096" y="926"/>
                  </a:lnTo>
                  <a:lnTo>
                    <a:pt x="1098" y="926"/>
                  </a:lnTo>
                  <a:lnTo>
                    <a:pt x="1098" y="926"/>
                  </a:lnTo>
                  <a:lnTo>
                    <a:pt x="1098" y="926"/>
                  </a:lnTo>
                  <a:lnTo>
                    <a:pt x="1098" y="926"/>
                  </a:lnTo>
                  <a:lnTo>
                    <a:pt x="1098" y="926"/>
                  </a:lnTo>
                  <a:lnTo>
                    <a:pt x="1101" y="926"/>
                  </a:lnTo>
                  <a:lnTo>
                    <a:pt x="1101" y="926"/>
                  </a:lnTo>
                  <a:lnTo>
                    <a:pt x="1101" y="926"/>
                  </a:lnTo>
                  <a:lnTo>
                    <a:pt x="1103" y="926"/>
                  </a:lnTo>
                  <a:lnTo>
                    <a:pt x="1103" y="926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4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2"/>
                  </a:lnTo>
                  <a:lnTo>
                    <a:pt x="1101" y="920"/>
                  </a:lnTo>
                  <a:lnTo>
                    <a:pt x="1101" y="920"/>
                  </a:lnTo>
                  <a:lnTo>
                    <a:pt x="1101" y="920"/>
                  </a:lnTo>
                  <a:lnTo>
                    <a:pt x="1101" y="920"/>
                  </a:lnTo>
                  <a:lnTo>
                    <a:pt x="1101" y="920"/>
                  </a:lnTo>
                  <a:lnTo>
                    <a:pt x="1101" y="917"/>
                  </a:lnTo>
                  <a:lnTo>
                    <a:pt x="1101" y="917"/>
                  </a:lnTo>
                  <a:lnTo>
                    <a:pt x="1101" y="917"/>
                  </a:lnTo>
                  <a:lnTo>
                    <a:pt x="1101" y="917"/>
                  </a:lnTo>
                  <a:lnTo>
                    <a:pt x="1101" y="917"/>
                  </a:lnTo>
                  <a:lnTo>
                    <a:pt x="1098" y="917"/>
                  </a:lnTo>
                  <a:lnTo>
                    <a:pt x="1098" y="915"/>
                  </a:lnTo>
                  <a:lnTo>
                    <a:pt x="1101" y="915"/>
                  </a:lnTo>
                  <a:lnTo>
                    <a:pt x="1101" y="915"/>
                  </a:lnTo>
                  <a:lnTo>
                    <a:pt x="1101" y="915"/>
                  </a:lnTo>
                  <a:lnTo>
                    <a:pt x="1098" y="915"/>
                  </a:lnTo>
                  <a:lnTo>
                    <a:pt x="1098" y="915"/>
                  </a:lnTo>
                  <a:lnTo>
                    <a:pt x="1098" y="915"/>
                  </a:lnTo>
                  <a:lnTo>
                    <a:pt x="1098" y="915"/>
                  </a:lnTo>
                  <a:lnTo>
                    <a:pt x="1098" y="917"/>
                  </a:lnTo>
                  <a:lnTo>
                    <a:pt x="1098" y="917"/>
                  </a:lnTo>
                  <a:lnTo>
                    <a:pt x="1098" y="917"/>
                  </a:lnTo>
                  <a:lnTo>
                    <a:pt x="1098" y="917"/>
                  </a:lnTo>
                  <a:lnTo>
                    <a:pt x="1098" y="917"/>
                  </a:lnTo>
                  <a:lnTo>
                    <a:pt x="1098" y="917"/>
                  </a:lnTo>
                  <a:lnTo>
                    <a:pt x="1098" y="917"/>
                  </a:lnTo>
                  <a:lnTo>
                    <a:pt x="1098" y="920"/>
                  </a:lnTo>
                  <a:lnTo>
                    <a:pt x="1098" y="920"/>
                  </a:lnTo>
                  <a:lnTo>
                    <a:pt x="1096" y="920"/>
                  </a:lnTo>
                  <a:lnTo>
                    <a:pt x="1096" y="920"/>
                  </a:lnTo>
                  <a:lnTo>
                    <a:pt x="1096" y="920"/>
                  </a:lnTo>
                  <a:lnTo>
                    <a:pt x="1096" y="920"/>
                  </a:lnTo>
                  <a:lnTo>
                    <a:pt x="1096" y="920"/>
                  </a:lnTo>
                  <a:lnTo>
                    <a:pt x="1096" y="920"/>
                  </a:lnTo>
                  <a:lnTo>
                    <a:pt x="1096" y="920"/>
                  </a:lnTo>
                  <a:lnTo>
                    <a:pt x="1096" y="922"/>
                  </a:lnTo>
                  <a:lnTo>
                    <a:pt x="1096" y="922"/>
                  </a:lnTo>
                  <a:lnTo>
                    <a:pt x="1096" y="922"/>
                  </a:lnTo>
                  <a:lnTo>
                    <a:pt x="1096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4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92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9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7" y="924"/>
                  </a:lnTo>
                  <a:lnTo>
                    <a:pt x="1085" y="924"/>
                  </a:lnTo>
                  <a:lnTo>
                    <a:pt x="1085" y="924"/>
                  </a:lnTo>
                  <a:lnTo>
                    <a:pt x="1085" y="924"/>
                  </a:lnTo>
                  <a:lnTo>
                    <a:pt x="1085" y="924"/>
                  </a:lnTo>
                  <a:lnTo>
                    <a:pt x="1085" y="924"/>
                  </a:lnTo>
                  <a:lnTo>
                    <a:pt x="1083" y="924"/>
                  </a:lnTo>
                  <a:lnTo>
                    <a:pt x="1083" y="924"/>
                  </a:lnTo>
                  <a:lnTo>
                    <a:pt x="1080" y="922"/>
                  </a:lnTo>
                  <a:lnTo>
                    <a:pt x="1080" y="922"/>
                  </a:lnTo>
                  <a:lnTo>
                    <a:pt x="1078" y="922"/>
                  </a:lnTo>
                  <a:lnTo>
                    <a:pt x="1078" y="922"/>
                  </a:lnTo>
                  <a:lnTo>
                    <a:pt x="1078" y="922"/>
                  </a:lnTo>
                  <a:lnTo>
                    <a:pt x="1078" y="922"/>
                  </a:lnTo>
                  <a:lnTo>
                    <a:pt x="1080" y="924"/>
                  </a:lnTo>
                  <a:lnTo>
                    <a:pt x="1080" y="924"/>
                  </a:lnTo>
                  <a:lnTo>
                    <a:pt x="1080" y="924"/>
                  </a:lnTo>
                  <a:lnTo>
                    <a:pt x="1078" y="924"/>
                  </a:lnTo>
                  <a:lnTo>
                    <a:pt x="1078" y="924"/>
                  </a:lnTo>
                  <a:lnTo>
                    <a:pt x="1078" y="924"/>
                  </a:lnTo>
                  <a:lnTo>
                    <a:pt x="1078" y="924"/>
                  </a:lnTo>
                  <a:lnTo>
                    <a:pt x="1076" y="924"/>
                  </a:lnTo>
                  <a:lnTo>
                    <a:pt x="1076" y="924"/>
                  </a:lnTo>
                  <a:lnTo>
                    <a:pt x="1074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4"/>
                  </a:lnTo>
                  <a:lnTo>
                    <a:pt x="1071" y="926"/>
                  </a:lnTo>
                  <a:lnTo>
                    <a:pt x="1071" y="926"/>
                  </a:lnTo>
                  <a:lnTo>
                    <a:pt x="1069" y="926"/>
                  </a:lnTo>
                  <a:lnTo>
                    <a:pt x="1069" y="926"/>
                  </a:lnTo>
                  <a:lnTo>
                    <a:pt x="1069" y="926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7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5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6"/>
                  </a:lnTo>
                  <a:lnTo>
                    <a:pt x="1062" y="926"/>
                  </a:lnTo>
                  <a:lnTo>
                    <a:pt x="1060" y="926"/>
                  </a:lnTo>
                  <a:lnTo>
                    <a:pt x="1060" y="926"/>
                  </a:lnTo>
                  <a:lnTo>
                    <a:pt x="1060" y="926"/>
                  </a:lnTo>
                  <a:lnTo>
                    <a:pt x="1060" y="926"/>
                  </a:lnTo>
                  <a:lnTo>
                    <a:pt x="1060" y="926"/>
                  </a:lnTo>
                  <a:lnTo>
                    <a:pt x="1058" y="926"/>
                  </a:lnTo>
                  <a:lnTo>
                    <a:pt x="1058" y="926"/>
                  </a:lnTo>
                  <a:lnTo>
                    <a:pt x="1058" y="926"/>
                  </a:lnTo>
                  <a:lnTo>
                    <a:pt x="1058" y="926"/>
                  </a:lnTo>
                  <a:lnTo>
                    <a:pt x="1058" y="926"/>
                  </a:lnTo>
                  <a:lnTo>
                    <a:pt x="1058" y="926"/>
                  </a:lnTo>
                  <a:lnTo>
                    <a:pt x="1058" y="924"/>
                  </a:lnTo>
                  <a:lnTo>
                    <a:pt x="1058" y="924"/>
                  </a:lnTo>
                  <a:lnTo>
                    <a:pt x="1056" y="924"/>
                  </a:lnTo>
                  <a:lnTo>
                    <a:pt x="1056" y="924"/>
                  </a:lnTo>
                  <a:lnTo>
                    <a:pt x="1056" y="924"/>
                  </a:lnTo>
                  <a:lnTo>
                    <a:pt x="1053" y="924"/>
                  </a:lnTo>
                  <a:lnTo>
                    <a:pt x="1053" y="924"/>
                  </a:lnTo>
                  <a:lnTo>
                    <a:pt x="1053" y="924"/>
                  </a:lnTo>
                  <a:lnTo>
                    <a:pt x="1051" y="924"/>
                  </a:lnTo>
                  <a:lnTo>
                    <a:pt x="1051" y="926"/>
                  </a:lnTo>
                  <a:lnTo>
                    <a:pt x="1051" y="926"/>
                  </a:lnTo>
                  <a:lnTo>
                    <a:pt x="1049" y="926"/>
                  </a:lnTo>
                  <a:lnTo>
                    <a:pt x="1047" y="928"/>
                  </a:lnTo>
                  <a:lnTo>
                    <a:pt x="1047" y="928"/>
                  </a:lnTo>
                  <a:lnTo>
                    <a:pt x="1047" y="931"/>
                  </a:lnTo>
                  <a:lnTo>
                    <a:pt x="1049" y="931"/>
                  </a:lnTo>
                  <a:lnTo>
                    <a:pt x="1049" y="931"/>
                  </a:lnTo>
                  <a:lnTo>
                    <a:pt x="1051" y="931"/>
                  </a:lnTo>
                  <a:lnTo>
                    <a:pt x="1051" y="931"/>
                  </a:lnTo>
                  <a:lnTo>
                    <a:pt x="1051" y="933"/>
                  </a:lnTo>
                  <a:lnTo>
                    <a:pt x="1053" y="933"/>
                  </a:lnTo>
                  <a:lnTo>
                    <a:pt x="1053" y="931"/>
                  </a:lnTo>
                  <a:lnTo>
                    <a:pt x="1056" y="931"/>
                  </a:lnTo>
                  <a:lnTo>
                    <a:pt x="1056" y="931"/>
                  </a:lnTo>
                  <a:lnTo>
                    <a:pt x="1056" y="931"/>
                  </a:lnTo>
                  <a:lnTo>
                    <a:pt x="1058" y="931"/>
                  </a:lnTo>
                  <a:lnTo>
                    <a:pt x="1058" y="931"/>
                  </a:lnTo>
                  <a:lnTo>
                    <a:pt x="1058" y="928"/>
                  </a:lnTo>
                  <a:lnTo>
                    <a:pt x="1058" y="928"/>
                  </a:lnTo>
                  <a:lnTo>
                    <a:pt x="1060" y="928"/>
                  </a:lnTo>
                  <a:lnTo>
                    <a:pt x="1060" y="928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28"/>
                  </a:lnTo>
                  <a:lnTo>
                    <a:pt x="1060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2" y="931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31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28"/>
                  </a:lnTo>
                  <a:lnTo>
                    <a:pt x="1062" y="931"/>
                  </a:lnTo>
                  <a:lnTo>
                    <a:pt x="1062" y="931"/>
                  </a:lnTo>
                  <a:lnTo>
                    <a:pt x="1062" y="931"/>
                  </a:lnTo>
                  <a:lnTo>
                    <a:pt x="1062" y="931"/>
                  </a:lnTo>
                  <a:lnTo>
                    <a:pt x="1062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3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60" y="931"/>
                  </a:lnTo>
                  <a:lnTo>
                    <a:pt x="1058" y="933"/>
                  </a:lnTo>
                  <a:lnTo>
                    <a:pt x="1058" y="933"/>
                  </a:lnTo>
                  <a:lnTo>
                    <a:pt x="1058" y="933"/>
                  </a:lnTo>
                  <a:lnTo>
                    <a:pt x="1058" y="933"/>
                  </a:lnTo>
                  <a:lnTo>
                    <a:pt x="1058" y="933"/>
                  </a:lnTo>
                  <a:lnTo>
                    <a:pt x="1058" y="933"/>
                  </a:lnTo>
                  <a:lnTo>
                    <a:pt x="1060" y="933"/>
                  </a:lnTo>
                  <a:lnTo>
                    <a:pt x="1060" y="933"/>
                  </a:lnTo>
                  <a:lnTo>
                    <a:pt x="1060" y="933"/>
                  </a:lnTo>
                  <a:lnTo>
                    <a:pt x="1060" y="933"/>
                  </a:lnTo>
                  <a:lnTo>
                    <a:pt x="1060" y="933"/>
                  </a:lnTo>
                  <a:lnTo>
                    <a:pt x="1060" y="933"/>
                  </a:lnTo>
                  <a:lnTo>
                    <a:pt x="1060" y="935"/>
                  </a:lnTo>
                  <a:lnTo>
                    <a:pt x="1060" y="935"/>
                  </a:lnTo>
                  <a:lnTo>
                    <a:pt x="1060" y="935"/>
                  </a:lnTo>
                  <a:lnTo>
                    <a:pt x="1060" y="935"/>
                  </a:lnTo>
                  <a:lnTo>
                    <a:pt x="1062" y="935"/>
                  </a:lnTo>
                  <a:lnTo>
                    <a:pt x="1062" y="935"/>
                  </a:lnTo>
                  <a:lnTo>
                    <a:pt x="1062" y="935"/>
                  </a:lnTo>
                  <a:lnTo>
                    <a:pt x="1062" y="935"/>
                  </a:lnTo>
                  <a:lnTo>
                    <a:pt x="1062" y="935"/>
                  </a:lnTo>
                  <a:lnTo>
                    <a:pt x="1062" y="935"/>
                  </a:lnTo>
                  <a:lnTo>
                    <a:pt x="1065" y="933"/>
                  </a:lnTo>
                  <a:lnTo>
                    <a:pt x="1065" y="933"/>
                  </a:lnTo>
                  <a:lnTo>
                    <a:pt x="1065" y="933"/>
                  </a:lnTo>
                  <a:lnTo>
                    <a:pt x="1065" y="933"/>
                  </a:lnTo>
                  <a:lnTo>
                    <a:pt x="1065" y="933"/>
                  </a:lnTo>
                  <a:lnTo>
                    <a:pt x="1065" y="933"/>
                  </a:lnTo>
                  <a:lnTo>
                    <a:pt x="1065" y="933"/>
                  </a:lnTo>
                  <a:lnTo>
                    <a:pt x="1065" y="931"/>
                  </a:lnTo>
                  <a:lnTo>
                    <a:pt x="1065" y="931"/>
                  </a:lnTo>
                  <a:lnTo>
                    <a:pt x="1065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7" y="931"/>
                  </a:lnTo>
                  <a:lnTo>
                    <a:pt x="1069" y="931"/>
                  </a:lnTo>
                  <a:lnTo>
                    <a:pt x="1069" y="931"/>
                  </a:lnTo>
                  <a:lnTo>
                    <a:pt x="1069" y="931"/>
                  </a:lnTo>
                  <a:lnTo>
                    <a:pt x="1067" y="931"/>
                  </a:lnTo>
                  <a:lnTo>
                    <a:pt x="1067" y="933"/>
                  </a:lnTo>
                  <a:lnTo>
                    <a:pt x="1067" y="931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3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3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9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5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5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7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5" y="937"/>
                  </a:lnTo>
                  <a:lnTo>
                    <a:pt x="1062" y="937"/>
                  </a:lnTo>
                  <a:lnTo>
                    <a:pt x="1062" y="937"/>
                  </a:lnTo>
                  <a:lnTo>
                    <a:pt x="1062" y="937"/>
                  </a:lnTo>
                  <a:lnTo>
                    <a:pt x="1062" y="937"/>
                  </a:lnTo>
                  <a:lnTo>
                    <a:pt x="1062" y="937"/>
                  </a:lnTo>
                  <a:lnTo>
                    <a:pt x="1062" y="937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5" y="942"/>
                  </a:lnTo>
                  <a:lnTo>
                    <a:pt x="1065" y="942"/>
                  </a:lnTo>
                  <a:lnTo>
                    <a:pt x="1062" y="942"/>
                  </a:lnTo>
                  <a:lnTo>
                    <a:pt x="1062" y="942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2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0"/>
                  </a:lnTo>
                  <a:lnTo>
                    <a:pt x="1060" y="942"/>
                  </a:lnTo>
                  <a:lnTo>
                    <a:pt x="1060" y="942"/>
                  </a:lnTo>
                  <a:lnTo>
                    <a:pt x="1060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58" y="942"/>
                  </a:lnTo>
                  <a:lnTo>
                    <a:pt x="1060" y="942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0" y="944"/>
                  </a:lnTo>
                  <a:lnTo>
                    <a:pt x="1062" y="944"/>
                  </a:lnTo>
                  <a:lnTo>
                    <a:pt x="1062" y="944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0" y="946"/>
                  </a:lnTo>
                  <a:lnTo>
                    <a:pt x="1060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2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6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5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7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49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71" y="951"/>
                  </a:lnTo>
                  <a:lnTo>
                    <a:pt x="1071" y="951"/>
                  </a:lnTo>
                  <a:lnTo>
                    <a:pt x="1071" y="951"/>
                  </a:lnTo>
                  <a:lnTo>
                    <a:pt x="1071" y="951"/>
                  </a:lnTo>
                  <a:lnTo>
                    <a:pt x="1071" y="951"/>
                  </a:lnTo>
                  <a:lnTo>
                    <a:pt x="1071" y="951"/>
                  </a:lnTo>
                  <a:lnTo>
                    <a:pt x="1071" y="951"/>
                  </a:lnTo>
                  <a:lnTo>
                    <a:pt x="1071" y="953"/>
                  </a:lnTo>
                  <a:lnTo>
                    <a:pt x="1071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1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71" y="953"/>
                  </a:lnTo>
                  <a:lnTo>
                    <a:pt x="1069" y="953"/>
                  </a:lnTo>
                  <a:lnTo>
                    <a:pt x="1069" y="955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5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3"/>
                  </a:lnTo>
                  <a:lnTo>
                    <a:pt x="1069" y="955"/>
                  </a:lnTo>
                  <a:lnTo>
                    <a:pt x="1067" y="955"/>
                  </a:lnTo>
                  <a:lnTo>
                    <a:pt x="1067" y="955"/>
                  </a:lnTo>
                  <a:lnTo>
                    <a:pt x="1067" y="955"/>
                  </a:lnTo>
                  <a:lnTo>
                    <a:pt x="1067" y="955"/>
                  </a:lnTo>
                  <a:lnTo>
                    <a:pt x="1067" y="958"/>
                  </a:lnTo>
                  <a:lnTo>
                    <a:pt x="1067" y="955"/>
                  </a:lnTo>
                  <a:lnTo>
                    <a:pt x="1067" y="955"/>
                  </a:lnTo>
                  <a:lnTo>
                    <a:pt x="1067" y="955"/>
                  </a:lnTo>
                  <a:lnTo>
                    <a:pt x="1067" y="955"/>
                  </a:lnTo>
                  <a:lnTo>
                    <a:pt x="1067" y="953"/>
                  </a:lnTo>
                  <a:lnTo>
                    <a:pt x="1067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2" y="955"/>
                  </a:lnTo>
                  <a:lnTo>
                    <a:pt x="1062" y="958"/>
                  </a:lnTo>
                  <a:lnTo>
                    <a:pt x="1062" y="958"/>
                  </a:lnTo>
                  <a:lnTo>
                    <a:pt x="1060" y="958"/>
                  </a:lnTo>
                  <a:lnTo>
                    <a:pt x="1062" y="958"/>
                  </a:lnTo>
                  <a:lnTo>
                    <a:pt x="1062" y="958"/>
                  </a:lnTo>
                  <a:lnTo>
                    <a:pt x="1062" y="958"/>
                  </a:lnTo>
                  <a:lnTo>
                    <a:pt x="1062" y="958"/>
                  </a:lnTo>
                  <a:lnTo>
                    <a:pt x="1062" y="955"/>
                  </a:lnTo>
                  <a:lnTo>
                    <a:pt x="1062" y="955"/>
                  </a:lnTo>
                  <a:lnTo>
                    <a:pt x="1062" y="955"/>
                  </a:lnTo>
                  <a:lnTo>
                    <a:pt x="1062" y="955"/>
                  </a:lnTo>
                  <a:lnTo>
                    <a:pt x="1062" y="955"/>
                  </a:lnTo>
                  <a:lnTo>
                    <a:pt x="1062" y="955"/>
                  </a:lnTo>
                  <a:lnTo>
                    <a:pt x="1062" y="955"/>
                  </a:lnTo>
                  <a:lnTo>
                    <a:pt x="1065" y="955"/>
                  </a:lnTo>
                  <a:lnTo>
                    <a:pt x="1065" y="955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1"/>
                  </a:lnTo>
                  <a:lnTo>
                    <a:pt x="1065" y="951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5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3"/>
                  </a:lnTo>
                  <a:lnTo>
                    <a:pt x="1062" y="951"/>
                  </a:lnTo>
                  <a:lnTo>
                    <a:pt x="1062" y="951"/>
                  </a:lnTo>
                  <a:lnTo>
                    <a:pt x="1062" y="951"/>
                  </a:lnTo>
                  <a:lnTo>
                    <a:pt x="1062" y="951"/>
                  </a:lnTo>
                  <a:lnTo>
                    <a:pt x="1062" y="951"/>
                  </a:lnTo>
                  <a:lnTo>
                    <a:pt x="1060" y="951"/>
                  </a:lnTo>
                  <a:lnTo>
                    <a:pt x="1060" y="951"/>
                  </a:lnTo>
                  <a:lnTo>
                    <a:pt x="1060" y="951"/>
                  </a:lnTo>
                  <a:lnTo>
                    <a:pt x="1060" y="951"/>
                  </a:lnTo>
                  <a:lnTo>
                    <a:pt x="1058" y="951"/>
                  </a:lnTo>
                  <a:lnTo>
                    <a:pt x="1058" y="951"/>
                  </a:lnTo>
                  <a:lnTo>
                    <a:pt x="1058" y="949"/>
                  </a:lnTo>
                  <a:lnTo>
                    <a:pt x="1058" y="949"/>
                  </a:lnTo>
                  <a:lnTo>
                    <a:pt x="1060" y="949"/>
                  </a:lnTo>
                  <a:lnTo>
                    <a:pt x="1060" y="949"/>
                  </a:lnTo>
                  <a:lnTo>
                    <a:pt x="1058" y="949"/>
                  </a:lnTo>
                  <a:lnTo>
                    <a:pt x="1058" y="949"/>
                  </a:lnTo>
                  <a:lnTo>
                    <a:pt x="1058" y="949"/>
                  </a:lnTo>
                  <a:lnTo>
                    <a:pt x="1058" y="949"/>
                  </a:lnTo>
                  <a:lnTo>
                    <a:pt x="1056" y="949"/>
                  </a:lnTo>
                  <a:lnTo>
                    <a:pt x="1056" y="949"/>
                  </a:lnTo>
                  <a:lnTo>
                    <a:pt x="1056" y="949"/>
                  </a:lnTo>
                  <a:lnTo>
                    <a:pt x="1056" y="949"/>
                  </a:lnTo>
                  <a:lnTo>
                    <a:pt x="1056" y="949"/>
                  </a:lnTo>
                  <a:lnTo>
                    <a:pt x="1056" y="949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6" y="944"/>
                  </a:lnTo>
                  <a:lnTo>
                    <a:pt x="1056" y="944"/>
                  </a:lnTo>
                  <a:lnTo>
                    <a:pt x="1056" y="944"/>
                  </a:lnTo>
                  <a:lnTo>
                    <a:pt x="1056" y="944"/>
                  </a:lnTo>
                  <a:lnTo>
                    <a:pt x="1056" y="944"/>
                  </a:lnTo>
                  <a:lnTo>
                    <a:pt x="1056" y="944"/>
                  </a:lnTo>
                  <a:lnTo>
                    <a:pt x="1056" y="946"/>
                  </a:lnTo>
                  <a:lnTo>
                    <a:pt x="1056" y="946"/>
                  </a:lnTo>
                  <a:lnTo>
                    <a:pt x="1053" y="944"/>
                  </a:lnTo>
                  <a:lnTo>
                    <a:pt x="1053" y="944"/>
                  </a:lnTo>
                  <a:lnTo>
                    <a:pt x="1053" y="944"/>
                  </a:lnTo>
                  <a:lnTo>
                    <a:pt x="1051" y="944"/>
                  </a:lnTo>
                  <a:lnTo>
                    <a:pt x="1051" y="944"/>
                  </a:lnTo>
                  <a:lnTo>
                    <a:pt x="1051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51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2"/>
                  </a:lnTo>
                  <a:lnTo>
                    <a:pt x="1049" y="942"/>
                  </a:lnTo>
                  <a:lnTo>
                    <a:pt x="1049" y="942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49" y="944"/>
                  </a:lnTo>
                  <a:lnTo>
                    <a:pt x="1051" y="944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6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51" y="949"/>
                  </a:lnTo>
                  <a:lnTo>
                    <a:pt x="1049" y="949"/>
                  </a:lnTo>
                  <a:lnTo>
                    <a:pt x="1049" y="949"/>
                  </a:lnTo>
                  <a:lnTo>
                    <a:pt x="1049" y="949"/>
                  </a:lnTo>
                  <a:lnTo>
                    <a:pt x="1049" y="949"/>
                  </a:lnTo>
                  <a:lnTo>
                    <a:pt x="1049" y="951"/>
                  </a:lnTo>
                  <a:lnTo>
                    <a:pt x="1049" y="951"/>
                  </a:lnTo>
                  <a:lnTo>
                    <a:pt x="1049" y="951"/>
                  </a:lnTo>
                  <a:lnTo>
                    <a:pt x="1049" y="951"/>
                  </a:lnTo>
                  <a:lnTo>
                    <a:pt x="1049" y="953"/>
                  </a:lnTo>
                  <a:lnTo>
                    <a:pt x="1049" y="953"/>
                  </a:lnTo>
                  <a:lnTo>
                    <a:pt x="1049" y="953"/>
                  </a:lnTo>
                  <a:lnTo>
                    <a:pt x="1049" y="953"/>
                  </a:lnTo>
                  <a:lnTo>
                    <a:pt x="1047" y="953"/>
                  </a:lnTo>
                  <a:lnTo>
                    <a:pt x="1047" y="953"/>
                  </a:lnTo>
                  <a:lnTo>
                    <a:pt x="1047" y="953"/>
                  </a:lnTo>
                  <a:lnTo>
                    <a:pt x="1044" y="955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3"/>
                  </a:lnTo>
                  <a:lnTo>
                    <a:pt x="1044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7" y="951"/>
                  </a:lnTo>
                  <a:lnTo>
                    <a:pt x="1044" y="951"/>
                  </a:lnTo>
                  <a:lnTo>
                    <a:pt x="1044" y="951"/>
                  </a:lnTo>
                  <a:lnTo>
                    <a:pt x="1044" y="951"/>
                  </a:lnTo>
                  <a:lnTo>
                    <a:pt x="1044" y="951"/>
                  </a:lnTo>
                  <a:lnTo>
                    <a:pt x="1044" y="949"/>
                  </a:lnTo>
                  <a:lnTo>
                    <a:pt x="1044" y="949"/>
                  </a:lnTo>
                  <a:lnTo>
                    <a:pt x="1044" y="949"/>
                  </a:lnTo>
                  <a:lnTo>
                    <a:pt x="1044" y="949"/>
                  </a:lnTo>
                  <a:lnTo>
                    <a:pt x="1044" y="949"/>
                  </a:lnTo>
                  <a:lnTo>
                    <a:pt x="1044" y="949"/>
                  </a:lnTo>
                  <a:lnTo>
                    <a:pt x="1044" y="949"/>
                  </a:lnTo>
                  <a:lnTo>
                    <a:pt x="1044" y="951"/>
                  </a:lnTo>
                  <a:lnTo>
                    <a:pt x="1042" y="951"/>
                  </a:lnTo>
                  <a:lnTo>
                    <a:pt x="1044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2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49"/>
                  </a:lnTo>
                  <a:lnTo>
                    <a:pt x="1040" y="951"/>
                  </a:lnTo>
                  <a:lnTo>
                    <a:pt x="1040" y="951"/>
                  </a:lnTo>
                  <a:lnTo>
                    <a:pt x="1040" y="951"/>
                  </a:lnTo>
                  <a:lnTo>
                    <a:pt x="1040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1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8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5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3" y="953"/>
                  </a:lnTo>
                  <a:lnTo>
                    <a:pt x="1031" y="953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31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6" y="951"/>
                  </a:lnTo>
                  <a:lnTo>
                    <a:pt x="1024" y="951"/>
                  </a:lnTo>
                  <a:lnTo>
                    <a:pt x="1024" y="949"/>
                  </a:lnTo>
                  <a:lnTo>
                    <a:pt x="1024" y="949"/>
                  </a:lnTo>
                  <a:lnTo>
                    <a:pt x="1024" y="949"/>
                  </a:lnTo>
                  <a:lnTo>
                    <a:pt x="1024" y="949"/>
                  </a:lnTo>
                  <a:lnTo>
                    <a:pt x="1024" y="949"/>
                  </a:lnTo>
                  <a:lnTo>
                    <a:pt x="1026" y="949"/>
                  </a:lnTo>
                  <a:lnTo>
                    <a:pt x="1026" y="949"/>
                  </a:lnTo>
                  <a:lnTo>
                    <a:pt x="1026" y="949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9"/>
                  </a:lnTo>
                  <a:lnTo>
                    <a:pt x="1026" y="949"/>
                  </a:lnTo>
                  <a:lnTo>
                    <a:pt x="1026" y="949"/>
                  </a:lnTo>
                  <a:lnTo>
                    <a:pt x="1029" y="949"/>
                  </a:lnTo>
                  <a:lnTo>
                    <a:pt x="1029" y="949"/>
                  </a:lnTo>
                  <a:lnTo>
                    <a:pt x="1029" y="949"/>
                  </a:lnTo>
                  <a:lnTo>
                    <a:pt x="1026" y="949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51"/>
                  </a:lnTo>
                  <a:lnTo>
                    <a:pt x="1029" y="949"/>
                  </a:lnTo>
                  <a:lnTo>
                    <a:pt x="1029" y="949"/>
                  </a:lnTo>
                  <a:lnTo>
                    <a:pt x="1029" y="949"/>
                  </a:lnTo>
                  <a:lnTo>
                    <a:pt x="1029" y="949"/>
                  </a:lnTo>
                  <a:lnTo>
                    <a:pt x="1029" y="949"/>
                  </a:lnTo>
                  <a:lnTo>
                    <a:pt x="1029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6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9" y="944"/>
                  </a:lnTo>
                  <a:lnTo>
                    <a:pt x="1029" y="944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9" y="942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6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4"/>
                  </a:lnTo>
                  <a:lnTo>
                    <a:pt x="1024" y="942"/>
                  </a:lnTo>
                  <a:lnTo>
                    <a:pt x="1024" y="944"/>
                  </a:lnTo>
                  <a:lnTo>
                    <a:pt x="1022" y="944"/>
                  </a:lnTo>
                  <a:lnTo>
                    <a:pt x="1022" y="944"/>
                  </a:lnTo>
                  <a:lnTo>
                    <a:pt x="1022" y="944"/>
                  </a:lnTo>
                  <a:lnTo>
                    <a:pt x="1022" y="944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2" y="942"/>
                  </a:lnTo>
                  <a:lnTo>
                    <a:pt x="1020" y="942"/>
                  </a:lnTo>
                  <a:lnTo>
                    <a:pt x="1020" y="942"/>
                  </a:lnTo>
                  <a:lnTo>
                    <a:pt x="1020" y="942"/>
                  </a:lnTo>
                  <a:lnTo>
                    <a:pt x="1020" y="940"/>
                  </a:lnTo>
                  <a:lnTo>
                    <a:pt x="1020" y="940"/>
                  </a:lnTo>
                  <a:lnTo>
                    <a:pt x="1020" y="940"/>
                  </a:lnTo>
                  <a:lnTo>
                    <a:pt x="1020" y="940"/>
                  </a:lnTo>
                  <a:lnTo>
                    <a:pt x="1020" y="937"/>
                  </a:lnTo>
                  <a:lnTo>
                    <a:pt x="1020" y="937"/>
                  </a:lnTo>
                  <a:lnTo>
                    <a:pt x="1017" y="940"/>
                  </a:lnTo>
                  <a:lnTo>
                    <a:pt x="1017" y="940"/>
                  </a:lnTo>
                  <a:lnTo>
                    <a:pt x="1017" y="940"/>
                  </a:lnTo>
                  <a:lnTo>
                    <a:pt x="1015" y="940"/>
                  </a:lnTo>
                  <a:lnTo>
                    <a:pt x="1015" y="940"/>
                  </a:lnTo>
                  <a:lnTo>
                    <a:pt x="1015" y="940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7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5" y="937"/>
                  </a:lnTo>
                  <a:lnTo>
                    <a:pt x="1013" y="937"/>
                  </a:lnTo>
                  <a:lnTo>
                    <a:pt x="1013" y="937"/>
                  </a:lnTo>
                  <a:lnTo>
                    <a:pt x="1013" y="937"/>
                  </a:lnTo>
                  <a:lnTo>
                    <a:pt x="1011" y="937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37"/>
                  </a:lnTo>
                  <a:lnTo>
                    <a:pt x="1011" y="937"/>
                  </a:lnTo>
                  <a:lnTo>
                    <a:pt x="1011" y="937"/>
                  </a:lnTo>
                  <a:lnTo>
                    <a:pt x="1011" y="937"/>
                  </a:lnTo>
                  <a:lnTo>
                    <a:pt x="1011" y="937"/>
                  </a:lnTo>
                  <a:lnTo>
                    <a:pt x="1011" y="937"/>
                  </a:lnTo>
                  <a:lnTo>
                    <a:pt x="1011" y="937"/>
                  </a:lnTo>
                  <a:lnTo>
                    <a:pt x="1008" y="937"/>
                  </a:lnTo>
                  <a:lnTo>
                    <a:pt x="1008" y="940"/>
                  </a:lnTo>
                  <a:lnTo>
                    <a:pt x="1008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0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3" y="942"/>
                  </a:lnTo>
                  <a:lnTo>
                    <a:pt x="1013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11" y="942"/>
                  </a:lnTo>
                  <a:lnTo>
                    <a:pt x="1008" y="942"/>
                  </a:lnTo>
                  <a:lnTo>
                    <a:pt x="1008" y="942"/>
                  </a:lnTo>
                  <a:lnTo>
                    <a:pt x="1006" y="944"/>
                  </a:lnTo>
                  <a:lnTo>
                    <a:pt x="1006" y="944"/>
                  </a:lnTo>
                  <a:lnTo>
                    <a:pt x="1006" y="944"/>
                  </a:lnTo>
                  <a:lnTo>
                    <a:pt x="1004" y="942"/>
                  </a:lnTo>
                  <a:lnTo>
                    <a:pt x="1002" y="942"/>
                  </a:lnTo>
                  <a:lnTo>
                    <a:pt x="1002" y="942"/>
                  </a:lnTo>
                  <a:lnTo>
                    <a:pt x="1002" y="942"/>
                  </a:lnTo>
                  <a:lnTo>
                    <a:pt x="1002" y="942"/>
                  </a:lnTo>
                  <a:lnTo>
                    <a:pt x="997" y="942"/>
                  </a:lnTo>
                  <a:lnTo>
                    <a:pt x="997" y="942"/>
                  </a:lnTo>
                  <a:lnTo>
                    <a:pt x="995" y="940"/>
                  </a:lnTo>
                  <a:lnTo>
                    <a:pt x="995" y="940"/>
                  </a:lnTo>
                  <a:lnTo>
                    <a:pt x="993" y="940"/>
                  </a:lnTo>
                  <a:lnTo>
                    <a:pt x="990" y="937"/>
                  </a:lnTo>
                  <a:lnTo>
                    <a:pt x="990" y="937"/>
                  </a:lnTo>
                  <a:lnTo>
                    <a:pt x="988" y="937"/>
                  </a:lnTo>
                  <a:lnTo>
                    <a:pt x="988" y="937"/>
                  </a:lnTo>
                  <a:lnTo>
                    <a:pt x="986" y="937"/>
                  </a:lnTo>
                  <a:lnTo>
                    <a:pt x="986" y="937"/>
                  </a:lnTo>
                  <a:lnTo>
                    <a:pt x="986" y="937"/>
                  </a:lnTo>
                  <a:lnTo>
                    <a:pt x="984" y="937"/>
                  </a:lnTo>
                  <a:lnTo>
                    <a:pt x="984" y="937"/>
                  </a:lnTo>
                  <a:lnTo>
                    <a:pt x="984" y="937"/>
                  </a:lnTo>
                  <a:lnTo>
                    <a:pt x="981" y="937"/>
                  </a:lnTo>
                  <a:lnTo>
                    <a:pt x="979" y="937"/>
                  </a:lnTo>
                  <a:lnTo>
                    <a:pt x="979" y="937"/>
                  </a:lnTo>
                  <a:lnTo>
                    <a:pt x="977" y="940"/>
                  </a:lnTo>
                  <a:lnTo>
                    <a:pt x="977" y="940"/>
                  </a:lnTo>
                  <a:lnTo>
                    <a:pt x="977" y="940"/>
                  </a:lnTo>
                  <a:lnTo>
                    <a:pt x="977" y="940"/>
                  </a:lnTo>
                  <a:lnTo>
                    <a:pt x="977" y="940"/>
                  </a:lnTo>
                  <a:lnTo>
                    <a:pt x="975" y="940"/>
                  </a:lnTo>
                  <a:lnTo>
                    <a:pt x="975" y="940"/>
                  </a:lnTo>
                  <a:lnTo>
                    <a:pt x="975" y="937"/>
                  </a:lnTo>
                  <a:lnTo>
                    <a:pt x="975" y="937"/>
                  </a:lnTo>
                  <a:lnTo>
                    <a:pt x="975" y="937"/>
                  </a:lnTo>
                  <a:lnTo>
                    <a:pt x="977" y="937"/>
                  </a:lnTo>
                  <a:lnTo>
                    <a:pt x="977" y="937"/>
                  </a:lnTo>
                  <a:lnTo>
                    <a:pt x="979" y="935"/>
                  </a:lnTo>
                  <a:lnTo>
                    <a:pt x="979" y="933"/>
                  </a:lnTo>
                  <a:lnTo>
                    <a:pt x="979" y="933"/>
                  </a:lnTo>
                  <a:lnTo>
                    <a:pt x="979" y="933"/>
                  </a:lnTo>
                  <a:lnTo>
                    <a:pt x="979" y="933"/>
                  </a:lnTo>
                  <a:lnTo>
                    <a:pt x="977" y="933"/>
                  </a:lnTo>
                  <a:lnTo>
                    <a:pt x="977" y="933"/>
                  </a:lnTo>
                  <a:lnTo>
                    <a:pt x="977" y="933"/>
                  </a:lnTo>
                  <a:lnTo>
                    <a:pt x="977" y="933"/>
                  </a:lnTo>
                  <a:lnTo>
                    <a:pt x="975" y="935"/>
                  </a:lnTo>
                  <a:lnTo>
                    <a:pt x="975" y="937"/>
                  </a:lnTo>
                  <a:lnTo>
                    <a:pt x="975" y="937"/>
                  </a:lnTo>
                  <a:lnTo>
                    <a:pt x="975" y="940"/>
                  </a:lnTo>
                  <a:lnTo>
                    <a:pt x="975" y="940"/>
                  </a:lnTo>
                  <a:lnTo>
                    <a:pt x="975" y="940"/>
                  </a:lnTo>
                  <a:lnTo>
                    <a:pt x="975" y="940"/>
                  </a:lnTo>
                  <a:lnTo>
                    <a:pt x="975" y="940"/>
                  </a:lnTo>
                  <a:lnTo>
                    <a:pt x="972" y="940"/>
                  </a:lnTo>
                  <a:lnTo>
                    <a:pt x="972" y="940"/>
                  </a:lnTo>
                  <a:lnTo>
                    <a:pt x="970" y="940"/>
                  </a:lnTo>
                  <a:lnTo>
                    <a:pt x="970" y="940"/>
                  </a:lnTo>
                  <a:lnTo>
                    <a:pt x="968" y="942"/>
                  </a:lnTo>
                  <a:lnTo>
                    <a:pt x="966" y="942"/>
                  </a:lnTo>
                  <a:lnTo>
                    <a:pt x="959" y="946"/>
                  </a:lnTo>
                  <a:lnTo>
                    <a:pt x="957" y="946"/>
                  </a:lnTo>
                  <a:lnTo>
                    <a:pt x="957" y="946"/>
                  </a:lnTo>
                  <a:lnTo>
                    <a:pt x="955" y="949"/>
                  </a:lnTo>
                  <a:lnTo>
                    <a:pt x="955" y="949"/>
                  </a:lnTo>
                  <a:lnTo>
                    <a:pt x="955" y="946"/>
                  </a:lnTo>
                  <a:lnTo>
                    <a:pt x="955" y="946"/>
                  </a:lnTo>
                  <a:lnTo>
                    <a:pt x="957" y="946"/>
                  </a:lnTo>
                  <a:lnTo>
                    <a:pt x="957" y="944"/>
                  </a:lnTo>
                  <a:lnTo>
                    <a:pt x="959" y="944"/>
                  </a:lnTo>
                  <a:lnTo>
                    <a:pt x="959" y="944"/>
                  </a:lnTo>
                  <a:lnTo>
                    <a:pt x="959" y="944"/>
                  </a:lnTo>
                  <a:lnTo>
                    <a:pt x="959" y="944"/>
                  </a:lnTo>
                  <a:lnTo>
                    <a:pt x="959" y="944"/>
                  </a:lnTo>
                  <a:lnTo>
                    <a:pt x="959" y="944"/>
                  </a:lnTo>
                  <a:lnTo>
                    <a:pt x="961" y="944"/>
                  </a:lnTo>
                  <a:lnTo>
                    <a:pt x="961" y="944"/>
                  </a:lnTo>
                  <a:lnTo>
                    <a:pt x="961" y="944"/>
                  </a:lnTo>
                  <a:lnTo>
                    <a:pt x="961" y="944"/>
                  </a:lnTo>
                  <a:lnTo>
                    <a:pt x="961" y="944"/>
                  </a:lnTo>
                  <a:lnTo>
                    <a:pt x="961" y="942"/>
                  </a:lnTo>
                  <a:lnTo>
                    <a:pt x="961" y="944"/>
                  </a:lnTo>
                  <a:lnTo>
                    <a:pt x="961" y="944"/>
                  </a:lnTo>
                  <a:lnTo>
                    <a:pt x="961" y="944"/>
                  </a:lnTo>
                  <a:lnTo>
                    <a:pt x="961" y="942"/>
                  </a:lnTo>
                  <a:lnTo>
                    <a:pt x="961" y="942"/>
                  </a:lnTo>
                  <a:lnTo>
                    <a:pt x="961" y="942"/>
                  </a:lnTo>
                  <a:lnTo>
                    <a:pt x="957" y="944"/>
                  </a:lnTo>
                  <a:lnTo>
                    <a:pt x="957" y="944"/>
                  </a:lnTo>
                  <a:lnTo>
                    <a:pt x="957" y="944"/>
                  </a:lnTo>
                  <a:lnTo>
                    <a:pt x="957" y="944"/>
                  </a:lnTo>
                  <a:lnTo>
                    <a:pt x="955" y="944"/>
                  </a:lnTo>
                  <a:lnTo>
                    <a:pt x="957" y="944"/>
                  </a:lnTo>
                  <a:lnTo>
                    <a:pt x="957" y="944"/>
                  </a:lnTo>
                  <a:lnTo>
                    <a:pt x="957" y="944"/>
                  </a:lnTo>
                  <a:lnTo>
                    <a:pt x="957" y="942"/>
                  </a:lnTo>
                  <a:lnTo>
                    <a:pt x="957" y="942"/>
                  </a:lnTo>
                  <a:lnTo>
                    <a:pt x="957" y="942"/>
                  </a:lnTo>
                  <a:lnTo>
                    <a:pt x="957" y="942"/>
                  </a:lnTo>
                  <a:lnTo>
                    <a:pt x="959" y="940"/>
                  </a:lnTo>
                  <a:lnTo>
                    <a:pt x="959" y="940"/>
                  </a:lnTo>
                  <a:lnTo>
                    <a:pt x="959" y="940"/>
                  </a:lnTo>
                  <a:lnTo>
                    <a:pt x="959" y="940"/>
                  </a:lnTo>
                  <a:lnTo>
                    <a:pt x="959" y="937"/>
                  </a:lnTo>
                  <a:lnTo>
                    <a:pt x="959" y="937"/>
                  </a:lnTo>
                  <a:lnTo>
                    <a:pt x="959" y="937"/>
                  </a:lnTo>
                  <a:lnTo>
                    <a:pt x="959" y="937"/>
                  </a:lnTo>
                  <a:lnTo>
                    <a:pt x="959" y="937"/>
                  </a:lnTo>
                  <a:lnTo>
                    <a:pt x="957" y="937"/>
                  </a:lnTo>
                  <a:lnTo>
                    <a:pt x="957" y="937"/>
                  </a:lnTo>
                  <a:lnTo>
                    <a:pt x="957" y="937"/>
                  </a:lnTo>
                  <a:lnTo>
                    <a:pt x="957" y="937"/>
                  </a:lnTo>
                  <a:lnTo>
                    <a:pt x="957" y="940"/>
                  </a:lnTo>
                  <a:lnTo>
                    <a:pt x="955" y="940"/>
                  </a:lnTo>
                  <a:lnTo>
                    <a:pt x="955" y="940"/>
                  </a:lnTo>
                  <a:lnTo>
                    <a:pt x="955" y="940"/>
                  </a:lnTo>
                  <a:lnTo>
                    <a:pt x="955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0"/>
                  </a:lnTo>
                  <a:lnTo>
                    <a:pt x="952" y="942"/>
                  </a:lnTo>
                  <a:lnTo>
                    <a:pt x="952" y="942"/>
                  </a:lnTo>
                  <a:lnTo>
                    <a:pt x="952" y="942"/>
                  </a:lnTo>
                  <a:lnTo>
                    <a:pt x="952" y="942"/>
                  </a:lnTo>
                  <a:lnTo>
                    <a:pt x="952" y="942"/>
                  </a:lnTo>
                  <a:lnTo>
                    <a:pt x="952" y="942"/>
                  </a:lnTo>
                  <a:lnTo>
                    <a:pt x="952" y="944"/>
                  </a:lnTo>
                  <a:lnTo>
                    <a:pt x="952" y="944"/>
                  </a:lnTo>
                  <a:lnTo>
                    <a:pt x="952" y="944"/>
                  </a:lnTo>
                  <a:lnTo>
                    <a:pt x="952" y="944"/>
                  </a:lnTo>
                  <a:lnTo>
                    <a:pt x="952" y="944"/>
                  </a:lnTo>
                  <a:lnTo>
                    <a:pt x="952" y="944"/>
                  </a:lnTo>
                  <a:lnTo>
                    <a:pt x="952" y="944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5" y="946"/>
                  </a:lnTo>
                  <a:lnTo>
                    <a:pt x="955" y="946"/>
                  </a:lnTo>
                  <a:lnTo>
                    <a:pt x="955" y="946"/>
                  </a:lnTo>
                  <a:lnTo>
                    <a:pt x="955" y="946"/>
                  </a:lnTo>
                  <a:lnTo>
                    <a:pt x="955" y="949"/>
                  </a:lnTo>
                  <a:lnTo>
                    <a:pt x="955" y="949"/>
                  </a:lnTo>
                  <a:lnTo>
                    <a:pt x="955" y="946"/>
                  </a:lnTo>
                  <a:lnTo>
                    <a:pt x="952" y="946"/>
                  </a:lnTo>
                  <a:lnTo>
                    <a:pt x="952" y="946"/>
                  </a:lnTo>
                  <a:lnTo>
                    <a:pt x="952" y="949"/>
                  </a:lnTo>
                  <a:lnTo>
                    <a:pt x="952" y="949"/>
                  </a:lnTo>
                  <a:lnTo>
                    <a:pt x="952" y="949"/>
                  </a:lnTo>
                  <a:lnTo>
                    <a:pt x="952" y="949"/>
                  </a:lnTo>
                  <a:lnTo>
                    <a:pt x="952" y="949"/>
                  </a:lnTo>
                  <a:lnTo>
                    <a:pt x="952" y="949"/>
                  </a:lnTo>
                  <a:lnTo>
                    <a:pt x="952" y="949"/>
                  </a:lnTo>
                  <a:lnTo>
                    <a:pt x="950" y="949"/>
                  </a:lnTo>
                  <a:lnTo>
                    <a:pt x="950" y="949"/>
                  </a:lnTo>
                  <a:lnTo>
                    <a:pt x="950" y="949"/>
                  </a:lnTo>
                  <a:lnTo>
                    <a:pt x="950" y="949"/>
                  </a:lnTo>
                  <a:lnTo>
                    <a:pt x="950" y="949"/>
                  </a:lnTo>
                  <a:lnTo>
                    <a:pt x="950" y="949"/>
                  </a:lnTo>
                  <a:lnTo>
                    <a:pt x="950" y="951"/>
                  </a:lnTo>
                  <a:lnTo>
                    <a:pt x="950" y="951"/>
                  </a:lnTo>
                  <a:lnTo>
                    <a:pt x="948" y="951"/>
                  </a:lnTo>
                  <a:lnTo>
                    <a:pt x="948" y="951"/>
                  </a:lnTo>
                  <a:lnTo>
                    <a:pt x="948" y="953"/>
                  </a:lnTo>
                  <a:lnTo>
                    <a:pt x="948" y="951"/>
                  </a:lnTo>
                  <a:lnTo>
                    <a:pt x="948" y="951"/>
                  </a:lnTo>
                  <a:lnTo>
                    <a:pt x="946" y="951"/>
                  </a:lnTo>
                  <a:lnTo>
                    <a:pt x="946" y="951"/>
                  </a:lnTo>
                  <a:lnTo>
                    <a:pt x="946" y="951"/>
                  </a:lnTo>
                  <a:lnTo>
                    <a:pt x="946" y="953"/>
                  </a:lnTo>
                  <a:lnTo>
                    <a:pt x="946" y="953"/>
                  </a:lnTo>
                  <a:lnTo>
                    <a:pt x="946" y="953"/>
                  </a:lnTo>
                  <a:lnTo>
                    <a:pt x="946" y="953"/>
                  </a:lnTo>
                  <a:lnTo>
                    <a:pt x="946" y="955"/>
                  </a:lnTo>
                  <a:lnTo>
                    <a:pt x="946" y="955"/>
                  </a:lnTo>
                  <a:lnTo>
                    <a:pt x="946" y="955"/>
                  </a:lnTo>
                  <a:lnTo>
                    <a:pt x="943" y="955"/>
                  </a:lnTo>
                  <a:lnTo>
                    <a:pt x="943" y="958"/>
                  </a:lnTo>
                  <a:lnTo>
                    <a:pt x="941" y="958"/>
                  </a:lnTo>
                  <a:lnTo>
                    <a:pt x="941" y="960"/>
                  </a:lnTo>
                  <a:lnTo>
                    <a:pt x="941" y="960"/>
                  </a:lnTo>
                  <a:lnTo>
                    <a:pt x="939" y="960"/>
                  </a:lnTo>
                  <a:lnTo>
                    <a:pt x="939" y="960"/>
                  </a:lnTo>
                  <a:lnTo>
                    <a:pt x="939" y="960"/>
                  </a:lnTo>
                  <a:lnTo>
                    <a:pt x="934" y="962"/>
                  </a:lnTo>
                  <a:lnTo>
                    <a:pt x="934" y="962"/>
                  </a:lnTo>
                  <a:lnTo>
                    <a:pt x="934" y="962"/>
                  </a:lnTo>
                  <a:lnTo>
                    <a:pt x="932" y="962"/>
                  </a:lnTo>
                  <a:lnTo>
                    <a:pt x="932" y="962"/>
                  </a:lnTo>
                  <a:lnTo>
                    <a:pt x="930" y="962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30" y="964"/>
                  </a:lnTo>
                  <a:lnTo>
                    <a:pt x="932" y="962"/>
                  </a:lnTo>
                  <a:lnTo>
                    <a:pt x="932" y="962"/>
                  </a:lnTo>
                  <a:lnTo>
                    <a:pt x="930" y="964"/>
                  </a:lnTo>
                  <a:lnTo>
                    <a:pt x="928" y="964"/>
                  </a:lnTo>
                  <a:lnTo>
                    <a:pt x="925" y="967"/>
                  </a:lnTo>
                  <a:lnTo>
                    <a:pt x="925" y="967"/>
                  </a:lnTo>
                  <a:lnTo>
                    <a:pt x="923" y="967"/>
                  </a:lnTo>
                  <a:lnTo>
                    <a:pt x="921" y="969"/>
                  </a:lnTo>
                  <a:lnTo>
                    <a:pt x="921" y="969"/>
                  </a:lnTo>
                  <a:lnTo>
                    <a:pt x="921" y="969"/>
                  </a:lnTo>
                  <a:lnTo>
                    <a:pt x="923" y="967"/>
                  </a:lnTo>
                  <a:lnTo>
                    <a:pt x="925" y="967"/>
                  </a:lnTo>
                  <a:lnTo>
                    <a:pt x="925" y="967"/>
                  </a:lnTo>
                  <a:lnTo>
                    <a:pt x="928" y="967"/>
                  </a:lnTo>
                  <a:lnTo>
                    <a:pt x="928" y="964"/>
                  </a:lnTo>
                  <a:lnTo>
                    <a:pt x="928" y="964"/>
                  </a:lnTo>
                  <a:lnTo>
                    <a:pt x="925" y="964"/>
                  </a:lnTo>
                  <a:lnTo>
                    <a:pt x="925" y="964"/>
                  </a:lnTo>
                  <a:lnTo>
                    <a:pt x="925" y="964"/>
                  </a:lnTo>
                  <a:lnTo>
                    <a:pt x="925" y="964"/>
                  </a:lnTo>
                  <a:lnTo>
                    <a:pt x="925" y="964"/>
                  </a:lnTo>
                  <a:lnTo>
                    <a:pt x="923" y="967"/>
                  </a:lnTo>
                  <a:lnTo>
                    <a:pt x="921" y="967"/>
                  </a:lnTo>
                  <a:lnTo>
                    <a:pt x="921" y="967"/>
                  </a:lnTo>
                  <a:lnTo>
                    <a:pt x="921" y="967"/>
                  </a:lnTo>
                  <a:lnTo>
                    <a:pt x="923" y="967"/>
                  </a:lnTo>
                  <a:lnTo>
                    <a:pt x="923" y="967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1" y="964"/>
                  </a:lnTo>
                  <a:lnTo>
                    <a:pt x="921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3" y="964"/>
                  </a:lnTo>
                  <a:lnTo>
                    <a:pt x="921" y="964"/>
                  </a:lnTo>
                  <a:lnTo>
                    <a:pt x="921" y="964"/>
                  </a:lnTo>
                  <a:lnTo>
                    <a:pt x="921" y="964"/>
                  </a:lnTo>
                  <a:lnTo>
                    <a:pt x="921" y="964"/>
                  </a:lnTo>
                  <a:lnTo>
                    <a:pt x="921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2"/>
                  </a:lnTo>
                  <a:lnTo>
                    <a:pt x="919" y="962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9" y="964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4"/>
                  </a:lnTo>
                  <a:lnTo>
                    <a:pt x="916" y="967"/>
                  </a:lnTo>
                  <a:lnTo>
                    <a:pt x="916" y="964"/>
                  </a:lnTo>
                  <a:lnTo>
                    <a:pt x="916" y="964"/>
                  </a:lnTo>
                  <a:lnTo>
                    <a:pt x="916" y="964"/>
                  </a:lnTo>
                  <a:lnTo>
                    <a:pt x="916" y="964"/>
                  </a:lnTo>
                  <a:lnTo>
                    <a:pt x="916" y="964"/>
                  </a:lnTo>
                  <a:lnTo>
                    <a:pt x="916" y="964"/>
                  </a:lnTo>
                  <a:lnTo>
                    <a:pt x="916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2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4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4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7"/>
                  </a:lnTo>
                  <a:lnTo>
                    <a:pt x="916" y="969"/>
                  </a:lnTo>
                  <a:lnTo>
                    <a:pt x="914" y="969"/>
                  </a:lnTo>
                  <a:lnTo>
                    <a:pt x="914" y="969"/>
                  </a:lnTo>
                  <a:lnTo>
                    <a:pt x="914" y="969"/>
                  </a:lnTo>
                  <a:lnTo>
                    <a:pt x="914" y="969"/>
                  </a:lnTo>
                  <a:lnTo>
                    <a:pt x="914" y="969"/>
                  </a:lnTo>
                  <a:lnTo>
                    <a:pt x="916" y="969"/>
                  </a:lnTo>
                  <a:lnTo>
                    <a:pt x="916" y="969"/>
                  </a:lnTo>
                  <a:lnTo>
                    <a:pt x="916" y="969"/>
                  </a:lnTo>
                  <a:lnTo>
                    <a:pt x="916" y="969"/>
                  </a:lnTo>
                  <a:lnTo>
                    <a:pt x="916" y="969"/>
                  </a:lnTo>
                  <a:lnTo>
                    <a:pt x="916" y="971"/>
                  </a:lnTo>
                  <a:lnTo>
                    <a:pt x="914" y="971"/>
                  </a:lnTo>
                  <a:lnTo>
                    <a:pt x="914" y="971"/>
                  </a:lnTo>
                  <a:lnTo>
                    <a:pt x="914" y="971"/>
                  </a:lnTo>
                  <a:lnTo>
                    <a:pt x="912" y="973"/>
                  </a:lnTo>
                  <a:lnTo>
                    <a:pt x="912" y="973"/>
                  </a:lnTo>
                  <a:lnTo>
                    <a:pt x="910" y="973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69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10" y="971"/>
                  </a:lnTo>
                  <a:lnTo>
                    <a:pt x="907" y="971"/>
                  </a:lnTo>
                  <a:lnTo>
                    <a:pt x="907" y="971"/>
                  </a:lnTo>
                  <a:lnTo>
                    <a:pt x="907" y="971"/>
                  </a:lnTo>
                  <a:lnTo>
                    <a:pt x="910" y="971"/>
                  </a:lnTo>
                  <a:lnTo>
                    <a:pt x="910" y="973"/>
                  </a:lnTo>
                  <a:lnTo>
                    <a:pt x="910" y="973"/>
                  </a:lnTo>
                  <a:lnTo>
                    <a:pt x="907" y="973"/>
                  </a:lnTo>
                  <a:lnTo>
                    <a:pt x="907" y="973"/>
                  </a:lnTo>
                  <a:lnTo>
                    <a:pt x="907" y="973"/>
                  </a:lnTo>
                  <a:lnTo>
                    <a:pt x="907" y="976"/>
                  </a:lnTo>
                  <a:lnTo>
                    <a:pt x="907" y="976"/>
                  </a:lnTo>
                  <a:lnTo>
                    <a:pt x="907" y="976"/>
                  </a:lnTo>
                  <a:lnTo>
                    <a:pt x="905" y="976"/>
                  </a:lnTo>
                  <a:lnTo>
                    <a:pt x="905" y="978"/>
                  </a:lnTo>
                  <a:lnTo>
                    <a:pt x="905" y="978"/>
                  </a:lnTo>
                  <a:lnTo>
                    <a:pt x="905" y="978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3"/>
                  </a:lnTo>
                  <a:lnTo>
                    <a:pt x="905" y="973"/>
                  </a:lnTo>
                  <a:lnTo>
                    <a:pt x="905" y="973"/>
                  </a:lnTo>
                  <a:lnTo>
                    <a:pt x="905" y="973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5" y="976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3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6"/>
                  </a:lnTo>
                  <a:lnTo>
                    <a:pt x="901" y="978"/>
                  </a:lnTo>
                  <a:lnTo>
                    <a:pt x="901" y="978"/>
                  </a:lnTo>
                  <a:lnTo>
                    <a:pt x="898" y="978"/>
                  </a:lnTo>
                  <a:lnTo>
                    <a:pt x="898" y="978"/>
                  </a:lnTo>
                  <a:lnTo>
                    <a:pt x="898" y="978"/>
                  </a:lnTo>
                  <a:lnTo>
                    <a:pt x="898" y="978"/>
                  </a:lnTo>
                  <a:lnTo>
                    <a:pt x="898" y="978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78"/>
                  </a:lnTo>
                  <a:lnTo>
                    <a:pt x="901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78"/>
                  </a:lnTo>
                  <a:lnTo>
                    <a:pt x="903" y="980"/>
                  </a:lnTo>
                  <a:lnTo>
                    <a:pt x="903" y="980"/>
                  </a:lnTo>
                  <a:lnTo>
                    <a:pt x="903" y="980"/>
                  </a:lnTo>
                  <a:lnTo>
                    <a:pt x="903" y="980"/>
                  </a:lnTo>
                  <a:lnTo>
                    <a:pt x="903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0"/>
                  </a:lnTo>
                  <a:lnTo>
                    <a:pt x="901" y="982"/>
                  </a:lnTo>
                  <a:lnTo>
                    <a:pt x="898" y="985"/>
                  </a:lnTo>
                  <a:lnTo>
                    <a:pt x="898" y="985"/>
                  </a:lnTo>
                  <a:lnTo>
                    <a:pt x="896" y="985"/>
                  </a:lnTo>
                  <a:lnTo>
                    <a:pt x="896" y="985"/>
                  </a:lnTo>
                  <a:lnTo>
                    <a:pt x="898" y="985"/>
                  </a:lnTo>
                  <a:lnTo>
                    <a:pt x="896" y="985"/>
                  </a:lnTo>
                  <a:lnTo>
                    <a:pt x="896" y="982"/>
                  </a:lnTo>
                  <a:lnTo>
                    <a:pt x="896" y="982"/>
                  </a:lnTo>
                  <a:lnTo>
                    <a:pt x="896" y="982"/>
                  </a:lnTo>
                  <a:lnTo>
                    <a:pt x="896" y="982"/>
                  </a:lnTo>
                  <a:lnTo>
                    <a:pt x="896" y="985"/>
                  </a:lnTo>
                  <a:lnTo>
                    <a:pt x="894" y="985"/>
                  </a:lnTo>
                  <a:lnTo>
                    <a:pt x="894" y="982"/>
                  </a:lnTo>
                  <a:lnTo>
                    <a:pt x="894" y="982"/>
                  </a:lnTo>
                  <a:lnTo>
                    <a:pt x="894" y="982"/>
                  </a:lnTo>
                  <a:lnTo>
                    <a:pt x="894" y="982"/>
                  </a:lnTo>
                  <a:lnTo>
                    <a:pt x="894" y="982"/>
                  </a:lnTo>
                  <a:lnTo>
                    <a:pt x="894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5"/>
                  </a:lnTo>
                  <a:lnTo>
                    <a:pt x="892" y="985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2"/>
                  </a:lnTo>
                  <a:lnTo>
                    <a:pt x="892" y="985"/>
                  </a:lnTo>
                  <a:lnTo>
                    <a:pt x="892" y="985"/>
                  </a:lnTo>
                  <a:lnTo>
                    <a:pt x="892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5"/>
                  </a:lnTo>
                  <a:lnTo>
                    <a:pt x="894" y="987"/>
                  </a:lnTo>
                  <a:lnTo>
                    <a:pt x="894" y="987"/>
                  </a:lnTo>
                  <a:lnTo>
                    <a:pt x="896" y="987"/>
                  </a:lnTo>
                  <a:lnTo>
                    <a:pt x="896" y="987"/>
                  </a:lnTo>
                  <a:lnTo>
                    <a:pt x="896" y="987"/>
                  </a:lnTo>
                  <a:lnTo>
                    <a:pt x="896" y="989"/>
                  </a:lnTo>
                  <a:lnTo>
                    <a:pt x="894" y="989"/>
                  </a:lnTo>
                  <a:lnTo>
                    <a:pt x="894" y="989"/>
                  </a:lnTo>
                  <a:lnTo>
                    <a:pt x="894" y="989"/>
                  </a:lnTo>
                  <a:lnTo>
                    <a:pt x="894" y="989"/>
                  </a:lnTo>
                  <a:lnTo>
                    <a:pt x="894" y="989"/>
                  </a:lnTo>
                  <a:lnTo>
                    <a:pt x="894" y="991"/>
                  </a:lnTo>
                  <a:lnTo>
                    <a:pt x="894" y="991"/>
                  </a:lnTo>
                  <a:lnTo>
                    <a:pt x="892" y="991"/>
                  </a:lnTo>
                  <a:lnTo>
                    <a:pt x="892" y="994"/>
                  </a:lnTo>
                  <a:lnTo>
                    <a:pt x="892" y="994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8"/>
                  </a:lnTo>
                  <a:lnTo>
                    <a:pt x="887" y="998"/>
                  </a:lnTo>
                  <a:lnTo>
                    <a:pt x="887" y="998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6"/>
                  </a:lnTo>
                  <a:lnTo>
                    <a:pt x="889" y="994"/>
                  </a:lnTo>
                  <a:lnTo>
                    <a:pt x="889" y="994"/>
                  </a:lnTo>
                  <a:lnTo>
                    <a:pt x="889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7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4"/>
                  </a:lnTo>
                  <a:lnTo>
                    <a:pt x="885" y="994"/>
                  </a:lnTo>
                  <a:lnTo>
                    <a:pt x="885" y="994"/>
                  </a:lnTo>
                  <a:lnTo>
                    <a:pt x="885" y="994"/>
                  </a:lnTo>
                  <a:lnTo>
                    <a:pt x="885" y="994"/>
                  </a:lnTo>
                  <a:lnTo>
                    <a:pt x="885" y="994"/>
                  </a:lnTo>
                  <a:lnTo>
                    <a:pt x="885" y="994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6"/>
                  </a:lnTo>
                  <a:lnTo>
                    <a:pt x="885" y="998"/>
                  </a:lnTo>
                  <a:lnTo>
                    <a:pt x="885" y="998"/>
                  </a:lnTo>
                  <a:lnTo>
                    <a:pt x="883" y="996"/>
                  </a:lnTo>
                  <a:lnTo>
                    <a:pt x="883" y="996"/>
                  </a:lnTo>
                  <a:lnTo>
                    <a:pt x="883" y="998"/>
                  </a:lnTo>
                  <a:lnTo>
                    <a:pt x="883" y="998"/>
                  </a:lnTo>
                  <a:lnTo>
                    <a:pt x="885" y="998"/>
                  </a:lnTo>
                  <a:lnTo>
                    <a:pt x="885" y="998"/>
                  </a:lnTo>
                  <a:lnTo>
                    <a:pt x="885" y="998"/>
                  </a:lnTo>
                  <a:lnTo>
                    <a:pt x="885" y="998"/>
                  </a:lnTo>
                  <a:lnTo>
                    <a:pt x="887" y="998"/>
                  </a:lnTo>
                  <a:lnTo>
                    <a:pt x="887" y="998"/>
                  </a:lnTo>
                  <a:lnTo>
                    <a:pt x="887" y="998"/>
                  </a:lnTo>
                  <a:lnTo>
                    <a:pt x="887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998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9" y="1000"/>
                  </a:lnTo>
                  <a:lnTo>
                    <a:pt x="887" y="1000"/>
                  </a:lnTo>
                  <a:lnTo>
                    <a:pt x="887" y="1000"/>
                  </a:lnTo>
                  <a:lnTo>
                    <a:pt x="887" y="1003"/>
                  </a:lnTo>
                  <a:lnTo>
                    <a:pt x="887" y="1003"/>
                  </a:lnTo>
                  <a:lnTo>
                    <a:pt x="887" y="1003"/>
                  </a:lnTo>
                  <a:lnTo>
                    <a:pt x="887" y="1003"/>
                  </a:lnTo>
                  <a:lnTo>
                    <a:pt x="887" y="1003"/>
                  </a:lnTo>
                  <a:lnTo>
                    <a:pt x="887" y="1003"/>
                  </a:lnTo>
                  <a:lnTo>
                    <a:pt x="887" y="1003"/>
                  </a:lnTo>
                  <a:lnTo>
                    <a:pt x="887" y="1005"/>
                  </a:lnTo>
                  <a:lnTo>
                    <a:pt x="885" y="1005"/>
                  </a:lnTo>
                  <a:lnTo>
                    <a:pt x="885" y="1005"/>
                  </a:lnTo>
                  <a:lnTo>
                    <a:pt x="885" y="1005"/>
                  </a:lnTo>
                  <a:lnTo>
                    <a:pt x="885" y="1005"/>
                  </a:lnTo>
                  <a:lnTo>
                    <a:pt x="885" y="1005"/>
                  </a:lnTo>
                  <a:lnTo>
                    <a:pt x="885" y="1007"/>
                  </a:lnTo>
                  <a:lnTo>
                    <a:pt x="887" y="1007"/>
                  </a:lnTo>
                  <a:lnTo>
                    <a:pt x="887" y="1007"/>
                  </a:lnTo>
                  <a:lnTo>
                    <a:pt x="887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7"/>
                  </a:lnTo>
                  <a:lnTo>
                    <a:pt x="885" y="1009"/>
                  </a:lnTo>
                  <a:lnTo>
                    <a:pt x="887" y="1009"/>
                  </a:lnTo>
                  <a:lnTo>
                    <a:pt x="887" y="1009"/>
                  </a:lnTo>
                  <a:lnTo>
                    <a:pt x="887" y="1009"/>
                  </a:lnTo>
                  <a:lnTo>
                    <a:pt x="887" y="1009"/>
                  </a:lnTo>
                  <a:lnTo>
                    <a:pt x="887" y="1012"/>
                  </a:lnTo>
                  <a:lnTo>
                    <a:pt x="887" y="1014"/>
                  </a:lnTo>
                  <a:lnTo>
                    <a:pt x="887" y="1016"/>
                  </a:lnTo>
                  <a:lnTo>
                    <a:pt x="887" y="1016"/>
                  </a:lnTo>
                  <a:lnTo>
                    <a:pt x="887" y="1016"/>
                  </a:lnTo>
                  <a:lnTo>
                    <a:pt x="887" y="1016"/>
                  </a:lnTo>
                  <a:lnTo>
                    <a:pt x="887" y="1016"/>
                  </a:lnTo>
                  <a:lnTo>
                    <a:pt x="885" y="1016"/>
                  </a:lnTo>
                  <a:lnTo>
                    <a:pt x="885" y="1016"/>
                  </a:lnTo>
                  <a:lnTo>
                    <a:pt x="885" y="1016"/>
                  </a:lnTo>
                  <a:lnTo>
                    <a:pt x="885" y="1016"/>
                  </a:lnTo>
                  <a:lnTo>
                    <a:pt x="885" y="1016"/>
                  </a:lnTo>
                  <a:lnTo>
                    <a:pt x="885" y="1016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5" y="1018"/>
                  </a:lnTo>
                  <a:lnTo>
                    <a:pt x="887" y="1018"/>
                  </a:lnTo>
                  <a:lnTo>
                    <a:pt x="887" y="1018"/>
                  </a:lnTo>
                  <a:lnTo>
                    <a:pt x="887" y="1018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18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1"/>
                  </a:lnTo>
                  <a:lnTo>
                    <a:pt x="887" y="1023"/>
                  </a:lnTo>
                  <a:lnTo>
                    <a:pt x="887" y="1023"/>
                  </a:lnTo>
                  <a:lnTo>
                    <a:pt x="887" y="1023"/>
                  </a:lnTo>
                  <a:lnTo>
                    <a:pt x="887" y="1023"/>
                  </a:lnTo>
                  <a:lnTo>
                    <a:pt x="887" y="1023"/>
                  </a:lnTo>
                  <a:lnTo>
                    <a:pt x="887" y="1023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7" y="1025"/>
                  </a:lnTo>
                  <a:lnTo>
                    <a:pt x="889" y="1025"/>
                  </a:lnTo>
                  <a:lnTo>
                    <a:pt x="889" y="1025"/>
                  </a:lnTo>
                  <a:lnTo>
                    <a:pt x="887" y="1025"/>
                  </a:lnTo>
                  <a:lnTo>
                    <a:pt x="887" y="1027"/>
                  </a:lnTo>
                  <a:lnTo>
                    <a:pt x="887" y="1025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7" y="1027"/>
                  </a:lnTo>
                  <a:lnTo>
                    <a:pt x="889" y="1027"/>
                  </a:lnTo>
                  <a:lnTo>
                    <a:pt x="889" y="1027"/>
                  </a:lnTo>
                  <a:lnTo>
                    <a:pt x="889" y="1027"/>
                  </a:lnTo>
                  <a:lnTo>
                    <a:pt x="889" y="1027"/>
                  </a:lnTo>
                  <a:lnTo>
                    <a:pt x="889" y="1025"/>
                  </a:lnTo>
                  <a:lnTo>
                    <a:pt x="889" y="1025"/>
                  </a:lnTo>
                  <a:lnTo>
                    <a:pt x="889" y="1025"/>
                  </a:lnTo>
                  <a:lnTo>
                    <a:pt x="889" y="1027"/>
                  </a:lnTo>
                  <a:lnTo>
                    <a:pt x="889" y="1027"/>
                  </a:lnTo>
                  <a:lnTo>
                    <a:pt x="889" y="1027"/>
                  </a:lnTo>
                  <a:lnTo>
                    <a:pt x="889" y="1030"/>
                  </a:lnTo>
                  <a:lnTo>
                    <a:pt x="887" y="1030"/>
                  </a:lnTo>
                  <a:lnTo>
                    <a:pt x="887" y="1030"/>
                  </a:lnTo>
                  <a:lnTo>
                    <a:pt x="887" y="1030"/>
                  </a:lnTo>
                  <a:lnTo>
                    <a:pt x="887" y="1030"/>
                  </a:lnTo>
                  <a:lnTo>
                    <a:pt x="887" y="1030"/>
                  </a:lnTo>
                  <a:lnTo>
                    <a:pt x="885" y="1030"/>
                  </a:lnTo>
                  <a:lnTo>
                    <a:pt x="885" y="1030"/>
                  </a:lnTo>
                  <a:lnTo>
                    <a:pt x="885" y="1030"/>
                  </a:lnTo>
                  <a:lnTo>
                    <a:pt x="885" y="1030"/>
                  </a:lnTo>
                  <a:lnTo>
                    <a:pt x="885" y="1030"/>
                  </a:lnTo>
                  <a:lnTo>
                    <a:pt x="885" y="1032"/>
                  </a:lnTo>
                  <a:lnTo>
                    <a:pt x="885" y="1032"/>
                  </a:lnTo>
                  <a:lnTo>
                    <a:pt x="885" y="1032"/>
                  </a:lnTo>
                  <a:lnTo>
                    <a:pt x="885" y="1032"/>
                  </a:lnTo>
                  <a:lnTo>
                    <a:pt x="885" y="1032"/>
                  </a:lnTo>
                  <a:lnTo>
                    <a:pt x="885" y="1032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3" y="1032"/>
                  </a:lnTo>
                  <a:lnTo>
                    <a:pt x="883" y="1030"/>
                  </a:lnTo>
                  <a:lnTo>
                    <a:pt x="883" y="1030"/>
                  </a:lnTo>
                  <a:lnTo>
                    <a:pt x="883" y="1030"/>
                  </a:lnTo>
                  <a:lnTo>
                    <a:pt x="883" y="1030"/>
                  </a:lnTo>
                  <a:lnTo>
                    <a:pt x="883" y="1030"/>
                  </a:lnTo>
                  <a:lnTo>
                    <a:pt x="880" y="1030"/>
                  </a:lnTo>
                  <a:lnTo>
                    <a:pt x="880" y="1030"/>
                  </a:lnTo>
                  <a:lnTo>
                    <a:pt x="880" y="1030"/>
                  </a:lnTo>
                  <a:lnTo>
                    <a:pt x="880" y="1027"/>
                  </a:lnTo>
                  <a:lnTo>
                    <a:pt x="880" y="1027"/>
                  </a:lnTo>
                  <a:lnTo>
                    <a:pt x="880" y="1027"/>
                  </a:lnTo>
                  <a:lnTo>
                    <a:pt x="880" y="1027"/>
                  </a:lnTo>
                  <a:lnTo>
                    <a:pt x="878" y="1027"/>
                  </a:lnTo>
                  <a:lnTo>
                    <a:pt x="878" y="1027"/>
                  </a:lnTo>
                  <a:lnTo>
                    <a:pt x="876" y="1027"/>
                  </a:lnTo>
                  <a:lnTo>
                    <a:pt x="876" y="1027"/>
                  </a:lnTo>
                  <a:lnTo>
                    <a:pt x="876" y="1027"/>
                  </a:lnTo>
                  <a:lnTo>
                    <a:pt x="876" y="1027"/>
                  </a:lnTo>
                  <a:lnTo>
                    <a:pt x="874" y="1027"/>
                  </a:lnTo>
                  <a:lnTo>
                    <a:pt x="874" y="1027"/>
                  </a:lnTo>
                  <a:lnTo>
                    <a:pt x="871" y="1027"/>
                  </a:lnTo>
                  <a:lnTo>
                    <a:pt x="871" y="1027"/>
                  </a:lnTo>
                  <a:lnTo>
                    <a:pt x="871" y="1027"/>
                  </a:lnTo>
                  <a:lnTo>
                    <a:pt x="871" y="1027"/>
                  </a:lnTo>
                  <a:lnTo>
                    <a:pt x="871" y="1027"/>
                  </a:lnTo>
                  <a:lnTo>
                    <a:pt x="871" y="1025"/>
                  </a:lnTo>
                  <a:lnTo>
                    <a:pt x="869" y="1025"/>
                  </a:lnTo>
                  <a:lnTo>
                    <a:pt x="869" y="1027"/>
                  </a:lnTo>
                  <a:lnTo>
                    <a:pt x="869" y="1027"/>
                  </a:lnTo>
                  <a:lnTo>
                    <a:pt x="867" y="1025"/>
                  </a:lnTo>
                  <a:lnTo>
                    <a:pt x="867" y="1025"/>
                  </a:lnTo>
                  <a:lnTo>
                    <a:pt x="867" y="1025"/>
                  </a:lnTo>
                  <a:lnTo>
                    <a:pt x="865" y="1025"/>
                  </a:lnTo>
                  <a:lnTo>
                    <a:pt x="865" y="1025"/>
                  </a:lnTo>
                  <a:lnTo>
                    <a:pt x="865" y="1025"/>
                  </a:lnTo>
                  <a:lnTo>
                    <a:pt x="865" y="1023"/>
                  </a:lnTo>
                  <a:lnTo>
                    <a:pt x="865" y="1023"/>
                  </a:lnTo>
                  <a:lnTo>
                    <a:pt x="865" y="1023"/>
                  </a:lnTo>
                  <a:lnTo>
                    <a:pt x="865" y="1023"/>
                  </a:lnTo>
                  <a:lnTo>
                    <a:pt x="865" y="1023"/>
                  </a:lnTo>
                  <a:lnTo>
                    <a:pt x="865" y="1023"/>
                  </a:lnTo>
                  <a:lnTo>
                    <a:pt x="862" y="1023"/>
                  </a:lnTo>
                  <a:lnTo>
                    <a:pt x="862" y="1023"/>
                  </a:lnTo>
                  <a:lnTo>
                    <a:pt x="862" y="1023"/>
                  </a:lnTo>
                  <a:lnTo>
                    <a:pt x="862" y="1023"/>
                  </a:lnTo>
                  <a:lnTo>
                    <a:pt x="860" y="1021"/>
                  </a:lnTo>
                  <a:lnTo>
                    <a:pt x="860" y="1023"/>
                  </a:lnTo>
                  <a:lnTo>
                    <a:pt x="860" y="1023"/>
                  </a:lnTo>
                  <a:lnTo>
                    <a:pt x="860" y="1023"/>
                  </a:lnTo>
                  <a:lnTo>
                    <a:pt x="860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60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58" y="1021"/>
                  </a:lnTo>
                  <a:lnTo>
                    <a:pt x="858" y="1018"/>
                  </a:lnTo>
                  <a:lnTo>
                    <a:pt x="858" y="1018"/>
                  </a:lnTo>
                  <a:lnTo>
                    <a:pt x="858" y="1018"/>
                  </a:lnTo>
                  <a:lnTo>
                    <a:pt x="858" y="1018"/>
                  </a:lnTo>
                  <a:lnTo>
                    <a:pt x="858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6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3" y="1018"/>
                  </a:lnTo>
                  <a:lnTo>
                    <a:pt x="851" y="1018"/>
                  </a:lnTo>
                  <a:lnTo>
                    <a:pt x="851" y="1018"/>
                  </a:lnTo>
                  <a:lnTo>
                    <a:pt x="851" y="1018"/>
                  </a:lnTo>
                  <a:lnTo>
                    <a:pt x="851" y="1018"/>
                  </a:lnTo>
                  <a:lnTo>
                    <a:pt x="851" y="1016"/>
                  </a:lnTo>
                  <a:lnTo>
                    <a:pt x="851" y="1016"/>
                  </a:lnTo>
                  <a:lnTo>
                    <a:pt x="851" y="1016"/>
                  </a:lnTo>
                  <a:lnTo>
                    <a:pt x="851" y="1016"/>
                  </a:lnTo>
                  <a:lnTo>
                    <a:pt x="851" y="1016"/>
                  </a:lnTo>
                  <a:lnTo>
                    <a:pt x="851" y="1016"/>
                  </a:lnTo>
                  <a:lnTo>
                    <a:pt x="851" y="1016"/>
                  </a:lnTo>
                  <a:lnTo>
                    <a:pt x="851" y="1014"/>
                  </a:lnTo>
                  <a:lnTo>
                    <a:pt x="851" y="1014"/>
                  </a:lnTo>
                  <a:lnTo>
                    <a:pt x="851" y="1014"/>
                  </a:lnTo>
                  <a:lnTo>
                    <a:pt x="851" y="1014"/>
                  </a:lnTo>
                  <a:lnTo>
                    <a:pt x="851" y="1009"/>
                  </a:lnTo>
                  <a:lnTo>
                    <a:pt x="851" y="1009"/>
                  </a:lnTo>
                  <a:lnTo>
                    <a:pt x="851" y="1007"/>
                  </a:lnTo>
                  <a:lnTo>
                    <a:pt x="851" y="1007"/>
                  </a:lnTo>
                  <a:lnTo>
                    <a:pt x="849" y="1007"/>
                  </a:lnTo>
                  <a:lnTo>
                    <a:pt x="849" y="1007"/>
                  </a:lnTo>
                  <a:lnTo>
                    <a:pt x="849" y="1007"/>
                  </a:lnTo>
                  <a:lnTo>
                    <a:pt x="849" y="1005"/>
                  </a:lnTo>
                  <a:lnTo>
                    <a:pt x="849" y="1005"/>
                  </a:lnTo>
                  <a:lnTo>
                    <a:pt x="849" y="1005"/>
                  </a:lnTo>
                  <a:lnTo>
                    <a:pt x="849" y="1005"/>
                  </a:lnTo>
                  <a:lnTo>
                    <a:pt x="849" y="1005"/>
                  </a:lnTo>
                  <a:lnTo>
                    <a:pt x="849" y="1005"/>
                  </a:lnTo>
                  <a:lnTo>
                    <a:pt x="849" y="1003"/>
                  </a:lnTo>
                  <a:lnTo>
                    <a:pt x="849" y="1003"/>
                  </a:lnTo>
                  <a:lnTo>
                    <a:pt x="849" y="1003"/>
                  </a:lnTo>
                  <a:lnTo>
                    <a:pt x="849" y="1003"/>
                  </a:lnTo>
                  <a:lnTo>
                    <a:pt x="847" y="1003"/>
                  </a:lnTo>
                  <a:lnTo>
                    <a:pt x="847" y="1003"/>
                  </a:lnTo>
                  <a:lnTo>
                    <a:pt x="847" y="1003"/>
                  </a:lnTo>
                  <a:lnTo>
                    <a:pt x="849" y="1003"/>
                  </a:lnTo>
                  <a:lnTo>
                    <a:pt x="849" y="1003"/>
                  </a:lnTo>
                  <a:lnTo>
                    <a:pt x="849" y="1000"/>
                  </a:lnTo>
                  <a:lnTo>
                    <a:pt x="849" y="1000"/>
                  </a:lnTo>
                  <a:lnTo>
                    <a:pt x="849" y="1000"/>
                  </a:lnTo>
                  <a:lnTo>
                    <a:pt x="849" y="1000"/>
                  </a:lnTo>
                  <a:lnTo>
                    <a:pt x="849" y="1000"/>
                  </a:lnTo>
                  <a:lnTo>
                    <a:pt x="849" y="1000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8"/>
                  </a:lnTo>
                  <a:lnTo>
                    <a:pt x="849" y="996"/>
                  </a:lnTo>
                  <a:lnTo>
                    <a:pt x="849" y="996"/>
                  </a:lnTo>
                  <a:lnTo>
                    <a:pt x="849" y="996"/>
                  </a:lnTo>
                  <a:lnTo>
                    <a:pt x="847" y="996"/>
                  </a:lnTo>
                  <a:lnTo>
                    <a:pt x="847" y="996"/>
                  </a:lnTo>
                  <a:lnTo>
                    <a:pt x="849" y="996"/>
                  </a:lnTo>
                  <a:lnTo>
                    <a:pt x="849" y="996"/>
                  </a:lnTo>
                  <a:lnTo>
                    <a:pt x="849" y="996"/>
                  </a:lnTo>
                  <a:lnTo>
                    <a:pt x="849" y="996"/>
                  </a:lnTo>
                  <a:lnTo>
                    <a:pt x="849" y="994"/>
                  </a:lnTo>
                  <a:lnTo>
                    <a:pt x="849" y="994"/>
                  </a:lnTo>
                  <a:lnTo>
                    <a:pt x="849" y="994"/>
                  </a:lnTo>
                  <a:lnTo>
                    <a:pt x="849" y="994"/>
                  </a:lnTo>
                  <a:lnTo>
                    <a:pt x="849" y="994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91"/>
                  </a:lnTo>
                  <a:lnTo>
                    <a:pt x="849" y="989"/>
                  </a:lnTo>
                  <a:lnTo>
                    <a:pt x="849" y="989"/>
                  </a:lnTo>
                  <a:lnTo>
                    <a:pt x="849" y="989"/>
                  </a:lnTo>
                  <a:lnTo>
                    <a:pt x="849" y="989"/>
                  </a:lnTo>
                  <a:lnTo>
                    <a:pt x="849" y="989"/>
                  </a:lnTo>
                  <a:lnTo>
                    <a:pt x="849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7" y="989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7"/>
                  </a:lnTo>
                  <a:lnTo>
                    <a:pt x="844" y="985"/>
                  </a:lnTo>
                  <a:lnTo>
                    <a:pt x="844" y="985"/>
                  </a:lnTo>
                  <a:lnTo>
                    <a:pt x="844" y="985"/>
                  </a:lnTo>
                  <a:lnTo>
                    <a:pt x="844" y="985"/>
                  </a:lnTo>
                  <a:lnTo>
                    <a:pt x="844" y="985"/>
                  </a:lnTo>
                  <a:lnTo>
                    <a:pt x="842" y="985"/>
                  </a:lnTo>
                  <a:lnTo>
                    <a:pt x="842" y="985"/>
                  </a:lnTo>
                  <a:lnTo>
                    <a:pt x="844" y="985"/>
                  </a:lnTo>
                  <a:lnTo>
                    <a:pt x="844" y="985"/>
                  </a:lnTo>
                  <a:lnTo>
                    <a:pt x="844" y="985"/>
                  </a:lnTo>
                  <a:lnTo>
                    <a:pt x="842" y="985"/>
                  </a:lnTo>
                  <a:lnTo>
                    <a:pt x="842" y="982"/>
                  </a:lnTo>
                  <a:lnTo>
                    <a:pt x="842" y="982"/>
                  </a:lnTo>
                  <a:lnTo>
                    <a:pt x="844" y="982"/>
                  </a:lnTo>
                  <a:lnTo>
                    <a:pt x="844" y="982"/>
                  </a:lnTo>
                  <a:lnTo>
                    <a:pt x="844" y="982"/>
                  </a:lnTo>
                  <a:lnTo>
                    <a:pt x="842" y="982"/>
                  </a:lnTo>
                  <a:lnTo>
                    <a:pt x="842" y="982"/>
                  </a:lnTo>
                  <a:lnTo>
                    <a:pt x="842" y="982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80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2" y="978"/>
                  </a:lnTo>
                  <a:lnTo>
                    <a:pt x="840" y="976"/>
                  </a:lnTo>
                  <a:lnTo>
                    <a:pt x="840" y="976"/>
                  </a:lnTo>
                  <a:lnTo>
                    <a:pt x="840" y="976"/>
                  </a:lnTo>
                  <a:lnTo>
                    <a:pt x="838" y="976"/>
                  </a:lnTo>
                  <a:lnTo>
                    <a:pt x="838" y="976"/>
                  </a:lnTo>
                  <a:lnTo>
                    <a:pt x="838" y="976"/>
                  </a:lnTo>
                  <a:lnTo>
                    <a:pt x="838" y="973"/>
                  </a:lnTo>
                  <a:lnTo>
                    <a:pt x="838" y="973"/>
                  </a:lnTo>
                  <a:lnTo>
                    <a:pt x="838" y="973"/>
                  </a:lnTo>
                  <a:lnTo>
                    <a:pt x="838" y="973"/>
                  </a:lnTo>
                  <a:lnTo>
                    <a:pt x="838" y="973"/>
                  </a:lnTo>
                  <a:lnTo>
                    <a:pt x="838" y="973"/>
                  </a:lnTo>
                  <a:lnTo>
                    <a:pt x="838" y="973"/>
                  </a:lnTo>
                  <a:lnTo>
                    <a:pt x="838" y="971"/>
                  </a:lnTo>
                  <a:lnTo>
                    <a:pt x="838" y="971"/>
                  </a:lnTo>
                  <a:lnTo>
                    <a:pt x="838" y="971"/>
                  </a:lnTo>
                  <a:lnTo>
                    <a:pt x="838" y="971"/>
                  </a:lnTo>
                  <a:lnTo>
                    <a:pt x="838" y="969"/>
                  </a:lnTo>
                  <a:lnTo>
                    <a:pt x="838" y="969"/>
                  </a:lnTo>
                  <a:lnTo>
                    <a:pt x="838" y="969"/>
                  </a:lnTo>
                  <a:lnTo>
                    <a:pt x="838" y="969"/>
                  </a:lnTo>
                  <a:lnTo>
                    <a:pt x="838" y="969"/>
                  </a:lnTo>
                  <a:lnTo>
                    <a:pt x="838" y="969"/>
                  </a:lnTo>
                  <a:lnTo>
                    <a:pt x="838" y="969"/>
                  </a:lnTo>
                  <a:lnTo>
                    <a:pt x="838" y="967"/>
                  </a:lnTo>
                  <a:lnTo>
                    <a:pt x="838" y="967"/>
                  </a:lnTo>
                  <a:lnTo>
                    <a:pt x="838" y="967"/>
                  </a:lnTo>
                  <a:lnTo>
                    <a:pt x="838" y="967"/>
                  </a:lnTo>
                  <a:lnTo>
                    <a:pt x="838" y="967"/>
                  </a:lnTo>
                  <a:lnTo>
                    <a:pt x="838" y="967"/>
                  </a:lnTo>
                  <a:lnTo>
                    <a:pt x="838" y="967"/>
                  </a:lnTo>
                  <a:lnTo>
                    <a:pt x="835" y="964"/>
                  </a:lnTo>
                  <a:lnTo>
                    <a:pt x="835" y="964"/>
                  </a:lnTo>
                  <a:lnTo>
                    <a:pt x="835" y="964"/>
                  </a:lnTo>
                  <a:lnTo>
                    <a:pt x="835" y="964"/>
                  </a:lnTo>
                  <a:lnTo>
                    <a:pt x="835" y="962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60"/>
                  </a:lnTo>
                  <a:lnTo>
                    <a:pt x="835" y="958"/>
                  </a:lnTo>
                  <a:lnTo>
                    <a:pt x="835" y="958"/>
                  </a:lnTo>
                  <a:lnTo>
                    <a:pt x="833" y="958"/>
                  </a:lnTo>
                  <a:lnTo>
                    <a:pt x="833" y="958"/>
                  </a:lnTo>
                  <a:lnTo>
                    <a:pt x="833" y="958"/>
                  </a:lnTo>
                  <a:lnTo>
                    <a:pt x="833" y="958"/>
                  </a:lnTo>
                  <a:lnTo>
                    <a:pt x="833" y="958"/>
                  </a:lnTo>
                  <a:lnTo>
                    <a:pt x="833" y="958"/>
                  </a:lnTo>
                  <a:lnTo>
                    <a:pt x="835" y="958"/>
                  </a:lnTo>
                  <a:lnTo>
                    <a:pt x="835" y="955"/>
                  </a:lnTo>
                  <a:lnTo>
                    <a:pt x="835" y="955"/>
                  </a:lnTo>
                  <a:lnTo>
                    <a:pt x="835" y="953"/>
                  </a:lnTo>
                  <a:lnTo>
                    <a:pt x="835" y="953"/>
                  </a:lnTo>
                  <a:lnTo>
                    <a:pt x="833" y="953"/>
                  </a:lnTo>
                  <a:lnTo>
                    <a:pt x="833" y="953"/>
                  </a:lnTo>
                  <a:lnTo>
                    <a:pt x="833" y="953"/>
                  </a:lnTo>
                  <a:lnTo>
                    <a:pt x="833" y="953"/>
                  </a:lnTo>
                  <a:lnTo>
                    <a:pt x="833" y="953"/>
                  </a:lnTo>
                  <a:lnTo>
                    <a:pt x="833" y="953"/>
                  </a:lnTo>
                  <a:lnTo>
                    <a:pt x="833" y="951"/>
                  </a:lnTo>
                  <a:lnTo>
                    <a:pt x="833" y="951"/>
                  </a:lnTo>
                  <a:lnTo>
                    <a:pt x="833" y="951"/>
                  </a:lnTo>
                  <a:lnTo>
                    <a:pt x="833" y="951"/>
                  </a:lnTo>
                  <a:lnTo>
                    <a:pt x="833" y="951"/>
                  </a:lnTo>
                  <a:lnTo>
                    <a:pt x="831" y="949"/>
                  </a:lnTo>
                  <a:lnTo>
                    <a:pt x="831" y="949"/>
                  </a:lnTo>
                  <a:lnTo>
                    <a:pt x="831" y="949"/>
                  </a:lnTo>
                  <a:lnTo>
                    <a:pt x="831" y="949"/>
                  </a:lnTo>
                  <a:lnTo>
                    <a:pt x="829" y="949"/>
                  </a:lnTo>
                  <a:lnTo>
                    <a:pt x="829" y="946"/>
                  </a:lnTo>
                  <a:lnTo>
                    <a:pt x="829" y="946"/>
                  </a:lnTo>
                  <a:lnTo>
                    <a:pt x="829" y="946"/>
                  </a:lnTo>
                  <a:lnTo>
                    <a:pt x="829" y="946"/>
                  </a:lnTo>
                  <a:lnTo>
                    <a:pt x="829" y="946"/>
                  </a:lnTo>
                  <a:lnTo>
                    <a:pt x="829" y="946"/>
                  </a:lnTo>
                  <a:lnTo>
                    <a:pt x="829" y="946"/>
                  </a:lnTo>
                  <a:lnTo>
                    <a:pt x="829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4"/>
                  </a:lnTo>
                  <a:lnTo>
                    <a:pt x="826" y="942"/>
                  </a:lnTo>
                  <a:lnTo>
                    <a:pt x="826" y="942"/>
                  </a:lnTo>
                  <a:lnTo>
                    <a:pt x="826" y="942"/>
                  </a:lnTo>
                  <a:lnTo>
                    <a:pt x="826" y="942"/>
                  </a:lnTo>
                  <a:lnTo>
                    <a:pt x="824" y="942"/>
                  </a:lnTo>
                  <a:lnTo>
                    <a:pt x="824" y="942"/>
                  </a:lnTo>
                  <a:lnTo>
                    <a:pt x="824" y="942"/>
                  </a:lnTo>
                  <a:lnTo>
                    <a:pt x="824" y="942"/>
                  </a:lnTo>
                  <a:lnTo>
                    <a:pt x="824" y="942"/>
                  </a:lnTo>
                  <a:lnTo>
                    <a:pt x="824" y="942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40"/>
                  </a:lnTo>
                  <a:lnTo>
                    <a:pt x="824" y="937"/>
                  </a:lnTo>
                  <a:lnTo>
                    <a:pt x="824" y="937"/>
                  </a:lnTo>
                  <a:lnTo>
                    <a:pt x="824" y="937"/>
                  </a:lnTo>
                  <a:lnTo>
                    <a:pt x="824" y="937"/>
                  </a:lnTo>
                  <a:lnTo>
                    <a:pt x="824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2" y="937"/>
                  </a:lnTo>
                  <a:lnTo>
                    <a:pt x="820" y="937"/>
                  </a:lnTo>
                  <a:lnTo>
                    <a:pt x="820" y="937"/>
                  </a:lnTo>
                  <a:lnTo>
                    <a:pt x="820" y="937"/>
                  </a:lnTo>
                  <a:lnTo>
                    <a:pt x="820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5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3" y="937"/>
                  </a:lnTo>
                  <a:lnTo>
                    <a:pt x="811" y="937"/>
                  </a:lnTo>
                  <a:lnTo>
                    <a:pt x="811" y="937"/>
                  </a:lnTo>
                  <a:lnTo>
                    <a:pt x="808" y="937"/>
                  </a:lnTo>
                  <a:lnTo>
                    <a:pt x="808" y="937"/>
                  </a:lnTo>
                  <a:lnTo>
                    <a:pt x="808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6" y="935"/>
                  </a:lnTo>
                  <a:lnTo>
                    <a:pt x="804" y="935"/>
                  </a:lnTo>
                  <a:lnTo>
                    <a:pt x="804" y="935"/>
                  </a:lnTo>
                  <a:lnTo>
                    <a:pt x="804" y="935"/>
                  </a:lnTo>
                  <a:lnTo>
                    <a:pt x="804" y="937"/>
                  </a:lnTo>
                  <a:lnTo>
                    <a:pt x="804" y="937"/>
                  </a:lnTo>
                  <a:lnTo>
                    <a:pt x="804" y="937"/>
                  </a:lnTo>
                  <a:lnTo>
                    <a:pt x="804" y="937"/>
                  </a:lnTo>
                  <a:lnTo>
                    <a:pt x="802" y="937"/>
                  </a:lnTo>
                  <a:lnTo>
                    <a:pt x="802" y="937"/>
                  </a:lnTo>
                  <a:lnTo>
                    <a:pt x="802" y="937"/>
                  </a:lnTo>
                  <a:lnTo>
                    <a:pt x="802" y="937"/>
                  </a:lnTo>
                  <a:lnTo>
                    <a:pt x="802" y="937"/>
                  </a:lnTo>
                  <a:lnTo>
                    <a:pt x="800" y="937"/>
                  </a:lnTo>
                  <a:lnTo>
                    <a:pt x="800" y="937"/>
                  </a:lnTo>
                  <a:lnTo>
                    <a:pt x="800" y="937"/>
                  </a:lnTo>
                  <a:lnTo>
                    <a:pt x="800" y="937"/>
                  </a:lnTo>
                  <a:lnTo>
                    <a:pt x="800" y="937"/>
                  </a:lnTo>
                  <a:lnTo>
                    <a:pt x="800" y="937"/>
                  </a:lnTo>
                  <a:lnTo>
                    <a:pt x="800" y="937"/>
                  </a:lnTo>
                  <a:lnTo>
                    <a:pt x="800" y="940"/>
                  </a:lnTo>
                  <a:lnTo>
                    <a:pt x="797" y="940"/>
                  </a:lnTo>
                  <a:lnTo>
                    <a:pt x="797" y="940"/>
                  </a:lnTo>
                  <a:lnTo>
                    <a:pt x="797" y="940"/>
                  </a:lnTo>
                  <a:lnTo>
                    <a:pt x="797" y="940"/>
                  </a:lnTo>
                  <a:lnTo>
                    <a:pt x="797" y="940"/>
                  </a:lnTo>
                  <a:lnTo>
                    <a:pt x="797" y="940"/>
                  </a:lnTo>
                  <a:lnTo>
                    <a:pt x="797" y="940"/>
                  </a:lnTo>
                  <a:lnTo>
                    <a:pt x="797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2"/>
                  </a:lnTo>
                  <a:lnTo>
                    <a:pt x="795" y="944"/>
                  </a:lnTo>
                  <a:lnTo>
                    <a:pt x="795" y="944"/>
                  </a:lnTo>
                  <a:lnTo>
                    <a:pt x="793" y="944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6"/>
                  </a:lnTo>
                  <a:lnTo>
                    <a:pt x="793" y="949"/>
                  </a:lnTo>
                  <a:lnTo>
                    <a:pt x="793" y="949"/>
                  </a:lnTo>
                  <a:lnTo>
                    <a:pt x="793" y="949"/>
                  </a:lnTo>
                  <a:lnTo>
                    <a:pt x="793" y="949"/>
                  </a:lnTo>
                  <a:lnTo>
                    <a:pt x="793" y="949"/>
                  </a:lnTo>
                  <a:lnTo>
                    <a:pt x="791" y="949"/>
                  </a:lnTo>
                  <a:lnTo>
                    <a:pt x="791" y="949"/>
                  </a:lnTo>
                  <a:lnTo>
                    <a:pt x="791" y="949"/>
                  </a:lnTo>
                  <a:lnTo>
                    <a:pt x="791" y="949"/>
                  </a:lnTo>
                  <a:lnTo>
                    <a:pt x="791" y="949"/>
                  </a:lnTo>
                  <a:lnTo>
                    <a:pt x="791" y="951"/>
                  </a:lnTo>
                  <a:lnTo>
                    <a:pt x="791" y="951"/>
                  </a:lnTo>
                  <a:lnTo>
                    <a:pt x="791" y="951"/>
                  </a:lnTo>
                  <a:lnTo>
                    <a:pt x="791" y="951"/>
                  </a:lnTo>
                  <a:lnTo>
                    <a:pt x="791" y="951"/>
                  </a:lnTo>
                  <a:lnTo>
                    <a:pt x="791" y="951"/>
                  </a:lnTo>
                  <a:lnTo>
                    <a:pt x="788" y="951"/>
                  </a:lnTo>
                  <a:lnTo>
                    <a:pt x="788" y="951"/>
                  </a:lnTo>
                  <a:lnTo>
                    <a:pt x="788" y="951"/>
                  </a:lnTo>
                  <a:lnTo>
                    <a:pt x="788" y="953"/>
                  </a:lnTo>
                  <a:lnTo>
                    <a:pt x="786" y="953"/>
                  </a:lnTo>
                  <a:lnTo>
                    <a:pt x="786" y="953"/>
                  </a:lnTo>
                  <a:lnTo>
                    <a:pt x="786" y="953"/>
                  </a:lnTo>
                  <a:lnTo>
                    <a:pt x="786" y="953"/>
                  </a:lnTo>
                  <a:lnTo>
                    <a:pt x="786" y="955"/>
                  </a:lnTo>
                  <a:lnTo>
                    <a:pt x="786" y="955"/>
                  </a:lnTo>
                  <a:lnTo>
                    <a:pt x="786" y="955"/>
                  </a:lnTo>
                  <a:lnTo>
                    <a:pt x="786" y="955"/>
                  </a:lnTo>
                  <a:lnTo>
                    <a:pt x="786" y="955"/>
                  </a:lnTo>
                  <a:lnTo>
                    <a:pt x="784" y="955"/>
                  </a:lnTo>
                  <a:lnTo>
                    <a:pt x="784" y="955"/>
                  </a:lnTo>
                  <a:lnTo>
                    <a:pt x="784" y="958"/>
                  </a:lnTo>
                  <a:lnTo>
                    <a:pt x="784" y="958"/>
                  </a:lnTo>
                  <a:lnTo>
                    <a:pt x="782" y="955"/>
                  </a:lnTo>
                  <a:lnTo>
                    <a:pt x="782" y="955"/>
                  </a:lnTo>
                  <a:lnTo>
                    <a:pt x="779" y="955"/>
                  </a:lnTo>
                  <a:lnTo>
                    <a:pt x="782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9" y="955"/>
                  </a:lnTo>
                  <a:lnTo>
                    <a:pt x="777" y="955"/>
                  </a:lnTo>
                  <a:lnTo>
                    <a:pt x="777" y="953"/>
                  </a:lnTo>
                  <a:lnTo>
                    <a:pt x="777" y="953"/>
                  </a:lnTo>
                  <a:lnTo>
                    <a:pt x="777" y="953"/>
                  </a:lnTo>
                  <a:lnTo>
                    <a:pt x="777" y="953"/>
                  </a:lnTo>
                  <a:lnTo>
                    <a:pt x="777" y="953"/>
                  </a:lnTo>
                  <a:lnTo>
                    <a:pt x="777" y="953"/>
                  </a:lnTo>
                  <a:lnTo>
                    <a:pt x="775" y="953"/>
                  </a:lnTo>
                  <a:lnTo>
                    <a:pt x="775" y="953"/>
                  </a:lnTo>
                  <a:lnTo>
                    <a:pt x="775" y="951"/>
                  </a:lnTo>
                  <a:lnTo>
                    <a:pt x="773" y="951"/>
                  </a:lnTo>
                  <a:lnTo>
                    <a:pt x="773" y="951"/>
                  </a:lnTo>
                  <a:lnTo>
                    <a:pt x="773" y="951"/>
                  </a:lnTo>
                  <a:lnTo>
                    <a:pt x="773" y="951"/>
                  </a:lnTo>
                  <a:lnTo>
                    <a:pt x="773" y="951"/>
                  </a:lnTo>
                  <a:lnTo>
                    <a:pt x="773" y="951"/>
                  </a:lnTo>
                  <a:lnTo>
                    <a:pt x="773" y="949"/>
                  </a:lnTo>
                  <a:lnTo>
                    <a:pt x="773" y="949"/>
                  </a:lnTo>
                  <a:lnTo>
                    <a:pt x="770" y="949"/>
                  </a:lnTo>
                  <a:lnTo>
                    <a:pt x="770" y="949"/>
                  </a:lnTo>
                  <a:lnTo>
                    <a:pt x="768" y="949"/>
                  </a:lnTo>
                  <a:lnTo>
                    <a:pt x="768" y="949"/>
                  </a:lnTo>
                  <a:lnTo>
                    <a:pt x="766" y="946"/>
                  </a:lnTo>
                  <a:lnTo>
                    <a:pt x="766" y="946"/>
                  </a:lnTo>
                  <a:lnTo>
                    <a:pt x="766" y="946"/>
                  </a:lnTo>
                  <a:lnTo>
                    <a:pt x="766" y="946"/>
                  </a:lnTo>
                  <a:lnTo>
                    <a:pt x="766" y="944"/>
                  </a:lnTo>
                  <a:lnTo>
                    <a:pt x="766" y="944"/>
                  </a:lnTo>
                  <a:lnTo>
                    <a:pt x="766" y="944"/>
                  </a:lnTo>
                  <a:lnTo>
                    <a:pt x="764" y="944"/>
                  </a:lnTo>
                  <a:lnTo>
                    <a:pt x="764" y="944"/>
                  </a:lnTo>
                  <a:lnTo>
                    <a:pt x="764" y="944"/>
                  </a:lnTo>
                  <a:lnTo>
                    <a:pt x="764" y="944"/>
                  </a:lnTo>
                  <a:lnTo>
                    <a:pt x="764" y="944"/>
                  </a:lnTo>
                  <a:lnTo>
                    <a:pt x="764" y="944"/>
                  </a:lnTo>
                  <a:lnTo>
                    <a:pt x="761" y="942"/>
                  </a:lnTo>
                  <a:lnTo>
                    <a:pt x="761" y="942"/>
                  </a:lnTo>
                  <a:lnTo>
                    <a:pt x="761" y="942"/>
                  </a:lnTo>
                  <a:lnTo>
                    <a:pt x="761" y="942"/>
                  </a:lnTo>
                  <a:lnTo>
                    <a:pt x="761" y="942"/>
                  </a:lnTo>
                  <a:lnTo>
                    <a:pt x="761" y="942"/>
                  </a:lnTo>
                  <a:lnTo>
                    <a:pt x="761" y="942"/>
                  </a:lnTo>
                  <a:lnTo>
                    <a:pt x="759" y="940"/>
                  </a:lnTo>
                  <a:lnTo>
                    <a:pt x="759" y="940"/>
                  </a:lnTo>
                  <a:lnTo>
                    <a:pt x="759" y="940"/>
                  </a:lnTo>
                  <a:lnTo>
                    <a:pt x="759" y="940"/>
                  </a:lnTo>
                  <a:lnTo>
                    <a:pt x="759" y="940"/>
                  </a:lnTo>
                  <a:lnTo>
                    <a:pt x="759" y="940"/>
                  </a:lnTo>
                  <a:lnTo>
                    <a:pt x="759" y="937"/>
                  </a:lnTo>
                  <a:lnTo>
                    <a:pt x="759" y="937"/>
                  </a:lnTo>
                  <a:lnTo>
                    <a:pt x="759" y="937"/>
                  </a:lnTo>
                  <a:lnTo>
                    <a:pt x="759" y="937"/>
                  </a:lnTo>
                  <a:lnTo>
                    <a:pt x="759" y="937"/>
                  </a:lnTo>
                  <a:lnTo>
                    <a:pt x="759" y="935"/>
                  </a:lnTo>
                  <a:lnTo>
                    <a:pt x="759" y="935"/>
                  </a:lnTo>
                  <a:lnTo>
                    <a:pt x="759" y="935"/>
                  </a:lnTo>
                  <a:lnTo>
                    <a:pt x="759" y="935"/>
                  </a:lnTo>
                  <a:lnTo>
                    <a:pt x="759" y="935"/>
                  </a:lnTo>
                  <a:lnTo>
                    <a:pt x="759" y="933"/>
                  </a:lnTo>
                  <a:lnTo>
                    <a:pt x="759" y="933"/>
                  </a:lnTo>
                  <a:lnTo>
                    <a:pt x="759" y="933"/>
                  </a:lnTo>
                  <a:lnTo>
                    <a:pt x="759" y="933"/>
                  </a:lnTo>
                  <a:lnTo>
                    <a:pt x="759" y="933"/>
                  </a:lnTo>
                  <a:lnTo>
                    <a:pt x="759" y="931"/>
                  </a:lnTo>
                  <a:lnTo>
                    <a:pt x="759" y="931"/>
                  </a:lnTo>
                  <a:lnTo>
                    <a:pt x="759" y="931"/>
                  </a:lnTo>
                  <a:lnTo>
                    <a:pt x="759" y="931"/>
                  </a:lnTo>
                  <a:lnTo>
                    <a:pt x="759" y="928"/>
                  </a:lnTo>
                  <a:lnTo>
                    <a:pt x="761" y="928"/>
                  </a:lnTo>
                  <a:lnTo>
                    <a:pt x="761" y="928"/>
                  </a:lnTo>
                  <a:lnTo>
                    <a:pt x="759" y="928"/>
                  </a:lnTo>
                  <a:lnTo>
                    <a:pt x="759" y="926"/>
                  </a:lnTo>
                  <a:lnTo>
                    <a:pt x="759" y="926"/>
                  </a:lnTo>
                  <a:lnTo>
                    <a:pt x="759" y="926"/>
                  </a:lnTo>
                  <a:lnTo>
                    <a:pt x="759" y="926"/>
                  </a:lnTo>
                  <a:lnTo>
                    <a:pt x="759" y="926"/>
                  </a:lnTo>
                  <a:lnTo>
                    <a:pt x="759" y="926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4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2"/>
                  </a:lnTo>
                  <a:lnTo>
                    <a:pt x="759" y="920"/>
                  </a:lnTo>
                  <a:lnTo>
                    <a:pt x="759" y="920"/>
                  </a:lnTo>
                  <a:lnTo>
                    <a:pt x="759" y="920"/>
                  </a:lnTo>
                  <a:lnTo>
                    <a:pt x="759" y="920"/>
                  </a:lnTo>
                  <a:lnTo>
                    <a:pt x="759" y="920"/>
                  </a:lnTo>
                  <a:lnTo>
                    <a:pt x="759" y="920"/>
                  </a:lnTo>
                  <a:lnTo>
                    <a:pt x="759" y="917"/>
                  </a:lnTo>
                  <a:lnTo>
                    <a:pt x="759" y="917"/>
                  </a:lnTo>
                  <a:lnTo>
                    <a:pt x="759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7"/>
                  </a:lnTo>
                  <a:lnTo>
                    <a:pt x="757" y="915"/>
                  </a:lnTo>
                  <a:lnTo>
                    <a:pt x="757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5"/>
                  </a:lnTo>
                  <a:lnTo>
                    <a:pt x="755" y="913"/>
                  </a:lnTo>
                  <a:lnTo>
                    <a:pt x="755" y="913"/>
                  </a:lnTo>
                  <a:lnTo>
                    <a:pt x="755" y="913"/>
                  </a:lnTo>
                  <a:lnTo>
                    <a:pt x="755" y="913"/>
                  </a:lnTo>
                  <a:lnTo>
                    <a:pt x="755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2" y="913"/>
                  </a:lnTo>
                  <a:lnTo>
                    <a:pt x="750" y="913"/>
                  </a:lnTo>
                  <a:lnTo>
                    <a:pt x="750" y="913"/>
                  </a:lnTo>
                  <a:lnTo>
                    <a:pt x="750" y="911"/>
                  </a:lnTo>
                  <a:lnTo>
                    <a:pt x="750" y="911"/>
                  </a:lnTo>
                  <a:lnTo>
                    <a:pt x="748" y="908"/>
                  </a:lnTo>
                  <a:lnTo>
                    <a:pt x="748" y="908"/>
                  </a:lnTo>
                  <a:lnTo>
                    <a:pt x="748" y="908"/>
                  </a:lnTo>
                  <a:lnTo>
                    <a:pt x="748" y="908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8" y="906"/>
                  </a:lnTo>
                  <a:lnTo>
                    <a:pt x="746" y="906"/>
                  </a:lnTo>
                  <a:lnTo>
                    <a:pt x="746" y="904"/>
                  </a:lnTo>
                  <a:lnTo>
                    <a:pt x="746" y="904"/>
                  </a:lnTo>
                  <a:lnTo>
                    <a:pt x="746" y="904"/>
                  </a:lnTo>
                  <a:lnTo>
                    <a:pt x="743" y="902"/>
                  </a:lnTo>
                  <a:lnTo>
                    <a:pt x="743" y="902"/>
                  </a:lnTo>
                  <a:lnTo>
                    <a:pt x="743" y="902"/>
                  </a:lnTo>
                  <a:lnTo>
                    <a:pt x="743" y="902"/>
                  </a:lnTo>
                  <a:lnTo>
                    <a:pt x="743" y="902"/>
                  </a:lnTo>
                  <a:lnTo>
                    <a:pt x="743" y="902"/>
                  </a:lnTo>
                  <a:lnTo>
                    <a:pt x="743" y="902"/>
                  </a:lnTo>
                  <a:lnTo>
                    <a:pt x="743" y="899"/>
                  </a:lnTo>
                  <a:lnTo>
                    <a:pt x="743" y="899"/>
                  </a:lnTo>
                  <a:lnTo>
                    <a:pt x="743" y="899"/>
                  </a:lnTo>
                  <a:lnTo>
                    <a:pt x="741" y="899"/>
                  </a:lnTo>
                  <a:lnTo>
                    <a:pt x="741" y="899"/>
                  </a:lnTo>
                  <a:lnTo>
                    <a:pt x="741" y="899"/>
                  </a:lnTo>
                  <a:lnTo>
                    <a:pt x="741" y="899"/>
                  </a:lnTo>
                  <a:lnTo>
                    <a:pt x="741" y="899"/>
                  </a:lnTo>
                  <a:lnTo>
                    <a:pt x="739" y="899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7"/>
                  </a:lnTo>
                  <a:lnTo>
                    <a:pt x="739" y="895"/>
                  </a:lnTo>
                  <a:lnTo>
                    <a:pt x="739" y="895"/>
                  </a:lnTo>
                  <a:lnTo>
                    <a:pt x="739" y="893"/>
                  </a:lnTo>
                  <a:lnTo>
                    <a:pt x="737" y="893"/>
                  </a:lnTo>
                  <a:lnTo>
                    <a:pt x="737" y="893"/>
                  </a:lnTo>
                  <a:lnTo>
                    <a:pt x="737" y="890"/>
                  </a:lnTo>
                  <a:lnTo>
                    <a:pt x="737" y="890"/>
                  </a:lnTo>
                  <a:lnTo>
                    <a:pt x="734" y="890"/>
                  </a:lnTo>
                  <a:lnTo>
                    <a:pt x="734" y="890"/>
                  </a:lnTo>
                  <a:lnTo>
                    <a:pt x="734" y="890"/>
                  </a:lnTo>
                  <a:lnTo>
                    <a:pt x="734" y="890"/>
                  </a:lnTo>
                  <a:lnTo>
                    <a:pt x="734" y="890"/>
                  </a:lnTo>
                  <a:lnTo>
                    <a:pt x="734" y="890"/>
                  </a:lnTo>
                  <a:lnTo>
                    <a:pt x="732" y="890"/>
                  </a:lnTo>
                  <a:lnTo>
                    <a:pt x="732" y="890"/>
                  </a:lnTo>
                  <a:lnTo>
                    <a:pt x="732" y="890"/>
                  </a:lnTo>
                  <a:lnTo>
                    <a:pt x="732" y="890"/>
                  </a:lnTo>
                  <a:lnTo>
                    <a:pt x="730" y="890"/>
                  </a:lnTo>
                  <a:lnTo>
                    <a:pt x="730" y="890"/>
                  </a:lnTo>
                  <a:lnTo>
                    <a:pt x="730" y="890"/>
                  </a:lnTo>
                  <a:lnTo>
                    <a:pt x="730" y="890"/>
                  </a:lnTo>
                  <a:lnTo>
                    <a:pt x="728" y="890"/>
                  </a:lnTo>
                  <a:lnTo>
                    <a:pt x="728" y="890"/>
                  </a:lnTo>
                  <a:lnTo>
                    <a:pt x="728" y="890"/>
                  </a:lnTo>
                  <a:lnTo>
                    <a:pt x="728" y="890"/>
                  </a:lnTo>
                  <a:lnTo>
                    <a:pt x="725" y="890"/>
                  </a:lnTo>
                  <a:lnTo>
                    <a:pt x="725" y="890"/>
                  </a:lnTo>
                  <a:lnTo>
                    <a:pt x="725" y="890"/>
                  </a:lnTo>
                  <a:lnTo>
                    <a:pt x="725" y="890"/>
                  </a:lnTo>
                  <a:lnTo>
                    <a:pt x="725" y="890"/>
                  </a:lnTo>
                  <a:lnTo>
                    <a:pt x="723" y="890"/>
                  </a:lnTo>
                  <a:lnTo>
                    <a:pt x="723" y="890"/>
                  </a:lnTo>
                  <a:lnTo>
                    <a:pt x="723" y="890"/>
                  </a:lnTo>
                  <a:lnTo>
                    <a:pt x="723" y="890"/>
                  </a:lnTo>
                  <a:lnTo>
                    <a:pt x="721" y="890"/>
                  </a:lnTo>
                  <a:lnTo>
                    <a:pt x="721" y="890"/>
                  </a:lnTo>
                  <a:lnTo>
                    <a:pt x="721" y="890"/>
                  </a:lnTo>
                  <a:lnTo>
                    <a:pt x="721" y="890"/>
                  </a:lnTo>
                  <a:lnTo>
                    <a:pt x="719" y="890"/>
                  </a:lnTo>
                  <a:lnTo>
                    <a:pt x="719" y="890"/>
                  </a:lnTo>
                  <a:lnTo>
                    <a:pt x="719" y="890"/>
                  </a:lnTo>
                  <a:lnTo>
                    <a:pt x="719" y="890"/>
                  </a:lnTo>
                  <a:lnTo>
                    <a:pt x="719" y="890"/>
                  </a:lnTo>
                  <a:lnTo>
                    <a:pt x="716" y="890"/>
                  </a:lnTo>
                  <a:lnTo>
                    <a:pt x="716" y="890"/>
                  </a:lnTo>
                  <a:lnTo>
                    <a:pt x="716" y="890"/>
                  </a:lnTo>
                  <a:lnTo>
                    <a:pt x="716" y="890"/>
                  </a:lnTo>
                  <a:lnTo>
                    <a:pt x="714" y="890"/>
                  </a:lnTo>
                  <a:lnTo>
                    <a:pt x="714" y="890"/>
                  </a:lnTo>
                  <a:lnTo>
                    <a:pt x="714" y="890"/>
                  </a:lnTo>
                  <a:lnTo>
                    <a:pt x="714" y="890"/>
                  </a:lnTo>
                  <a:lnTo>
                    <a:pt x="712" y="890"/>
                  </a:lnTo>
                  <a:lnTo>
                    <a:pt x="712" y="890"/>
                  </a:lnTo>
                  <a:lnTo>
                    <a:pt x="712" y="890"/>
                  </a:lnTo>
                  <a:lnTo>
                    <a:pt x="712" y="890"/>
                  </a:lnTo>
                  <a:lnTo>
                    <a:pt x="712" y="890"/>
                  </a:lnTo>
                  <a:lnTo>
                    <a:pt x="710" y="890"/>
                  </a:lnTo>
                  <a:lnTo>
                    <a:pt x="710" y="890"/>
                  </a:lnTo>
                  <a:lnTo>
                    <a:pt x="710" y="890"/>
                  </a:lnTo>
                  <a:lnTo>
                    <a:pt x="710" y="890"/>
                  </a:lnTo>
                  <a:lnTo>
                    <a:pt x="707" y="890"/>
                  </a:lnTo>
                  <a:lnTo>
                    <a:pt x="707" y="890"/>
                  </a:lnTo>
                  <a:lnTo>
                    <a:pt x="707" y="890"/>
                  </a:lnTo>
                  <a:lnTo>
                    <a:pt x="707" y="890"/>
                  </a:lnTo>
                  <a:lnTo>
                    <a:pt x="705" y="890"/>
                  </a:lnTo>
                  <a:lnTo>
                    <a:pt x="705" y="890"/>
                  </a:lnTo>
                  <a:lnTo>
                    <a:pt x="705" y="890"/>
                  </a:lnTo>
                  <a:lnTo>
                    <a:pt x="705" y="890"/>
                  </a:lnTo>
                  <a:lnTo>
                    <a:pt x="705" y="890"/>
                  </a:lnTo>
                  <a:lnTo>
                    <a:pt x="703" y="890"/>
                  </a:lnTo>
                  <a:lnTo>
                    <a:pt x="703" y="890"/>
                  </a:lnTo>
                  <a:lnTo>
                    <a:pt x="703" y="890"/>
                  </a:lnTo>
                  <a:lnTo>
                    <a:pt x="703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0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701" y="893"/>
                  </a:lnTo>
                  <a:lnTo>
                    <a:pt x="698" y="893"/>
                  </a:lnTo>
                  <a:lnTo>
                    <a:pt x="698" y="893"/>
                  </a:lnTo>
                  <a:lnTo>
                    <a:pt x="698" y="893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5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7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8" y="899"/>
                  </a:lnTo>
                  <a:lnTo>
                    <a:pt x="696" y="902"/>
                  </a:lnTo>
                  <a:lnTo>
                    <a:pt x="696" y="902"/>
                  </a:lnTo>
                  <a:lnTo>
                    <a:pt x="696" y="902"/>
                  </a:lnTo>
                  <a:lnTo>
                    <a:pt x="696" y="902"/>
                  </a:lnTo>
                  <a:lnTo>
                    <a:pt x="696" y="902"/>
                  </a:lnTo>
                  <a:lnTo>
                    <a:pt x="696" y="902"/>
                  </a:lnTo>
                  <a:lnTo>
                    <a:pt x="696" y="902"/>
                  </a:lnTo>
                  <a:lnTo>
                    <a:pt x="694" y="902"/>
                  </a:lnTo>
                  <a:lnTo>
                    <a:pt x="694" y="902"/>
                  </a:lnTo>
                  <a:lnTo>
                    <a:pt x="692" y="902"/>
                  </a:lnTo>
                  <a:lnTo>
                    <a:pt x="692" y="902"/>
                  </a:lnTo>
                  <a:lnTo>
                    <a:pt x="692" y="902"/>
                  </a:lnTo>
                  <a:lnTo>
                    <a:pt x="689" y="902"/>
                  </a:lnTo>
                  <a:lnTo>
                    <a:pt x="689" y="902"/>
                  </a:lnTo>
                  <a:lnTo>
                    <a:pt x="689" y="902"/>
                  </a:lnTo>
                  <a:lnTo>
                    <a:pt x="687" y="902"/>
                  </a:lnTo>
                  <a:lnTo>
                    <a:pt x="687" y="902"/>
                  </a:lnTo>
                  <a:lnTo>
                    <a:pt x="685" y="902"/>
                  </a:lnTo>
                  <a:lnTo>
                    <a:pt x="685" y="902"/>
                  </a:lnTo>
                  <a:lnTo>
                    <a:pt x="685" y="902"/>
                  </a:lnTo>
                  <a:lnTo>
                    <a:pt x="683" y="902"/>
                  </a:lnTo>
                  <a:lnTo>
                    <a:pt x="683" y="902"/>
                  </a:lnTo>
                  <a:lnTo>
                    <a:pt x="683" y="902"/>
                  </a:lnTo>
                  <a:lnTo>
                    <a:pt x="680" y="902"/>
                  </a:lnTo>
                  <a:lnTo>
                    <a:pt x="680" y="902"/>
                  </a:lnTo>
                  <a:lnTo>
                    <a:pt x="678" y="902"/>
                  </a:lnTo>
                  <a:lnTo>
                    <a:pt x="678" y="902"/>
                  </a:lnTo>
                  <a:lnTo>
                    <a:pt x="678" y="902"/>
                  </a:lnTo>
                  <a:lnTo>
                    <a:pt x="676" y="902"/>
                  </a:lnTo>
                  <a:lnTo>
                    <a:pt x="676" y="902"/>
                  </a:lnTo>
                  <a:lnTo>
                    <a:pt x="674" y="902"/>
                  </a:lnTo>
                  <a:lnTo>
                    <a:pt x="674" y="902"/>
                  </a:lnTo>
                  <a:lnTo>
                    <a:pt x="674" y="902"/>
                  </a:lnTo>
                  <a:lnTo>
                    <a:pt x="671" y="902"/>
                  </a:lnTo>
                  <a:lnTo>
                    <a:pt x="671" y="902"/>
                  </a:lnTo>
                  <a:lnTo>
                    <a:pt x="671" y="902"/>
                  </a:lnTo>
                  <a:lnTo>
                    <a:pt x="669" y="902"/>
                  </a:lnTo>
                  <a:lnTo>
                    <a:pt x="669" y="902"/>
                  </a:lnTo>
                  <a:lnTo>
                    <a:pt x="667" y="902"/>
                  </a:lnTo>
                  <a:lnTo>
                    <a:pt x="667" y="902"/>
                  </a:lnTo>
                  <a:lnTo>
                    <a:pt x="667" y="902"/>
                  </a:lnTo>
                  <a:lnTo>
                    <a:pt x="665" y="902"/>
                  </a:lnTo>
                  <a:lnTo>
                    <a:pt x="665" y="902"/>
                  </a:lnTo>
                  <a:lnTo>
                    <a:pt x="662" y="902"/>
                  </a:lnTo>
                  <a:lnTo>
                    <a:pt x="662" y="902"/>
                  </a:lnTo>
                  <a:lnTo>
                    <a:pt x="662" y="902"/>
                  </a:lnTo>
                  <a:lnTo>
                    <a:pt x="660" y="902"/>
                  </a:lnTo>
                  <a:lnTo>
                    <a:pt x="660" y="902"/>
                  </a:lnTo>
                  <a:lnTo>
                    <a:pt x="660" y="902"/>
                  </a:lnTo>
                  <a:lnTo>
                    <a:pt x="658" y="902"/>
                  </a:lnTo>
                  <a:lnTo>
                    <a:pt x="658" y="902"/>
                  </a:lnTo>
                  <a:lnTo>
                    <a:pt x="656" y="902"/>
                  </a:lnTo>
                  <a:lnTo>
                    <a:pt x="656" y="902"/>
                  </a:lnTo>
                  <a:lnTo>
                    <a:pt x="656" y="902"/>
                  </a:lnTo>
                  <a:lnTo>
                    <a:pt x="653" y="902"/>
                  </a:lnTo>
                  <a:lnTo>
                    <a:pt x="653" y="902"/>
                  </a:lnTo>
                  <a:lnTo>
                    <a:pt x="653" y="902"/>
                  </a:lnTo>
                  <a:lnTo>
                    <a:pt x="651" y="902"/>
                  </a:lnTo>
                  <a:lnTo>
                    <a:pt x="651" y="902"/>
                  </a:lnTo>
                  <a:lnTo>
                    <a:pt x="649" y="902"/>
                  </a:lnTo>
                  <a:lnTo>
                    <a:pt x="649" y="902"/>
                  </a:lnTo>
                  <a:lnTo>
                    <a:pt x="649" y="902"/>
                  </a:lnTo>
                  <a:lnTo>
                    <a:pt x="647" y="902"/>
                  </a:lnTo>
                  <a:lnTo>
                    <a:pt x="647" y="902"/>
                  </a:lnTo>
                  <a:lnTo>
                    <a:pt x="644" y="902"/>
                  </a:lnTo>
                  <a:lnTo>
                    <a:pt x="644" y="902"/>
                  </a:lnTo>
                  <a:lnTo>
                    <a:pt x="644" y="902"/>
                  </a:lnTo>
                  <a:lnTo>
                    <a:pt x="642" y="902"/>
                  </a:lnTo>
                  <a:lnTo>
                    <a:pt x="642" y="902"/>
                  </a:lnTo>
                  <a:lnTo>
                    <a:pt x="640" y="902"/>
                  </a:lnTo>
                  <a:lnTo>
                    <a:pt x="640" y="902"/>
                  </a:lnTo>
                  <a:lnTo>
                    <a:pt x="640" y="902"/>
                  </a:lnTo>
                  <a:lnTo>
                    <a:pt x="638" y="899"/>
                  </a:lnTo>
                  <a:lnTo>
                    <a:pt x="638" y="899"/>
                  </a:lnTo>
                  <a:lnTo>
                    <a:pt x="636" y="899"/>
                  </a:lnTo>
                  <a:lnTo>
                    <a:pt x="636" y="899"/>
                  </a:lnTo>
                  <a:lnTo>
                    <a:pt x="636" y="899"/>
                  </a:lnTo>
                  <a:lnTo>
                    <a:pt x="633" y="899"/>
                  </a:lnTo>
                  <a:lnTo>
                    <a:pt x="633" y="897"/>
                  </a:lnTo>
                  <a:lnTo>
                    <a:pt x="631" y="897"/>
                  </a:lnTo>
                  <a:lnTo>
                    <a:pt x="624" y="895"/>
                  </a:lnTo>
                  <a:lnTo>
                    <a:pt x="618" y="893"/>
                  </a:lnTo>
                  <a:lnTo>
                    <a:pt x="611" y="888"/>
                  </a:lnTo>
                  <a:lnTo>
                    <a:pt x="604" y="886"/>
                  </a:lnTo>
                  <a:lnTo>
                    <a:pt x="595" y="884"/>
                  </a:lnTo>
                  <a:lnTo>
                    <a:pt x="588" y="879"/>
                  </a:lnTo>
                  <a:lnTo>
                    <a:pt x="582" y="877"/>
                  </a:lnTo>
                  <a:lnTo>
                    <a:pt x="575" y="875"/>
                  </a:lnTo>
                  <a:lnTo>
                    <a:pt x="575" y="872"/>
                  </a:lnTo>
                  <a:lnTo>
                    <a:pt x="575" y="872"/>
                  </a:lnTo>
                  <a:lnTo>
                    <a:pt x="575" y="872"/>
                  </a:lnTo>
                  <a:lnTo>
                    <a:pt x="575" y="872"/>
                  </a:lnTo>
                  <a:lnTo>
                    <a:pt x="575" y="872"/>
                  </a:lnTo>
                  <a:lnTo>
                    <a:pt x="575" y="870"/>
                  </a:lnTo>
                  <a:lnTo>
                    <a:pt x="575" y="870"/>
                  </a:lnTo>
                  <a:lnTo>
                    <a:pt x="575" y="870"/>
                  </a:lnTo>
                  <a:lnTo>
                    <a:pt x="577" y="870"/>
                  </a:lnTo>
                  <a:lnTo>
                    <a:pt x="577" y="870"/>
                  </a:lnTo>
                  <a:lnTo>
                    <a:pt x="577" y="870"/>
                  </a:lnTo>
                  <a:lnTo>
                    <a:pt x="577" y="868"/>
                  </a:lnTo>
                  <a:lnTo>
                    <a:pt x="577" y="868"/>
                  </a:lnTo>
                  <a:lnTo>
                    <a:pt x="577" y="868"/>
                  </a:lnTo>
                  <a:lnTo>
                    <a:pt x="577" y="868"/>
                  </a:lnTo>
                  <a:lnTo>
                    <a:pt x="575" y="868"/>
                  </a:lnTo>
                  <a:lnTo>
                    <a:pt x="573" y="868"/>
                  </a:lnTo>
                  <a:lnTo>
                    <a:pt x="573" y="868"/>
                  </a:lnTo>
                  <a:lnTo>
                    <a:pt x="570" y="868"/>
                  </a:lnTo>
                  <a:lnTo>
                    <a:pt x="568" y="868"/>
                  </a:lnTo>
                  <a:lnTo>
                    <a:pt x="568" y="870"/>
                  </a:lnTo>
                  <a:lnTo>
                    <a:pt x="566" y="870"/>
                  </a:lnTo>
                  <a:lnTo>
                    <a:pt x="564" y="870"/>
                  </a:lnTo>
                  <a:lnTo>
                    <a:pt x="564" y="870"/>
                  </a:lnTo>
                  <a:lnTo>
                    <a:pt x="561" y="870"/>
                  </a:lnTo>
                  <a:lnTo>
                    <a:pt x="559" y="870"/>
                  </a:lnTo>
                  <a:lnTo>
                    <a:pt x="559" y="870"/>
                  </a:lnTo>
                  <a:lnTo>
                    <a:pt x="557" y="870"/>
                  </a:lnTo>
                  <a:lnTo>
                    <a:pt x="555" y="870"/>
                  </a:lnTo>
                  <a:lnTo>
                    <a:pt x="555" y="870"/>
                  </a:lnTo>
                  <a:lnTo>
                    <a:pt x="552" y="870"/>
                  </a:lnTo>
                  <a:lnTo>
                    <a:pt x="550" y="870"/>
                  </a:lnTo>
                  <a:lnTo>
                    <a:pt x="550" y="870"/>
                  </a:lnTo>
                  <a:lnTo>
                    <a:pt x="548" y="870"/>
                  </a:lnTo>
                  <a:lnTo>
                    <a:pt x="546" y="870"/>
                  </a:lnTo>
                  <a:lnTo>
                    <a:pt x="546" y="870"/>
                  </a:lnTo>
                  <a:lnTo>
                    <a:pt x="543" y="870"/>
                  </a:lnTo>
                  <a:lnTo>
                    <a:pt x="541" y="872"/>
                  </a:lnTo>
                  <a:lnTo>
                    <a:pt x="541" y="872"/>
                  </a:lnTo>
                  <a:lnTo>
                    <a:pt x="539" y="872"/>
                  </a:lnTo>
                  <a:lnTo>
                    <a:pt x="537" y="872"/>
                  </a:lnTo>
                  <a:lnTo>
                    <a:pt x="537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2" y="872"/>
                  </a:lnTo>
                  <a:lnTo>
                    <a:pt x="530" y="872"/>
                  </a:lnTo>
                  <a:lnTo>
                    <a:pt x="528" y="872"/>
                  </a:lnTo>
                  <a:lnTo>
                    <a:pt x="528" y="872"/>
                  </a:lnTo>
                  <a:lnTo>
                    <a:pt x="528" y="872"/>
                  </a:lnTo>
                  <a:lnTo>
                    <a:pt x="528" y="872"/>
                  </a:lnTo>
                  <a:lnTo>
                    <a:pt x="528" y="870"/>
                  </a:lnTo>
                  <a:lnTo>
                    <a:pt x="528" y="870"/>
                  </a:lnTo>
                  <a:lnTo>
                    <a:pt x="528" y="870"/>
                  </a:lnTo>
                  <a:lnTo>
                    <a:pt x="528" y="870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70"/>
                  </a:lnTo>
                  <a:lnTo>
                    <a:pt x="530" y="870"/>
                  </a:lnTo>
                  <a:lnTo>
                    <a:pt x="530" y="870"/>
                  </a:lnTo>
                  <a:lnTo>
                    <a:pt x="530" y="870"/>
                  </a:lnTo>
                  <a:lnTo>
                    <a:pt x="530" y="870"/>
                  </a:lnTo>
                  <a:lnTo>
                    <a:pt x="530" y="870"/>
                  </a:lnTo>
                  <a:lnTo>
                    <a:pt x="530" y="870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70"/>
                  </a:lnTo>
                  <a:lnTo>
                    <a:pt x="528" y="870"/>
                  </a:lnTo>
                  <a:lnTo>
                    <a:pt x="528" y="870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8"/>
                  </a:lnTo>
                  <a:lnTo>
                    <a:pt x="528" y="866"/>
                  </a:lnTo>
                  <a:lnTo>
                    <a:pt x="528" y="866"/>
                  </a:lnTo>
                  <a:lnTo>
                    <a:pt x="528" y="866"/>
                  </a:lnTo>
                  <a:lnTo>
                    <a:pt x="528" y="866"/>
                  </a:lnTo>
                  <a:lnTo>
                    <a:pt x="528" y="866"/>
                  </a:lnTo>
                  <a:lnTo>
                    <a:pt x="528" y="863"/>
                  </a:lnTo>
                  <a:lnTo>
                    <a:pt x="528" y="863"/>
                  </a:lnTo>
                  <a:lnTo>
                    <a:pt x="530" y="861"/>
                  </a:lnTo>
                  <a:lnTo>
                    <a:pt x="530" y="861"/>
                  </a:lnTo>
                  <a:lnTo>
                    <a:pt x="530" y="861"/>
                  </a:lnTo>
                  <a:lnTo>
                    <a:pt x="530" y="859"/>
                  </a:lnTo>
                  <a:lnTo>
                    <a:pt x="530" y="857"/>
                  </a:lnTo>
                  <a:lnTo>
                    <a:pt x="528" y="854"/>
                  </a:lnTo>
                  <a:lnTo>
                    <a:pt x="525" y="852"/>
                  </a:lnTo>
                  <a:lnTo>
                    <a:pt x="525" y="850"/>
                  </a:lnTo>
                  <a:lnTo>
                    <a:pt x="525" y="850"/>
                  </a:lnTo>
                  <a:lnTo>
                    <a:pt x="525" y="850"/>
                  </a:lnTo>
                  <a:lnTo>
                    <a:pt x="523" y="850"/>
                  </a:lnTo>
                  <a:lnTo>
                    <a:pt x="523" y="850"/>
                  </a:lnTo>
                  <a:lnTo>
                    <a:pt x="523" y="848"/>
                  </a:lnTo>
                  <a:lnTo>
                    <a:pt x="521" y="848"/>
                  </a:lnTo>
                  <a:lnTo>
                    <a:pt x="521" y="845"/>
                  </a:lnTo>
                  <a:lnTo>
                    <a:pt x="519" y="843"/>
                  </a:lnTo>
                  <a:lnTo>
                    <a:pt x="519" y="843"/>
                  </a:lnTo>
                  <a:lnTo>
                    <a:pt x="519" y="843"/>
                  </a:lnTo>
                  <a:lnTo>
                    <a:pt x="519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5"/>
                  </a:lnTo>
                  <a:lnTo>
                    <a:pt x="516" y="845"/>
                  </a:lnTo>
                  <a:lnTo>
                    <a:pt x="516" y="845"/>
                  </a:lnTo>
                  <a:lnTo>
                    <a:pt x="514" y="845"/>
                  </a:lnTo>
                  <a:lnTo>
                    <a:pt x="514" y="845"/>
                  </a:lnTo>
                  <a:lnTo>
                    <a:pt x="514" y="845"/>
                  </a:lnTo>
                  <a:lnTo>
                    <a:pt x="514" y="845"/>
                  </a:lnTo>
                  <a:lnTo>
                    <a:pt x="514" y="845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2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39"/>
                  </a:lnTo>
                  <a:lnTo>
                    <a:pt x="514" y="839"/>
                  </a:lnTo>
                  <a:lnTo>
                    <a:pt x="514" y="836"/>
                  </a:lnTo>
                  <a:lnTo>
                    <a:pt x="514" y="836"/>
                  </a:lnTo>
                  <a:lnTo>
                    <a:pt x="512" y="836"/>
                  </a:lnTo>
                  <a:lnTo>
                    <a:pt x="512" y="836"/>
                  </a:lnTo>
                  <a:lnTo>
                    <a:pt x="512" y="836"/>
                  </a:lnTo>
                  <a:lnTo>
                    <a:pt x="512" y="836"/>
                  </a:lnTo>
                  <a:lnTo>
                    <a:pt x="512" y="836"/>
                  </a:lnTo>
                  <a:lnTo>
                    <a:pt x="512" y="836"/>
                  </a:lnTo>
                  <a:lnTo>
                    <a:pt x="507" y="836"/>
                  </a:lnTo>
                  <a:lnTo>
                    <a:pt x="507" y="836"/>
                  </a:lnTo>
                  <a:lnTo>
                    <a:pt x="507" y="836"/>
                  </a:lnTo>
                  <a:lnTo>
                    <a:pt x="507" y="836"/>
                  </a:lnTo>
                  <a:lnTo>
                    <a:pt x="507" y="836"/>
                  </a:lnTo>
                  <a:lnTo>
                    <a:pt x="505" y="836"/>
                  </a:lnTo>
                  <a:lnTo>
                    <a:pt x="503" y="836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6"/>
                  </a:lnTo>
                  <a:lnTo>
                    <a:pt x="503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4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501" y="832"/>
                  </a:lnTo>
                  <a:lnTo>
                    <a:pt x="498" y="830"/>
                  </a:lnTo>
                  <a:lnTo>
                    <a:pt x="498" y="830"/>
                  </a:lnTo>
                  <a:lnTo>
                    <a:pt x="496" y="827"/>
                  </a:lnTo>
                  <a:lnTo>
                    <a:pt x="496" y="827"/>
                  </a:lnTo>
                  <a:lnTo>
                    <a:pt x="496" y="827"/>
                  </a:lnTo>
                  <a:lnTo>
                    <a:pt x="496" y="827"/>
                  </a:lnTo>
                  <a:lnTo>
                    <a:pt x="496" y="827"/>
                  </a:lnTo>
                  <a:lnTo>
                    <a:pt x="494" y="827"/>
                  </a:lnTo>
                  <a:lnTo>
                    <a:pt x="494" y="827"/>
                  </a:lnTo>
                  <a:lnTo>
                    <a:pt x="494" y="827"/>
                  </a:lnTo>
                  <a:lnTo>
                    <a:pt x="494" y="827"/>
                  </a:lnTo>
                  <a:lnTo>
                    <a:pt x="494" y="827"/>
                  </a:lnTo>
                  <a:lnTo>
                    <a:pt x="492" y="827"/>
                  </a:lnTo>
                  <a:lnTo>
                    <a:pt x="492" y="827"/>
                  </a:lnTo>
                  <a:lnTo>
                    <a:pt x="492" y="827"/>
                  </a:lnTo>
                  <a:lnTo>
                    <a:pt x="492" y="827"/>
                  </a:lnTo>
                  <a:lnTo>
                    <a:pt x="492" y="827"/>
                  </a:lnTo>
                  <a:lnTo>
                    <a:pt x="492" y="827"/>
                  </a:lnTo>
                  <a:lnTo>
                    <a:pt x="489" y="827"/>
                  </a:lnTo>
                  <a:lnTo>
                    <a:pt x="489" y="827"/>
                  </a:lnTo>
                  <a:lnTo>
                    <a:pt x="489" y="827"/>
                  </a:lnTo>
                  <a:lnTo>
                    <a:pt x="487" y="827"/>
                  </a:lnTo>
                  <a:lnTo>
                    <a:pt x="487" y="827"/>
                  </a:lnTo>
                  <a:lnTo>
                    <a:pt x="485" y="827"/>
                  </a:lnTo>
                  <a:lnTo>
                    <a:pt x="485" y="827"/>
                  </a:lnTo>
                  <a:lnTo>
                    <a:pt x="483" y="827"/>
                  </a:lnTo>
                  <a:lnTo>
                    <a:pt x="480" y="827"/>
                  </a:lnTo>
                  <a:lnTo>
                    <a:pt x="478" y="827"/>
                  </a:lnTo>
                  <a:lnTo>
                    <a:pt x="478" y="825"/>
                  </a:lnTo>
                  <a:lnTo>
                    <a:pt x="478" y="825"/>
                  </a:lnTo>
                  <a:lnTo>
                    <a:pt x="478" y="825"/>
                  </a:lnTo>
                  <a:lnTo>
                    <a:pt x="478" y="825"/>
                  </a:lnTo>
                  <a:lnTo>
                    <a:pt x="476" y="825"/>
                  </a:lnTo>
                  <a:lnTo>
                    <a:pt x="476" y="825"/>
                  </a:lnTo>
                  <a:lnTo>
                    <a:pt x="476" y="823"/>
                  </a:lnTo>
                  <a:lnTo>
                    <a:pt x="476" y="823"/>
                  </a:lnTo>
                  <a:lnTo>
                    <a:pt x="476" y="823"/>
                  </a:lnTo>
                  <a:lnTo>
                    <a:pt x="478" y="823"/>
                  </a:lnTo>
                  <a:lnTo>
                    <a:pt x="478" y="823"/>
                  </a:lnTo>
                  <a:lnTo>
                    <a:pt x="478" y="823"/>
                  </a:lnTo>
                  <a:lnTo>
                    <a:pt x="478" y="821"/>
                  </a:lnTo>
                  <a:lnTo>
                    <a:pt x="478" y="821"/>
                  </a:lnTo>
                  <a:lnTo>
                    <a:pt x="478" y="821"/>
                  </a:lnTo>
                  <a:lnTo>
                    <a:pt x="478" y="821"/>
                  </a:lnTo>
                  <a:lnTo>
                    <a:pt x="478" y="821"/>
                  </a:lnTo>
                  <a:lnTo>
                    <a:pt x="478" y="818"/>
                  </a:lnTo>
                  <a:lnTo>
                    <a:pt x="480" y="818"/>
                  </a:lnTo>
                  <a:lnTo>
                    <a:pt x="480" y="818"/>
                  </a:lnTo>
                  <a:lnTo>
                    <a:pt x="480" y="818"/>
                  </a:lnTo>
                  <a:lnTo>
                    <a:pt x="480" y="816"/>
                  </a:lnTo>
                  <a:lnTo>
                    <a:pt x="480" y="816"/>
                  </a:lnTo>
                  <a:lnTo>
                    <a:pt x="480" y="816"/>
                  </a:lnTo>
                  <a:lnTo>
                    <a:pt x="478" y="816"/>
                  </a:lnTo>
                  <a:lnTo>
                    <a:pt x="478" y="816"/>
                  </a:lnTo>
                  <a:lnTo>
                    <a:pt x="480" y="816"/>
                  </a:lnTo>
                  <a:lnTo>
                    <a:pt x="480" y="814"/>
                  </a:lnTo>
                  <a:lnTo>
                    <a:pt x="480" y="814"/>
                  </a:lnTo>
                  <a:lnTo>
                    <a:pt x="483" y="812"/>
                  </a:lnTo>
                  <a:lnTo>
                    <a:pt x="483" y="812"/>
                  </a:lnTo>
                  <a:lnTo>
                    <a:pt x="483" y="809"/>
                  </a:lnTo>
                  <a:lnTo>
                    <a:pt x="483" y="809"/>
                  </a:lnTo>
                  <a:lnTo>
                    <a:pt x="483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80" y="809"/>
                  </a:lnTo>
                  <a:lnTo>
                    <a:pt x="478" y="809"/>
                  </a:lnTo>
                  <a:lnTo>
                    <a:pt x="478" y="809"/>
                  </a:lnTo>
                  <a:lnTo>
                    <a:pt x="478" y="807"/>
                  </a:lnTo>
                  <a:lnTo>
                    <a:pt x="478" y="807"/>
                  </a:lnTo>
                  <a:lnTo>
                    <a:pt x="478" y="807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7"/>
                  </a:lnTo>
                  <a:lnTo>
                    <a:pt x="480" y="807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5"/>
                  </a:lnTo>
                  <a:lnTo>
                    <a:pt x="480" y="803"/>
                  </a:lnTo>
                  <a:lnTo>
                    <a:pt x="480" y="803"/>
                  </a:lnTo>
                  <a:lnTo>
                    <a:pt x="478" y="803"/>
                  </a:lnTo>
                  <a:lnTo>
                    <a:pt x="478" y="803"/>
                  </a:lnTo>
                  <a:lnTo>
                    <a:pt x="478" y="803"/>
                  </a:lnTo>
                  <a:lnTo>
                    <a:pt x="478" y="800"/>
                  </a:lnTo>
                  <a:lnTo>
                    <a:pt x="476" y="800"/>
                  </a:lnTo>
                  <a:lnTo>
                    <a:pt x="476" y="800"/>
                  </a:lnTo>
                  <a:lnTo>
                    <a:pt x="476" y="798"/>
                  </a:lnTo>
                  <a:lnTo>
                    <a:pt x="476" y="798"/>
                  </a:lnTo>
                  <a:lnTo>
                    <a:pt x="476" y="798"/>
                  </a:lnTo>
                  <a:lnTo>
                    <a:pt x="474" y="798"/>
                  </a:lnTo>
                  <a:lnTo>
                    <a:pt x="474" y="796"/>
                  </a:lnTo>
                  <a:lnTo>
                    <a:pt x="474" y="796"/>
                  </a:lnTo>
                  <a:lnTo>
                    <a:pt x="474" y="796"/>
                  </a:lnTo>
                  <a:lnTo>
                    <a:pt x="474" y="794"/>
                  </a:lnTo>
                  <a:lnTo>
                    <a:pt x="474" y="794"/>
                  </a:lnTo>
                  <a:lnTo>
                    <a:pt x="474" y="794"/>
                  </a:lnTo>
                  <a:lnTo>
                    <a:pt x="474" y="794"/>
                  </a:lnTo>
                  <a:lnTo>
                    <a:pt x="474" y="794"/>
                  </a:lnTo>
                  <a:lnTo>
                    <a:pt x="474" y="791"/>
                  </a:lnTo>
                  <a:lnTo>
                    <a:pt x="474" y="791"/>
                  </a:lnTo>
                  <a:lnTo>
                    <a:pt x="474" y="791"/>
                  </a:lnTo>
                  <a:lnTo>
                    <a:pt x="474" y="791"/>
                  </a:lnTo>
                  <a:lnTo>
                    <a:pt x="474" y="791"/>
                  </a:lnTo>
                  <a:lnTo>
                    <a:pt x="474" y="789"/>
                  </a:lnTo>
                  <a:lnTo>
                    <a:pt x="474" y="789"/>
                  </a:lnTo>
                  <a:lnTo>
                    <a:pt x="474" y="789"/>
                  </a:lnTo>
                  <a:lnTo>
                    <a:pt x="474" y="789"/>
                  </a:lnTo>
                  <a:lnTo>
                    <a:pt x="472" y="789"/>
                  </a:lnTo>
                  <a:lnTo>
                    <a:pt x="472" y="789"/>
                  </a:lnTo>
                  <a:lnTo>
                    <a:pt x="472" y="789"/>
                  </a:lnTo>
                  <a:lnTo>
                    <a:pt x="472" y="787"/>
                  </a:lnTo>
                  <a:lnTo>
                    <a:pt x="472" y="787"/>
                  </a:lnTo>
                  <a:lnTo>
                    <a:pt x="472" y="785"/>
                  </a:lnTo>
                  <a:lnTo>
                    <a:pt x="469" y="785"/>
                  </a:lnTo>
                  <a:lnTo>
                    <a:pt x="469" y="785"/>
                  </a:lnTo>
                  <a:lnTo>
                    <a:pt x="469" y="785"/>
                  </a:lnTo>
                  <a:lnTo>
                    <a:pt x="469" y="785"/>
                  </a:lnTo>
                  <a:lnTo>
                    <a:pt x="469" y="785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2"/>
                  </a:lnTo>
                  <a:lnTo>
                    <a:pt x="469" y="780"/>
                  </a:lnTo>
                  <a:lnTo>
                    <a:pt x="469" y="780"/>
                  </a:lnTo>
                  <a:lnTo>
                    <a:pt x="469" y="778"/>
                  </a:lnTo>
                  <a:lnTo>
                    <a:pt x="469" y="778"/>
                  </a:lnTo>
                  <a:lnTo>
                    <a:pt x="472" y="778"/>
                  </a:lnTo>
                  <a:lnTo>
                    <a:pt x="472" y="778"/>
                  </a:lnTo>
                  <a:lnTo>
                    <a:pt x="472" y="778"/>
                  </a:lnTo>
                  <a:lnTo>
                    <a:pt x="472" y="778"/>
                  </a:lnTo>
                  <a:lnTo>
                    <a:pt x="472" y="778"/>
                  </a:lnTo>
                  <a:lnTo>
                    <a:pt x="472" y="776"/>
                  </a:lnTo>
                  <a:lnTo>
                    <a:pt x="472" y="776"/>
                  </a:lnTo>
                  <a:lnTo>
                    <a:pt x="469" y="776"/>
                  </a:lnTo>
                  <a:lnTo>
                    <a:pt x="472" y="776"/>
                  </a:lnTo>
                  <a:lnTo>
                    <a:pt x="472" y="776"/>
                  </a:lnTo>
                  <a:lnTo>
                    <a:pt x="472" y="776"/>
                  </a:lnTo>
                  <a:lnTo>
                    <a:pt x="472" y="776"/>
                  </a:lnTo>
                  <a:lnTo>
                    <a:pt x="472" y="776"/>
                  </a:lnTo>
                  <a:lnTo>
                    <a:pt x="474" y="776"/>
                  </a:lnTo>
                  <a:lnTo>
                    <a:pt x="474" y="776"/>
                  </a:lnTo>
                  <a:lnTo>
                    <a:pt x="474" y="776"/>
                  </a:lnTo>
                  <a:lnTo>
                    <a:pt x="474" y="776"/>
                  </a:lnTo>
                  <a:lnTo>
                    <a:pt x="474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1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3"/>
                  </a:lnTo>
                  <a:lnTo>
                    <a:pt x="476" y="771"/>
                  </a:lnTo>
                  <a:lnTo>
                    <a:pt x="476" y="771"/>
                  </a:lnTo>
                  <a:lnTo>
                    <a:pt x="476" y="771"/>
                  </a:lnTo>
                  <a:lnTo>
                    <a:pt x="476" y="769"/>
                  </a:lnTo>
                  <a:lnTo>
                    <a:pt x="476" y="767"/>
                  </a:lnTo>
                  <a:lnTo>
                    <a:pt x="476" y="767"/>
                  </a:lnTo>
                  <a:lnTo>
                    <a:pt x="476" y="767"/>
                  </a:lnTo>
                  <a:lnTo>
                    <a:pt x="474" y="767"/>
                  </a:lnTo>
                  <a:lnTo>
                    <a:pt x="474" y="767"/>
                  </a:lnTo>
                  <a:lnTo>
                    <a:pt x="474" y="767"/>
                  </a:lnTo>
                  <a:lnTo>
                    <a:pt x="474" y="767"/>
                  </a:lnTo>
                  <a:lnTo>
                    <a:pt x="472" y="767"/>
                  </a:lnTo>
                  <a:lnTo>
                    <a:pt x="472" y="767"/>
                  </a:lnTo>
                  <a:lnTo>
                    <a:pt x="472" y="767"/>
                  </a:lnTo>
                  <a:lnTo>
                    <a:pt x="472" y="767"/>
                  </a:lnTo>
                  <a:lnTo>
                    <a:pt x="472" y="767"/>
                  </a:lnTo>
                  <a:lnTo>
                    <a:pt x="469" y="764"/>
                  </a:lnTo>
                  <a:lnTo>
                    <a:pt x="469" y="764"/>
                  </a:lnTo>
                  <a:lnTo>
                    <a:pt x="469" y="762"/>
                  </a:lnTo>
                  <a:lnTo>
                    <a:pt x="469" y="762"/>
                  </a:lnTo>
                  <a:lnTo>
                    <a:pt x="469" y="762"/>
                  </a:lnTo>
                  <a:lnTo>
                    <a:pt x="469" y="762"/>
                  </a:lnTo>
                  <a:lnTo>
                    <a:pt x="469" y="762"/>
                  </a:lnTo>
                  <a:lnTo>
                    <a:pt x="469" y="760"/>
                  </a:lnTo>
                  <a:lnTo>
                    <a:pt x="469" y="760"/>
                  </a:lnTo>
                  <a:lnTo>
                    <a:pt x="469" y="758"/>
                  </a:lnTo>
                  <a:lnTo>
                    <a:pt x="469" y="758"/>
                  </a:lnTo>
                  <a:lnTo>
                    <a:pt x="472" y="758"/>
                  </a:lnTo>
                  <a:lnTo>
                    <a:pt x="472" y="758"/>
                  </a:lnTo>
                  <a:lnTo>
                    <a:pt x="472" y="755"/>
                  </a:lnTo>
                  <a:lnTo>
                    <a:pt x="469" y="755"/>
                  </a:lnTo>
                  <a:lnTo>
                    <a:pt x="472" y="755"/>
                  </a:lnTo>
                  <a:lnTo>
                    <a:pt x="472" y="755"/>
                  </a:lnTo>
                  <a:lnTo>
                    <a:pt x="469" y="755"/>
                  </a:lnTo>
                  <a:lnTo>
                    <a:pt x="469" y="755"/>
                  </a:lnTo>
                  <a:lnTo>
                    <a:pt x="469" y="755"/>
                  </a:lnTo>
                  <a:lnTo>
                    <a:pt x="469" y="753"/>
                  </a:lnTo>
                  <a:lnTo>
                    <a:pt x="469" y="753"/>
                  </a:lnTo>
                  <a:lnTo>
                    <a:pt x="472" y="753"/>
                  </a:lnTo>
                  <a:lnTo>
                    <a:pt x="472" y="751"/>
                  </a:lnTo>
                  <a:lnTo>
                    <a:pt x="472" y="751"/>
                  </a:lnTo>
                  <a:lnTo>
                    <a:pt x="472" y="751"/>
                  </a:lnTo>
                  <a:lnTo>
                    <a:pt x="472" y="749"/>
                  </a:lnTo>
                  <a:lnTo>
                    <a:pt x="472" y="749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6" y="746"/>
                  </a:lnTo>
                  <a:lnTo>
                    <a:pt x="476" y="746"/>
                  </a:lnTo>
                  <a:lnTo>
                    <a:pt x="476" y="749"/>
                  </a:lnTo>
                  <a:lnTo>
                    <a:pt x="476" y="749"/>
                  </a:lnTo>
                  <a:lnTo>
                    <a:pt x="474" y="749"/>
                  </a:lnTo>
                  <a:lnTo>
                    <a:pt x="476" y="749"/>
                  </a:lnTo>
                  <a:lnTo>
                    <a:pt x="476" y="749"/>
                  </a:lnTo>
                  <a:lnTo>
                    <a:pt x="474" y="749"/>
                  </a:lnTo>
                  <a:lnTo>
                    <a:pt x="474" y="749"/>
                  </a:lnTo>
                  <a:lnTo>
                    <a:pt x="474" y="749"/>
                  </a:lnTo>
                  <a:lnTo>
                    <a:pt x="474" y="751"/>
                  </a:lnTo>
                  <a:lnTo>
                    <a:pt x="474" y="751"/>
                  </a:lnTo>
                  <a:lnTo>
                    <a:pt x="474" y="751"/>
                  </a:lnTo>
                  <a:lnTo>
                    <a:pt x="474" y="751"/>
                  </a:lnTo>
                  <a:lnTo>
                    <a:pt x="474" y="751"/>
                  </a:lnTo>
                  <a:lnTo>
                    <a:pt x="474" y="751"/>
                  </a:lnTo>
                  <a:lnTo>
                    <a:pt x="474" y="753"/>
                  </a:lnTo>
                  <a:lnTo>
                    <a:pt x="474" y="753"/>
                  </a:lnTo>
                  <a:lnTo>
                    <a:pt x="474" y="753"/>
                  </a:lnTo>
                  <a:lnTo>
                    <a:pt x="474" y="753"/>
                  </a:lnTo>
                  <a:lnTo>
                    <a:pt x="474" y="753"/>
                  </a:lnTo>
                  <a:lnTo>
                    <a:pt x="474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3"/>
                  </a:lnTo>
                  <a:lnTo>
                    <a:pt x="476" y="755"/>
                  </a:lnTo>
                  <a:lnTo>
                    <a:pt x="476" y="755"/>
                  </a:lnTo>
                  <a:lnTo>
                    <a:pt x="476" y="755"/>
                  </a:lnTo>
                  <a:lnTo>
                    <a:pt x="476" y="755"/>
                  </a:lnTo>
                  <a:lnTo>
                    <a:pt x="476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5"/>
                  </a:lnTo>
                  <a:lnTo>
                    <a:pt x="478" y="753"/>
                  </a:lnTo>
                  <a:lnTo>
                    <a:pt x="478" y="753"/>
                  </a:lnTo>
                  <a:lnTo>
                    <a:pt x="478" y="751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8" y="749"/>
                  </a:lnTo>
                  <a:lnTo>
                    <a:pt x="476" y="749"/>
                  </a:lnTo>
                  <a:lnTo>
                    <a:pt x="476" y="749"/>
                  </a:lnTo>
                  <a:lnTo>
                    <a:pt x="476" y="749"/>
                  </a:lnTo>
                  <a:lnTo>
                    <a:pt x="476" y="746"/>
                  </a:lnTo>
                  <a:lnTo>
                    <a:pt x="478" y="746"/>
                  </a:lnTo>
                  <a:lnTo>
                    <a:pt x="478" y="744"/>
                  </a:lnTo>
                  <a:lnTo>
                    <a:pt x="478" y="744"/>
                  </a:lnTo>
                  <a:lnTo>
                    <a:pt x="476" y="744"/>
                  </a:lnTo>
                  <a:lnTo>
                    <a:pt x="476" y="744"/>
                  </a:lnTo>
                  <a:lnTo>
                    <a:pt x="476" y="744"/>
                  </a:lnTo>
                  <a:lnTo>
                    <a:pt x="478" y="744"/>
                  </a:lnTo>
                  <a:lnTo>
                    <a:pt x="478" y="742"/>
                  </a:lnTo>
                  <a:lnTo>
                    <a:pt x="478" y="742"/>
                  </a:lnTo>
                  <a:lnTo>
                    <a:pt x="478" y="742"/>
                  </a:lnTo>
                  <a:lnTo>
                    <a:pt x="478" y="742"/>
                  </a:lnTo>
                  <a:lnTo>
                    <a:pt x="478" y="742"/>
                  </a:lnTo>
                  <a:lnTo>
                    <a:pt x="478" y="742"/>
                  </a:lnTo>
                  <a:lnTo>
                    <a:pt x="478" y="742"/>
                  </a:lnTo>
                  <a:lnTo>
                    <a:pt x="480" y="742"/>
                  </a:lnTo>
                  <a:lnTo>
                    <a:pt x="480" y="742"/>
                  </a:lnTo>
                  <a:lnTo>
                    <a:pt x="480" y="742"/>
                  </a:lnTo>
                  <a:lnTo>
                    <a:pt x="483" y="742"/>
                  </a:lnTo>
                  <a:lnTo>
                    <a:pt x="483" y="742"/>
                  </a:lnTo>
                  <a:lnTo>
                    <a:pt x="483" y="742"/>
                  </a:lnTo>
                  <a:lnTo>
                    <a:pt x="483" y="742"/>
                  </a:lnTo>
                  <a:lnTo>
                    <a:pt x="485" y="742"/>
                  </a:lnTo>
                  <a:lnTo>
                    <a:pt x="485" y="742"/>
                  </a:lnTo>
                  <a:lnTo>
                    <a:pt x="487" y="742"/>
                  </a:lnTo>
                  <a:lnTo>
                    <a:pt x="487" y="742"/>
                  </a:lnTo>
                  <a:lnTo>
                    <a:pt x="489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2"/>
                  </a:lnTo>
                  <a:lnTo>
                    <a:pt x="494" y="742"/>
                  </a:lnTo>
                  <a:lnTo>
                    <a:pt x="494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6" y="742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4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92" y="742"/>
                  </a:lnTo>
                  <a:lnTo>
                    <a:pt x="489" y="742"/>
                  </a:lnTo>
                  <a:lnTo>
                    <a:pt x="489" y="742"/>
                  </a:lnTo>
                  <a:lnTo>
                    <a:pt x="489" y="742"/>
                  </a:lnTo>
                  <a:lnTo>
                    <a:pt x="489" y="742"/>
                  </a:lnTo>
                  <a:lnTo>
                    <a:pt x="489" y="742"/>
                  </a:lnTo>
                  <a:lnTo>
                    <a:pt x="489" y="742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92" y="740"/>
                  </a:lnTo>
                  <a:lnTo>
                    <a:pt x="489" y="740"/>
                  </a:lnTo>
                  <a:lnTo>
                    <a:pt x="489" y="740"/>
                  </a:lnTo>
                  <a:lnTo>
                    <a:pt x="489" y="742"/>
                  </a:lnTo>
                  <a:lnTo>
                    <a:pt x="489" y="740"/>
                  </a:lnTo>
                  <a:lnTo>
                    <a:pt x="489" y="740"/>
                  </a:lnTo>
                  <a:lnTo>
                    <a:pt x="489" y="742"/>
                  </a:lnTo>
                  <a:lnTo>
                    <a:pt x="487" y="742"/>
                  </a:lnTo>
                  <a:lnTo>
                    <a:pt x="487" y="742"/>
                  </a:lnTo>
                  <a:lnTo>
                    <a:pt x="487" y="742"/>
                  </a:lnTo>
                  <a:lnTo>
                    <a:pt x="487" y="742"/>
                  </a:lnTo>
                  <a:lnTo>
                    <a:pt x="487" y="742"/>
                  </a:lnTo>
                  <a:lnTo>
                    <a:pt x="487" y="742"/>
                  </a:lnTo>
                  <a:lnTo>
                    <a:pt x="487" y="740"/>
                  </a:lnTo>
                  <a:lnTo>
                    <a:pt x="487" y="740"/>
                  </a:lnTo>
                  <a:lnTo>
                    <a:pt x="485" y="740"/>
                  </a:lnTo>
                  <a:lnTo>
                    <a:pt x="487" y="740"/>
                  </a:lnTo>
                  <a:lnTo>
                    <a:pt x="487" y="740"/>
                  </a:lnTo>
                  <a:lnTo>
                    <a:pt x="487" y="740"/>
                  </a:lnTo>
                  <a:lnTo>
                    <a:pt x="487" y="740"/>
                  </a:lnTo>
                  <a:lnTo>
                    <a:pt x="485" y="740"/>
                  </a:lnTo>
                  <a:lnTo>
                    <a:pt x="485" y="740"/>
                  </a:lnTo>
                  <a:lnTo>
                    <a:pt x="485" y="740"/>
                  </a:lnTo>
                  <a:lnTo>
                    <a:pt x="485" y="740"/>
                  </a:lnTo>
                  <a:lnTo>
                    <a:pt x="485" y="740"/>
                  </a:lnTo>
                  <a:lnTo>
                    <a:pt x="485" y="740"/>
                  </a:lnTo>
                  <a:lnTo>
                    <a:pt x="485" y="740"/>
                  </a:lnTo>
                  <a:lnTo>
                    <a:pt x="483" y="742"/>
                  </a:lnTo>
                  <a:lnTo>
                    <a:pt x="483" y="742"/>
                  </a:lnTo>
                  <a:lnTo>
                    <a:pt x="483" y="742"/>
                  </a:lnTo>
                  <a:lnTo>
                    <a:pt x="483" y="742"/>
                  </a:lnTo>
                  <a:lnTo>
                    <a:pt x="480" y="742"/>
                  </a:lnTo>
                  <a:lnTo>
                    <a:pt x="480" y="740"/>
                  </a:lnTo>
                  <a:lnTo>
                    <a:pt x="480" y="740"/>
                  </a:lnTo>
                  <a:lnTo>
                    <a:pt x="480" y="740"/>
                  </a:lnTo>
                  <a:lnTo>
                    <a:pt x="480" y="740"/>
                  </a:lnTo>
                  <a:lnTo>
                    <a:pt x="480" y="740"/>
                  </a:lnTo>
                  <a:lnTo>
                    <a:pt x="478" y="740"/>
                  </a:lnTo>
                  <a:lnTo>
                    <a:pt x="478" y="740"/>
                  </a:lnTo>
                  <a:lnTo>
                    <a:pt x="478" y="740"/>
                  </a:lnTo>
                  <a:lnTo>
                    <a:pt x="478" y="740"/>
                  </a:lnTo>
                  <a:lnTo>
                    <a:pt x="476" y="740"/>
                  </a:lnTo>
                  <a:lnTo>
                    <a:pt x="476" y="740"/>
                  </a:lnTo>
                  <a:lnTo>
                    <a:pt x="476" y="742"/>
                  </a:lnTo>
                  <a:lnTo>
                    <a:pt x="476" y="742"/>
                  </a:lnTo>
                  <a:lnTo>
                    <a:pt x="476" y="742"/>
                  </a:lnTo>
                  <a:lnTo>
                    <a:pt x="476" y="742"/>
                  </a:lnTo>
                  <a:lnTo>
                    <a:pt x="476" y="742"/>
                  </a:lnTo>
                  <a:lnTo>
                    <a:pt x="476" y="744"/>
                  </a:lnTo>
                  <a:lnTo>
                    <a:pt x="476" y="744"/>
                  </a:lnTo>
                  <a:lnTo>
                    <a:pt x="476" y="744"/>
                  </a:lnTo>
                  <a:lnTo>
                    <a:pt x="476" y="744"/>
                  </a:lnTo>
                  <a:lnTo>
                    <a:pt x="474" y="744"/>
                  </a:lnTo>
                  <a:lnTo>
                    <a:pt x="474" y="744"/>
                  </a:lnTo>
                  <a:lnTo>
                    <a:pt x="474" y="744"/>
                  </a:lnTo>
                  <a:lnTo>
                    <a:pt x="476" y="744"/>
                  </a:lnTo>
                  <a:lnTo>
                    <a:pt x="476" y="744"/>
                  </a:lnTo>
                  <a:lnTo>
                    <a:pt x="476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4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4" y="746"/>
                  </a:lnTo>
                  <a:lnTo>
                    <a:pt x="472" y="746"/>
                  </a:lnTo>
                  <a:lnTo>
                    <a:pt x="472" y="746"/>
                  </a:lnTo>
                  <a:lnTo>
                    <a:pt x="472" y="746"/>
                  </a:lnTo>
                  <a:lnTo>
                    <a:pt x="472" y="744"/>
                  </a:lnTo>
                  <a:lnTo>
                    <a:pt x="472" y="744"/>
                  </a:lnTo>
                  <a:lnTo>
                    <a:pt x="472" y="744"/>
                  </a:lnTo>
                  <a:lnTo>
                    <a:pt x="472" y="744"/>
                  </a:lnTo>
                  <a:lnTo>
                    <a:pt x="469" y="744"/>
                  </a:lnTo>
                  <a:lnTo>
                    <a:pt x="469" y="744"/>
                  </a:lnTo>
                  <a:lnTo>
                    <a:pt x="469" y="744"/>
                  </a:lnTo>
                  <a:lnTo>
                    <a:pt x="469" y="744"/>
                  </a:lnTo>
                  <a:lnTo>
                    <a:pt x="469" y="744"/>
                  </a:lnTo>
                  <a:lnTo>
                    <a:pt x="469" y="744"/>
                  </a:lnTo>
                  <a:lnTo>
                    <a:pt x="469" y="742"/>
                  </a:lnTo>
                  <a:lnTo>
                    <a:pt x="469" y="742"/>
                  </a:lnTo>
                  <a:lnTo>
                    <a:pt x="469" y="742"/>
                  </a:lnTo>
                  <a:lnTo>
                    <a:pt x="469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0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7" y="742"/>
                  </a:lnTo>
                  <a:lnTo>
                    <a:pt x="465" y="742"/>
                  </a:lnTo>
                  <a:lnTo>
                    <a:pt x="465" y="742"/>
                  </a:lnTo>
                  <a:lnTo>
                    <a:pt x="465" y="742"/>
                  </a:lnTo>
                  <a:lnTo>
                    <a:pt x="465" y="742"/>
                  </a:lnTo>
                  <a:lnTo>
                    <a:pt x="467" y="742"/>
                  </a:lnTo>
                  <a:lnTo>
                    <a:pt x="467" y="740"/>
                  </a:lnTo>
                  <a:lnTo>
                    <a:pt x="469" y="737"/>
                  </a:lnTo>
                  <a:lnTo>
                    <a:pt x="469" y="737"/>
                  </a:lnTo>
                  <a:lnTo>
                    <a:pt x="469" y="737"/>
                  </a:lnTo>
                  <a:lnTo>
                    <a:pt x="469" y="737"/>
                  </a:lnTo>
                  <a:lnTo>
                    <a:pt x="469" y="740"/>
                  </a:lnTo>
                  <a:lnTo>
                    <a:pt x="469" y="740"/>
                  </a:lnTo>
                  <a:lnTo>
                    <a:pt x="469" y="740"/>
                  </a:lnTo>
                  <a:lnTo>
                    <a:pt x="469" y="740"/>
                  </a:lnTo>
                  <a:lnTo>
                    <a:pt x="469" y="742"/>
                  </a:lnTo>
                  <a:lnTo>
                    <a:pt x="469" y="740"/>
                  </a:lnTo>
                  <a:lnTo>
                    <a:pt x="469" y="740"/>
                  </a:lnTo>
                  <a:lnTo>
                    <a:pt x="469" y="740"/>
                  </a:lnTo>
                  <a:lnTo>
                    <a:pt x="469" y="737"/>
                  </a:lnTo>
                  <a:lnTo>
                    <a:pt x="469" y="737"/>
                  </a:lnTo>
                  <a:lnTo>
                    <a:pt x="469" y="737"/>
                  </a:lnTo>
                  <a:lnTo>
                    <a:pt x="469" y="735"/>
                  </a:lnTo>
                  <a:lnTo>
                    <a:pt x="469" y="735"/>
                  </a:lnTo>
                  <a:lnTo>
                    <a:pt x="469" y="735"/>
                  </a:lnTo>
                  <a:lnTo>
                    <a:pt x="467" y="735"/>
                  </a:lnTo>
                  <a:lnTo>
                    <a:pt x="467" y="735"/>
                  </a:lnTo>
                  <a:lnTo>
                    <a:pt x="467" y="735"/>
                  </a:lnTo>
                  <a:lnTo>
                    <a:pt x="467" y="735"/>
                  </a:lnTo>
                  <a:lnTo>
                    <a:pt x="469" y="733"/>
                  </a:lnTo>
                  <a:lnTo>
                    <a:pt x="467" y="733"/>
                  </a:lnTo>
                  <a:lnTo>
                    <a:pt x="469" y="733"/>
                  </a:lnTo>
                  <a:lnTo>
                    <a:pt x="467" y="731"/>
                  </a:lnTo>
                  <a:lnTo>
                    <a:pt x="467" y="731"/>
                  </a:lnTo>
                  <a:lnTo>
                    <a:pt x="465" y="731"/>
                  </a:lnTo>
                  <a:lnTo>
                    <a:pt x="465" y="726"/>
                  </a:lnTo>
                  <a:lnTo>
                    <a:pt x="465" y="724"/>
                  </a:lnTo>
                  <a:lnTo>
                    <a:pt x="465" y="724"/>
                  </a:lnTo>
                  <a:lnTo>
                    <a:pt x="463" y="724"/>
                  </a:lnTo>
                  <a:lnTo>
                    <a:pt x="463" y="724"/>
                  </a:lnTo>
                  <a:lnTo>
                    <a:pt x="463" y="724"/>
                  </a:lnTo>
                  <a:lnTo>
                    <a:pt x="463" y="722"/>
                  </a:lnTo>
                  <a:lnTo>
                    <a:pt x="463" y="722"/>
                  </a:lnTo>
                  <a:lnTo>
                    <a:pt x="463" y="719"/>
                  </a:lnTo>
                  <a:lnTo>
                    <a:pt x="463" y="719"/>
                  </a:lnTo>
                  <a:lnTo>
                    <a:pt x="463" y="719"/>
                  </a:lnTo>
                  <a:lnTo>
                    <a:pt x="463" y="719"/>
                  </a:lnTo>
                  <a:lnTo>
                    <a:pt x="463" y="719"/>
                  </a:lnTo>
                  <a:lnTo>
                    <a:pt x="465" y="717"/>
                  </a:lnTo>
                  <a:lnTo>
                    <a:pt x="465" y="717"/>
                  </a:lnTo>
                  <a:lnTo>
                    <a:pt x="465" y="717"/>
                  </a:lnTo>
                  <a:lnTo>
                    <a:pt x="465" y="717"/>
                  </a:lnTo>
                  <a:lnTo>
                    <a:pt x="465" y="717"/>
                  </a:lnTo>
                  <a:lnTo>
                    <a:pt x="465" y="717"/>
                  </a:lnTo>
                  <a:lnTo>
                    <a:pt x="465" y="715"/>
                  </a:lnTo>
                  <a:lnTo>
                    <a:pt x="465" y="715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5" y="713"/>
                  </a:lnTo>
                  <a:lnTo>
                    <a:pt x="465" y="710"/>
                  </a:lnTo>
                  <a:lnTo>
                    <a:pt x="465" y="710"/>
                  </a:lnTo>
                  <a:lnTo>
                    <a:pt x="465" y="710"/>
                  </a:lnTo>
                  <a:lnTo>
                    <a:pt x="467" y="708"/>
                  </a:lnTo>
                  <a:lnTo>
                    <a:pt x="467" y="706"/>
                  </a:lnTo>
                  <a:lnTo>
                    <a:pt x="467" y="706"/>
                  </a:lnTo>
                  <a:lnTo>
                    <a:pt x="469" y="706"/>
                  </a:lnTo>
                  <a:lnTo>
                    <a:pt x="469" y="706"/>
                  </a:lnTo>
                  <a:lnTo>
                    <a:pt x="469" y="704"/>
                  </a:lnTo>
                  <a:lnTo>
                    <a:pt x="469" y="704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701"/>
                  </a:lnTo>
                  <a:lnTo>
                    <a:pt x="469" y="699"/>
                  </a:lnTo>
                  <a:lnTo>
                    <a:pt x="469" y="699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2"/>
                  </a:lnTo>
                  <a:lnTo>
                    <a:pt x="467" y="692"/>
                  </a:lnTo>
                  <a:lnTo>
                    <a:pt x="467" y="692"/>
                  </a:lnTo>
                  <a:lnTo>
                    <a:pt x="465" y="690"/>
                  </a:lnTo>
                  <a:lnTo>
                    <a:pt x="465" y="690"/>
                  </a:lnTo>
                  <a:lnTo>
                    <a:pt x="465" y="688"/>
                  </a:lnTo>
                  <a:lnTo>
                    <a:pt x="465" y="688"/>
                  </a:lnTo>
                  <a:lnTo>
                    <a:pt x="467" y="688"/>
                  </a:lnTo>
                  <a:lnTo>
                    <a:pt x="467" y="686"/>
                  </a:lnTo>
                  <a:lnTo>
                    <a:pt x="467" y="686"/>
                  </a:lnTo>
                  <a:lnTo>
                    <a:pt x="467" y="686"/>
                  </a:lnTo>
                  <a:lnTo>
                    <a:pt x="467" y="683"/>
                  </a:lnTo>
                  <a:lnTo>
                    <a:pt x="467" y="683"/>
                  </a:lnTo>
                  <a:lnTo>
                    <a:pt x="467" y="683"/>
                  </a:lnTo>
                  <a:lnTo>
                    <a:pt x="467" y="683"/>
                  </a:lnTo>
                  <a:lnTo>
                    <a:pt x="467" y="683"/>
                  </a:lnTo>
                  <a:lnTo>
                    <a:pt x="469" y="683"/>
                  </a:lnTo>
                  <a:lnTo>
                    <a:pt x="469" y="681"/>
                  </a:lnTo>
                  <a:lnTo>
                    <a:pt x="469" y="681"/>
                  </a:lnTo>
                  <a:lnTo>
                    <a:pt x="472" y="681"/>
                  </a:lnTo>
                  <a:lnTo>
                    <a:pt x="472" y="681"/>
                  </a:lnTo>
                  <a:lnTo>
                    <a:pt x="472" y="681"/>
                  </a:lnTo>
                  <a:lnTo>
                    <a:pt x="472" y="681"/>
                  </a:lnTo>
                  <a:lnTo>
                    <a:pt x="472" y="679"/>
                  </a:lnTo>
                  <a:lnTo>
                    <a:pt x="472" y="679"/>
                  </a:lnTo>
                  <a:lnTo>
                    <a:pt x="472" y="679"/>
                  </a:lnTo>
                  <a:lnTo>
                    <a:pt x="472" y="679"/>
                  </a:lnTo>
                  <a:lnTo>
                    <a:pt x="472" y="679"/>
                  </a:lnTo>
                  <a:lnTo>
                    <a:pt x="472" y="679"/>
                  </a:lnTo>
                  <a:lnTo>
                    <a:pt x="472" y="679"/>
                  </a:lnTo>
                  <a:lnTo>
                    <a:pt x="474" y="677"/>
                  </a:lnTo>
                  <a:lnTo>
                    <a:pt x="474" y="679"/>
                  </a:lnTo>
                  <a:lnTo>
                    <a:pt x="474" y="679"/>
                  </a:lnTo>
                  <a:lnTo>
                    <a:pt x="474" y="679"/>
                  </a:lnTo>
                  <a:lnTo>
                    <a:pt x="474" y="679"/>
                  </a:lnTo>
                  <a:lnTo>
                    <a:pt x="474" y="679"/>
                  </a:lnTo>
                  <a:lnTo>
                    <a:pt x="474" y="679"/>
                  </a:lnTo>
                  <a:lnTo>
                    <a:pt x="474" y="677"/>
                  </a:lnTo>
                  <a:lnTo>
                    <a:pt x="474" y="677"/>
                  </a:lnTo>
                  <a:lnTo>
                    <a:pt x="476" y="677"/>
                  </a:lnTo>
                  <a:lnTo>
                    <a:pt x="476" y="677"/>
                  </a:lnTo>
                  <a:lnTo>
                    <a:pt x="476" y="677"/>
                  </a:lnTo>
                  <a:lnTo>
                    <a:pt x="476" y="677"/>
                  </a:lnTo>
                  <a:lnTo>
                    <a:pt x="478" y="677"/>
                  </a:lnTo>
                  <a:lnTo>
                    <a:pt x="478" y="674"/>
                  </a:lnTo>
                  <a:lnTo>
                    <a:pt x="478" y="674"/>
                  </a:lnTo>
                  <a:lnTo>
                    <a:pt x="478" y="674"/>
                  </a:lnTo>
                  <a:lnTo>
                    <a:pt x="478" y="674"/>
                  </a:lnTo>
                  <a:lnTo>
                    <a:pt x="476" y="674"/>
                  </a:lnTo>
                  <a:lnTo>
                    <a:pt x="476" y="674"/>
                  </a:lnTo>
                  <a:lnTo>
                    <a:pt x="476" y="677"/>
                  </a:lnTo>
                  <a:lnTo>
                    <a:pt x="474" y="677"/>
                  </a:lnTo>
                  <a:lnTo>
                    <a:pt x="474" y="677"/>
                  </a:lnTo>
                  <a:lnTo>
                    <a:pt x="474" y="677"/>
                  </a:lnTo>
                  <a:lnTo>
                    <a:pt x="476" y="674"/>
                  </a:lnTo>
                  <a:lnTo>
                    <a:pt x="478" y="672"/>
                  </a:lnTo>
                  <a:lnTo>
                    <a:pt x="480" y="672"/>
                  </a:lnTo>
                  <a:lnTo>
                    <a:pt x="480" y="670"/>
                  </a:lnTo>
                  <a:lnTo>
                    <a:pt x="480" y="670"/>
                  </a:lnTo>
                  <a:lnTo>
                    <a:pt x="480" y="670"/>
                  </a:lnTo>
                  <a:lnTo>
                    <a:pt x="480" y="670"/>
                  </a:lnTo>
                  <a:lnTo>
                    <a:pt x="480" y="668"/>
                  </a:lnTo>
                  <a:lnTo>
                    <a:pt x="480" y="668"/>
                  </a:lnTo>
                  <a:lnTo>
                    <a:pt x="480" y="668"/>
                  </a:lnTo>
                  <a:lnTo>
                    <a:pt x="480" y="668"/>
                  </a:lnTo>
                  <a:lnTo>
                    <a:pt x="483" y="665"/>
                  </a:lnTo>
                  <a:lnTo>
                    <a:pt x="483" y="665"/>
                  </a:lnTo>
                  <a:lnTo>
                    <a:pt x="485" y="663"/>
                  </a:lnTo>
                  <a:lnTo>
                    <a:pt x="485" y="661"/>
                  </a:lnTo>
                  <a:lnTo>
                    <a:pt x="485" y="661"/>
                  </a:lnTo>
                  <a:lnTo>
                    <a:pt x="487" y="661"/>
                  </a:lnTo>
                  <a:lnTo>
                    <a:pt x="487" y="659"/>
                  </a:lnTo>
                  <a:lnTo>
                    <a:pt x="487" y="659"/>
                  </a:lnTo>
                  <a:lnTo>
                    <a:pt x="487" y="659"/>
                  </a:lnTo>
                  <a:lnTo>
                    <a:pt x="487" y="659"/>
                  </a:lnTo>
                  <a:lnTo>
                    <a:pt x="487" y="659"/>
                  </a:lnTo>
                  <a:lnTo>
                    <a:pt x="487" y="659"/>
                  </a:lnTo>
                  <a:lnTo>
                    <a:pt x="487" y="659"/>
                  </a:lnTo>
                  <a:lnTo>
                    <a:pt x="487" y="656"/>
                  </a:lnTo>
                  <a:lnTo>
                    <a:pt x="487" y="656"/>
                  </a:lnTo>
                  <a:lnTo>
                    <a:pt x="487" y="656"/>
                  </a:lnTo>
                  <a:lnTo>
                    <a:pt x="487" y="656"/>
                  </a:lnTo>
                  <a:lnTo>
                    <a:pt x="487" y="656"/>
                  </a:lnTo>
                  <a:lnTo>
                    <a:pt x="487" y="656"/>
                  </a:lnTo>
                  <a:lnTo>
                    <a:pt x="487" y="654"/>
                  </a:lnTo>
                  <a:lnTo>
                    <a:pt x="487" y="654"/>
                  </a:lnTo>
                  <a:lnTo>
                    <a:pt x="487" y="654"/>
                  </a:lnTo>
                  <a:lnTo>
                    <a:pt x="487" y="652"/>
                  </a:lnTo>
                  <a:lnTo>
                    <a:pt x="487" y="652"/>
                  </a:lnTo>
                  <a:lnTo>
                    <a:pt x="487" y="652"/>
                  </a:lnTo>
                  <a:lnTo>
                    <a:pt x="487" y="652"/>
                  </a:lnTo>
                  <a:lnTo>
                    <a:pt x="489" y="652"/>
                  </a:lnTo>
                  <a:lnTo>
                    <a:pt x="489" y="650"/>
                  </a:lnTo>
                  <a:lnTo>
                    <a:pt x="489" y="647"/>
                  </a:lnTo>
                  <a:lnTo>
                    <a:pt x="489" y="647"/>
                  </a:lnTo>
                  <a:lnTo>
                    <a:pt x="489" y="647"/>
                  </a:lnTo>
                  <a:lnTo>
                    <a:pt x="489" y="647"/>
                  </a:lnTo>
                  <a:lnTo>
                    <a:pt x="489" y="645"/>
                  </a:lnTo>
                  <a:lnTo>
                    <a:pt x="489" y="645"/>
                  </a:lnTo>
                  <a:lnTo>
                    <a:pt x="489" y="645"/>
                  </a:lnTo>
                  <a:lnTo>
                    <a:pt x="489" y="643"/>
                  </a:lnTo>
                  <a:lnTo>
                    <a:pt x="489" y="643"/>
                  </a:lnTo>
                  <a:lnTo>
                    <a:pt x="489" y="643"/>
                  </a:lnTo>
                  <a:lnTo>
                    <a:pt x="489" y="641"/>
                  </a:lnTo>
                  <a:lnTo>
                    <a:pt x="489" y="641"/>
                  </a:lnTo>
                  <a:lnTo>
                    <a:pt x="489" y="641"/>
                  </a:lnTo>
                  <a:lnTo>
                    <a:pt x="489" y="641"/>
                  </a:lnTo>
                  <a:lnTo>
                    <a:pt x="489" y="641"/>
                  </a:lnTo>
                  <a:lnTo>
                    <a:pt x="489" y="641"/>
                  </a:lnTo>
                  <a:lnTo>
                    <a:pt x="489" y="641"/>
                  </a:lnTo>
                  <a:lnTo>
                    <a:pt x="492" y="641"/>
                  </a:lnTo>
                  <a:lnTo>
                    <a:pt x="492" y="638"/>
                  </a:lnTo>
                  <a:lnTo>
                    <a:pt x="492" y="638"/>
                  </a:lnTo>
                  <a:lnTo>
                    <a:pt x="492" y="638"/>
                  </a:lnTo>
                  <a:lnTo>
                    <a:pt x="492" y="638"/>
                  </a:lnTo>
                  <a:lnTo>
                    <a:pt x="492" y="636"/>
                  </a:lnTo>
                  <a:lnTo>
                    <a:pt x="492" y="636"/>
                  </a:lnTo>
                  <a:lnTo>
                    <a:pt x="492" y="636"/>
                  </a:lnTo>
                  <a:lnTo>
                    <a:pt x="494" y="636"/>
                  </a:lnTo>
                  <a:lnTo>
                    <a:pt x="494" y="636"/>
                  </a:lnTo>
                  <a:lnTo>
                    <a:pt x="494" y="634"/>
                  </a:lnTo>
                  <a:lnTo>
                    <a:pt x="494" y="634"/>
                  </a:lnTo>
                  <a:lnTo>
                    <a:pt x="494" y="632"/>
                  </a:lnTo>
                  <a:lnTo>
                    <a:pt x="494" y="632"/>
                  </a:lnTo>
                  <a:lnTo>
                    <a:pt x="494" y="632"/>
                  </a:lnTo>
                  <a:lnTo>
                    <a:pt x="494" y="632"/>
                  </a:lnTo>
                  <a:lnTo>
                    <a:pt x="494" y="632"/>
                  </a:lnTo>
                  <a:lnTo>
                    <a:pt x="494" y="632"/>
                  </a:lnTo>
                  <a:lnTo>
                    <a:pt x="494" y="632"/>
                  </a:lnTo>
                  <a:lnTo>
                    <a:pt x="494" y="629"/>
                  </a:lnTo>
                  <a:lnTo>
                    <a:pt x="494" y="629"/>
                  </a:lnTo>
                  <a:lnTo>
                    <a:pt x="494" y="629"/>
                  </a:lnTo>
                  <a:lnTo>
                    <a:pt x="494" y="629"/>
                  </a:lnTo>
                  <a:lnTo>
                    <a:pt x="494" y="629"/>
                  </a:lnTo>
                  <a:lnTo>
                    <a:pt x="494" y="629"/>
                  </a:lnTo>
                  <a:lnTo>
                    <a:pt x="494" y="627"/>
                  </a:lnTo>
                  <a:lnTo>
                    <a:pt x="494" y="627"/>
                  </a:lnTo>
                  <a:lnTo>
                    <a:pt x="496" y="625"/>
                  </a:lnTo>
                  <a:lnTo>
                    <a:pt x="498" y="625"/>
                  </a:lnTo>
                  <a:lnTo>
                    <a:pt x="498" y="625"/>
                  </a:lnTo>
                  <a:lnTo>
                    <a:pt x="498" y="623"/>
                  </a:lnTo>
                  <a:lnTo>
                    <a:pt x="501" y="623"/>
                  </a:lnTo>
                  <a:lnTo>
                    <a:pt x="501" y="623"/>
                  </a:lnTo>
                  <a:lnTo>
                    <a:pt x="501" y="623"/>
                  </a:lnTo>
                  <a:lnTo>
                    <a:pt x="501" y="620"/>
                  </a:lnTo>
                  <a:lnTo>
                    <a:pt x="503" y="618"/>
                  </a:lnTo>
                  <a:lnTo>
                    <a:pt x="505" y="618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5" y="616"/>
                  </a:lnTo>
                  <a:lnTo>
                    <a:pt x="507" y="616"/>
                  </a:lnTo>
                  <a:lnTo>
                    <a:pt x="505" y="616"/>
                  </a:lnTo>
                  <a:lnTo>
                    <a:pt x="505" y="618"/>
                  </a:lnTo>
                  <a:lnTo>
                    <a:pt x="505" y="618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6"/>
                  </a:lnTo>
                  <a:lnTo>
                    <a:pt x="510" y="616"/>
                  </a:lnTo>
                  <a:lnTo>
                    <a:pt x="510" y="616"/>
                  </a:lnTo>
                  <a:lnTo>
                    <a:pt x="510" y="616"/>
                  </a:lnTo>
                  <a:lnTo>
                    <a:pt x="510" y="616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10" y="614"/>
                  </a:lnTo>
                  <a:lnTo>
                    <a:pt x="507" y="614"/>
                  </a:lnTo>
                  <a:lnTo>
                    <a:pt x="507" y="616"/>
                  </a:lnTo>
                  <a:lnTo>
                    <a:pt x="507" y="616"/>
                  </a:lnTo>
                  <a:lnTo>
                    <a:pt x="507" y="614"/>
                  </a:lnTo>
                  <a:lnTo>
                    <a:pt x="510" y="611"/>
                  </a:lnTo>
                  <a:lnTo>
                    <a:pt x="512" y="611"/>
                  </a:lnTo>
                  <a:lnTo>
                    <a:pt x="512" y="611"/>
                  </a:lnTo>
                  <a:lnTo>
                    <a:pt x="512" y="609"/>
                  </a:lnTo>
                  <a:lnTo>
                    <a:pt x="512" y="609"/>
                  </a:lnTo>
                  <a:lnTo>
                    <a:pt x="512" y="609"/>
                  </a:lnTo>
                  <a:lnTo>
                    <a:pt x="514" y="609"/>
                  </a:lnTo>
                  <a:lnTo>
                    <a:pt x="514" y="609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6" y="607"/>
                  </a:lnTo>
                  <a:lnTo>
                    <a:pt x="516" y="607"/>
                  </a:lnTo>
                  <a:lnTo>
                    <a:pt x="516" y="607"/>
                  </a:lnTo>
                  <a:lnTo>
                    <a:pt x="516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9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4" y="607"/>
                  </a:lnTo>
                  <a:lnTo>
                    <a:pt x="516" y="602"/>
                  </a:lnTo>
                  <a:lnTo>
                    <a:pt x="519" y="602"/>
                  </a:lnTo>
                  <a:lnTo>
                    <a:pt x="519" y="602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19" y="600"/>
                  </a:lnTo>
                  <a:lnTo>
                    <a:pt x="521" y="598"/>
                  </a:lnTo>
                  <a:lnTo>
                    <a:pt x="521" y="598"/>
                  </a:lnTo>
                  <a:lnTo>
                    <a:pt x="521" y="596"/>
                  </a:lnTo>
                  <a:lnTo>
                    <a:pt x="523" y="596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3" y="593"/>
                  </a:lnTo>
                  <a:lnTo>
                    <a:pt x="525" y="591"/>
                  </a:lnTo>
                  <a:lnTo>
                    <a:pt x="525" y="591"/>
                  </a:lnTo>
                  <a:lnTo>
                    <a:pt x="525" y="591"/>
                  </a:lnTo>
                  <a:lnTo>
                    <a:pt x="525" y="591"/>
                  </a:lnTo>
                  <a:lnTo>
                    <a:pt x="528" y="591"/>
                  </a:lnTo>
                  <a:lnTo>
                    <a:pt x="528" y="591"/>
                  </a:lnTo>
                  <a:lnTo>
                    <a:pt x="528" y="591"/>
                  </a:lnTo>
                  <a:lnTo>
                    <a:pt x="525" y="591"/>
                  </a:lnTo>
                  <a:lnTo>
                    <a:pt x="525" y="591"/>
                  </a:lnTo>
                  <a:lnTo>
                    <a:pt x="525" y="589"/>
                  </a:lnTo>
                  <a:lnTo>
                    <a:pt x="528" y="589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7"/>
                  </a:lnTo>
                  <a:lnTo>
                    <a:pt x="530" y="584"/>
                  </a:lnTo>
                  <a:lnTo>
                    <a:pt x="530" y="584"/>
                  </a:lnTo>
                  <a:lnTo>
                    <a:pt x="530" y="584"/>
                  </a:lnTo>
                  <a:lnTo>
                    <a:pt x="530" y="584"/>
                  </a:lnTo>
                  <a:lnTo>
                    <a:pt x="530" y="584"/>
                  </a:lnTo>
                  <a:lnTo>
                    <a:pt x="530" y="582"/>
                  </a:lnTo>
                  <a:lnTo>
                    <a:pt x="530" y="582"/>
                  </a:lnTo>
                  <a:lnTo>
                    <a:pt x="532" y="582"/>
                  </a:lnTo>
                  <a:lnTo>
                    <a:pt x="532" y="580"/>
                  </a:lnTo>
                  <a:lnTo>
                    <a:pt x="532" y="580"/>
                  </a:lnTo>
                  <a:lnTo>
                    <a:pt x="532" y="580"/>
                  </a:lnTo>
                  <a:lnTo>
                    <a:pt x="534" y="580"/>
                  </a:lnTo>
                  <a:lnTo>
                    <a:pt x="534" y="580"/>
                  </a:lnTo>
                  <a:lnTo>
                    <a:pt x="534" y="580"/>
                  </a:lnTo>
                  <a:lnTo>
                    <a:pt x="534" y="580"/>
                  </a:lnTo>
                  <a:lnTo>
                    <a:pt x="534" y="578"/>
                  </a:lnTo>
                  <a:lnTo>
                    <a:pt x="534" y="578"/>
                  </a:lnTo>
                  <a:lnTo>
                    <a:pt x="534" y="578"/>
                  </a:lnTo>
                  <a:lnTo>
                    <a:pt x="534" y="578"/>
                  </a:lnTo>
                  <a:lnTo>
                    <a:pt x="534" y="578"/>
                  </a:lnTo>
                  <a:lnTo>
                    <a:pt x="537" y="575"/>
                  </a:lnTo>
                  <a:lnTo>
                    <a:pt x="537" y="575"/>
                  </a:lnTo>
                  <a:lnTo>
                    <a:pt x="537" y="575"/>
                  </a:lnTo>
                  <a:lnTo>
                    <a:pt x="537" y="575"/>
                  </a:lnTo>
                  <a:lnTo>
                    <a:pt x="537" y="575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41" y="571"/>
                  </a:lnTo>
                  <a:lnTo>
                    <a:pt x="541" y="571"/>
                  </a:lnTo>
                  <a:lnTo>
                    <a:pt x="541" y="571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1" y="566"/>
                  </a:lnTo>
                  <a:lnTo>
                    <a:pt x="541" y="566"/>
                  </a:lnTo>
                  <a:lnTo>
                    <a:pt x="543" y="566"/>
                  </a:lnTo>
                  <a:lnTo>
                    <a:pt x="541" y="566"/>
                  </a:lnTo>
                  <a:lnTo>
                    <a:pt x="541" y="569"/>
                  </a:lnTo>
                  <a:lnTo>
                    <a:pt x="541" y="569"/>
                  </a:lnTo>
                  <a:lnTo>
                    <a:pt x="543" y="569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3" y="564"/>
                  </a:lnTo>
                  <a:lnTo>
                    <a:pt x="543" y="564"/>
                  </a:lnTo>
                  <a:lnTo>
                    <a:pt x="543" y="564"/>
                  </a:lnTo>
                  <a:lnTo>
                    <a:pt x="543" y="564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3" y="566"/>
                  </a:lnTo>
                  <a:lnTo>
                    <a:pt x="546" y="566"/>
                  </a:lnTo>
                  <a:lnTo>
                    <a:pt x="546" y="566"/>
                  </a:lnTo>
                  <a:lnTo>
                    <a:pt x="546" y="566"/>
                  </a:lnTo>
                  <a:lnTo>
                    <a:pt x="546" y="564"/>
                  </a:lnTo>
                  <a:lnTo>
                    <a:pt x="546" y="564"/>
                  </a:lnTo>
                  <a:lnTo>
                    <a:pt x="546" y="564"/>
                  </a:lnTo>
                  <a:lnTo>
                    <a:pt x="546" y="564"/>
                  </a:lnTo>
                  <a:lnTo>
                    <a:pt x="546" y="564"/>
                  </a:lnTo>
                  <a:lnTo>
                    <a:pt x="546" y="564"/>
                  </a:lnTo>
                  <a:lnTo>
                    <a:pt x="543" y="564"/>
                  </a:lnTo>
                  <a:lnTo>
                    <a:pt x="546" y="564"/>
                  </a:lnTo>
                  <a:lnTo>
                    <a:pt x="546" y="562"/>
                  </a:lnTo>
                  <a:lnTo>
                    <a:pt x="546" y="562"/>
                  </a:lnTo>
                  <a:lnTo>
                    <a:pt x="546" y="562"/>
                  </a:lnTo>
                  <a:lnTo>
                    <a:pt x="546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8" y="562"/>
                  </a:lnTo>
                  <a:lnTo>
                    <a:pt x="546" y="562"/>
                  </a:lnTo>
                  <a:lnTo>
                    <a:pt x="546" y="562"/>
                  </a:lnTo>
                  <a:lnTo>
                    <a:pt x="546" y="562"/>
                  </a:lnTo>
                  <a:lnTo>
                    <a:pt x="546" y="562"/>
                  </a:lnTo>
                  <a:lnTo>
                    <a:pt x="548" y="560"/>
                  </a:lnTo>
                  <a:lnTo>
                    <a:pt x="548" y="560"/>
                  </a:lnTo>
                  <a:lnTo>
                    <a:pt x="546" y="560"/>
                  </a:lnTo>
                  <a:lnTo>
                    <a:pt x="548" y="557"/>
                  </a:lnTo>
                  <a:lnTo>
                    <a:pt x="548" y="557"/>
                  </a:lnTo>
                  <a:lnTo>
                    <a:pt x="548" y="557"/>
                  </a:lnTo>
                  <a:lnTo>
                    <a:pt x="548" y="555"/>
                  </a:lnTo>
                  <a:lnTo>
                    <a:pt x="550" y="555"/>
                  </a:lnTo>
                  <a:lnTo>
                    <a:pt x="550" y="555"/>
                  </a:lnTo>
                  <a:lnTo>
                    <a:pt x="550" y="555"/>
                  </a:lnTo>
                  <a:lnTo>
                    <a:pt x="550" y="555"/>
                  </a:lnTo>
                  <a:lnTo>
                    <a:pt x="550" y="555"/>
                  </a:lnTo>
                  <a:lnTo>
                    <a:pt x="550" y="555"/>
                  </a:lnTo>
                  <a:lnTo>
                    <a:pt x="550" y="555"/>
                  </a:lnTo>
                  <a:lnTo>
                    <a:pt x="550" y="553"/>
                  </a:lnTo>
                  <a:lnTo>
                    <a:pt x="552" y="553"/>
                  </a:lnTo>
                  <a:lnTo>
                    <a:pt x="552" y="553"/>
                  </a:lnTo>
                  <a:lnTo>
                    <a:pt x="552" y="553"/>
                  </a:lnTo>
                  <a:lnTo>
                    <a:pt x="552" y="553"/>
                  </a:lnTo>
                  <a:lnTo>
                    <a:pt x="552" y="551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5" y="548"/>
                  </a:lnTo>
                  <a:lnTo>
                    <a:pt x="555" y="548"/>
                  </a:lnTo>
                  <a:lnTo>
                    <a:pt x="555" y="548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7" y="551"/>
                  </a:lnTo>
                  <a:lnTo>
                    <a:pt x="557" y="551"/>
                  </a:lnTo>
                  <a:lnTo>
                    <a:pt x="557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51"/>
                  </a:lnTo>
                  <a:lnTo>
                    <a:pt x="555" y="548"/>
                  </a:lnTo>
                  <a:lnTo>
                    <a:pt x="555" y="548"/>
                  </a:lnTo>
                  <a:lnTo>
                    <a:pt x="557" y="548"/>
                  </a:lnTo>
                  <a:lnTo>
                    <a:pt x="557" y="548"/>
                  </a:lnTo>
                  <a:lnTo>
                    <a:pt x="557" y="548"/>
                  </a:lnTo>
                  <a:lnTo>
                    <a:pt x="557" y="548"/>
                  </a:lnTo>
                  <a:lnTo>
                    <a:pt x="557" y="551"/>
                  </a:lnTo>
                  <a:lnTo>
                    <a:pt x="557" y="551"/>
                  </a:lnTo>
                  <a:lnTo>
                    <a:pt x="557" y="551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61" y="548"/>
                  </a:lnTo>
                  <a:lnTo>
                    <a:pt x="561" y="548"/>
                  </a:lnTo>
                  <a:lnTo>
                    <a:pt x="561" y="548"/>
                  </a:lnTo>
                  <a:lnTo>
                    <a:pt x="561" y="548"/>
                  </a:lnTo>
                  <a:lnTo>
                    <a:pt x="561" y="548"/>
                  </a:lnTo>
                  <a:lnTo>
                    <a:pt x="564" y="548"/>
                  </a:lnTo>
                  <a:lnTo>
                    <a:pt x="564" y="548"/>
                  </a:lnTo>
                  <a:lnTo>
                    <a:pt x="564" y="551"/>
                  </a:lnTo>
                  <a:lnTo>
                    <a:pt x="564" y="551"/>
                  </a:lnTo>
                  <a:lnTo>
                    <a:pt x="564" y="551"/>
                  </a:lnTo>
                  <a:lnTo>
                    <a:pt x="566" y="551"/>
                  </a:lnTo>
                  <a:lnTo>
                    <a:pt x="566" y="551"/>
                  </a:lnTo>
                  <a:lnTo>
                    <a:pt x="566" y="551"/>
                  </a:lnTo>
                  <a:lnTo>
                    <a:pt x="568" y="551"/>
                  </a:lnTo>
                  <a:lnTo>
                    <a:pt x="568" y="551"/>
                  </a:lnTo>
                  <a:lnTo>
                    <a:pt x="568" y="551"/>
                  </a:lnTo>
                  <a:lnTo>
                    <a:pt x="566" y="551"/>
                  </a:lnTo>
                  <a:lnTo>
                    <a:pt x="566" y="551"/>
                  </a:lnTo>
                  <a:lnTo>
                    <a:pt x="566" y="551"/>
                  </a:lnTo>
                  <a:lnTo>
                    <a:pt x="566" y="551"/>
                  </a:lnTo>
                  <a:lnTo>
                    <a:pt x="564" y="548"/>
                  </a:lnTo>
                  <a:lnTo>
                    <a:pt x="564" y="548"/>
                  </a:lnTo>
                  <a:lnTo>
                    <a:pt x="564" y="548"/>
                  </a:lnTo>
                  <a:lnTo>
                    <a:pt x="564" y="548"/>
                  </a:lnTo>
                  <a:lnTo>
                    <a:pt x="564" y="548"/>
                  </a:lnTo>
                  <a:lnTo>
                    <a:pt x="564" y="548"/>
                  </a:lnTo>
                  <a:lnTo>
                    <a:pt x="561" y="548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9" y="546"/>
                  </a:lnTo>
                  <a:lnTo>
                    <a:pt x="559" y="546"/>
                  </a:lnTo>
                  <a:lnTo>
                    <a:pt x="559" y="546"/>
                  </a:lnTo>
                  <a:lnTo>
                    <a:pt x="559" y="546"/>
                  </a:lnTo>
                  <a:lnTo>
                    <a:pt x="559" y="546"/>
                  </a:lnTo>
                  <a:lnTo>
                    <a:pt x="559" y="546"/>
                  </a:lnTo>
                  <a:lnTo>
                    <a:pt x="559" y="548"/>
                  </a:lnTo>
                  <a:lnTo>
                    <a:pt x="559" y="548"/>
                  </a:lnTo>
                  <a:lnTo>
                    <a:pt x="557" y="546"/>
                  </a:lnTo>
                  <a:lnTo>
                    <a:pt x="557" y="546"/>
                  </a:lnTo>
                  <a:lnTo>
                    <a:pt x="557" y="548"/>
                  </a:lnTo>
                  <a:lnTo>
                    <a:pt x="557" y="548"/>
                  </a:lnTo>
                  <a:lnTo>
                    <a:pt x="557" y="548"/>
                  </a:lnTo>
                  <a:lnTo>
                    <a:pt x="555" y="548"/>
                  </a:lnTo>
                  <a:lnTo>
                    <a:pt x="555" y="548"/>
                  </a:lnTo>
                  <a:lnTo>
                    <a:pt x="555" y="546"/>
                  </a:lnTo>
                  <a:lnTo>
                    <a:pt x="555" y="546"/>
                  </a:lnTo>
                  <a:lnTo>
                    <a:pt x="555" y="546"/>
                  </a:lnTo>
                  <a:lnTo>
                    <a:pt x="555" y="546"/>
                  </a:lnTo>
                  <a:lnTo>
                    <a:pt x="552" y="546"/>
                  </a:lnTo>
                  <a:lnTo>
                    <a:pt x="552" y="546"/>
                  </a:lnTo>
                  <a:lnTo>
                    <a:pt x="552" y="546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8"/>
                  </a:lnTo>
                  <a:lnTo>
                    <a:pt x="552" y="546"/>
                  </a:lnTo>
                  <a:lnTo>
                    <a:pt x="552" y="546"/>
                  </a:lnTo>
                  <a:lnTo>
                    <a:pt x="552" y="546"/>
                  </a:lnTo>
                  <a:lnTo>
                    <a:pt x="555" y="546"/>
                  </a:lnTo>
                  <a:lnTo>
                    <a:pt x="555" y="546"/>
                  </a:lnTo>
                  <a:lnTo>
                    <a:pt x="555" y="546"/>
                  </a:lnTo>
                  <a:lnTo>
                    <a:pt x="555" y="544"/>
                  </a:lnTo>
                  <a:lnTo>
                    <a:pt x="555" y="544"/>
                  </a:lnTo>
                  <a:lnTo>
                    <a:pt x="557" y="539"/>
                  </a:lnTo>
                  <a:lnTo>
                    <a:pt x="557" y="539"/>
                  </a:lnTo>
                  <a:lnTo>
                    <a:pt x="559" y="539"/>
                  </a:lnTo>
                  <a:lnTo>
                    <a:pt x="557" y="539"/>
                  </a:lnTo>
                  <a:lnTo>
                    <a:pt x="557" y="539"/>
                  </a:lnTo>
                  <a:lnTo>
                    <a:pt x="557" y="539"/>
                  </a:lnTo>
                  <a:lnTo>
                    <a:pt x="557" y="539"/>
                  </a:lnTo>
                  <a:lnTo>
                    <a:pt x="557" y="542"/>
                  </a:lnTo>
                  <a:lnTo>
                    <a:pt x="557" y="544"/>
                  </a:lnTo>
                  <a:lnTo>
                    <a:pt x="555" y="544"/>
                  </a:lnTo>
                  <a:lnTo>
                    <a:pt x="555" y="544"/>
                  </a:lnTo>
                  <a:lnTo>
                    <a:pt x="555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9" y="544"/>
                  </a:lnTo>
                  <a:lnTo>
                    <a:pt x="559" y="544"/>
                  </a:lnTo>
                  <a:lnTo>
                    <a:pt x="559" y="544"/>
                  </a:lnTo>
                  <a:lnTo>
                    <a:pt x="559" y="544"/>
                  </a:lnTo>
                  <a:lnTo>
                    <a:pt x="559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9" y="544"/>
                  </a:lnTo>
                  <a:lnTo>
                    <a:pt x="559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7" y="544"/>
                  </a:lnTo>
                  <a:lnTo>
                    <a:pt x="557" y="542"/>
                  </a:lnTo>
                  <a:lnTo>
                    <a:pt x="557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42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59" y="539"/>
                  </a:lnTo>
                  <a:lnTo>
                    <a:pt x="561" y="539"/>
                  </a:lnTo>
                  <a:lnTo>
                    <a:pt x="561" y="539"/>
                  </a:lnTo>
                  <a:lnTo>
                    <a:pt x="561" y="539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4" y="539"/>
                  </a:lnTo>
                  <a:lnTo>
                    <a:pt x="564" y="539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4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61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7"/>
                  </a:lnTo>
                  <a:lnTo>
                    <a:pt x="559" y="535"/>
                  </a:lnTo>
                  <a:lnTo>
                    <a:pt x="559" y="535"/>
                  </a:lnTo>
                  <a:lnTo>
                    <a:pt x="559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5"/>
                  </a:lnTo>
                  <a:lnTo>
                    <a:pt x="561" y="535"/>
                  </a:lnTo>
                  <a:lnTo>
                    <a:pt x="561" y="535"/>
                  </a:lnTo>
                  <a:lnTo>
                    <a:pt x="561" y="535"/>
                  </a:lnTo>
                  <a:lnTo>
                    <a:pt x="561" y="535"/>
                  </a:lnTo>
                  <a:lnTo>
                    <a:pt x="561" y="535"/>
                  </a:lnTo>
                  <a:lnTo>
                    <a:pt x="561" y="535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1" y="533"/>
                  </a:lnTo>
                  <a:lnTo>
                    <a:pt x="564" y="533"/>
                  </a:lnTo>
                  <a:lnTo>
                    <a:pt x="564" y="533"/>
                  </a:lnTo>
                  <a:lnTo>
                    <a:pt x="564" y="533"/>
                  </a:lnTo>
                  <a:lnTo>
                    <a:pt x="566" y="533"/>
                  </a:lnTo>
                  <a:lnTo>
                    <a:pt x="568" y="531"/>
                  </a:lnTo>
                  <a:lnTo>
                    <a:pt x="566" y="531"/>
                  </a:lnTo>
                  <a:lnTo>
                    <a:pt x="566" y="531"/>
                  </a:lnTo>
                  <a:lnTo>
                    <a:pt x="566" y="531"/>
                  </a:lnTo>
                  <a:lnTo>
                    <a:pt x="566" y="531"/>
                  </a:lnTo>
                  <a:lnTo>
                    <a:pt x="566" y="531"/>
                  </a:lnTo>
                  <a:lnTo>
                    <a:pt x="566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4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59" y="533"/>
                  </a:lnTo>
                  <a:lnTo>
                    <a:pt x="559" y="533"/>
                  </a:lnTo>
                  <a:lnTo>
                    <a:pt x="559" y="533"/>
                  </a:lnTo>
                  <a:lnTo>
                    <a:pt x="559" y="533"/>
                  </a:lnTo>
                  <a:lnTo>
                    <a:pt x="559" y="533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31"/>
                  </a:lnTo>
                  <a:lnTo>
                    <a:pt x="561" y="528"/>
                  </a:lnTo>
                  <a:lnTo>
                    <a:pt x="561" y="528"/>
                  </a:lnTo>
                  <a:lnTo>
                    <a:pt x="564" y="526"/>
                  </a:lnTo>
                  <a:lnTo>
                    <a:pt x="564" y="526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4"/>
                  </a:lnTo>
                  <a:lnTo>
                    <a:pt x="564" y="522"/>
                  </a:lnTo>
                  <a:lnTo>
                    <a:pt x="564" y="522"/>
                  </a:lnTo>
                  <a:lnTo>
                    <a:pt x="564" y="522"/>
                  </a:lnTo>
                  <a:lnTo>
                    <a:pt x="566" y="519"/>
                  </a:lnTo>
                  <a:lnTo>
                    <a:pt x="566" y="517"/>
                  </a:lnTo>
                  <a:lnTo>
                    <a:pt x="566" y="517"/>
                  </a:lnTo>
                  <a:lnTo>
                    <a:pt x="566" y="515"/>
                  </a:lnTo>
                  <a:lnTo>
                    <a:pt x="566" y="515"/>
                  </a:lnTo>
                  <a:lnTo>
                    <a:pt x="568" y="513"/>
                  </a:lnTo>
                  <a:lnTo>
                    <a:pt x="568" y="513"/>
                  </a:lnTo>
                  <a:lnTo>
                    <a:pt x="568" y="513"/>
                  </a:lnTo>
                  <a:lnTo>
                    <a:pt x="566" y="513"/>
                  </a:lnTo>
                  <a:lnTo>
                    <a:pt x="566" y="513"/>
                  </a:lnTo>
                  <a:lnTo>
                    <a:pt x="568" y="513"/>
                  </a:lnTo>
                  <a:lnTo>
                    <a:pt x="568" y="513"/>
                  </a:lnTo>
                  <a:lnTo>
                    <a:pt x="566" y="510"/>
                  </a:lnTo>
                  <a:lnTo>
                    <a:pt x="566" y="510"/>
                  </a:lnTo>
                  <a:lnTo>
                    <a:pt x="566" y="510"/>
                  </a:lnTo>
                  <a:lnTo>
                    <a:pt x="566" y="510"/>
                  </a:lnTo>
                  <a:lnTo>
                    <a:pt x="566" y="510"/>
                  </a:lnTo>
                  <a:lnTo>
                    <a:pt x="566" y="510"/>
                  </a:lnTo>
                  <a:lnTo>
                    <a:pt x="566" y="508"/>
                  </a:lnTo>
                  <a:lnTo>
                    <a:pt x="566" y="508"/>
                  </a:lnTo>
                  <a:lnTo>
                    <a:pt x="566" y="506"/>
                  </a:lnTo>
                  <a:lnTo>
                    <a:pt x="568" y="506"/>
                  </a:lnTo>
                  <a:lnTo>
                    <a:pt x="568" y="506"/>
                  </a:lnTo>
                  <a:lnTo>
                    <a:pt x="568" y="504"/>
                  </a:lnTo>
                  <a:lnTo>
                    <a:pt x="568" y="504"/>
                  </a:lnTo>
                  <a:lnTo>
                    <a:pt x="568" y="504"/>
                  </a:lnTo>
                  <a:lnTo>
                    <a:pt x="568" y="504"/>
                  </a:lnTo>
                  <a:lnTo>
                    <a:pt x="570" y="504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501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0" y="499"/>
                  </a:lnTo>
                  <a:lnTo>
                    <a:pt x="573" y="499"/>
                  </a:lnTo>
                  <a:lnTo>
                    <a:pt x="573" y="499"/>
                  </a:lnTo>
                  <a:lnTo>
                    <a:pt x="575" y="499"/>
                  </a:lnTo>
                  <a:lnTo>
                    <a:pt x="575" y="501"/>
                  </a:lnTo>
                  <a:lnTo>
                    <a:pt x="577" y="501"/>
                  </a:lnTo>
                  <a:lnTo>
                    <a:pt x="577" y="501"/>
                  </a:lnTo>
                  <a:lnTo>
                    <a:pt x="577" y="501"/>
                  </a:lnTo>
                  <a:lnTo>
                    <a:pt x="577" y="501"/>
                  </a:lnTo>
                  <a:lnTo>
                    <a:pt x="577" y="501"/>
                  </a:lnTo>
                  <a:lnTo>
                    <a:pt x="579" y="501"/>
                  </a:lnTo>
                  <a:lnTo>
                    <a:pt x="579" y="501"/>
                  </a:lnTo>
                  <a:lnTo>
                    <a:pt x="579" y="501"/>
                  </a:lnTo>
                  <a:lnTo>
                    <a:pt x="579" y="504"/>
                  </a:lnTo>
                  <a:lnTo>
                    <a:pt x="579" y="504"/>
                  </a:lnTo>
                  <a:lnTo>
                    <a:pt x="582" y="504"/>
                  </a:lnTo>
                  <a:lnTo>
                    <a:pt x="586" y="504"/>
                  </a:lnTo>
                  <a:lnTo>
                    <a:pt x="586" y="504"/>
                  </a:lnTo>
                  <a:lnTo>
                    <a:pt x="586" y="504"/>
                  </a:lnTo>
                  <a:lnTo>
                    <a:pt x="588" y="504"/>
                  </a:lnTo>
                  <a:lnTo>
                    <a:pt x="588" y="504"/>
                  </a:lnTo>
                  <a:lnTo>
                    <a:pt x="588" y="504"/>
                  </a:lnTo>
                  <a:lnTo>
                    <a:pt x="588" y="504"/>
                  </a:lnTo>
                  <a:lnTo>
                    <a:pt x="591" y="504"/>
                  </a:lnTo>
                  <a:lnTo>
                    <a:pt x="591" y="504"/>
                  </a:lnTo>
                  <a:lnTo>
                    <a:pt x="593" y="504"/>
                  </a:lnTo>
                  <a:lnTo>
                    <a:pt x="591" y="504"/>
                  </a:lnTo>
                  <a:lnTo>
                    <a:pt x="591" y="504"/>
                  </a:lnTo>
                  <a:lnTo>
                    <a:pt x="591" y="504"/>
                  </a:lnTo>
                  <a:lnTo>
                    <a:pt x="591" y="504"/>
                  </a:lnTo>
                  <a:lnTo>
                    <a:pt x="591" y="506"/>
                  </a:lnTo>
                  <a:lnTo>
                    <a:pt x="595" y="506"/>
                  </a:lnTo>
                  <a:lnTo>
                    <a:pt x="595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4"/>
                  </a:lnTo>
                  <a:lnTo>
                    <a:pt x="597" y="506"/>
                  </a:lnTo>
                  <a:lnTo>
                    <a:pt x="597" y="506"/>
                  </a:lnTo>
                  <a:lnTo>
                    <a:pt x="597" y="506"/>
                  </a:lnTo>
                  <a:lnTo>
                    <a:pt x="597" y="506"/>
                  </a:lnTo>
                  <a:lnTo>
                    <a:pt x="597" y="506"/>
                  </a:lnTo>
                  <a:lnTo>
                    <a:pt x="597" y="506"/>
                  </a:lnTo>
                  <a:lnTo>
                    <a:pt x="597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6"/>
                  </a:lnTo>
                  <a:lnTo>
                    <a:pt x="600" y="508"/>
                  </a:lnTo>
                  <a:lnTo>
                    <a:pt x="600" y="508"/>
                  </a:lnTo>
                  <a:lnTo>
                    <a:pt x="600" y="508"/>
                  </a:lnTo>
                  <a:lnTo>
                    <a:pt x="600" y="508"/>
                  </a:lnTo>
                  <a:lnTo>
                    <a:pt x="600" y="508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4"/>
                  </a:lnTo>
                  <a:lnTo>
                    <a:pt x="602" y="504"/>
                  </a:lnTo>
                  <a:lnTo>
                    <a:pt x="602" y="504"/>
                  </a:lnTo>
                  <a:lnTo>
                    <a:pt x="604" y="504"/>
                  </a:lnTo>
                  <a:lnTo>
                    <a:pt x="604" y="504"/>
                  </a:lnTo>
                  <a:lnTo>
                    <a:pt x="604" y="506"/>
                  </a:lnTo>
                  <a:lnTo>
                    <a:pt x="604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6"/>
                  </a:lnTo>
                  <a:lnTo>
                    <a:pt x="602" y="508"/>
                  </a:lnTo>
                  <a:lnTo>
                    <a:pt x="602" y="508"/>
                  </a:lnTo>
                  <a:lnTo>
                    <a:pt x="602" y="508"/>
                  </a:lnTo>
                  <a:lnTo>
                    <a:pt x="602" y="508"/>
                  </a:lnTo>
                  <a:lnTo>
                    <a:pt x="602" y="508"/>
                  </a:lnTo>
                  <a:lnTo>
                    <a:pt x="602" y="508"/>
                  </a:lnTo>
                  <a:lnTo>
                    <a:pt x="602" y="508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0" y="510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597" y="513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5" y="515"/>
                  </a:lnTo>
                  <a:lnTo>
                    <a:pt x="595" y="515"/>
                  </a:lnTo>
                  <a:lnTo>
                    <a:pt x="595" y="515"/>
                  </a:lnTo>
                  <a:lnTo>
                    <a:pt x="597" y="515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600" y="510"/>
                  </a:lnTo>
                  <a:lnTo>
                    <a:pt x="597" y="510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7" y="513"/>
                  </a:lnTo>
                  <a:lnTo>
                    <a:pt x="595" y="513"/>
                  </a:lnTo>
                  <a:lnTo>
                    <a:pt x="595" y="515"/>
                  </a:lnTo>
                  <a:lnTo>
                    <a:pt x="595" y="515"/>
                  </a:lnTo>
                  <a:lnTo>
                    <a:pt x="595" y="515"/>
                  </a:lnTo>
                  <a:lnTo>
                    <a:pt x="593" y="515"/>
                  </a:lnTo>
                  <a:lnTo>
                    <a:pt x="593" y="515"/>
                  </a:lnTo>
                  <a:lnTo>
                    <a:pt x="593" y="515"/>
                  </a:lnTo>
                  <a:lnTo>
                    <a:pt x="593" y="515"/>
                  </a:lnTo>
                  <a:lnTo>
                    <a:pt x="591" y="517"/>
                  </a:lnTo>
                  <a:lnTo>
                    <a:pt x="591" y="517"/>
                  </a:lnTo>
                  <a:lnTo>
                    <a:pt x="588" y="519"/>
                  </a:lnTo>
                  <a:lnTo>
                    <a:pt x="588" y="519"/>
                  </a:lnTo>
                  <a:lnTo>
                    <a:pt x="588" y="519"/>
                  </a:lnTo>
                  <a:lnTo>
                    <a:pt x="586" y="519"/>
                  </a:lnTo>
                  <a:lnTo>
                    <a:pt x="586" y="522"/>
                  </a:lnTo>
                  <a:lnTo>
                    <a:pt x="586" y="522"/>
                  </a:lnTo>
                  <a:lnTo>
                    <a:pt x="584" y="522"/>
                  </a:lnTo>
                  <a:lnTo>
                    <a:pt x="586" y="524"/>
                  </a:lnTo>
                  <a:lnTo>
                    <a:pt x="586" y="522"/>
                  </a:lnTo>
                  <a:lnTo>
                    <a:pt x="591" y="522"/>
                  </a:lnTo>
                  <a:lnTo>
                    <a:pt x="591" y="522"/>
                  </a:lnTo>
                  <a:lnTo>
                    <a:pt x="593" y="522"/>
                  </a:lnTo>
                  <a:lnTo>
                    <a:pt x="591" y="522"/>
                  </a:lnTo>
                  <a:lnTo>
                    <a:pt x="591" y="522"/>
                  </a:lnTo>
                  <a:lnTo>
                    <a:pt x="588" y="522"/>
                  </a:lnTo>
                  <a:lnTo>
                    <a:pt x="586" y="522"/>
                  </a:lnTo>
                  <a:lnTo>
                    <a:pt x="586" y="522"/>
                  </a:lnTo>
                  <a:lnTo>
                    <a:pt x="586" y="522"/>
                  </a:lnTo>
                  <a:lnTo>
                    <a:pt x="586" y="522"/>
                  </a:lnTo>
                  <a:lnTo>
                    <a:pt x="586" y="522"/>
                  </a:lnTo>
                  <a:lnTo>
                    <a:pt x="588" y="519"/>
                  </a:lnTo>
                  <a:lnTo>
                    <a:pt x="588" y="519"/>
                  </a:lnTo>
                  <a:lnTo>
                    <a:pt x="591" y="519"/>
                  </a:lnTo>
                  <a:lnTo>
                    <a:pt x="593" y="517"/>
                  </a:lnTo>
                  <a:lnTo>
                    <a:pt x="593" y="517"/>
                  </a:lnTo>
                  <a:lnTo>
                    <a:pt x="595" y="517"/>
                  </a:lnTo>
                  <a:lnTo>
                    <a:pt x="595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600" y="513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0"/>
                  </a:lnTo>
                  <a:lnTo>
                    <a:pt x="602" y="513"/>
                  </a:lnTo>
                  <a:lnTo>
                    <a:pt x="602" y="513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08"/>
                  </a:lnTo>
                  <a:lnTo>
                    <a:pt x="604" y="508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10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2" y="513"/>
                  </a:lnTo>
                  <a:lnTo>
                    <a:pt x="602" y="513"/>
                  </a:lnTo>
                  <a:lnTo>
                    <a:pt x="602" y="513"/>
                  </a:lnTo>
                  <a:lnTo>
                    <a:pt x="602" y="515"/>
                  </a:lnTo>
                  <a:lnTo>
                    <a:pt x="602" y="515"/>
                  </a:lnTo>
                  <a:lnTo>
                    <a:pt x="602" y="515"/>
                  </a:lnTo>
                  <a:lnTo>
                    <a:pt x="600" y="515"/>
                  </a:lnTo>
                  <a:lnTo>
                    <a:pt x="600" y="513"/>
                  </a:lnTo>
                  <a:lnTo>
                    <a:pt x="600" y="515"/>
                  </a:lnTo>
                  <a:lnTo>
                    <a:pt x="600" y="515"/>
                  </a:lnTo>
                  <a:lnTo>
                    <a:pt x="600" y="515"/>
                  </a:lnTo>
                  <a:lnTo>
                    <a:pt x="600" y="515"/>
                  </a:lnTo>
                  <a:lnTo>
                    <a:pt x="600" y="515"/>
                  </a:lnTo>
                  <a:lnTo>
                    <a:pt x="600" y="515"/>
                  </a:lnTo>
                  <a:lnTo>
                    <a:pt x="600" y="517"/>
                  </a:lnTo>
                  <a:lnTo>
                    <a:pt x="600" y="517"/>
                  </a:lnTo>
                  <a:lnTo>
                    <a:pt x="600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5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7" y="519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600" y="517"/>
                  </a:lnTo>
                  <a:lnTo>
                    <a:pt x="600" y="517"/>
                  </a:lnTo>
                  <a:lnTo>
                    <a:pt x="600" y="517"/>
                  </a:lnTo>
                  <a:lnTo>
                    <a:pt x="600" y="517"/>
                  </a:lnTo>
                  <a:lnTo>
                    <a:pt x="600" y="519"/>
                  </a:lnTo>
                  <a:lnTo>
                    <a:pt x="600" y="519"/>
                  </a:lnTo>
                  <a:lnTo>
                    <a:pt x="600" y="519"/>
                  </a:lnTo>
                  <a:lnTo>
                    <a:pt x="600" y="519"/>
                  </a:lnTo>
                  <a:lnTo>
                    <a:pt x="597" y="519"/>
                  </a:lnTo>
                  <a:lnTo>
                    <a:pt x="597" y="522"/>
                  </a:lnTo>
                  <a:lnTo>
                    <a:pt x="597" y="522"/>
                  </a:lnTo>
                  <a:lnTo>
                    <a:pt x="597" y="522"/>
                  </a:lnTo>
                  <a:lnTo>
                    <a:pt x="597" y="522"/>
                  </a:lnTo>
                  <a:lnTo>
                    <a:pt x="597" y="522"/>
                  </a:lnTo>
                  <a:lnTo>
                    <a:pt x="595" y="522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5" y="522"/>
                  </a:lnTo>
                  <a:lnTo>
                    <a:pt x="595" y="522"/>
                  </a:lnTo>
                  <a:lnTo>
                    <a:pt x="595" y="522"/>
                  </a:lnTo>
                  <a:lnTo>
                    <a:pt x="595" y="522"/>
                  </a:lnTo>
                  <a:lnTo>
                    <a:pt x="595" y="522"/>
                  </a:lnTo>
                  <a:lnTo>
                    <a:pt x="595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3" y="524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6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3" y="524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3" y="522"/>
                  </a:lnTo>
                  <a:lnTo>
                    <a:pt x="591" y="522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88" y="524"/>
                  </a:lnTo>
                  <a:lnTo>
                    <a:pt x="588" y="524"/>
                  </a:lnTo>
                  <a:lnTo>
                    <a:pt x="588" y="524"/>
                  </a:lnTo>
                  <a:lnTo>
                    <a:pt x="588" y="524"/>
                  </a:lnTo>
                  <a:lnTo>
                    <a:pt x="586" y="526"/>
                  </a:lnTo>
                  <a:lnTo>
                    <a:pt x="586" y="526"/>
                  </a:lnTo>
                  <a:lnTo>
                    <a:pt x="586" y="526"/>
                  </a:lnTo>
                  <a:lnTo>
                    <a:pt x="584" y="526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2" y="528"/>
                  </a:lnTo>
                  <a:lnTo>
                    <a:pt x="584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6"/>
                  </a:lnTo>
                  <a:lnTo>
                    <a:pt x="586" y="526"/>
                  </a:lnTo>
                  <a:lnTo>
                    <a:pt x="586" y="526"/>
                  </a:lnTo>
                  <a:lnTo>
                    <a:pt x="586" y="526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4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31"/>
                  </a:lnTo>
                  <a:lnTo>
                    <a:pt x="586" y="531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6" y="528"/>
                  </a:lnTo>
                  <a:lnTo>
                    <a:pt x="588" y="526"/>
                  </a:lnTo>
                  <a:lnTo>
                    <a:pt x="588" y="526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6"/>
                  </a:lnTo>
                  <a:lnTo>
                    <a:pt x="588" y="526"/>
                  </a:lnTo>
                  <a:lnTo>
                    <a:pt x="588" y="526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88" y="528"/>
                  </a:lnTo>
                  <a:lnTo>
                    <a:pt x="591" y="528"/>
                  </a:lnTo>
                  <a:lnTo>
                    <a:pt x="591" y="528"/>
                  </a:lnTo>
                  <a:lnTo>
                    <a:pt x="593" y="526"/>
                  </a:lnTo>
                  <a:lnTo>
                    <a:pt x="595" y="526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5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597" y="524"/>
                  </a:lnTo>
                  <a:lnTo>
                    <a:pt x="600" y="524"/>
                  </a:lnTo>
                  <a:lnTo>
                    <a:pt x="600" y="524"/>
                  </a:lnTo>
                  <a:lnTo>
                    <a:pt x="600" y="524"/>
                  </a:lnTo>
                  <a:lnTo>
                    <a:pt x="600" y="522"/>
                  </a:lnTo>
                  <a:lnTo>
                    <a:pt x="600" y="522"/>
                  </a:lnTo>
                  <a:lnTo>
                    <a:pt x="602" y="522"/>
                  </a:lnTo>
                  <a:lnTo>
                    <a:pt x="602" y="522"/>
                  </a:lnTo>
                  <a:lnTo>
                    <a:pt x="602" y="522"/>
                  </a:lnTo>
                  <a:lnTo>
                    <a:pt x="602" y="522"/>
                  </a:lnTo>
                  <a:lnTo>
                    <a:pt x="602" y="519"/>
                  </a:lnTo>
                  <a:lnTo>
                    <a:pt x="602" y="519"/>
                  </a:lnTo>
                  <a:lnTo>
                    <a:pt x="602" y="519"/>
                  </a:lnTo>
                  <a:lnTo>
                    <a:pt x="602" y="519"/>
                  </a:lnTo>
                  <a:lnTo>
                    <a:pt x="602" y="519"/>
                  </a:lnTo>
                  <a:lnTo>
                    <a:pt x="602" y="517"/>
                  </a:lnTo>
                  <a:lnTo>
                    <a:pt x="602" y="517"/>
                  </a:lnTo>
                  <a:lnTo>
                    <a:pt x="602" y="517"/>
                  </a:lnTo>
                  <a:lnTo>
                    <a:pt x="602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7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5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4" y="513"/>
                  </a:lnTo>
                  <a:lnTo>
                    <a:pt x="606" y="513"/>
                  </a:lnTo>
                  <a:lnTo>
                    <a:pt x="606" y="513"/>
                  </a:lnTo>
                  <a:lnTo>
                    <a:pt x="606" y="510"/>
                  </a:lnTo>
                  <a:lnTo>
                    <a:pt x="606" y="510"/>
                  </a:lnTo>
                  <a:lnTo>
                    <a:pt x="606" y="510"/>
                  </a:lnTo>
                  <a:lnTo>
                    <a:pt x="609" y="510"/>
                  </a:lnTo>
                  <a:lnTo>
                    <a:pt x="609" y="510"/>
                  </a:lnTo>
                  <a:lnTo>
                    <a:pt x="609" y="510"/>
                  </a:lnTo>
                  <a:lnTo>
                    <a:pt x="609" y="508"/>
                  </a:lnTo>
                  <a:lnTo>
                    <a:pt x="609" y="508"/>
                  </a:lnTo>
                  <a:lnTo>
                    <a:pt x="609" y="508"/>
                  </a:lnTo>
                  <a:lnTo>
                    <a:pt x="609" y="508"/>
                  </a:lnTo>
                  <a:lnTo>
                    <a:pt x="611" y="508"/>
                  </a:lnTo>
                  <a:lnTo>
                    <a:pt x="611" y="508"/>
                  </a:lnTo>
                  <a:lnTo>
                    <a:pt x="611" y="508"/>
                  </a:lnTo>
                  <a:lnTo>
                    <a:pt x="611" y="508"/>
                  </a:lnTo>
                  <a:lnTo>
                    <a:pt x="611" y="508"/>
                  </a:lnTo>
                  <a:lnTo>
                    <a:pt x="611" y="508"/>
                  </a:lnTo>
                  <a:lnTo>
                    <a:pt x="613" y="508"/>
                  </a:lnTo>
                  <a:lnTo>
                    <a:pt x="613" y="508"/>
                  </a:lnTo>
                  <a:lnTo>
                    <a:pt x="613" y="508"/>
                  </a:lnTo>
                  <a:lnTo>
                    <a:pt x="613" y="506"/>
                  </a:lnTo>
                  <a:lnTo>
                    <a:pt x="613" y="506"/>
                  </a:lnTo>
                  <a:lnTo>
                    <a:pt x="613" y="506"/>
                  </a:lnTo>
                  <a:lnTo>
                    <a:pt x="613" y="506"/>
                  </a:lnTo>
                  <a:lnTo>
                    <a:pt x="613" y="506"/>
                  </a:lnTo>
                  <a:lnTo>
                    <a:pt x="613" y="506"/>
                  </a:lnTo>
                  <a:lnTo>
                    <a:pt x="613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4"/>
                  </a:lnTo>
                  <a:lnTo>
                    <a:pt x="611" y="504"/>
                  </a:lnTo>
                  <a:lnTo>
                    <a:pt x="613" y="504"/>
                  </a:lnTo>
                  <a:lnTo>
                    <a:pt x="613" y="504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4"/>
                  </a:lnTo>
                  <a:lnTo>
                    <a:pt x="611" y="504"/>
                  </a:lnTo>
                  <a:lnTo>
                    <a:pt x="611" y="504"/>
                  </a:lnTo>
                  <a:lnTo>
                    <a:pt x="611" y="504"/>
                  </a:lnTo>
                  <a:lnTo>
                    <a:pt x="609" y="504"/>
                  </a:lnTo>
                  <a:lnTo>
                    <a:pt x="609" y="504"/>
                  </a:lnTo>
                  <a:lnTo>
                    <a:pt x="611" y="504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11" y="506"/>
                  </a:lnTo>
                  <a:lnTo>
                    <a:pt x="609" y="504"/>
                  </a:lnTo>
                  <a:lnTo>
                    <a:pt x="609" y="504"/>
                  </a:lnTo>
                  <a:lnTo>
                    <a:pt x="609" y="504"/>
                  </a:lnTo>
                  <a:lnTo>
                    <a:pt x="609" y="504"/>
                  </a:lnTo>
                  <a:lnTo>
                    <a:pt x="609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1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501"/>
                  </a:lnTo>
                  <a:lnTo>
                    <a:pt x="613" y="499"/>
                  </a:lnTo>
                  <a:lnTo>
                    <a:pt x="613" y="499"/>
                  </a:lnTo>
                  <a:lnTo>
                    <a:pt x="613" y="499"/>
                  </a:lnTo>
                  <a:lnTo>
                    <a:pt x="613" y="499"/>
                  </a:lnTo>
                  <a:lnTo>
                    <a:pt x="613" y="499"/>
                  </a:lnTo>
                  <a:lnTo>
                    <a:pt x="611" y="499"/>
                  </a:lnTo>
                  <a:lnTo>
                    <a:pt x="611" y="499"/>
                  </a:lnTo>
                  <a:lnTo>
                    <a:pt x="611" y="499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9"/>
                  </a:lnTo>
                  <a:lnTo>
                    <a:pt x="611" y="499"/>
                  </a:lnTo>
                  <a:lnTo>
                    <a:pt x="611" y="499"/>
                  </a:lnTo>
                  <a:lnTo>
                    <a:pt x="609" y="497"/>
                  </a:lnTo>
                  <a:lnTo>
                    <a:pt x="609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7"/>
                  </a:lnTo>
                  <a:lnTo>
                    <a:pt x="611" y="495"/>
                  </a:lnTo>
                  <a:lnTo>
                    <a:pt x="613" y="497"/>
                  </a:lnTo>
                  <a:lnTo>
                    <a:pt x="611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3" y="497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3" y="495"/>
                  </a:lnTo>
                  <a:lnTo>
                    <a:pt x="613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5" y="495"/>
                  </a:lnTo>
                  <a:lnTo>
                    <a:pt x="618" y="495"/>
                  </a:lnTo>
                  <a:lnTo>
                    <a:pt x="618" y="492"/>
                  </a:lnTo>
                  <a:lnTo>
                    <a:pt x="618" y="492"/>
                  </a:lnTo>
                  <a:lnTo>
                    <a:pt x="618" y="492"/>
                  </a:lnTo>
                  <a:lnTo>
                    <a:pt x="615" y="492"/>
                  </a:lnTo>
                  <a:lnTo>
                    <a:pt x="615" y="492"/>
                  </a:lnTo>
                  <a:lnTo>
                    <a:pt x="615" y="492"/>
                  </a:lnTo>
                  <a:lnTo>
                    <a:pt x="618" y="492"/>
                  </a:lnTo>
                  <a:lnTo>
                    <a:pt x="618" y="492"/>
                  </a:lnTo>
                  <a:lnTo>
                    <a:pt x="618" y="492"/>
                  </a:lnTo>
                  <a:lnTo>
                    <a:pt x="618" y="490"/>
                  </a:lnTo>
                  <a:lnTo>
                    <a:pt x="618" y="490"/>
                  </a:lnTo>
                  <a:lnTo>
                    <a:pt x="618" y="490"/>
                  </a:lnTo>
                  <a:lnTo>
                    <a:pt x="618" y="490"/>
                  </a:lnTo>
                  <a:lnTo>
                    <a:pt x="618" y="490"/>
                  </a:lnTo>
                  <a:lnTo>
                    <a:pt x="618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90"/>
                  </a:lnTo>
                  <a:lnTo>
                    <a:pt x="615" y="488"/>
                  </a:lnTo>
                  <a:lnTo>
                    <a:pt x="615" y="490"/>
                  </a:lnTo>
                  <a:lnTo>
                    <a:pt x="615" y="488"/>
                  </a:lnTo>
                  <a:lnTo>
                    <a:pt x="615" y="488"/>
                  </a:lnTo>
                  <a:lnTo>
                    <a:pt x="615" y="488"/>
                  </a:lnTo>
                  <a:lnTo>
                    <a:pt x="615" y="488"/>
                  </a:lnTo>
                  <a:lnTo>
                    <a:pt x="615" y="488"/>
                  </a:lnTo>
                  <a:lnTo>
                    <a:pt x="615" y="488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5" y="486"/>
                  </a:lnTo>
                  <a:lnTo>
                    <a:pt x="618" y="486"/>
                  </a:lnTo>
                  <a:lnTo>
                    <a:pt x="618" y="486"/>
                  </a:lnTo>
                  <a:lnTo>
                    <a:pt x="618" y="483"/>
                  </a:lnTo>
                  <a:lnTo>
                    <a:pt x="618" y="483"/>
                  </a:lnTo>
                  <a:lnTo>
                    <a:pt x="622" y="483"/>
                  </a:lnTo>
                  <a:lnTo>
                    <a:pt x="627" y="483"/>
                  </a:lnTo>
                  <a:lnTo>
                    <a:pt x="631" y="483"/>
                  </a:lnTo>
                  <a:lnTo>
                    <a:pt x="636" y="483"/>
                  </a:lnTo>
                  <a:lnTo>
                    <a:pt x="638" y="483"/>
                  </a:lnTo>
                  <a:lnTo>
                    <a:pt x="642" y="483"/>
                  </a:lnTo>
                  <a:lnTo>
                    <a:pt x="647" y="483"/>
                  </a:lnTo>
                  <a:lnTo>
                    <a:pt x="651" y="483"/>
                  </a:lnTo>
                  <a:lnTo>
                    <a:pt x="656" y="483"/>
                  </a:lnTo>
                  <a:lnTo>
                    <a:pt x="658" y="483"/>
                  </a:lnTo>
                  <a:lnTo>
                    <a:pt x="662" y="483"/>
                  </a:lnTo>
                  <a:lnTo>
                    <a:pt x="667" y="483"/>
                  </a:lnTo>
                  <a:lnTo>
                    <a:pt x="671" y="483"/>
                  </a:lnTo>
                  <a:lnTo>
                    <a:pt x="676" y="483"/>
                  </a:lnTo>
                  <a:lnTo>
                    <a:pt x="678" y="483"/>
                  </a:lnTo>
                  <a:lnTo>
                    <a:pt x="683" y="483"/>
                  </a:lnTo>
                  <a:lnTo>
                    <a:pt x="687" y="483"/>
                  </a:lnTo>
                  <a:lnTo>
                    <a:pt x="692" y="483"/>
                  </a:lnTo>
                  <a:lnTo>
                    <a:pt x="696" y="483"/>
                  </a:lnTo>
                  <a:lnTo>
                    <a:pt x="698" y="483"/>
                  </a:lnTo>
                  <a:lnTo>
                    <a:pt x="703" y="483"/>
                  </a:lnTo>
                  <a:lnTo>
                    <a:pt x="707" y="483"/>
                  </a:lnTo>
                  <a:lnTo>
                    <a:pt x="712" y="483"/>
                  </a:lnTo>
                  <a:lnTo>
                    <a:pt x="716" y="483"/>
                  </a:lnTo>
                  <a:lnTo>
                    <a:pt x="719" y="483"/>
                  </a:lnTo>
                  <a:lnTo>
                    <a:pt x="723" y="483"/>
                  </a:lnTo>
                  <a:lnTo>
                    <a:pt x="728" y="483"/>
                  </a:lnTo>
                  <a:lnTo>
                    <a:pt x="732" y="483"/>
                  </a:lnTo>
                  <a:lnTo>
                    <a:pt x="737" y="483"/>
                  </a:lnTo>
                  <a:lnTo>
                    <a:pt x="739" y="483"/>
                  </a:lnTo>
                  <a:lnTo>
                    <a:pt x="743" y="483"/>
                  </a:lnTo>
                  <a:lnTo>
                    <a:pt x="748" y="483"/>
                  </a:lnTo>
                  <a:lnTo>
                    <a:pt x="752" y="483"/>
                  </a:lnTo>
                  <a:lnTo>
                    <a:pt x="757" y="483"/>
                  </a:lnTo>
                  <a:lnTo>
                    <a:pt x="759" y="483"/>
                  </a:lnTo>
                  <a:lnTo>
                    <a:pt x="764" y="483"/>
                  </a:lnTo>
                  <a:lnTo>
                    <a:pt x="768" y="483"/>
                  </a:lnTo>
                  <a:lnTo>
                    <a:pt x="773" y="483"/>
                  </a:lnTo>
                  <a:lnTo>
                    <a:pt x="777" y="483"/>
                  </a:lnTo>
                  <a:lnTo>
                    <a:pt x="779" y="483"/>
                  </a:lnTo>
                  <a:lnTo>
                    <a:pt x="784" y="483"/>
                  </a:lnTo>
                  <a:lnTo>
                    <a:pt x="788" y="483"/>
                  </a:lnTo>
                  <a:lnTo>
                    <a:pt x="793" y="483"/>
                  </a:lnTo>
                  <a:lnTo>
                    <a:pt x="797" y="483"/>
                  </a:lnTo>
                  <a:lnTo>
                    <a:pt x="800" y="483"/>
                  </a:lnTo>
                  <a:lnTo>
                    <a:pt x="804" y="483"/>
                  </a:lnTo>
                  <a:lnTo>
                    <a:pt x="808" y="483"/>
                  </a:lnTo>
                  <a:lnTo>
                    <a:pt x="813" y="483"/>
                  </a:lnTo>
                  <a:lnTo>
                    <a:pt x="817" y="483"/>
                  </a:lnTo>
                  <a:lnTo>
                    <a:pt x="820" y="483"/>
                  </a:lnTo>
                  <a:lnTo>
                    <a:pt x="824" y="483"/>
                  </a:lnTo>
                  <a:lnTo>
                    <a:pt x="829" y="483"/>
                  </a:lnTo>
                  <a:lnTo>
                    <a:pt x="833" y="483"/>
                  </a:lnTo>
                  <a:lnTo>
                    <a:pt x="835" y="483"/>
                  </a:lnTo>
                  <a:lnTo>
                    <a:pt x="840" y="483"/>
                  </a:lnTo>
                  <a:lnTo>
                    <a:pt x="844" y="483"/>
                  </a:lnTo>
                  <a:lnTo>
                    <a:pt x="849" y="483"/>
                  </a:lnTo>
                  <a:lnTo>
                    <a:pt x="853" y="483"/>
                  </a:lnTo>
                  <a:lnTo>
                    <a:pt x="856" y="483"/>
                  </a:lnTo>
                  <a:lnTo>
                    <a:pt x="860" y="483"/>
                  </a:lnTo>
                  <a:lnTo>
                    <a:pt x="865" y="483"/>
                  </a:lnTo>
                  <a:lnTo>
                    <a:pt x="869" y="483"/>
                  </a:lnTo>
                  <a:lnTo>
                    <a:pt x="874" y="483"/>
                  </a:lnTo>
                  <a:lnTo>
                    <a:pt x="876" y="483"/>
                  </a:lnTo>
                  <a:lnTo>
                    <a:pt x="880" y="483"/>
                  </a:lnTo>
                  <a:lnTo>
                    <a:pt x="885" y="483"/>
                  </a:lnTo>
                  <a:lnTo>
                    <a:pt x="889" y="483"/>
                  </a:lnTo>
                  <a:lnTo>
                    <a:pt x="894" y="483"/>
                  </a:lnTo>
                  <a:lnTo>
                    <a:pt x="896" y="483"/>
                  </a:lnTo>
                  <a:lnTo>
                    <a:pt x="901" y="483"/>
                  </a:lnTo>
                  <a:lnTo>
                    <a:pt x="905" y="483"/>
                  </a:lnTo>
                  <a:lnTo>
                    <a:pt x="910" y="483"/>
                  </a:lnTo>
                  <a:lnTo>
                    <a:pt x="914" y="483"/>
                  </a:lnTo>
                  <a:lnTo>
                    <a:pt x="916" y="483"/>
                  </a:lnTo>
                  <a:lnTo>
                    <a:pt x="921" y="483"/>
                  </a:lnTo>
                  <a:lnTo>
                    <a:pt x="925" y="483"/>
                  </a:lnTo>
                  <a:lnTo>
                    <a:pt x="930" y="483"/>
                  </a:lnTo>
                  <a:lnTo>
                    <a:pt x="934" y="483"/>
                  </a:lnTo>
                  <a:lnTo>
                    <a:pt x="937" y="483"/>
                  </a:lnTo>
                  <a:lnTo>
                    <a:pt x="941" y="483"/>
                  </a:lnTo>
                  <a:lnTo>
                    <a:pt x="946" y="483"/>
                  </a:lnTo>
                  <a:lnTo>
                    <a:pt x="950" y="483"/>
                  </a:lnTo>
                  <a:lnTo>
                    <a:pt x="955" y="483"/>
                  </a:lnTo>
                  <a:lnTo>
                    <a:pt x="957" y="483"/>
                  </a:lnTo>
                  <a:lnTo>
                    <a:pt x="961" y="483"/>
                  </a:lnTo>
                  <a:lnTo>
                    <a:pt x="966" y="483"/>
                  </a:lnTo>
                  <a:lnTo>
                    <a:pt x="970" y="483"/>
                  </a:lnTo>
                  <a:lnTo>
                    <a:pt x="975" y="483"/>
                  </a:lnTo>
                  <a:lnTo>
                    <a:pt x="977" y="483"/>
                  </a:lnTo>
                  <a:lnTo>
                    <a:pt x="981" y="483"/>
                  </a:lnTo>
                  <a:lnTo>
                    <a:pt x="986" y="483"/>
                  </a:lnTo>
                  <a:lnTo>
                    <a:pt x="990" y="483"/>
                  </a:lnTo>
                  <a:lnTo>
                    <a:pt x="995" y="483"/>
                  </a:lnTo>
                  <a:lnTo>
                    <a:pt x="997" y="483"/>
                  </a:lnTo>
                  <a:lnTo>
                    <a:pt x="1002" y="483"/>
                  </a:lnTo>
                  <a:lnTo>
                    <a:pt x="1006" y="483"/>
                  </a:lnTo>
                  <a:lnTo>
                    <a:pt x="1011" y="483"/>
                  </a:lnTo>
                  <a:lnTo>
                    <a:pt x="1015" y="483"/>
                  </a:lnTo>
                  <a:lnTo>
                    <a:pt x="1017" y="483"/>
                  </a:lnTo>
                  <a:lnTo>
                    <a:pt x="1022" y="483"/>
                  </a:lnTo>
                  <a:lnTo>
                    <a:pt x="1026" y="483"/>
                  </a:lnTo>
                  <a:lnTo>
                    <a:pt x="1031" y="483"/>
                  </a:lnTo>
                  <a:lnTo>
                    <a:pt x="1035" y="483"/>
                  </a:lnTo>
                  <a:lnTo>
                    <a:pt x="1038" y="483"/>
                  </a:lnTo>
                  <a:lnTo>
                    <a:pt x="1042" y="483"/>
                  </a:lnTo>
                  <a:lnTo>
                    <a:pt x="1047" y="483"/>
                  </a:lnTo>
                  <a:lnTo>
                    <a:pt x="1051" y="483"/>
                  </a:lnTo>
                  <a:lnTo>
                    <a:pt x="1053" y="483"/>
                  </a:lnTo>
                  <a:lnTo>
                    <a:pt x="1058" y="483"/>
                  </a:lnTo>
                  <a:lnTo>
                    <a:pt x="1062" y="483"/>
                  </a:lnTo>
                  <a:lnTo>
                    <a:pt x="1067" y="483"/>
                  </a:lnTo>
                  <a:lnTo>
                    <a:pt x="1071" y="483"/>
                  </a:lnTo>
                  <a:lnTo>
                    <a:pt x="1074" y="483"/>
                  </a:lnTo>
                  <a:lnTo>
                    <a:pt x="1078" y="483"/>
                  </a:lnTo>
                  <a:lnTo>
                    <a:pt x="1083" y="483"/>
                  </a:lnTo>
                  <a:lnTo>
                    <a:pt x="1087" y="483"/>
                  </a:lnTo>
                  <a:lnTo>
                    <a:pt x="1092" y="483"/>
                  </a:lnTo>
                  <a:lnTo>
                    <a:pt x="1094" y="483"/>
                  </a:lnTo>
                  <a:lnTo>
                    <a:pt x="1098" y="483"/>
                  </a:lnTo>
                  <a:lnTo>
                    <a:pt x="1103" y="483"/>
                  </a:lnTo>
                  <a:lnTo>
                    <a:pt x="1107" y="483"/>
                  </a:lnTo>
                  <a:lnTo>
                    <a:pt x="1112" y="483"/>
                  </a:lnTo>
                  <a:lnTo>
                    <a:pt x="1114" y="483"/>
                  </a:lnTo>
                  <a:lnTo>
                    <a:pt x="1119" y="483"/>
                  </a:lnTo>
                  <a:lnTo>
                    <a:pt x="1123" y="483"/>
                  </a:lnTo>
                  <a:lnTo>
                    <a:pt x="1123" y="483"/>
                  </a:lnTo>
                  <a:lnTo>
                    <a:pt x="1123" y="483"/>
                  </a:lnTo>
                  <a:lnTo>
                    <a:pt x="1123" y="483"/>
                  </a:lnTo>
                  <a:lnTo>
                    <a:pt x="1125" y="481"/>
                  </a:lnTo>
                  <a:lnTo>
                    <a:pt x="1125" y="479"/>
                  </a:lnTo>
                  <a:lnTo>
                    <a:pt x="1128" y="477"/>
                  </a:lnTo>
                  <a:lnTo>
                    <a:pt x="1128" y="477"/>
                  </a:lnTo>
                  <a:lnTo>
                    <a:pt x="1130" y="477"/>
                  </a:lnTo>
                  <a:lnTo>
                    <a:pt x="1132" y="477"/>
                  </a:lnTo>
                  <a:lnTo>
                    <a:pt x="1132" y="477"/>
                  </a:lnTo>
                  <a:lnTo>
                    <a:pt x="1132" y="477"/>
                  </a:lnTo>
                  <a:lnTo>
                    <a:pt x="1132" y="477"/>
                  </a:lnTo>
                  <a:lnTo>
                    <a:pt x="1132" y="477"/>
                  </a:lnTo>
                  <a:lnTo>
                    <a:pt x="1132" y="479"/>
                  </a:lnTo>
                  <a:lnTo>
                    <a:pt x="1132" y="479"/>
                  </a:lnTo>
                  <a:lnTo>
                    <a:pt x="1132" y="479"/>
                  </a:lnTo>
                  <a:lnTo>
                    <a:pt x="1132" y="481"/>
                  </a:lnTo>
                  <a:lnTo>
                    <a:pt x="1132" y="481"/>
                  </a:lnTo>
                  <a:lnTo>
                    <a:pt x="1132" y="481"/>
                  </a:lnTo>
                  <a:lnTo>
                    <a:pt x="1132" y="483"/>
                  </a:lnTo>
                  <a:lnTo>
                    <a:pt x="1130" y="486"/>
                  </a:lnTo>
                  <a:lnTo>
                    <a:pt x="1130" y="488"/>
                  </a:lnTo>
                  <a:lnTo>
                    <a:pt x="1130" y="488"/>
                  </a:lnTo>
                  <a:lnTo>
                    <a:pt x="1130" y="488"/>
                  </a:lnTo>
                  <a:lnTo>
                    <a:pt x="1130" y="488"/>
                  </a:lnTo>
                  <a:lnTo>
                    <a:pt x="1130" y="490"/>
                  </a:lnTo>
                  <a:lnTo>
                    <a:pt x="1130" y="490"/>
                  </a:lnTo>
                  <a:lnTo>
                    <a:pt x="1130" y="490"/>
                  </a:lnTo>
                  <a:lnTo>
                    <a:pt x="1132" y="490"/>
                  </a:lnTo>
                  <a:lnTo>
                    <a:pt x="1132" y="492"/>
                  </a:lnTo>
                  <a:lnTo>
                    <a:pt x="1136" y="490"/>
                  </a:lnTo>
                  <a:lnTo>
                    <a:pt x="1136" y="490"/>
                  </a:lnTo>
                  <a:lnTo>
                    <a:pt x="1136" y="490"/>
                  </a:lnTo>
                  <a:lnTo>
                    <a:pt x="1136" y="490"/>
                  </a:lnTo>
                  <a:lnTo>
                    <a:pt x="1136" y="490"/>
                  </a:lnTo>
                  <a:lnTo>
                    <a:pt x="1136" y="492"/>
                  </a:lnTo>
                  <a:lnTo>
                    <a:pt x="1136" y="492"/>
                  </a:lnTo>
                  <a:lnTo>
                    <a:pt x="1136" y="492"/>
                  </a:lnTo>
                  <a:lnTo>
                    <a:pt x="1136" y="492"/>
                  </a:lnTo>
                  <a:lnTo>
                    <a:pt x="1136" y="492"/>
                  </a:lnTo>
                  <a:lnTo>
                    <a:pt x="1141" y="492"/>
                  </a:lnTo>
                  <a:lnTo>
                    <a:pt x="1143" y="492"/>
                  </a:lnTo>
                  <a:lnTo>
                    <a:pt x="1143" y="492"/>
                  </a:lnTo>
                  <a:lnTo>
                    <a:pt x="1143" y="495"/>
                  </a:lnTo>
                  <a:lnTo>
                    <a:pt x="1143" y="495"/>
                  </a:lnTo>
                  <a:lnTo>
                    <a:pt x="1143" y="495"/>
                  </a:lnTo>
                  <a:lnTo>
                    <a:pt x="1145" y="495"/>
                  </a:lnTo>
                  <a:lnTo>
                    <a:pt x="1148" y="495"/>
                  </a:lnTo>
                  <a:lnTo>
                    <a:pt x="1148" y="495"/>
                  </a:lnTo>
                  <a:lnTo>
                    <a:pt x="1150" y="495"/>
                  </a:lnTo>
                  <a:lnTo>
                    <a:pt x="1150" y="495"/>
                  </a:lnTo>
                  <a:lnTo>
                    <a:pt x="1150" y="495"/>
                  </a:lnTo>
                  <a:lnTo>
                    <a:pt x="1150" y="495"/>
                  </a:lnTo>
                  <a:lnTo>
                    <a:pt x="1150" y="495"/>
                  </a:lnTo>
                  <a:lnTo>
                    <a:pt x="1150" y="492"/>
                  </a:lnTo>
                  <a:lnTo>
                    <a:pt x="1152" y="492"/>
                  </a:lnTo>
                  <a:lnTo>
                    <a:pt x="1154" y="492"/>
                  </a:lnTo>
                  <a:lnTo>
                    <a:pt x="1157" y="492"/>
                  </a:lnTo>
                  <a:lnTo>
                    <a:pt x="1159" y="492"/>
                  </a:lnTo>
                  <a:lnTo>
                    <a:pt x="1159" y="492"/>
                  </a:lnTo>
                  <a:lnTo>
                    <a:pt x="1161" y="495"/>
                  </a:lnTo>
                  <a:lnTo>
                    <a:pt x="1163" y="495"/>
                  </a:lnTo>
                  <a:lnTo>
                    <a:pt x="1163" y="495"/>
                  </a:lnTo>
                  <a:lnTo>
                    <a:pt x="1163" y="495"/>
                  </a:lnTo>
                  <a:lnTo>
                    <a:pt x="1163" y="495"/>
                  </a:lnTo>
                  <a:lnTo>
                    <a:pt x="1163" y="497"/>
                  </a:lnTo>
                  <a:lnTo>
                    <a:pt x="1163" y="497"/>
                  </a:lnTo>
                  <a:lnTo>
                    <a:pt x="1163" y="497"/>
                  </a:lnTo>
                  <a:lnTo>
                    <a:pt x="1161" y="497"/>
                  </a:lnTo>
                  <a:lnTo>
                    <a:pt x="1163" y="497"/>
                  </a:lnTo>
                  <a:lnTo>
                    <a:pt x="1163" y="497"/>
                  </a:lnTo>
                  <a:lnTo>
                    <a:pt x="1163" y="497"/>
                  </a:lnTo>
                  <a:lnTo>
                    <a:pt x="1166" y="497"/>
                  </a:lnTo>
                  <a:lnTo>
                    <a:pt x="1166" y="497"/>
                  </a:lnTo>
                  <a:lnTo>
                    <a:pt x="1166" y="497"/>
                  </a:lnTo>
                  <a:lnTo>
                    <a:pt x="1166" y="497"/>
                  </a:lnTo>
                  <a:lnTo>
                    <a:pt x="1166" y="499"/>
                  </a:lnTo>
                  <a:lnTo>
                    <a:pt x="1166" y="499"/>
                  </a:lnTo>
                  <a:lnTo>
                    <a:pt x="1166" y="499"/>
                  </a:lnTo>
                  <a:lnTo>
                    <a:pt x="1166" y="499"/>
                  </a:lnTo>
                  <a:lnTo>
                    <a:pt x="1166" y="501"/>
                  </a:lnTo>
                  <a:lnTo>
                    <a:pt x="1166" y="501"/>
                  </a:lnTo>
                  <a:lnTo>
                    <a:pt x="1166" y="501"/>
                  </a:lnTo>
                  <a:lnTo>
                    <a:pt x="1166" y="501"/>
                  </a:lnTo>
                  <a:lnTo>
                    <a:pt x="1168" y="501"/>
                  </a:lnTo>
                  <a:lnTo>
                    <a:pt x="1168" y="501"/>
                  </a:lnTo>
                  <a:lnTo>
                    <a:pt x="1168" y="501"/>
                  </a:lnTo>
                  <a:lnTo>
                    <a:pt x="1168" y="501"/>
                  </a:lnTo>
                  <a:lnTo>
                    <a:pt x="1168" y="501"/>
                  </a:lnTo>
                  <a:lnTo>
                    <a:pt x="1168" y="499"/>
                  </a:lnTo>
                  <a:lnTo>
                    <a:pt x="1168" y="499"/>
                  </a:lnTo>
                  <a:lnTo>
                    <a:pt x="1170" y="499"/>
                  </a:lnTo>
                  <a:lnTo>
                    <a:pt x="1172" y="499"/>
                  </a:lnTo>
                  <a:lnTo>
                    <a:pt x="1172" y="499"/>
                  </a:lnTo>
                  <a:lnTo>
                    <a:pt x="1172" y="499"/>
                  </a:lnTo>
                  <a:lnTo>
                    <a:pt x="1172" y="499"/>
                  </a:lnTo>
                  <a:lnTo>
                    <a:pt x="1172" y="501"/>
                  </a:lnTo>
                  <a:lnTo>
                    <a:pt x="1172" y="501"/>
                  </a:lnTo>
                  <a:lnTo>
                    <a:pt x="1172" y="501"/>
                  </a:lnTo>
                  <a:lnTo>
                    <a:pt x="1172" y="501"/>
                  </a:lnTo>
                  <a:lnTo>
                    <a:pt x="1175" y="501"/>
                  </a:lnTo>
                  <a:lnTo>
                    <a:pt x="1175" y="504"/>
                  </a:lnTo>
                  <a:lnTo>
                    <a:pt x="1177" y="504"/>
                  </a:lnTo>
                  <a:lnTo>
                    <a:pt x="1177" y="504"/>
                  </a:lnTo>
                  <a:lnTo>
                    <a:pt x="1177" y="504"/>
                  </a:lnTo>
                  <a:lnTo>
                    <a:pt x="1177" y="504"/>
                  </a:lnTo>
                  <a:lnTo>
                    <a:pt x="1177" y="506"/>
                  </a:lnTo>
                  <a:lnTo>
                    <a:pt x="1177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79" y="506"/>
                  </a:lnTo>
                  <a:lnTo>
                    <a:pt x="1181" y="506"/>
                  </a:lnTo>
                  <a:lnTo>
                    <a:pt x="1181" y="506"/>
                  </a:lnTo>
                  <a:lnTo>
                    <a:pt x="1181" y="506"/>
                  </a:lnTo>
                  <a:lnTo>
                    <a:pt x="1181" y="506"/>
                  </a:lnTo>
                  <a:lnTo>
                    <a:pt x="1184" y="506"/>
                  </a:lnTo>
                  <a:lnTo>
                    <a:pt x="1184" y="506"/>
                  </a:lnTo>
                  <a:lnTo>
                    <a:pt x="1186" y="506"/>
                  </a:lnTo>
                  <a:lnTo>
                    <a:pt x="1186" y="506"/>
                  </a:lnTo>
                  <a:lnTo>
                    <a:pt x="1190" y="504"/>
                  </a:lnTo>
                  <a:lnTo>
                    <a:pt x="1190" y="504"/>
                  </a:lnTo>
                  <a:lnTo>
                    <a:pt x="1190" y="504"/>
                  </a:lnTo>
                  <a:lnTo>
                    <a:pt x="1193" y="501"/>
                  </a:lnTo>
                  <a:lnTo>
                    <a:pt x="1195" y="501"/>
                  </a:lnTo>
                  <a:lnTo>
                    <a:pt x="1195" y="501"/>
                  </a:lnTo>
                  <a:lnTo>
                    <a:pt x="1195" y="504"/>
                  </a:lnTo>
                  <a:lnTo>
                    <a:pt x="1195" y="504"/>
                  </a:lnTo>
                  <a:lnTo>
                    <a:pt x="1193" y="504"/>
                  </a:lnTo>
                  <a:lnTo>
                    <a:pt x="1193" y="504"/>
                  </a:lnTo>
                  <a:lnTo>
                    <a:pt x="1195" y="504"/>
                  </a:lnTo>
                  <a:lnTo>
                    <a:pt x="1195" y="504"/>
                  </a:lnTo>
                  <a:lnTo>
                    <a:pt x="1195" y="504"/>
                  </a:lnTo>
                  <a:lnTo>
                    <a:pt x="1195" y="504"/>
                  </a:lnTo>
                  <a:lnTo>
                    <a:pt x="1195" y="504"/>
                  </a:lnTo>
                  <a:lnTo>
                    <a:pt x="1195" y="506"/>
                  </a:lnTo>
                  <a:lnTo>
                    <a:pt x="1195" y="506"/>
                  </a:lnTo>
                  <a:lnTo>
                    <a:pt x="1195" y="506"/>
                  </a:lnTo>
                  <a:lnTo>
                    <a:pt x="1197" y="506"/>
                  </a:lnTo>
                  <a:lnTo>
                    <a:pt x="1197" y="506"/>
                  </a:lnTo>
                  <a:lnTo>
                    <a:pt x="1197" y="506"/>
                  </a:lnTo>
                  <a:lnTo>
                    <a:pt x="1197" y="506"/>
                  </a:lnTo>
                  <a:lnTo>
                    <a:pt x="1199" y="506"/>
                  </a:lnTo>
                  <a:lnTo>
                    <a:pt x="1199" y="506"/>
                  </a:lnTo>
                  <a:lnTo>
                    <a:pt x="1199" y="506"/>
                  </a:lnTo>
                  <a:lnTo>
                    <a:pt x="1199" y="506"/>
                  </a:lnTo>
                  <a:lnTo>
                    <a:pt x="1199" y="506"/>
                  </a:lnTo>
                  <a:lnTo>
                    <a:pt x="1199" y="506"/>
                  </a:lnTo>
                  <a:lnTo>
                    <a:pt x="1199" y="506"/>
                  </a:lnTo>
                  <a:lnTo>
                    <a:pt x="1206" y="504"/>
                  </a:lnTo>
                  <a:lnTo>
                    <a:pt x="1206" y="506"/>
                  </a:lnTo>
                  <a:lnTo>
                    <a:pt x="1206" y="506"/>
                  </a:lnTo>
                  <a:lnTo>
                    <a:pt x="1206" y="506"/>
                  </a:lnTo>
                  <a:lnTo>
                    <a:pt x="1208" y="506"/>
                  </a:lnTo>
                  <a:lnTo>
                    <a:pt x="1208" y="508"/>
                  </a:lnTo>
                  <a:lnTo>
                    <a:pt x="1208" y="508"/>
                  </a:lnTo>
                  <a:lnTo>
                    <a:pt x="1208" y="508"/>
                  </a:lnTo>
                  <a:lnTo>
                    <a:pt x="1208" y="508"/>
                  </a:lnTo>
                  <a:lnTo>
                    <a:pt x="1211" y="508"/>
                  </a:lnTo>
                  <a:lnTo>
                    <a:pt x="1211" y="508"/>
                  </a:lnTo>
                  <a:lnTo>
                    <a:pt x="1213" y="508"/>
                  </a:lnTo>
                  <a:lnTo>
                    <a:pt x="1213" y="508"/>
                  </a:lnTo>
                  <a:lnTo>
                    <a:pt x="1213" y="508"/>
                  </a:lnTo>
                  <a:lnTo>
                    <a:pt x="1213" y="508"/>
                  </a:lnTo>
                  <a:lnTo>
                    <a:pt x="1213" y="508"/>
                  </a:lnTo>
                  <a:lnTo>
                    <a:pt x="1213" y="508"/>
                  </a:lnTo>
                  <a:lnTo>
                    <a:pt x="1215" y="508"/>
                  </a:lnTo>
                  <a:lnTo>
                    <a:pt x="1217" y="508"/>
                  </a:lnTo>
                  <a:lnTo>
                    <a:pt x="1220" y="508"/>
                  </a:lnTo>
                  <a:lnTo>
                    <a:pt x="1220" y="508"/>
                  </a:lnTo>
                  <a:lnTo>
                    <a:pt x="1220" y="508"/>
                  </a:lnTo>
                  <a:lnTo>
                    <a:pt x="1222" y="506"/>
                  </a:lnTo>
                  <a:lnTo>
                    <a:pt x="1224" y="506"/>
                  </a:lnTo>
                  <a:lnTo>
                    <a:pt x="1229" y="504"/>
                  </a:lnTo>
                  <a:lnTo>
                    <a:pt x="1233" y="504"/>
                  </a:lnTo>
                  <a:lnTo>
                    <a:pt x="1235" y="501"/>
                  </a:lnTo>
                  <a:lnTo>
                    <a:pt x="1238" y="501"/>
                  </a:lnTo>
                  <a:lnTo>
                    <a:pt x="1240" y="501"/>
                  </a:lnTo>
                  <a:lnTo>
                    <a:pt x="1240" y="501"/>
                  </a:lnTo>
                  <a:lnTo>
                    <a:pt x="1242" y="501"/>
                  </a:lnTo>
                  <a:lnTo>
                    <a:pt x="1244" y="501"/>
                  </a:lnTo>
                  <a:lnTo>
                    <a:pt x="1247" y="504"/>
                  </a:lnTo>
                  <a:lnTo>
                    <a:pt x="1249" y="506"/>
                  </a:lnTo>
                  <a:lnTo>
                    <a:pt x="1251" y="508"/>
                  </a:lnTo>
                  <a:lnTo>
                    <a:pt x="1256" y="508"/>
                  </a:lnTo>
                  <a:lnTo>
                    <a:pt x="1258" y="510"/>
                  </a:lnTo>
                  <a:lnTo>
                    <a:pt x="1260" y="513"/>
                  </a:lnTo>
                  <a:lnTo>
                    <a:pt x="1262" y="515"/>
                  </a:lnTo>
                  <a:lnTo>
                    <a:pt x="1265" y="515"/>
                  </a:lnTo>
                  <a:lnTo>
                    <a:pt x="1265" y="517"/>
                  </a:lnTo>
                  <a:lnTo>
                    <a:pt x="1267" y="517"/>
                  </a:lnTo>
                  <a:lnTo>
                    <a:pt x="1269" y="517"/>
                  </a:lnTo>
                  <a:lnTo>
                    <a:pt x="1271" y="519"/>
                  </a:lnTo>
                  <a:lnTo>
                    <a:pt x="1271" y="519"/>
                  </a:lnTo>
                  <a:lnTo>
                    <a:pt x="1274" y="522"/>
                  </a:lnTo>
                  <a:lnTo>
                    <a:pt x="1276" y="522"/>
                  </a:lnTo>
                  <a:lnTo>
                    <a:pt x="1276" y="524"/>
                  </a:lnTo>
                  <a:lnTo>
                    <a:pt x="1278" y="524"/>
                  </a:lnTo>
                  <a:lnTo>
                    <a:pt x="1280" y="526"/>
                  </a:lnTo>
                  <a:lnTo>
                    <a:pt x="1283" y="526"/>
                  </a:lnTo>
                  <a:lnTo>
                    <a:pt x="1285" y="528"/>
                  </a:lnTo>
                  <a:lnTo>
                    <a:pt x="1285" y="528"/>
                  </a:lnTo>
                  <a:lnTo>
                    <a:pt x="1287" y="531"/>
                  </a:lnTo>
                  <a:lnTo>
                    <a:pt x="1289" y="531"/>
                  </a:lnTo>
                  <a:lnTo>
                    <a:pt x="1289" y="533"/>
                  </a:lnTo>
                  <a:lnTo>
                    <a:pt x="1289" y="533"/>
                  </a:lnTo>
                  <a:lnTo>
                    <a:pt x="1289" y="533"/>
                  </a:lnTo>
                  <a:lnTo>
                    <a:pt x="1289" y="533"/>
                  </a:lnTo>
                  <a:lnTo>
                    <a:pt x="1289" y="533"/>
                  </a:lnTo>
                  <a:lnTo>
                    <a:pt x="1292" y="533"/>
                  </a:lnTo>
                  <a:lnTo>
                    <a:pt x="1292" y="533"/>
                  </a:lnTo>
                  <a:lnTo>
                    <a:pt x="1292" y="533"/>
                  </a:lnTo>
                  <a:lnTo>
                    <a:pt x="1292" y="533"/>
                  </a:lnTo>
                  <a:lnTo>
                    <a:pt x="1292" y="533"/>
                  </a:lnTo>
                  <a:lnTo>
                    <a:pt x="1292" y="535"/>
                  </a:lnTo>
                  <a:lnTo>
                    <a:pt x="1292" y="537"/>
                  </a:lnTo>
                  <a:lnTo>
                    <a:pt x="1289" y="539"/>
                  </a:lnTo>
                  <a:lnTo>
                    <a:pt x="1289" y="539"/>
                  </a:lnTo>
                  <a:lnTo>
                    <a:pt x="1292" y="542"/>
                  </a:lnTo>
                  <a:lnTo>
                    <a:pt x="1292" y="542"/>
                  </a:lnTo>
                  <a:lnTo>
                    <a:pt x="1292" y="544"/>
                  </a:lnTo>
                  <a:lnTo>
                    <a:pt x="1294" y="544"/>
                  </a:lnTo>
                  <a:lnTo>
                    <a:pt x="1294" y="544"/>
                  </a:lnTo>
                  <a:lnTo>
                    <a:pt x="1294" y="544"/>
                  </a:lnTo>
                  <a:lnTo>
                    <a:pt x="1294" y="544"/>
                  </a:lnTo>
                  <a:lnTo>
                    <a:pt x="1294" y="542"/>
                  </a:lnTo>
                  <a:lnTo>
                    <a:pt x="1296" y="542"/>
                  </a:lnTo>
                  <a:lnTo>
                    <a:pt x="1296" y="542"/>
                  </a:lnTo>
                  <a:lnTo>
                    <a:pt x="1296" y="542"/>
                  </a:lnTo>
                  <a:lnTo>
                    <a:pt x="1296" y="542"/>
                  </a:lnTo>
                  <a:lnTo>
                    <a:pt x="1298" y="542"/>
                  </a:lnTo>
                  <a:lnTo>
                    <a:pt x="1298" y="542"/>
                  </a:lnTo>
                  <a:lnTo>
                    <a:pt x="1300" y="542"/>
                  </a:lnTo>
                  <a:lnTo>
                    <a:pt x="1300" y="542"/>
                  </a:lnTo>
                  <a:lnTo>
                    <a:pt x="1303" y="542"/>
                  </a:lnTo>
                  <a:lnTo>
                    <a:pt x="1300" y="544"/>
                  </a:lnTo>
                  <a:lnTo>
                    <a:pt x="1300" y="544"/>
                  </a:lnTo>
                  <a:lnTo>
                    <a:pt x="1300" y="546"/>
                  </a:lnTo>
                  <a:lnTo>
                    <a:pt x="1300" y="546"/>
                  </a:lnTo>
                  <a:lnTo>
                    <a:pt x="1300" y="546"/>
                  </a:lnTo>
                  <a:lnTo>
                    <a:pt x="1300" y="546"/>
                  </a:lnTo>
                  <a:lnTo>
                    <a:pt x="1298" y="546"/>
                  </a:lnTo>
                  <a:lnTo>
                    <a:pt x="1298" y="548"/>
                  </a:lnTo>
                  <a:lnTo>
                    <a:pt x="1298" y="548"/>
                  </a:lnTo>
                  <a:lnTo>
                    <a:pt x="1298" y="548"/>
                  </a:lnTo>
                  <a:lnTo>
                    <a:pt x="1298" y="548"/>
                  </a:lnTo>
                  <a:lnTo>
                    <a:pt x="1298" y="548"/>
                  </a:lnTo>
                  <a:lnTo>
                    <a:pt x="1298" y="551"/>
                  </a:lnTo>
                  <a:lnTo>
                    <a:pt x="1300" y="551"/>
                  </a:lnTo>
                  <a:lnTo>
                    <a:pt x="1300" y="551"/>
                  </a:lnTo>
                  <a:lnTo>
                    <a:pt x="1300" y="551"/>
                  </a:lnTo>
                  <a:lnTo>
                    <a:pt x="1300" y="551"/>
                  </a:lnTo>
                  <a:lnTo>
                    <a:pt x="1300" y="553"/>
                  </a:lnTo>
                  <a:lnTo>
                    <a:pt x="1300" y="553"/>
                  </a:lnTo>
                  <a:lnTo>
                    <a:pt x="1300" y="553"/>
                  </a:lnTo>
                  <a:lnTo>
                    <a:pt x="1300" y="553"/>
                  </a:lnTo>
                  <a:lnTo>
                    <a:pt x="1303" y="551"/>
                  </a:lnTo>
                  <a:lnTo>
                    <a:pt x="1303" y="551"/>
                  </a:lnTo>
                  <a:lnTo>
                    <a:pt x="1303" y="551"/>
                  </a:lnTo>
                  <a:lnTo>
                    <a:pt x="1303" y="551"/>
                  </a:lnTo>
                  <a:lnTo>
                    <a:pt x="1305" y="551"/>
                  </a:lnTo>
                  <a:lnTo>
                    <a:pt x="1305" y="551"/>
                  </a:lnTo>
                  <a:lnTo>
                    <a:pt x="1307" y="551"/>
                  </a:lnTo>
                  <a:lnTo>
                    <a:pt x="1307" y="551"/>
                  </a:lnTo>
                  <a:lnTo>
                    <a:pt x="1307" y="553"/>
                  </a:lnTo>
                  <a:lnTo>
                    <a:pt x="1309" y="553"/>
                  </a:lnTo>
                  <a:lnTo>
                    <a:pt x="1309" y="553"/>
                  </a:lnTo>
                  <a:lnTo>
                    <a:pt x="1309" y="553"/>
                  </a:lnTo>
                  <a:lnTo>
                    <a:pt x="1309" y="553"/>
                  </a:lnTo>
                  <a:lnTo>
                    <a:pt x="1307" y="555"/>
                  </a:lnTo>
                  <a:lnTo>
                    <a:pt x="1305" y="557"/>
                  </a:lnTo>
                  <a:lnTo>
                    <a:pt x="1305" y="557"/>
                  </a:lnTo>
                  <a:lnTo>
                    <a:pt x="1305" y="560"/>
                  </a:lnTo>
                  <a:lnTo>
                    <a:pt x="1307" y="560"/>
                  </a:lnTo>
                  <a:lnTo>
                    <a:pt x="1309" y="562"/>
                  </a:lnTo>
                  <a:lnTo>
                    <a:pt x="1312" y="564"/>
                  </a:lnTo>
                  <a:lnTo>
                    <a:pt x="1316" y="566"/>
                  </a:lnTo>
                  <a:lnTo>
                    <a:pt x="1318" y="569"/>
                  </a:lnTo>
                  <a:lnTo>
                    <a:pt x="1318" y="569"/>
                  </a:lnTo>
                  <a:lnTo>
                    <a:pt x="1318" y="571"/>
                  </a:lnTo>
                  <a:lnTo>
                    <a:pt x="1318" y="575"/>
                  </a:lnTo>
                  <a:lnTo>
                    <a:pt x="1316" y="580"/>
                  </a:lnTo>
                  <a:lnTo>
                    <a:pt x="1316" y="584"/>
                  </a:lnTo>
                  <a:lnTo>
                    <a:pt x="1314" y="589"/>
                  </a:lnTo>
                  <a:lnTo>
                    <a:pt x="1314" y="596"/>
                  </a:lnTo>
                  <a:lnTo>
                    <a:pt x="1314" y="600"/>
                  </a:lnTo>
                  <a:lnTo>
                    <a:pt x="1312" y="605"/>
                  </a:lnTo>
                  <a:lnTo>
                    <a:pt x="1312" y="609"/>
                  </a:lnTo>
                  <a:lnTo>
                    <a:pt x="1312" y="609"/>
                  </a:lnTo>
                  <a:lnTo>
                    <a:pt x="1309" y="611"/>
                  </a:lnTo>
                  <a:lnTo>
                    <a:pt x="1309" y="611"/>
                  </a:lnTo>
                  <a:lnTo>
                    <a:pt x="1309" y="614"/>
                  </a:lnTo>
                  <a:lnTo>
                    <a:pt x="1307" y="614"/>
                  </a:lnTo>
                  <a:lnTo>
                    <a:pt x="1307" y="616"/>
                  </a:lnTo>
                  <a:lnTo>
                    <a:pt x="1305" y="618"/>
                  </a:lnTo>
                  <a:lnTo>
                    <a:pt x="1305" y="618"/>
                  </a:lnTo>
                  <a:lnTo>
                    <a:pt x="1303" y="620"/>
                  </a:lnTo>
                  <a:lnTo>
                    <a:pt x="1303" y="620"/>
                  </a:lnTo>
                  <a:lnTo>
                    <a:pt x="1300" y="623"/>
                  </a:lnTo>
                  <a:lnTo>
                    <a:pt x="1300" y="623"/>
                  </a:lnTo>
                  <a:lnTo>
                    <a:pt x="1300" y="625"/>
                  </a:lnTo>
                  <a:lnTo>
                    <a:pt x="1300" y="625"/>
                  </a:lnTo>
                  <a:lnTo>
                    <a:pt x="1298" y="627"/>
                  </a:lnTo>
                  <a:lnTo>
                    <a:pt x="1298" y="627"/>
                  </a:lnTo>
                  <a:lnTo>
                    <a:pt x="1298" y="627"/>
                  </a:lnTo>
                  <a:lnTo>
                    <a:pt x="1298" y="627"/>
                  </a:lnTo>
                  <a:lnTo>
                    <a:pt x="1298" y="629"/>
                  </a:lnTo>
                  <a:lnTo>
                    <a:pt x="1298" y="629"/>
                  </a:lnTo>
                  <a:lnTo>
                    <a:pt x="1298" y="629"/>
                  </a:lnTo>
                  <a:lnTo>
                    <a:pt x="1298" y="629"/>
                  </a:lnTo>
                  <a:lnTo>
                    <a:pt x="1296" y="629"/>
                  </a:lnTo>
                  <a:lnTo>
                    <a:pt x="1296" y="632"/>
                  </a:lnTo>
                  <a:lnTo>
                    <a:pt x="1296" y="632"/>
                  </a:lnTo>
                  <a:lnTo>
                    <a:pt x="1294" y="634"/>
                  </a:lnTo>
                  <a:lnTo>
                    <a:pt x="1294" y="634"/>
                  </a:lnTo>
                  <a:lnTo>
                    <a:pt x="1294" y="634"/>
                  </a:lnTo>
                  <a:lnTo>
                    <a:pt x="1294" y="634"/>
                  </a:lnTo>
                  <a:lnTo>
                    <a:pt x="1292" y="634"/>
                  </a:lnTo>
                  <a:lnTo>
                    <a:pt x="1292" y="636"/>
                  </a:lnTo>
                  <a:lnTo>
                    <a:pt x="1287" y="638"/>
                  </a:lnTo>
                  <a:lnTo>
                    <a:pt x="1287" y="638"/>
                  </a:lnTo>
                  <a:lnTo>
                    <a:pt x="1285" y="638"/>
                  </a:lnTo>
                  <a:lnTo>
                    <a:pt x="1283" y="641"/>
                  </a:lnTo>
                  <a:lnTo>
                    <a:pt x="1280" y="641"/>
                  </a:lnTo>
                  <a:lnTo>
                    <a:pt x="1280" y="641"/>
                  </a:lnTo>
                  <a:lnTo>
                    <a:pt x="1280" y="643"/>
                  </a:lnTo>
                  <a:lnTo>
                    <a:pt x="1280" y="643"/>
                  </a:lnTo>
                  <a:lnTo>
                    <a:pt x="1278" y="645"/>
                  </a:lnTo>
                  <a:lnTo>
                    <a:pt x="1278" y="647"/>
                  </a:lnTo>
                  <a:lnTo>
                    <a:pt x="1278" y="647"/>
                  </a:lnTo>
                  <a:lnTo>
                    <a:pt x="1278" y="650"/>
                  </a:lnTo>
                  <a:lnTo>
                    <a:pt x="1278" y="650"/>
                  </a:lnTo>
                  <a:lnTo>
                    <a:pt x="1278" y="652"/>
                  </a:lnTo>
                  <a:lnTo>
                    <a:pt x="1278" y="652"/>
                  </a:lnTo>
                  <a:lnTo>
                    <a:pt x="1280" y="654"/>
                  </a:lnTo>
                  <a:lnTo>
                    <a:pt x="1283" y="654"/>
                  </a:lnTo>
                  <a:lnTo>
                    <a:pt x="1285" y="656"/>
                  </a:lnTo>
                  <a:lnTo>
                    <a:pt x="1287" y="656"/>
                  </a:lnTo>
                  <a:lnTo>
                    <a:pt x="1289" y="656"/>
                  </a:lnTo>
                  <a:lnTo>
                    <a:pt x="1292" y="654"/>
                  </a:lnTo>
                  <a:lnTo>
                    <a:pt x="1296" y="652"/>
                  </a:lnTo>
                  <a:lnTo>
                    <a:pt x="1298" y="650"/>
                  </a:lnTo>
                  <a:lnTo>
                    <a:pt x="1303" y="650"/>
                  </a:lnTo>
                  <a:lnTo>
                    <a:pt x="1305" y="647"/>
                  </a:lnTo>
                  <a:lnTo>
                    <a:pt x="1309" y="645"/>
                  </a:lnTo>
                  <a:lnTo>
                    <a:pt x="1312" y="645"/>
                  </a:lnTo>
                  <a:lnTo>
                    <a:pt x="1314" y="643"/>
                  </a:lnTo>
                  <a:lnTo>
                    <a:pt x="1318" y="643"/>
                  </a:lnTo>
                  <a:lnTo>
                    <a:pt x="1321" y="643"/>
                  </a:lnTo>
                  <a:lnTo>
                    <a:pt x="1323" y="641"/>
                  </a:lnTo>
                  <a:lnTo>
                    <a:pt x="1325" y="641"/>
                  </a:lnTo>
                  <a:lnTo>
                    <a:pt x="1327" y="641"/>
                  </a:lnTo>
                  <a:lnTo>
                    <a:pt x="1332" y="641"/>
                  </a:lnTo>
                  <a:lnTo>
                    <a:pt x="1334" y="641"/>
                  </a:lnTo>
                  <a:lnTo>
                    <a:pt x="1336" y="638"/>
                  </a:lnTo>
                  <a:lnTo>
                    <a:pt x="1339" y="638"/>
                  </a:lnTo>
                  <a:lnTo>
                    <a:pt x="1343" y="636"/>
                  </a:lnTo>
                  <a:lnTo>
                    <a:pt x="1345" y="636"/>
                  </a:lnTo>
                  <a:lnTo>
                    <a:pt x="1350" y="634"/>
                  </a:lnTo>
                  <a:lnTo>
                    <a:pt x="1352" y="632"/>
                  </a:lnTo>
                  <a:lnTo>
                    <a:pt x="1357" y="632"/>
                  </a:lnTo>
                  <a:lnTo>
                    <a:pt x="1359" y="629"/>
                  </a:lnTo>
                  <a:lnTo>
                    <a:pt x="1363" y="629"/>
                  </a:lnTo>
                  <a:lnTo>
                    <a:pt x="1366" y="627"/>
                  </a:lnTo>
                  <a:lnTo>
                    <a:pt x="1366" y="627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5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3"/>
                  </a:lnTo>
                  <a:lnTo>
                    <a:pt x="1366" y="620"/>
                  </a:lnTo>
                  <a:lnTo>
                    <a:pt x="1366" y="620"/>
                  </a:lnTo>
                  <a:lnTo>
                    <a:pt x="1366" y="620"/>
                  </a:lnTo>
                  <a:lnTo>
                    <a:pt x="1366" y="620"/>
                  </a:lnTo>
                  <a:lnTo>
                    <a:pt x="1366" y="620"/>
                  </a:lnTo>
                  <a:lnTo>
                    <a:pt x="1366" y="620"/>
                  </a:lnTo>
                  <a:lnTo>
                    <a:pt x="1366" y="618"/>
                  </a:lnTo>
                  <a:lnTo>
                    <a:pt x="1366" y="618"/>
                  </a:lnTo>
                  <a:lnTo>
                    <a:pt x="1366" y="616"/>
                  </a:lnTo>
                  <a:lnTo>
                    <a:pt x="1366" y="614"/>
                  </a:lnTo>
                  <a:lnTo>
                    <a:pt x="1368" y="611"/>
                  </a:lnTo>
                  <a:lnTo>
                    <a:pt x="1370" y="611"/>
                  </a:lnTo>
                  <a:lnTo>
                    <a:pt x="1375" y="609"/>
                  </a:lnTo>
                  <a:lnTo>
                    <a:pt x="1377" y="609"/>
                  </a:lnTo>
                  <a:lnTo>
                    <a:pt x="1381" y="609"/>
                  </a:lnTo>
                  <a:lnTo>
                    <a:pt x="1386" y="609"/>
                  </a:lnTo>
                  <a:lnTo>
                    <a:pt x="1390" y="609"/>
                  </a:lnTo>
                  <a:lnTo>
                    <a:pt x="1395" y="609"/>
                  </a:lnTo>
                  <a:lnTo>
                    <a:pt x="1399" y="609"/>
                  </a:lnTo>
                  <a:lnTo>
                    <a:pt x="1404" y="609"/>
                  </a:lnTo>
                  <a:lnTo>
                    <a:pt x="1408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3" y="609"/>
                  </a:lnTo>
                  <a:lnTo>
                    <a:pt x="1415" y="607"/>
                  </a:lnTo>
                  <a:lnTo>
                    <a:pt x="1415" y="607"/>
                  </a:lnTo>
                  <a:lnTo>
                    <a:pt x="1417" y="605"/>
                  </a:lnTo>
                  <a:lnTo>
                    <a:pt x="1417" y="605"/>
                  </a:lnTo>
                  <a:lnTo>
                    <a:pt x="1420" y="602"/>
                  </a:lnTo>
                  <a:lnTo>
                    <a:pt x="1420" y="600"/>
                  </a:lnTo>
                  <a:lnTo>
                    <a:pt x="1422" y="600"/>
                  </a:lnTo>
                  <a:lnTo>
                    <a:pt x="1424" y="598"/>
                  </a:lnTo>
                  <a:lnTo>
                    <a:pt x="1424" y="598"/>
                  </a:lnTo>
                  <a:lnTo>
                    <a:pt x="1426" y="598"/>
                  </a:lnTo>
                  <a:lnTo>
                    <a:pt x="1426" y="598"/>
                  </a:lnTo>
                  <a:lnTo>
                    <a:pt x="1426" y="596"/>
                  </a:lnTo>
                  <a:lnTo>
                    <a:pt x="1426" y="596"/>
                  </a:lnTo>
                  <a:lnTo>
                    <a:pt x="1426" y="596"/>
                  </a:lnTo>
                  <a:lnTo>
                    <a:pt x="1426" y="596"/>
                  </a:lnTo>
                  <a:lnTo>
                    <a:pt x="1429" y="596"/>
                  </a:lnTo>
                  <a:lnTo>
                    <a:pt x="1429" y="596"/>
                  </a:lnTo>
                  <a:lnTo>
                    <a:pt x="1431" y="596"/>
                  </a:lnTo>
                  <a:lnTo>
                    <a:pt x="1431" y="596"/>
                  </a:lnTo>
                  <a:lnTo>
                    <a:pt x="1431" y="593"/>
                  </a:lnTo>
                  <a:lnTo>
                    <a:pt x="1431" y="593"/>
                  </a:lnTo>
                  <a:lnTo>
                    <a:pt x="1431" y="593"/>
                  </a:lnTo>
                  <a:lnTo>
                    <a:pt x="1433" y="593"/>
                  </a:lnTo>
                  <a:lnTo>
                    <a:pt x="1435" y="591"/>
                  </a:lnTo>
                  <a:lnTo>
                    <a:pt x="1438" y="591"/>
                  </a:lnTo>
                  <a:lnTo>
                    <a:pt x="1438" y="591"/>
                  </a:lnTo>
                  <a:lnTo>
                    <a:pt x="1438" y="591"/>
                  </a:lnTo>
                  <a:lnTo>
                    <a:pt x="1438" y="589"/>
                  </a:lnTo>
                  <a:lnTo>
                    <a:pt x="1440" y="589"/>
                  </a:lnTo>
                  <a:lnTo>
                    <a:pt x="1440" y="589"/>
                  </a:lnTo>
                  <a:lnTo>
                    <a:pt x="1442" y="587"/>
                  </a:lnTo>
                  <a:lnTo>
                    <a:pt x="1444" y="584"/>
                  </a:lnTo>
                  <a:lnTo>
                    <a:pt x="1447" y="582"/>
                  </a:lnTo>
                  <a:lnTo>
                    <a:pt x="1451" y="582"/>
                  </a:lnTo>
                  <a:lnTo>
                    <a:pt x="1451" y="580"/>
                  </a:lnTo>
                  <a:lnTo>
                    <a:pt x="1456" y="580"/>
                  </a:lnTo>
                  <a:lnTo>
                    <a:pt x="1456" y="578"/>
                  </a:lnTo>
                  <a:lnTo>
                    <a:pt x="1458" y="578"/>
                  </a:lnTo>
                  <a:lnTo>
                    <a:pt x="1458" y="578"/>
                  </a:lnTo>
                  <a:lnTo>
                    <a:pt x="1458" y="578"/>
                  </a:lnTo>
                  <a:lnTo>
                    <a:pt x="1460" y="578"/>
                  </a:lnTo>
                  <a:lnTo>
                    <a:pt x="1460" y="578"/>
                  </a:lnTo>
                  <a:lnTo>
                    <a:pt x="1460" y="578"/>
                  </a:lnTo>
                  <a:lnTo>
                    <a:pt x="1460" y="578"/>
                  </a:lnTo>
                  <a:lnTo>
                    <a:pt x="1462" y="578"/>
                  </a:lnTo>
                  <a:lnTo>
                    <a:pt x="1464" y="578"/>
                  </a:lnTo>
                  <a:lnTo>
                    <a:pt x="1464" y="578"/>
                  </a:lnTo>
                  <a:lnTo>
                    <a:pt x="1467" y="578"/>
                  </a:lnTo>
                  <a:lnTo>
                    <a:pt x="1469" y="578"/>
                  </a:lnTo>
                  <a:lnTo>
                    <a:pt x="1469" y="578"/>
                  </a:lnTo>
                  <a:lnTo>
                    <a:pt x="1471" y="578"/>
                  </a:lnTo>
                  <a:lnTo>
                    <a:pt x="1473" y="578"/>
                  </a:lnTo>
                  <a:lnTo>
                    <a:pt x="1476" y="578"/>
                  </a:lnTo>
                  <a:lnTo>
                    <a:pt x="1478" y="578"/>
                  </a:lnTo>
                  <a:lnTo>
                    <a:pt x="1480" y="578"/>
                  </a:lnTo>
                  <a:lnTo>
                    <a:pt x="1480" y="578"/>
                  </a:lnTo>
                  <a:lnTo>
                    <a:pt x="1482" y="578"/>
                  </a:lnTo>
                  <a:lnTo>
                    <a:pt x="1485" y="578"/>
                  </a:lnTo>
                  <a:lnTo>
                    <a:pt x="1487" y="578"/>
                  </a:lnTo>
                  <a:lnTo>
                    <a:pt x="1489" y="578"/>
                  </a:lnTo>
                  <a:lnTo>
                    <a:pt x="1491" y="578"/>
                  </a:lnTo>
                  <a:lnTo>
                    <a:pt x="1491" y="578"/>
                  </a:lnTo>
                  <a:lnTo>
                    <a:pt x="1494" y="578"/>
                  </a:lnTo>
                  <a:lnTo>
                    <a:pt x="1496" y="578"/>
                  </a:lnTo>
                  <a:lnTo>
                    <a:pt x="1498" y="578"/>
                  </a:lnTo>
                  <a:lnTo>
                    <a:pt x="1500" y="578"/>
                  </a:lnTo>
                  <a:lnTo>
                    <a:pt x="1503" y="578"/>
                  </a:lnTo>
                  <a:lnTo>
                    <a:pt x="1503" y="578"/>
                  </a:lnTo>
                  <a:lnTo>
                    <a:pt x="1505" y="578"/>
                  </a:lnTo>
                  <a:lnTo>
                    <a:pt x="1507" y="578"/>
                  </a:lnTo>
                  <a:lnTo>
                    <a:pt x="1509" y="578"/>
                  </a:lnTo>
                  <a:lnTo>
                    <a:pt x="1512" y="578"/>
                  </a:lnTo>
                  <a:lnTo>
                    <a:pt x="1514" y="578"/>
                  </a:lnTo>
                  <a:lnTo>
                    <a:pt x="1514" y="578"/>
                  </a:lnTo>
                  <a:lnTo>
                    <a:pt x="1516" y="578"/>
                  </a:lnTo>
                  <a:lnTo>
                    <a:pt x="1518" y="578"/>
                  </a:lnTo>
                  <a:lnTo>
                    <a:pt x="1521" y="578"/>
                  </a:lnTo>
                  <a:lnTo>
                    <a:pt x="1523" y="578"/>
                  </a:lnTo>
                  <a:lnTo>
                    <a:pt x="1525" y="578"/>
                  </a:lnTo>
                  <a:lnTo>
                    <a:pt x="1525" y="575"/>
                  </a:lnTo>
                  <a:lnTo>
                    <a:pt x="1525" y="575"/>
                  </a:lnTo>
                  <a:lnTo>
                    <a:pt x="1525" y="575"/>
                  </a:lnTo>
                  <a:lnTo>
                    <a:pt x="1525" y="575"/>
                  </a:lnTo>
                  <a:lnTo>
                    <a:pt x="1525" y="575"/>
                  </a:lnTo>
                  <a:lnTo>
                    <a:pt x="1527" y="573"/>
                  </a:lnTo>
                  <a:lnTo>
                    <a:pt x="1527" y="573"/>
                  </a:lnTo>
                  <a:lnTo>
                    <a:pt x="1527" y="573"/>
                  </a:lnTo>
                  <a:lnTo>
                    <a:pt x="1527" y="573"/>
                  </a:lnTo>
                  <a:lnTo>
                    <a:pt x="1527" y="573"/>
                  </a:lnTo>
                  <a:lnTo>
                    <a:pt x="1527" y="571"/>
                  </a:lnTo>
                  <a:lnTo>
                    <a:pt x="1527" y="571"/>
                  </a:lnTo>
                  <a:lnTo>
                    <a:pt x="1527" y="571"/>
                  </a:lnTo>
                  <a:lnTo>
                    <a:pt x="1527" y="571"/>
                  </a:lnTo>
                  <a:lnTo>
                    <a:pt x="1530" y="571"/>
                  </a:lnTo>
                  <a:lnTo>
                    <a:pt x="1530" y="571"/>
                  </a:lnTo>
                  <a:lnTo>
                    <a:pt x="1530" y="571"/>
                  </a:lnTo>
                  <a:lnTo>
                    <a:pt x="1530" y="571"/>
                  </a:lnTo>
                  <a:lnTo>
                    <a:pt x="1532" y="571"/>
                  </a:lnTo>
                  <a:lnTo>
                    <a:pt x="1532" y="571"/>
                  </a:lnTo>
                  <a:lnTo>
                    <a:pt x="1532" y="571"/>
                  </a:lnTo>
                  <a:lnTo>
                    <a:pt x="1532" y="571"/>
                  </a:lnTo>
                  <a:lnTo>
                    <a:pt x="1534" y="571"/>
                  </a:lnTo>
                  <a:lnTo>
                    <a:pt x="1534" y="571"/>
                  </a:lnTo>
                  <a:lnTo>
                    <a:pt x="1534" y="571"/>
                  </a:lnTo>
                  <a:lnTo>
                    <a:pt x="1534" y="571"/>
                  </a:lnTo>
                  <a:lnTo>
                    <a:pt x="1534" y="571"/>
                  </a:lnTo>
                  <a:lnTo>
                    <a:pt x="1536" y="569"/>
                  </a:lnTo>
                  <a:lnTo>
                    <a:pt x="1536" y="569"/>
                  </a:lnTo>
                  <a:lnTo>
                    <a:pt x="1536" y="569"/>
                  </a:lnTo>
                  <a:lnTo>
                    <a:pt x="1536" y="569"/>
                  </a:lnTo>
                  <a:lnTo>
                    <a:pt x="1536" y="569"/>
                  </a:lnTo>
                  <a:lnTo>
                    <a:pt x="1536" y="569"/>
                  </a:lnTo>
                  <a:lnTo>
                    <a:pt x="1536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71"/>
                  </a:lnTo>
                  <a:lnTo>
                    <a:pt x="1539" y="569"/>
                  </a:lnTo>
                  <a:lnTo>
                    <a:pt x="1539" y="569"/>
                  </a:lnTo>
                  <a:lnTo>
                    <a:pt x="1541" y="569"/>
                  </a:lnTo>
                  <a:lnTo>
                    <a:pt x="1541" y="569"/>
                  </a:lnTo>
                  <a:lnTo>
                    <a:pt x="1541" y="566"/>
                  </a:lnTo>
                  <a:lnTo>
                    <a:pt x="1541" y="566"/>
                  </a:lnTo>
                  <a:lnTo>
                    <a:pt x="1541" y="566"/>
                  </a:lnTo>
                  <a:lnTo>
                    <a:pt x="1541" y="566"/>
                  </a:lnTo>
                  <a:lnTo>
                    <a:pt x="1543" y="569"/>
                  </a:lnTo>
                  <a:lnTo>
                    <a:pt x="1543" y="569"/>
                  </a:lnTo>
                  <a:lnTo>
                    <a:pt x="1543" y="569"/>
                  </a:lnTo>
                  <a:lnTo>
                    <a:pt x="1543" y="569"/>
                  </a:lnTo>
                  <a:lnTo>
                    <a:pt x="1543" y="569"/>
                  </a:lnTo>
                  <a:lnTo>
                    <a:pt x="1543" y="566"/>
                  </a:lnTo>
                  <a:lnTo>
                    <a:pt x="1543" y="566"/>
                  </a:lnTo>
                  <a:lnTo>
                    <a:pt x="1543" y="566"/>
                  </a:lnTo>
                  <a:lnTo>
                    <a:pt x="1543" y="566"/>
                  </a:lnTo>
                  <a:lnTo>
                    <a:pt x="1543" y="566"/>
                  </a:lnTo>
                  <a:lnTo>
                    <a:pt x="1543" y="566"/>
                  </a:lnTo>
                  <a:lnTo>
                    <a:pt x="1543" y="564"/>
                  </a:lnTo>
                  <a:lnTo>
                    <a:pt x="1548" y="562"/>
                  </a:lnTo>
                  <a:lnTo>
                    <a:pt x="1548" y="562"/>
                  </a:lnTo>
                  <a:lnTo>
                    <a:pt x="1548" y="562"/>
                  </a:lnTo>
                  <a:lnTo>
                    <a:pt x="1550" y="562"/>
                  </a:lnTo>
                  <a:lnTo>
                    <a:pt x="1550" y="560"/>
                  </a:lnTo>
                  <a:lnTo>
                    <a:pt x="1550" y="560"/>
                  </a:lnTo>
                  <a:lnTo>
                    <a:pt x="1550" y="560"/>
                  </a:lnTo>
                  <a:lnTo>
                    <a:pt x="1550" y="560"/>
                  </a:lnTo>
                  <a:lnTo>
                    <a:pt x="1550" y="560"/>
                  </a:lnTo>
                  <a:lnTo>
                    <a:pt x="1550" y="560"/>
                  </a:lnTo>
                  <a:lnTo>
                    <a:pt x="1552" y="560"/>
                  </a:lnTo>
                  <a:lnTo>
                    <a:pt x="1552" y="560"/>
                  </a:lnTo>
                  <a:lnTo>
                    <a:pt x="1550" y="560"/>
                  </a:lnTo>
                  <a:lnTo>
                    <a:pt x="1550" y="560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2" y="557"/>
                  </a:lnTo>
                  <a:lnTo>
                    <a:pt x="1554" y="557"/>
                  </a:lnTo>
                  <a:lnTo>
                    <a:pt x="1554" y="557"/>
                  </a:lnTo>
                  <a:lnTo>
                    <a:pt x="1554" y="555"/>
                  </a:lnTo>
                  <a:lnTo>
                    <a:pt x="1554" y="555"/>
                  </a:lnTo>
                  <a:lnTo>
                    <a:pt x="1554" y="555"/>
                  </a:lnTo>
                  <a:lnTo>
                    <a:pt x="1554" y="555"/>
                  </a:lnTo>
                  <a:lnTo>
                    <a:pt x="1554" y="555"/>
                  </a:lnTo>
                  <a:lnTo>
                    <a:pt x="1554" y="555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4" y="553"/>
                  </a:lnTo>
                  <a:lnTo>
                    <a:pt x="1557" y="551"/>
                  </a:lnTo>
                  <a:lnTo>
                    <a:pt x="1557" y="551"/>
                  </a:lnTo>
                  <a:lnTo>
                    <a:pt x="1557" y="551"/>
                  </a:lnTo>
                  <a:lnTo>
                    <a:pt x="1557" y="551"/>
                  </a:lnTo>
                  <a:lnTo>
                    <a:pt x="1557" y="551"/>
                  </a:lnTo>
                  <a:lnTo>
                    <a:pt x="1557" y="548"/>
                  </a:lnTo>
                  <a:lnTo>
                    <a:pt x="1557" y="548"/>
                  </a:lnTo>
                  <a:lnTo>
                    <a:pt x="1557" y="548"/>
                  </a:lnTo>
                  <a:lnTo>
                    <a:pt x="1559" y="548"/>
                  </a:lnTo>
                  <a:lnTo>
                    <a:pt x="1559" y="546"/>
                  </a:lnTo>
                  <a:lnTo>
                    <a:pt x="1559" y="546"/>
                  </a:lnTo>
                  <a:lnTo>
                    <a:pt x="1559" y="546"/>
                  </a:lnTo>
                  <a:lnTo>
                    <a:pt x="1559" y="546"/>
                  </a:lnTo>
                  <a:lnTo>
                    <a:pt x="1559" y="546"/>
                  </a:lnTo>
                  <a:lnTo>
                    <a:pt x="1559" y="546"/>
                  </a:lnTo>
                  <a:lnTo>
                    <a:pt x="1561" y="546"/>
                  </a:lnTo>
                  <a:lnTo>
                    <a:pt x="1561" y="546"/>
                  </a:lnTo>
                  <a:lnTo>
                    <a:pt x="1563" y="544"/>
                  </a:lnTo>
                  <a:lnTo>
                    <a:pt x="1563" y="544"/>
                  </a:lnTo>
                  <a:lnTo>
                    <a:pt x="1563" y="542"/>
                  </a:lnTo>
                  <a:lnTo>
                    <a:pt x="1566" y="539"/>
                  </a:lnTo>
                  <a:lnTo>
                    <a:pt x="1566" y="539"/>
                  </a:lnTo>
                  <a:lnTo>
                    <a:pt x="1566" y="537"/>
                  </a:lnTo>
                  <a:lnTo>
                    <a:pt x="1566" y="537"/>
                  </a:lnTo>
                  <a:lnTo>
                    <a:pt x="1568" y="535"/>
                  </a:lnTo>
                  <a:lnTo>
                    <a:pt x="1572" y="533"/>
                  </a:lnTo>
                  <a:lnTo>
                    <a:pt x="1575" y="531"/>
                  </a:lnTo>
                  <a:lnTo>
                    <a:pt x="1577" y="528"/>
                  </a:lnTo>
                  <a:lnTo>
                    <a:pt x="1579" y="526"/>
                  </a:lnTo>
                  <a:lnTo>
                    <a:pt x="1581" y="524"/>
                  </a:lnTo>
                  <a:lnTo>
                    <a:pt x="1584" y="522"/>
                  </a:lnTo>
                  <a:lnTo>
                    <a:pt x="1586" y="519"/>
                  </a:lnTo>
                  <a:lnTo>
                    <a:pt x="1586" y="519"/>
                  </a:lnTo>
                  <a:lnTo>
                    <a:pt x="1586" y="519"/>
                  </a:lnTo>
                  <a:lnTo>
                    <a:pt x="1586" y="519"/>
                  </a:lnTo>
                  <a:lnTo>
                    <a:pt x="1590" y="522"/>
                  </a:lnTo>
                  <a:lnTo>
                    <a:pt x="1590" y="522"/>
                  </a:lnTo>
                  <a:lnTo>
                    <a:pt x="1590" y="522"/>
                  </a:lnTo>
                  <a:lnTo>
                    <a:pt x="1588" y="524"/>
                  </a:lnTo>
                  <a:lnTo>
                    <a:pt x="1588" y="524"/>
                  </a:lnTo>
                  <a:lnTo>
                    <a:pt x="1588" y="524"/>
                  </a:lnTo>
                  <a:lnTo>
                    <a:pt x="1588" y="524"/>
                  </a:lnTo>
                  <a:lnTo>
                    <a:pt x="1590" y="526"/>
                  </a:lnTo>
                  <a:lnTo>
                    <a:pt x="1590" y="526"/>
                  </a:lnTo>
                  <a:lnTo>
                    <a:pt x="1593" y="526"/>
                  </a:lnTo>
                  <a:lnTo>
                    <a:pt x="1595" y="526"/>
                  </a:lnTo>
                  <a:lnTo>
                    <a:pt x="1595" y="526"/>
                  </a:lnTo>
                  <a:lnTo>
                    <a:pt x="1595" y="526"/>
                  </a:lnTo>
                  <a:lnTo>
                    <a:pt x="1597" y="524"/>
                  </a:lnTo>
                  <a:lnTo>
                    <a:pt x="1597" y="524"/>
                  </a:lnTo>
                  <a:lnTo>
                    <a:pt x="1597" y="524"/>
                  </a:lnTo>
                  <a:lnTo>
                    <a:pt x="1599" y="524"/>
                  </a:lnTo>
                  <a:lnTo>
                    <a:pt x="1599" y="524"/>
                  </a:lnTo>
                  <a:lnTo>
                    <a:pt x="1599" y="524"/>
                  </a:lnTo>
                  <a:lnTo>
                    <a:pt x="1599" y="524"/>
                  </a:lnTo>
                  <a:lnTo>
                    <a:pt x="1599" y="524"/>
                  </a:lnTo>
                  <a:lnTo>
                    <a:pt x="1599" y="524"/>
                  </a:lnTo>
                  <a:lnTo>
                    <a:pt x="1602" y="524"/>
                  </a:lnTo>
                  <a:lnTo>
                    <a:pt x="1602" y="524"/>
                  </a:lnTo>
                  <a:lnTo>
                    <a:pt x="1602" y="524"/>
                  </a:lnTo>
                  <a:lnTo>
                    <a:pt x="1602" y="524"/>
                  </a:lnTo>
                  <a:lnTo>
                    <a:pt x="1602" y="524"/>
                  </a:lnTo>
                  <a:lnTo>
                    <a:pt x="1602" y="522"/>
                  </a:lnTo>
                  <a:lnTo>
                    <a:pt x="1604" y="522"/>
                  </a:lnTo>
                  <a:lnTo>
                    <a:pt x="1604" y="522"/>
                  </a:lnTo>
                  <a:lnTo>
                    <a:pt x="1604" y="524"/>
                  </a:lnTo>
                  <a:lnTo>
                    <a:pt x="1606" y="524"/>
                  </a:lnTo>
                  <a:lnTo>
                    <a:pt x="1606" y="524"/>
                  </a:lnTo>
                  <a:lnTo>
                    <a:pt x="1606" y="524"/>
                  </a:lnTo>
                  <a:lnTo>
                    <a:pt x="1606" y="524"/>
                  </a:lnTo>
                  <a:lnTo>
                    <a:pt x="1606" y="524"/>
                  </a:lnTo>
                  <a:lnTo>
                    <a:pt x="1606" y="526"/>
                  </a:lnTo>
                  <a:lnTo>
                    <a:pt x="1608" y="526"/>
                  </a:lnTo>
                  <a:lnTo>
                    <a:pt x="1608" y="526"/>
                  </a:lnTo>
                  <a:lnTo>
                    <a:pt x="1608" y="526"/>
                  </a:lnTo>
                  <a:lnTo>
                    <a:pt x="1608" y="526"/>
                  </a:lnTo>
                  <a:lnTo>
                    <a:pt x="1608" y="526"/>
                  </a:lnTo>
                  <a:lnTo>
                    <a:pt x="1608" y="528"/>
                  </a:lnTo>
                  <a:lnTo>
                    <a:pt x="1608" y="528"/>
                  </a:lnTo>
                  <a:lnTo>
                    <a:pt x="1608" y="528"/>
                  </a:lnTo>
                  <a:lnTo>
                    <a:pt x="1611" y="528"/>
                  </a:lnTo>
                  <a:lnTo>
                    <a:pt x="1611" y="528"/>
                  </a:lnTo>
                  <a:lnTo>
                    <a:pt x="1611" y="531"/>
                  </a:lnTo>
                  <a:lnTo>
                    <a:pt x="1608" y="533"/>
                  </a:lnTo>
                  <a:lnTo>
                    <a:pt x="1608" y="535"/>
                  </a:lnTo>
                  <a:lnTo>
                    <a:pt x="1606" y="539"/>
                  </a:lnTo>
                  <a:lnTo>
                    <a:pt x="1606" y="542"/>
                  </a:lnTo>
                  <a:lnTo>
                    <a:pt x="1604" y="546"/>
                  </a:lnTo>
                  <a:lnTo>
                    <a:pt x="1604" y="548"/>
                  </a:lnTo>
                  <a:lnTo>
                    <a:pt x="1602" y="551"/>
                  </a:lnTo>
                  <a:lnTo>
                    <a:pt x="1602" y="555"/>
                  </a:lnTo>
                  <a:lnTo>
                    <a:pt x="1602" y="555"/>
                  </a:lnTo>
                  <a:lnTo>
                    <a:pt x="1602" y="555"/>
                  </a:lnTo>
                  <a:lnTo>
                    <a:pt x="1602" y="555"/>
                  </a:lnTo>
                  <a:lnTo>
                    <a:pt x="1602" y="555"/>
                  </a:lnTo>
                  <a:lnTo>
                    <a:pt x="1602" y="555"/>
                  </a:lnTo>
                  <a:lnTo>
                    <a:pt x="1602" y="555"/>
                  </a:lnTo>
                  <a:lnTo>
                    <a:pt x="1602" y="557"/>
                  </a:lnTo>
                  <a:lnTo>
                    <a:pt x="1602" y="557"/>
                  </a:lnTo>
                  <a:lnTo>
                    <a:pt x="1602" y="557"/>
                  </a:lnTo>
                  <a:lnTo>
                    <a:pt x="1602" y="557"/>
                  </a:lnTo>
                  <a:lnTo>
                    <a:pt x="1602" y="557"/>
                  </a:lnTo>
                  <a:lnTo>
                    <a:pt x="1602" y="557"/>
                  </a:lnTo>
                  <a:lnTo>
                    <a:pt x="1599" y="557"/>
                  </a:lnTo>
                  <a:lnTo>
                    <a:pt x="1599" y="560"/>
                  </a:lnTo>
                  <a:lnTo>
                    <a:pt x="1599" y="560"/>
                  </a:lnTo>
                  <a:lnTo>
                    <a:pt x="1599" y="560"/>
                  </a:lnTo>
                  <a:lnTo>
                    <a:pt x="1599" y="562"/>
                  </a:lnTo>
                  <a:lnTo>
                    <a:pt x="1599" y="562"/>
                  </a:lnTo>
                  <a:lnTo>
                    <a:pt x="1599" y="562"/>
                  </a:lnTo>
                  <a:lnTo>
                    <a:pt x="1599" y="562"/>
                  </a:lnTo>
                  <a:lnTo>
                    <a:pt x="1599" y="562"/>
                  </a:lnTo>
                  <a:lnTo>
                    <a:pt x="1599" y="562"/>
                  </a:lnTo>
                  <a:lnTo>
                    <a:pt x="1602" y="562"/>
                  </a:lnTo>
                  <a:lnTo>
                    <a:pt x="1602" y="562"/>
                  </a:lnTo>
                  <a:lnTo>
                    <a:pt x="1602" y="562"/>
                  </a:lnTo>
                  <a:lnTo>
                    <a:pt x="1602" y="562"/>
                  </a:lnTo>
                  <a:lnTo>
                    <a:pt x="1602" y="562"/>
                  </a:lnTo>
                  <a:lnTo>
                    <a:pt x="1602" y="562"/>
                  </a:lnTo>
                  <a:lnTo>
                    <a:pt x="1602" y="562"/>
                  </a:lnTo>
                  <a:lnTo>
                    <a:pt x="1604" y="562"/>
                  </a:lnTo>
                  <a:lnTo>
                    <a:pt x="1604" y="562"/>
                  </a:lnTo>
                  <a:lnTo>
                    <a:pt x="1604" y="562"/>
                  </a:lnTo>
                  <a:lnTo>
                    <a:pt x="1606" y="562"/>
                  </a:lnTo>
                  <a:lnTo>
                    <a:pt x="1606" y="564"/>
                  </a:lnTo>
                  <a:lnTo>
                    <a:pt x="1606" y="564"/>
                  </a:lnTo>
                  <a:lnTo>
                    <a:pt x="1606" y="564"/>
                  </a:lnTo>
                  <a:lnTo>
                    <a:pt x="1604" y="564"/>
                  </a:lnTo>
                  <a:lnTo>
                    <a:pt x="1604" y="566"/>
                  </a:lnTo>
                  <a:lnTo>
                    <a:pt x="1604" y="566"/>
                  </a:lnTo>
                  <a:lnTo>
                    <a:pt x="1604" y="566"/>
                  </a:lnTo>
                  <a:lnTo>
                    <a:pt x="1604" y="569"/>
                  </a:lnTo>
                  <a:lnTo>
                    <a:pt x="1604" y="569"/>
                  </a:lnTo>
                  <a:lnTo>
                    <a:pt x="1604" y="569"/>
                  </a:lnTo>
                  <a:lnTo>
                    <a:pt x="1602" y="571"/>
                  </a:lnTo>
                  <a:lnTo>
                    <a:pt x="1602" y="571"/>
                  </a:lnTo>
                  <a:lnTo>
                    <a:pt x="1602" y="571"/>
                  </a:lnTo>
                  <a:lnTo>
                    <a:pt x="1604" y="571"/>
                  </a:lnTo>
                  <a:lnTo>
                    <a:pt x="1604" y="573"/>
                  </a:lnTo>
                  <a:lnTo>
                    <a:pt x="1604" y="573"/>
                  </a:lnTo>
                  <a:lnTo>
                    <a:pt x="1604" y="573"/>
                  </a:lnTo>
                  <a:lnTo>
                    <a:pt x="1604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6" y="573"/>
                  </a:lnTo>
                  <a:lnTo>
                    <a:pt x="1608" y="573"/>
                  </a:lnTo>
                  <a:lnTo>
                    <a:pt x="1608" y="573"/>
                  </a:lnTo>
                  <a:lnTo>
                    <a:pt x="1608" y="573"/>
                  </a:lnTo>
                  <a:lnTo>
                    <a:pt x="1608" y="573"/>
                  </a:lnTo>
                  <a:lnTo>
                    <a:pt x="1608" y="573"/>
                  </a:lnTo>
                  <a:lnTo>
                    <a:pt x="1608" y="573"/>
                  </a:lnTo>
                  <a:lnTo>
                    <a:pt x="1608" y="573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5"/>
                  </a:lnTo>
                  <a:lnTo>
                    <a:pt x="1608" y="578"/>
                  </a:lnTo>
                  <a:lnTo>
                    <a:pt x="1608" y="578"/>
                  </a:lnTo>
                  <a:lnTo>
                    <a:pt x="1608" y="578"/>
                  </a:lnTo>
                  <a:lnTo>
                    <a:pt x="1608" y="578"/>
                  </a:lnTo>
                  <a:lnTo>
                    <a:pt x="1608" y="578"/>
                  </a:lnTo>
                  <a:lnTo>
                    <a:pt x="1606" y="578"/>
                  </a:lnTo>
                  <a:lnTo>
                    <a:pt x="1606" y="578"/>
                  </a:lnTo>
                  <a:lnTo>
                    <a:pt x="1606" y="578"/>
                  </a:lnTo>
                  <a:lnTo>
                    <a:pt x="1606" y="578"/>
                  </a:lnTo>
                  <a:lnTo>
                    <a:pt x="1606" y="578"/>
                  </a:lnTo>
                  <a:lnTo>
                    <a:pt x="1606" y="578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78"/>
                  </a:lnTo>
                  <a:lnTo>
                    <a:pt x="1604" y="578"/>
                  </a:lnTo>
                  <a:lnTo>
                    <a:pt x="1604" y="580"/>
                  </a:lnTo>
                  <a:lnTo>
                    <a:pt x="1604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2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6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0"/>
                  </a:lnTo>
                  <a:lnTo>
                    <a:pt x="1608" y="582"/>
                  </a:lnTo>
                  <a:lnTo>
                    <a:pt x="1608" y="582"/>
                  </a:lnTo>
                  <a:lnTo>
                    <a:pt x="1608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2"/>
                  </a:lnTo>
                  <a:lnTo>
                    <a:pt x="1606" y="584"/>
                  </a:lnTo>
                  <a:lnTo>
                    <a:pt x="1604" y="584"/>
                  </a:lnTo>
                  <a:lnTo>
                    <a:pt x="1604" y="584"/>
                  </a:lnTo>
                  <a:lnTo>
                    <a:pt x="1604" y="584"/>
                  </a:lnTo>
                  <a:lnTo>
                    <a:pt x="1604" y="584"/>
                  </a:lnTo>
                  <a:lnTo>
                    <a:pt x="1604" y="584"/>
                  </a:lnTo>
                  <a:lnTo>
                    <a:pt x="1604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602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9" y="587"/>
                  </a:lnTo>
                  <a:lnTo>
                    <a:pt x="1599" y="587"/>
                  </a:lnTo>
                  <a:lnTo>
                    <a:pt x="1599" y="587"/>
                  </a:lnTo>
                  <a:lnTo>
                    <a:pt x="1599" y="587"/>
                  </a:lnTo>
                  <a:lnTo>
                    <a:pt x="1599" y="587"/>
                  </a:lnTo>
                  <a:lnTo>
                    <a:pt x="1599" y="587"/>
                  </a:lnTo>
                  <a:lnTo>
                    <a:pt x="1599" y="587"/>
                  </a:lnTo>
                  <a:lnTo>
                    <a:pt x="1599" y="584"/>
                  </a:lnTo>
                  <a:lnTo>
                    <a:pt x="1599" y="584"/>
                  </a:lnTo>
                  <a:lnTo>
                    <a:pt x="1597" y="584"/>
                  </a:lnTo>
                  <a:lnTo>
                    <a:pt x="1597" y="584"/>
                  </a:lnTo>
                  <a:lnTo>
                    <a:pt x="1597" y="584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4"/>
                  </a:lnTo>
                  <a:lnTo>
                    <a:pt x="1597" y="584"/>
                  </a:lnTo>
                  <a:lnTo>
                    <a:pt x="1597" y="587"/>
                  </a:lnTo>
                  <a:lnTo>
                    <a:pt x="1597" y="587"/>
                  </a:lnTo>
                  <a:lnTo>
                    <a:pt x="1597" y="584"/>
                  </a:lnTo>
                  <a:lnTo>
                    <a:pt x="1597" y="584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9"/>
                  </a:lnTo>
                  <a:lnTo>
                    <a:pt x="1595" y="589"/>
                  </a:lnTo>
                  <a:lnTo>
                    <a:pt x="1595" y="589"/>
                  </a:lnTo>
                  <a:lnTo>
                    <a:pt x="1595" y="589"/>
                  </a:lnTo>
                  <a:lnTo>
                    <a:pt x="1593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5" y="587"/>
                  </a:lnTo>
                  <a:lnTo>
                    <a:pt x="1593" y="587"/>
                  </a:lnTo>
                  <a:lnTo>
                    <a:pt x="1593" y="587"/>
                  </a:lnTo>
                  <a:lnTo>
                    <a:pt x="1593" y="587"/>
                  </a:lnTo>
                  <a:lnTo>
                    <a:pt x="1593" y="589"/>
                  </a:lnTo>
                  <a:lnTo>
                    <a:pt x="1593" y="589"/>
                  </a:lnTo>
                  <a:lnTo>
                    <a:pt x="1593" y="589"/>
                  </a:lnTo>
                  <a:lnTo>
                    <a:pt x="1593" y="589"/>
                  </a:lnTo>
                  <a:lnTo>
                    <a:pt x="1593" y="587"/>
                  </a:lnTo>
                  <a:lnTo>
                    <a:pt x="1593" y="587"/>
                  </a:lnTo>
                  <a:lnTo>
                    <a:pt x="1593" y="587"/>
                  </a:lnTo>
                  <a:lnTo>
                    <a:pt x="1593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9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3" y="587"/>
                  </a:lnTo>
                  <a:lnTo>
                    <a:pt x="1593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7"/>
                  </a:lnTo>
                  <a:lnTo>
                    <a:pt x="1590" y="589"/>
                  </a:lnTo>
                  <a:lnTo>
                    <a:pt x="1590" y="589"/>
                  </a:lnTo>
                  <a:lnTo>
                    <a:pt x="1590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91"/>
                  </a:lnTo>
                  <a:lnTo>
                    <a:pt x="1588" y="591"/>
                  </a:lnTo>
                  <a:lnTo>
                    <a:pt x="1588" y="591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8" y="591"/>
                  </a:lnTo>
                  <a:lnTo>
                    <a:pt x="1588" y="591"/>
                  </a:lnTo>
                  <a:lnTo>
                    <a:pt x="1588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89"/>
                  </a:lnTo>
                  <a:lnTo>
                    <a:pt x="1588" y="589"/>
                  </a:lnTo>
                  <a:lnTo>
                    <a:pt x="1588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89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6" y="591"/>
                  </a:lnTo>
                  <a:lnTo>
                    <a:pt x="1584" y="591"/>
                  </a:lnTo>
                  <a:lnTo>
                    <a:pt x="1584" y="593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91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4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7"/>
                  </a:lnTo>
                  <a:lnTo>
                    <a:pt x="1581" y="587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81" y="589"/>
                  </a:lnTo>
                  <a:lnTo>
                    <a:pt x="1579" y="589"/>
                  </a:lnTo>
                  <a:lnTo>
                    <a:pt x="1579" y="589"/>
                  </a:lnTo>
                  <a:lnTo>
                    <a:pt x="1579" y="589"/>
                  </a:lnTo>
                  <a:lnTo>
                    <a:pt x="1579" y="591"/>
                  </a:lnTo>
                  <a:lnTo>
                    <a:pt x="1579" y="591"/>
                  </a:lnTo>
                  <a:lnTo>
                    <a:pt x="1579" y="591"/>
                  </a:lnTo>
                  <a:lnTo>
                    <a:pt x="1577" y="591"/>
                  </a:lnTo>
                  <a:lnTo>
                    <a:pt x="1579" y="591"/>
                  </a:lnTo>
                  <a:lnTo>
                    <a:pt x="1579" y="589"/>
                  </a:lnTo>
                  <a:lnTo>
                    <a:pt x="1579" y="589"/>
                  </a:lnTo>
                  <a:lnTo>
                    <a:pt x="1579" y="589"/>
                  </a:lnTo>
                  <a:lnTo>
                    <a:pt x="1577" y="589"/>
                  </a:lnTo>
                  <a:lnTo>
                    <a:pt x="1577" y="589"/>
                  </a:lnTo>
                  <a:lnTo>
                    <a:pt x="1577" y="589"/>
                  </a:lnTo>
                  <a:lnTo>
                    <a:pt x="1577" y="589"/>
                  </a:lnTo>
                  <a:lnTo>
                    <a:pt x="1577" y="589"/>
                  </a:lnTo>
                  <a:lnTo>
                    <a:pt x="1577" y="589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7" y="591"/>
                  </a:lnTo>
                  <a:lnTo>
                    <a:pt x="1575" y="591"/>
                  </a:lnTo>
                  <a:lnTo>
                    <a:pt x="1575" y="591"/>
                  </a:lnTo>
                  <a:lnTo>
                    <a:pt x="1575" y="591"/>
                  </a:lnTo>
                  <a:lnTo>
                    <a:pt x="1575" y="591"/>
                  </a:lnTo>
                  <a:lnTo>
                    <a:pt x="1575" y="591"/>
                  </a:lnTo>
                  <a:lnTo>
                    <a:pt x="1575" y="591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3"/>
                  </a:lnTo>
                  <a:lnTo>
                    <a:pt x="1575" y="596"/>
                  </a:lnTo>
                  <a:lnTo>
                    <a:pt x="1572" y="593"/>
                  </a:lnTo>
                  <a:lnTo>
                    <a:pt x="1572" y="593"/>
                  </a:lnTo>
                  <a:lnTo>
                    <a:pt x="1572" y="593"/>
                  </a:lnTo>
                  <a:lnTo>
                    <a:pt x="1572" y="593"/>
                  </a:lnTo>
                  <a:lnTo>
                    <a:pt x="1572" y="593"/>
                  </a:lnTo>
                  <a:lnTo>
                    <a:pt x="1570" y="593"/>
                  </a:lnTo>
                  <a:lnTo>
                    <a:pt x="1570" y="593"/>
                  </a:lnTo>
                  <a:lnTo>
                    <a:pt x="1570" y="593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2" y="589"/>
                  </a:lnTo>
                  <a:lnTo>
                    <a:pt x="1572" y="591"/>
                  </a:lnTo>
                  <a:lnTo>
                    <a:pt x="1572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91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2" y="589"/>
                  </a:lnTo>
                  <a:lnTo>
                    <a:pt x="1572" y="589"/>
                  </a:lnTo>
                  <a:lnTo>
                    <a:pt x="1572" y="589"/>
                  </a:lnTo>
                  <a:lnTo>
                    <a:pt x="1572" y="589"/>
                  </a:lnTo>
                  <a:lnTo>
                    <a:pt x="1572" y="589"/>
                  </a:lnTo>
                  <a:lnTo>
                    <a:pt x="1572" y="589"/>
                  </a:lnTo>
                  <a:lnTo>
                    <a:pt x="1572" y="587"/>
                  </a:lnTo>
                  <a:lnTo>
                    <a:pt x="1572" y="587"/>
                  </a:lnTo>
                  <a:lnTo>
                    <a:pt x="1572" y="587"/>
                  </a:lnTo>
                  <a:lnTo>
                    <a:pt x="1572" y="587"/>
                  </a:lnTo>
                  <a:lnTo>
                    <a:pt x="1572" y="587"/>
                  </a:lnTo>
                  <a:lnTo>
                    <a:pt x="1572" y="587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2" y="589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70" y="589"/>
                  </a:lnTo>
                  <a:lnTo>
                    <a:pt x="1568" y="589"/>
                  </a:lnTo>
                  <a:lnTo>
                    <a:pt x="1568" y="589"/>
                  </a:lnTo>
                  <a:lnTo>
                    <a:pt x="1568" y="591"/>
                  </a:lnTo>
                  <a:lnTo>
                    <a:pt x="1568" y="591"/>
                  </a:lnTo>
                  <a:lnTo>
                    <a:pt x="1568" y="591"/>
                  </a:lnTo>
                  <a:lnTo>
                    <a:pt x="1568" y="591"/>
                  </a:lnTo>
                  <a:lnTo>
                    <a:pt x="1568" y="591"/>
                  </a:lnTo>
                  <a:lnTo>
                    <a:pt x="1568" y="591"/>
                  </a:lnTo>
                  <a:lnTo>
                    <a:pt x="1568" y="593"/>
                  </a:lnTo>
                  <a:lnTo>
                    <a:pt x="1568" y="593"/>
                  </a:lnTo>
                  <a:lnTo>
                    <a:pt x="1568" y="593"/>
                  </a:lnTo>
                  <a:lnTo>
                    <a:pt x="1566" y="593"/>
                  </a:lnTo>
                  <a:lnTo>
                    <a:pt x="1566" y="593"/>
                  </a:lnTo>
                  <a:lnTo>
                    <a:pt x="1566" y="593"/>
                  </a:lnTo>
                  <a:lnTo>
                    <a:pt x="1566" y="596"/>
                  </a:lnTo>
                  <a:lnTo>
                    <a:pt x="1563" y="596"/>
                  </a:lnTo>
                  <a:lnTo>
                    <a:pt x="1563" y="596"/>
                  </a:lnTo>
                  <a:lnTo>
                    <a:pt x="1563" y="596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598"/>
                  </a:lnTo>
                  <a:lnTo>
                    <a:pt x="1563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61" y="600"/>
                  </a:lnTo>
                  <a:lnTo>
                    <a:pt x="1559" y="600"/>
                  </a:lnTo>
                  <a:lnTo>
                    <a:pt x="1559" y="600"/>
                  </a:lnTo>
                  <a:lnTo>
                    <a:pt x="1559" y="600"/>
                  </a:lnTo>
                  <a:lnTo>
                    <a:pt x="1559" y="602"/>
                  </a:lnTo>
                  <a:lnTo>
                    <a:pt x="1559" y="602"/>
                  </a:lnTo>
                  <a:lnTo>
                    <a:pt x="1559" y="602"/>
                  </a:lnTo>
                  <a:lnTo>
                    <a:pt x="1559" y="602"/>
                  </a:lnTo>
                  <a:lnTo>
                    <a:pt x="1559" y="602"/>
                  </a:lnTo>
                  <a:lnTo>
                    <a:pt x="1559" y="600"/>
                  </a:lnTo>
                  <a:lnTo>
                    <a:pt x="1559" y="600"/>
                  </a:lnTo>
                  <a:lnTo>
                    <a:pt x="1559" y="600"/>
                  </a:lnTo>
                  <a:lnTo>
                    <a:pt x="1559" y="600"/>
                  </a:lnTo>
                  <a:lnTo>
                    <a:pt x="1559" y="602"/>
                  </a:lnTo>
                  <a:lnTo>
                    <a:pt x="1557" y="602"/>
                  </a:lnTo>
                  <a:lnTo>
                    <a:pt x="1557" y="600"/>
                  </a:lnTo>
                  <a:lnTo>
                    <a:pt x="1559" y="600"/>
                  </a:lnTo>
                  <a:lnTo>
                    <a:pt x="1559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598"/>
                  </a:lnTo>
                  <a:lnTo>
                    <a:pt x="1557" y="598"/>
                  </a:lnTo>
                  <a:lnTo>
                    <a:pt x="1557" y="598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7" y="600"/>
                  </a:lnTo>
                  <a:lnTo>
                    <a:pt x="1554" y="600"/>
                  </a:lnTo>
                  <a:lnTo>
                    <a:pt x="1554" y="600"/>
                  </a:lnTo>
                  <a:lnTo>
                    <a:pt x="1554" y="602"/>
                  </a:lnTo>
                  <a:lnTo>
                    <a:pt x="1554" y="605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0"/>
                  </a:lnTo>
                  <a:lnTo>
                    <a:pt x="1554" y="600"/>
                  </a:lnTo>
                  <a:lnTo>
                    <a:pt x="1554" y="600"/>
                  </a:lnTo>
                  <a:lnTo>
                    <a:pt x="1554" y="600"/>
                  </a:lnTo>
                  <a:lnTo>
                    <a:pt x="1554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2" y="605"/>
                  </a:lnTo>
                  <a:lnTo>
                    <a:pt x="1550" y="605"/>
                  </a:lnTo>
                  <a:lnTo>
                    <a:pt x="1550" y="605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2" y="602"/>
                  </a:lnTo>
                  <a:lnTo>
                    <a:pt x="1550" y="602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2" y="600"/>
                  </a:lnTo>
                  <a:lnTo>
                    <a:pt x="1550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50" y="602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50" y="605"/>
                  </a:lnTo>
                  <a:lnTo>
                    <a:pt x="1550" y="605"/>
                  </a:lnTo>
                  <a:lnTo>
                    <a:pt x="1550" y="605"/>
                  </a:lnTo>
                  <a:lnTo>
                    <a:pt x="1550" y="605"/>
                  </a:lnTo>
                  <a:lnTo>
                    <a:pt x="1548" y="605"/>
                  </a:lnTo>
                  <a:lnTo>
                    <a:pt x="1548" y="607"/>
                  </a:lnTo>
                  <a:lnTo>
                    <a:pt x="1548" y="607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50" y="600"/>
                  </a:lnTo>
                  <a:lnTo>
                    <a:pt x="1550" y="600"/>
                  </a:lnTo>
                  <a:lnTo>
                    <a:pt x="1550" y="598"/>
                  </a:lnTo>
                  <a:lnTo>
                    <a:pt x="1550" y="598"/>
                  </a:lnTo>
                  <a:lnTo>
                    <a:pt x="1550" y="598"/>
                  </a:lnTo>
                  <a:lnTo>
                    <a:pt x="1550" y="600"/>
                  </a:lnTo>
                  <a:lnTo>
                    <a:pt x="1550" y="600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2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0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5"/>
                  </a:lnTo>
                  <a:lnTo>
                    <a:pt x="1548" y="607"/>
                  </a:lnTo>
                  <a:lnTo>
                    <a:pt x="1548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7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8" y="602"/>
                  </a:lnTo>
                  <a:lnTo>
                    <a:pt x="1548" y="602"/>
                  </a:lnTo>
                  <a:lnTo>
                    <a:pt x="1545" y="602"/>
                  </a:lnTo>
                  <a:lnTo>
                    <a:pt x="1545" y="602"/>
                  </a:lnTo>
                  <a:lnTo>
                    <a:pt x="1545" y="602"/>
                  </a:lnTo>
                  <a:lnTo>
                    <a:pt x="1545" y="602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5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7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5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2"/>
                  </a:lnTo>
                  <a:lnTo>
                    <a:pt x="1543" y="602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3" y="605"/>
                  </a:lnTo>
                  <a:lnTo>
                    <a:pt x="1541" y="605"/>
                  </a:lnTo>
                  <a:lnTo>
                    <a:pt x="1541" y="605"/>
                  </a:lnTo>
                  <a:lnTo>
                    <a:pt x="1541" y="605"/>
                  </a:lnTo>
                  <a:lnTo>
                    <a:pt x="1541" y="605"/>
                  </a:lnTo>
                  <a:lnTo>
                    <a:pt x="1541" y="605"/>
                  </a:lnTo>
                  <a:lnTo>
                    <a:pt x="1539" y="607"/>
                  </a:lnTo>
                  <a:lnTo>
                    <a:pt x="1539" y="607"/>
                  </a:lnTo>
                  <a:lnTo>
                    <a:pt x="1539" y="607"/>
                  </a:lnTo>
                  <a:lnTo>
                    <a:pt x="1539" y="607"/>
                  </a:lnTo>
                  <a:lnTo>
                    <a:pt x="1539" y="607"/>
                  </a:lnTo>
                  <a:lnTo>
                    <a:pt x="1539" y="609"/>
                  </a:lnTo>
                  <a:lnTo>
                    <a:pt x="1539" y="609"/>
                  </a:lnTo>
                  <a:lnTo>
                    <a:pt x="1536" y="609"/>
                  </a:lnTo>
                  <a:lnTo>
                    <a:pt x="1536" y="609"/>
                  </a:lnTo>
                  <a:lnTo>
                    <a:pt x="1536" y="609"/>
                  </a:lnTo>
                  <a:lnTo>
                    <a:pt x="1536" y="609"/>
                  </a:lnTo>
                  <a:lnTo>
                    <a:pt x="1539" y="609"/>
                  </a:lnTo>
                  <a:lnTo>
                    <a:pt x="1539" y="609"/>
                  </a:lnTo>
                  <a:lnTo>
                    <a:pt x="1539" y="609"/>
                  </a:lnTo>
                  <a:lnTo>
                    <a:pt x="1539" y="609"/>
                  </a:lnTo>
                  <a:lnTo>
                    <a:pt x="1539" y="611"/>
                  </a:lnTo>
                  <a:lnTo>
                    <a:pt x="1539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6" y="611"/>
                  </a:lnTo>
                  <a:lnTo>
                    <a:pt x="1534" y="611"/>
                  </a:lnTo>
                  <a:lnTo>
                    <a:pt x="1534" y="611"/>
                  </a:lnTo>
                  <a:lnTo>
                    <a:pt x="1534" y="611"/>
                  </a:lnTo>
                  <a:lnTo>
                    <a:pt x="1534" y="611"/>
                  </a:lnTo>
                  <a:lnTo>
                    <a:pt x="1534" y="611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4" y="614"/>
                  </a:lnTo>
                  <a:lnTo>
                    <a:pt x="1532" y="614"/>
                  </a:lnTo>
                  <a:lnTo>
                    <a:pt x="1532" y="614"/>
                  </a:lnTo>
                  <a:lnTo>
                    <a:pt x="1532" y="614"/>
                  </a:lnTo>
                  <a:lnTo>
                    <a:pt x="1532" y="614"/>
                  </a:lnTo>
                  <a:lnTo>
                    <a:pt x="1532" y="616"/>
                  </a:lnTo>
                  <a:lnTo>
                    <a:pt x="1532" y="616"/>
                  </a:lnTo>
                  <a:lnTo>
                    <a:pt x="1532" y="616"/>
                  </a:lnTo>
                  <a:lnTo>
                    <a:pt x="1530" y="616"/>
                  </a:lnTo>
                  <a:lnTo>
                    <a:pt x="1530" y="616"/>
                  </a:lnTo>
                  <a:lnTo>
                    <a:pt x="1530" y="616"/>
                  </a:lnTo>
                  <a:lnTo>
                    <a:pt x="1530" y="616"/>
                  </a:lnTo>
                  <a:lnTo>
                    <a:pt x="1530" y="616"/>
                  </a:lnTo>
                  <a:lnTo>
                    <a:pt x="1527" y="618"/>
                  </a:lnTo>
                  <a:lnTo>
                    <a:pt x="1527" y="618"/>
                  </a:lnTo>
                  <a:lnTo>
                    <a:pt x="1527" y="618"/>
                  </a:lnTo>
                  <a:lnTo>
                    <a:pt x="1527" y="618"/>
                  </a:lnTo>
                  <a:lnTo>
                    <a:pt x="1527" y="618"/>
                  </a:lnTo>
                  <a:lnTo>
                    <a:pt x="1527" y="620"/>
                  </a:lnTo>
                  <a:lnTo>
                    <a:pt x="1527" y="620"/>
                  </a:lnTo>
                  <a:lnTo>
                    <a:pt x="1527" y="620"/>
                  </a:lnTo>
                  <a:lnTo>
                    <a:pt x="1527" y="620"/>
                  </a:lnTo>
                  <a:lnTo>
                    <a:pt x="1525" y="620"/>
                  </a:lnTo>
                  <a:lnTo>
                    <a:pt x="1525" y="623"/>
                  </a:lnTo>
                  <a:lnTo>
                    <a:pt x="1525" y="623"/>
                  </a:lnTo>
                  <a:lnTo>
                    <a:pt x="1525" y="623"/>
                  </a:lnTo>
                  <a:lnTo>
                    <a:pt x="1525" y="623"/>
                  </a:lnTo>
                  <a:lnTo>
                    <a:pt x="1525" y="620"/>
                  </a:lnTo>
                  <a:lnTo>
                    <a:pt x="1523" y="620"/>
                  </a:lnTo>
                  <a:lnTo>
                    <a:pt x="1523" y="620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3"/>
                  </a:lnTo>
                  <a:lnTo>
                    <a:pt x="1523" y="625"/>
                  </a:lnTo>
                  <a:lnTo>
                    <a:pt x="1521" y="625"/>
                  </a:lnTo>
                  <a:lnTo>
                    <a:pt x="1521" y="627"/>
                  </a:lnTo>
                  <a:lnTo>
                    <a:pt x="1521" y="627"/>
                  </a:lnTo>
                  <a:lnTo>
                    <a:pt x="1521" y="627"/>
                  </a:lnTo>
                  <a:lnTo>
                    <a:pt x="1521" y="627"/>
                  </a:lnTo>
                  <a:lnTo>
                    <a:pt x="1521" y="627"/>
                  </a:lnTo>
                  <a:lnTo>
                    <a:pt x="1521" y="629"/>
                  </a:lnTo>
                  <a:lnTo>
                    <a:pt x="1518" y="627"/>
                  </a:lnTo>
                  <a:lnTo>
                    <a:pt x="1518" y="629"/>
                  </a:lnTo>
                  <a:lnTo>
                    <a:pt x="1518" y="629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29"/>
                  </a:lnTo>
                  <a:lnTo>
                    <a:pt x="1521" y="629"/>
                  </a:lnTo>
                  <a:lnTo>
                    <a:pt x="1518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1" y="634"/>
                  </a:lnTo>
                  <a:lnTo>
                    <a:pt x="1521" y="632"/>
                  </a:lnTo>
                  <a:lnTo>
                    <a:pt x="1521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2"/>
                  </a:lnTo>
                  <a:lnTo>
                    <a:pt x="1523" y="634"/>
                  </a:lnTo>
                  <a:lnTo>
                    <a:pt x="1523" y="632"/>
                  </a:lnTo>
                  <a:lnTo>
                    <a:pt x="1523" y="634"/>
                  </a:lnTo>
                  <a:lnTo>
                    <a:pt x="1523" y="634"/>
                  </a:lnTo>
                  <a:lnTo>
                    <a:pt x="1523" y="634"/>
                  </a:lnTo>
                  <a:lnTo>
                    <a:pt x="1523" y="634"/>
                  </a:lnTo>
                  <a:lnTo>
                    <a:pt x="1523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21" y="634"/>
                  </a:lnTo>
                  <a:lnTo>
                    <a:pt x="1518" y="634"/>
                  </a:lnTo>
                  <a:lnTo>
                    <a:pt x="1516" y="634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6"/>
                  </a:lnTo>
                  <a:lnTo>
                    <a:pt x="1516" y="638"/>
                  </a:lnTo>
                  <a:lnTo>
                    <a:pt x="1516" y="638"/>
                  </a:lnTo>
                  <a:lnTo>
                    <a:pt x="1516" y="638"/>
                  </a:lnTo>
                  <a:lnTo>
                    <a:pt x="1514" y="638"/>
                  </a:lnTo>
                  <a:lnTo>
                    <a:pt x="1514" y="636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4" y="638"/>
                  </a:lnTo>
                  <a:lnTo>
                    <a:pt x="1512" y="638"/>
                  </a:lnTo>
                  <a:lnTo>
                    <a:pt x="1512" y="638"/>
                  </a:lnTo>
                  <a:lnTo>
                    <a:pt x="1512" y="638"/>
                  </a:lnTo>
                  <a:lnTo>
                    <a:pt x="1512" y="638"/>
                  </a:lnTo>
                  <a:lnTo>
                    <a:pt x="1512" y="638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2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2" y="641"/>
                  </a:lnTo>
                  <a:lnTo>
                    <a:pt x="1512" y="643"/>
                  </a:lnTo>
                  <a:lnTo>
                    <a:pt x="1514" y="643"/>
                  </a:lnTo>
                  <a:lnTo>
                    <a:pt x="1514" y="643"/>
                  </a:lnTo>
                  <a:lnTo>
                    <a:pt x="1514" y="643"/>
                  </a:lnTo>
                  <a:lnTo>
                    <a:pt x="1514" y="643"/>
                  </a:lnTo>
                  <a:lnTo>
                    <a:pt x="1514" y="643"/>
                  </a:lnTo>
                  <a:lnTo>
                    <a:pt x="1514" y="643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3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4" y="641"/>
                  </a:lnTo>
                  <a:lnTo>
                    <a:pt x="1516" y="641"/>
                  </a:lnTo>
                  <a:lnTo>
                    <a:pt x="1516" y="641"/>
                  </a:lnTo>
                  <a:lnTo>
                    <a:pt x="1516" y="641"/>
                  </a:lnTo>
                  <a:lnTo>
                    <a:pt x="1516" y="643"/>
                  </a:lnTo>
                  <a:lnTo>
                    <a:pt x="1516" y="643"/>
                  </a:lnTo>
                  <a:lnTo>
                    <a:pt x="1516" y="643"/>
                  </a:lnTo>
                  <a:lnTo>
                    <a:pt x="1516" y="643"/>
                  </a:lnTo>
                  <a:lnTo>
                    <a:pt x="1516" y="643"/>
                  </a:lnTo>
                  <a:lnTo>
                    <a:pt x="1516" y="643"/>
                  </a:lnTo>
                  <a:lnTo>
                    <a:pt x="1516" y="643"/>
                  </a:lnTo>
                  <a:lnTo>
                    <a:pt x="1518" y="643"/>
                  </a:lnTo>
                  <a:lnTo>
                    <a:pt x="1518" y="645"/>
                  </a:lnTo>
                  <a:lnTo>
                    <a:pt x="1518" y="645"/>
                  </a:lnTo>
                  <a:lnTo>
                    <a:pt x="1518" y="645"/>
                  </a:lnTo>
                  <a:lnTo>
                    <a:pt x="1518" y="645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6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7"/>
                  </a:lnTo>
                  <a:lnTo>
                    <a:pt x="1518" y="645"/>
                  </a:lnTo>
                  <a:lnTo>
                    <a:pt x="1518" y="647"/>
                  </a:lnTo>
                  <a:lnTo>
                    <a:pt x="1516" y="647"/>
                  </a:lnTo>
                  <a:lnTo>
                    <a:pt x="1516" y="647"/>
                  </a:lnTo>
                  <a:lnTo>
                    <a:pt x="1516" y="647"/>
                  </a:lnTo>
                  <a:lnTo>
                    <a:pt x="1516" y="647"/>
                  </a:lnTo>
                  <a:lnTo>
                    <a:pt x="1516" y="647"/>
                  </a:lnTo>
                  <a:lnTo>
                    <a:pt x="1516" y="650"/>
                  </a:lnTo>
                  <a:lnTo>
                    <a:pt x="1516" y="650"/>
                  </a:lnTo>
                  <a:lnTo>
                    <a:pt x="1518" y="650"/>
                  </a:lnTo>
                  <a:lnTo>
                    <a:pt x="1518" y="650"/>
                  </a:lnTo>
                  <a:lnTo>
                    <a:pt x="1518" y="650"/>
                  </a:lnTo>
                  <a:lnTo>
                    <a:pt x="1518" y="650"/>
                  </a:lnTo>
                  <a:lnTo>
                    <a:pt x="1518" y="652"/>
                  </a:lnTo>
                  <a:lnTo>
                    <a:pt x="1518" y="652"/>
                  </a:lnTo>
                  <a:lnTo>
                    <a:pt x="1518" y="652"/>
                  </a:lnTo>
                  <a:lnTo>
                    <a:pt x="1518" y="652"/>
                  </a:lnTo>
                  <a:lnTo>
                    <a:pt x="1518" y="654"/>
                  </a:lnTo>
                  <a:lnTo>
                    <a:pt x="1521" y="654"/>
                  </a:lnTo>
                  <a:lnTo>
                    <a:pt x="1523" y="654"/>
                  </a:lnTo>
                  <a:lnTo>
                    <a:pt x="1523" y="654"/>
                  </a:lnTo>
                  <a:lnTo>
                    <a:pt x="1521" y="654"/>
                  </a:lnTo>
                  <a:lnTo>
                    <a:pt x="1521" y="654"/>
                  </a:lnTo>
                  <a:lnTo>
                    <a:pt x="1521" y="654"/>
                  </a:lnTo>
                  <a:lnTo>
                    <a:pt x="1521" y="654"/>
                  </a:lnTo>
                  <a:lnTo>
                    <a:pt x="1523" y="654"/>
                  </a:lnTo>
                  <a:lnTo>
                    <a:pt x="1523" y="654"/>
                  </a:lnTo>
                  <a:lnTo>
                    <a:pt x="1523" y="654"/>
                  </a:lnTo>
                  <a:lnTo>
                    <a:pt x="1525" y="654"/>
                  </a:lnTo>
                  <a:lnTo>
                    <a:pt x="1527" y="652"/>
                  </a:lnTo>
                  <a:lnTo>
                    <a:pt x="1527" y="652"/>
                  </a:lnTo>
                  <a:lnTo>
                    <a:pt x="1527" y="652"/>
                  </a:lnTo>
                  <a:lnTo>
                    <a:pt x="1527" y="652"/>
                  </a:lnTo>
                  <a:lnTo>
                    <a:pt x="1527" y="652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30" y="650"/>
                  </a:lnTo>
                  <a:lnTo>
                    <a:pt x="1530" y="650"/>
                  </a:lnTo>
                  <a:lnTo>
                    <a:pt x="1530" y="650"/>
                  </a:lnTo>
                  <a:lnTo>
                    <a:pt x="1530" y="650"/>
                  </a:lnTo>
                  <a:lnTo>
                    <a:pt x="1530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50"/>
                  </a:lnTo>
                  <a:lnTo>
                    <a:pt x="1527" y="647"/>
                  </a:lnTo>
                  <a:lnTo>
                    <a:pt x="1527" y="647"/>
                  </a:lnTo>
                  <a:lnTo>
                    <a:pt x="1527" y="647"/>
                  </a:lnTo>
                  <a:lnTo>
                    <a:pt x="1527" y="645"/>
                  </a:lnTo>
                  <a:lnTo>
                    <a:pt x="1527" y="645"/>
                  </a:lnTo>
                  <a:lnTo>
                    <a:pt x="1525" y="647"/>
                  </a:lnTo>
                  <a:lnTo>
                    <a:pt x="1527" y="647"/>
                  </a:lnTo>
                  <a:lnTo>
                    <a:pt x="1527" y="647"/>
                  </a:lnTo>
                  <a:lnTo>
                    <a:pt x="1527" y="647"/>
                  </a:lnTo>
                  <a:lnTo>
                    <a:pt x="1525" y="647"/>
                  </a:lnTo>
                  <a:lnTo>
                    <a:pt x="1525" y="647"/>
                  </a:lnTo>
                  <a:lnTo>
                    <a:pt x="1525" y="647"/>
                  </a:lnTo>
                  <a:lnTo>
                    <a:pt x="1525" y="647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5" y="645"/>
                  </a:lnTo>
                  <a:lnTo>
                    <a:pt x="1527" y="645"/>
                  </a:lnTo>
                  <a:lnTo>
                    <a:pt x="1527" y="645"/>
                  </a:lnTo>
                  <a:lnTo>
                    <a:pt x="1527" y="645"/>
                  </a:lnTo>
                  <a:lnTo>
                    <a:pt x="1527" y="645"/>
                  </a:lnTo>
                  <a:lnTo>
                    <a:pt x="1530" y="647"/>
                  </a:lnTo>
                  <a:lnTo>
                    <a:pt x="1530" y="647"/>
                  </a:lnTo>
                  <a:lnTo>
                    <a:pt x="1530" y="647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27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2"/>
                  </a:lnTo>
                  <a:lnTo>
                    <a:pt x="1530" y="654"/>
                  </a:lnTo>
                  <a:lnTo>
                    <a:pt x="1527" y="656"/>
                  </a:lnTo>
                  <a:lnTo>
                    <a:pt x="1527" y="654"/>
                  </a:lnTo>
                  <a:lnTo>
                    <a:pt x="1525" y="656"/>
                  </a:lnTo>
                  <a:lnTo>
                    <a:pt x="1523" y="656"/>
                  </a:lnTo>
                  <a:lnTo>
                    <a:pt x="1523" y="656"/>
                  </a:lnTo>
                  <a:lnTo>
                    <a:pt x="1523" y="656"/>
                  </a:lnTo>
                  <a:lnTo>
                    <a:pt x="1523" y="656"/>
                  </a:lnTo>
                  <a:lnTo>
                    <a:pt x="1523" y="656"/>
                  </a:lnTo>
                  <a:lnTo>
                    <a:pt x="1521" y="656"/>
                  </a:lnTo>
                  <a:lnTo>
                    <a:pt x="1521" y="656"/>
                  </a:lnTo>
                  <a:lnTo>
                    <a:pt x="1521" y="656"/>
                  </a:lnTo>
                  <a:lnTo>
                    <a:pt x="1523" y="656"/>
                  </a:lnTo>
                  <a:lnTo>
                    <a:pt x="1521" y="656"/>
                  </a:lnTo>
                  <a:lnTo>
                    <a:pt x="1521" y="656"/>
                  </a:lnTo>
                  <a:lnTo>
                    <a:pt x="1521" y="656"/>
                  </a:lnTo>
                  <a:lnTo>
                    <a:pt x="1521" y="656"/>
                  </a:lnTo>
                  <a:lnTo>
                    <a:pt x="1521" y="656"/>
                  </a:lnTo>
                  <a:lnTo>
                    <a:pt x="1518" y="656"/>
                  </a:lnTo>
                  <a:lnTo>
                    <a:pt x="1518" y="656"/>
                  </a:lnTo>
                  <a:lnTo>
                    <a:pt x="1518" y="656"/>
                  </a:lnTo>
                  <a:lnTo>
                    <a:pt x="1518" y="656"/>
                  </a:lnTo>
                  <a:lnTo>
                    <a:pt x="1518" y="656"/>
                  </a:lnTo>
                  <a:lnTo>
                    <a:pt x="1518" y="656"/>
                  </a:lnTo>
                  <a:lnTo>
                    <a:pt x="1516" y="659"/>
                  </a:lnTo>
                  <a:lnTo>
                    <a:pt x="1516" y="659"/>
                  </a:lnTo>
                  <a:lnTo>
                    <a:pt x="1516" y="659"/>
                  </a:lnTo>
                  <a:lnTo>
                    <a:pt x="1516" y="659"/>
                  </a:lnTo>
                  <a:lnTo>
                    <a:pt x="1514" y="659"/>
                  </a:lnTo>
                  <a:lnTo>
                    <a:pt x="1514" y="659"/>
                  </a:lnTo>
                  <a:lnTo>
                    <a:pt x="1514" y="659"/>
                  </a:lnTo>
                  <a:lnTo>
                    <a:pt x="1514" y="659"/>
                  </a:lnTo>
                  <a:lnTo>
                    <a:pt x="1514" y="659"/>
                  </a:lnTo>
                  <a:lnTo>
                    <a:pt x="1514" y="656"/>
                  </a:lnTo>
                  <a:lnTo>
                    <a:pt x="1514" y="656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6" y="654"/>
                  </a:lnTo>
                  <a:lnTo>
                    <a:pt x="1516" y="654"/>
                  </a:lnTo>
                  <a:lnTo>
                    <a:pt x="1516" y="654"/>
                  </a:lnTo>
                  <a:lnTo>
                    <a:pt x="1516" y="654"/>
                  </a:lnTo>
                  <a:lnTo>
                    <a:pt x="1516" y="654"/>
                  </a:lnTo>
                  <a:lnTo>
                    <a:pt x="1516" y="654"/>
                  </a:lnTo>
                  <a:lnTo>
                    <a:pt x="1516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4" y="654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12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6"/>
                  </a:lnTo>
                  <a:lnTo>
                    <a:pt x="1509" y="659"/>
                  </a:lnTo>
                  <a:lnTo>
                    <a:pt x="1509" y="659"/>
                  </a:lnTo>
                  <a:lnTo>
                    <a:pt x="1507" y="659"/>
                  </a:lnTo>
                  <a:lnTo>
                    <a:pt x="1507" y="659"/>
                  </a:lnTo>
                  <a:lnTo>
                    <a:pt x="1507" y="659"/>
                  </a:lnTo>
                  <a:lnTo>
                    <a:pt x="1507" y="659"/>
                  </a:lnTo>
                  <a:lnTo>
                    <a:pt x="1507" y="659"/>
                  </a:lnTo>
                  <a:lnTo>
                    <a:pt x="1507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5" y="659"/>
                  </a:lnTo>
                  <a:lnTo>
                    <a:pt x="1503" y="661"/>
                  </a:lnTo>
                  <a:lnTo>
                    <a:pt x="1503" y="659"/>
                  </a:lnTo>
                  <a:lnTo>
                    <a:pt x="1503" y="659"/>
                  </a:lnTo>
                  <a:lnTo>
                    <a:pt x="1503" y="659"/>
                  </a:lnTo>
                  <a:lnTo>
                    <a:pt x="1503" y="659"/>
                  </a:lnTo>
                  <a:lnTo>
                    <a:pt x="1503" y="659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5" y="654"/>
                  </a:lnTo>
                  <a:lnTo>
                    <a:pt x="1505" y="654"/>
                  </a:lnTo>
                  <a:lnTo>
                    <a:pt x="1507" y="652"/>
                  </a:lnTo>
                  <a:lnTo>
                    <a:pt x="1507" y="652"/>
                  </a:lnTo>
                  <a:lnTo>
                    <a:pt x="1505" y="652"/>
                  </a:lnTo>
                  <a:lnTo>
                    <a:pt x="1505" y="654"/>
                  </a:lnTo>
                  <a:lnTo>
                    <a:pt x="1505" y="654"/>
                  </a:lnTo>
                  <a:lnTo>
                    <a:pt x="1505" y="654"/>
                  </a:lnTo>
                  <a:lnTo>
                    <a:pt x="1505" y="654"/>
                  </a:lnTo>
                  <a:lnTo>
                    <a:pt x="1505" y="654"/>
                  </a:lnTo>
                  <a:lnTo>
                    <a:pt x="1505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3" y="656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3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3" y="652"/>
                  </a:lnTo>
                  <a:lnTo>
                    <a:pt x="1503" y="652"/>
                  </a:lnTo>
                  <a:lnTo>
                    <a:pt x="1500" y="652"/>
                  </a:lnTo>
                  <a:lnTo>
                    <a:pt x="1500" y="652"/>
                  </a:lnTo>
                  <a:lnTo>
                    <a:pt x="1500" y="652"/>
                  </a:lnTo>
                  <a:lnTo>
                    <a:pt x="1500" y="652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6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500" y="654"/>
                  </a:lnTo>
                  <a:lnTo>
                    <a:pt x="1498" y="656"/>
                  </a:lnTo>
                  <a:lnTo>
                    <a:pt x="1500" y="656"/>
                  </a:lnTo>
                  <a:lnTo>
                    <a:pt x="1500" y="656"/>
                  </a:lnTo>
                  <a:lnTo>
                    <a:pt x="1500" y="656"/>
                  </a:lnTo>
                  <a:lnTo>
                    <a:pt x="1500" y="656"/>
                  </a:lnTo>
                  <a:lnTo>
                    <a:pt x="1498" y="656"/>
                  </a:lnTo>
                  <a:lnTo>
                    <a:pt x="1498" y="659"/>
                  </a:lnTo>
                  <a:lnTo>
                    <a:pt x="1498" y="659"/>
                  </a:lnTo>
                  <a:lnTo>
                    <a:pt x="1498" y="659"/>
                  </a:lnTo>
                  <a:lnTo>
                    <a:pt x="1498" y="659"/>
                  </a:lnTo>
                  <a:lnTo>
                    <a:pt x="1498" y="661"/>
                  </a:lnTo>
                  <a:lnTo>
                    <a:pt x="1498" y="661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6" y="663"/>
                  </a:lnTo>
                  <a:lnTo>
                    <a:pt x="1494" y="663"/>
                  </a:lnTo>
                  <a:lnTo>
                    <a:pt x="1491" y="663"/>
                  </a:lnTo>
                  <a:lnTo>
                    <a:pt x="1489" y="663"/>
                  </a:lnTo>
                  <a:lnTo>
                    <a:pt x="1489" y="663"/>
                  </a:lnTo>
                  <a:lnTo>
                    <a:pt x="1489" y="663"/>
                  </a:lnTo>
                  <a:lnTo>
                    <a:pt x="1489" y="663"/>
                  </a:lnTo>
                  <a:lnTo>
                    <a:pt x="1489" y="663"/>
                  </a:lnTo>
                  <a:lnTo>
                    <a:pt x="1489" y="663"/>
                  </a:lnTo>
                  <a:lnTo>
                    <a:pt x="1489" y="663"/>
                  </a:lnTo>
                  <a:lnTo>
                    <a:pt x="1487" y="663"/>
                  </a:lnTo>
                  <a:lnTo>
                    <a:pt x="1487" y="663"/>
                  </a:lnTo>
                  <a:lnTo>
                    <a:pt x="1485" y="663"/>
                  </a:lnTo>
                  <a:lnTo>
                    <a:pt x="1485" y="663"/>
                  </a:lnTo>
                  <a:lnTo>
                    <a:pt x="1485" y="663"/>
                  </a:lnTo>
                  <a:lnTo>
                    <a:pt x="1485" y="663"/>
                  </a:lnTo>
                  <a:lnTo>
                    <a:pt x="1485" y="663"/>
                  </a:lnTo>
                  <a:lnTo>
                    <a:pt x="1482" y="663"/>
                  </a:lnTo>
                  <a:lnTo>
                    <a:pt x="1482" y="663"/>
                  </a:lnTo>
                  <a:lnTo>
                    <a:pt x="1482" y="663"/>
                  </a:lnTo>
                  <a:lnTo>
                    <a:pt x="1482" y="665"/>
                  </a:lnTo>
                  <a:lnTo>
                    <a:pt x="1482" y="663"/>
                  </a:lnTo>
                  <a:lnTo>
                    <a:pt x="1480" y="665"/>
                  </a:lnTo>
                  <a:lnTo>
                    <a:pt x="1480" y="665"/>
                  </a:lnTo>
                  <a:lnTo>
                    <a:pt x="1480" y="665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78" y="663"/>
                  </a:lnTo>
                  <a:lnTo>
                    <a:pt x="1478" y="663"/>
                  </a:lnTo>
                  <a:lnTo>
                    <a:pt x="1480" y="663"/>
                  </a:lnTo>
                  <a:lnTo>
                    <a:pt x="1480" y="663"/>
                  </a:lnTo>
                  <a:lnTo>
                    <a:pt x="1478" y="665"/>
                  </a:lnTo>
                  <a:lnTo>
                    <a:pt x="1478" y="665"/>
                  </a:lnTo>
                  <a:lnTo>
                    <a:pt x="1478" y="665"/>
                  </a:lnTo>
                  <a:lnTo>
                    <a:pt x="1478" y="665"/>
                  </a:lnTo>
                  <a:lnTo>
                    <a:pt x="1478" y="665"/>
                  </a:lnTo>
                  <a:lnTo>
                    <a:pt x="1478" y="665"/>
                  </a:lnTo>
                  <a:lnTo>
                    <a:pt x="1478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6" y="665"/>
                  </a:lnTo>
                  <a:lnTo>
                    <a:pt x="1473" y="665"/>
                  </a:lnTo>
                  <a:lnTo>
                    <a:pt x="1473" y="665"/>
                  </a:lnTo>
                  <a:lnTo>
                    <a:pt x="1473" y="665"/>
                  </a:lnTo>
                  <a:lnTo>
                    <a:pt x="1473" y="665"/>
                  </a:lnTo>
                  <a:lnTo>
                    <a:pt x="1473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71" y="665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9" y="663"/>
                  </a:lnTo>
                  <a:lnTo>
                    <a:pt x="1469" y="665"/>
                  </a:lnTo>
                  <a:lnTo>
                    <a:pt x="1469" y="665"/>
                  </a:lnTo>
                  <a:lnTo>
                    <a:pt x="1467" y="665"/>
                  </a:lnTo>
                  <a:lnTo>
                    <a:pt x="1467" y="665"/>
                  </a:lnTo>
                  <a:lnTo>
                    <a:pt x="1467" y="665"/>
                  </a:lnTo>
                  <a:lnTo>
                    <a:pt x="1467" y="665"/>
                  </a:lnTo>
                  <a:lnTo>
                    <a:pt x="1467" y="665"/>
                  </a:lnTo>
                  <a:lnTo>
                    <a:pt x="1464" y="665"/>
                  </a:lnTo>
                  <a:lnTo>
                    <a:pt x="1464" y="665"/>
                  </a:lnTo>
                  <a:lnTo>
                    <a:pt x="1464" y="668"/>
                  </a:lnTo>
                  <a:lnTo>
                    <a:pt x="1464" y="668"/>
                  </a:lnTo>
                  <a:lnTo>
                    <a:pt x="1464" y="668"/>
                  </a:lnTo>
                  <a:lnTo>
                    <a:pt x="1464" y="668"/>
                  </a:lnTo>
                  <a:lnTo>
                    <a:pt x="1464" y="668"/>
                  </a:lnTo>
                  <a:lnTo>
                    <a:pt x="1464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2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60" y="668"/>
                  </a:lnTo>
                  <a:lnTo>
                    <a:pt x="1458" y="668"/>
                  </a:lnTo>
                  <a:lnTo>
                    <a:pt x="1458" y="668"/>
                  </a:lnTo>
                  <a:lnTo>
                    <a:pt x="1458" y="670"/>
                  </a:lnTo>
                  <a:lnTo>
                    <a:pt x="1458" y="670"/>
                  </a:lnTo>
                  <a:lnTo>
                    <a:pt x="1458" y="670"/>
                  </a:lnTo>
                  <a:lnTo>
                    <a:pt x="1456" y="670"/>
                  </a:lnTo>
                  <a:lnTo>
                    <a:pt x="1456" y="670"/>
                  </a:lnTo>
                  <a:lnTo>
                    <a:pt x="1456" y="670"/>
                  </a:lnTo>
                  <a:lnTo>
                    <a:pt x="1456" y="670"/>
                  </a:lnTo>
                  <a:lnTo>
                    <a:pt x="1456" y="670"/>
                  </a:lnTo>
                  <a:lnTo>
                    <a:pt x="1456" y="670"/>
                  </a:lnTo>
                  <a:lnTo>
                    <a:pt x="1453" y="670"/>
                  </a:lnTo>
                  <a:lnTo>
                    <a:pt x="1453" y="670"/>
                  </a:lnTo>
                  <a:lnTo>
                    <a:pt x="1453" y="670"/>
                  </a:lnTo>
                  <a:lnTo>
                    <a:pt x="1453" y="670"/>
                  </a:lnTo>
                  <a:lnTo>
                    <a:pt x="1453" y="670"/>
                  </a:lnTo>
                  <a:lnTo>
                    <a:pt x="1453" y="670"/>
                  </a:lnTo>
                  <a:lnTo>
                    <a:pt x="1453" y="670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51" y="672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7" y="674"/>
                  </a:lnTo>
                  <a:lnTo>
                    <a:pt x="1449" y="674"/>
                  </a:lnTo>
                  <a:lnTo>
                    <a:pt x="1449" y="674"/>
                  </a:lnTo>
                  <a:lnTo>
                    <a:pt x="1447" y="674"/>
                  </a:lnTo>
                  <a:lnTo>
                    <a:pt x="1447" y="674"/>
                  </a:lnTo>
                  <a:lnTo>
                    <a:pt x="1447" y="677"/>
                  </a:lnTo>
                  <a:lnTo>
                    <a:pt x="1444" y="677"/>
                  </a:lnTo>
                  <a:lnTo>
                    <a:pt x="1444" y="677"/>
                  </a:lnTo>
                  <a:lnTo>
                    <a:pt x="1444" y="679"/>
                  </a:lnTo>
                  <a:lnTo>
                    <a:pt x="1442" y="679"/>
                  </a:lnTo>
                  <a:lnTo>
                    <a:pt x="1444" y="677"/>
                  </a:lnTo>
                  <a:lnTo>
                    <a:pt x="1444" y="677"/>
                  </a:lnTo>
                  <a:lnTo>
                    <a:pt x="1444" y="677"/>
                  </a:lnTo>
                  <a:lnTo>
                    <a:pt x="1444" y="674"/>
                  </a:lnTo>
                  <a:lnTo>
                    <a:pt x="1447" y="674"/>
                  </a:lnTo>
                  <a:lnTo>
                    <a:pt x="1447" y="674"/>
                  </a:lnTo>
                  <a:lnTo>
                    <a:pt x="1447" y="672"/>
                  </a:lnTo>
                  <a:lnTo>
                    <a:pt x="1447" y="672"/>
                  </a:lnTo>
                  <a:lnTo>
                    <a:pt x="1449" y="672"/>
                  </a:lnTo>
                  <a:lnTo>
                    <a:pt x="1449" y="670"/>
                  </a:lnTo>
                  <a:lnTo>
                    <a:pt x="1449" y="668"/>
                  </a:lnTo>
                  <a:lnTo>
                    <a:pt x="1449" y="668"/>
                  </a:lnTo>
                  <a:lnTo>
                    <a:pt x="1449" y="668"/>
                  </a:lnTo>
                  <a:lnTo>
                    <a:pt x="1449" y="668"/>
                  </a:lnTo>
                  <a:lnTo>
                    <a:pt x="1449" y="665"/>
                  </a:lnTo>
                  <a:lnTo>
                    <a:pt x="1449" y="665"/>
                  </a:lnTo>
                  <a:lnTo>
                    <a:pt x="1449" y="665"/>
                  </a:lnTo>
                  <a:lnTo>
                    <a:pt x="1449" y="665"/>
                  </a:lnTo>
                  <a:lnTo>
                    <a:pt x="1449" y="665"/>
                  </a:lnTo>
                  <a:lnTo>
                    <a:pt x="1449" y="663"/>
                  </a:lnTo>
                  <a:lnTo>
                    <a:pt x="1449" y="665"/>
                  </a:lnTo>
                  <a:lnTo>
                    <a:pt x="1449" y="665"/>
                  </a:lnTo>
                  <a:lnTo>
                    <a:pt x="1447" y="665"/>
                  </a:lnTo>
                  <a:lnTo>
                    <a:pt x="1447" y="665"/>
                  </a:lnTo>
                  <a:lnTo>
                    <a:pt x="1447" y="665"/>
                  </a:lnTo>
                  <a:lnTo>
                    <a:pt x="1447" y="665"/>
                  </a:lnTo>
                  <a:lnTo>
                    <a:pt x="1447" y="665"/>
                  </a:lnTo>
                  <a:lnTo>
                    <a:pt x="1447" y="665"/>
                  </a:lnTo>
                  <a:lnTo>
                    <a:pt x="1449" y="668"/>
                  </a:lnTo>
                  <a:lnTo>
                    <a:pt x="1449" y="668"/>
                  </a:lnTo>
                  <a:lnTo>
                    <a:pt x="1449" y="668"/>
                  </a:lnTo>
                  <a:lnTo>
                    <a:pt x="1449" y="668"/>
                  </a:lnTo>
                  <a:lnTo>
                    <a:pt x="1447" y="670"/>
                  </a:lnTo>
                  <a:lnTo>
                    <a:pt x="1447" y="670"/>
                  </a:lnTo>
                  <a:lnTo>
                    <a:pt x="1447" y="672"/>
                  </a:lnTo>
                  <a:lnTo>
                    <a:pt x="1447" y="672"/>
                  </a:lnTo>
                  <a:lnTo>
                    <a:pt x="1444" y="674"/>
                  </a:lnTo>
                  <a:lnTo>
                    <a:pt x="1444" y="677"/>
                  </a:lnTo>
                  <a:lnTo>
                    <a:pt x="1444" y="677"/>
                  </a:lnTo>
                  <a:lnTo>
                    <a:pt x="1442" y="677"/>
                  </a:lnTo>
                  <a:lnTo>
                    <a:pt x="1442" y="677"/>
                  </a:lnTo>
                  <a:lnTo>
                    <a:pt x="1442" y="677"/>
                  </a:lnTo>
                  <a:lnTo>
                    <a:pt x="1442" y="677"/>
                  </a:lnTo>
                  <a:lnTo>
                    <a:pt x="1442" y="679"/>
                  </a:lnTo>
                  <a:lnTo>
                    <a:pt x="1442" y="679"/>
                  </a:lnTo>
                  <a:lnTo>
                    <a:pt x="1442" y="679"/>
                  </a:lnTo>
                  <a:lnTo>
                    <a:pt x="1442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40" y="679"/>
                  </a:lnTo>
                  <a:lnTo>
                    <a:pt x="1438" y="679"/>
                  </a:lnTo>
                  <a:lnTo>
                    <a:pt x="1438" y="681"/>
                  </a:lnTo>
                  <a:lnTo>
                    <a:pt x="1438" y="681"/>
                  </a:lnTo>
                  <a:lnTo>
                    <a:pt x="1438" y="681"/>
                  </a:lnTo>
                  <a:lnTo>
                    <a:pt x="1438" y="681"/>
                  </a:lnTo>
                  <a:lnTo>
                    <a:pt x="1438" y="681"/>
                  </a:lnTo>
                  <a:lnTo>
                    <a:pt x="1438" y="681"/>
                  </a:lnTo>
                  <a:lnTo>
                    <a:pt x="1438" y="683"/>
                  </a:lnTo>
                  <a:lnTo>
                    <a:pt x="1438" y="683"/>
                  </a:lnTo>
                  <a:lnTo>
                    <a:pt x="1435" y="683"/>
                  </a:lnTo>
                  <a:lnTo>
                    <a:pt x="1435" y="683"/>
                  </a:lnTo>
                  <a:lnTo>
                    <a:pt x="1435" y="683"/>
                  </a:lnTo>
                  <a:lnTo>
                    <a:pt x="1438" y="683"/>
                  </a:lnTo>
                  <a:lnTo>
                    <a:pt x="1438" y="686"/>
                  </a:lnTo>
                  <a:lnTo>
                    <a:pt x="1438" y="686"/>
                  </a:lnTo>
                  <a:lnTo>
                    <a:pt x="1438" y="683"/>
                  </a:lnTo>
                  <a:lnTo>
                    <a:pt x="1440" y="683"/>
                  </a:lnTo>
                  <a:lnTo>
                    <a:pt x="1440" y="686"/>
                  </a:lnTo>
                  <a:lnTo>
                    <a:pt x="1440" y="686"/>
                  </a:lnTo>
                  <a:lnTo>
                    <a:pt x="1442" y="686"/>
                  </a:lnTo>
                  <a:lnTo>
                    <a:pt x="1442" y="686"/>
                  </a:lnTo>
                  <a:lnTo>
                    <a:pt x="1442" y="686"/>
                  </a:lnTo>
                  <a:lnTo>
                    <a:pt x="1442" y="683"/>
                  </a:lnTo>
                  <a:lnTo>
                    <a:pt x="1442" y="683"/>
                  </a:lnTo>
                  <a:lnTo>
                    <a:pt x="1442" y="683"/>
                  </a:lnTo>
                  <a:lnTo>
                    <a:pt x="1442" y="686"/>
                  </a:lnTo>
                  <a:lnTo>
                    <a:pt x="1440" y="688"/>
                  </a:lnTo>
                  <a:lnTo>
                    <a:pt x="1440" y="688"/>
                  </a:lnTo>
                  <a:lnTo>
                    <a:pt x="1440" y="690"/>
                  </a:lnTo>
                  <a:lnTo>
                    <a:pt x="1440" y="690"/>
                  </a:lnTo>
                  <a:lnTo>
                    <a:pt x="1440" y="690"/>
                  </a:lnTo>
                  <a:lnTo>
                    <a:pt x="1438" y="692"/>
                  </a:lnTo>
                  <a:lnTo>
                    <a:pt x="1438" y="692"/>
                  </a:lnTo>
                  <a:lnTo>
                    <a:pt x="1438" y="692"/>
                  </a:lnTo>
                  <a:lnTo>
                    <a:pt x="1438" y="692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7"/>
                  </a:lnTo>
                  <a:lnTo>
                    <a:pt x="1435" y="697"/>
                  </a:lnTo>
                  <a:lnTo>
                    <a:pt x="1438" y="697"/>
                  </a:lnTo>
                  <a:lnTo>
                    <a:pt x="1435" y="697"/>
                  </a:lnTo>
                  <a:lnTo>
                    <a:pt x="1435" y="699"/>
                  </a:lnTo>
                  <a:lnTo>
                    <a:pt x="1435" y="701"/>
                  </a:lnTo>
                  <a:lnTo>
                    <a:pt x="1435" y="697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2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8" y="695"/>
                  </a:lnTo>
                  <a:lnTo>
                    <a:pt x="1435" y="695"/>
                  </a:lnTo>
                  <a:lnTo>
                    <a:pt x="1435" y="695"/>
                  </a:lnTo>
                  <a:lnTo>
                    <a:pt x="1435" y="695"/>
                  </a:lnTo>
                  <a:lnTo>
                    <a:pt x="1435" y="695"/>
                  </a:lnTo>
                  <a:lnTo>
                    <a:pt x="1435" y="695"/>
                  </a:lnTo>
                  <a:lnTo>
                    <a:pt x="1435" y="695"/>
                  </a:lnTo>
                  <a:lnTo>
                    <a:pt x="1435" y="695"/>
                  </a:lnTo>
                  <a:lnTo>
                    <a:pt x="1435" y="697"/>
                  </a:lnTo>
                  <a:lnTo>
                    <a:pt x="1435" y="697"/>
                  </a:lnTo>
                  <a:lnTo>
                    <a:pt x="1435" y="697"/>
                  </a:lnTo>
                  <a:lnTo>
                    <a:pt x="1435" y="697"/>
                  </a:lnTo>
                  <a:lnTo>
                    <a:pt x="1435" y="697"/>
                  </a:lnTo>
                  <a:lnTo>
                    <a:pt x="1435" y="697"/>
                  </a:lnTo>
                  <a:lnTo>
                    <a:pt x="1435" y="697"/>
                  </a:lnTo>
                  <a:lnTo>
                    <a:pt x="1435" y="699"/>
                  </a:lnTo>
                  <a:lnTo>
                    <a:pt x="1435" y="699"/>
                  </a:lnTo>
                  <a:lnTo>
                    <a:pt x="1433" y="699"/>
                  </a:lnTo>
                  <a:lnTo>
                    <a:pt x="1433" y="699"/>
                  </a:lnTo>
                  <a:lnTo>
                    <a:pt x="1433" y="699"/>
                  </a:lnTo>
                  <a:lnTo>
                    <a:pt x="1433" y="701"/>
                  </a:lnTo>
                  <a:lnTo>
                    <a:pt x="1433" y="701"/>
                  </a:lnTo>
                  <a:lnTo>
                    <a:pt x="1433" y="701"/>
                  </a:lnTo>
                  <a:lnTo>
                    <a:pt x="1433" y="701"/>
                  </a:lnTo>
                  <a:lnTo>
                    <a:pt x="1433" y="701"/>
                  </a:lnTo>
                  <a:lnTo>
                    <a:pt x="1433" y="701"/>
                  </a:lnTo>
                  <a:lnTo>
                    <a:pt x="1431" y="704"/>
                  </a:lnTo>
                  <a:lnTo>
                    <a:pt x="1431" y="704"/>
                  </a:lnTo>
                  <a:lnTo>
                    <a:pt x="1431" y="704"/>
                  </a:lnTo>
                  <a:lnTo>
                    <a:pt x="1431" y="704"/>
                  </a:lnTo>
                  <a:lnTo>
                    <a:pt x="1431" y="704"/>
                  </a:lnTo>
                  <a:lnTo>
                    <a:pt x="1431" y="704"/>
                  </a:lnTo>
                  <a:lnTo>
                    <a:pt x="1431" y="704"/>
                  </a:lnTo>
                  <a:lnTo>
                    <a:pt x="1429" y="704"/>
                  </a:lnTo>
                  <a:lnTo>
                    <a:pt x="1429" y="704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9" y="706"/>
                  </a:lnTo>
                  <a:lnTo>
                    <a:pt x="1426" y="706"/>
                  </a:lnTo>
                  <a:lnTo>
                    <a:pt x="1426" y="706"/>
                  </a:lnTo>
                  <a:lnTo>
                    <a:pt x="1426" y="706"/>
                  </a:lnTo>
                  <a:lnTo>
                    <a:pt x="1426" y="706"/>
                  </a:lnTo>
                  <a:lnTo>
                    <a:pt x="1426" y="706"/>
                  </a:lnTo>
                  <a:lnTo>
                    <a:pt x="1426" y="706"/>
                  </a:lnTo>
                  <a:lnTo>
                    <a:pt x="1426" y="706"/>
                  </a:lnTo>
                  <a:lnTo>
                    <a:pt x="1426" y="708"/>
                  </a:lnTo>
                  <a:lnTo>
                    <a:pt x="1426" y="708"/>
                  </a:lnTo>
                  <a:lnTo>
                    <a:pt x="1426" y="708"/>
                  </a:lnTo>
                  <a:lnTo>
                    <a:pt x="1426" y="708"/>
                  </a:lnTo>
                  <a:lnTo>
                    <a:pt x="1426" y="708"/>
                  </a:lnTo>
                  <a:lnTo>
                    <a:pt x="1426" y="708"/>
                  </a:lnTo>
                  <a:lnTo>
                    <a:pt x="1424" y="708"/>
                  </a:lnTo>
                  <a:lnTo>
                    <a:pt x="1424" y="708"/>
                  </a:lnTo>
                  <a:lnTo>
                    <a:pt x="1424" y="708"/>
                  </a:lnTo>
                  <a:lnTo>
                    <a:pt x="1424" y="708"/>
                  </a:lnTo>
                  <a:lnTo>
                    <a:pt x="1424" y="708"/>
                  </a:lnTo>
                  <a:lnTo>
                    <a:pt x="1424" y="708"/>
                  </a:lnTo>
                  <a:lnTo>
                    <a:pt x="1424" y="710"/>
                  </a:lnTo>
                  <a:lnTo>
                    <a:pt x="1424" y="710"/>
                  </a:lnTo>
                  <a:lnTo>
                    <a:pt x="1424" y="710"/>
                  </a:lnTo>
                  <a:lnTo>
                    <a:pt x="1424" y="710"/>
                  </a:lnTo>
                  <a:lnTo>
                    <a:pt x="1424" y="710"/>
                  </a:lnTo>
                  <a:lnTo>
                    <a:pt x="1422" y="710"/>
                  </a:lnTo>
                  <a:lnTo>
                    <a:pt x="1422" y="710"/>
                  </a:lnTo>
                  <a:lnTo>
                    <a:pt x="1422" y="710"/>
                  </a:lnTo>
                  <a:lnTo>
                    <a:pt x="1424" y="710"/>
                  </a:lnTo>
                  <a:lnTo>
                    <a:pt x="1424" y="710"/>
                  </a:lnTo>
                  <a:lnTo>
                    <a:pt x="1424" y="710"/>
                  </a:lnTo>
                  <a:lnTo>
                    <a:pt x="1422" y="710"/>
                  </a:lnTo>
                  <a:lnTo>
                    <a:pt x="1422" y="710"/>
                  </a:lnTo>
                  <a:lnTo>
                    <a:pt x="1422" y="710"/>
                  </a:lnTo>
                  <a:lnTo>
                    <a:pt x="1422" y="710"/>
                  </a:lnTo>
                  <a:lnTo>
                    <a:pt x="1422" y="710"/>
                  </a:lnTo>
                  <a:lnTo>
                    <a:pt x="1420" y="710"/>
                  </a:lnTo>
                  <a:lnTo>
                    <a:pt x="1420" y="713"/>
                  </a:lnTo>
                  <a:lnTo>
                    <a:pt x="1420" y="713"/>
                  </a:lnTo>
                  <a:lnTo>
                    <a:pt x="1420" y="713"/>
                  </a:lnTo>
                  <a:lnTo>
                    <a:pt x="1420" y="713"/>
                  </a:lnTo>
                  <a:lnTo>
                    <a:pt x="1422" y="713"/>
                  </a:lnTo>
                  <a:lnTo>
                    <a:pt x="1422" y="713"/>
                  </a:lnTo>
                  <a:lnTo>
                    <a:pt x="1422" y="713"/>
                  </a:lnTo>
                  <a:lnTo>
                    <a:pt x="1422" y="713"/>
                  </a:lnTo>
                  <a:lnTo>
                    <a:pt x="1420" y="713"/>
                  </a:lnTo>
                  <a:lnTo>
                    <a:pt x="1420" y="713"/>
                  </a:lnTo>
                  <a:lnTo>
                    <a:pt x="1420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7"/>
                  </a:lnTo>
                  <a:lnTo>
                    <a:pt x="1417" y="715"/>
                  </a:lnTo>
                  <a:lnTo>
                    <a:pt x="1417" y="715"/>
                  </a:lnTo>
                  <a:lnTo>
                    <a:pt x="1417" y="717"/>
                  </a:lnTo>
                  <a:lnTo>
                    <a:pt x="1417" y="717"/>
                  </a:lnTo>
                  <a:lnTo>
                    <a:pt x="1417" y="717"/>
                  </a:lnTo>
                  <a:lnTo>
                    <a:pt x="1417" y="717"/>
                  </a:lnTo>
                  <a:lnTo>
                    <a:pt x="1417" y="717"/>
                  </a:lnTo>
                  <a:lnTo>
                    <a:pt x="1417" y="717"/>
                  </a:lnTo>
                  <a:lnTo>
                    <a:pt x="1415" y="717"/>
                  </a:lnTo>
                  <a:lnTo>
                    <a:pt x="1415" y="717"/>
                  </a:lnTo>
                  <a:lnTo>
                    <a:pt x="1415" y="717"/>
                  </a:lnTo>
                  <a:lnTo>
                    <a:pt x="1415" y="717"/>
                  </a:lnTo>
                  <a:lnTo>
                    <a:pt x="1415" y="719"/>
                  </a:lnTo>
                  <a:lnTo>
                    <a:pt x="1415" y="719"/>
                  </a:lnTo>
                  <a:lnTo>
                    <a:pt x="1415" y="719"/>
                  </a:lnTo>
                  <a:lnTo>
                    <a:pt x="1413" y="719"/>
                  </a:lnTo>
                  <a:lnTo>
                    <a:pt x="1413" y="719"/>
                  </a:lnTo>
                  <a:lnTo>
                    <a:pt x="1413" y="719"/>
                  </a:lnTo>
                  <a:lnTo>
                    <a:pt x="1411" y="719"/>
                  </a:lnTo>
                  <a:lnTo>
                    <a:pt x="1411" y="719"/>
                  </a:lnTo>
                  <a:lnTo>
                    <a:pt x="1411" y="719"/>
                  </a:lnTo>
                  <a:lnTo>
                    <a:pt x="1413" y="719"/>
                  </a:lnTo>
                  <a:lnTo>
                    <a:pt x="1413" y="719"/>
                  </a:lnTo>
                  <a:lnTo>
                    <a:pt x="1413" y="719"/>
                  </a:lnTo>
                  <a:lnTo>
                    <a:pt x="1413" y="719"/>
                  </a:lnTo>
                  <a:lnTo>
                    <a:pt x="1413" y="717"/>
                  </a:lnTo>
                  <a:lnTo>
                    <a:pt x="1415" y="717"/>
                  </a:lnTo>
                  <a:lnTo>
                    <a:pt x="1415" y="715"/>
                  </a:lnTo>
                  <a:lnTo>
                    <a:pt x="1415" y="715"/>
                  </a:lnTo>
                  <a:lnTo>
                    <a:pt x="1415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5"/>
                  </a:lnTo>
                  <a:lnTo>
                    <a:pt x="1413" y="713"/>
                  </a:lnTo>
                  <a:lnTo>
                    <a:pt x="1413" y="713"/>
                  </a:lnTo>
                  <a:lnTo>
                    <a:pt x="1411" y="713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5"/>
                  </a:lnTo>
                  <a:lnTo>
                    <a:pt x="1411" y="713"/>
                  </a:lnTo>
                  <a:lnTo>
                    <a:pt x="1411" y="713"/>
                  </a:lnTo>
                  <a:lnTo>
                    <a:pt x="1411" y="713"/>
                  </a:lnTo>
                  <a:lnTo>
                    <a:pt x="1411" y="713"/>
                  </a:lnTo>
                  <a:lnTo>
                    <a:pt x="1408" y="713"/>
                  </a:lnTo>
                  <a:lnTo>
                    <a:pt x="1408" y="713"/>
                  </a:lnTo>
                  <a:lnTo>
                    <a:pt x="1408" y="713"/>
                  </a:lnTo>
                  <a:lnTo>
                    <a:pt x="1408" y="713"/>
                  </a:lnTo>
                  <a:lnTo>
                    <a:pt x="1408" y="713"/>
                  </a:lnTo>
                  <a:lnTo>
                    <a:pt x="1408" y="713"/>
                  </a:lnTo>
                  <a:lnTo>
                    <a:pt x="1408" y="710"/>
                  </a:lnTo>
                  <a:lnTo>
                    <a:pt x="1408" y="710"/>
                  </a:lnTo>
                  <a:lnTo>
                    <a:pt x="1408" y="710"/>
                  </a:lnTo>
                  <a:lnTo>
                    <a:pt x="1408" y="710"/>
                  </a:lnTo>
                  <a:lnTo>
                    <a:pt x="1406" y="710"/>
                  </a:lnTo>
                  <a:lnTo>
                    <a:pt x="1406" y="710"/>
                  </a:lnTo>
                  <a:lnTo>
                    <a:pt x="1406" y="710"/>
                  </a:lnTo>
                  <a:lnTo>
                    <a:pt x="1406" y="710"/>
                  </a:lnTo>
                  <a:lnTo>
                    <a:pt x="1406" y="710"/>
                  </a:lnTo>
                  <a:lnTo>
                    <a:pt x="1406" y="710"/>
                  </a:lnTo>
                  <a:lnTo>
                    <a:pt x="1406" y="710"/>
                  </a:lnTo>
                  <a:lnTo>
                    <a:pt x="1406" y="708"/>
                  </a:lnTo>
                  <a:lnTo>
                    <a:pt x="1404" y="708"/>
                  </a:lnTo>
                  <a:lnTo>
                    <a:pt x="1404" y="708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6" y="706"/>
                  </a:lnTo>
                  <a:lnTo>
                    <a:pt x="1406" y="706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6" y="704"/>
                  </a:lnTo>
                  <a:lnTo>
                    <a:pt x="1406" y="704"/>
                  </a:lnTo>
                  <a:lnTo>
                    <a:pt x="1406" y="704"/>
                  </a:lnTo>
                  <a:lnTo>
                    <a:pt x="1406" y="704"/>
                  </a:lnTo>
                  <a:lnTo>
                    <a:pt x="1406" y="704"/>
                  </a:lnTo>
                  <a:lnTo>
                    <a:pt x="1406" y="701"/>
                  </a:lnTo>
                  <a:lnTo>
                    <a:pt x="1406" y="701"/>
                  </a:lnTo>
                  <a:lnTo>
                    <a:pt x="1406" y="701"/>
                  </a:lnTo>
                  <a:lnTo>
                    <a:pt x="1406" y="701"/>
                  </a:lnTo>
                  <a:lnTo>
                    <a:pt x="1408" y="701"/>
                  </a:lnTo>
                  <a:lnTo>
                    <a:pt x="1408" y="701"/>
                  </a:lnTo>
                  <a:lnTo>
                    <a:pt x="1408" y="701"/>
                  </a:lnTo>
                  <a:lnTo>
                    <a:pt x="1408" y="701"/>
                  </a:lnTo>
                  <a:lnTo>
                    <a:pt x="1408" y="699"/>
                  </a:lnTo>
                  <a:lnTo>
                    <a:pt x="1411" y="699"/>
                  </a:lnTo>
                  <a:lnTo>
                    <a:pt x="1411" y="699"/>
                  </a:lnTo>
                  <a:lnTo>
                    <a:pt x="1413" y="699"/>
                  </a:lnTo>
                  <a:lnTo>
                    <a:pt x="1413" y="699"/>
                  </a:lnTo>
                  <a:lnTo>
                    <a:pt x="1413" y="699"/>
                  </a:lnTo>
                  <a:lnTo>
                    <a:pt x="1413" y="699"/>
                  </a:lnTo>
                  <a:lnTo>
                    <a:pt x="1415" y="699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7" y="697"/>
                  </a:lnTo>
                  <a:lnTo>
                    <a:pt x="1417" y="697"/>
                  </a:lnTo>
                  <a:lnTo>
                    <a:pt x="1417" y="695"/>
                  </a:lnTo>
                  <a:lnTo>
                    <a:pt x="1417" y="695"/>
                  </a:lnTo>
                  <a:lnTo>
                    <a:pt x="1417" y="695"/>
                  </a:lnTo>
                  <a:lnTo>
                    <a:pt x="1417" y="695"/>
                  </a:lnTo>
                  <a:lnTo>
                    <a:pt x="1417" y="695"/>
                  </a:lnTo>
                  <a:lnTo>
                    <a:pt x="1415" y="695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5" y="697"/>
                  </a:lnTo>
                  <a:lnTo>
                    <a:pt x="1413" y="697"/>
                  </a:lnTo>
                  <a:lnTo>
                    <a:pt x="1413" y="699"/>
                  </a:lnTo>
                  <a:lnTo>
                    <a:pt x="1413" y="699"/>
                  </a:lnTo>
                  <a:lnTo>
                    <a:pt x="1411" y="699"/>
                  </a:lnTo>
                  <a:lnTo>
                    <a:pt x="1411" y="699"/>
                  </a:lnTo>
                  <a:lnTo>
                    <a:pt x="1411" y="699"/>
                  </a:lnTo>
                  <a:lnTo>
                    <a:pt x="1411" y="699"/>
                  </a:lnTo>
                  <a:lnTo>
                    <a:pt x="1408" y="699"/>
                  </a:lnTo>
                  <a:lnTo>
                    <a:pt x="1408" y="699"/>
                  </a:lnTo>
                  <a:lnTo>
                    <a:pt x="1408" y="701"/>
                  </a:lnTo>
                  <a:lnTo>
                    <a:pt x="1406" y="701"/>
                  </a:lnTo>
                  <a:lnTo>
                    <a:pt x="1406" y="701"/>
                  </a:lnTo>
                  <a:lnTo>
                    <a:pt x="1406" y="704"/>
                  </a:lnTo>
                  <a:lnTo>
                    <a:pt x="1406" y="704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4" y="704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6"/>
                  </a:lnTo>
                  <a:lnTo>
                    <a:pt x="1404" y="708"/>
                  </a:lnTo>
                  <a:lnTo>
                    <a:pt x="1404" y="708"/>
                  </a:lnTo>
                  <a:lnTo>
                    <a:pt x="1404" y="708"/>
                  </a:lnTo>
                  <a:lnTo>
                    <a:pt x="1404" y="708"/>
                  </a:lnTo>
                  <a:lnTo>
                    <a:pt x="1404" y="708"/>
                  </a:lnTo>
                  <a:lnTo>
                    <a:pt x="1404" y="710"/>
                  </a:lnTo>
                  <a:lnTo>
                    <a:pt x="1404" y="710"/>
                  </a:lnTo>
                  <a:lnTo>
                    <a:pt x="1404" y="710"/>
                  </a:lnTo>
                  <a:lnTo>
                    <a:pt x="1404" y="710"/>
                  </a:lnTo>
                  <a:lnTo>
                    <a:pt x="1404" y="710"/>
                  </a:lnTo>
                  <a:lnTo>
                    <a:pt x="1406" y="710"/>
                  </a:lnTo>
                  <a:lnTo>
                    <a:pt x="1406" y="713"/>
                  </a:lnTo>
                  <a:lnTo>
                    <a:pt x="1406" y="713"/>
                  </a:lnTo>
                  <a:lnTo>
                    <a:pt x="1406" y="713"/>
                  </a:lnTo>
                  <a:lnTo>
                    <a:pt x="1404" y="715"/>
                  </a:lnTo>
                  <a:lnTo>
                    <a:pt x="1404" y="715"/>
                  </a:lnTo>
                  <a:lnTo>
                    <a:pt x="1404" y="715"/>
                  </a:lnTo>
                  <a:lnTo>
                    <a:pt x="1404" y="715"/>
                  </a:lnTo>
                  <a:lnTo>
                    <a:pt x="1404" y="717"/>
                  </a:lnTo>
                  <a:lnTo>
                    <a:pt x="1404" y="717"/>
                  </a:lnTo>
                  <a:lnTo>
                    <a:pt x="1404" y="717"/>
                  </a:lnTo>
                  <a:lnTo>
                    <a:pt x="1404" y="717"/>
                  </a:lnTo>
                  <a:lnTo>
                    <a:pt x="1404" y="717"/>
                  </a:lnTo>
                  <a:lnTo>
                    <a:pt x="1406" y="719"/>
                  </a:lnTo>
                  <a:lnTo>
                    <a:pt x="1406" y="719"/>
                  </a:lnTo>
                  <a:lnTo>
                    <a:pt x="1404" y="719"/>
                  </a:lnTo>
                  <a:lnTo>
                    <a:pt x="1404" y="722"/>
                  </a:lnTo>
                  <a:lnTo>
                    <a:pt x="1404" y="722"/>
                  </a:lnTo>
                  <a:lnTo>
                    <a:pt x="1406" y="722"/>
                  </a:lnTo>
                  <a:lnTo>
                    <a:pt x="1406" y="724"/>
                  </a:lnTo>
                  <a:lnTo>
                    <a:pt x="1406" y="724"/>
                  </a:lnTo>
                  <a:lnTo>
                    <a:pt x="1408" y="724"/>
                  </a:lnTo>
                  <a:lnTo>
                    <a:pt x="1408" y="724"/>
                  </a:lnTo>
                  <a:lnTo>
                    <a:pt x="1408" y="724"/>
                  </a:lnTo>
                  <a:lnTo>
                    <a:pt x="1408" y="724"/>
                  </a:lnTo>
                  <a:lnTo>
                    <a:pt x="1408" y="726"/>
                  </a:lnTo>
                  <a:lnTo>
                    <a:pt x="1408" y="726"/>
                  </a:lnTo>
                  <a:lnTo>
                    <a:pt x="1408" y="728"/>
                  </a:lnTo>
                  <a:lnTo>
                    <a:pt x="1408" y="726"/>
                  </a:lnTo>
                  <a:lnTo>
                    <a:pt x="1408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6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4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6" y="728"/>
                  </a:lnTo>
                  <a:lnTo>
                    <a:pt x="1408" y="728"/>
                  </a:lnTo>
                  <a:lnTo>
                    <a:pt x="1408" y="728"/>
                  </a:lnTo>
                  <a:lnTo>
                    <a:pt x="1408" y="728"/>
                  </a:lnTo>
                  <a:lnTo>
                    <a:pt x="1408" y="728"/>
                  </a:lnTo>
                  <a:lnTo>
                    <a:pt x="1406" y="728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6" y="735"/>
                  </a:lnTo>
                  <a:lnTo>
                    <a:pt x="1406" y="735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1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6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3"/>
                  </a:lnTo>
                  <a:lnTo>
                    <a:pt x="1404" y="735"/>
                  </a:lnTo>
                  <a:lnTo>
                    <a:pt x="1404" y="735"/>
                  </a:lnTo>
                  <a:lnTo>
                    <a:pt x="1404" y="735"/>
                  </a:lnTo>
                  <a:lnTo>
                    <a:pt x="1404" y="735"/>
                  </a:lnTo>
                  <a:lnTo>
                    <a:pt x="1404" y="735"/>
                  </a:lnTo>
                  <a:lnTo>
                    <a:pt x="1404" y="737"/>
                  </a:lnTo>
                  <a:lnTo>
                    <a:pt x="1404" y="737"/>
                  </a:lnTo>
                  <a:lnTo>
                    <a:pt x="1402" y="737"/>
                  </a:lnTo>
                  <a:lnTo>
                    <a:pt x="1402" y="737"/>
                  </a:lnTo>
                  <a:lnTo>
                    <a:pt x="1402" y="735"/>
                  </a:lnTo>
                  <a:lnTo>
                    <a:pt x="1402" y="737"/>
                  </a:lnTo>
                  <a:lnTo>
                    <a:pt x="1402" y="737"/>
                  </a:lnTo>
                  <a:lnTo>
                    <a:pt x="1402" y="737"/>
                  </a:lnTo>
                  <a:lnTo>
                    <a:pt x="1399" y="737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9" y="740"/>
                  </a:lnTo>
                  <a:lnTo>
                    <a:pt x="1397" y="740"/>
                  </a:lnTo>
                  <a:lnTo>
                    <a:pt x="1397" y="740"/>
                  </a:lnTo>
                  <a:lnTo>
                    <a:pt x="1397" y="740"/>
                  </a:lnTo>
                  <a:lnTo>
                    <a:pt x="1397" y="742"/>
                  </a:lnTo>
                  <a:lnTo>
                    <a:pt x="1397" y="742"/>
                  </a:lnTo>
                  <a:lnTo>
                    <a:pt x="1397" y="742"/>
                  </a:lnTo>
                  <a:lnTo>
                    <a:pt x="1397" y="742"/>
                  </a:lnTo>
                  <a:lnTo>
                    <a:pt x="1397" y="742"/>
                  </a:lnTo>
                  <a:lnTo>
                    <a:pt x="1395" y="742"/>
                  </a:lnTo>
                  <a:lnTo>
                    <a:pt x="1395" y="744"/>
                  </a:lnTo>
                  <a:lnTo>
                    <a:pt x="1395" y="744"/>
                  </a:lnTo>
                  <a:lnTo>
                    <a:pt x="1395" y="744"/>
                  </a:lnTo>
                  <a:lnTo>
                    <a:pt x="1395" y="744"/>
                  </a:lnTo>
                  <a:lnTo>
                    <a:pt x="1395" y="744"/>
                  </a:lnTo>
                  <a:lnTo>
                    <a:pt x="1395" y="744"/>
                  </a:lnTo>
                  <a:lnTo>
                    <a:pt x="1395" y="744"/>
                  </a:lnTo>
                  <a:lnTo>
                    <a:pt x="1395" y="746"/>
                  </a:lnTo>
                  <a:lnTo>
                    <a:pt x="1395" y="746"/>
                  </a:lnTo>
                  <a:lnTo>
                    <a:pt x="1390" y="749"/>
                  </a:lnTo>
                  <a:lnTo>
                    <a:pt x="1390" y="751"/>
                  </a:lnTo>
                  <a:lnTo>
                    <a:pt x="1390" y="751"/>
                  </a:lnTo>
                  <a:lnTo>
                    <a:pt x="1390" y="751"/>
                  </a:lnTo>
                  <a:lnTo>
                    <a:pt x="1390" y="753"/>
                  </a:lnTo>
                  <a:lnTo>
                    <a:pt x="1390" y="753"/>
                  </a:lnTo>
                  <a:lnTo>
                    <a:pt x="1390" y="753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8" y="755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6" y="753"/>
                  </a:lnTo>
                  <a:lnTo>
                    <a:pt x="1386" y="753"/>
                  </a:lnTo>
                  <a:lnTo>
                    <a:pt x="1386" y="753"/>
                  </a:lnTo>
                  <a:lnTo>
                    <a:pt x="1388" y="753"/>
                  </a:lnTo>
                  <a:lnTo>
                    <a:pt x="1388" y="753"/>
                  </a:lnTo>
                  <a:lnTo>
                    <a:pt x="1388" y="755"/>
                  </a:lnTo>
                  <a:lnTo>
                    <a:pt x="1386" y="755"/>
                  </a:lnTo>
                  <a:lnTo>
                    <a:pt x="1386" y="755"/>
                  </a:lnTo>
                  <a:lnTo>
                    <a:pt x="1386" y="755"/>
                  </a:lnTo>
                  <a:lnTo>
                    <a:pt x="1386" y="755"/>
                  </a:lnTo>
                  <a:lnTo>
                    <a:pt x="1384" y="755"/>
                  </a:lnTo>
                  <a:lnTo>
                    <a:pt x="1384" y="755"/>
                  </a:lnTo>
                  <a:lnTo>
                    <a:pt x="1384" y="755"/>
                  </a:lnTo>
                  <a:lnTo>
                    <a:pt x="1384" y="755"/>
                  </a:lnTo>
                  <a:lnTo>
                    <a:pt x="1384" y="758"/>
                  </a:lnTo>
                  <a:lnTo>
                    <a:pt x="1384" y="758"/>
                  </a:lnTo>
                  <a:lnTo>
                    <a:pt x="1384" y="758"/>
                  </a:lnTo>
                  <a:lnTo>
                    <a:pt x="1384" y="758"/>
                  </a:lnTo>
                  <a:lnTo>
                    <a:pt x="1384" y="760"/>
                  </a:lnTo>
                  <a:lnTo>
                    <a:pt x="1381" y="760"/>
                  </a:lnTo>
                  <a:lnTo>
                    <a:pt x="1381" y="760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81" y="760"/>
                  </a:lnTo>
                  <a:lnTo>
                    <a:pt x="1381" y="760"/>
                  </a:lnTo>
                  <a:lnTo>
                    <a:pt x="1381" y="760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81" y="762"/>
                  </a:lnTo>
                  <a:lnTo>
                    <a:pt x="1379" y="762"/>
                  </a:lnTo>
                  <a:lnTo>
                    <a:pt x="1379" y="762"/>
                  </a:lnTo>
                  <a:lnTo>
                    <a:pt x="1379" y="762"/>
                  </a:lnTo>
                  <a:lnTo>
                    <a:pt x="1379" y="762"/>
                  </a:lnTo>
                  <a:lnTo>
                    <a:pt x="1379" y="762"/>
                  </a:lnTo>
                  <a:lnTo>
                    <a:pt x="1379" y="760"/>
                  </a:lnTo>
                  <a:lnTo>
                    <a:pt x="1379" y="760"/>
                  </a:lnTo>
                  <a:lnTo>
                    <a:pt x="1379" y="760"/>
                  </a:lnTo>
                  <a:lnTo>
                    <a:pt x="1379" y="760"/>
                  </a:lnTo>
                  <a:lnTo>
                    <a:pt x="1379" y="760"/>
                  </a:lnTo>
                  <a:lnTo>
                    <a:pt x="1379" y="760"/>
                  </a:lnTo>
                  <a:lnTo>
                    <a:pt x="1381" y="758"/>
                  </a:lnTo>
                  <a:lnTo>
                    <a:pt x="1379" y="758"/>
                  </a:lnTo>
                  <a:lnTo>
                    <a:pt x="1379" y="758"/>
                  </a:lnTo>
                  <a:lnTo>
                    <a:pt x="1379" y="758"/>
                  </a:lnTo>
                  <a:lnTo>
                    <a:pt x="1381" y="758"/>
                  </a:lnTo>
                  <a:lnTo>
                    <a:pt x="1381" y="758"/>
                  </a:lnTo>
                  <a:lnTo>
                    <a:pt x="1381" y="758"/>
                  </a:lnTo>
                  <a:lnTo>
                    <a:pt x="1381" y="758"/>
                  </a:lnTo>
                  <a:lnTo>
                    <a:pt x="1381" y="758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1" y="755"/>
                  </a:lnTo>
                  <a:lnTo>
                    <a:pt x="1384" y="755"/>
                  </a:lnTo>
                  <a:lnTo>
                    <a:pt x="1384" y="755"/>
                  </a:lnTo>
                  <a:lnTo>
                    <a:pt x="1384" y="755"/>
                  </a:lnTo>
                  <a:lnTo>
                    <a:pt x="1381" y="755"/>
                  </a:lnTo>
                  <a:lnTo>
                    <a:pt x="1381" y="753"/>
                  </a:lnTo>
                  <a:lnTo>
                    <a:pt x="1384" y="753"/>
                  </a:lnTo>
                  <a:lnTo>
                    <a:pt x="1384" y="753"/>
                  </a:lnTo>
                  <a:lnTo>
                    <a:pt x="1384" y="753"/>
                  </a:lnTo>
                  <a:lnTo>
                    <a:pt x="1384" y="753"/>
                  </a:lnTo>
                  <a:lnTo>
                    <a:pt x="1384" y="753"/>
                  </a:lnTo>
                  <a:lnTo>
                    <a:pt x="1384" y="753"/>
                  </a:lnTo>
                  <a:lnTo>
                    <a:pt x="1384" y="751"/>
                  </a:lnTo>
                  <a:lnTo>
                    <a:pt x="1384" y="751"/>
                  </a:lnTo>
                  <a:lnTo>
                    <a:pt x="1384" y="751"/>
                  </a:lnTo>
                  <a:lnTo>
                    <a:pt x="1384" y="751"/>
                  </a:lnTo>
                  <a:lnTo>
                    <a:pt x="1386" y="751"/>
                  </a:lnTo>
                  <a:lnTo>
                    <a:pt x="1384" y="751"/>
                  </a:lnTo>
                  <a:lnTo>
                    <a:pt x="1386" y="751"/>
                  </a:lnTo>
                  <a:lnTo>
                    <a:pt x="1386" y="751"/>
                  </a:lnTo>
                  <a:lnTo>
                    <a:pt x="1386" y="751"/>
                  </a:lnTo>
                  <a:lnTo>
                    <a:pt x="1386" y="751"/>
                  </a:lnTo>
                  <a:lnTo>
                    <a:pt x="1386" y="751"/>
                  </a:lnTo>
                  <a:lnTo>
                    <a:pt x="1386" y="749"/>
                  </a:lnTo>
                  <a:lnTo>
                    <a:pt x="1388" y="749"/>
                  </a:lnTo>
                  <a:lnTo>
                    <a:pt x="1388" y="749"/>
                  </a:lnTo>
                  <a:lnTo>
                    <a:pt x="1386" y="749"/>
                  </a:lnTo>
                  <a:lnTo>
                    <a:pt x="1386" y="749"/>
                  </a:lnTo>
                  <a:lnTo>
                    <a:pt x="1388" y="749"/>
                  </a:lnTo>
                  <a:lnTo>
                    <a:pt x="1388" y="749"/>
                  </a:lnTo>
                  <a:lnTo>
                    <a:pt x="1388" y="749"/>
                  </a:lnTo>
                  <a:lnTo>
                    <a:pt x="1388" y="746"/>
                  </a:lnTo>
                  <a:lnTo>
                    <a:pt x="1388" y="746"/>
                  </a:lnTo>
                  <a:lnTo>
                    <a:pt x="1388" y="746"/>
                  </a:lnTo>
                  <a:lnTo>
                    <a:pt x="1388" y="746"/>
                  </a:lnTo>
                  <a:lnTo>
                    <a:pt x="1388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6"/>
                  </a:lnTo>
                  <a:lnTo>
                    <a:pt x="1390" y="744"/>
                  </a:lnTo>
                  <a:lnTo>
                    <a:pt x="1390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88" y="744"/>
                  </a:lnTo>
                  <a:lnTo>
                    <a:pt x="1390" y="744"/>
                  </a:lnTo>
                  <a:lnTo>
                    <a:pt x="1390" y="744"/>
                  </a:lnTo>
                  <a:lnTo>
                    <a:pt x="1390" y="744"/>
                  </a:lnTo>
                  <a:lnTo>
                    <a:pt x="1390" y="744"/>
                  </a:lnTo>
                  <a:lnTo>
                    <a:pt x="1393" y="744"/>
                  </a:lnTo>
                  <a:lnTo>
                    <a:pt x="1390" y="744"/>
                  </a:lnTo>
                  <a:lnTo>
                    <a:pt x="1390" y="744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4"/>
                  </a:lnTo>
                  <a:lnTo>
                    <a:pt x="1388" y="744"/>
                  </a:lnTo>
                  <a:lnTo>
                    <a:pt x="1388" y="744"/>
                  </a:lnTo>
                  <a:lnTo>
                    <a:pt x="1386" y="744"/>
                  </a:lnTo>
                  <a:lnTo>
                    <a:pt x="1386" y="744"/>
                  </a:lnTo>
                  <a:lnTo>
                    <a:pt x="1386" y="744"/>
                  </a:lnTo>
                  <a:lnTo>
                    <a:pt x="1386" y="744"/>
                  </a:lnTo>
                  <a:lnTo>
                    <a:pt x="1386" y="744"/>
                  </a:lnTo>
                  <a:lnTo>
                    <a:pt x="1388" y="744"/>
                  </a:lnTo>
                  <a:lnTo>
                    <a:pt x="1388" y="744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6" y="742"/>
                  </a:lnTo>
                  <a:lnTo>
                    <a:pt x="1386" y="742"/>
                  </a:lnTo>
                  <a:lnTo>
                    <a:pt x="1386" y="742"/>
                  </a:lnTo>
                  <a:lnTo>
                    <a:pt x="1386" y="742"/>
                  </a:lnTo>
                  <a:lnTo>
                    <a:pt x="1386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88" y="742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90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8" y="740"/>
                  </a:lnTo>
                  <a:lnTo>
                    <a:pt x="1386" y="740"/>
                  </a:lnTo>
                  <a:lnTo>
                    <a:pt x="1386" y="740"/>
                  </a:lnTo>
                  <a:lnTo>
                    <a:pt x="1386" y="740"/>
                  </a:lnTo>
                  <a:lnTo>
                    <a:pt x="1386" y="740"/>
                  </a:lnTo>
                  <a:lnTo>
                    <a:pt x="1388" y="737"/>
                  </a:lnTo>
                  <a:lnTo>
                    <a:pt x="1388" y="737"/>
                  </a:lnTo>
                  <a:lnTo>
                    <a:pt x="1388" y="737"/>
                  </a:lnTo>
                  <a:lnTo>
                    <a:pt x="1390" y="737"/>
                  </a:lnTo>
                  <a:lnTo>
                    <a:pt x="1390" y="737"/>
                  </a:lnTo>
                  <a:lnTo>
                    <a:pt x="1388" y="737"/>
                  </a:lnTo>
                  <a:lnTo>
                    <a:pt x="1388" y="737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90" y="733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7"/>
                  </a:lnTo>
                  <a:lnTo>
                    <a:pt x="1388" y="737"/>
                  </a:lnTo>
                  <a:lnTo>
                    <a:pt x="1388" y="737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5"/>
                  </a:lnTo>
                  <a:lnTo>
                    <a:pt x="1388" y="733"/>
                  </a:lnTo>
                  <a:lnTo>
                    <a:pt x="1388" y="733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6" y="737"/>
                  </a:lnTo>
                  <a:lnTo>
                    <a:pt x="1386" y="737"/>
                  </a:lnTo>
                  <a:lnTo>
                    <a:pt x="1386" y="737"/>
                  </a:lnTo>
                  <a:lnTo>
                    <a:pt x="1386" y="735"/>
                  </a:lnTo>
                  <a:lnTo>
                    <a:pt x="1386" y="735"/>
                  </a:lnTo>
                  <a:lnTo>
                    <a:pt x="1384" y="735"/>
                  </a:lnTo>
                  <a:lnTo>
                    <a:pt x="1384" y="735"/>
                  </a:lnTo>
                  <a:lnTo>
                    <a:pt x="1384" y="735"/>
                  </a:lnTo>
                  <a:lnTo>
                    <a:pt x="1384" y="733"/>
                  </a:lnTo>
                  <a:lnTo>
                    <a:pt x="1384" y="733"/>
                  </a:lnTo>
                  <a:lnTo>
                    <a:pt x="1384" y="733"/>
                  </a:lnTo>
                  <a:lnTo>
                    <a:pt x="1384" y="735"/>
                  </a:lnTo>
                  <a:lnTo>
                    <a:pt x="1384" y="735"/>
                  </a:lnTo>
                  <a:lnTo>
                    <a:pt x="1384" y="735"/>
                  </a:lnTo>
                  <a:lnTo>
                    <a:pt x="1384" y="735"/>
                  </a:lnTo>
                  <a:lnTo>
                    <a:pt x="1384" y="733"/>
                  </a:lnTo>
                  <a:lnTo>
                    <a:pt x="1381" y="733"/>
                  </a:lnTo>
                  <a:lnTo>
                    <a:pt x="1381" y="733"/>
                  </a:lnTo>
                  <a:lnTo>
                    <a:pt x="1381" y="733"/>
                  </a:lnTo>
                  <a:lnTo>
                    <a:pt x="1381" y="733"/>
                  </a:lnTo>
                  <a:lnTo>
                    <a:pt x="1381" y="731"/>
                  </a:lnTo>
                  <a:lnTo>
                    <a:pt x="1381" y="731"/>
                  </a:lnTo>
                  <a:lnTo>
                    <a:pt x="1381" y="731"/>
                  </a:lnTo>
                  <a:lnTo>
                    <a:pt x="1381" y="731"/>
                  </a:lnTo>
                  <a:lnTo>
                    <a:pt x="1381" y="731"/>
                  </a:lnTo>
                  <a:lnTo>
                    <a:pt x="1381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4" y="731"/>
                  </a:lnTo>
                  <a:lnTo>
                    <a:pt x="1386" y="731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4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6" y="728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90" y="728"/>
                  </a:lnTo>
                  <a:lnTo>
                    <a:pt x="1390" y="728"/>
                  </a:lnTo>
                  <a:lnTo>
                    <a:pt x="1390" y="726"/>
                  </a:lnTo>
                  <a:lnTo>
                    <a:pt x="1390" y="726"/>
                  </a:lnTo>
                  <a:lnTo>
                    <a:pt x="1390" y="726"/>
                  </a:lnTo>
                  <a:lnTo>
                    <a:pt x="1390" y="726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88" y="728"/>
                  </a:lnTo>
                  <a:lnTo>
                    <a:pt x="1388" y="726"/>
                  </a:lnTo>
                  <a:lnTo>
                    <a:pt x="1388" y="726"/>
                  </a:lnTo>
                  <a:lnTo>
                    <a:pt x="1388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8" y="726"/>
                  </a:lnTo>
                  <a:lnTo>
                    <a:pt x="1388" y="726"/>
                  </a:lnTo>
                  <a:lnTo>
                    <a:pt x="1388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6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4" y="726"/>
                  </a:lnTo>
                  <a:lnTo>
                    <a:pt x="1384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4" y="724"/>
                  </a:lnTo>
                  <a:lnTo>
                    <a:pt x="1384" y="724"/>
                  </a:lnTo>
                  <a:lnTo>
                    <a:pt x="1384" y="724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6"/>
                  </a:lnTo>
                  <a:lnTo>
                    <a:pt x="1384" y="724"/>
                  </a:lnTo>
                  <a:lnTo>
                    <a:pt x="1384" y="724"/>
                  </a:lnTo>
                  <a:lnTo>
                    <a:pt x="1384" y="724"/>
                  </a:lnTo>
                  <a:lnTo>
                    <a:pt x="1384" y="724"/>
                  </a:lnTo>
                  <a:lnTo>
                    <a:pt x="1386" y="722"/>
                  </a:lnTo>
                  <a:lnTo>
                    <a:pt x="1386" y="722"/>
                  </a:lnTo>
                  <a:lnTo>
                    <a:pt x="1386" y="722"/>
                  </a:lnTo>
                  <a:lnTo>
                    <a:pt x="1386" y="722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6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4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22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22"/>
                  </a:lnTo>
                  <a:lnTo>
                    <a:pt x="1384" y="722"/>
                  </a:lnTo>
                  <a:lnTo>
                    <a:pt x="1386" y="722"/>
                  </a:lnTo>
                  <a:lnTo>
                    <a:pt x="1386" y="722"/>
                  </a:lnTo>
                  <a:lnTo>
                    <a:pt x="1386" y="722"/>
                  </a:lnTo>
                  <a:lnTo>
                    <a:pt x="1384" y="722"/>
                  </a:lnTo>
                  <a:lnTo>
                    <a:pt x="1384" y="722"/>
                  </a:lnTo>
                  <a:lnTo>
                    <a:pt x="1384" y="722"/>
                  </a:lnTo>
                  <a:lnTo>
                    <a:pt x="1384" y="722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9"/>
                  </a:lnTo>
                  <a:lnTo>
                    <a:pt x="1386" y="717"/>
                  </a:lnTo>
                  <a:lnTo>
                    <a:pt x="1386" y="717"/>
                  </a:lnTo>
                  <a:lnTo>
                    <a:pt x="1386" y="717"/>
                  </a:lnTo>
                  <a:lnTo>
                    <a:pt x="1386" y="717"/>
                  </a:lnTo>
                  <a:lnTo>
                    <a:pt x="1386" y="719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19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90" y="717"/>
                  </a:lnTo>
                  <a:lnTo>
                    <a:pt x="1390" y="717"/>
                  </a:lnTo>
                  <a:lnTo>
                    <a:pt x="1390" y="717"/>
                  </a:lnTo>
                  <a:lnTo>
                    <a:pt x="1390" y="717"/>
                  </a:lnTo>
                  <a:lnTo>
                    <a:pt x="1390" y="715"/>
                  </a:lnTo>
                  <a:lnTo>
                    <a:pt x="1393" y="715"/>
                  </a:lnTo>
                  <a:lnTo>
                    <a:pt x="1390" y="715"/>
                  </a:lnTo>
                  <a:lnTo>
                    <a:pt x="1390" y="715"/>
                  </a:lnTo>
                  <a:lnTo>
                    <a:pt x="1390" y="715"/>
                  </a:lnTo>
                  <a:lnTo>
                    <a:pt x="1390" y="715"/>
                  </a:lnTo>
                  <a:lnTo>
                    <a:pt x="1390" y="715"/>
                  </a:lnTo>
                  <a:lnTo>
                    <a:pt x="1390" y="715"/>
                  </a:lnTo>
                  <a:lnTo>
                    <a:pt x="1390" y="715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7"/>
                  </a:lnTo>
                  <a:lnTo>
                    <a:pt x="1388" y="715"/>
                  </a:lnTo>
                  <a:lnTo>
                    <a:pt x="1388" y="715"/>
                  </a:lnTo>
                  <a:lnTo>
                    <a:pt x="1388" y="715"/>
                  </a:lnTo>
                  <a:lnTo>
                    <a:pt x="1388" y="715"/>
                  </a:lnTo>
                  <a:lnTo>
                    <a:pt x="1388" y="715"/>
                  </a:lnTo>
                  <a:lnTo>
                    <a:pt x="1388" y="715"/>
                  </a:lnTo>
                  <a:lnTo>
                    <a:pt x="1388" y="715"/>
                  </a:lnTo>
                  <a:lnTo>
                    <a:pt x="1388" y="713"/>
                  </a:lnTo>
                  <a:lnTo>
                    <a:pt x="1390" y="713"/>
                  </a:lnTo>
                  <a:lnTo>
                    <a:pt x="1390" y="713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0" y="710"/>
                  </a:lnTo>
                  <a:lnTo>
                    <a:pt x="1393" y="710"/>
                  </a:lnTo>
                  <a:lnTo>
                    <a:pt x="1393" y="710"/>
                  </a:lnTo>
                  <a:lnTo>
                    <a:pt x="1393" y="710"/>
                  </a:lnTo>
                  <a:lnTo>
                    <a:pt x="1393" y="710"/>
                  </a:lnTo>
                  <a:lnTo>
                    <a:pt x="1395" y="710"/>
                  </a:lnTo>
                  <a:lnTo>
                    <a:pt x="1397" y="710"/>
                  </a:lnTo>
                  <a:lnTo>
                    <a:pt x="1397" y="71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468"/>
            <p:cNvSpPr>
              <a:spLocks noEditPoints="1"/>
            </p:cNvSpPr>
            <p:nvPr/>
          </p:nvSpPr>
          <p:spPr bwMode="auto">
            <a:xfrm>
              <a:off x="3394500" y="3237011"/>
              <a:ext cx="15043" cy="25071"/>
            </a:xfrm>
            <a:custGeom>
              <a:avLst/>
              <a:gdLst>
                <a:gd name="T0" fmla="*/ 5 w 9"/>
                <a:gd name="T1" fmla="*/ 13 h 15"/>
                <a:gd name="T2" fmla="*/ 5 w 9"/>
                <a:gd name="T3" fmla="*/ 13 h 15"/>
                <a:gd name="T4" fmla="*/ 5 w 9"/>
                <a:gd name="T5" fmla="*/ 15 h 15"/>
                <a:gd name="T6" fmla="*/ 5 w 9"/>
                <a:gd name="T7" fmla="*/ 15 h 15"/>
                <a:gd name="T8" fmla="*/ 7 w 9"/>
                <a:gd name="T9" fmla="*/ 13 h 15"/>
                <a:gd name="T10" fmla="*/ 7 w 9"/>
                <a:gd name="T11" fmla="*/ 13 h 15"/>
                <a:gd name="T12" fmla="*/ 7 w 9"/>
                <a:gd name="T13" fmla="*/ 13 h 15"/>
                <a:gd name="T14" fmla="*/ 9 w 9"/>
                <a:gd name="T15" fmla="*/ 13 h 15"/>
                <a:gd name="T16" fmla="*/ 9 w 9"/>
                <a:gd name="T17" fmla="*/ 15 h 15"/>
                <a:gd name="T18" fmla="*/ 7 w 9"/>
                <a:gd name="T19" fmla="*/ 15 h 15"/>
                <a:gd name="T20" fmla="*/ 7 w 9"/>
                <a:gd name="T21" fmla="*/ 15 h 15"/>
                <a:gd name="T22" fmla="*/ 7 w 9"/>
                <a:gd name="T23" fmla="*/ 15 h 15"/>
                <a:gd name="T24" fmla="*/ 7 w 9"/>
                <a:gd name="T25" fmla="*/ 15 h 15"/>
                <a:gd name="T26" fmla="*/ 2 w 9"/>
                <a:gd name="T27" fmla="*/ 15 h 15"/>
                <a:gd name="T28" fmla="*/ 0 w 9"/>
                <a:gd name="T29" fmla="*/ 15 h 15"/>
                <a:gd name="T30" fmla="*/ 2 w 9"/>
                <a:gd name="T31" fmla="*/ 15 h 15"/>
                <a:gd name="T32" fmla="*/ 2 w 9"/>
                <a:gd name="T33" fmla="*/ 15 h 15"/>
                <a:gd name="T34" fmla="*/ 2 w 9"/>
                <a:gd name="T35" fmla="*/ 15 h 15"/>
                <a:gd name="T36" fmla="*/ 2 w 9"/>
                <a:gd name="T37" fmla="*/ 13 h 15"/>
                <a:gd name="T38" fmla="*/ 2 w 9"/>
                <a:gd name="T39" fmla="*/ 13 h 15"/>
                <a:gd name="T40" fmla="*/ 2 w 9"/>
                <a:gd name="T41" fmla="*/ 13 h 15"/>
                <a:gd name="T42" fmla="*/ 2 w 9"/>
                <a:gd name="T43" fmla="*/ 13 h 15"/>
                <a:gd name="T44" fmla="*/ 2 w 9"/>
                <a:gd name="T45" fmla="*/ 13 h 15"/>
                <a:gd name="T46" fmla="*/ 5 w 9"/>
                <a:gd name="T47" fmla="*/ 13 h 15"/>
                <a:gd name="T48" fmla="*/ 5 w 9"/>
                <a:gd name="T49" fmla="*/ 13 h 15"/>
                <a:gd name="T50" fmla="*/ 5 w 9"/>
                <a:gd name="T51" fmla="*/ 13 h 15"/>
                <a:gd name="T52" fmla="*/ 7 w 9"/>
                <a:gd name="T53" fmla="*/ 0 h 15"/>
                <a:gd name="T54" fmla="*/ 7 w 9"/>
                <a:gd name="T55" fmla="*/ 0 h 15"/>
                <a:gd name="T56" fmla="*/ 7 w 9"/>
                <a:gd name="T57" fmla="*/ 0 h 15"/>
                <a:gd name="T58" fmla="*/ 7 w 9"/>
                <a:gd name="T59" fmla="*/ 0 h 15"/>
                <a:gd name="T60" fmla="*/ 7 w 9"/>
                <a:gd name="T61" fmla="*/ 0 h 15"/>
                <a:gd name="T62" fmla="*/ 7 w 9"/>
                <a:gd name="T63" fmla="*/ 0 h 15"/>
                <a:gd name="T64" fmla="*/ 7 w 9"/>
                <a:gd name="T65" fmla="*/ 2 h 15"/>
                <a:gd name="T66" fmla="*/ 5 w 9"/>
                <a:gd name="T67" fmla="*/ 2 h 15"/>
                <a:gd name="T68" fmla="*/ 5 w 9"/>
                <a:gd name="T69" fmla="*/ 0 h 15"/>
                <a:gd name="T70" fmla="*/ 5 w 9"/>
                <a:gd name="T71" fmla="*/ 0 h 15"/>
                <a:gd name="T72" fmla="*/ 5 w 9"/>
                <a:gd name="T73" fmla="*/ 0 h 15"/>
                <a:gd name="T74" fmla="*/ 7 w 9"/>
                <a:gd name="T75" fmla="*/ 0 h 15"/>
                <a:gd name="T76" fmla="*/ 7 w 9"/>
                <a:gd name="T77" fmla="*/ 0 h 15"/>
                <a:gd name="T78" fmla="*/ 7 w 9"/>
                <a:gd name="T79" fmla="*/ 0 h 15"/>
                <a:gd name="T80" fmla="*/ 7 w 9"/>
                <a:gd name="T81" fmla="*/ 0 h 15"/>
                <a:gd name="T82" fmla="*/ 2 w 9"/>
                <a:gd name="T83" fmla="*/ 0 h 15"/>
                <a:gd name="T84" fmla="*/ 2 w 9"/>
                <a:gd name="T85" fmla="*/ 0 h 15"/>
                <a:gd name="T86" fmla="*/ 5 w 9"/>
                <a:gd name="T87" fmla="*/ 0 h 15"/>
                <a:gd name="T88" fmla="*/ 5 w 9"/>
                <a:gd name="T89" fmla="*/ 2 h 15"/>
                <a:gd name="T90" fmla="*/ 2 w 9"/>
                <a:gd name="T91" fmla="*/ 2 h 15"/>
                <a:gd name="T92" fmla="*/ 2 w 9"/>
                <a:gd name="T93" fmla="*/ 2 h 15"/>
                <a:gd name="T94" fmla="*/ 2 w 9"/>
                <a:gd name="T95" fmla="*/ 0 h 15"/>
                <a:gd name="T96" fmla="*/ 2 w 9"/>
                <a:gd name="T97" fmla="*/ 2 h 15"/>
                <a:gd name="T98" fmla="*/ 2 w 9"/>
                <a:gd name="T99" fmla="*/ 0 h 15"/>
                <a:gd name="T100" fmla="*/ 2 w 9"/>
                <a:gd name="T101" fmla="*/ 0 h 15"/>
                <a:gd name="T102" fmla="*/ 2 w 9"/>
                <a:gd name="T103" fmla="*/ 0 h 15"/>
                <a:gd name="T104" fmla="*/ 0 w 9"/>
                <a:gd name="T105" fmla="*/ 0 h 15"/>
                <a:gd name="T106" fmla="*/ 0 w 9"/>
                <a:gd name="T107" fmla="*/ 0 h 15"/>
                <a:gd name="T108" fmla="*/ 0 w 9"/>
                <a:gd name="T109" fmla="*/ 0 h 15"/>
                <a:gd name="T110" fmla="*/ 0 w 9"/>
                <a:gd name="T111" fmla="*/ 0 h 15"/>
                <a:gd name="T112" fmla="*/ 2 w 9"/>
                <a:gd name="T113" fmla="*/ 0 h 15"/>
                <a:gd name="T114" fmla="*/ 2 w 9"/>
                <a:gd name="T115" fmla="*/ 0 h 15"/>
                <a:gd name="T116" fmla="*/ 2 w 9"/>
                <a:gd name="T11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" h="15">
                  <a:moveTo>
                    <a:pt x="5" y="13"/>
                  </a:moveTo>
                  <a:lnTo>
                    <a:pt x="5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13"/>
                  </a:lnTo>
                  <a:lnTo>
                    <a:pt x="9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469"/>
            <p:cNvSpPr>
              <a:spLocks noEditPoints="1"/>
            </p:cNvSpPr>
            <p:nvPr/>
          </p:nvSpPr>
          <p:spPr bwMode="auto">
            <a:xfrm>
              <a:off x="5403553" y="1578957"/>
              <a:ext cx="292500" cy="409499"/>
            </a:xfrm>
            <a:custGeom>
              <a:avLst/>
              <a:gdLst>
                <a:gd name="T0" fmla="*/ 70 w 175"/>
                <a:gd name="T1" fmla="*/ 166 h 245"/>
                <a:gd name="T2" fmla="*/ 38 w 175"/>
                <a:gd name="T3" fmla="*/ 128 h 245"/>
                <a:gd name="T4" fmla="*/ 43 w 175"/>
                <a:gd name="T5" fmla="*/ 139 h 245"/>
                <a:gd name="T6" fmla="*/ 25 w 175"/>
                <a:gd name="T7" fmla="*/ 148 h 245"/>
                <a:gd name="T8" fmla="*/ 0 w 175"/>
                <a:gd name="T9" fmla="*/ 142 h 245"/>
                <a:gd name="T10" fmla="*/ 52 w 175"/>
                <a:gd name="T11" fmla="*/ 119 h 245"/>
                <a:gd name="T12" fmla="*/ 36 w 175"/>
                <a:gd name="T13" fmla="*/ 115 h 245"/>
                <a:gd name="T14" fmla="*/ 38 w 175"/>
                <a:gd name="T15" fmla="*/ 108 h 245"/>
                <a:gd name="T16" fmla="*/ 41 w 175"/>
                <a:gd name="T17" fmla="*/ 94 h 245"/>
                <a:gd name="T18" fmla="*/ 36 w 175"/>
                <a:gd name="T19" fmla="*/ 99 h 245"/>
                <a:gd name="T20" fmla="*/ 16 w 175"/>
                <a:gd name="T21" fmla="*/ 83 h 245"/>
                <a:gd name="T22" fmla="*/ 16 w 175"/>
                <a:gd name="T23" fmla="*/ 81 h 245"/>
                <a:gd name="T24" fmla="*/ 23 w 175"/>
                <a:gd name="T25" fmla="*/ 70 h 245"/>
                <a:gd name="T26" fmla="*/ 38 w 175"/>
                <a:gd name="T27" fmla="*/ 72 h 245"/>
                <a:gd name="T28" fmla="*/ 38 w 175"/>
                <a:gd name="T29" fmla="*/ 81 h 245"/>
                <a:gd name="T30" fmla="*/ 29 w 175"/>
                <a:gd name="T31" fmla="*/ 74 h 245"/>
                <a:gd name="T32" fmla="*/ 27 w 175"/>
                <a:gd name="T33" fmla="*/ 56 h 245"/>
                <a:gd name="T34" fmla="*/ 32 w 175"/>
                <a:gd name="T35" fmla="*/ 63 h 245"/>
                <a:gd name="T36" fmla="*/ 27 w 175"/>
                <a:gd name="T37" fmla="*/ 63 h 245"/>
                <a:gd name="T38" fmla="*/ 27 w 175"/>
                <a:gd name="T39" fmla="*/ 56 h 245"/>
                <a:gd name="T40" fmla="*/ 74 w 175"/>
                <a:gd name="T41" fmla="*/ 65 h 245"/>
                <a:gd name="T42" fmla="*/ 74 w 175"/>
                <a:gd name="T43" fmla="*/ 72 h 245"/>
                <a:gd name="T44" fmla="*/ 108 w 175"/>
                <a:gd name="T45" fmla="*/ 79 h 245"/>
                <a:gd name="T46" fmla="*/ 85 w 175"/>
                <a:gd name="T47" fmla="*/ 106 h 245"/>
                <a:gd name="T48" fmla="*/ 117 w 175"/>
                <a:gd name="T49" fmla="*/ 117 h 245"/>
                <a:gd name="T50" fmla="*/ 137 w 175"/>
                <a:gd name="T51" fmla="*/ 146 h 245"/>
                <a:gd name="T52" fmla="*/ 144 w 175"/>
                <a:gd name="T53" fmla="*/ 178 h 245"/>
                <a:gd name="T54" fmla="*/ 166 w 175"/>
                <a:gd name="T55" fmla="*/ 198 h 245"/>
                <a:gd name="T56" fmla="*/ 155 w 175"/>
                <a:gd name="T57" fmla="*/ 211 h 245"/>
                <a:gd name="T58" fmla="*/ 124 w 175"/>
                <a:gd name="T59" fmla="*/ 223 h 245"/>
                <a:gd name="T60" fmla="*/ 88 w 175"/>
                <a:gd name="T61" fmla="*/ 227 h 245"/>
                <a:gd name="T62" fmla="*/ 65 w 175"/>
                <a:gd name="T63" fmla="*/ 234 h 245"/>
                <a:gd name="T64" fmla="*/ 45 w 175"/>
                <a:gd name="T65" fmla="*/ 241 h 245"/>
                <a:gd name="T66" fmla="*/ 65 w 175"/>
                <a:gd name="T67" fmla="*/ 220 h 245"/>
                <a:gd name="T68" fmla="*/ 90 w 175"/>
                <a:gd name="T69" fmla="*/ 207 h 245"/>
                <a:gd name="T70" fmla="*/ 65 w 175"/>
                <a:gd name="T71" fmla="*/ 205 h 245"/>
                <a:gd name="T72" fmla="*/ 52 w 175"/>
                <a:gd name="T73" fmla="*/ 202 h 245"/>
                <a:gd name="T74" fmla="*/ 72 w 175"/>
                <a:gd name="T75" fmla="*/ 180 h 245"/>
                <a:gd name="T76" fmla="*/ 81 w 175"/>
                <a:gd name="T77" fmla="*/ 169 h 245"/>
                <a:gd name="T78" fmla="*/ 94 w 175"/>
                <a:gd name="T79" fmla="*/ 146 h 245"/>
                <a:gd name="T80" fmla="*/ 90 w 175"/>
                <a:gd name="T81" fmla="*/ 130 h 245"/>
                <a:gd name="T82" fmla="*/ 67 w 175"/>
                <a:gd name="T83" fmla="*/ 135 h 245"/>
                <a:gd name="T84" fmla="*/ 58 w 175"/>
                <a:gd name="T85" fmla="*/ 124 h 245"/>
                <a:gd name="T86" fmla="*/ 58 w 175"/>
                <a:gd name="T87" fmla="*/ 108 h 245"/>
                <a:gd name="T88" fmla="*/ 52 w 175"/>
                <a:gd name="T89" fmla="*/ 112 h 245"/>
                <a:gd name="T90" fmla="*/ 47 w 175"/>
                <a:gd name="T91" fmla="*/ 106 h 245"/>
                <a:gd name="T92" fmla="*/ 50 w 175"/>
                <a:gd name="T93" fmla="*/ 94 h 245"/>
                <a:gd name="T94" fmla="*/ 43 w 175"/>
                <a:gd name="T95" fmla="*/ 92 h 245"/>
                <a:gd name="T96" fmla="*/ 45 w 175"/>
                <a:gd name="T97" fmla="*/ 83 h 245"/>
                <a:gd name="T98" fmla="*/ 43 w 175"/>
                <a:gd name="T99" fmla="*/ 74 h 245"/>
                <a:gd name="T100" fmla="*/ 47 w 175"/>
                <a:gd name="T101" fmla="*/ 63 h 245"/>
                <a:gd name="T102" fmla="*/ 52 w 175"/>
                <a:gd name="T103" fmla="*/ 56 h 245"/>
                <a:gd name="T104" fmla="*/ 63 w 175"/>
                <a:gd name="T105" fmla="*/ 49 h 245"/>
                <a:gd name="T106" fmla="*/ 94 w 175"/>
                <a:gd name="T107" fmla="*/ 45 h 245"/>
                <a:gd name="T108" fmla="*/ 97 w 175"/>
                <a:gd name="T109" fmla="*/ 40 h 245"/>
                <a:gd name="T110" fmla="*/ 99 w 175"/>
                <a:gd name="T111" fmla="*/ 38 h 245"/>
                <a:gd name="T112" fmla="*/ 99 w 175"/>
                <a:gd name="T113" fmla="*/ 34 h 245"/>
                <a:gd name="T114" fmla="*/ 121 w 175"/>
                <a:gd name="T115" fmla="*/ 16 h 245"/>
                <a:gd name="T116" fmla="*/ 124 w 175"/>
                <a:gd name="T117" fmla="*/ 9 h 245"/>
                <a:gd name="T118" fmla="*/ 126 w 175"/>
                <a:gd name="T119" fmla="*/ 13 h 245"/>
                <a:gd name="T120" fmla="*/ 121 w 175"/>
                <a:gd name="T121" fmla="*/ 13 h 245"/>
                <a:gd name="T122" fmla="*/ 119 w 175"/>
                <a:gd name="T123" fmla="*/ 7 h 245"/>
                <a:gd name="T124" fmla="*/ 124 w 175"/>
                <a:gd name="T125" fmla="*/ 4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5" h="245">
                  <a:moveTo>
                    <a:pt x="121" y="225"/>
                  </a:move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4" y="229"/>
                  </a:lnTo>
                  <a:lnTo>
                    <a:pt x="124" y="229"/>
                  </a:lnTo>
                  <a:lnTo>
                    <a:pt x="124" y="229"/>
                  </a:lnTo>
                  <a:lnTo>
                    <a:pt x="124" y="229"/>
                  </a:lnTo>
                  <a:lnTo>
                    <a:pt x="121" y="229"/>
                  </a:lnTo>
                  <a:lnTo>
                    <a:pt x="119" y="229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7"/>
                  </a:lnTo>
                  <a:lnTo>
                    <a:pt x="117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21" y="225"/>
                  </a:lnTo>
                  <a:close/>
                  <a:moveTo>
                    <a:pt x="126" y="225"/>
                  </a:move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6" y="225"/>
                  </a:lnTo>
                  <a:close/>
                  <a:moveTo>
                    <a:pt x="162" y="211"/>
                  </a:moveTo>
                  <a:lnTo>
                    <a:pt x="160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0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close/>
                  <a:moveTo>
                    <a:pt x="61" y="166"/>
                  </a:moveTo>
                  <a:lnTo>
                    <a:pt x="61" y="166"/>
                  </a:lnTo>
                  <a:lnTo>
                    <a:pt x="61" y="166"/>
                  </a:lnTo>
                  <a:lnTo>
                    <a:pt x="61" y="166"/>
                  </a:lnTo>
                  <a:lnTo>
                    <a:pt x="63" y="166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6"/>
                  </a:lnTo>
                  <a:lnTo>
                    <a:pt x="61" y="166"/>
                  </a:lnTo>
                  <a:lnTo>
                    <a:pt x="61" y="166"/>
                  </a:lnTo>
                  <a:close/>
                  <a:moveTo>
                    <a:pt x="70" y="169"/>
                  </a:move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5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71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9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67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6"/>
                  </a:lnTo>
                  <a:lnTo>
                    <a:pt x="70" y="169"/>
                  </a:lnTo>
                  <a:lnTo>
                    <a:pt x="70" y="169"/>
                  </a:lnTo>
                  <a:close/>
                  <a:moveTo>
                    <a:pt x="32" y="124"/>
                  </a:moveTo>
                  <a:lnTo>
                    <a:pt x="32" y="124"/>
                  </a:lnTo>
                  <a:lnTo>
                    <a:pt x="32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8" y="124"/>
                  </a:lnTo>
                  <a:lnTo>
                    <a:pt x="38" y="124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0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3" y="133"/>
                  </a:lnTo>
                  <a:lnTo>
                    <a:pt x="45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1" y="135"/>
                  </a:lnTo>
                  <a:lnTo>
                    <a:pt x="41" y="135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3" y="137"/>
                  </a:lnTo>
                  <a:lnTo>
                    <a:pt x="43" y="137"/>
                  </a:lnTo>
                  <a:lnTo>
                    <a:pt x="43" y="137"/>
                  </a:lnTo>
                  <a:lnTo>
                    <a:pt x="43" y="137"/>
                  </a:lnTo>
                  <a:lnTo>
                    <a:pt x="43" y="137"/>
                  </a:lnTo>
                  <a:lnTo>
                    <a:pt x="43" y="137"/>
                  </a:lnTo>
                  <a:lnTo>
                    <a:pt x="45" y="137"/>
                  </a:lnTo>
                  <a:lnTo>
                    <a:pt x="45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7" y="137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7" y="142"/>
                  </a:lnTo>
                  <a:lnTo>
                    <a:pt x="47" y="142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7" y="144"/>
                  </a:lnTo>
                  <a:lnTo>
                    <a:pt x="45" y="144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5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8"/>
                  </a:lnTo>
                  <a:lnTo>
                    <a:pt x="41" y="148"/>
                  </a:lnTo>
                  <a:lnTo>
                    <a:pt x="41" y="148"/>
                  </a:lnTo>
                  <a:lnTo>
                    <a:pt x="41" y="148"/>
                  </a:lnTo>
                  <a:lnTo>
                    <a:pt x="41" y="148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8"/>
                  </a:lnTo>
                  <a:lnTo>
                    <a:pt x="34" y="148"/>
                  </a:lnTo>
                  <a:lnTo>
                    <a:pt x="34" y="151"/>
                  </a:lnTo>
                  <a:lnTo>
                    <a:pt x="34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8" y="146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39"/>
                  </a:lnTo>
                  <a:lnTo>
                    <a:pt x="2" y="139"/>
                  </a:lnTo>
                  <a:lnTo>
                    <a:pt x="2" y="139"/>
                  </a:lnTo>
                  <a:lnTo>
                    <a:pt x="2" y="139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7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7" y="135"/>
                  </a:lnTo>
                  <a:lnTo>
                    <a:pt x="7" y="135"/>
                  </a:lnTo>
                  <a:lnTo>
                    <a:pt x="7" y="135"/>
                  </a:lnTo>
                  <a:lnTo>
                    <a:pt x="7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5" y="126"/>
                  </a:lnTo>
                  <a:lnTo>
                    <a:pt x="27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32" y="124"/>
                  </a:lnTo>
                  <a:lnTo>
                    <a:pt x="32" y="124"/>
                  </a:lnTo>
                  <a:close/>
                  <a:moveTo>
                    <a:pt x="54" y="119"/>
                  </a:moveTo>
                  <a:lnTo>
                    <a:pt x="54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4" y="112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4" y="117"/>
                  </a:lnTo>
                  <a:lnTo>
                    <a:pt x="54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9"/>
                  </a:lnTo>
                  <a:close/>
                  <a:moveTo>
                    <a:pt x="56" y="112"/>
                  </a:move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4" y="112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close/>
                  <a:moveTo>
                    <a:pt x="38" y="110"/>
                  </a:moveTo>
                  <a:lnTo>
                    <a:pt x="38" y="110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6" y="115"/>
                  </a:lnTo>
                  <a:lnTo>
                    <a:pt x="34" y="115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6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10"/>
                  </a:lnTo>
                  <a:lnTo>
                    <a:pt x="38" y="110"/>
                  </a:lnTo>
                  <a:close/>
                  <a:moveTo>
                    <a:pt x="38" y="103"/>
                  </a:move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4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8" y="103"/>
                  </a:lnTo>
                  <a:lnTo>
                    <a:pt x="38" y="103"/>
                  </a:lnTo>
                  <a:close/>
                  <a:moveTo>
                    <a:pt x="43" y="106"/>
                  </a:moveTo>
                  <a:lnTo>
                    <a:pt x="43" y="108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2"/>
                  </a:lnTo>
                  <a:lnTo>
                    <a:pt x="38" y="112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3" y="106"/>
                  </a:lnTo>
                  <a:close/>
                  <a:moveTo>
                    <a:pt x="45" y="103"/>
                  </a:move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close/>
                  <a:moveTo>
                    <a:pt x="47" y="101"/>
                  </a:move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close/>
                  <a:moveTo>
                    <a:pt x="47" y="99"/>
                  </a:moveTo>
                  <a:lnTo>
                    <a:pt x="47" y="99"/>
                  </a:lnTo>
                  <a:lnTo>
                    <a:pt x="47" y="99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close/>
                  <a:moveTo>
                    <a:pt x="50" y="97"/>
                  </a:moveTo>
                  <a:lnTo>
                    <a:pt x="47" y="97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50" y="97"/>
                  </a:lnTo>
                  <a:lnTo>
                    <a:pt x="50" y="97"/>
                  </a:lnTo>
                  <a:close/>
                  <a:moveTo>
                    <a:pt x="38" y="97"/>
                  </a:move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8" y="97"/>
                  </a:lnTo>
                  <a:close/>
                  <a:moveTo>
                    <a:pt x="25" y="97"/>
                  </a:moveTo>
                  <a:lnTo>
                    <a:pt x="25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4"/>
                  </a:lnTo>
                  <a:lnTo>
                    <a:pt x="23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close/>
                  <a:moveTo>
                    <a:pt x="41" y="92"/>
                  </a:moveTo>
                  <a:lnTo>
                    <a:pt x="41" y="94"/>
                  </a:lnTo>
                  <a:lnTo>
                    <a:pt x="41" y="94"/>
                  </a:lnTo>
                  <a:lnTo>
                    <a:pt x="41" y="94"/>
                  </a:lnTo>
                  <a:lnTo>
                    <a:pt x="41" y="94"/>
                  </a:lnTo>
                  <a:lnTo>
                    <a:pt x="41" y="94"/>
                  </a:lnTo>
                  <a:lnTo>
                    <a:pt x="41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8" y="99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4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41" y="92"/>
                  </a:lnTo>
                  <a:close/>
                  <a:moveTo>
                    <a:pt x="29" y="94"/>
                  </a:move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9" y="94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36" y="83"/>
                  </a:moveTo>
                  <a:lnTo>
                    <a:pt x="36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2" y="85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close/>
                  <a:moveTo>
                    <a:pt x="43" y="79"/>
                  </a:move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3" y="79"/>
                  </a:lnTo>
                  <a:lnTo>
                    <a:pt x="43" y="79"/>
                  </a:lnTo>
                  <a:close/>
                  <a:moveTo>
                    <a:pt x="18" y="76"/>
                  </a:move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6"/>
                  </a:lnTo>
                  <a:lnTo>
                    <a:pt x="18" y="76"/>
                  </a:lnTo>
                  <a:close/>
                  <a:moveTo>
                    <a:pt x="18" y="74"/>
                  </a:moveTo>
                  <a:lnTo>
                    <a:pt x="18" y="74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close/>
                  <a:moveTo>
                    <a:pt x="41" y="74"/>
                  </a:move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close/>
                  <a:moveTo>
                    <a:pt x="41" y="72"/>
                  </a:move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3" y="72"/>
                  </a:lnTo>
                  <a:lnTo>
                    <a:pt x="41" y="72"/>
                  </a:lnTo>
                  <a:close/>
                  <a:moveTo>
                    <a:pt x="20" y="70"/>
                  </a:moveTo>
                  <a:lnTo>
                    <a:pt x="20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3" y="72"/>
                  </a:lnTo>
                  <a:lnTo>
                    <a:pt x="20" y="72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8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close/>
                  <a:moveTo>
                    <a:pt x="36" y="70"/>
                  </a:move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8" y="70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4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32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4" y="72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2"/>
                  </a:lnTo>
                  <a:lnTo>
                    <a:pt x="34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close/>
                  <a:moveTo>
                    <a:pt x="20" y="70"/>
                  </a:moveTo>
                  <a:lnTo>
                    <a:pt x="20" y="70"/>
                  </a:lnTo>
                  <a:lnTo>
                    <a:pt x="20" y="70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70"/>
                  </a:lnTo>
                  <a:close/>
                  <a:moveTo>
                    <a:pt x="25" y="65"/>
                  </a:moveTo>
                  <a:lnTo>
                    <a:pt x="25" y="65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27" y="56"/>
                  </a:move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close/>
                  <a:moveTo>
                    <a:pt x="38" y="54"/>
                  </a:move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8" y="58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7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close/>
                  <a:moveTo>
                    <a:pt x="88" y="47"/>
                  </a:moveTo>
                  <a:lnTo>
                    <a:pt x="88" y="47"/>
                  </a:lnTo>
                  <a:lnTo>
                    <a:pt x="88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0" y="49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4"/>
                  </a:lnTo>
                  <a:lnTo>
                    <a:pt x="90" y="54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1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6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4" y="65"/>
                  </a:lnTo>
                  <a:lnTo>
                    <a:pt x="72" y="65"/>
                  </a:lnTo>
                  <a:lnTo>
                    <a:pt x="74" y="65"/>
                  </a:lnTo>
                  <a:lnTo>
                    <a:pt x="74" y="67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9" y="72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3" y="70"/>
                  </a:lnTo>
                  <a:lnTo>
                    <a:pt x="81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8" y="67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8" y="70"/>
                  </a:lnTo>
                  <a:lnTo>
                    <a:pt x="108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5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6" y="83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3" y="88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7" y="103"/>
                  </a:lnTo>
                  <a:lnTo>
                    <a:pt x="94" y="103"/>
                  </a:lnTo>
                  <a:lnTo>
                    <a:pt x="94" y="103"/>
                  </a:lnTo>
                  <a:lnTo>
                    <a:pt x="94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6" y="103"/>
                  </a:lnTo>
                  <a:lnTo>
                    <a:pt x="76" y="103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2" y="108"/>
                  </a:lnTo>
                  <a:lnTo>
                    <a:pt x="92" y="108"/>
                  </a:lnTo>
                  <a:lnTo>
                    <a:pt x="92" y="108"/>
                  </a:lnTo>
                  <a:lnTo>
                    <a:pt x="94" y="108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8"/>
                  </a:lnTo>
                  <a:lnTo>
                    <a:pt x="99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8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10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5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5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24" y="135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4" y="137"/>
                  </a:lnTo>
                  <a:lnTo>
                    <a:pt x="126" y="137"/>
                  </a:lnTo>
                  <a:lnTo>
                    <a:pt x="126" y="137"/>
                  </a:lnTo>
                  <a:lnTo>
                    <a:pt x="126" y="139"/>
                  </a:lnTo>
                  <a:lnTo>
                    <a:pt x="130" y="139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2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39" y="151"/>
                  </a:lnTo>
                  <a:lnTo>
                    <a:pt x="139" y="153"/>
                  </a:lnTo>
                  <a:lnTo>
                    <a:pt x="142" y="153"/>
                  </a:lnTo>
                  <a:lnTo>
                    <a:pt x="142" y="155"/>
                  </a:lnTo>
                  <a:lnTo>
                    <a:pt x="144" y="157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2"/>
                  </a:lnTo>
                  <a:lnTo>
                    <a:pt x="146" y="162"/>
                  </a:lnTo>
                  <a:lnTo>
                    <a:pt x="146" y="162"/>
                  </a:lnTo>
                  <a:lnTo>
                    <a:pt x="146" y="162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7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60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35" y="160"/>
                  </a:lnTo>
                  <a:lnTo>
                    <a:pt x="139" y="157"/>
                  </a:lnTo>
                  <a:lnTo>
                    <a:pt x="139" y="157"/>
                  </a:lnTo>
                  <a:lnTo>
                    <a:pt x="139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42" y="162"/>
                  </a:lnTo>
                  <a:lnTo>
                    <a:pt x="142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4" y="162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6" y="164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6"/>
                  </a:lnTo>
                  <a:lnTo>
                    <a:pt x="148" y="166"/>
                  </a:lnTo>
                  <a:lnTo>
                    <a:pt x="148" y="166"/>
                  </a:lnTo>
                  <a:lnTo>
                    <a:pt x="148" y="166"/>
                  </a:lnTo>
                  <a:lnTo>
                    <a:pt x="151" y="169"/>
                  </a:lnTo>
                  <a:lnTo>
                    <a:pt x="151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51" y="173"/>
                  </a:lnTo>
                  <a:lnTo>
                    <a:pt x="151" y="173"/>
                  </a:lnTo>
                  <a:lnTo>
                    <a:pt x="148" y="173"/>
                  </a:lnTo>
                  <a:lnTo>
                    <a:pt x="148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6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78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3" y="175"/>
                  </a:lnTo>
                  <a:lnTo>
                    <a:pt x="153" y="175"/>
                  </a:lnTo>
                  <a:lnTo>
                    <a:pt x="153" y="175"/>
                  </a:lnTo>
                  <a:lnTo>
                    <a:pt x="155" y="175"/>
                  </a:lnTo>
                  <a:lnTo>
                    <a:pt x="155" y="175"/>
                  </a:lnTo>
                  <a:lnTo>
                    <a:pt x="155" y="175"/>
                  </a:lnTo>
                  <a:lnTo>
                    <a:pt x="155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5"/>
                  </a:lnTo>
                  <a:lnTo>
                    <a:pt x="157" y="175"/>
                  </a:lnTo>
                  <a:lnTo>
                    <a:pt x="160" y="175"/>
                  </a:lnTo>
                  <a:lnTo>
                    <a:pt x="160" y="175"/>
                  </a:lnTo>
                  <a:lnTo>
                    <a:pt x="160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6" y="175"/>
                  </a:lnTo>
                  <a:lnTo>
                    <a:pt x="169" y="178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5" y="180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7"/>
                  </a:lnTo>
                  <a:lnTo>
                    <a:pt x="175" y="187"/>
                  </a:lnTo>
                  <a:lnTo>
                    <a:pt x="175" y="187"/>
                  </a:lnTo>
                  <a:lnTo>
                    <a:pt x="175" y="187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3" y="189"/>
                  </a:lnTo>
                  <a:lnTo>
                    <a:pt x="173" y="191"/>
                  </a:lnTo>
                  <a:lnTo>
                    <a:pt x="173" y="191"/>
                  </a:lnTo>
                  <a:lnTo>
                    <a:pt x="173" y="191"/>
                  </a:lnTo>
                  <a:lnTo>
                    <a:pt x="173" y="191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3" y="196"/>
                  </a:lnTo>
                  <a:lnTo>
                    <a:pt x="173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6"/>
                  </a:lnTo>
                  <a:lnTo>
                    <a:pt x="171" y="196"/>
                  </a:lnTo>
                  <a:lnTo>
                    <a:pt x="171" y="196"/>
                  </a:lnTo>
                  <a:lnTo>
                    <a:pt x="171" y="196"/>
                  </a:lnTo>
                  <a:lnTo>
                    <a:pt x="171" y="196"/>
                  </a:lnTo>
                  <a:lnTo>
                    <a:pt x="171" y="196"/>
                  </a:lnTo>
                  <a:lnTo>
                    <a:pt x="169" y="198"/>
                  </a:lnTo>
                  <a:lnTo>
                    <a:pt x="169" y="198"/>
                  </a:lnTo>
                  <a:lnTo>
                    <a:pt x="169" y="198"/>
                  </a:lnTo>
                  <a:lnTo>
                    <a:pt x="169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6"/>
                  </a:lnTo>
                  <a:lnTo>
                    <a:pt x="164" y="196"/>
                  </a:lnTo>
                  <a:lnTo>
                    <a:pt x="164" y="196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198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2"/>
                  </a:lnTo>
                  <a:lnTo>
                    <a:pt x="164" y="202"/>
                  </a:lnTo>
                  <a:lnTo>
                    <a:pt x="164" y="202"/>
                  </a:lnTo>
                  <a:lnTo>
                    <a:pt x="164" y="202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62" y="200"/>
                  </a:lnTo>
                  <a:lnTo>
                    <a:pt x="162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57" y="202"/>
                  </a:lnTo>
                  <a:lnTo>
                    <a:pt x="157" y="202"/>
                  </a:lnTo>
                  <a:lnTo>
                    <a:pt x="157" y="202"/>
                  </a:lnTo>
                  <a:lnTo>
                    <a:pt x="157" y="202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60" y="205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0" y="202"/>
                  </a:lnTo>
                  <a:lnTo>
                    <a:pt x="162" y="202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0" y="205"/>
                  </a:lnTo>
                  <a:lnTo>
                    <a:pt x="160" y="207"/>
                  </a:lnTo>
                  <a:lnTo>
                    <a:pt x="162" y="207"/>
                  </a:lnTo>
                  <a:lnTo>
                    <a:pt x="162" y="207"/>
                  </a:lnTo>
                  <a:lnTo>
                    <a:pt x="162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57" y="209"/>
                  </a:lnTo>
                  <a:lnTo>
                    <a:pt x="157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1" y="209"/>
                  </a:lnTo>
                  <a:lnTo>
                    <a:pt x="151" y="209"/>
                  </a:lnTo>
                  <a:lnTo>
                    <a:pt x="151" y="209"/>
                  </a:lnTo>
                  <a:lnTo>
                    <a:pt x="151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3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3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57" y="211"/>
                  </a:lnTo>
                  <a:lnTo>
                    <a:pt x="162" y="211"/>
                  </a:lnTo>
                  <a:lnTo>
                    <a:pt x="164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9" y="214"/>
                  </a:lnTo>
                  <a:lnTo>
                    <a:pt x="169" y="216"/>
                  </a:lnTo>
                  <a:lnTo>
                    <a:pt x="169" y="216"/>
                  </a:lnTo>
                  <a:lnTo>
                    <a:pt x="169" y="216"/>
                  </a:lnTo>
                  <a:lnTo>
                    <a:pt x="169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4" y="218"/>
                  </a:lnTo>
                  <a:lnTo>
                    <a:pt x="164" y="218"/>
                  </a:lnTo>
                  <a:lnTo>
                    <a:pt x="164" y="218"/>
                  </a:lnTo>
                  <a:lnTo>
                    <a:pt x="164" y="218"/>
                  </a:lnTo>
                  <a:lnTo>
                    <a:pt x="162" y="218"/>
                  </a:lnTo>
                  <a:lnTo>
                    <a:pt x="162" y="220"/>
                  </a:lnTo>
                  <a:lnTo>
                    <a:pt x="162" y="220"/>
                  </a:lnTo>
                  <a:lnTo>
                    <a:pt x="162" y="220"/>
                  </a:lnTo>
                  <a:lnTo>
                    <a:pt x="162" y="223"/>
                  </a:lnTo>
                  <a:lnTo>
                    <a:pt x="162" y="223"/>
                  </a:lnTo>
                  <a:lnTo>
                    <a:pt x="157" y="220"/>
                  </a:lnTo>
                  <a:lnTo>
                    <a:pt x="157" y="223"/>
                  </a:lnTo>
                  <a:lnTo>
                    <a:pt x="155" y="223"/>
                  </a:lnTo>
                  <a:lnTo>
                    <a:pt x="155" y="223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51" y="225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8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7" y="225"/>
                  </a:lnTo>
                  <a:lnTo>
                    <a:pt x="133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7"/>
                  </a:lnTo>
                  <a:lnTo>
                    <a:pt x="130" y="227"/>
                  </a:lnTo>
                  <a:lnTo>
                    <a:pt x="128" y="227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5"/>
                  </a:lnTo>
                  <a:lnTo>
                    <a:pt x="126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9" y="223"/>
                  </a:lnTo>
                  <a:lnTo>
                    <a:pt x="119" y="223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5" y="227"/>
                  </a:lnTo>
                  <a:lnTo>
                    <a:pt x="115" y="227"/>
                  </a:lnTo>
                  <a:lnTo>
                    <a:pt x="115" y="227"/>
                  </a:lnTo>
                  <a:lnTo>
                    <a:pt x="115" y="227"/>
                  </a:lnTo>
                  <a:lnTo>
                    <a:pt x="115" y="227"/>
                  </a:lnTo>
                  <a:lnTo>
                    <a:pt x="115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06" y="229"/>
                  </a:lnTo>
                  <a:lnTo>
                    <a:pt x="101" y="229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9" y="232"/>
                  </a:lnTo>
                  <a:lnTo>
                    <a:pt x="99" y="232"/>
                  </a:lnTo>
                  <a:lnTo>
                    <a:pt x="99" y="232"/>
                  </a:lnTo>
                  <a:lnTo>
                    <a:pt x="99" y="229"/>
                  </a:lnTo>
                  <a:lnTo>
                    <a:pt x="99" y="229"/>
                  </a:lnTo>
                  <a:lnTo>
                    <a:pt x="94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0" y="227"/>
                  </a:lnTo>
                  <a:lnTo>
                    <a:pt x="90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5" y="227"/>
                  </a:lnTo>
                  <a:lnTo>
                    <a:pt x="83" y="229"/>
                  </a:lnTo>
                  <a:lnTo>
                    <a:pt x="83" y="229"/>
                  </a:lnTo>
                  <a:lnTo>
                    <a:pt x="83" y="229"/>
                  </a:lnTo>
                  <a:lnTo>
                    <a:pt x="83" y="229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29"/>
                  </a:lnTo>
                  <a:lnTo>
                    <a:pt x="81" y="232"/>
                  </a:lnTo>
                  <a:lnTo>
                    <a:pt x="81" y="232"/>
                  </a:lnTo>
                  <a:lnTo>
                    <a:pt x="81" y="232"/>
                  </a:lnTo>
                  <a:lnTo>
                    <a:pt x="81" y="232"/>
                  </a:lnTo>
                  <a:lnTo>
                    <a:pt x="79" y="232"/>
                  </a:lnTo>
                  <a:lnTo>
                    <a:pt x="79" y="234"/>
                  </a:lnTo>
                  <a:lnTo>
                    <a:pt x="79" y="234"/>
                  </a:lnTo>
                  <a:lnTo>
                    <a:pt x="79" y="234"/>
                  </a:lnTo>
                  <a:lnTo>
                    <a:pt x="79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81" y="234"/>
                  </a:lnTo>
                  <a:lnTo>
                    <a:pt x="79" y="236"/>
                  </a:lnTo>
                  <a:lnTo>
                    <a:pt x="79" y="236"/>
                  </a:lnTo>
                  <a:lnTo>
                    <a:pt x="79" y="236"/>
                  </a:lnTo>
                  <a:lnTo>
                    <a:pt x="79" y="234"/>
                  </a:lnTo>
                  <a:lnTo>
                    <a:pt x="79" y="236"/>
                  </a:lnTo>
                  <a:lnTo>
                    <a:pt x="79" y="236"/>
                  </a:lnTo>
                  <a:lnTo>
                    <a:pt x="79" y="236"/>
                  </a:lnTo>
                  <a:lnTo>
                    <a:pt x="79" y="236"/>
                  </a:lnTo>
                  <a:lnTo>
                    <a:pt x="79" y="236"/>
                  </a:lnTo>
                  <a:lnTo>
                    <a:pt x="76" y="236"/>
                  </a:lnTo>
                  <a:lnTo>
                    <a:pt x="76" y="238"/>
                  </a:lnTo>
                  <a:lnTo>
                    <a:pt x="79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6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6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4" y="238"/>
                  </a:lnTo>
                  <a:lnTo>
                    <a:pt x="54" y="238"/>
                  </a:lnTo>
                  <a:lnTo>
                    <a:pt x="54" y="238"/>
                  </a:lnTo>
                  <a:lnTo>
                    <a:pt x="54" y="238"/>
                  </a:lnTo>
                  <a:lnTo>
                    <a:pt x="52" y="241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5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1"/>
                  </a:lnTo>
                  <a:lnTo>
                    <a:pt x="47" y="241"/>
                  </a:lnTo>
                  <a:lnTo>
                    <a:pt x="47" y="241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3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41"/>
                  </a:lnTo>
                  <a:lnTo>
                    <a:pt x="41" y="238"/>
                  </a:lnTo>
                  <a:lnTo>
                    <a:pt x="41" y="238"/>
                  </a:lnTo>
                  <a:lnTo>
                    <a:pt x="41" y="238"/>
                  </a:lnTo>
                  <a:lnTo>
                    <a:pt x="43" y="238"/>
                  </a:lnTo>
                  <a:lnTo>
                    <a:pt x="43" y="238"/>
                  </a:lnTo>
                  <a:lnTo>
                    <a:pt x="43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7" y="238"/>
                  </a:lnTo>
                  <a:lnTo>
                    <a:pt x="47" y="236"/>
                  </a:lnTo>
                  <a:lnTo>
                    <a:pt x="50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4" y="232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8" y="229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3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67" y="216"/>
                  </a:lnTo>
                  <a:lnTo>
                    <a:pt x="70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4" y="216"/>
                  </a:lnTo>
                  <a:lnTo>
                    <a:pt x="74" y="216"/>
                  </a:lnTo>
                  <a:lnTo>
                    <a:pt x="74" y="214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81" y="216"/>
                  </a:lnTo>
                  <a:lnTo>
                    <a:pt x="83" y="216"/>
                  </a:lnTo>
                  <a:lnTo>
                    <a:pt x="83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88" y="216"/>
                  </a:lnTo>
                  <a:lnTo>
                    <a:pt x="90" y="216"/>
                  </a:lnTo>
                  <a:lnTo>
                    <a:pt x="90" y="216"/>
                  </a:lnTo>
                  <a:lnTo>
                    <a:pt x="90" y="216"/>
                  </a:lnTo>
                  <a:lnTo>
                    <a:pt x="90" y="216"/>
                  </a:lnTo>
                  <a:lnTo>
                    <a:pt x="90" y="216"/>
                  </a:lnTo>
                  <a:lnTo>
                    <a:pt x="90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4"/>
                  </a:lnTo>
                  <a:lnTo>
                    <a:pt x="90" y="211"/>
                  </a:lnTo>
                  <a:lnTo>
                    <a:pt x="90" y="211"/>
                  </a:lnTo>
                  <a:lnTo>
                    <a:pt x="90" y="211"/>
                  </a:lnTo>
                  <a:lnTo>
                    <a:pt x="90" y="211"/>
                  </a:lnTo>
                  <a:lnTo>
                    <a:pt x="90" y="211"/>
                  </a:lnTo>
                  <a:lnTo>
                    <a:pt x="90" y="211"/>
                  </a:lnTo>
                  <a:lnTo>
                    <a:pt x="92" y="211"/>
                  </a:lnTo>
                  <a:lnTo>
                    <a:pt x="92" y="211"/>
                  </a:lnTo>
                  <a:lnTo>
                    <a:pt x="92" y="209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4" y="209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5"/>
                  </a:lnTo>
                  <a:lnTo>
                    <a:pt x="97" y="20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99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99" y="202"/>
                  </a:lnTo>
                  <a:lnTo>
                    <a:pt x="99" y="202"/>
                  </a:lnTo>
                  <a:lnTo>
                    <a:pt x="99" y="202"/>
                  </a:lnTo>
                  <a:lnTo>
                    <a:pt x="99" y="202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97" y="205"/>
                  </a:lnTo>
                  <a:lnTo>
                    <a:pt x="97" y="205"/>
                  </a:lnTo>
                  <a:lnTo>
                    <a:pt x="97" y="205"/>
                  </a:lnTo>
                  <a:lnTo>
                    <a:pt x="97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11"/>
                  </a:lnTo>
                  <a:lnTo>
                    <a:pt x="88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5" y="211"/>
                  </a:lnTo>
                  <a:lnTo>
                    <a:pt x="81" y="211"/>
                  </a:lnTo>
                  <a:lnTo>
                    <a:pt x="79" y="211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9"/>
                  </a:lnTo>
                  <a:lnTo>
                    <a:pt x="76" y="207"/>
                  </a:lnTo>
                  <a:lnTo>
                    <a:pt x="76" y="207"/>
                  </a:lnTo>
                  <a:lnTo>
                    <a:pt x="76" y="207"/>
                  </a:lnTo>
                  <a:lnTo>
                    <a:pt x="76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7"/>
                  </a:lnTo>
                  <a:lnTo>
                    <a:pt x="67" y="207"/>
                  </a:lnTo>
                  <a:lnTo>
                    <a:pt x="67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5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2"/>
                  </a:lnTo>
                  <a:lnTo>
                    <a:pt x="61" y="202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8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54" y="207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2" y="205"/>
                  </a:lnTo>
                  <a:lnTo>
                    <a:pt x="52" y="205"/>
                  </a:lnTo>
                  <a:lnTo>
                    <a:pt x="52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4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2"/>
                  </a:lnTo>
                  <a:lnTo>
                    <a:pt x="56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2" y="205"/>
                  </a:lnTo>
                  <a:lnTo>
                    <a:pt x="52" y="205"/>
                  </a:lnTo>
                  <a:lnTo>
                    <a:pt x="52" y="205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50" y="205"/>
                  </a:lnTo>
                  <a:lnTo>
                    <a:pt x="50" y="205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50" y="202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2" y="202"/>
                  </a:lnTo>
                  <a:lnTo>
                    <a:pt x="52" y="200"/>
                  </a:lnTo>
                  <a:lnTo>
                    <a:pt x="52" y="200"/>
                  </a:lnTo>
                  <a:lnTo>
                    <a:pt x="52" y="200"/>
                  </a:lnTo>
                  <a:lnTo>
                    <a:pt x="52" y="200"/>
                  </a:lnTo>
                  <a:lnTo>
                    <a:pt x="52" y="200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47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200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61" y="196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7" y="193"/>
                  </a:lnTo>
                  <a:lnTo>
                    <a:pt x="70" y="191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7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4" y="184"/>
                  </a:lnTo>
                  <a:lnTo>
                    <a:pt x="74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2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0" y="180"/>
                  </a:lnTo>
                  <a:lnTo>
                    <a:pt x="70" y="180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70" y="175"/>
                  </a:lnTo>
                  <a:lnTo>
                    <a:pt x="67" y="175"/>
                  </a:lnTo>
                  <a:lnTo>
                    <a:pt x="67" y="178"/>
                  </a:lnTo>
                  <a:lnTo>
                    <a:pt x="67" y="178"/>
                  </a:lnTo>
                  <a:lnTo>
                    <a:pt x="67" y="178"/>
                  </a:lnTo>
                  <a:lnTo>
                    <a:pt x="65" y="178"/>
                  </a:lnTo>
                  <a:lnTo>
                    <a:pt x="65" y="178"/>
                  </a:lnTo>
                  <a:lnTo>
                    <a:pt x="65" y="178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1" y="180"/>
                  </a:lnTo>
                  <a:lnTo>
                    <a:pt x="61" y="180"/>
                  </a:lnTo>
                  <a:lnTo>
                    <a:pt x="61" y="180"/>
                  </a:lnTo>
                  <a:lnTo>
                    <a:pt x="61" y="180"/>
                  </a:lnTo>
                  <a:lnTo>
                    <a:pt x="61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5" y="175"/>
                  </a:lnTo>
                  <a:lnTo>
                    <a:pt x="65" y="175"/>
                  </a:lnTo>
                  <a:lnTo>
                    <a:pt x="65" y="173"/>
                  </a:lnTo>
                  <a:lnTo>
                    <a:pt x="67" y="173"/>
                  </a:lnTo>
                  <a:lnTo>
                    <a:pt x="67" y="173"/>
                  </a:lnTo>
                  <a:lnTo>
                    <a:pt x="67" y="173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3"/>
                  </a:lnTo>
                  <a:lnTo>
                    <a:pt x="67" y="173"/>
                  </a:lnTo>
                  <a:lnTo>
                    <a:pt x="67" y="173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2" y="169"/>
                  </a:lnTo>
                  <a:lnTo>
                    <a:pt x="74" y="169"/>
                  </a:lnTo>
                  <a:lnTo>
                    <a:pt x="74" y="169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9"/>
                  </a:lnTo>
                  <a:lnTo>
                    <a:pt x="76" y="169"/>
                  </a:lnTo>
                  <a:lnTo>
                    <a:pt x="79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3" y="166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8" y="169"/>
                  </a:lnTo>
                  <a:lnTo>
                    <a:pt x="88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8" y="164"/>
                  </a:lnTo>
                  <a:lnTo>
                    <a:pt x="88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2" y="166"/>
                  </a:lnTo>
                  <a:lnTo>
                    <a:pt x="92" y="166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2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9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7" y="166"/>
                  </a:lnTo>
                  <a:lnTo>
                    <a:pt x="97" y="166"/>
                  </a:lnTo>
                  <a:lnTo>
                    <a:pt x="97" y="166"/>
                  </a:lnTo>
                  <a:lnTo>
                    <a:pt x="97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2" y="166"/>
                  </a:lnTo>
                  <a:lnTo>
                    <a:pt x="92" y="166"/>
                  </a:lnTo>
                  <a:lnTo>
                    <a:pt x="92" y="166"/>
                  </a:lnTo>
                  <a:lnTo>
                    <a:pt x="90" y="166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0"/>
                  </a:lnTo>
                  <a:lnTo>
                    <a:pt x="92" y="160"/>
                  </a:lnTo>
                  <a:lnTo>
                    <a:pt x="92" y="160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4" y="153"/>
                  </a:lnTo>
                  <a:lnTo>
                    <a:pt x="92" y="153"/>
                  </a:lnTo>
                  <a:lnTo>
                    <a:pt x="94" y="153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88" y="148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8" y="148"/>
                  </a:lnTo>
                  <a:lnTo>
                    <a:pt x="85" y="148"/>
                  </a:lnTo>
                  <a:lnTo>
                    <a:pt x="85" y="148"/>
                  </a:lnTo>
                  <a:lnTo>
                    <a:pt x="88" y="148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6"/>
                  </a:lnTo>
                  <a:lnTo>
                    <a:pt x="88" y="148"/>
                  </a:lnTo>
                  <a:lnTo>
                    <a:pt x="85" y="146"/>
                  </a:lnTo>
                  <a:lnTo>
                    <a:pt x="85" y="148"/>
                  </a:lnTo>
                  <a:lnTo>
                    <a:pt x="85" y="148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4"/>
                  </a:lnTo>
                  <a:lnTo>
                    <a:pt x="83" y="142"/>
                  </a:lnTo>
                  <a:lnTo>
                    <a:pt x="81" y="142"/>
                  </a:lnTo>
                  <a:lnTo>
                    <a:pt x="81" y="142"/>
                  </a:lnTo>
                  <a:lnTo>
                    <a:pt x="81" y="142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81" y="137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5" y="133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8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79" y="133"/>
                  </a:lnTo>
                  <a:lnTo>
                    <a:pt x="79" y="133"/>
                  </a:lnTo>
                  <a:lnTo>
                    <a:pt x="79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0" y="135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7" y="130"/>
                  </a:lnTo>
                  <a:lnTo>
                    <a:pt x="67" y="133"/>
                  </a:lnTo>
                  <a:lnTo>
                    <a:pt x="65" y="133"/>
                  </a:lnTo>
                  <a:lnTo>
                    <a:pt x="65" y="133"/>
                  </a:lnTo>
                  <a:lnTo>
                    <a:pt x="65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5" y="137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3" y="135"/>
                  </a:lnTo>
                  <a:lnTo>
                    <a:pt x="63" y="135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58" y="137"/>
                  </a:lnTo>
                  <a:lnTo>
                    <a:pt x="58" y="137"/>
                  </a:lnTo>
                  <a:lnTo>
                    <a:pt x="58" y="137"/>
                  </a:lnTo>
                  <a:lnTo>
                    <a:pt x="58" y="137"/>
                  </a:lnTo>
                  <a:lnTo>
                    <a:pt x="58" y="137"/>
                  </a:lnTo>
                  <a:lnTo>
                    <a:pt x="58" y="137"/>
                  </a:lnTo>
                  <a:lnTo>
                    <a:pt x="58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4" y="133"/>
                  </a:lnTo>
                  <a:lnTo>
                    <a:pt x="54" y="133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61" y="119"/>
                  </a:lnTo>
                  <a:lnTo>
                    <a:pt x="61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1" y="108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58" y="108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10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2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6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4" y="103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4"/>
                  </a:lnTo>
                  <a:lnTo>
                    <a:pt x="43" y="124"/>
                  </a:lnTo>
                  <a:lnTo>
                    <a:pt x="43" y="124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5" y="112"/>
                  </a:lnTo>
                  <a:lnTo>
                    <a:pt x="47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5" y="108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50" y="99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2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0" y="97"/>
                  </a:lnTo>
                  <a:lnTo>
                    <a:pt x="50" y="94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4" y="92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5" y="92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7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2" y="81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0" y="83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5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4" y="65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61" y="58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67" y="49"/>
                  </a:lnTo>
                  <a:lnTo>
                    <a:pt x="70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2" y="49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5" y="49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close/>
                  <a:moveTo>
                    <a:pt x="94" y="45"/>
                  </a:move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7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4" y="43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close/>
                  <a:moveTo>
                    <a:pt x="90" y="43"/>
                  </a:move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88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90" y="43"/>
                  </a:lnTo>
                  <a:close/>
                  <a:moveTo>
                    <a:pt x="90" y="38"/>
                  </a:move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8"/>
                  </a:lnTo>
                  <a:close/>
                  <a:moveTo>
                    <a:pt x="99" y="36"/>
                  </a:moveTo>
                  <a:lnTo>
                    <a:pt x="99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close/>
                  <a:moveTo>
                    <a:pt x="92" y="36"/>
                  </a:moveTo>
                  <a:lnTo>
                    <a:pt x="92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close/>
                  <a:moveTo>
                    <a:pt x="97" y="36"/>
                  </a:move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9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close/>
                  <a:moveTo>
                    <a:pt x="103" y="34"/>
                  </a:move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close/>
                  <a:moveTo>
                    <a:pt x="94" y="34"/>
                  </a:move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4"/>
                  </a:lnTo>
                  <a:close/>
                  <a:moveTo>
                    <a:pt x="121" y="16"/>
                  </a:move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close/>
                  <a:moveTo>
                    <a:pt x="126" y="13"/>
                  </a:move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close/>
                  <a:moveTo>
                    <a:pt x="128" y="11"/>
                  </a:move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close/>
                  <a:moveTo>
                    <a:pt x="130" y="4"/>
                  </a:move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close/>
                  <a:moveTo>
                    <a:pt x="121" y="4"/>
                  </a:move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4" y="11"/>
                  </a:lnTo>
                  <a:lnTo>
                    <a:pt x="124" y="11"/>
                  </a:lnTo>
                  <a:lnTo>
                    <a:pt x="124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4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4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4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7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close/>
                  <a:moveTo>
                    <a:pt x="126" y="2"/>
                  </a:move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4"/>
                  </a:lnTo>
                  <a:lnTo>
                    <a:pt x="124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close/>
                  <a:moveTo>
                    <a:pt x="130" y="2"/>
                  </a:move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470"/>
            <p:cNvSpPr>
              <a:spLocks noEditPoints="1"/>
            </p:cNvSpPr>
            <p:nvPr/>
          </p:nvSpPr>
          <p:spPr bwMode="auto">
            <a:xfrm>
              <a:off x="7409263" y="2927798"/>
              <a:ext cx="160457" cy="138728"/>
            </a:xfrm>
            <a:custGeom>
              <a:avLst/>
              <a:gdLst>
                <a:gd name="T0" fmla="*/ 90 w 96"/>
                <a:gd name="T1" fmla="*/ 9 h 83"/>
                <a:gd name="T2" fmla="*/ 92 w 96"/>
                <a:gd name="T3" fmla="*/ 11 h 83"/>
                <a:gd name="T4" fmla="*/ 94 w 96"/>
                <a:gd name="T5" fmla="*/ 14 h 83"/>
                <a:gd name="T6" fmla="*/ 96 w 96"/>
                <a:gd name="T7" fmla="*/ 18 h 83"/>
                <a:gd name="T8" fmla="*/ 96 w 96"/>
                <a:gd name="T9" fmla="*/ 27 h 83"/>
                <a:gd name="T10" fmla="*/ 92 w 96"/>
                <a:gd name="T11" fmla="*/ 32 h 83"/>
                <a:gd name="T12" fmla="*/ 87 w 96"/>
                <a:gd name="T13" fmla="*/ 29 h 83"/>
                <a:gd name="T14" fmla="*/ 87 w 96"/>
                <a:gd name="T15" fmla="*/ 27 h 83"/>
                <a:gd name="T16" fmla="*/ 85 w 96"/>
                <a:gd name="T17" fmla="*/ 34 h 83"/>
                <a:gd name="T18" fmla="*/ 85 w 96"/>
                <a:gd name="T19" fmla="*/ 38 h 83"/>
                <a:gd name="T20" fmla="*/ 85 w 96"/>
                <a:gd name="T21" fmla="*/ 45 h 83"/>
                <a:gd name="T22" fmla="*/ 90 w 96"/>
                <a:gd name="T23" fmla="*/ 47 h 83"/>
                <a:gd name="T24" fmla="*/ 85 w 96"/>
                <a:gd name="T25" fmla="*/ 50 h 83"/>
                <a:gd name="T26" fmla="*/ 81 w 96"/>
                <a:gd name="T27" fmla="*/ 52 h 83"/>
                <a:gd name="T28" fmla="*/ 81 w 96"/>
                <a:gd name="T29" fmla="*/ 59 h 83"/>
                <a:gd name="T30" fmla="*/ 78 w 96"/>
                <a:gd name="T31" fmla="*/ 72 h 83"/>
                <a:gd name="T32" fmla="*/ 69 w 96"/>
                <a:gd name="T33" fmla="*/ 83 h 83"/>
                <a:gd name="T34" fmla="*/ 45 w 96"/>
                <a:gd name="T35" fmla="*/ 79 h 83"/>
                <a:gd name="T36" fmla="*/ 22 w 96"/>
                <a:gd name="T37" fmla="*/ 74 h 83"/>
                <a:gd name="T38" fmla="*/ 11 w 96"/>
                <a:gd name="T39" fmla="*/ 63 h 83"/>
                <a:gd name="T40" fmla="*/ 0 w 96"/>
                <a:gd name="T41" fmla="*/ 50 h 83"/>
                <a:gd name="T42" fmla="*/ 0 w 96"/>
                <a:gd name="T43" fmla="*/ 43 h 83"/>
                <a:gd name="T44" fmla="*/ 2 w 96"/>
                <a:gd name="T45" fmla="*/ 43 h 83"/>
                <a:gd name="T46" fmla="*/ 4 w 96"/>
                <a:gd name="T47" fmla="*/ 45 h 83"/>
                <a:gd name="T48" fmla="*/ 4 w 96"/>
                <a:gd name="T49" fmla="*/ 50 h 83"/>
                <a:gd name="T50" fmla="*/ 9 w 96"/>
                <a:gd name="T51" fmla="*/ 52 h 83"/>
                <a:gd name="T52" fmla="*/ 11 w 96"/>
                <a:gd name="T53" fmla="*/ 52 h 83"/>
                <a:gd name="T54" fmla="*/ 13 w 96"/>
                <a:gd name="T55" fmla="*/ 52 h 83"/>
                <a:gd name="T56" fmla="*/ 18 w 96"/>
                <a:gd name="T57" fmla="*/ 50 h 83"/>
                <a:gd name="T58" fmla="*/ 20 w 96"/>
                <a:gd name="T59" fmla="*/ 47 h 83"/>
                <a:gd name="T60" fmla="*/ 22 w 96"/>
                <a:gd name="T61" fmla="*/ 45 h 83"/>
                <a:gd name="T62" fmla="*/ 24 w 96"/>
                <a:gd name="T63" fmla="*/ 47 h 83"/>
                <a:gd name="T64" fmla="*/ 29 w 96"/>
                <a:gd name="T65" fmla="*/ 47 h 83"/>
                <a:gd name="T66" fmla="*/ 29 w 96"/>
                <a:gd name="T67" fmla="*/ 47 h 83"/>
                <a:gd name="T68" fmla="*/ 33 w 96"/>
                <a:gd name="T69" fmla="*/ 47 h 83"/>
                <a:gd name="T70" fmla="*/ 36 w 96"/>
                <a:gd name="T71" fmla="*/ 47 h 83"/>
                <a:gd name="T72" fmla="*/ 40 w 96"/>
                <a:gd name="T73" fmla="*/ 47 h 83"/>
                <a:gd name="T74" fmla="*/ 42 w 96"/>
                <a:gd name="T75" fmla="*/ 50 h 83"/>
                <a:gd name="T76" fmla="*/ 45 w 96"/>
                <a:gd name="T77" fmla="*/ 50 h 83"/>
                <a:gd name="T78" fmla="*/ 51 w 96"/>
                <a:gd name="T79" fmla="*/ 47 h 83"/>
                <a:gd name="T80" fmla="*/ 56 w 96"/>
                <a:gd name="T81" fmla="*/ 45 h 83"/>
                <a:gd name="T82" fmla="*/ 60 w 96"/>
                <a:gd name="T83" fmla="*/ 41 h 83"/>
                <a:gd name="T84" fmla="*/ 60 w 96"/>
                <a:gd name="T85" fmla="*/ 41 h 83"/>
                <a:gd name="T86" fmla="*/ 60 w 96"/>
                <a:gd name="T87" fmla="*/ 38 h 83"/>
                <a:gd name="T88" fmla="*/ 58 w 96"/>
                <a:gd name="T89" fmla="*/ 38 h 83"/>
                <a:gd name="T90" fmla="*/ 60 w 96"/>
                <a:gd name="T91" fmla="*/ 38 h 83"/>
                <a:gd name="T92" fmla="*/ 63 w 96"/>
                <a:gd name="T93" fmla="*/ 36 h 83"/>
                <a:gd name="T94" fmla="*/ 63 w 96"/>
                <a:gd name="T95" fmla="*/ 34 h 83"/>
                <a:gd name="T96" fmla="*/ 63 w 96"/>
                <a:gd name="T97" fmla="*/ 32 h 83"/>
                <a:gd name="T98" fmla="*/ 65 w 96"/>
                <a:gd name="T99" fmla="*/ 32 h 83"/>
                <a:gd name="T100" fmla="*/ 72 w 96"/>
                <a:gd name="T101" fmla="*/ 25 h 83"/>
                <a:gd name="T102" fmla="*/ 74 w 96"/>
                <a:gd name="T103" fmla="*/ 23 h 83"/>
                <a:gd name="T104" fmla="*/ 74 w 96"/>
                <a:gd name="T105" fmla="*/ 18 h 83"/>
                <a:gd name="T106" fmla="*/ 76 w 96"/>
                <a:gd name="T107" fmla="*/ 18 h 83"/>
                <a:gd name="T108" fmla="*/ 78 w 96"/>
                <a:gd name="T109" fmla="*/ 14 h 83"/>
                <a:gd name="T110" fmla="*/ 78 w 96"/>
                <a:gd name="T111" fmla="*/ 14 h 83"/>
                <a:gd name="T112" fmla="*/ 81 w 96"/>
                <a:gd name="T113" fmla="*/ 11 h 83"/>
                <a:gd name="T114" fmla="*/ 83 w 96"/>
                <a:gd name="T115" fmla="*/ 9 h 83"/>
                <a:gd name="T116" fmla="*/ 85 w 96"/>
                <a:gd name="T117" fmla="*/ 9 h 83"/>
                <a:gd name="T118" fmla="*/ 87 w 96"/>
                <a:gd name="T119" fmla="*/ 5 h 83"/>
                <a:gd name="T120" fmla="*/ 87 w 96"/>
                <a:gd name="T121" fmla="*/ 2 h 83"/>
                <a:gd name="T122" fmla="*/ 94 w 96"/>
                <a:gd name="T123" fmla="*/ 23 h 83"/>
                <a:gd name="T124" fmla="*/ 94 w 96"/>
                <a:gd name="T125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" h="83">
                  <a:moveTo>
                    <a:pt x="90" y="5"/>
                  </a:move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29"/>
                  </a:lnTo>
                  <a:lnTo>
                    <a:pt x="87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7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0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78" y="65"/>
                  </a:lnTo>
                  <a:lnTo>
                    <a:pt x="78" y="68"/>
                  </a:lnTo>
                  <a:lnTo>
                    <a:pt x="78" y="72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8" y="79"/>
                  </a:lnTo>
                  <a:lnTo>
                    <a:pt x="78" y="81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4" y="83"/>
                  </a:lnTo>
                  <a:lnTo>
                    <a:pt x="69" y="83"/>
                  </a:lnTo>
                  <a:lnTo>
                    <a:pt x="67" y="81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58" y="81"/>
                  </a:lnTo>
                  <a:lnTo>
                    <a:pt x="56" y="81"/>
                  </a:lnTo>
                  <a:lnTo>
                    <a:pt x="54" y="81"/>
                  </a:lnTo>
                  <a:lnTo>
                    <a:pt x="49" y="79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2" y="79"/>
                  </a:lnTo>
                  <a:lnTo>
                    <a:pt x="38" y="79"/>
                  </a:lnTo>
                  <a:lnTo>
                    <a:pt x="36" y="77"/>
                  </a:lnTo>
                  <a:lnTo>
                    <a:pt x="33" y="77"/>
                  </a:lnTo>
                  <a:lnTo>
                    <a:pt x="29" y="77"/>
                  </a:lnTo>
                  <a:lnTo>
                    <a:pt x="27" y="77"/>
                  </a:lnTo>
                  <a:lnTo>
                    <a:pt x="24" y="77"/>
                  </a:lnTo>
                  <a:lnTo>
                    <a:pt x="22" y="77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18" y="70"/>
                  </a:lnTo>
                  <a:lnTo>
                    <a:pt x="15" y="68"/>
                  </a:lnTo>
                  <a:lnTo>
                    <a:pt x="15" y="65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7" y="56"/>
                  </a:lnTo>
                  <a:lnTo>
                    <a:pt x="7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3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9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60" y="41"/>
                  </a:lnTo>
                  <a:lnTo>
                    <a:pt x="58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0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7" y="29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5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3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471"/>
            <p:cNvSpPr>
              <a:spLocks noEditPoints="1"/>
            </p:cNvSpPr>
            <p:nvPr/>
          </p:nvSpPr>
          <p:spPr bwMode="auto">
            <a:xfrm>
              <a:off x="6327850" y="1894857"/>
              <a:ext cx="551570" cy="307542"/>
            </a:xfrm>
            <a:custGeom>
              <a:avLst/>
              <a:gdLst>
                <a:gd name="T0" fmla="*/ 182 w 330"/>
                <a:gd name="T1" fmla="*/ 141 h 184"/>
                <a:gd name="T2" fmla="*/ 150 w 330"/>
                <a:gd name="T3" fmla="*/ 153 h 184"/>
                <a:gd name="T4" fmla="*/ 146 w 330"/>
                <a:gd name="T5" fmla="*/ 153 h 184"/>
                <a:gd name="T6" fmla="*/ 150 w 330"/>
                <a:gd name="T7" fmla="*/ 159 h 184"/>
                <a:gd name="T8" fmla="*/ 139 w 330"/>
                <a:gd name="T9" fmla="*/ 162 h 184"/>
                <a:gd name="T10" fmla="*/ 121 w 330"/>
                <a:gd name="T11" fmla="*/ 159 h 184"/>
                <a:gd name="T12" fmla="*/ 130 w 330"/>
                <a:gd name="T13" fmla="*/ 150 h 184"/>
                <a:gd name="T14" fmla="*/ 137 w 330"/>
                <a:gd name="T15" fmla="*/ 137 h 184"/>
                <a:gd name="T16" fmla="*/ 153 w 330"/>
                <a:gd name="T17" fmla="*/ 139 h 184"/>
                <a:gd name="T18" fmla="*/ 148 w 330"/>
                <a:gd name="T19" fmla="*/ 128 h 184"/>
                <a:gd name="T20" fmla="*/ 139 w 330"/>
                <a:gd name="T21" fmla="*/ 117 h 184"/>
                <a:gd name="T22" fmla="*/ 132 w 330"/>
                <a:gd name="T23" fmla="*/ 106 h 184"/>
                <a:gd name="T24" fmla="*/ 117 w 330"/>
                <a:gd name="T25" fmla="*/ 99 h 184"/>
                <a:gd name="T26" fmla="*/ 101 w 330"/>
                <a:gd name="T27" fmla="*/ 90 h 184"/>
                <a:gd name="T28" fmla="*/ 85 w 330"/>
                <a:gd name="T29" fmla="*/ 92 h 184"/>
                <a:gd name="T30" fmla="*/ 56 w 330"/>
                <a:gd name="T31" fmla="*/ 106 h 184"/>
                <a:gd name="T32" fmla="*/ 24 w 330"/>
                <a:gd name="T33" fmla="*/ 101 h 184"/>
                <a:gd name="T34" fmla="*/ 11 w 330"/>
                <a:gd name="T35" fmla="*/ 99 h 184"/>
                <a:gd name="T36" fmla="*/ 0 w 330"/>
                <a:gd name="T37" fmla="*/ 88 h 184"/>
                <a:gd name="T38" fmla="*/ 9 w 330"/>
                <a:gd name="T39" fmla="*/ 76 h 184"/>
                <a:gd name="T40" fmla="*/ 9 w 330"/>
                <a:gd name="T41" fmla="*/ 61 h 184"/>
                <a:gd name="T42" fmla="*/ 27 w 330"/>
                <a:gd name="T43" fmla="*/ 38 h 184"/>
                <a:gd name="T44" fmla="*/ 18 w 330"/>
                <a:gd name="T45" fmla="*/ 22 h 184"/>
                <a:gd name="T46" fmla="*/ 47 w 330"/>
                <a:gd name="T47" fmla="*/ 11 h 184"/>
                <a:gd name="T48" fmla="*/ 90 w 330"/>
                <a:gd name="T49" fmla="*/ 20 h 184"/>
                <a:gd name="T50" fmla="*/ 108 w 330"/>
                <a:gd name="T51" fmla="*/ 18 h 184"/>
                <a:gd name="T52" fmla="*/ 123 w 330"/>
                <a:gd name="T53" fmla="*/ 22 h 184"/>
                <a:gd name="T54" fmla="*/ 141 w 330"/>
                <a:gd name="T55" fmla="*/ 25 h 184"/>
                <a:gd name="T56" fmla="*/ 141 w 330"/>
                <a:gd name="T57" fmla="*/ 18 h 184"/>
                <a:gd name="T58" fmla="*/ 144 w 330"/>
                <a:gd name="T59" fmla="*/ 11 h 184"/>
                <a:gd name="T60" fmla="*/ 164 w 330"/>
                <a:gd name="T61" fmla="*/ 7 h 184"/>
                <a:gd name="T62" fmla="*/ 188 w 330"/>
                <a:gd name="T63" fmla="*/ 0 h 184"/>
                <a:gd name="T64" fmla="*/ 206 w 330"/>
                <a:gd name="T65" fmla="*/ 11 h 184"/>
                <a:gd name="T66" fmla="*/ 211 w 330"/>
                <a:gd name="T67" fmla="*/ 22 h 184"/>
                <a:gd name="T68" fmla="*/ 229 w 330"/>
                <a:gd name="T69" fmla="*/ 31 h 184"/>
                <a:gd name="T70" fmla="*/ 242 w 330"/>
                <a:gd name="T71" fmla="*/ 45 h 184"/>
                <a:gd name="T72" fmla="*/ 269 w 330"/>
                <a:gd name="T73" fmla="*/ 45 h 184"/>
                <a:gd name="T74" fmla="*/ 296 w 330"/>
                <a:gd name="T75" fmla="*/ 56 h 184"/>
                <a:gd name="T76" fmla="*/ 323 w 330"/>
                <a:gd name="T77" fmla="*/ 63 h 184"/>
                <a:gd name="T78" fmla="*/ 325 w 330"/>
                <a:gd name="T79" fmla="*/ 81 h 184"/>
                <a:gd name="T80" fmla="*/ 328 w 330"/>
                <a:gd name="T81" fmla="*/ 94 h 184"/>
                <a:gd name="T82" fmla="*/ 314 w 330"/>
                <a:gd name="T83" fmla="*/ 103 h 184"/>
                <a:gd name="T84" fmla="*/ 301 w 330"/>
                <a:gd name="T85" fmla="*/ 121 h 184"/>
                <a:gd name="T86" fmla="*/ 276 w 330"/>
                <a:gd name="T87" fmla="*/ 130 h 184"/>
                <a:gd name="T88" fmla="*/ 256 w 330"/>
                <a:gd name="T89" fmla="*/ 135 h 184"/>
                <a:gd name="T90" fmla="*/ 247 w 330"/>
                <a:gd name="T91" fmla="*/ 135 h 184"/>
                <a:gd name="T92" fmla="*/ 263 w 330"/>
                <a:gd name="T93" fmla="*/ 162 h 184"/>
                <a:gd name="T94" fmla="*/ 278 w 330"/>
                <a:gd name="T95" fmla="*/ 162 h 184"/>
                <a:gd name="T96" fmla="*/ 265 w 330"/>
                <a:gd name="T97" fmla="*/ 171 h 184"/>
                <a:gd name="T98" fmla="*/ 249 w 330"/>
                <a:gd name="T99" fmla="*/ 175 h 184"/>
                <a:gd name="T100" fmla="*/ 231 w 330"/>
                <a:gd name="T101" fmla="*/ 184 h 184"/>
                <a:gd name="T102" fmla="*/ 224 w 330"/>
                <a:gd name="T103" fmla="*/ 175 h 184"/>
                <a:gd name="T104" fmla="*/ 202 w 330"/>
                <a:gd name="T105" fmla="*/ 162 h 184"/>
                <a:gd name="T106" fmla="*/ 220 w 330"/>
                <a:gd name="T107" fmla="*/ 150 h 184"/>
                <a:gd name="T108" fmla="*/ 218 w 330"/>
                <a:gd name="T109" fmla="*/ 144 h 184"/>
                <a:gd name="T110" fmla="*/ 204 w 330"/>
                <a:gd name="T111" fmla="*/ 144 h 184"/>
                <a:gd name="T112" fmla="*/ 188 w 330"/>
                <a:gd name="T113" fmla="*/ 139 h 184"/>
                <a:gd name="T114" fmla="*/ 200 w 330"/>
                <a:gd name="T115" fmla="*/ 132 h 184"/>
                <a:gd name="T116" fmla="*/ 184 w 330"/>
                <a:gd name="T117" fmla="*/ 124 h 184"/>
                <a:gd name="T118" fmla="*/ 186 w 330"/>
                <a:gd name="T119" fmla="*/ 126 h 184"/>
                <a:gd name="T120" fmla="*/ 179 w 330"/>
                <a:gd name="T121" fmla="*/ 128 h 184"/>
                <a:gd name="T122" fmla="*/ 166 w 330"/>
                <a:gd name="T123" fmla="*/ 13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0" h="184">
                  <a:moveTo>
                    <a:pt x="155" y="150"/>
                  </a:moveTo>
                  <a:lnTo>
                    <a:pt x="153" y="155"/>
                  </a:lnTo>
                  <a:lnTo>
                    <a:pt x="150" y="155"/>
                  </a:lnTo>
                  <a:lnTo>
                    <a:pt x="148" y="157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5" y="153"/>
                  </a:lnTo>
                  <a:lnTo>
                    <a:pt x="155" y="150"/>
                  </a:lnTo>
                  <a:close/>
                  <a:moveTo>
                    <a:pt x="202" y="146"/>
                  </a:moveTo>
                  <a:lnTo>
                    <a:pt x="204" y="146"/>
                  </a:lnTo>
                  <a:lnTo>
                    <a:pt x="206" y="146"/>
                  </a:lnTo>
                  <a:lnTo>
                    <a:pt x="206" y="146"/>
                  </a:lnTo>
                  <a:lnTo>
                    <a:pt x="206" y="146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close/>
                  <a:moveTo>
                    <a:pt x="193" y="144"/>
                  </a:moveTo>
                  <a:lnTo>
                    <a:pt x="193" y="144"/>
                  </a:lnTo>
                  <a:lnTo>
                    <a:pt x="193" y="144"/>
                  </a:lnTo>
                  <a:lnTo>
                    <a:pt x="191" y="144"/>
                  </a:lnTo>
                  <a:lnTo>
                    <a:pt x="184" y="141"/>
                  </a:lnTo>
                  <a:lnTo>
                    <a:pt x="182" y="141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79" y="139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8" y="141"/>
                  </a:lnTo>
                  <a:lnTo>
                    <a:pt x="191" y="141"/>
                  </a:lnTo>
                  <a:lnTo>
                    <a:pt x="193" y="144"/>
                  </a:lnTo>
                  <a:close/>
                  <a:moveTo>
                    <a:pt x="155" y="150"/>
                  </a:move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5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8" y="153"/>
                  </a:lnTo>
                  <a:lnTo>
                    <a:pt x="148" y="153"/>
                  </a:lnTo>
                  <a:lnTo>
                    <a:pt x="148" y="153"/>
                  </a:lnTo>
                  <a:lnTo>
                    <a:pt x="148" y="153"/>
                  </a:lnTo>
                  <a:lnTo>
                    <a:pt x="148" y="153"/>
                  </a:lnTo>
                  <a:lnTo>
                    <a:pt x="148" y="153"/>
                  </a:lnTo>
                  <a:lnTo>
                    <a:pt x="148" y="150"/>
                  </a:lnTo>
                  <a:lnTo>
                    <a:pt x="148" y="150"/>
                  </a:lnTo>
                  <a:lnTo>
                    <a:pt x="148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6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62"/>
                  </a:lnTo>
                  <a:lnTo>
                    <a:pt x="150" y="162"/>
                  </a:lnTo>
                  <a:lnTo>
                    <a:pt x="150" y="162"/>
                  </a:lnTo>
                  <a:lnTo>
                    <a:pt x="150" y="162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4"/>
                  </a:lnTo>
                  <a:lnTo>
                    <a:pt x="150" y="166"/>
                  </a:lnTo>
                  <a:lnTo>
                    <a:pt x="150" y="166"/>
                  </a:lnTo>
                  <a:lnTo>
                    <a:pt x="148" y="166"/>
                  </a:lnTo>
                  <a:lnTo>
                    <a:pt x="148" y="166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4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6" y="162"/>
                  </a:lnTo>
                  <a:lnTo>
                    <a:pt x="144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5" y="162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2" y="164"/>
                  </a:lnTo>
                  <a:lnTo>
                    <a:pt x="130" y="164"/>
                  </a:lnTo>
                  <a:lnTo>
                    <a:pt x="128" y="164"/>
                  </a:lnTo>
                  <a:lnTo>
                    <a:pt x="128" y="164"/>
                  </a:lnTo>
                  <a:lnTo>
                    <a:pt x="126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8" y="153"/>
                  </a:lnTo>
                  <a:lnTo>
                    <a:pt x="126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48"/>
                  </a:lnTo>
                  <a:lnTo>
                    <a:pt x="130" y="148"/>
                  </a:lnTo>
                  <a:lnTo>
                    <a:pt x="130" y="148"/>
                  </a:lnTo>
                  <a:lnTo>
                    <a:pt x="130" y="148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5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2" y="137"/>
                  </a:lnTo>
                  <a:lnTo>
                    <a:pt x="132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9"/>
                  </a:lnTo>
                  <a:lnTo>
                    <a:pt x="137" y="139"/>
                  </a:lnTo>
                  <a:lnTo>
                    <a:pt x="137" y="139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39" y="137"/>
                  </a:lnTo>
                  <a:lnTo>
                    <a:pt x="139" y="137"/>
                  </a:lnTo>
                  <a:lnTo>
                    <a:pt x="139" y="137"/>
                  </a:lnTo>
                  <a:lnTo>
                    <a:pt x="139" y="137"/>
                  </a:lnTo>
                  <a:lnTo>
                    <a:pt x="141" y="135"/>
                  </a:lnTo>
                  <a:lnTo>
                    <a:pt x="141" y="135"/>
                  </a:lnTo>
                  <a:lnTo>
                    <a:pt x="141" y="135"/>
                  </a:lnTo>
                  <a:lnTo>
                    <a:pt x="141" y="135"/>
                  </a:lnTo>
                  <a:lnTo>
                    <a:pt x="141" y="135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1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37"/>
                  </a:lnTo>
                  <a:lnTo>
                    <a:pt x="146" y="137"/>
                  </a:lnTo>
                  <a:lnTo>
                    <a:pt x="144" y="137"/>
                  </a:lnTo>
                  <a:lnTo>
                    <a:pt x="144" y="137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5"/>
                  </a:lnTo>
                  <a:lnTo>
                    <a:pt x="146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50" y="139"/>
                  </a:lnTo>
                  <a:lnTo>
                    <a:pt x="150" y="139"/>
                  </a:lnTo>
                  <a:lnTo>
                    <a:pt x="150" y="137"/>
                  </a:lnTo>
                  <a:lnTo>
                    <a:pt x="153" y="139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3" y="137"/>
                  </a:lnTo>
                  <a:lnTo>
                    <a:pt x="150" y="137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48" y="135"/>
                  </a:lnTo>
                  <a:lnTo>
                    <a:pt x="148" y="135"/>
                  </a:lnTo>
                  <a:lnTo>
                    <a:pt x="148" y="135"/>
                  </a:lnTo>
                  <a:lnTo>
                    <a:pt x="150" y="135"/>
                  </a:lnTo>
                  <a:lnTo>
                    <a:pt x="150" y="132"/>
                  </a:lnTo>
                  <a:lnTo>
                    <a:pt x="150" y="132"/>
                  </a:lnTo>
                  <a:lnTo>
                    <a:pt x="150" y="132"/>
                  </a:lnTo>
                  <a:lnTo>
                    <a:pt x="148" y="132"/>
                  </a:lnTo>
                  <a:lnTo>
                    <a:pt x="148" y="132"/>
                  </a:lnTo>
                  <a:lnTo>
                    <a:pt x="148" y="132"/>
                  </a:lnTo>
                  <a:lnTo>
                    <a:pt x="150" y="132"/>
                  </a:lnTo>
                  <a:lnTo>
                    <a:pt x="150" y="132"/>
                  </a:lnTo>
                  <a:lnTo>
                    <a:pt x="150" y="130"/>
                  </a:lnTo>
                  <a:lnTo>
                    <a:pt x="148" y="130"/>
                  </a:lnTo>
                  <a:lnTo>
                    <a:pt x="148" y="130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8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8"/>
                  </a:lnTo>
                  <a:lnTo>
                    <a:pt x="146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4"/>
                  </a:lnTo>
                  <a:lnTo>
                    <a:pt x="141" y="124"/>
                  </a:lnTo>
                  <a:lnTo>
                    <a:pt x="141" y="124"/>
                  </a:lnTo>
                  <a:lnTo>
                    <a:pt x="141" y="124"/>
                  </a:lnTo>
                  <a:lnTo>
                    <a:pt x="141" y="124"/>
                  </a:lnTo>
                  <a:lnTo>
                    <a:pt x="141" y="124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9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10"/>
                  </a:lnTo>
                  <a:lnTo>
                    <a:pt x="130" y="110"/>
                  </a:lnTo>
                  <a:lnTo>
                    <a:pt x="132" y="110"/>
                  </a:lnTo>
                  <a:lnTo>
                    <a:pt x="132" y="110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2" y="103"/>
                  </a:lnTo>
                  <a:lnTo>
                    <a:pt x="130" y="103"/>
                  </a:lnTo>
                  <a:lnTo>
                    <a:pt x="130" y="103"/>
                  </a:lnTo>
                  <a:lnTo>
                    <a:pt x="130" y="103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3" y="101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7"/>
                  </a:lnTo>
                  <a:lnTo>
                    <a:pt x="121" y="97"/>
                  </a:lnTo>
                  <a:lnTo>
                    <a:pt x="121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7" y="97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7" y="97"/>
                  </a:lnTo>
                  <a:lnTo>
                    <a:pt x="117" y="97"/>
                  </a:lnTo>
                  <a:lnTo>
                    <a:pt x="117" y="97"/>
                  </a:lnTo>
                  <a:lnTo>
                    <a:pt x="117" y="97"/>
                  </a:lnTo>
                  <a:lnTo>
                    <a:pt x="117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4"/>
                  </a:lnTo>
                  <a:lnTo>
                    <a:pt x="114" y="94"/>
                  </a:lnTo>
                  <a:lnTo>
                    <a:pt x="114" y="94"/>
                  </a:lnTo>
                  <a:lnTo>
                    <a:pt x="114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7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4"/>
                  </a:lnTo>
                  <a:lnTo>
                    <a:pt x="85" y="94"/>
                  </a:lnTo>
                  <a:lnTo>
                    <a:pt x="85" y="94"/>
                  </a:lnTo>
                  <a:lnTo>
                    <a:pt x="85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1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4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7" y="101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4" y="108"/>
                  </a:lnTo>
                  <a:lnTo>
                    <a:pt x="51" y="108"/>
                  </a:lnTo>
                  <a:lnTo>
                    <a:pt x="51" y="108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0" y="101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4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1" y="97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6" y="97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6" y="70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4" y="34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4" y="18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3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5" y="9"/>
                  </a:lnTo>
                  <a:lnTo>
                    <a:pt x="47" y="11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3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72" y="13"/>
                  </a:lnTo>
                  <a:lnTo>
                    <a:pt x="74" y="13"/>
                  </a:lnTo>
                  <a:lnTo>
                    <a:pt x="76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3" y="18"/>
                  </a:lnTo>
                  <a:lnTo>
                    <a:pt x="103" y="20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30" y="22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5" y="20"/>
                  </a:lnTo>
                  <a:lnTo>
                    <a:pt x="135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2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2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1" y="20"/>
                  </a:lnTo>
                  <a:lnTo>
                    <a:pt x="141" y="20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1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1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50" y="7"/>
                  </a:lnTo>
                  <a:lnTo>
                    <a:pt x="150" y="7"/>
                  </a:lnTo>
                  <a:lnTo>
                    <a:pt x="150" y="7"/>
                  </a:lnTo>
                  <a:lnTo>
                    <a:pt x="153" y="7"/>
                  </a:lnTo>
                  <a:lnTo>
                    <a:pt x="153" y="7"/>
                  </a:lnTo>
                  <a:lnTo>
                    <a:pt x="153" y="7"/>
                  </a:lnTo>
                  <a:lnTo>
                    <a:pt x="153" y="7"/>
                  </a:lnTo>
                  <a:lnTo>
                    <a:pt x="153" y="7"/>
                  </a:lnTo>
                  <a:lnTo>
                    <a:pt x="153" y="7"/>
                  </a:lnTo>
                  <a:lnTo>
                    <a:pt x="155" y="7"/>
                  </a:lnTo>
                  <a:lnTo>
                    <a:pt x="157" y="7"/>
                  </a:lnTo>
                  <a:lnTo>
                    <a:pt x="159" y="7"/>
                  </a:lnTo>
                  <a:lnTo>
                    <a:pt x="161" y="7"/>
                  </a:lnTo>
                  <a:lnTo>
                    <a:pt x="161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6" y="7"/>
                  </a:lnTo>
                  <a:lnTo>
                    <a:pt x="168" y="7"/>
                  </a:lnTo>
                  <a:lnTo>
                    <a:pt x="168" y="7"/>
                  </a:lnTo>
                  <a:lnTo>
                    <a:pt x="170" y="7"/>
                  </a:lnTo>
                  <a:lnTo>
                    <a:pt x="170" y="7"/>
                  </a:lnTo>
                  <a:lnTo>
                    <a:pt x="170" y="4"/>
                  </a:lnTo>
                  <a:lnTo>
                    <a:pt x="170" y="4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73" y="2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70" y="0"/>
                  </a:lnTo>
                  <a:lnTo>
                    <a:pt x="173" y="0"/>
                  </a:lnTo>
                  <a:lnTo>
                    <a:pt x="173" y="2"/>
                  </a:lnTo>
                  <a:lnTo>
                    <a:pt x="175" y="2"/>
                  </a:lnTo>
                  <a:lnTo>
                    <a:pt x="177" y="2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79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6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88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3" y="0"/>
                  </a:lnTo>
                  <a:lnTo>
                    <a:pt x="195" y="0"/>
                  </a:lnTo>
                  <a:lnTo>
                    <a:pt x="195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7" y="0"/>
                  </a:lnTo>
                  <a:lnTo>
                    <a:pt x="197" y="2"/>
                  </a:lnTo>
                  <a:lnTo>
                    <a:pt x="197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02" y="4"/>
                  </a:lnTo>
                  <a:lnTo>
                    <a:pt x="202" y="7"/>
                  </a:lnTo>
                  <a:lnTo>
                    <a:pt x="202" y="7"/>
                  </a:lnTo>
                  <a:lnTo>
                    <a:pt x="202" y="7"/>
                  </a:lnTo>
                  <a:lnTo>
                    <a:pt x="202" y="7"/>
                  </a:lnTo>
                  <a:lnTo>
                    <a:pt x="204" y="7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4" y="9"/>
                  </a:lnTo>
                  <a:lnTo>
                    <a:pt x="206" y="9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6" y="11"/>
                  </a:lnTo>
                  <a:lnTo>
                    <a:pt x="209" y="11"/>
                  </a:lnTo>
                  <a:lnTo>
                    <a:pt x="209" y="11"/>
                  </a:lnTo>
                  <a:lnTo>
                    <a:pt x="209" y="11"/>
                  </a:lnTo>
                  <a:lnTo>
                    <a:pt x="209" y="11"/>
                  </a:lnTo>
                  <a:lnTo>
                    <a:pt x="211" y="13"/>
                  </a:lnTo>
                  <a:lnTo>
                    <a:pt x="211" y="13"/>
                  </a:lnTo>
                  <a:lnTo>
                    <a:pt x="211" y="13"/>
                  </a:lnTo>
                  <a:lnTo>
                    <a:pt x="211" y="16"/>
                  </a:lnTo>
                  <a:lnTo>
                    <a:pt x="211" y="16"/>
                  </a:lnTo>
                  <a:lnTo>
                    <a:pt x="209" y="16"/>
                  </a:lnTo>
                  <a:lnTo>
                    <a:pt x="206" y="16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6" y="16"/>
                  </a:lnTo>
                  <a:lnTo>
                    <a:pt x="206" y="18"/>
                  </a:lnTo>
                  <a:lnTo>
                    <a:pt x="206" y="18"/>
                  </a:lnTo>
                  <a:lnTo>
                    <a:pt x="206" y="18"/>
                  </a:lnTo>
                  <a:lnTo>
                    <a:pt x="206" y="18"/>
                  </a:lnTo>
                  <a:lnTo>
                    <a:pt x="206" y="18"/>
                  </a:lnTo>
                  <a:lnTo>
                    <a:pt x="206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9" y="20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22"/>
                  </a:lnTo>
                  <a:lnTo>
                    <a:pt x="211" y="25"/>
                  </a:lnTo>
                  <a:lnTo>
                    <a:pt x="211" y="25"/>
                  </a:lnTo>
                  <a:lnTo>
                    <a:pt x="209" y="25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5"/>
                  </a:lnTo>
                  <a:lnTo>
                    <a:pt x="213" y="25"/>
                  </a:lnTo>
                  <a:lnTo>
                    <a:pt x="213" y="25"/>
                  </a:lnTo>
                  <a:lnTo>
                    <a:pt x="213" y="25"/>
                  </a:lnTo>
                  <a:lnTo>
                    <a:pt x="215" y="27"/>
                  </a:lnTo>
                  <a:lnTo>
                    <a:pt x="215" y="25"/>
                  </a:lnTo>
                  <a:lnTo>
                    <a:pt x="218" y="25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20" y="27"/>
                  </a:lnTo>
                  <a:lnTo>
                    <a:pt x="220" y="27"/>
                  </a:lnTo>
                  <a:lnTo>
                    <a:pt x="222" y="27"/>
                  </a:lnTo>
                  <a:lnTo>
                    <a:pt x="222" y="27"/>
                  </a:lnTo>
                  <a:lnTo>
                    <a:pt x="222" y="27"/>
                  </a:lnTo>
                  <a:lnTo>
                    <a:pt x="224" y="27"/>
                  </a:lnTo>
                  <a:lnTo>
                    <a:pt x="224" y="27"/>
                  </a:lnTo>
                  <a:lnTo>
                    <a:pt x="224" y="27"/>
                  </a:lnTo>
                  <a:lnTo>
                    <a:pt x="224" y="27"/>
                  </a:lnTo>
                  <a:lnTo>
                    <a:pt x="224" y="27"/>
                  </a:lnTo>
                  <a:lnTo>
                    <a:pt x="224" y="27"/>
                  </a:lnTo>
                  <a:lnTo>
                    <a:pt x="224" y="27"/>
                  </a:lnTo>
                  <a:lnTo>
                    <a:pt x="227" y="27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9" y="29"/>
                  </a:lnTo>
                  <a:lnTo>
                    <a:pt x="229" y="29"/>
                  </a:lnTo>
                  <a:lnTo>
                    <a:pt x="231" y="29"/>
                  </a:lnTo>
                  <a:lnTo>
                    <a:pt x="231" y="29"/>
                  </a:lnTo>
                  <a:lnTo>
                    <a:pt x="231" y="31"/>
                  </a:lnTo>
                  <a:lnTo>
                    <a:pt x="231" y="31"/>
                  </a:lnTo>
                  <a:lnTo>
                    <a:pt x="231" y="31"/>
                  </a:lnTo>
                  <a:lnTo>
                    <a:pt x="231" y="31"/>
                  </a:lnTo>
                  <a:lnTo>
                    <a:pt x="229" y="31"/>
                  </a:lnTo>
                  <a:lnTo>
                    <a:pt x="229" y="31"/>
                  </a:lnTo>
                  <a:lnTo>
                    <a:pt x="231" y="31"/>
                  </a:lnTo>
                  <a:lnTo>
                    <a:pt x="231" y="31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3" y="38"/>
                  </a:lnTo>
                  <a:lnTo>
                    <a:pt x="233" y="38"/>
                  </a:lnTo>
                  <a:lnTo>
                    <a:pt x="233" y="38"/>
                  </a:lnTo>
                  <a:lnTo>
                    <a:pt x="236" y="38"/>
                  </a:lnTo>
                  <a:lnTo>
                    <a:pt x="233" y="38"/>
                  </a:lnTo>
                  <a:lnTo>
                    <a:pt x="233" y="40"/>
                  </a:lnTo>
                  <a:lnTo>
                    <a:pt x="233" y="40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8" y="43"/>
                  </a:lnTo>
                  <a:lnTo>
                    <a:pt x="238" y="45"/>
                  </a:lnTo>
                  <a:lnTo>
                    <a:pt x="238" y="45"/>
                  </a:lnTo>
                  <a:lnTo>
                    <a:pt x="238" y="45"/>
                  </a:lnTo>
                  <a:lnTo>
                    <a:pt x="238" y="45"/>
                  </a:lnTo>
                  <a:lnTo>
                    <a:pt x="238" y="45"/>
                  </a:lnTo>
                  <a:lnTo>
                    <a:pt x="238" y="45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0" y="47"/>
                  </a:lnTo>
                  <a:lnTo>
                    <a:pt x="240" y="45"/>
                  </a:lnTo>
                  <a:lnTo>
                    <a:pt x="240" y="45"/>
                  </a:lnTo>
                  <a:lnTo>
                    <a:pt x="240" y="45"/>
                  </a:lnTo>
                  <a:lnTo>
                    <a:pt x="240" y="45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2" y="45"/>
                  </a:lnTo>
                  <a:lnTo>
                    <a:pt x="245" y="45"/>
                  </a:lnTo>
                  <a:lnTo>
                    <a:pt x="247" y="45"/>
                  </a:lnTo>
                  <a:lnTo>
                    <a:pt x="249" y="45"/>
                  </a:lnTo>
                  <a:lnTo>
                    <a:pt x="249" y="45"/>
                  </a:lnTo>
                  <a:lnTo>
                    <a:pt x="249" y="45"/>
                  </a:lnTo>
                  <a:lnTo>
                    <a:pt x="251" y="47"/>
                  </a:lnTo>
                  <a:lnTo>
                    <a:pt x="251" y="47"/>
                  </a:lnTo>
                  <a:lnTo>
                    <a:pt x="251" y="47"/>
                  </a:lnTo>
                  <a:lnTo>
                    <a:pt x="251" y="47"/>
                  </a:lnTo>
                  <a:lnTo>
                    <a:pt x="254" y="47"/>
                  </a:lnTo>
                  <a:lnTo>
                    <a:pt x="254" y="47"/>
                  </a:lnTo>
                  <a:lnTo>
                    <a:pt x="254" y="47"/>
                  </a:lnTo>
                  <a:lnTo>
                    <a:pt x="254" y="47"/>
                  </a:lnTo>
                  <a:lnTo>
                    <a:pt x="254" y="47"/>
                  </a:lnTo>
                  <a:lnTo>
                    <a:pt x="254" y="47"/>
                  </a:lnTo>
                  <a:lnTo>
                    <a:pt x="254" y="47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7"/>
                  </a:lnTo>
                  <a:lnTo>
                    <a:pt x="256" y="49"/>
                  </a:lnTo>
                  <a:lnTo>
                    <a:pt x="256" y="49"/>
                  </a:lnTo>
                  <a:lnTo>
                    <a:pt x="256" y="49"/>
                  </a:lnTo>
                  <a:lnTo>
                    <a:pt x="256" y="49"/>
                  </a:lnTo>
                  <a:lnTo>
                    <a:pt x="258" y="49"/>
                  </a:lnTo>
                  <a:lnTo>
                    <a:pt x="258" y="49"/>
                  </a:lnTo>
                  <a:lnTo>
                    <a:pt x="258" y="49"/>
                  </a:lnTo>
                  <a:lnTo>
                    <a:pt x="258" y="49"/>
                  </a:lnTo>
                  <a:lnTo>
                    <a:pt x="258" y="49"/>
                  </a:lnTo>
                  <a:lnTo>
                    <a:pt x="258" y="49"/>
                  </a:lnTo>
                  <a:lnTo>
                    <a:pt x="258" y="49"/>
                  </a:lnTo>
                  <a:lnTo>
                    <a:pt x="258" y="47"/>
                  </a:lnTo>
                  <a:lnTo>
                    <a:pt x="263" y="47"/>
                  </a:lnTo>
                  <a:lnTo>
                    <a:pt x="263" y="47"/>
                  </a:lnTo>
                  <a:lnTo>
                    <a:pt x="265" y="47"/>
                  </a:lnTo>
                  <a:lnTo>
                    <a:pt x="265" y="47"/>
                  </a:lnTo>
                  <a:lnTo>
                    <a:pt x="267" y="45"/>
                  </a:lnTo>
                  <a:lnTo>
                    <a:pt x="267" y="45"/>
                  </a:lnTo>
                  <a:lnTo>
                    <a:pt x="269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2" y="45"/>
                  </a:lnTo>
                  <a:lnTo>
                    <a:pt x="272" y="45"/>
                  </a:lnTo>
                  <a:lnTo>
                    <a:pt x="272" y="45"/>
                  </a:lnTo>
                  <a:lnTo>
                    <a:pt x="274" y="47"/>
                  </a:lnTo>
                  <a:lnTo>
                    <a:pt x="274" y="47"/>
                  </a:lnTo>
                  <a:lnTo>
                    <a:pt x="276" y="47"/>
                  </a:lnTo>
                  <a:lnTo>
                    <a:pt x="276" y="49"/>
                  </a:lnTo>
                  <a:lnTo>
                    <a:pt x="276" y="49"/>
                  </a:lnTo>
                  <a:lnTo>
                    <a:pt x="276" y="49"/>
                  </a:lnTo>
                  <a:lnTo>
                    <a:pt x="276" y="49"/>
                  </a:lnTo>
                  <a:lnTo>
                    <a:pt x="276" y="49"/>
                  </a:lnTo>
                  <a:lnTo>
                    <a:pt x="276" y="49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81" y="54"/>
                  </a:lnTo>
                  <a:lnTo>
                    <a:pt x="283" y="54"/>
                  </a:lnTo>
                  <a:lnTo>
                    <a:pt x="283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7" y="52"/>
                  </a:lnTo>
                  <a:lnTo>
                    <a:pt x="287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2" y="56"/>
                  </a:lnTo>
                  <a:lnTo>
                    <a:pt x="294" y="56"/>
                  </a:lnTo>
                  <a:lnTo>
                    <a:pt x="294" y="56"/>
                  </a:lnTo>
                  <a:lnTo>
                    <a:pt x="296" y="56"/>
                  </a:lnTo>
                  <a:lnTo>
                    <a:pt x="296" y="56"/>
                  </a:lnTo>
                  <a:lnTo>
                    <a:pt x="296" y="56"/>
                  </a:lnTo>
                  <a:lnTo>
                    <a:pt x="296" y="54"/>
                  </a:lnTo>
                  <a:lnTo>
                    <a:pt x="296" y="54"/>
                  </a:lnTo>
                  <a:lnTo>
                    <a:pt x="296" y="54"/>
                  </a:lnTo>
                  <a:lnTo>
                    <a:pt x="296" y="56"/>
                  </a:lnTo>
                  <a:lnTo>
                    <a:pt x="296" y="56"/>
                  </a:lnTo>
                  <a:lnTo>
                    <a:pt x="296" y="56"/>
                  </a:lnTo>
                  <a:lnTo>
                    <a:pt x="296" y="56"/>
                  </a:lnTo>
                  <a:lnTo>
                    <a:pt x="299" y="56"/>
                  </a:lnTo>
                  <a:lnTo>
                    <a:pt x="301" y="56"/>
                  </a:lnTo>
                  <a:lnTo>
                    <a:pt x="301" y="58"/>
                  </a:lnTo>
                  <a:lnTo>
                    <a:pt x="301" y="58"/>
                  </a:lnTo>
                  <a:lnTo>
                    <a:pt x="303" y="58"/>
                  </a:lnTo>
                  <a:lnTo>
                    <a:pt x="303" y="58"/>
                  </a:lnTo>
                  <a:lnTo>
                    <a:pt x="303" y="58"/>
                  </a:lnTo>
                  <a:lnTo>
                    <a:pt x="305" y="58"/>
                  </a:lnTo>
                  <a:lnTo>
                    <a:pt x="305" y="58"/>
                  </a:lnTo>
                  <a:lnTo>
                    <a:pt x="305" y="56"/>
                  </a:lnTo>
                  <a:lnTo>
                    <a:pt x="305" y="56"/>
                  </a:lnTo>
                  <a:lnTo>
                    <a:pt x="305" y="58"/>
                  </a:lnTo>
                  <a:lnTo>
                    <a:pt x="308" y="61"/>
                  </a:lnTo>
                  <a:lnTo>
                    <a:pt x="308" y="61"/>
                  </a:lnTo>
                  <a:lnTo>
                    <a:pt x="310" y="61"/>
                  </a:lnTo>
                  <a:lnTo>
                    <a:pt x="310" y="61"/>
                  </a:lnTo>
                  <a:lnTo>
                    <a:pt x="310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3"/>
                  </a:lnTo>
                  <a:lnTo>
                    <a:pt x="317" y="63"/>
                  </a:lnTo>
                  <a:lnTo>
                    <a:pt x="317" y="63"/>
                  </a:lnTo>
                  <a:lnTo>
                    <a:pt x="317" y="63"/>
                  </a:lnTo>
                  <a:lnTo>
                    <a:pt x="317" y="63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21" y="65"/>
                  </a:lnTo>
                  <a:lnTo>
                    <a:pt x="321" y="65"/>
                  </a:lnTo>
                  <a:lnTo>
                    <a:pt x="321" y="65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5" y="63"/>
                  </a:lnTo>
                  <a:lnTo>
                    <a:pt x="325" y="65"/>
                  </a:lnTo>
                  <a:lnTo>
                    <a:pt x="325" y="65"/>
                  </a:lnTo>
                  <a:lnTo>
                    <a:pt x="323" y="65"/>
                  </a:lnTo>
                  <a:lnTo>
                    <a:pt x="323" y="65"/>
                  </a:lnTo>
                  <a:lnTo>
                    <a:pt x="323" y="65"/>
                  </a:lnTo>
                  <a:lnTo>
                    <a:pt x="323" y="67"/>
                  </a:lnTo>
                  <a:lnTo>
                    <a:pt x="325" y="67"/>
                  </a:lnTo>
                  <a:lnTo>
                    <a:pt x="325" y="67"/>
                  </a:lnTo>
                  <a:lnTo>
                    <a:pt x="325" y="70"/>
                  </a:lnTo>
                  <a:lnTo>
                    <a:pt x="328" y="70"/>
                  </a:lnTo>
                  <a:lnTo>
                    <a:pt x="328" y="70"/>
                  </a:lnTo>
                  <a:lnTo>
                    <a:pt x="328" y="70"/>
                  </a:lnTo>
                  <a:lnTo>
                    <a:pt x="328" y="72"/>
                  </a:lnTo>
                  <a:lnTo>
                    <a:pt x="328" y="72"/>
                  </a:lnTo>
                  <a:lnTo>
                    <a:pt x="325" y="72"/>
                  </a:lnTo>
                  <a:lnTo>
                    <a:pt x="325" y="72"/>
                  </a:lnTo>
                  <a:lnTo>
                    <a:pt x="325" y="72"/>
                  </a:lnTo>
                  <a:lnTo>
                    <a:pt x="325" y="74"/>
                  </a:lnTo>
                  <a:lnTo>
                    <a:pt x="325" y="74"/>
                  </a:lnTo>
                  <a:lnTo>
                    <a:pt x="323" y="74"/>
                  </a:lnTo>
                  <a:lnTo>
                    <a:pt x="323" y="74"/>
                  </a:lnTo>
                  <a:lnTo>
                    <a:pt x="323" y="74"/>
                  </a:lnTo>
                  <a:lnTo>
                    <a:pt x="323" y="76"/>
                  </a:lnTo>
                  <a:lnTo>
                    <a:pt x="323" y="76"/>
                  </a:lnTo>
                  <a:lnTo>
                    <a:pt x="323" y="76"/>
                  </a:lnTo>
                  <a:lnTo>
                    <a:pt x="323" y="76"/>
                  </a:lnTo>
                  <a:lnTo>
                    <a:pt x="323" y="76"/>
                  </a:lnTo>
                  <a:lnTo>
                    <a:pt x="323" y="76"/>
                  </a:lnTo>
                  <a:lnTo>
                    <a:pt x="321" y="76"/>
                  </a:lnTo>
                  <a:lnTo>
                    <a:pt x="319" y="76"/>
                  </a:lnTo>
                  <a:lnTo>
                    <a:pt x="319" y="76"/>
                  </a:lnTo>
                  <a:lnTo>
                    <a:pt x="319" y="79"/>
                  </a:lnTo>
                  <a:lnTo>
                    <a:pt x="321" y="79"/>
                  </a:lnTo>
                  <a:lnTo>
                    <a:pt x="321" y="79"/>
                  </a:lnTo>
                  <a:lnTo>
                    <a:pt x="321" y="79"/>
                  </a:lnTo>
                  <a:lnTo>
                    <a:pt x="321" y="79"/>
                  </a:lnTo>
                  <a:lnTo>
                    <a:pt x="321" y="79"/>
                  </a:lnTo>
                  <a:lnTo>
                    <a:pt x="321" y="79"/>
                  </a:lnTo>
                  <a:lnTo>
                    <a:pt x="321" y="81"/>
                  </a:lnTo>
                  <a:lnTo>
                    <a:pt x="323" y="81"/>
                  </a:lnTo>
                  <a:lnTo>
                    <a:pt x="323" y="81"/>
                  </a:lnTo>
                  <a:lnTo>
                    <a:pt x="323" y="81"/>
                  </a:lnTo>
                  <a:lnTo>
                    <a:pt x="325" y="81"/>
                  </a:lnTo>
                  <a:lnTo>
                    <a:pt x="325" y="81"/>
                  </a:lnTo>
                  <a:lnTo>
                    <a:pt x="325" y="81"/>
                  </a:lnTo>
                  <a:lnTo>
                    <a:pt x="325" y="81"/>
                  </a:lnTo>
                  <a:lnTo>
                    <a:pt x="325" y="81"/>
                  </a:lnTo>
                  <a:lnTo>
                    <a:pt x="325" y="81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5" y="83"/>
                  </a:lnTo>
                  <a:lnTo>
                    <a:pt x="325" y="83"/>
                  </a:lnTo>
                  <a:lnTo>
                    <a:pt x="323" y="81"/>
                  </a:lnTo>
                  <a:lnTo>
                    <a:pt x="323" y="81"/>
                  </a:lnTo>
                  <a:lnTo>
                    <a:pt x="323" y="81"/>
                  </a:lnTo>
                  <a:lnTo>
                    <a:pt x="321" y="83"/>
                  </a:lnTo>
                  <a:lnTo>
                    <a:pt x="321" y="83"/>
                  </a:lnTo>
                  <a:lnTo>
                    <a:pt x="321" y="83"/>
                  </a:lnTo>
                  <a:lnTo>
                    <a:pt x="321" y="83"/>
                  </a:lnTo>
                  <a:lnTo>
                    <a:pt x="321" y="83"/>
                  </a:lnTo>
                  <a:lnTo>
                    <a:pt x="321" y="83"/>
                  </a:lnTo>
                  <a:lnTo>
                    <a:pt x="321" y="85"/>
                  </a:lnTo>
                  <a:lnTo>
                    <a:pt x="321" y="88"/>
                  </a:lnTo>
                  <a:lnTo>
                    <a:pt x="321" y="88"/>
                  </a:lnTo>
                  <a:lnTo>
                    <a:pt x="321" y="88"/>
                  </a:lnTo>
                  <a:lnTo>
                    <a:pt x="323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5" y="90"/>
                  </a:lnTo>
                  <a:lnTo>
                    <a:pt x="328" y="92"/>
                  </a:lnTo>
                  <a:lnTo>
                    <a:pt x="328" y="92"/>
                  </a:lnTo>
                  <a:lnTo>
                    <a:pt x="328" y="92"/>
                  </a:lnTo>
                  <a:lnTo>
                    <a:pt x="328" y="92"/>
                  </a:lnTo>
                  <a:lnTo>
                    <a:pt x="325" y="92"/>
                  </a:lnTo>
                  <a:lnTo>
                    <a:pt x="325" y="94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30" y="94"/>
                  </a:lnTo>
                  <a:lnTo>
                    <a:pt x="328" y="94"/>
                  </a:lnTo>
                  <a:lnTo>
                    <a:pt x="328" y="94"/>
                  </a:lnTo>
                  <a:lnTo>
                    <a:pt x="328" y="97"/>
                  </a:lnTo>
                  <a:lnTo>
                    <a:pt x="328" y="97"/>
                  </a:lnTo>
                  <a:lnTo>
                    <a:pt x="328" y="97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25" y="99"/>
                  </a:lnTo>
                  <a:lnTo>
                    <a:pt x="325" y="99"/>
                  </a:lnTo>
                  <a:lnTo>
                    <a:pt x="325" y="101"/>
                  </a:lnTo>
                  <a:lnTo>
                    <a:pt x="325" y="101"/>
                  </a:lnTo>
                  <a:lnTo>
                    <a:pt x="325" y="101"/>
                  </a:lnTo>
                  <a:lnTo>
                    <a:pt x="325" y="101"/>
                  </a:lnTo>
                  <a:lnTo>
                    <a:pt x="328" y="101"/>
                  </a:lnTo>
                  <a:lnTo>
                    <a:pt x="328" y="101"/>
                  </a:lnTo>
                  <a:lnTo>
                    <a:pt x="328" y="101"/>
                  </a:lnTo>
                  <a:lnTo>
                    <a:pt x="328" y="101"/>
                  </a:lnTo>
                  <a:lnTo>
                    <a:pt x="325" y="101"/>
                  </a:lnTo>
                  <a:lnTo>
                    <a:pt x="325" y="103"/>
                  </a:lnTo>
                  <a:lnTo>
                    <a:pt x="328" y="103"/>
                  </a:lnTo>
                  <a:lnTo>
                    <a:pt x="328" y="103"/>
                  </a:lnTo>
                  <a:lnTo>
                    <a:pt x="328" y="103"/>
                  </a:lnTo>
                  <a:lnTo>
                    <a:pt x="328" y="103"/>
                  </a:lnTo>
                  <a:lnTo>
                    <a:pt x="328" y="103"/>
                  </a:lnTo>
                  <a:lnTo>
                    <a:pt x="325" y="106"/>
                  </a:lnTo>
                  <a:lnTo>
                    <a:pt x="325" y="106"/>
                  </a:lnTo>
                  <a:lnTo>
                    <a:pt x="323" y="103"/>
                  </a:lnTo>
                  <a:lnTo>
                    <a:pt x="323" y="103"/>
                  </a:lnTo>
                  <a:lnTo>
                    <a:pt x="321" y="106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6"/>
                  </a:lnTo>
                  <a:lnTo>
                    <a:pt x="321" y="106"/>
                  </a:lnTo>
                  <a:lnTo>
                    <a:pt x="319" y="103"/>
                  </a:lnTo>
                  <a:lnTo>
                    <a:pt x="319" y="103"/>
                  </a:lnTo>
                  <a:lnTo>
                    <a:pt x="319" y="103"/>
                  </a:lnTo>
                  <a:lnTo>
                    <a:pt x="317" y="103"/>
                  </a:lnTo>
                  <a:lnTo>
                    <a:pt x="314" y="103"/>
                  </a:lnTo>
                  <a:lnTo>
                    <a:pt x="314" y="103"/>
                  </a:lnTo>
                  <a:lnTo>
                    <a:pt x="314" y="103"/>
                  </a:lnTo>
                  <a:lnTo>
                    <a:pt x="314" y="103"/>
                  </a:lnTo>
                  <a:lnTo>
                    <a:pt x="310" y="103"/>
                  </a:lnTo>
                  <a:lnTo>
                    <a:pt x="310" y="103"/>
                  </a:lnTo>
                  <a:lnTo>
                    <a:pt x="310" y="106"/>
                  </a:lnTo>
                  <a:lnTo>
                    <a:pt x="308" y="106"/>
                  </a:lnTo>
                  <a:lnTo>
                    <a:pt x="308" y="106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08" y="108"/>
                  </a:lnTo>
                  <a:lnTo>
                    <a:pt x="305" y="108"/>
                  </a:lnTo>
                  <a:lnTo>
                    <a:pt x="305" y="108"/>
                  </a:lnTo>
                  <a:lnTo>
                    <a:pt x="305" y="110"/>
                  </a:lnTo>
                  <a:lnTo>
                    <a:pt x="301" y="110"/>
                  </a:lnTo>
                  <a:lnTo>
                    <a:pt x="301" y="110"/>
                  </a:lnTo>
                  <a:lnTo>
                    <a:pt x="301" y="110"/>
                  </a:lnTo>
                  <a:lnTo>
                    <a:pt x="301" y="112"/>
                  </a:lnTo>
                  <a:lnTo>
                    <a:pt x="301" y="112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1"/>
                  </a:lnTo>
                  <a:lnTo>
                    <a:pt x="301" y="121"/>
                  </a:lnTo>
                  <a:lnTo>
                    <a:pt x="299" y="121"/>
                  </a:lnTo>
                  <a:lnTo>
                    <a:pt x="299" y="121"/>
                  </a:lnTo>
                  <a:lnTo>
                    <a:pt x="299" y="121"/>
                  </a:lnTo>
                  <a:lnTo>
                    <a:pt x="299" y="121"/>
                  </a:lnTo>
                  <a:lnTo>
                    <a:pt x="299" y="121"/>
                  </a:lnTo>
                  <a:lnTo>
                    <a:pt x="299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6" y="121"/>
                  </a:lnTo>
                  <a:lnTo>
                    <a:pt x="294" y="121"/>
                  </a:lnTo>
                  <a:lnTo>
                    <a:pt x="292" y="121"/>
                  </a:lnTo>
                  <a:lnTo>
                    <a:pt x="292" y="121"/>
                  </a:lnTo>
                  <a:lnTo>
                    <a:pt x="290" y="121"/>
                  </a:lnTo>
                  <a:lnTo>
                    <a:pt x="290" y="121"/>
                  </a:lnTo>
                  <a:lnTo>
                    <a:pt x="287" y="124"/>
                  </a:lnTo>
                  <a:lnTo>
                    <a:pt x="287" y="126"/>
                  </a:lnTo>
                  <a:lnTo>
                    <a:pt x="287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8" y="128"/>
                  </a:lnTo>
                  <a:lnTo>
                    <a:pt x="278" y="130"/>
                  </a:lnTo>
                  <a:lnTo>
                    <a:pt x="278" y="130"/>
                  </a:lnTo>
                  <a:lnTo>
                    <a:pt x="276" y="130"/>
                  </a:lnTo>
                  <a:lnTo>
                    <a:pt x="276" y="130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0"/>
                  </a:lnTo>
                  <a:lnTo>
                    <a:pt x="276" y="130"/>
                  </a:lnTo>
                  <a:lnTo>
                    <a:pt x="276" y="130"/>
                  </a:lnTo>
                  <a:lnTo>
                    <a:pt x="276" y="130"/>
                  </a:lnTo>
                  <a:lnTo>
                    <a:pt x="276" y="130"/>
                  </a:lnTo>
                  <a:lnTo>
                    <a:pt x="276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69" y="130"/>
                  </a:lnTo>
                  <a:lnTo>
                    <a:pt x="269" y="130"/>
                  </a:lnTo>
                  <a:lnTo>
                    <a:pt x="269" y="130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7" y="132"/>
                  </a:lnTo>
                  <a:lnTo>
                    <a:pt x="265" y="132"/>
                  </a:lnTo>
                  <a:lnTo>
                    <a:pt x="265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0"/>
                  </a:lnTo>
                  <a:lnTo>
                    <a:pt x="260" y="132"/>
                  </a:lnTo>
                  <a:lnTo>
                    <a:pt x="260" y="132"/>
                  </a:lnTo>
                  <a:lnTo>
                    <a:pt x="258" y="132"/>
                  </a:lnTo>
                  <a:lnTo>
                    <a:pt x="258" y="132"/>
                  </a:lnTo>
                  <a:lnTo>
                    <a:pt x="258" y="132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4" y="137"/>
                  </a:lnTo>
                  <a:lnTo>
                    <a:pt x="251" y="137"/>
                  </a:lnTo>
                  <a:lnTo>
                    <a:pt x="251" y="139"/>
                  </a:lnTo>
                  <a:lnTo>
                    <a:pt x="251" y="141"/>
                  </a:lnTo>
                  <a:lnTo>
                    <a:pt x="249" y="141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47" y="144"/>
                  </a:lnTo>
                  <a:lnTo>
                    <a:pt x="247" y="144"/>
                  </a:lnTo>
                  <a:lnTo>
                    <a:pt x="247" y="144"/>
                  </a:lnTo>
                  <a:lnTo>
                    <a:pt x="247" y="144"/>
                  </a:lnTo>
                  <a:lnTo>
                    <a:pt x="247" y="146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7" y="144"/>
                  </a:lnTo>
                  <a:lnTo>
                    <a:pt x="247" y="144"/>
                  </a:lnTo>
                  <a:lnTo>
                    <a:pt x="247" y="144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9" y="141"/>
                  </a:lnTo>
                  <a:lnTo>
                    <a:pt x="249" y="141"/>
                  </a:lnTo>
                  <a:lnTo>
                    <a:pt x="249" y="141"/>
                  </a:lnTo>
                  <a:lnTo>
                    <a:pt x="249" y="141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51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7" y="139"/>
                  </a:lnTo>
                  <a:lnTo>
                    <a:pt x="247" y="139"/>
                  </a:lnTo>
                  <a:lnTo>
                    <a:pt x="247" y="141"/>
                  </a:lnTo>
                  <a:lnTo>
                    <a:pt x="245" y="141"/>
                  </a:lnTo>
                  <a:lnTo>
                    <a:pt x="245" y="141"/>
                  </a:lnTo>
                  <a:lnTo>
                    <a:pt x="245" y="141"/>
                  </a:lnTo>
                  <a:lnTo>
                    <a:pt x="245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1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5" y="148"/>
                  </a:lnTo>
                  <a:lnTo>
                    <a:pt x="245" y="148"/>
                  </a:lnTo>
                  <a:lnTo>
                    <a:pt x="245" y="148"/>
                  </a:lnTo>
                  <a:lnTo>
                    <a:pt x="245" y="150"/>
                  </a:lnTo>
                  <a:lnTo>
                    <a:pt x="247" y="153"/>
                  </a:lnTo>
                  <a:lnTo>
                    <a:pt x="249" y="155"/>
                  </a:lnTo>
                  <a:lnTo>
                    <a:pt x="256" y="162"/>
                  </a:lnTo>
                  <a:lnTo>
                    <a:pt x="258" y="164"/>
                  </a:lnTo>
                  <a:lnTo>
                    <a:pt x="258" y="164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59"/>
                  </a:lnTo>
                  <a:lnTo>
                    <a:pt x="263" y="159"/>
                  </a:lnTo>
                  <a:lnTo>
                    <a:pt x="263" y="159"/>
                  </a:lnTo>
                  <a:lnTo>
                    <a:pt x="263" y="159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9" y="162"/>
                  </a:lnTo>
                  <a:lnTo>
                    <a:pt x="269" y="159"/>
                  </a:lnTo>
                  <a:lnTo>
                    <a:pt x="269" y="159"/>
                  </a:lnTo>
                  <a:lnTo>
                    <a:pt x="269" y="159"/>
                  </a:lnTo>
                  <a:lnTo>
                    <a:pt x="269" y="159"/>
                  </a:lnTo>
                  <a:lnTo>
                    <a:pt x="269" y="159"/>
                  </a:lnTo>
                  <a:lnTo>
                    <a:pt x="272" y="159"/>
                  </a:lnTo>
                  <a:lnTo>
                    <a:pt x="272" y="159"/>
                  </a:lnTo>
                  <a:lnTo>
                    <a:pt x="272" y="159"/>
                  </a:lnTo>
                  <a:lnTo>
                    <a:pt x="272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4" y="159"/>
                  </a:lnTo>
                  <a:lnTo>
                    <a:pt x="276" y="159"/>
                  </a:lnTo>
                  <a:lnTo>
                    <a:pt x="276" y="159"/>
                  </a:lnTo>
                  <a:lnTo>
                    <a:pt x="276" y="159"/>
                  </a:lnTo>
                  <a:lnTo>
                    <a:pt x="278" y="162"/>
                  </a:lnTo>
                  <a:lnTo>
                    <a:pt x="278" y="159"/>
                  </a:lnTo>
                  <a:lnTo>
                    <a:pt x="278" y="159"/>
                  </a:lnTo>
                  <a:lnTo>
                    <a:pt x="278" y="159"/>
                  </a:lnTo>
                  <a:lnTo>
                    <a:pt x="278" y="159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81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76" y="162"/>
                  </a:lnTo>
                  <a:lnTo>
                    <a:pt x="276" y="162"/>
                  </a:lnTo>
                  <a:lnTo>
                    <a:pt x="276" y="162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4"/>
                  </a:lnTo>
                  <a:lnTo>
                    <a:pt x="276" y="166"/>
                  </a:lnTo>
                  <a:lnTo>
                    <a:pt x="276" y="166"/>
                  </a:lnTo>
                  <a:lnTo>
                    <a:pt x="276" y="166"/>
                  </a:lnTo>
                  <a:lnTo>
                    <a:pt x="276" y="168"/>
                  </a:lnTo>
                  <a:lnTo>
                    <a:pt x="276" y="168"/>
                  </a:lnTo>
                  <a:lnTo>
                    <a:pt x="276" y="168"/>
                  </a:lnTo>
                  <a:lnTo>
                    <a:pt x="276" y="168"/>
                  </a:lnTo>
                  <a:lnTo>
                    <a:pt x="276" y="168"/>
                  </a:lnTo>
                  <a:lnTo>
                    <a:pt x="274" y="168"/>
                  </a:lnTo>
                  <a:lnTo>
                    <a:pt x="274" y="168"/>
                  </a:lnTo>
                  <a:lnTo>
                    <a:pt x="274" y="168"/>
                  </a:lnTo>
                  <a:lnTo>
                    <a:pt x="274" y="168"/>
                  </a:lnTo>
                  <a:lnTo>
                    <a:pt x="274" y="171"/>
                  </a:lnTo>
                  <a:lnTo>
                    <a:pt x="274" y="171"/>
                  </a:lnTo>
                  <a:lnTo>
                    <a:pt x="274" y="171"/>
                  </a:lnTo>
                  <a:lnTo>
                    <a:pt x="272" y="171"/>
                  </a:lnTo>
                  <a:lnTo>
                    <a:pt x="269" y="168"/>
                  </a:lnTo>
                  <a:lnTo>
                    <a:pt x="269" y="168"/>
                  </a:lnTo>
                  <a:lnTo>
                    <a:pt x="269" y="168"/>
                  </a:lnTo>
                  <a:lnTo>
                    <a:pt x="269" y="168"/>
                  </a:lnTo>
                  <a:lnTo>
                    <a:pt x="269" y="171"/>
                  </a:lnTo>
                  <a:lnTo>
                    <a:pt x="269" y="171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5" y="171"/>
                  </a:lnTo>
                  <a:lnTo>
                    <a:pt x="265" y="171"/>
                  </a:lnTo>
                  <a:lnTo>
                    <a:pt x="265" y="168"/>
                  </a:lnTo>
                  <a:lnTo>
                    <a:pt x="265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3" y="168"/>
                  </a:lnTo>
                  <a:lnTo>
                    <a:pt x="260" y="168"/>
                  </a:lnTo>
                  <a:lnTo>
                    <a:pt x="260" y="168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68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8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8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73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5"/>
                  </a:lnTo>
                  <a:lnTo>
                    <a:pt x="251" y="175"/>
                  </a:lnTo>
                  <a:lnTo>
                    <a:pt x="251" y="175"/>
                  </a:lnTo>
                  <a:lnTo>
                    <a:pt x="251" y="175"/>
                  </a:lnTo>
                  <a:lnTo>
                    <a:pt x="251" y="175"/>
                  </a:lnTo>
                  <a:lnTo>
                    <a:pt x="251" y="175"/>
                  </a:lnTo>
                  <a:lnTo>
                    <a:pt x="251" y="173"/>
                  </a:lnTo>
                  <a:lnTo>
                    <a:pt x="249" y="173"/>
                  </a:lnTo>
                  <a:lnTo>
                    <a:pt x="249" y="173"/>
                  </a:lnTo>
                  <a:lnTo>
                    <a:pt x="249" y="175"/>
                  </a:lnTo>
                  <a:lnTo>
                    <a:pt x="249" y="175"/>
                  </a:lnTo>
                  <a:lnTo>
                    <a:pt x="249" y="175"/>
                  </a:lnTo>
                  <a:lnTo>
                    <a:pt x="249" y="175"/>
                  </a:lnTo>
                  <a:lnTo>
                    <a:pt x="249" y="175"/>
                  </a:lnTo>
                  <a:lnTo>
                    <a:pt x="249" y="175"/>
                  </a:lnTo>
                  <a:lnTo>
                    <a:pt x="247" y="175"/>
                  </a:lnTo>
                  <a:lnTo>
                    <a:pt x="247" y="175"/>
                  </a:lnTo>
                  <a:lnTo>
                    <a:pt x="247" y="175"/>
                  </a:lnTo>
                  <a:lnTo>
                    <a:pt x="245" y="175"/>
                  </a:lnTo>
                  <a:lnTo>
                    <a:pt x="245" y="175"/>
                  </a:lnTo>
                  <a:lnTo>
                    <a:pt x="245" y="175"/>
                  </a:lnTo>
                  <a:lnTo>
                    <a:pt x="242" y="175"/>
                  </a:lnTo>
                  <a:lnTo>
                    <a:pt x="242" y="175"/>
                  </a:lnTo>
                  <a:lnTo>
                    <a:pt x="242" y="177"/>
                  </a:lnTo>
                  <a:lnTo>
                    <a:pt x="242" y="177"/>
                  </a:lnTo>
                  <a:lnTo>
                    <a:pt x="242" y="177"/>
                  </a:lnTo>
                  <a:lnTo>
                    <a:pt x="240" y="177"/>
                  </a:lnTo>
                  <a:lnTo>
                    <a:pt x="240" y="177"/>
                  </a:lnTo>
                  <a:lnTo>
                    <a:pt x="240" y="177"/>
                  </a:lnTo>
                  <a:lnTo>
                    <a:pt x="240" y="177"/>
                  </a:lnTo>
                  <a:lnTo>
                    <a:pt x="240" y="177"/>
                  </a:lnTo>
                  <a:lnTo>
                    <a:pt x="240" y="180"/>
                  </a:lnTo>
                  <a:lnTo>
                    <a:pt x="240" y="180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4"/>
                  </a:lnTo>
                  <a:lnTo>
                    <a:pt x="236" y="184"/>
                  </a:lnTo>
                  <a:lnTo>
                    <a:pt x="236" y="184"/>
                  </a:lnTo>
                  <a:lnTo>
                    <a:pt x="236" y="184"/>
                  </a:lnTo>
                  <a:lnTo>
                    <a:pt x="236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7" y="184"/>
                  </a:lnTo>
                  <a:lnTo>
                    <a:pt x="227" y="184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4" y="180"/>
                  </a:lnTo>
                  <a:lnTo>
                    <a:pt x="224" y="180"/>
                  </a:lnTo>
                  <a:lnTo>
                    <a:pt x="224" y="180"/>
                  </a:lnTo>
                  <a:lnTo>
                    <a:pt x="224" y="180"/>
                  </a:lnTo>
                  <a:lnTo>
                    <a:pt x="224" y="180"/>
                  </a:lnTo>
                  <a:lnTo>
                    <a:pt x="224" y="180"/>
                  </a:lnTo>
                  <a:lnTo>
                    <a:pt x="224" y="177"/>
                  </a:lnTo>
                  <a:lnTo>
                    <a:pt x="224" y="177"/>
                  </a:lnTo>
                  <a:lnTo>
                    <a:pt x="224" y="177"/>
                  </a:lnTo>
                  <a:lnTo>
                    <a:pt x="224" y="177"/>
                  </a:lnTo>
                  <a:lnTo>
                    <a:pt x="224" y="177"/>
                  </a:lnTo>
                  <a:lnTo>
                    <a:pt x="224" y="177"/>
                  </a:lnTo>
                  <a:lnTo>
                    <a:pt x="224" y="177"/>
                  </a:lnTo>
                  <a:lnTo>
                    <a:pt x="224" y="175"/>
                  </a:lnTo>
                  <a:lnTo>
                    <a:pt x="222" y="175"/>
                  </a:lnTo>
                  <a:lnTo>
                    <a:pt x="222" y="175"/>
                  </a:lnTo>
                  <a:lnTo>
                    <a:pt x="222" y="175"/>
                  </a:lnTo>
                  <a:lnTo>
                    <a:pt x="222" y="175"/>
                  </a:lnTo>
                  <a:lnTo>
                    <a:pt x="222" y="175"/>
                  </a:lnTo>
                  <a:lnTo>
                    <a:pt x="222" y="175"/>
                  </a:lnTo>
                  <a:lnTo>
                    <a:pt x="224" y="175"/>
                  </a:lnTo>
                  <a:lnTo>
                    <a:pt x="224" y="173"/>
                  </a:lnTo>
                  <a:lnTo>
                    <a:pt x="224" y="173"/>
                  </a:lnTo>
                  <a:lnTo>
                    <a:pt x="224" y="173"/>
                  </a:lnTo>
                  <a:lnTo>
                    <a:pt x="224" y="173"/>
                  </a:lnTo>
                  <a:lnTo>
                    <a:pt x="224" y="173"/>
                  </a:lnTo>
                  <a:lnTo>
                    <a:pt x="224" y="173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2" y="168"/>
                  </a:lnTo>
                  <a:lnTo>
                    <a:pt x="222" y="168"/>
                  </a:lnTo>
                  <a:lnTo>
                    <a:pt x="222" y="168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5" y="166"/>
                  </a:lnTo>
                  <a:lnTo>
                    <a:pt x="215" y="166"/>
                  </a:lnTo>
                  <a:lnTo>
                    <a:pt x="215" y="166"/>
                  </a:lnTo>
                  <a:lnTo>
                    <a:pt x="215" y="166"/>
                  </a:lnTo>
                  <a:lnTo>
                    <a:pt x="215" y="166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3" y="164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09" y="162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4" y="162"/>
                  </a:lnTo>
                  <a:lnTo>
                    <a:pt x="204" y="162"/>
                  </a:lnTo>
                  <a:lnTo>
                    <a:pt x="204" y="162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4" y="157"/>
                  </a:lnTo>
                  <a:lnTo>
                    <a:pt x="204" y="157"/>
                  </a:lnTo>
                  <a:lnTo>
                    <a:pt x="204" y="157"/>
                  </a:lnTo>
                  <a:lnTo>
                    <a:pt x="204" y="157"/>
                  </a:lnTo>
                  <a:lnTo>
                    <a:pt x="204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7"/>
                  </a:lnTo>
                  <a:lnTo>
                    <a:pt x="206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3" y="153"/>
                  </a:lnTo>
                  <a:lnTo>
                    <a:pt x="215" y="153"/>
                  </a:lnTo>
                  <a:lnTo>
                    <a:pt x="215" y="153"/>
                  </a:lnTo>
                  <a:lnTo>
                    <a:pt x="215" y="153"/>
                  </a:lnTo>
                  <a:lnTo>
                    <a:pt x="215" y="15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18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0" y="150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2" y="150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4" y="148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2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5" y="146"/>
                  </a:lnTo>
                  <a:lnTo>
                    <a:pt x="215" y="146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15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4"/>
                  </a:lnTo>
                  <a:lnTo>
                    <a:pt x="213" y="141"/>
                  </a:lnTo>
                  <a:lnTo>
                    <a:pt x="211" y="141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44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3" y="141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1" y="141"/>
                  </a:lnTo>
                  <a:lnTo>
                    <a:pt x="191" y="141"/>
                  </a:lnTo>
                  <a:lnTo>
                    <a:pt x="191" y="141"/>
                  </a:lnTo>
                  <a:lnTo>
                    <a:pt x="191" y="141"/>
                  </a:lnTo>
                  <a:lnTo>
                    <a:pt x="191" y="141"/>
                  </a:lnTo>
                  <a:lnTo>
                    <a:pt x="188" y="141"/>
                  </a:lnTo>
                  <a:lnTo>
                    <a:pt x="188" y="141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6" y="141"/>
                  </a:lnTo>
                  <a:lnTo>
                    <a:pt x="186" y="141"/>
                  </a:lnTo>
                  <a:lnTo>
                    <a:pt x="186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4" y="139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8" y="139"/>
                  </a:lnTo>
                  <a:lnTo>
                    <a:pt x="188" y="139"/>
                  </a:lnTo>
                  <a:lnTo>
                    <a:pt x="188" y="137"/>
                  </a:lnTo>
                  <a:lnTo>
                    <a:pt x="188" y="137"/>
                  </a:lnTo>
                  <a:lnTo>
                    <a:pt x="188" y="137"/>
                  </a:lnTo>
                  <a:lnTo>
                    <a:pt x="191" y="137"/>
                  </a:lnTo>
                  <a:lnTo>
                    <a:pt x="188" y="137"/>
                  </a:lnTo>
                  <a:lnTo>
                    <a:pt x="188" y="137"/>
                  </a:lnTo>
                  <a:lnTo>
                    <a:pt x="188" y="137"/>
                  </a:lnTo>
                  <a:lnTo>
                    <a:pt x="188" y="137"/>
                  </a:lnTo>
                  <a:lnTo>
                    <a:pt x="186" y="137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7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79" y="135"/>
                  </a:lnTo>
                  <a:lnTo>
                    <a:pt x="179" y="132"/>
                  </a:lnTo>
                  <a:lnTo>
                    <a:pt x="179" y="135"/>
                  </a:lnTo>
                  <a:lnTo>
                    <a:pt x="179" y="135"/>
                  </a:lnTo>
                  <a:lnTo>
                    <a:pt x="179" y="135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8" y="135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3" y="135"/>
                  </a:lnTo>
                  <a:lnTo>
                    <a:pt x="193" y="137"/>
                  </a:lnTo>
                  <a:lnTo>
                    <a:pt x="195" y="137"/>
                  </a:lnTo>
                  <a:lnTo>
                    <a:pt x="195" y="137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5" y="135"/>
                  </a:lnTo>
                  <a:lnTo>
                    <a:pt x="197" y="132"/>
                  </a:lnTo>
                  <a:lnTo>
                    <a:pt x="197" y="132"/>
                  </a:lnTo>
                  <a:lnTo>
                    <a:pt x="197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197" y="132"/>
                  </a:lnTo>
                  <a:lnTo>
                    <a:pt x="197" y="132"/>
                  </a:lnTo>
                  <a:lnTo>
                    <a:pt x="195" y="135"/>
                  </a:lnTo>
                  <a:lnTo>
                    <a:pt x="193" y="135"/>
                  </a:lnTo>
                  <a:lnTo>
                    <a:pt x="193" y="132"/>
                  </a:lnTo>
                  <a:lnTo>
                    <a:pt x="193" y="132"/>
                  </a:lnTo>
                  <a:lnTo>
                    <a:pt x="193" y="132"/>
                  </a:lnTo>
                  <a:lnTo>
                    <a:pt x="193" y="132"/>
                  </a:lnTo>
                  <a:lnTo>
                    <a:pt x="191" y="132"/>
                  </a:lnTo>
                  <a:lnTo>
                    <a:pt x="191" y="132"/>
                  </a:lnTo>
                  <a:lnTo>
                    <a:pt x="191" y="132"/>
                  </a:lnTo>
                  <a:lnTo>
                    <a:pt x="191" y="132"/>
                  </a:lnTo>
                  <a:lnTo>
                    <a:pt x="191" y="132"/>
                  </a:lnTo>
                  <a:lnTo>
                    <a:pt x="191" y="135"/>
                  </a:lnTo>
                  <a:lnTo>
                    <a:pt x="191" y="135"/>
                  </a:lnTo>
                  <a:lnTo>
                    <a:pt x="191" y="132"/>
                  </a:lnTo>
                  <a:lnTo>
                    <a:pt x="188" y="132"/>
                  </a:lnTo>
                  <a:lnTo>
                    <a:pt x="188" y="132"/>
                  </a:lnTo>
                  <a:lnTo>
                    <a:pt x="188" y="132"/>
                  </a:lnTo>
                  <a:lnTo>
                    <a:pt x="188" y="132"/>
                  </a:lnTo>
                  <a:lnTo>
                    <a:pt x="186" y="132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4"/>
                  </a:lnTo>
                  <a:lnTo>
                    <a:pt x="186" y="124"/>
                  </a:lnTo>
                  <a:lnTo>
                    <a:pt x="186" y="124"/>
                  </a:lnTo>
                  <a:lnTo>
                    <a:pt x="186" y="124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2" y="121"/>
                  </a:lnTo>
                  <a:lnTo>
                    <a:pt x="182" y="121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79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21"/>
                  </a:lnTo>
                  <a:lnTo>
                    <a:pt x="182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1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6" y="124"/>
                  </a:lnTo>
                  <a:lnTo>
                    <a:pt x="184" y="124"/>
                  </a:lnTo>
                  <a:lnTo>
                    <a:pt x="184" y="124"/>
                  </a:lnTo>
                  <a:lnTo>
                    <a:pt x="184" y="126"/>
                  </a:lnTo>
                  <a:lnTo>
                    <a:pt x="184" y="126"/>
                  </a:lnTo>
                  <a:lnTo>
                    <a:pt x="184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6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0"/>
                  </a:lnTo>
                  <a:lnTo>
                    <a:pt x="186" y="132"/>
                  </a:lnTo>
                  <a:lnTo>
                    <a:pt x="186" y="132"/>
                  </a:lnTo>
                  <a:lnTo>
                    <a:pt x="186" y="132"/>
                  </a:lnTo>
                  <a:lnTo>
                    <a:pt x="186" y="132"/>
                  </a:lnTo>
                  <a:lnTo>
                    <a:pt x="184" y="132"/>
                  </a:lnTo>
                  <a:lnTo>
                    <a:pt x="184" y="132"/>
                  </a:lnTo>
                  <a:lnTo>
                    <a:pt x="184" y="132"/>
                  </a:lnTo>
                  <a:lnTo>
                    <a:pt x="182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9" y="132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0"/>
                  </a:lnTo>
                  <a:lnTo>
                    <a:pt x="179" y="130"/>
                  </a:lnTo>
                  <a:lnTo>
                    <a:pt x="179" y="130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0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75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4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7"/>
                  </a:lnTo>
                  <a:lnTo>
                    <a:pt x="166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41"/>
                  </a:lnTo>
                  <a:lnTo>
                    <a:pt x="164" y="141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1" y="146"/>
                  </a:lnTo>
                  <a:lnTo>
                    <a:pt x="159" y="146"/>
                  </a:lnTo>
                  <a:lnTo>
                    <a:pt x="157" y="148"/>
                  </a:lnTo>
                  <a:lnTo>
                    <a:pt x="157" y="150"/>
                  </a:lnTo>
                  <a:lnTo>
                    <a:pt x="155" y="15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472"/>
            <p:cNvSpPr>
              <a:spLocks/>
            </p:cNvSpPr>
            <p:nvPr/>
          </p:nvSpPr>
          <p:spPr bwMode="auto">
            <a:xfrm>
              <a:off x="6680522" y="3800281"/>
              <a:ext cx="190542" cy="225642"/>
            </a:xfrm>
            <a:custGeom>
              <a:avLst/>
              <a:gdLst>
                <a:gd name="T0" fmla="*/ 97 w 114"/>
                <a:gd name="T1" fmla="*/ 9 h 135"/>
                <a:gd name="T2" fmla="*/ 99 w 114"/>
                <a:gd name="T3" fmla="*/ 11 h 135"/>
                <a:gd name="T4" fmla="*/ 101 w 114"/>
                <a:gd name="T5" fmla="*/ 11 h 135"/>
                <a:gd name="T6" fmla="*/ 103 w 114"/>
                <a:gd name="T7" fmla="*/ 16 h 135"/>
                <a:gd name="T8" fmla="*/ 103 w 114"/>
                <a:gd name="T9" fmla="*/ 18 h 135"/>
                <a:gd name="T10" fmla="*/ 103 w 114"/>
                <a:gd name="T11" fmla="*/ 25 h 135"/>
                <a:gd name="T12" fmla="*/ 108 w 114"/>
                <a:gd name="T13" fmla="*/ 31 h 135"/>
                <a:gd name="T14" fmla="*/ 108 w 114"/>
                <a:gd name="T15" fmla="*/ 31 h 135"/>
                <a:gd name="T16" fmla="*/ 110 w 114"/>
                <a:gd name="T17" fmla="*/ 36 h 135"/>
                <a:gd name="T18" fmla="*/ 112 w 114"/>
                <a:gd name="T19" fmla="*/ 40 h 135"/>
                <a:gd name="T20" fmla="*/ 114 w 114"/>
                <a:gd name="T21" fmla="*/ 47 h 135"/>
                <a:gd name="T22" fmla="*/ 114 w 114"/>
                <a:gd name="T23" fmla="*/ 54 h 135"/>
                <a:gd name="T24" fmla="*/ 114 w 114"/>
                <a:gd name="T25" fmla="*/ 63 h 135"/>
                <a:gd name="T26" fmla="*/ 112 w 114"/>
                <a:gd name="T27" fmla="*/ 70 h 135"/>
                <a:gd name="T28" fmla="*/ 106 w 114"/>
                <a:gd name="T29" fmla="*/ 74 h 135"/>
                <a:gd name="T30" fmla="*/ 103 w 114"/>
                <a:gd name="T31" fmla="*/ 76 h 135"/>
                <a:gd name="T32" fmla="*/ 99 w 114"/>
                <a:gd name="T33" fmla="*/ 85 h 135"/>
                <a:gd name="T34" fmla="*/ 97 w 114"/>
                <a:gd name="T35" fmla="*/ 90 h 135"/>
                <a:gd name="T36" fmla="*/ 92 w 114"/>
                <a:gd name="T37" fmla="*/ 101 h 135"/>
                <a:gd name="T38" fmla="*/ 88 w 114"/>
                <a:gd name="T39" fmla="*/ 124 h 135"/>
                <a:gd name="T40" fmla="*/ 52 w 114"/>
                <a:gd name="T41" fmla="*/ 124 h 135"/>
                <a:gd name="T42" fmla="*/ 27 w 114"/>
                <a:gd name="T43" fmla="*/ 124 h 135"/>
                <a:gd name="T44" fmla="*/ 22 w 114"/>
                <a:gd name="T45" fmla="*/ 126 h 135"/>
                <a:gd name="T46" fmla="*/ 20 w 114"/>
                <a:gd name="T47" fmla="*/ 126 h 135"/>
                <a:gd name="T48" fmla="*/ 18 w 114"/>
                <a:gd name="T49" fmla="*/ 126 h 135"/>
                <a:gd name="T50" fmla="*/ 16 w 114"/>
                <a:gd name="T51" fmla="*/ 128 h 135"/>
                <a:gd name="T52" fmla="*/ 13 w 114"/>
                <a:gd name="T53" fmla="*/ 133 h 135"/>
                <a:gd name="T54" fmla="*/ 9 w 114"/>
                <a:gd name="T55" fmla="*/ 135 h 135"/>
                <a:gd name="T56" fmla="*/ 7 w 114"/>
                <a:gd name="T57" fmla="*/ 133 h 135"/>
                <a:gd name="T58" fmla="*/ 4 w 114"/>
                <a:gd name="T59" fmla="*/ 133 h 135"/>
                <a:gd name="T60" fmla="*/ 2 w 114"/>
                <a:gd name="T61" fmla="*/ 130 h 135"/>
                <a:gd name="T62" fmla="*/ 2 w 114"/>
                <a:gd name="T63" fmla="*/ 126 h 135"/>
                <a:gd name="T64" fmla="*/ 0 w 114"/>
                <a:gd name="T65" fmla="*/ 121 h 135"/>
                <a:gd name="T66" fmla="*/ 2 w 114"/>
                <a:gd name="T67" fmla="*/ 117 h 135"/>
                <a:gd name="T68" fmla="*/ 2 w 114"/>
                <a:gd name="T69" fmla="*/ 115 h 135"/>
                <a:gd name="T70" fmla="*/ 2 w 114"/>
                <a:gd name="T71" fmla="*/ 108 h 135"/>
                <a:gd name="T72" fmla="*/ 4 w 114"/>
                <a:gd name="T73" fmla="*/ 97 h 135"/>
                <a:gd name="T74" fmla="*/ 7 w 114"/>
                <a:gd name="T75" fmla="*/ 92 h 135"/>
                <a:gd name="T76" fmla="*/ 9 w 114"/>
                <a:gd name="T77" fmla="*/ 81 h 135"/>
                <a:gd name="T78" fmla="*/ 13 w 114"/>
                <a:gd name="T79" fmla="*/ 76 h 135"/>
                <a:gd name="T80" fmla="*/ 16 w 114"/>
                <a:gd name="T81" fmla="*/ 74 h 135"/>
                <a:gd name="T82" fmla="*/ 18 w 114"/>
                <a:gd name="T83" fmla="*/ 72 h 135"/>
                <a:gd name="T84" fmla="*/ 25 w 114"/>
                <a:gd name="T85" fmla="*/ 65 h 135"/>
                <a:gd name="T86" fmla="*/ 36 w 114"/>
                <a:gd name="T87" fmla="*/ 49 h 135"/>
                <a:gd name="T88" fmla="*/ 31 w 114"/>
                <a:gd name="T89" fmla="*/ 45 h 135"/>
                <a:gd name="T90" fmla="*/ 31 w 114"/>
                <a:gd name="T91" fmla="*/ 43 h 135"/>
                <a:gd name="T92" fmla="*/ 27 w 114"/>
                <a:gd name="T93" fmla="*/ 43 h 135"/>
                <a:gd name="T94" fmla="*/ 25 w 114"/>
                <a:gd name="T95" fmla="*/ 40 h 135"/>
                <a:gd name="T96" fmla="*/ 27 w 114"/>
                <a:gd name="T97" fmla="*/ 34 h 135"/>
                <a:gd name="T98" fmla="*/ 27 w 114"/>
                <a:gd name="T99" fmla="*/ 29 h 135"/>
                <a:gd name="T100" fmla="*/ 27 w 114"/>
                <a:gd name="T101" fmla="*/ 22 h 135"/>
                <a:gd name="T102" fmla="*/ 29 w 114"/>
                <a:gd name="T103" fmla="*/ 18 h 135"/>
                <a:gd name="T104" fmla="*/ 27 w 114"/>
                <a:gd name="T105" fmla="*/ 18 h 135"/>
                <a:gd name="T106" fmla="*/ 31 w 114"/>
                <a:gd name="T107" fmla="*/ 11 h 135"/>
                <a:gd name="T108" fmla="*/ 36 w 114"/>
                <a:gd name="T109" fmla="*/ 9 h 135"/>
                <a:gd name="T110" fmla="*/ 45 w 114"/>
                <a:gd name="T111" fmla="*/ 11 h 135"/>
                <a:gd name="T112" fmla="*/ 49 w 114"/>
                <a:gd name="T113" fmla="*/ 13 h 135"/>
                <a:gd name="T114" fmla="*/ 54 w 114"/>
                <a:gd name="T115" fmla="*/ 16 h 135"/>
                <a:gd name="T116" fmla="*/ 61 w 114"/>
                <a:gd name="T117" fmla="*/ 11 h 135"/>
                <a:gd name="T118" fmla="*/ 76 w 114"/>
                <a:gd name="T119" fmla="*/ 11 h 135"/>
                <a:gd name="T120" fmla="*/ 90 w 114"/>
                <a:gd name="T121" fmla="*/ 4 h 135"/>
                <a:gd name="T122" fmla="*/ 94 w 114"/>
                <a:gd name="T123" fmla="*/ 2 h 135"/>
                <a:gd name="T124" fmla="*/ 97 w 114"/>
                <a:gd name="T125" fmla="*/ 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4" h="135">
                  <a:moveTo>
                    <a:pt x="97" y="7"/>
                  </a:moveTo>
                  <a:lnTo>
                    <a:pt x="97" y="9"/>
                  </a:lnTo>
                  <a:lnTo>
                    <a:pt x="97" y="9"/>
                  </a:lnTo>
                  <a:lnTo>
                    <a:pt x="97" y="7"/>
                  </a:lnTo>
                  <a:lnTo>
                    <a:pt x="99" y="7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2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6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5"/>
                  </a:lnTo>
                  <a:lnTo>
                    <a:pt x="114" y="47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4" y="54"/>
                  </a:lnTo>
                  <a:lnTo>
                    <a:pt x="114" y="56"/>
                  </a:lnTo>
                  <a:lnTo>
                    <a:pt x="114" y="56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5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0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6" y="72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3" y="74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4" y="92"/>
                  </a:lnTo>
                  <a:lnTo>
                    <a:pt x="94" y="97"/>
                  </a:lnTo>
                  <a:lnTo>
                    <a:pt x="92" y="97"/>
                  </a:lnTo>
                  <a:lnTo>
                    <a:pt x="92" y="99"/>
                  </a:lnTo>
                  <a:lnTo>
                    <a:pt x="92" y="101"/>
                  </a:lnTo>
                  <a:lnTo>
                    <a:pt x="94" y="103"/>
                  </a:lnTo>
                  <a:lnTo>
                    <a:pt x="94" y="103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92" y="117"/>
                  </a:lnTo>
                  <a:lnTo>
                    <a:pt x="92" y="119"/>
                  </a:lnTo>
                  <a:lnTo>
                    <a:pt x="92" y="124"/>
                  </a:lnTo>
                  <a:lnTo>
                    <a:pt x="90" y="124"/>
                  </a:lnTo>
                  <a:lnTo>
                    <a:pt x="88" y="124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61" y="124"/>
                  </a:lnTo>
                  <a:lnTo>
                    <a:pt x="56" y="124"/>
                  </a:lnTo>
                  <a:lnTo>
                    <a:pt x="52" y="124"/>
                  </a:lnTo>
                  <a:lnTo>
                    <a:pt x="49" y="124"/>
                  </a:lnTo>
                  <a:lnTo>
                    <a:pt x="45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8"/>
                  </a:lnTo>
                  <a:lnTo>
                    <a:pt x="4" y="103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9" y="90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2" y="67"/>
                  </a:lnTo>
                  <a:lnTo>
                    <a:pt x="25" y="65"/>
                  </a:lnTo>
                  <a:lnTo>
                    <a:pt x="27" y="61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4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49"/>
                  </a:lnTo>
                  <a:lnTo>
                    <a:pt x="38" y="49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7" y="27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9" y="9"/>
                  </a:lnTo>
                  <a:lnTo>
                    <a:pt x="49" y="1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4" y="7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5" y="9"/>
                  </a:lnTo>
                  <a:lnTo>
                    <a:pt x="88" y="7"/>
                  </a:lnTo>
                  <a:lnTo>
                    <a:pt x="90" y="4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473"/>
            <p:cNvSpPr>
              <a:spLocks noEditPoints="1"/>
            </p:cNvSpPr>
            <p:nvPr/>
          </p:nvSpPr>
          <p:spPr bwMode="auto">
            <a:xfrm>
              <a:off x="3048514" y="3171826"/>
              <a:ext cx="5015" cy="5014"/>
            </a:xfrm>
            <a:custGeom>
              <a:avLst/>
              <a:gdLst>
                <a:gd name="T0" fmla="*/ 0 w 3"/>
                <a:gd name="T1" fmla="*/ 3 h 3"/>
                <a:gd name="T2" fmla="*/ 0 w 3"/>
                <a:gd name="T3" fmla="*/ 3 h 3"/>
                <a:gd name="T4" fmla="*/ 0 w 3"/>
                <a:gd name="T5" fmla="*/ 3 h 3"/>
                <a:gd name="T6" fmla="*/ 0 w 3"/>
                <a:gd name="T7" fmla="*/ 3 h 3"/>
                <a:gd name="T8" fmla="*/ 0 w 3"/>
                <a:gd name="T9" fmla="*/ 3 h 3"/>
                <a:gd name="T10" fmla="*/ 0 w 3"/>
                <a:gd name="T11" fmla="*/ 3 h 3"/>
                <a:gd name="T12" fmla="*/ 0 w 3"/>
                <a:gd name="T13" fmla="*/ 0 h 3"/>
                <a:gd name="T14" fmla="*/ 0 w 3"/>
                <a:gd name="T15" fmla="*/ 0 h 3"/>
                <a:gd name="T16" fmla="*/ 0 w 3"/>
                <a:gd name="T17" fmla="*/ 0 h 3"/>
                <a:gd name="T18" fmla="*/ 0 w 3"/>
                <a:gd name="T19" fmla="*/ 0 h 3"/>
                <a:gd name="T20" fmla="*/ 0 w 3"/>
                <a:gd name="T21" fmla="*/ 0 h 3"/>
                <a:gd name="T22" fmla="*/ 0 w 3"/>
                <a:gd name="T23" fmla="*/ 0 h 3"/>
                <a:gd name="T24" fmla="*/ 0 w 3"/>
                <a:gd name="T25" fmla="*/ 0 h 3"/>
                <a:gd name="T26" fmla="*/ 0 w 3"/>
                <a:gd name="T27" fmla="*/ 3 h 3"/>
                <a:gd name="T28" fmla="*/ 3 w 3"/>
                <a:gd name="T29" fmla="*/ 3 h 3"/>
                <a:gd name="T30" fmla="*/ 3 w 3"/>
                <a:gd name="T31" fmla="*/ 3 h 3"/>
                <a:gd name="T32" fmla="*/ 0 w 3"/>
                <a:gd name="T33" fmla="*/ 3 h 3"/>
                <a:gd name="T34" fmla="*/ 0 w 3"/>
                <a:gd name="T35" fmla="*/ 3 h 3"/>
                <a:gd name="T36" fmla="*/ 0 w 3"/>
                <a:gd name="T37" fmla="*/ 3 h 3"/>
                <a:gd name="T38" fmla="*/ 0 w 3"/>
                <a:gd name="T39" fmla="*/ 3 h 3"/>
                <a:gd name="T40" fmla="*/ 3 w 3"/>
                <a:gd name="T41" fmla="*/ 3 h 3"/>
                <a:gd name="T42" fmla="*/ 3 w 3"/>
                <a:gd name="T43" fmla="*/ 0 h 3"/>
                <a:gd name="T44" fmla="*/ 3 w 3"/>
                <a:gd name="T45" fmla="*/ 0 h 3"/>
                <a:gd name="T46" fmla="*/ 3 w 3"/>
                <a:gd name="T47" fmla="*/ 0 h 3"/>
                <a:gd name="T48" fmla="*/ 3 w 3"/>
                <a:gd name="T49" fmla="*/ 0 h 3"/>
                <a:gd name="T50" fmla="*/ 3 w 3"/>
                <a:gd name="T51" fmla="*/ 0 h 3"/>
                <a:gd name="T52" fmla="*/ 3 w 3"/>
                <a:gd name="T53" fmla="*/ 0 h 3"/>
                <a:gd name="T54" fmla="*/ 3 w 3"/>
                <a:gd name="T55" fmla="*/ 3 h 3"/>
                <a:gd name="T56" fmla="*/ 3 w 3"/>
                <a:gd name="T5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close/>
                  <a:moveTo>
                    <a:pt x="3" y="3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474"/>
            <p:cNvSpPr>
              <a:spLocks noEditPoints="1"/>
            </p:cNvSpPr>
            <p:nvPr/>
          </p:nvSpPr>
          <p:spPr bwMode="auto">
            <a:xfrm>
              <a:off x="3150472" y="3093268"/>
              <a:ext cx="38443" cy="18385"/>
            </a:xfrm>
            <a:custGeom>
              <a:avLst/>
              <a:gdLst>
                <a:gd name="T0" fmla="*/ 20 w 23"/>
                <a:gd name="T1" fmla="*/ 11 h 11"/>
                <a:gd name="T2" fmla="*/ 20 w 23"/>
                <a:gd name="T3" fmla="*/ 11 h 11"/>
                <a:gd name="T4" fmla="*/ 20 w 23"/>
                <a:gd name="T5" fmla="*/ 11 h 11"/>
                <a:gd name="T6" fmla="*/ 20 w 23"/>
                <a:gd name="T7" fmla="*/ 9 h 11"/>
                <a:gd name="T8" fmla="*/ 0 w 23"/>
                <a:gd name="T9" fmla="*/ 7 h 11"/>
                <a:gd name="T10" fmla="*/ 0 w 23"/>
                <a:gd name="T11" fmla="*/ 7 h 11"/>
                <a:gd name="T12" fmla="*/ 0 w 23"/>
                <a:gd name="T13" fmla="*/ 7 h 11"/>
                <a:gd name="T14" fmla="*/ 0 w 23"/>
                <a:gd name="T15" fmla="*/ 7 h 11"/>
                <a:gd name="T16" fmla="*/ 20 w 23"/>
                <a:gd name="T17" fmla="*/ 7 h 11"/>
                <a:gd name="T18" fmla="*/ 18 w 23"/>
                <a:gd name="T19" fmla="*/ 5 h 11"/>
                <a:gd name="T20" fmla="*/ 18 w 23"/>
                <a:gd name="T21" fmla="*/ 5 h 11"/>
                <a:gd name="T22" fmla="*/ 20 w 23"/>
                <a:gd name="T23" fmla="*/ 5 h 11"/>
                <a:gd name="T24" fmla="*/ 20 w 23"/>
                <a:gd name="T25" fmla="*/ 5 h 11"/>
                <a:gd name="T26" fmla="*/ 20 w 23"/>
                <a:gd name="T27" fmla="*/ 7 h 11"/>
                <a:gd name="T28" fmla="*/ 16 w 23"/>
                <a:gd name="T29" fmla="*/ 2 h 11"/>
                <a:gd name="T30" fmla="*/ 18 w 23"/>
                <a:gd name="T31" fmla="*/ 2 h 11"/>
                <a:gd name="T32" fmla="*/ 18 w 23"/>
                <a:gd name="T33" fmla="*/ 2 h 11"/>
                <a:gd name="T34" fmla="*/ 18 w 23"/>
                <a:gd name="T35" fmla="*/ 5 h 11"/>
                <a:gd name="T36" fmla="*/ 18 w 23"/>
                <a:gd name="T37" fmla="*/ 5 h 11"/>
                <a:gd name="T38" fmla="*/ 18 w 23"/>
                <a:gd name="T39" fmla="*/ 5 h 11"/>
                <a:gd name="T40" fmla="*/ 16 w 23"/>
                <a:gd name="T41" fmla="*/ 5 h 11"/>
                <a:gd name="T42" fmla="*/ 16 w 23"/>
                <a:gd name="T43" fmla="*/ 5 h 11"/>
                <a:gd name="T44" fmla="*/ 14 w 23"/>
                <a:gd name="T45" fmla="*/ 5 h 11"/>
                <a:gd name="T46" fmla="*/ 14 w 23"/>
                <a:gd name="T47" fmla="*/ 2 h 11"/>
                <a:gd name="T48" fmla="*/ 14 w 23"/>
                <a:gd name="T49" fmla="*/ 2 h 11"/>
                <a:gd name="T50" fmla="*/ 5 w 23"/>
                <a:gd name="T51" fmla="*/ 2 h 11"/>
                <a:gd name="T52" fmla="*/ 7 w 23"/>
                <a:gd name="T53" fmla="*/ 5 h 11"/>
                <a:gd name="T54" fmla="*/ 7 w 23"/>
                <a:gd name="T55" fmla="*/ 5 h 11"/>
                <a:gd name="T56" fmla="*/ 9 w 23"/>
                <a:gd name="T57" fmla="*/ 5 h 11"/>
                <a:gd name="T58" fmla="*/ 7 w 23"/>
                <a:gd name="T59" fmla="*/ 5 h 11"/>
                <a:gd name="T60" fmla="*/ 7 w 23"/>
                <a:gd name="T61" fmla="*/ 5 h 11"/>
                <a:gd name="T62" fmla="*/ 7 w 23"/>
                <a:gd name="T63" fmla="*/ 5 h 11"/>
                <a:gd name="T64" fmla="*/ 7 w 23"/>
                <a:gd name="T65" fmla="*/ 5 h 11"/>
                <a:gd name="T66" fmla="*/ 5 w 23"/>
                <a:gd name="T67" fmla="*/ 5 h 11"/>
                <a:gd name="T68" fmla="*/ 5 w 23"/>
                <a:gd name="T69" fmla="*/ 5 h 11"/>
                <a:gd name="T70" fmla="*/ 5 w 23"/>
                <a:gd name="T71" fmla="*/ 5 h 11"/>
                <a:gd name="T72" fmla="*/ 5 w 23"/>
                <a:gd name="T73" fmla="*/ 5 h 11"/>
                <a:gd name="T74" fmla="*/ 5 w 23"/>
                <a:gd name="T75" fmla="*/ 5 h 11"/>
                <a:gd name="T76" fmla="*/ 2 w 23"/>
                <a:gd name="T77" fmla="*/ 5 h 11"/>
                <a:gd name="T78" fmla="*/ 5 w 23"/>
                <a:gd name="T79" fmla="*/ 5 h 11"/>
                <a:gd name="T80" fmla="*/ 5 w 23"/>
                <a:gd name="T81" fmla="*/ 5 h 11"/>
                <a:gd name="T82" fmla="*/ 5 w 23"/>
                <a:gd name="T83" fmla="*/ 2 h 11"/>
                <a:gd name="T84" fmla="*/ 5 w 23"/>
                <a:gd name="T85" fmla="*/ 5 h 11"/>
                <a:gd name="T86" fmla="*/ 5 w 23"/>
                <a:gd name="T87" fmla="*/ 2 h 11"/>
                <a:gd name="T88" fmla="*/ 14 w 23"/>
                <a:gd name="T89" fmla="*/ 0 h 11"/>
                <a:gd name="T90" fmla="*/ 14 w 23"/>
                <a:gd name="T91" fmla="*/ 2 h 11"/>
                <a:gd name="T92" fmla="*/ 14 w 23"/>
                <a:gd name="T93" fmla="*/ 2 h 11"/>
                <a:gd name="T94" fmla="*/ 11 w 23"/>
                <a:gd name="T95" fmla="*/ 2 h 11"/>
                <a:gd name="T96" fmla="*/ 11 w 23"/>
                <a:gd name="T97" fmla="*/ 2 h 11"/>
                <a:gd name="T98" fmla="*/ 11 w 23"/>
                <a:gd name="T99" fmla="*/ 0 h 11"/>
                <a:gd name="T100" fmla="*/ 11 w 23"/>
                <a:gd name="T101" fmla="*/ 2 h 11"/>
                <a:gd name="T102" fmla="*/ 11 w 23"/>
                <a:gd name="T103" fmla="*/ 2 h 11"/>
                <a:gd name="T104" fmla="*/ 11 w 23"/>
                <a:gd name="T105" fmla="*/ 0 h 11"/>
                <a:gd name="T106" fmla="*/ 11 w 23"/>
                <a:gd name="T107" fmla="*/ 0 h 11"/>
                <a:gd name="T108" fmla="*/ 11 w 23"/>
                <a:gd name="T109" fmla="*/ 0 h 11"/>
                <a:gd name="T110" fmla="*/ 14 w 23"/>
                <a:gd name="T1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" h="11">
                  <a:moveTo>
                    <a:pt x="20" y="11"/>
                  </a:move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1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close/>
                  <a:moveTo>
                    <a:pt x="20" y="7"/>
                  </a:move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7"/>
                  </a:lnTo>
                  <a:lnTo>
                    <a:pt x="23" y="7"/>
                  </a:lnTo>
                  <a:lnTo>
                    <a:pt x="20" y="7"/>
                  </a:lnTo>
                  <a:close/>
                  <a:moveTo>
                    <a:pt x="14" y="2"/>
                  </a:move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close/>
                  <a:moveTo>
                    <a:pt x="5" y="2"/>
                  </a:moveTo>
                  <a:lnTo>
                    <a:pt x="5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close/>
                  <a:moveTo>
                    <a:pt x="14" y="0"/>
                  </a:moveTo>
                  <a:lnTo>
                    <a:pt x="14" y="0"/>
                  </a:lnTo>
                  <a:lnTo>
                    <a:pt x="14" y="0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Freeform 475"/>
            <p:cNvSpPr>
              <a:spLocks noEditPoints="1"/>
            </p:cNvSpPr>
            <p:nvPr/>
          </p:nvSpPr>
          <p:spPr bwMode="auto">
            <a:xfrm>
              <a:off x="7325692" y="2265913"/>
              <a:ext cx="499757" cy="300857"/>
            </a:xfrm>
            <a:custGeom>
              <a:avLst/>
              <a:gdLst>
                <a:gd name="T0" fmla="*/ 122 w 299"/>
                <a:gd name="T1" fmla="*/ 7 h 180"/>
                <a:gd name="T2" fmla="*/ 144 w 299"/>
                <a:gd name="T3" fmla="*/ 14 h 180"/>
                <a:gd name="T4" fmla="*/ 149 w 299"/>
                <a:gd name="T5" fmla="*/ 25 h 180"/>
                <a:gd name="T6" fmla="*/ 162 w 299"/>
                <a:gd name="T7" fmla="*/ 36 h 180"/>
                <a:gd name="T8" fmla="*/ 187 w 299"/>
                <a:gd name="T9" fmla="*/ 39 h 180"/>
                <a:gd name="T10" fmla="*/ 200 w 299"/>
                <a:gd name="T11" fmla="*/ 59 h 180"/>
                <a:gd name="T12" fmla="*/ 243 w 299"/>
                <a:gd name="T13" fmla="*/ 90 h 180"/>
                <a:gd name="T14" fmla="*/ 286 w 299"/>
                <a:gd name="T15" fmla="*/ 108 h 180"/>
                <a:gd name="T16" fmla="*/ 299 w 299"/>
                <a:gd name="T17" fmla="*/ 126 h 180"/>
                <a:gd name="T18" fmla="*/ 290 w 299"/>
                <a:gd name="T19" fmla="*/ 126 h 180"/>
                <a:gd name="T20" fmla="*/ 281 w 299"/>
                <a:gd name="T21" fmla="*/ 129 h 180"/>
                <a:gd name="T22" fmla="*/ 265 w 299"/>
                <a:gd name="T23" fmla="*/ 153 h 180"/>
                <a:gd name="T24" fmla="*/ 250 w 299"/>
                <a:gd name="T25" fmla="*/ 162 h 180"/>
                <a:gd name="T26" fmla="*/ 241 w 299"/>
                <a:gd name="T27" fmla="*/ 169 h 180"/>
                <a:gd name="T28" fmla="*/ 232 w 299"/>
                <a:gd name="T29" fmla="*/ 178 h 180"/>
                <a:gd name="T30" fmla="*/ 207 w 299"/>
                <a:gd name="T31" fmla="*/ 171 h 180"/>
                <a:gd name="T32" fmla="*/ 203 w 299"/>
                <a:gd name="T33" fmla="*/ 167 h 180"/>
                <a:gd name="T34" fmla="*/ 200 w 299"/>
                <a:gd name="T35" fmla="*/ 158 h 180"/>
                <a:gd name="T36" fmla="*/ 198 w 299"/>
                <a:gd name="T37" fmla="*/ 149 h 180"/>
                <a:gd name="T38" fmla="*/ 169 w 299"/>
                <a:gd name="T39" fmla="*/ 135 h 180"/>
                <a:gd name="T40" fmla="*/ 160 w 299"/>
                <a:gd name="T41" fmla="*/ 131 h 180"/>
                <a:gd name="T42" fmla="*/ 146 w 299"/>
                <a:gd name="T43" fmla="*/ 120 h 180"/>
                <a:gd name="T44" fmla="*/ 135 w 299"/>
                <a:gd name="T45" fmla="*/ 122 h 180"/>
                <a:gd name="T46" fmla="*/ 124 w 299"/>
                <a:gd name="T47" fmla="*/ 115 h 180"/>
                <a:gd name="T48" fmla="*/ 110 w 299"/>
                <a:gd name="T49" fmla="*/ 106 h 180"/>
                <a:gd name="T50" fmla="*/ 97 w 299"/>
                <a:gd name="T51" fmla="*/ 106 h 180"/>
                <a:gd name="T52" fmla="*/ 77 w 299"/>
                <a:gd name="T53" fmla="*/ 111 h 180"/>
                <a:gd name="T54" fmla="*/ 68 w 299"/>
                <a:gd name="T55" fmla="*/ 122 h 180"/>
                <a:gd name="T56" fmla="*/ 57 w 299"/>
                <a:gd name="T57" fmla="*/ 129 h 180"/>
                <a:gd name="T58" fmla="*/ 43 w 299"/>
                <a:gd name="T59" fmla="*/ 97 h 180"/>
                <a:gd name="T60" fmla="*/ 43 w 299"/>
                <a:gd name="T61" fmla="*/ 88 h 180"/>
                <a:gd name="T62" fmla="*/ 39 w 299"/>
                <a:gd name="T63" fmla="*/ 86 h 180"/>
                <a:gd name="T64" fmla="*/ 34 w 299"/>
                <a:gd name="T65" fmla="*/ 81 h 180"/>
                <a:gd name="T66" fmla="*/ 32 w 299"/>
                <a:gd name="T67" fmla="*/ 81 h 180"/>
                <a:gd name="T68" fmla="*/ 27 w 299"/>
                <a:gd name="T69" fmla="*/ 86 h 180"/>
                <a:gd name="T70" fmla="*/ 30 w 299"/>
                <a:gd name="T71" fmla="*/ 77 h 180"/>
                <a:gd name="T72" fmla="*/ 36 w 299"/>
                <a:gd name="T73" fmla="*/ 77 h 180"/>
                <a:gd name="T74" fmla="*/ 30 w 299"/>
                <a:gd name="T75" fmla="*/ 72 h 180"/>
                <a:gd name="T76" fmla="*/ 32 w 299"/>
                <a:gd name="T77" fmla="*/ 68 h 180"/>
                <a:gd name="T78" fmla="*/ 25 w 299"/>
                <a:gd name="T79" fmla="*/ 68 h 180"/>
                <a:gd name="T80" fmla="*/ 21 w 299"/>
                <a:gd name="T81" fmla="*/ 70 h 180"/>
                <a:gd name="T82" fmla="*/ 14 w 299"/>
                <a:gd name="T83" fmla="*/ 61 h 180"/>
                <a:gd name="T84" fmla="*/ 14 w 299"/>
                <a:gd name="T85" fmla="*/ 45 h 180"/>
                <a:gd name="T86" fmla="*/ 18 w 299"/>
                <a:gd name="T87" fmla="*/ 45 h 180"/>
                <a:gd name="T88" fmla="*/ 23 w 299"/>
                <a:gd name="T89" fmla="*/ 48 h 180"/>
                <a:gd name="T90" fmla="*/ 30 w 299"/>
                <a:gd name="T91" fmla="*/ 45 h 180"/>
                <a:gd name="T92" fmla="*/ 36 w 299"/>
                <a:gd name="T93" fmla="*/ 50 h 180"/>
                <a:gd name="T94" fmla="*/ 43 w 299"/>
                <a:gd name="T95" fmla="*/ 50 h 180"/>
                <a:gd name="T96" fmla="*/ 41 w 299"/>
                <a:gd name="T97" fmla="*/ 43 h 180"/>
                <a:gd name="T98" fmla="*/ 50 w 299"/>
                <a:gd name="T99" fmla="*/ 41 h 180"/>
                <a:gd name="T100" fmla="*/ 34 w 299"/>
                <a:gd name="T101" fmla="*/ 32 h 180"/>
                <a:gd name="T102" fmla="*/ 27 w 299"/>
                <a:gd name="T103" fmla="*/ 18 h 180"/>
                <a:gd name="T104" fmla="*/ 7 w 299"/>
                <a:gd name="T105" fmla="*/ 27 h 180"/>
                <a:gd name="T106" fmla="*/ 12 w 299"/>
                <a:gd name="T107" fmla="*/ 41 h 180"/>
                <a:gd name="T108" fmla="*/ 7 w 299"/>
                <a:gd name="T109" fmla="*/ 32 h 180"/>
                <a:gd name="T110" fmla="*/ 3 w 299"/>
                <a:gd name="T111" fmla="*/ 25 h 180"/>
                <a:gd name="T112" fmla="*/ 34 w 299"/>
                <a:gd name="T113" fmla="*/ 14 h 180"/>
                <a:gd name="T114" fmla="*/ 65 w 299"/>
                <a:gd name="T115" fmla="*/ 36 h 180"/>
                <a:gd name="T116" fmla="*/ 90 w 299"/>
                <a:gd name="T117" fmla="*/ 30 h 180"/>
                <a:gd name="T118" fmla="*/ 101 w 299"/>
                <a:gd name="T119" fmla="*/ 14 h 180"/>
                <a:gd name="T120" fmla="*/ 106 w 299"/>
                <a:gd name="T121" fmla="*/ 7 h 180"/>
                <a:gd name="T122" fmla="*/ 106 w 299"/>
                <a:gd name="T123" fmla="*/ 3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9" h="180">
                  <a:moveTo>
                    <a:pt x="32" y="75"/>
                  </a:moveTo>
                  <a:lnTo>
                    <a:pt x="32" y="75"/>
                  </a:lnTo>
                  <a:lnTo>
                    <a:pt x="32" y="75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close/>
                  <a:moveTo>
                    <a:pt x="113" y="0"/>
                  </a:moveTo>
                  <a:lnTo>
                    <a:pt x="117" y="5"/>
                  </a:lnTo>
                  <a:lnTo>
                    <a:pt x="119" y="5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4" y="7"/>
                  </a:lnTo>
                  <a:lnTo>
                    <a:pt x="124" y="5"/>
                  </a:lnTo>
                  <a:lnTo>
                    <a:pt x="124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3" y="12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7" y="12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42" y="14"/>
                  </a:lnTo>
                  <a:lnTo>
                    <a:pt x="142" y="14"/>
                  </a:lnTo>
                  <a:lnTo>
                    <a:pt x="142" y="14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2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51" y="23"/>
                  </a:lnTo>
                  <a:lnTo>
                    <a:pt x="151" y="23"/>
                  </a:lnTo>
                  <a:lnTo>
                    <a:pt x="151" y="25"/>
                  </a:lnTo>
                  <a:lnTo>
                    <a:pt x="149" y="25"/>
                  </a:lnTo>
                  <a:lnTo>
                    <a:pt x="149" y="25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9" y="27"/>
                  </a:lnTo>
                  <a:lnTo>
                    <a:pt x="149" y="27"/>
                  </a:lnTo>
                  <a:lnTo>
                    <a:pt x="149" y="27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51" y="34"/>
                  </a:lnTo>
                  <a:lnTo>
                    <a:pt x="153" y="34"/>
                  </a:lnTo>
                  <a:lnTo>
                    <a:pt x="155" y="36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58" y="36"/>
                  </a:lnTo>
                  <a:lnTo>
                    <a:pt x="160" y="36"/>
                  </a:lnTo>
                  <a:lnTo>
                    <a:pt x="162" y="36"/>
                  </a:lnTo>
                  <a:lnTo>
                    <a:pt x="164" y="36"/>
                  </a:lnTo>
                  <a:lnTo>
                    <a:pt x="167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39"/>
                  </a:lnTo>
                  <a:lnTo>
                    <a:pt x="173" y="39"/>
                  </a:lnTo>
                  <a:lnTo>
                    <a:pt x="176" y="39"/>
                  </a:lnTo>
                  <a:lnTo>
                    <a:pt x="176" y="36"/>
                  </a:lnTo>
                  <a:lnTo>
                    <a:pt x="176" y="36"/>
                  </a:lnTo>
                  <a:lnTo>
                    <a:pt x="176" y="36"/>
                  </a:lnTo>
                  <a:lnTo>
                    <a:pt x="176" y="36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78" y="36"/>
                  </a:lnTo>
                  <a:lnTo>
                    <a:pt x="180" y="36"/>
                  </a:lnTo>
                  <a:lnTo>
                    <a:pt x="185" y="39"/>
                  </a:lnTo>
                  <a:lnTo>
                    <a:pt x="187" y="39"/>
                  </a:lnTo>
                  <a:lnTo>
                    <a:pt x="189" y="41"/>
                  </a:lnTo>
                  <a:lnTo>
                    <a:pt x="189" y="43"/>
                  </a:lnTo>
                  <a:lnTo>
                    <a:pt x="189" y="43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89" y="45"/>
                  </a:lnTo>
                  <a:lnTo>
                    <a:pt x="191" y="48"/>
                  </a:lnTo>
                  <a:lnTo>
                    <a:pt x="191" y="48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1" y="50"/>
                  </a:lnTo>
                  <a:lnTo>
                    <a:pt x="194" y="50"/>
                  </a:lnTo>
                  <a:lnTo>
                    <a:pt x="194" y="52"/>
                  </a:lnTo>
                  <a:lnTo>
                    <a:pt x="194" y="52"/>
                  </a:lnTo>
                  <a:lnTo>
                    <a:pt x="196" y="52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200" y="59"/>
                  </a:lnTo>
                  <a:lnTo>
                    <a:pt x="200" y="61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3" y="61"/>
                  </a:lnTo>
                  <a:lnTo>
                    <a:pt x="203" y="63"/>
                  </a:lnTo>
                  <a:lnTo>
                    <a:pt x="203" y="63"/>
                  </a:lnTo>
                  <a:lnTo>
                    <a:pt x="203" y="63"/>
                  </a:lnTo>
                  <a:lnTo>
                    <a:pt x="203" y="66"/>
                  </a:lnTo>
                  <a:lnTo>
                    <a:pt x="203" y="66"/>
                  </a:lnTo>
                  <a:lnTo>
                    <a:pt x="205" y="68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9" y="70"/>
                  </a:lnTo>
                  <a:lnTo>
                    <a:pt x="214" y="72"/>
                  </a:lnTo>
                  <a:lnTo>
                    <a:pt x="216" y="75"/>
                  </a:lnTo>
                  <a:lnTo>
                    <a:pt x="223" y="79"/>
                  </a:lnTo>
                  <a:lnTo>
                    <a:pt x="227" y="79"/>
                  </a:lnTo>
                  <a:lnTo>
                    <a:pt x="229" y="81"/>
                  </a:lnTo>
                  <a:lnTo>
                    <a:pt x="232" y="84"/>
                  </a:lnTo>
                  <a:lnTo>
                    <a:pt x="232" y="86"/>
                  </a:lnTo>
                  <a:lnTo>
                    <a:pt x="236" y="86"/>
                  </a:lnTo>
                  <a:lnTo>
                    <a:pt x="238" y="88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7" y="93"/>
                  </a:lnTo>
                  <a:lnTo>
                    <a:pt x="254" y="95"/>
                  </a:lnTo>
                  <a:lnTo>
                    <a:pt x="256" y="97"/>
                  </a:lnTo>
                  <a:lnTo>
                    <a:pt x="259" y="97"/>
                  </a:lnTo>
                  <a:lnTo>
                    <a:pt x="261" y="99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70" y="104"/>
                  </a:lnTo>
                  <a:lnTo>
                    <a:pt x="272" y="106"/>
                  </a:lnTo>
                  <a:lnTo>
                    <a:pt x="274" y="108"/>
                  </a:lnTo>
                  <a:lnTo>
                    <a:pt x="277" y="108"/>
                  </a:lnTo>
                  <a:lnTo>
                    <a:pt x="279" y="108"/>
                  </a:lnTo>
                  <a:lnTo>
                    <a:pt x="279" y="108"/>
                  </a:lnTo>
                  <a:lnTo>
                    <a:pt x="279" y="106"/>
                  </a:lnTo>
                  <a:lnTo>
                    <a:pt x="279" y="106"/>
                  </a:lnTo>
                  <a:lnTo>
                    <a:pt x="281" y="106"/>
                  </a:lnTo>
                  <a:lnTo>
                    <a:pt x="283" y="108"/>
                  </a:lnTo>
                  <a:lnTo>
                    <a:pt x="283" y="108"/>
                  </a:lnTo>
                  <a:lnTo>
                    <a:pt x="286" y="108"/>
                  </a:lnTo>
                  <a:lnTo>
                    <a:pt x="286" y="108"/>
                  </a:lnTo>
                  <a:lnTo>
                    <a:pt x="288" y="111"/>
                  </a:lnTo>
                  <a:lnTo>
                    <a:pt x="288" y="111"/>
                  </a:lnTo>
                  <a:lnTo>
                    <a:pt x="288" y="111"/>
                  </a:lnTo>
                  <a:lnTo>
                    <a:pt x="290" y="111"/>
                  </a:lnTo>
                  <a:lnTo>
                    <a:pt x="292" y="113"/>
                  </a:lnTo>
                  <a:lnTo>
                    <a:pt x="292" y="113"/>
                  </a:lnTo>
                  <a:lnTo>
                    <a:pt x="295" y="113"/>
                  </a:lnTo>
                  <a:lnTo>
                    <a:pt x="295" y="113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7"/>
                  </a:lnTo>
                  <a:lnTo>
                    <a:pt x="297" y="120"/>
                  </a:lnTo>
                  <a:lnTo>
                    <a:pt x="297" y="120"/>
                  </a:lnTo>
                  <a:lnTo>
                    <a:pt x="297" y="122"/>
                  </a:lnTo>
                  <a:lnTo>
                    <a:pt x="297" y="122"/>
                  </a:lnTo>
                  <a:lnTo>
                    <a:pt x="297" y="124"/>
                  </a:lnTo>
                  <a:lnTo>
                    <a:pt x="297" y="124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5" y="129"/>
                  </a:lnTo>
                  <a:lnTo>
                    <a:pt x="295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2" y="129"/>
                  </a:lnTo>
                  <a:lnTo>
                    <a:pt x="290" y="129"/>
                  </a:lnTo>
                  <a:lnTo>
                    <a:pt x="290" y="129"/>
                  </a:lnTo>
                  <a:lnTo>
                    <a:pt x="290" y="126"/>
                  </a:lnTo>
                  <a:lnTo>
                    <a:pt x="290" y="126"/>
                  </a:lnTo>
                  <a:lnTo>
                    <a:pt x="286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9"/>
                  </a:lnTo>
                  <a:lnTo>
                    <a:pt x="281" y="129"/>
                  </a:lnTo>
                  <a:lnTo>
                    <a:pt x="281" y="129"/>
                  </a:lnTo>
                  <a:lnTo>
                    <a:pt x="281" y="129"/>
                  </a:lnTo>
                  <a:lnTo>
                    <a:pt x="281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0" y="131"/>
                  </a:lnTo>
                  <a:lnTo>
                    <a:pt x="270" y="133"/>
                  </a:lnTo>
                  <a:lnTo>
                    <a:pt x="265" y="133"/>
                  </a:lnTo>
                  <a:lnTo>
                    <a:pt x="265" y="135"/>
                  </a:lnTo>
                  <a:lnTo>
                    <a:pt x="265" y="135"/>
                  </a:lnTo>
                  <a:lnTo>
                    <a:pt x="265" y="135"/>
                  </a:lnTo>
                  <a:lnTo>
                    <a:pt x="265" y="138"/>
                  </a:lnTo>
                  <a:lnTo>
                    <a:pt x="268" y="138"/>
                  </a:lnTo>
                  <a:lnTo>
                    <a:pt x="268" y="140"/>
                  </a:lnTo>
                  <a:lnTo>
                    <a:pt x="265" y="144"/>
                  </a:lnTo>
                  <a:lnTo>
                    <a:pt x="265" y="144"/>
                  </a:lnTo>
                  <a:lnTo>
                    <a:pt x="265" y="147"/>
                  </a:lnTo>
                  <a:lnTo>
                    <a:pt x="265" y="147"/>
                  </a:lnTo>
                  <a:lnTo>
                    <a:pt x="265" y="147"/>
                  </a:lnTo>
                  <a:lnTo>
                    <a:pt x="265" y="147"/>
                  </a:lnTo>
                  <a:lnTo>
                    <a:pt x="265" y="149"/>
                  </a:lnTo>
                  <a:lnTo>
                    <a:pt x="265" y="149"/>
                  </a:lnTo>
                  <a:lnTo>
                    <a:pt x="265" y="149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3"/>
                  </a:lnTo>
                  <a:lnTo>
                    <a:pt x="265" y="153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1" y="156"/>
                  </a:lnTo>
                  <a:lnTo>
                    <a:pt x="261" y="156"/>
                  </a:lnTo>
                  <a:lnTo>
                    <a:pt x="261" y="156"/>
                  </a:lnTo>
                  <a:lnTo>
                    <a:pt x="261" y="156"/>
                  </a:lnTo>
                  <a:lnTo>
                    <a:pt x="261" y="158"/>
                  </a:lnTo>
                  <a:lnTo>
                    <a:pt x="261" y="158"/>
                  </a:lnTo>
                  <a:lnTo>
                    <a:pt x="261" y="158"/>
                  </a:lnTo>
                  <a:lnTo>
                    <a:pt x="261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6" y="158"/>
                  </a:lnTo>
                  <a:lnTo>
                    <a:pt x="256" y="158"/>
                  </a:lnTo>
                  <a:lnTo>
                    <a:pt x="256" y="160"/>
                  </a:lnTo>
                  <a:lnTo>
                    <a:pt x="256" y="160"/>
                  </a:lnTo>
                  <a:lnTo>
                    <a:pt x="256" y="160"/>
                  </a:lnTo>
                  <a:lnTo>
                    <a:pt x="256" y="160"/>
                  </a:lnTo>
                  <a:lnTo>
                    <a:pt x="256" y="160"/>
                  </a:lnTo>
                  <a:lnTo>
                    <a:pt x="254" y="160"/>
                  </a:lnTo>
                  <a:lnTo>
                    <a:pt x="254" y="160"/>
                  </a:lnTo>
                  <a:lnTo>
                    <a:pt x="254" y="160"/>
                  </a:lnTo>
                  <a:lnTo>
                    <a:pt x="252" y="162"/>
                  </a:lnTo>
                  <a:lnTo>
                    <a:pt x="252" y="162"/>
                  </a:lnTo>
                  <a:lnTo>
                    <a:pt x="250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38" y="165"/>
                  </a:lnTo>
                  <a:lnTo>
                    <a:pt x="238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41" y="167"/>
                  </a:lnTo>
                  <a:lnTo>
                    <a:pt x="241" y="167"/>
                  </a:lnTo>
                  <a:lnTo>
                    <a:pt x="241" y="167"/>
                  </a:lnTo>
                  <a:lnTo>
                    <a:pt x="243" y="167"/>
                  </a:lnTo>
                  <a:lnTo>
                    <a:pt x="243" y="167"/>
                  </a:lnTo>
                  <a:lnTo>
                    <a:pt x="243" y="167"/>
                  </a:lnTo>
                  <a:lnTo>
                    <a:pt x="243" y="169"/>
                  </a:lnTo>
                  <a:lnTo>
                    <a:pt x="243" y="169"/>
                  </a:lnTo>
                  <a:lnTo>
                    <a:pt x="243" y="169"/>
                  </a:lnTo>
                  <a:lnTo>
                    <a:pt x="243" y="169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1" y="176"/>
                  </a:lnTo>
                  <a:lnTo>
                    <a:pt x="238" y="176"/>
                  </a:lnTo>
                  <a:lnTo>
                    <a:pt x="236" y="176"/>
                  </a:lnTo>
                  <a:lnTo>
                    <a:pt x="236" y="178"/>
                  </a:lnTo>
                  <a:lnTo>
                    <a:pt x="236" y="178"/>
                  </a:lnTo>
                  <a:lnTo>
                    <a:pt x="236" y="178"/>
                  </a:lnTo>
                  <a:lnTo>
                    <a:pt x="234" y="178"/>
                  </a:lnTo>
                  <a:lnTo>
                    <a:pt x="234" y="178"/>
                  </a:lnTo>
                  <a:lnTo>
                    <a:pt x="234" y="180"/>
                  </a:lnTo>
                  <a:lnTo>
                    <a:pt x="234" y="180"/>
                  </a:lnTo>
                  <a:lnTo>
                    <a:pt x="234" y="180"/>
                  </a:lnTo>
                  <a:lnTo>
                    <a:pt x="232" y="178"/>
                  </a:lnTo>
                  <a:lnTo>
                    <a:pt x="232" y="178"/>
                  </a:lnTo>
                  <a:lnTo>
                    <a:pt x="232" y="180"/>
                  </a:lnTo>
                  <a:lnTo>
                    <a:pt x="232" y="180"/>
                  </a:lnTo>
                  <a:lnTo>
                    <a:pt x="232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7" y="180"/>
                  </a:lnTo>
                  <a:lnTo>
                    <a:pt x="227" y="180"/>
                  </a:lnTo>
                  <a:lnTo>
                    <a:pt x="227" y="180"/>
                  </a:lnTo>
                  <a:lnTo>
                    <a:pt x="227" y="180"/>
                  </a:lnTo>
                  <a:lnTo>
                    <a:pt x="227" y="180"/>
                  </a:lnTo>
                  <a:lnTo>
                    <a:pt x="225" y="178"/>
                  </a:lnTo>
                  <a:lnTo>
                    <a:pt x="225" y="178"/>
                  </a:lnTo>
                  <a:lnTo>
                    <a:pt x="225" y="178"/>
                  </a:lnTo>
                  <a:lnTo>
                    <a:pt x="225" y="178"/>
                  </a:lnTo>
                  <a:lnTo>
                    <a:pt x="225" y="178"/>
                  </a:lnTo>
                  <a:lnTo>
                    <a:pt x="223" y="176"/>
                  </a:lnTo>
                  <a:lnTo>
                    <a:pt x="223" y="176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21" y="174"/>
                  </a:lnTo>
                  <a:lnTo>
                    <a:pt x="218" y="174"/>
                  </a:lnTo>
                  <a:lnTo>
                    <a:pt x="216" y="174"/>
                  </a:lnTo>
                  <a:lnTo>
                    <a:pt x="216" y="176"/>
                  </a:lnTo>
                  <a:lnTo>
                    <a:pt x="212" y="174"/>
                  </a:lnTo>
                  <a:lnTo>
                    <a:pt x="212" y="174"/>
                  </a:lnTo>
                  <a:lnTo>
                    <a:pt x="209" y="174"/>
                  </a:lnTo>
                  <a:lnTo>
                    <a:pt x="209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69"/>
                  </a:lnTo>
                  <a:lnTo>
                    <a:pt x="207" y="169"/>
                  </a:lnTo>
                  <a:lnTo>
                    <a:pt x="207" y="169"/>
                  </a:lnTo>
                  <a:lnTo>
                    <a:pt x="207" y="169"/>
                  </a:lnTo>
                  <a:lnTo>
                    <a:pt x="207" y="169"/>
                  </a:lnTo>
                  <a:lnTo>
                    <a:pt x="207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7"/>
                  </a:lnTo>
                  <a:lnTo>
                    <a:pt x="205" y="167"/>
                  </a:lnTo>
                  <a:lnTo>
                    <a:pt x="205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5"/>
                  </a:lnTo>
                  <a:lnTo>
                    <a:pt x="203" y="165"/>
                  </a:lnTo>
                  <a:lnTo>
                    <a:pt x="203" y="165"/>
                  </a:lnTo>
                  <a:lnTo>
                    <a:pt x="203" y="165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3" y="162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1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98" y="149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6" y="147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1" y="144"/>
                  </a:lnTo>
                  <a:lnTo>
                    <a:pt x="187" y="147"/>
                  </a:lnTo>
                  <a:lnTo>
                    <a:pt x="185" y="147"/>
                  </a:lnTo>
                  <a:lnTo>
                    <a:pt x="180" y="147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6" y="140"/>
                  </a:lnTo>
                  <a:lnTo>
                    <a:pt x="176" y="138"/>
                  </a:lnTo>
                  <a:lnTo>
                    <a:pt x="173" y="138"/>
                  </a:lnTo>
                  <a:lnTo>
                    <a:pt x="173" y="135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4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2" y="133"/>
                  </a:lnTo>
                  <a:lnTo>
                    <a:pt x="160" y="133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60" y="131"/>
                  </a:lnTo>
                  <a:lnTo>
                    <a:pt x="158" y="129"/>
                  </a:lnTo>
                  <a:lnTo>
                    <a:pt x="158" y="129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6"/>
                  </a:lnTo>
                  <a:lnTo>
                    <a:pt x="158" y="124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55" y="124"/>
                  </a:lnTo>
                  <a:lnTo>
                    <a:pt x="151" y="122"/>
                  </a:lnTo>
                  <a:lnTo>
                    <a:pt x="151" y="122"/>
                  </a:lnTo>
                  <a:lnTo>
                    <a:pt x="151" y="122"/>
                  </a:lnTo>
                  <a:lnTo>
                    <a:pt x="149" y="122"/>
                  </a:lnTo>
                  <a:lnTo>
                    <a:pt x="149" y="122"/>
                  </a:lnTo>
                  <a:lnTo>
                    <a:pt x="149" y="122"/>
                  </a:lnTo>
                  <a:lnTo>
                    <a:pt x="149" y="122"/>
                  </a:lnTo>
                  <a:lnTo>
                    <a:pt x="146" y="122"/>
                  </a:lnTo>
                  <a:lnTo>
                    <a:pt x="146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140" y="120"/>
                  </a:lnTo>
                  <a:lnTo>
                    <a:pt x="140" y="120"/>
                  </a:lnTo>
                  <a:lnTo>
                    <a:pt x="140" y="120"/>
                  </a:lnTo>
                  <a:lnTo>
                    <a:pt x="140" y="120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3" y="122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3" y="117"/>
                  </a:lnTo>
                  <a:lnTo>
                    <a:pt x="131" y="117"/>
                  </a:lnTo>
                  <a:lnTo>
                    <a:pt x="131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4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9" y="115"/>
                  </a:lnTo>
                  <a:lnTo>
                    <a:pt x="115" y="115"/>
                  </a:lnTo>
                  <a:lnTo>
                    <a:pt x="115" y="113"/>
                  </a:lnTo>
                  <a:lnTo>
                    <a:pt x="115" y="113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5" y="111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6" y="108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101" y="106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1"/>
                  </a:lnTo>
                  <a:lnTo>
                    <a:pt x="88" y="111"/>
                  </a:lnTo>
                  <a:lnTo>
                    <a:pt x="88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3" y="111"/>
                  </a:lnTo>
                  <a:lnTo>
                    <a:pt x="83" y="111"/>
                  </a:lnTo>
                  <a:lnTo>
                    <a:pt x="83" y="111"/>
                  </a:lnTo>
                  <a:lnTo>
                    <a:pt x="79" y="111"/>
                  </a:lnTo>
                  <a:lnTo>
                    <a:pt x="77" y="111"/>
                  </a:lnTo>
                  <a:lnTo>
                    <a:pt x="77" y="111"/>
                  </a:lnTo>
                  <a:lnTo>
                    <a:pt x="77" y="113"/>
                  </a:lnTo>
                  <a:lnTo>
                    <a:pt x="77" y="113"/>
                  </a:lnTo>
                  <a:lnTo>
                    <a:pt x="74" y="113"/>
                  </a:lnTo>
                  <a:lnTo>
                    <a:pt x="74" y="113"/>
                  </a:lnTo>
                  <a:lnTo>
                    <a:pt x="74" y="113"/>
                  </a:lnTo>
                  <a:lnTo>
                    <a:pt x="74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0" y="115"/>
                  </a:lnTo>
                  <a:lnTo>
                    <a:pt x="70" y="117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2"/>
                  </a:lnTo>
                  <a:lnTo>
                    <a:pt x="68" y="122"/>
                  </a:lnTo>
                  <a:lnTo>
                    <a:pt x="68" y="122"/>
                  </a:lnTo>
                  <a:lnTo>
                    <a:pt x="68" y="122"/>
                  </a:lnTo>
                  <a:lnTo>
                    <a:pt x="68" y="122"/>
                  </a:lnTo>
                  <a:lnTo>
                    <a:pt x="68" y="122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2" y="129"/>
                  </a:lnTo>
                  <a:lnTo>
                    <a:pt x="50" y="126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2"/>
                  </a:lnTo>
                  <a:lnTo>
                    <a:pt x="48" y="120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99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0"/>
                  </a:lnTo>
                  <a:lnTo>
                    <a:pt x="45" y="93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39" y="88"/>
                  </a:lnTo>
                  <a:lnTo>
                    <a:pt x="39" y="86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6" y="84"/>
                  </a:lnTo>
                  <a:lnTo>
                    <a:pt x="39" y="86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6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1"/>
                  </a:lnTo>
                  <a:lnTo>
                    <a:pt x="34" y="84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30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2" y="75"/>
                  </a:lnTo>
                  <a:lnTo>
                    <a:pt x="32" y="72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2" y="75"/>
                  </a:lnTo>
                  <a:lnTo>
                    <a:pt x="32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0" y="75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2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1" y="70"/>
                  </a:lnTo>
                  <a:lnTo>
                    <a:pt x="23" y="70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5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0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5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8"/>
                  </a:lnTo>
                  <a:lnTo>
                    <a:pt x="45" y="48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50" y="45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1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6" y="34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0" y="25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8"/>
                  </a:lnTo>
                  <a:lnTo>
                    <a:pt x="9" y="18"/>
                  </a:lnTo>
                  <a:lnTo>
                    <a:pt x="9" y="21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30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9"/>
                  </a:lnTo>
                  <a:lnTo>
                    <a:pt x="14" y="39"/>
                  </a:lnTo>
                  <a:lnTo>
                    <a:pt x="14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5" y="32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3"/>
                  </a:lnTo>
                  <a:lnTo>
                    <a:pt x="3" y="21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6" y="12"/>
                  </a:lnTo>
                  <a:lnTo>
                    <a:pt x="18" y="12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9" y="14"/>
                  </a:lnTo>
                  <a:lnTo>
                    <a:pt x="41" y="16"/>
                  </a:lnTo>
                  <a:lnTo>
                    <a:pt x="43" y="18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50" y="25"/>
                  </a:lnTo>
                  <a:lnTo>
                    <a:pt x="52" y="27"/>
                  </a:lnTo>
                  <a:lnTo>
                    <a:pt x="54" y="30"/>
                  </a:lnTo>
                  <a:lnTo>
                    <a:pt x="54" y="32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4" y="34"/>
                  </a:lnTo>
                  <a:lnTo>
                    <a:pt x="77" y="34"/>
                  </a:lnTo>
                  <a:lnTo>
                    <a:pt x="81" y="34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2" y="14"/>
                  </a:lnTo>
                  <a:lnTo>
                    <a:pt x="95" y="14"/>
                  </a:lnTo>
                  <a:lnTo>
                    <a:pt x="97" y="16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3" y="9"/>
                  </a:lnTo>
                  <a:lnTo>
                    <a:pt x="110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476"/>
            <p:cNvSpPr>
              <a:spLocks noEditPoints="1"/>
            </p:cNvSpPr>
            <p:nvPr/>
          </p:nvSpPr>
          <p:spPr bwMode="auto">
            <a:xfrm>
              <a:off x="6722307" y="2548384"/>
              <a:ext cx="63514" cy="26743"/>
            </a:xfrm>
            <a:custGeom>
              <a:avLst/>
              <a:gdLst>
                <a:gd name="T0" fmla="*/ 0 w 38"/>
                <a:gd name="T1" fmla="*/ 11 h 16"/>
                <a:gd name="T2" fmla="*/ 2 w 38"/>
                <a:gd name="T3" fmla="*/ 11 h 16"/>
                <a:gd name="T4" fmla="*/ 31 w 38"/>
                <a:gd name="T5" fmla="*/ 7 h 16"/>
                <a:gd name="T6" fmla="*/ 29 w 38"/>
                <a:gd name="T7" fmla="*/ 7 h 16"/>
                <a:gd name="T8" fmla="*/ 27 w 38"/>
                <a:gd name="T9" fmla="*/ 7 h 16"/>
                <a:gd name="T10" fmla="*/ 27 w 38"/>
                <a:gd name="T11" fmla="*/ 9 h 16"/>
                <a:gd name="T12" fmla="*/ 27 w 38"/>
                <a:gd name="T13" fmla="*/ 14 h 16"/>
                <a:gd name="T14" fmla="*/ 29 w 38"/>
                <a:gd name="T15" fmla="*/ 14 h 16"/>
                <a:gd name="T16" fmla="*/ 27 w 38"/>
                <a:gd name="T17" fmla="*/ 14 h 16"/>
                <a:gd name="T18" fmla="*/ 27 w 38"/>
                <a:gd name="T19" fmla="*/ 14 h 16"/>
                <a:gd name="T20" fmla="*/ 27 w 38"/>
                <a:gd name="T21" fmla="*/ 14 h 16"/>
                <a:gd name="T22" fmla="*/ 27 w 38"/>
                <a:gd name="T23" fmla="*/ 14 h 16"/>
                <a:gd name="T24" fmla="*/ 27 w 38"/>
                <a:gd name="T25" fmla="*/ 14 h 16"/>
                <a:gd name="T26" fmla="*/ 24 w 38"/>
                <a:gd name="T27" fmla="*/ 14 h 16"/>
                <a:gd name="T28" fmla="*/ 24 w 38"/>
                <a:gd name="T29" fmla="*/ 14 h 16"/>
                <a:gd name="T30" fmla="*/ 22 w 38"/>
                <a:gd name="T31" fmla="*/ 16 h 16"/>
                <a:gd name="T32" fmla="*/ 22 w 38"/>
                <a:gd name="T33" fmla="*/ 14 h 16"/>
                <a:gd name="T34" fmla="*/ 22 w 38"/>
                <a:gd name="T35" fmla="*/ 16 h 16"/>
                <a:gd name="T36" fmla="*/ 22 w 38"/>
                <a:gd name="T37" fmla="*/ 16 h 16"/>
                <a:gd name="T38" fmla="*/ 20 w 38"/>
                <a:gd name="T39" fmla="*/ 16 h 16"/>
                <a:gd name="T40" fmla="*/ 20 w 38"/>
                <a:gd name="T41" fmla="*/ 14 h 16"/>
                <a:gd name="T42" fmla="*/ 20 w 38"/>
                <a:gd name="T43" fmla="*/ 14 h 16"/>
                <a:gd name="T44" fmla="*/ 18 w 38"/>
                <a:gd name="T45" fmla="*/ 14 h 16"/>
                <a:gd name="T46" fmla="*/ 18 w 38"/>
                <a:gd name="T47" fmla="*/ 16 h 16"/>
                <a:gd name="T48" fmla="*/ 18 w 38"/>
                <a:gd name="T49" fmla="*/ 14 h 16"/>
                <a:gd name="T50" fmla="*/ 18 w 38"/>
                <a:gd name="T51" fmla="*/ 14 h 16"/>
                <a:gd name="T52" fmla="*/ 18 w 38"/>
                <a:gd name="T53" fmla="*/ 11 h 16"/>
                <a:gd name="T54" fmla="*/ 15 w 38"/>
                <a:gd name="T55" fmla="*/ 11 h 16"/>
                <a:gd name="T56" fmla="*/ 15 w 38"/>
                <a:gd name="T57" fmla="*/ 11 h 16"/>
                <a:gd name="T58" fmla="*/ 13 w 38"/>
                <a:gd name="T59" fmla="*/ 11 h 16"/>
                <a:gd name="T60" fmla="*/ 11 w 38"/>
                <a:gd name="T61" fmla="*/ 11 h 16"/>
                <a:gd name="T62" fmla="*/ 11 w 38"/>
                <a:gd name="T63" fmla="*/ 11 h 16"/>
                <a:gd name="T64" fmla="*/ 9 w 38"/>
                <a:gd name="T65" fmla="*/ 11 h 16"/>
                <a:gd name="T66" fmla="*/ 6 w 38"/>
                <a:gd name="T67" fmla="*/ 14 h 16"/>
                <a:gd name="T68" fmla="*/ 6 w 38"/>
                <a:gd name="T69" fmla="*/ 14 h 16"/>
                <a:gd name="T70" fmla="*/ 4 w 38"/>
                <a:gd name="T71" fmla="*/ 14 h 16"/>
                <a:gd name="T72" fmla="*/ 4 w 38"/>
                <a:gd name="T73" fmla="*/ 11 h 16"/>
                <a:gd name="T74" fmla="*/ 2 w 38"/>
                <a:gd name="T75" fmla="*/ 11 h 16"/>
                <a:gd name="T76" fmla="*/ 4 w 38"/>
                <a:gd name="T77" fmla="*/ 11 h 16"/>
                <a:gd name="T78" fmla="*/ 6 w 38"/>
                <a:gd name="T79" fmla="*/ 11 h 16"/>
                <a:gd name="T80" fmla="*/ 6 w 38"/>
                <a:gd name="T81" fmla="*/ 7 h 16"/>
                <a:gd name="T82" fmla="*/ 9 w 38"/>
                <a:gd name="T83" fmla="*/ 7 h 16"/>
                <a:gd name="T84" fmla="*/ 13 w 38"/>
                <a:gd name="T85" fmla="*/ 7 h 16"/>
                <a:gd name="T86" fmla="*/ 24 w 38"/>
                <a:gd name="T87" fmla="*/ 7 h 16"/>
                <a:gd name="T88" fmla="*/ 29 w 38"/>
                <a:gd name="T89" fmla="*/ 5 h 16"/>
                <a:gd name="T90" fmla="*/ 33 w 38"/>
                <a:gd name="T91" fmla="*/ 2 h 16"/>
                <a:gd name="T92" fmla="*/ 38 w 38"/>
                <a:gd name="T93" fmla="*/ 0 h 16"/>
                <a:gd name="T94" fmla="*/ 38 w 38"/>
                <a:gd name="T95" fmla="*/ 0 h 16"/>
                <a:gd name="T96" fmla="*/ 38 w 38"/>
                <a:gd name="T9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8" h="16">
                  <a:moveTo>
                    <a:pt x="2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36" y="2"/>
                  </a:moveTo>
                  <a:lnTo>
                    <a:pt x="33" y="2"/>
                  </a:lnTo>
                  <a:lnTo>
                    <a:pt x="31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7" y="9"/>
                  </a:lnTo>
                  <a:lnTo>
                    <a:pt x="27" y="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477"/>
            <p:cNvSpPr>
              <a:spLocks noEditPoints="1"/>
            </p:cNvSpPr>
            <p:nvPr/>
          </p:nvSpPr>
          <p:spPr bwMode="auto">
            <a:xfrm>
              <a:off x="6473265" y="2292656"/>
              <a:ext cx="638484" cy="249042"/>
            </a:xfrm>
            <a:custGeom>
              <a:avLst/>
              <a:gdLst>
                <a:gd name="T0" fmla="*/ 39 w 382"/>
                <a:gd name="T1" fmla="*/ 38 h 149"/>
                <a:gd name="T2" fmla="*/ 32 w 382"/>
                <a:gd name="T3" fmla="*/ 5 h 149"/>
                <a:gd name="T4" fmla="*/ 43 w 382"/>
                <a:gd name="T5" fmla="*/ 11 h 149"/>
                <a:gd name="T6" fmla="*/ 61 w 382"/>
                <a:gd name="T7" fmla="*/ 27 h 149"/>
                <a:gd name="T8" fmla="*/ 41 w 382"/>
                <a:gd name="T9" fmla="*/ 27 h 149"/>
                <a:gd name="T10" fmla="*/ 14 w 382"/>
                <a:gd name="T11" fmla="*/ 47 h 149"/>
                <a:gd name="T12" fmla="*/ 14 w 382"/>
                <a:gd name="T13" fmla="*/ 36 h 149"/>
                <a:gd name="T14" fmla="*/ 12 w 382"/>
                <a:gd name="T15" fmla="*/ 27 h 149"/>
                <a:gd name="T16" fmla="*/ 12 w 382"/>
                <a:gd name="T17" fmla="*/ 11 h 149"/>
                <a:gd name="T18" fmla="*/ 23 w 382"/>
                <a:gd name="T19" fmla="*/ 0 h 149"/>
                <a:gd name="T20" fmla="*/ 185 w 382"/>
                <a:gd name="T21" fmla="*/ 9 h 149"/>
                <a:gd name="T22" fmla="*/ 205 w 382"/>
                <a:gd name="T23" fmla="*/ 20 h 149"/>
                <a:gd name="T24" fmla="*/ 232 w 382"/>
                <a:gd name="T25" fmla="*/ 23 h 149"/>
                <a:gd name="T26" fmla="*/ 261 w 382"/>
                <a:gd name="T27" fmla="*/ 25 h 149"/>
                <a:gd name="T28" fmla="*/ 295 w 382"/>
                <a:gd name="T29" fmla="*/ 20 h 149"/>
                <a:gd name="T30" fmla="*/ 322 w 382"/>
                <a:gd name="T31" fmla="*/ 14 h 149"/>
                <a:gd name="T32" fmla="*/ 344 w 382"/>
                <a:gd name="T33" fmla="*/ 27 h 149"/>
                <a:gd name="T34" fmla="*/ 360 w 382"/>
                <a:gd name="T35" fmla="*/ 50 h 149"/>
                <a:gd name="T36" fmla="*/ 364 w 382"/>
                <a:gd name="T37" fmla="*/ 65 h 149"/>
                <a:gd name="T38" fmla="*/ 367 w 382"/>
                <a:gd name="T39" fmla="*/ 81 h 149"/>
                <a:gd name="T40" fmla="*/ 369 w 382"/>
                <a:gd name="T41" fmla="*/ 101 h 149"/>
                <a:gd name="T42" fmla="*/ 382 w 382"/>
                <a:gd name="T43" fmla="*/ 117 h 149"/>
                <a:gd name="T44" fmla="*/ 360 w 382"/>
                <a:gd name="T45" fmla="*/ 115 h 149"/>
                <a:gd name="T46" fmla="*/ 333 w 382"/>
                <a:gd name="T47" fmla="*/ 115 h 149"/>
                <a:gd name="T48" fmla="*/ 236 w 382"/>
                <a:gd name="T49" fmla="*/ 128 h 149"/>
                <a:gd name="T50" fmla="*/ 227 w 382"/>
                <a:gd name="T51" fmla="*/ 140 h 149"/>
                <a:gd name="T52" fmla="*/ 212 w 382"/>
                <a:gd name="T53" fmla="*/ 140 h 149"/>
                <a:gd name="T54" fmla="*/ 205 w 382"/>
                <a:gd name="T55" fmla="*/ 126 h 149"/>
                <a:gd name="T56" fmla="*/ 203 w 382"/>
                <a:gd name="T57" fmla="*/ 131 h 149"/>
                <a:gd name="T58" fmla="*/ 173 w 382"/>
                <a:gd name="T59" fmla="*/ 137 h 149"/>
                <a:gd name="T60" fmla="*/ 160 w 382"/>
                <a:gd name="T61" fmla="*/ 142 h 149"/>
                <a:gd name="T62" fmla="*/ 133 w 382"/>
                <a:gd name="T63" fmla="*/ 133 h 149"/>
                <a:gd name="T64" fmla="*/ 104 w 382"/>
                <a:gd name="T65" fmla="*/ 135 h 149"/>
                <a:gd name="T66" fmla="*/ 92 w 382"/>
                <a:gd name="T67" fmla="*/ 140 h 149"/>
                <a:gd name="T68" fmla="*/ 83 w 382"/>
                <a:gd name="T69" fmla="*/ 140 h 149"/>
                <a:gd name="T70" fmla="*/ 77 w 382"/>
                <a:gd name="T71" fmla="*/ 131 h 149"/>
                <a:gd name="T72" fmla="*/ 70 w 382"/>
                <a:gd name="T73" fmla="*/ 128 h 149"/>
                <a:gd name="T74" fmla="*/ 61 w 382"/>
                <a:gd name="T75" fmla="*/ 124 h 149"/>
                <a:gd name="T76" fmla="*/ 57 w 382"/>
                <a:gd name="T77" fmla="*/ 131 h 149"/>
                <a:gd name="T78" fmla="*/ 57 w 382"/>
                <a:gd name="T79" fmla="*/ 128 h 149"/>
                <a:gd name="T80" fmla="*/ 48 w 382"/>
                <a:gd name="T81" fmla="*/ 128 h 149"/>
                <a:gd name="T82" fmla="*/ 54 w 382"/>
                <a:gd name="T83" fmla="*/ 126 h 149"/>
                <a:gd name="T84" fmla="*/ 57 w 382"/>
                <a:gd name="T85" fmla="*/ 124 h 149"/>
                <a:gd name="T86" fmla="*/ 45 w 382"/>
                <a:gd name="T87" fmla="*/ 122 h 149"/>
                <a:gd name="T88" fmla="*/ 39 w 382"/>
                <a:gd name="T89" fmla="*/ 119 h 149"/>
                <a:gd name="T90" fmla="*/ 45 w 382"/>
                <a:gd name="T91" fmla="*/ 117 h 149"/>
                <a:gd name="T92" fmla="*/ 41 w 382"/>
                <a:gd name="T93" fmla="*/ 113 h 149"/>
                <a:gd name="T94" fmla="*/ 36 w 382"/>
                <a:gd name="T95" fmla="*/ 101 h 149"/>
                <a:gd name="T96" fmla="*/ 25 w 382"/>
                <a:gd name="T97" fmla="*/ 95 h 149"/>
                <a:gd name="T98" fmla="*/ 18 w 382"/>
                <a:gd name="T99" fmla="*/ 90 h 149"/>
                <a:gd name="T100" fmla="*/ 21 w 382"/>
                <a:gd name="T101" fmla="*/ 81 h 149"/>
                <a:gd name="T102" fmla="*/ 32 w 382"/>
                <a:gd name="T103" fmla="*/ 88 h 149"/>
                <a:gd name="T104" fmla="*/ 25 w 382"/>
                <a:gd name="T105" fmla="*/ 83 h 149"/>
                <a:gd name="T106" fmla="*/ 30 w 382"/>
                <a:gd name="T107" fmla="*/ 74 h 149"/>
                <a:gd name="T108" fmla="*/ 25 w 382"/>
                <a:gd name="T109" fmla="*/ 63 h 149"/>
                <a:gd name="T110" fmla="*/ 12 w 382"/>
                <a:gd name="T111" fmla="*/ 54 h 149"/>
                <a:gd name="T112" fmla="*/ 30 w 382"/>
                <a:gd name="T113" fmla="*/ 38 h 149"/>
                <a:gd name="T114" fmla="*/ 41 w 382"/>
                <a:gd name="T115" fmla="*/ 38 h 149"/>
                <a:gd name="T116" fmla="*/ 68 w 382"/>
                <a:gd name="T117" fmla="*/ 38 h 149"/>
                <a:gd name="T118" fmla="*/ 72 w 382"/>
                <a:gd name="T119" fmla="*/ 32 h 149"/>
                <a:gd name="T120" fmla="*/ 63 w 382"/>
                <a:gd name="T121" fmla="*/ 23 h 149"/>
                <a:gd name="T122" fmla="*/ 108 w 382"/>
                <a:gd name="T123" fmla="*/ 18 h 149"/>
                <a:gd name="T124" fmla="*/ 146 w 382"/>
                <a:gd name="T125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2" h="149">
                  <a:moveTo>
                    <a:pt x="9" y="54"/>
                  </a:move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9" y="54"/>
                  </a:lnTo>
                  <a:close/>
                  <a:moveTo>
                    <a:pt x="7" y="45"/>
                  </a:moveTo>
                  <a:lnTo>
                    <a:pt x="7" y="47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close/>
                  <a:moveTo>
                    <a:pt x="39" y="38"/>
                  </a:move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close/>
                  <a:moveTo>
                    <a:pt x="36" y="34"/>
                  </a:move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close/>
                  <a:moveTo>
                    <a:pt x="27" y="2"/>
                  </a:move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8" y="14"/>
                  </a:lnTo>
                  <a:lnTo>
                    <a:pt x="50" y="16"/>
                  </a:lnTo>
                  <a:lnTo>
                    <a:pt x="54" y="18"/>
                  </a:lnTo>
                  <a:lnTo>
                    <a:pt x="61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3" y="36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close/>
                  <a:moveTo>
                    <a:pt x="173" y="0"/>
                  </a:move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76" y="2"/>
                  </a:lnTo>
                  <a:lnTo>
                    <a:pt x="176" y="2"/>
                  </a:lnTo>
                  <a:lnTo>
                    <a:pt x="176" y="2"/>
                  </a:lnTo>
                  <a:lnTo>
                    <a:pt x="176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8" y="2"/>
                  </a:lnTo>
                  <a:lnTo>
                    <a:pt x="176" y="5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78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9"/>
                  </a:lnTo>
                  <a:lnTo>
                    <a:pt x="180" y="9"/>
                  </a:lnTo>
                  <a:lnTo>
                    <a:pt x="180" y="9"/>
                  </a:lnTo>
                  <a:lnTo>
                    <a:pt x="182" y="9"/>
                  </a:lnTo>
                  <a:lnTo>
                    <a:pt x="182" y="9"/>
                  </a:lnTo>
                  <a:lnTo>
                    <a:pt x="185" y="9"/>
                  </a:lnTo>
                  <a:lnTo>
                    <a:pt x="185" y="9"/>
                  </a:lnTo>
                  <a:lnTo>
                    <a:pt x="185" y="11"/>
                  </a:lnTo>
                  <a:lnTo>
                    <a:pt x="185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9" y="11"/>
                  </a:lnTo>
                  <a:lnTo>
                    <a:pt x="189" y="11"/>
                  </a:lnTo>
                  <a:lnTo>
                    <a:pt x="189" y="11"/>
                  </a:lnTo>
                  <a:lnTo>
                    <a:pt x="189" y="11"/>
                  </a:lnTo>
                  <a:lnTo>
                    <a:pt x="191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4" y="11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4" y="9"/>
                  </a:lnTo>
                  <a:lnTo>
                    <a:pt x="196" y="9"/>
                  </a:lnTo>
                  <a:lnTo>
                    <a:pt x="196" y="9"/>
                  </a:lnTo>
                  <a:lnTo>
                    <a:pt x="196" y="9"/>
                  </a:lnTo>
                  <a:lnTo>
                    <a:pt x="198" y="11"/>
                  </a:lnTo>
                  <a:lnTo>
                    <a:pt x="198" y="11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200" y="16"/>
                  </a:lnTo>
                  <a:lnTo>
                    <a:pt x="200" y="16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20"/>
                  </a:lnTo>
                  <a:lnTo>
                    <a:pt x="203" y="20"/>
                  </a:lnTo>
                  <a:lnTo>
                    <a:pt x="203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5" y="20"/>
                  </a:lnTo>
                  <a:lnTo>
                    <a:pt x="207" y="20"/>
                  </a:lnTo>
                  <a:lnTo>
                    <a:pt x="207" y="20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12" y="18"/>
                  </a:lnTo>
                  <a:lnTo>
                    <a:pt x="212" y="18"/>
                  </a:lnTo>
                  <a:lnTo>
                    <a:pt x="216" y="20"/>
                  </a:lnTo>
                  <a:lnTo>
                    <a:pt x="216" y="20"/>
                  </a:lnTo>
                  <a:lnTo>
                    <a:pt x="216" y="20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18" y="23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3" y="23"/>
                  </a:lnTo>
                  <a:lnTo>
                    <a:pt x="225" y="23"/>
                  </a:lnTo>
                  <a:lnTo>
                    <a:pt x="225" y="25"/>
                  </a:lnTo>
                  <a:lnTo>
                    <a:pt x="225" y="25"/>
                  </a:lnTo>
                  <a:lnTo>
                    <a:pt x="225" y="25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7" y="25"/>
                  </a:lnTo>
                  <a:lnTo>
                    <a:pt x="227" y="25"/>
                  </a:lnTo>
                  <a:lnTo>
                    <a:pt x="227" y="25"/>
                  </a:lnTo>
                  <a:lnTo>
                    <a:pt x="227" y="25"/>
                  </a:lnTo>
                  <a:lnTo>
                    <a:pt x="227" y="25"/>
                  </a:lnTo>
                  <a:lnTo>
                    <a:pt x="230" y="25"/>
                  </a:lnTo>
                  <a:lnTo>
                    <a:pt x="230" y="25"/>
                  </a:lnTo>
                  <a:lnTo>
                    <a:pt x="230" y="25"/>
                  </a:lnTo>
                  <a:lnTo>
                    <a:pt x="230" y="25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0" y="23"/>
                  </a:lnTo>
                  <a:lnTo>
                    <a:pt x="232" y="23"/>
                  </a:lnTo>
                  <a:lnTo>
                    <a:pt x="232" y="23"/>
                  </a:lnTo>
                  <a:lnTo>
                    <a:pt x="232" y="23"/>
                  </a:lnTo>
                  <a:lnTo>
                    <a:pt x="232" y="25"/>
                  </a:lnTo>
                  <a:lnTo>
                    <a:pt x="232" y="25"/>
                  </a:lnTo>
                  <a:lnTo>
                    <a:pt x="234" y="25"/>
                  </a:lnTo>
                  <a:lnTo>
                    <a:pt x="234" y="25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1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3" y="27"/>
                  </a:lnTo>
                  <a:lnTo>
                    <a:pt x="245" y="27"/>
                  </a:lnTo>
                  <a:lnTo>
                    <a:pt x="245" y="29"/>
                  </a:lnTo>
                  <a:lnTo>
                    <a:pt x="245" y="27"/>
                  </a:lnTo>
                  <a:lnTo>
                    <a:pt x="247" y="27"/>
                  </a:lnTo>
                  <a:lnTo>
                    <a:pt x="247" y="27"/>
                  </a:lnTo>
                  <a:lnTo>
                    <a:pt x="247" y="27"/>
                  </a:lnTo>
                  <a:lnTo>
                    <a:pt x="247" y="27"/>
                  </a:lnTo>
                  <a:lnTo>
                    <a:pt x="247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0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9" y="25"/>
                  </a:lnTo>
                  <a:lnTo>
                    <a:pt x="259" y="25"/>
                  </a:lnTo>
                  <a:lnTo>
                    <a:pt x="259" y="25"/>
                  </a:lnTo>
                  <a:lnTo>
                    <a:pt x="259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61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3"/>
                  </a:lnTo>
                  <a:lnTo>
                    <a:pt x="263" y="23"/>
                  </a:lnTo>
                  <a:lnTo>
                    <a:pt x="265" y="25"/>
                  </a:lnTo>
                  <a:lnTo>
                    <a:pt x="265" y="25"/>
                  </a:lnTo>
                  <a:lnTo>
                    <a:pt x="265" y="25"/>
                  </a:lnTo>
                  <a:lnTo>
                    <a:pt x="268" y="25"/>
                  </a:lnTo>
                  <a:lnTo>
                    <a:pt x="268" y="27"/>
                  </a:lnTo>
                  <a:lnTo>
                    <a:pt x="268" y="27"/>
                  </a:lnTo>
                  <a:lnTo>
                    <a:pt x="268" y="27"/>
                  </a:lnTo>
                  <a:lnTo>
                    <a:pt x="270" y="25"/>
                  </a:lnTo>
                  <a:lnTo>
                    <a:pt x="270" y="25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0" y="27"/>
                  </a:lnTo>
                  <a:lnTo>
                    <a:pt x="272" y="27"/>
                  </a:lnTo>
                  <a:lnTo>
                    <a:pt x="272" y="27"/>
                  </a:lnTo>
                  <a:lnTo>
                    <a:pt x="272" y="27"/>
                  </a:lnTo>
                  <a:lnTo>
                    <a:pt x="272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7" y="27"/>
                  </a:lnTo>
                  <a:lnTo>
                    <a:pt x="277" y="27"/>
                  </a:lnTo>
                  <a:lnTo>
                    <a:pt x="277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3" y="25"/>
                  </a:lnTo>
                  <a:lnTo>
                    <a:pt x="283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8" y="25"/>
                  </a:lnTo>
                  <a:lnTo>
                    <a:pt x="288" y="25"/>
                  </a:lnTo>
                  <a:lnTo>
                    <a:pt x="288" y="25"/>
                  </a:lnTo>
                  <a:lnTo>
                    <a:pt x="288" y="23"/>
                  </a:lnTo>
                  <a:lnTo>
                    <a:pt x="290" y="23"/>
                  </a:lnTo>
                  <a:lnTo>
                    <a:pt x="290" y="23"/>
                  </a:lnTo>
                  <a:lnTo>
                    <a:pt x="290" y="23"/>
                  </a:lnTo>
                  <a:lnTo>
                    <a:pt x="290" y="23"/>
                  </a:lnTo>
                  <a:lnTo>
                    <a:pt x="292" y="23"/>
                  </a:lnTo>
                  <a:lnTo>
                    <a:pt x="292" y="20"/>
                  </a:lnTo>
                  <a:lnTo>
                    <a:pt x="292" y="20"/>
                  </a:lnTo>
                  <a:lnTo>
                    <a:pt x="292" y="20"/>
                  </a:lnTo>
                  <a:lnTo>
                    <a:pt x="292" y="20"/>
                  </a:lnTo>
                  <a:lnTo>
                    <a:pt x="295" y="20"/>
                  </a:lnTo>
                  <a:lnTo>
                    <a:pt x="295" y="20"/>
                  </a:lnTo>
                  <a:lnTo>
                    <a:pt x="295" y="20"/>
                  </a:lnTo>
                  <a:lnTo>
                    <a:pt x="295" y="20"/>
                  </a:lnTo>
                  <a:lnTo>
                    <a:pt x="295" y="20"/>
                  </a:lnTo>
                  <a:lnTo>
                    <a:pt x="297" y="20"/>
                  </a:lnTo>
                  <a:lnTo>
                    <a:pt x="297" y="20"/>
                  </a:lnTo>
                  <a:lnTo>
                    <a:pt x="297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299" y="18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4"/>
                  </a:lnTo>
                  <a:lnTo>
                    <a:pt x="301" y="14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306" y="16"/>
                  </a:lnTo>
                  <a:lnTo>
                    <a:pt x="306" y="14"/>
                  </a:lnTo>
                  <a:lnTo>
                    <a:pt x="306" y="14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8" y="16"/>
                  </a:lnTo>
                  <a:lnTo>
                    <a:pt x="308" y="16"/>
                  </a:lnTo>
                  <a:lnTo>
                    <a:pt x="308" y="16"/>
                  </a:lnTo>
                  <a:lnTo>
                    <a:pt x="308" y="16"/>
                  </a:lnTo>
                  <a:lnTo>
                    <a:pt x="308" y="16"/>
                  </a:lnTo>
                  <a:lnTo>
                    <a:pt x="310" y="14"/>
                  </a:lnTo>
                  <a:lnTo>
                    <a:pt x="310" y="14"/>
                  </a:lnTo>
                  <a:lnTo>
                    <a:pt x="313" y="16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5" y="14"/>
                  </a:lnTo>
                  <a:lnTo>
                    <a:pt x="315" y="14"/>
                  </a:lnTo>
                  <a:lnTo>
                    <a:pt x="315" y="14"/>
                  </a:lnTo>
                  <a:lnTo>
                    <a:pt x="315" y="16"/>
                  </a:lnTo>
                  <a:lnTo>
                    <a:pt x="315" y="16"/>
                  </a:lnTo>
                  <a:lnTo>
                    <a:pt x="317" y="16"/>
                  </a:lnTo>
                  <a:lnTo>
                    <a:pt x="319" y="16"/>
                  </a:lnTo>
                  <a:lnTo>
                    <a:pt x="319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1"/>
                  </a:lnTo>
                  <a:lnTo>
                    <a:pt x="324" y="11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28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5" y="18"/>
                  </a:lnTo>
                  <a:lnTo>
                    <a:pt x="335" y="18"/>
                  </a:lnTo>
                  <a:lnTo>
                    <a:pt x="335" y="20"/>
                  </a:lnTo>
                  <a:lnTo>
                    <a:pt x="335" y="20"/>
                  </a:lnTo>
                  <a:lnTo>
                    <a:pt x="335" y="20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5" y="20"/>
                  </a:lnTo>
                  <a:lnTo>
                    <a:pt x="335" y="20"/>
                  </a:lnTo>
                  <a:lnTo>
                    <a:pt x="335" y="20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40" y="23"/>
                  </a:lnTo>
                  <a:lnTo>
                    <a:pt x="340" y="23"/>
                  </a:lnTo>
                  <a:lnTo>
                    <a:pt x="340" y="23"/>
                  </a:lnTo>
                  <a:lnTo>
                    <a:pt x="340" y="23"/>
                  </a:lnTo>
                  <a:lnTo>
                    <a:pt x="340" y="25"/>
                  </a:lnTo>
                  <a:lnTo>
                    <a:pt x="340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7"/>
                  </a:lnTo>
                  <a:lnTo>
                    <a:pt x="342" y="27"/>
                  </a:lnTo>
                  <a:lnTo>
                    <a:pt x="344" y="27"/>
                  </a:lnTo>
                  <a:lnTo>
                    <a:pt x="344" y="27"/>
                  </a:lnTo>
                  <a:lnTo>
                    <a:pt x="344" y="27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32"/>
                  </a:lnTo>
                  <a:lnTo>
                    <a:pt x="346" y="32"/>
                  </a:lnTo>
                  <a:lnTo>
                    <a:pt x="349" y="32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4"/>
                  </a:lnTo>
                  <a:lnTo>
                    <a:pt x="349" y="36"/>
                  </a:lnTo>
                  <a:lnTo>
                    <a:pt x="346" y="36"/>
                  </a:lnTo>
                  <a:lnTo>
                    <a:pt x="346" y="36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38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1"/>
                  </a:lnTo>
                  <a:lnTo>
                    <a:pt x="346" y="43"/>
                  </a:lnTo>
                  <a:lnTo>
                    <a:pt x="346" y="43"/>
                  </a:lnTo>
                  <a:lnTo>
                    <a:pt x="349" y="43"/>
                  </a:lnTo>
                  <a:lnTo>
                    <a:pt x="349" y="43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49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49" y="47"/>
                  </a:lnTo>
                  <a:lnTo>
                    <a:pt x="351" y="47"/>
                  </a:lnTo>
                  <a:lnTo>
                    <a:pt x="353" y="47"/>
                  </a:lnTo>
                  <a:lnTo>
                    <a:pt x="355" y="50"/>
                  </a:lnTo>
                  <a:lnTo>
                    <a:pt x="358" y="50"/>
                  </a:lnTo>
                  <a:lnTo>
                    <a:pt x="358" y="50"/>
                  </a:lnTo>
                  <a:lnTo>
                    <a:pt x="358" y="50"/>
                  </a:lnTo>
                  <a:lnTo>
                    <a:pt x="358" y="50"/>
                  </a:lnTo>
                  <a:lnTo>
                    <a:pt x="358" y="50"/>
                  </a:lnTo>
                  <a:lnTo>
                    <a:pt x="358" y="50"/>
                  </a:lnTo>
                  <a:lnTo>
                    <a:pt x="358" y="50"/>
                  </a:lnTo>
                  <a:lnTo>
                    <a:pt x="360" y="50"/>
                  </a:lnTo>
                  <a:lnTo>
                    <a:pt x="360" y="50"/>
                  </a:lnTo>
                  <a:lnTo>
                    <a:pt x="360" y="50"/>
                  </a:lnTo>
                  <a:lnTo>
                    <a:pt x="360" y="50"/>
                  </a:lnTo>
                  <a:lnTo>
                    <a:pt x="362" y="50"/>
                  </a:lnTo>
                  <a:lnTo>
                    <a:pt x="362" y="50"/>
                  </a:lnTo>
                  <a:lnTo>
                    <a:pt x="364" y="50"/>
                  </a:lnTo>
                  <a:lnTo>
                    <a:pt x="367" y="52"/>
                  </a:lnTo>
                  <a:lnTo>
                    <a:pt x="367" y="52"/>
                  </a:lnTo>
                  <a:lnTo>
                    <a:pt x="367" y="52"/>
                  </a:lnTo>
                  <a:lnTo>
                    <a:pt x="367" y="52"/>
                  </a:lnTo>
                  <a:lnTo>
                    <a:pt x="367" y="52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69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3" y="56"/>
                  </a:lnTo>
                  <a:lnTo>
                    <a:pt x="373" y="56"/>
                  </a:lnTo>
                  <a:lnTo>
                    <a:pt x="373" y="59"/>
                  </a:lnTo>
                  <a:lnTo>
                    <a:pt x="373" y="59"/>
                  </a:lnTo>
                  <a:lnTo>
                    <a:pt x="371" y="56"/>
                  </a:lnTo>
                  <a:lnTo>
                    <a:pt x="371" y="56"/>
                  </a:lnTo>
                  <a:lnTo>
                    <a:pt x="369" y="56"/>
                  </a:lnTo>
                  <a:lnTo>
                    <a:pt x="369" y="56"/>
                  </a:lnTo>
                  <a:lnTo>
                    <a:pt x="369" y="56"/>
                  </a:lnTo>
                  <a:lnTo>
                    <a:pt x="369" y="56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6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7" y="59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1"/>
                  </a:lnTo>
                  <a:lnTo>
                    <a:pt x="367" y="63"/>
                  </a:lnTo>
                  <a:lnTo>
                    <a:pt x="367" y="63"/>
                  </a:lnTo>
                  <a:lnTo>
                    <a:pt x="367" y="63"/>
                  </a:lnTo>
                  <a:lnTo>
                    <a:pt x="367" y="63"/>
                  </a:lnTo>
                  <a:lnTo>
                    <a:pt x="367" y="63"/>
                  </a:lnTo>
                  <a:lnTo>
                    <a:pt x="364" y="65"/>
                  </a:lnTo>
                  <a:lnTo>
                    <a:pt x="364" y="65"/>
                  </a:lnTo>
                  <a:lnTo>
                    <a:pt x="364" y="65"/>
                  </a:lnTo>
                  <a:lnTo>
                    <a:pt x="362" y="63"/>
                  </a:lnTo>
                  <a:lnTo>
                    <a:pt x="362" y="63"/>
                  </a:lnTo>
                  <a:lnTo>
                    <a:pt x="362" y="63"/>
                  </a:lnTo>
                  <a:lnTo>
                    <a:pt x="360" y="63"/>
                  </a:lnTo>
                  <a:lnTo>
                    <a:pt x="360" y="63"/>
                  </a:lnTo>
                  <a:lnTo>
                    <a:pt x="360" y="63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0" y="68"/>
                  </a:lnTo>
                  <a:lnTo>
                    <a:pt x="362" y="68"/>
                  </a:lnTo>
                  <a:lnTo>
                    <a:pt x="362" y="68"/>
                  </a:lnTo>
                  <a:lnTo>
                    <a:pt x="362" y="68"/>
                  </a:lnTo>
                  <a:lnTo>
                    <a:pt x="362" y="70"/>
                  </a:lnTo>
                  <a:lnTo>
                    <a:pt x="362" y="70"/>
                  </a:lnTo>
                  <a:lnTo>
                    <a:pt x="362" y="70"/>
                  </a:lnTo>
                  <a:lnTo>
                    <a:pt x="364" y="70"/>
                  </a:lnTo>
                  <a:lnTo>
                    <a:pt x="364" y="70"/>
                  </a:lnTo>
                  <a:lnTo>
                    <a:pt x="364" y="72"/>
                  </a:lnTo>
                  <a:lnTo>
                    <a:pt x="364" y="72"/>
                  </a:lnTo>
                  <a:lnTo>
                    <a:pt x="364" y="72"/>
                  </a:lnTo>
                  <a:lnTo>
                    <a:pt x="364" y="72"/>
                  </a:lnTo>
                  <a:lnTo>
                    <a:pt x="364" y="74"/>
                  </a:lnTo>
                  <a:lnTo>
                    <a:pt x="362" y="74"/>
                  </a:lnTo>
                  <a:lnTo>
                    <a:pt x="362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4"/>
                  </a:lnTo>
                  <a:lnTo>
                    <a:pt x="364" y="77"/>
                  </a:lnTo>
                  <a:lnTo>
                    <a:pt x="364" y="77"/>
                  </a:lnTo>
                  <a:lnTo>
                    <a:pt x="364" y="77"/>
                  </a:lnTo>
                  <a:lnTo>
                    <a:pt x="364" y="77"/>
                  </a:lnTo>
                  <a:lnTo>
                    <a:pt x="364" y="77"/>
                  </a:lnTo>
                  <a:lnTo>
                    <a:pt x="367" y="77"/>
                  </a:lnTo>
                  <a:lnTo>
                    <a:pt x="367" y="79"/>
                  </a:lnTo>
                  <a:lnTo>
                    <a:pt x="367" y="79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7" y="83"/>
                  </a:lnTo>
                  <a:lnTo>
                    <a:pt x="369" y="83"/>
                  </a:lnTo>
                  <a:lnTo>
                    <a:pt x="369" y="83"/>
                  </a:lnTo>
                  <a:lnTo>
                    <a:pt x="369" y="83"/>
                  </a:lnTo>
                  <a:lnTo>
                    <a:pt x="369" y="86"/>
                  </a:lnTo>
                  <a:lnTo>
                    <a:pt x="369" y="86"/>
                  </a:lnTo>
                  <a:lnTo>
                    <a:pt x="369" y="86"/>
                  </a:lnTo>
                  <a:lnTo>
                    <a:pt x="369" y="88"/>
                  </a:lnTo>
                  <a:lnTo>
                    <a:pt x="369" y="88"/>
                  </a:lnTo>
                  <a:lnTo>
                    <a:pt x="369" y="88"/>
                  </a:lnTo>
                  <a:lnTo>
                    <a:pt x="369" y="88"/>
                  </a:lnTo>
                  <a:lnTo>
                    <a:pt x="369" y="88"/>
                  </a:lnTo>
                  <a:lnTo>
                    <a:pt x="369" y="88"/>
                  </a:lnTo>
                  <a:lnTo>
                    <a:pt x="369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1" y="88"/>
                  </a:lnTo>
                  <a:lnTo>
                    <a:pt x="371" y="90"/>
                  </a:lnTo>
                  <a:lnTo>
                    <a:pt x="371" y="90"/>
                  </a:lnTo>
                  <a:lnTo>
                    <a:pt x="371" y="90"/>
                  </a:lnTo>
                  <a:lnTo>
                    <a:pt x="371" y="90"/>
                  </a:lnTo>
                  <a:lnTo>
                    <a:pt x="371" y="90"/>
                  </a:lnTo>
                  <a:lnTo>
                    <a:pt x="371" y="92"/>
                  </a:lnTo>
                  <a:lnTo>
                    <a:pt x="371" y="92"/>
                  </a:lnTo>
                  <a:lnTo>
                    <a:pt x="371" y="92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69" y="95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7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9" y="101"/>
                  </a:lnTo>
                  <a:lnTo>
                    <a:pt x="369" y="101"/>
                  </a:lnTo>
                  <a:lnTo>
                    <a:pt x="371" y="101"/>
                  </a:lnTo>
                  <a:lnTo>
                    <a:pt x="371" y="101"/>
                  </a:lnTo>
                  <a:lnTo>
                    <a:pt x="371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1"/>
                  </a:lnTo>
                  <a:lnTo>
                    <a:pt x="373" y="104"/>
                  </a:lnTo>
                  <a:lnTo>
                    <a:pt x="373" y="104"/>
                  </a:lnTo>
                  <a:lnTo>
                    <a:pt x="373" y="104"/>
                  </a:lnTo>
                  <a:lnTo>
                    <a:pt x="373" y="104"/>
                  </a:lnTo>
                  <a:lnTo>
                    <a:pt x="373" y="104"/>
                  </a:lnTo>
                  <a:lnTo>
                    <a:pt x="376" y="104"/>
                  </a:lnTo>
                  <a:lnTo>
                    <a:pt x="376" y="104"/>
                  </a:lnTo>
                  <a:lnTo>
                    <a:pt x="376" y="104"/>
                  </a:lnTo>
                  <a:lnTo>
                    <a:pt x="376" y="104"/>
                  </a:lnTo>
                  <a:lnTo>
                    <a:pt x="378" y="104"/>
                  </a:lnTo>
                  <a:lnTo>
                    <a:pt x="378" y="104"/>
                  </a:lnTo>
                  <a:lnTo>
                    <a:pt x="378" y="104"/>
                  </a:lnTo>
                  <a:lnTo>
                    <a:pt x="376" y="106"/>
                  </a:lnTo>
                  <a:lnTo>
                    <a:pt x="376" y="106"/>
                  </a:lnTo>
                  <a:lnTo>
                    <a:pt x="376" y="106"/>
                  </a:lnTo>
                  <a:lnTo>
                    <a:pt x="378" y="106"/>
                  </a:lnTo>
                  <a:lnTo>
                    <a:pt x="378" y="106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10"/>
                  </a:lnTo>
                  <a:lnTo>
                    <a:pt x="378" y="110"/>
                  </a:lnTo>
                  <a:lnTo>
                    <a:pt x="378" y="110"/>
                  </a:lnTo>
                  <a:lnTo>
                    <a:pt x="378" y="110"/>
                  </a:lnTo>
                  <a:lnTo>
                    <a:pt x="378" y="110"/>
                  </a:lnTo>
                  <a:lnTo>
                    <a:pt x="378" y="110"/>
                  </a:lnTo>
                  <a:lnTo>
                    <a:pt x="378" y="110"/>
                  </a:lnTo>
                  <a:lnTo>
                    <a:pt x="380" y="110"/>
                  </a:lnTo>
                  <a:lnTo>
                    <a:pt x="380" y="113"/>
                  </a:lnTo>
                  <a:lnTo>
                    <a:pt x="380" y="113"/>
                  </a:lnTo>
                  <a:lnTo>
                    <a:pt x="380" y="113"/>
                  </a:lnTo>
                  <a:lnTo>
                    <a:pt x="380" y="113"/>
                  </a:lnTo>
                  <a:lnTo>
                    <a:pt x="380" y="113"/>
                  </a:lnTo>
                  <a:lnTo>
                    <a:pt x="380" y="113"/>
                  </a:lnTo>
                  <a:lnTo>
                    <a:pt x="382" y="113"/>
                  </a:lnTo>
                  <a:lnTo>
                    <a:pt x="382" y="115"/>
                  </a:lnTo>
                  <a:lnTo>
                    <a:pt x="382" y="115"/>
                  </a:lnTo>
                  <a:lnTo>
                    <a:pt x="382" y="115"/>
                  </a:lnTo>
                  <a:lnTo>
                    <a:pt x="382" y="115"/>
                  </a:lnTo>
                  <a:lnTo>
                    <a:pt x="382" y="115"/>
                  </a:lnTo>
                  <a:lnTo>
                    <a:pt x="382" y="117"/>
                  </a:lnTo>
                  <a:lnTo>
                    <a:pt x="382" y="117"/>
                  </a:lnTo>
                  <a:lnTo>
                    <a:pt x="382" y="117"/>
                  </a:lnTo>
                  <a:lnTo>
                    <a:pt x="382" y="117"/>
                  </a:lnTo>
                  <a:lnTo>
                    <a:pt x="382" y="117"/>
                  </a:lnTo>
                  <a:lnTo>
                    <a:pt x="382" y="117"/>
                  </a:lnTo>
                  <a:lnTo>
                    <a:pt x="382" y="117"/>
                  </a:lnTo>
                  <a:lnTo>
                    <a:pt x="380" y="117"/>
                  </a:lnTo>
                  <a:lnTo>
                    <a:pt x="380" y="117"/>
                  </a:lnTo>
                  <a:lnTo>
                    <a:pt x="380" y="117"/>
                  </a:lnTo>
                  <a:lnTo>
                    <a:pt x="378" y="117"/>
                  </a:lnTo>
                  <a:lnTo>
                    <a:pt x="378" y="119"/>
                  </a:lnTo>
                  <a:lnTo>
                    <a:pt x="378" y="119"/>
                  </a:lnTo>
                  <a:lnTo>
                    <a:pt x="378" y="119"/>
                  </a:lnTo>
                  <a:lnTo>
                    <a:pt x="376" y="119"/>
                  </a:lnTo>
                  <a:lnTo>
                    <a:pt x="376" y="119"/>
                  </a:lnTo>
                  <a:lnTo>
                    <a:pt x="376" y="119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1" y="119"/>
                  </a:lnTo>
                  <a:lnTo>
                    <a:pt x="371" y="119"/>
                  </a:lnTo>
                  <a:lnTo>
                    <a:pt x="371" y="119"/>
                  </a:lnTo>
                  <a:lnTo>
                    <a:pt x="371" y="117"/>
                  </a:lnTo>
                  <a:lnTo>
                    <a:pt x="371" y="117"/>
                  </a:lnTo>
                  <a:lnTo>
                    <a:pt x="371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1" y="115"/>
                  </a:lnTo>
                  <a:lnTo>
                    <a:pt x="371" y="115"/>
                  </a:lnTo>
                  <a:lnTo>
                    <a:pt x="371" y="115"/>
                  </a:lnTo>
                  <a:lnTo>
                    <a:pt x="371" y="115"/>
                  </a:lnTo>
                  <a:lnTo>
                    <a:pt x="369" y="115"/>
                  </a:lnTo>
                  <a:lnTo>
                    <a:pt x="369" y="113"/>
                  </a:lnTo>
                  <a:lnTo>
                    <a:pt x="367" y="113"/>
                  </a:lnTo>
                  <a:lnTo>
                    <a:pt x="367" y="115"/>
                  </a:lnTo>
                  <a:lnTo>
                    <a:pt x="367" y="115"/>
                  </a:lnTo>
                  <a:lnTo>
                    <a:pt x="364" y="115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2" y="115"/>
                  </a:lnTo>
                  <a:lnTo>
                    <a:pt x="362" y="115"/>
                  </a:lnTo>
                  <a:lnTo>
                    <a:pt x="362" y="115"/>
                  </a:lnTo>
                  <a:lnTo>
                    <a:pt x="362" y="115"/>
                  </a:lnTo>
                  <a:lnTo>
                    <a:pt x="360" y="115"/>
                  </a:lnTo>
                  <a:lnTo>
                    <a:pt x="360" y="115"/>
                  </a:lnTo>
                  <a:lnTo>
                    <a:pt x="360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3" y="113"/>
                  </a:lnTo>
                  <a:lnTo>
                    <a:pt x="353" y="113"/>
                  </a:lnTo>
                  <a:lnTo>
                    <a:pt x="353" y="113"/>
                  </a:lnTo>
                  <a:lnTo>
                    <a:pt x="353" y="113"/>
                  </a:lnTo>
                  <a:lnTo>
                    <a:pt x="353" y="115"/>
                  </a:lnTo>
                  <a:lnTo>
                    <a:pt x="353" y="115"/>
                  </a:lnTo>
                  <a:lnTo>
                    <a:pt x="353" y="115"/>
                  </a:lnTo>
                  <a:lnTo>
                    <a:pt x="353" y="115"/>
                  </a:lnTo>
                  <a:lnTo>
                    <a:pt x="351" y="113"/>
                  </a:lnTo>
                  <a:lnTo>
                    <a:pt x="349" y="113"/>
                  </a:lnTo>
                  <a:lnTo>
                    <a:pt x="349" y="113"/>
                  </a:lnTo>
                  <a:lnTo>
                    <a:pt x="349" y="113"/>
                  </a:lnTo>
                  <a:lnTo>
                    <a:pt x="346" y="113"/>
                  </a:lnTo>
                  <a:lnTo>
                    <a:pt x="346" y="113"/>
                  </a:lnTo>
                  <a:lnTo>
                    <a:pt x="346" y="113"/>
                  </a:lnTo>
                  <a:lnTo>
                    <a:pt x="346" y="113"/>
                  </a:lnTo>
                  <a:lnTo>
                    <a:pt x="344" y="113"/>
                  </a:lnTo>
                  <a:lnTo>
                    <a:pt x="344" y="113"/>
                  </a:lnTo>
                  <a:lnTo>
                    <a:pt x="344" y="113"/>
                  </a:lnTo>
                  <a:lnTo>
                    <a:pt x="344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0" y="117"/>
                  </a:lnTo>
                  <a:lnTo>
                    <a:pt x="340" y="117"/>
                  </a:lnTo>
                  <a:lnTo>
                    <a:pt x="340" y="117"/>
                  </a:lnTo>
                  <a:lnTo>
                    <a:pt x="340" y="117"/>
                  </a:lnTo>
                  <a:lnTo>
                    <a:pt x="337" y="117"/>
                  </a:lnTo>
                  <a:lnTo>
                    <a:pt x="337" y="119"/>
                  </a:lnTo>
                  <a:lnTo>
                    <a:pt x="335" y="119"/>
                  </a:lnTo>
                  <a:lnTo>
                    <a:pt x="335" y="117"/>
                  </a:lnTo>
                  <a:lnTo>
                    <a:pt x="335" y="117"/>
                  </a:lnTo>
                  <a:lnTo>
                    <a:pt x="335" y="117"/>
                  </a:lnTo>
                  <a:lnTo>
                    <a:pt x="335" y="117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1" y="113"/>
                  </a:lnTo>
                  <a:lnTo>
                    <a:pt x="331" y="115"/>
                  </a:lnTo>
                  <a:lnTo>
                    <a:pt x="331" y="115"/>
                  </a:lnTo>
                  <a:lnTo>
                    <a:pt x="328" y="117"/>
                  </a:lnTo>
                  <a:lnTo>
                    <a:pt x="328" y="117"/>
                  </a:lnTo>
                  <a:lnTo>
                    <a:pt x="319" y="119"/>
                  </a:lnTo>
                  <a:lnTo>
                    <a:pt x="313" y="119"/>
                  </a:lnTo>
                  <a:lnTo>
                    <a:pt x="313" y="119"/>
                  </a:lnTo>
                  <a:lnTo>
                    <a:pt x="313" y="119"/>
                  </a:lnTo>
                  <a:lnTo>
                    <a:pt x="306" y="117"/>
                  </a:lnTo>
                  <a:lnTo>
                    <a:pt x="304" y="119"/>
                  </a:lnTo>
                  <a:lnTo>
                    <a:pt x="301" y="119"/>
                  </a:lnTo>
                  <a:lnTo>
                    <a:pt x="299" y="119"/>
                  </a:lnTo>
                  <a:lnTo>
                    <a:pt x="299" y="122"/>
                  </a:lnTo>
                  <a:lnTo>
                    <a:pt x="299" y="122"/>
                  </a:lnTo>
                  <a:lnTo>
                    <a:pt x="299" y="122"/>
                  </a:lnTo>
                  <a:lnTo>
                    <a:pt x="297" y="122"/>
                  </a:lnTo>
                  <a:lnTo>
                    <a:pt x="297" y="122"/>
                  </a:lnTo>
                  <a:lnTo>
                    <a:pt x="295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0" y="126"/>
                  </a:lnTo>
                  <a:lnTo>
                    <a:pt x="286" y="126"/>
                  </a:lnTo>
                  <a:lnTo>
                    <a:pt x="277" y="128"/>
                  </a:lnTo>
                  <a:lnTo>
                    <a:pt x="274" y="128"/>
                  </a:lnTo>
                  <a:lnTo>
                    <a:pt x="272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68" y="128"/>
                  </a:lnTo>
                  <a:lnTo>
                    <a:pt x="265" y="128"/>
                  </a:lnTo>
                  <a:lnTo>
                    <a:pt x="263" y="128"/>
                  </a:lnTo>
                  <a:lnTo>
                    <a:pt x="261" y="126"/>
                  </a:lnTo>
                  <a:lnTo>
                    <a:pt x="261" y="124"/>
                  </a:lnTo>
                  <a:lnTo>
                    <a:pt x="256" y="124"/>
                  </a:lnTo>
                  <a:lnTo>
                    <a:pt x="254" y="124"/>
                  </a:lnTo>
                  <a:lnTo>
                    <a:pt x="254" y="124"/>
                  </a:lnTo>
                  <a:lnTo>
                    <a:pt x="254" y="124"/>
                  </a:lnTo>
                  <a:lnTo>
                    <a:pt x="252" y="126"/>
                  </a:lnTo>
                  <a:lnTo>
                    <a:pt x="250" y="126"/>
                  </a:lnTo>
                  <a:lnTo>
                    <a:pt x="247" y="126"/>
                  </a:lnTo>
                  <a:lnTo>
                    <a:pt x="245" y="128"/>
                  </a:lnTo>
                  <a:lnTo>
                    <a:pt x="243" y="128"/>
                  </a:lnTo>
                  <a:lnTo>
                    <a:pt x="241" y="131"/>
                  </a:lnTo>
                  <a:lnTo>
                    <a:pt x="241" y="131"/>
                  </a:lnTo>
                  <a:lnTo>
                    <a:pt x="236" y="128"/>
                  </a:lnTo>
                  <a:lnTo>
                    <a:pt x="236" y="128"/>
                  </a:lnTo>
                  <a:lnTo>
                    <a:pt x="234" y="131"/>
                  </a:lnTo>
                  <a:lnTo>
                    <a:pt x="234" y="131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31"/>
                  </a:lnTo>
                  <a:lnTo>
                    <a:pt x="234" y="131"/>
                  </a:lnTo>
                  <a:lnTo>
                    <a:pt x="234" y="131"/>
                  </a:lnTo>
                  <a:lnTo>
                    <a:pt x="234" y="131"/>
                  </a:lnTo>
                  <a:lnTo>
                    <a:pt x="232" y="131"/>
                  </a:lnTo>
                  <a:lnTo>
                    <a:pt x="232" y="131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32" y="126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6"/>
                  </a:lnTo>
                  <a:lnTo>
                    <a:pt x="225" y="126"/>
                  </a:lnTo>
                  <a:lnTo>
                    <a:pt x="225" y="126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6"/>
                  </a:lnTo>
                  <a:lnTo>
                    <a:pt x="223" y="128"/>
                  </a:lnTo>
                  <a:lnTo>
                    <a:pt x="223" y="128"/>
                  </a:lnTo>
                  <a:lnTo>
                    <a:pt x="223" y="128"/>
                  </a:lnTo>
                  <a:lnTo>
                    <a:pt x="223" y="128"/>
                  </a:lnTo>
                  <a:lnTo>
                    <a:pt x="223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25" y="135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7" y="137"/>
                  </a:lnTo>
                  <a:lnTo>
                    <a:pt x="227" y="137"/>
                  </a:lnTo>
                  <a:lnTo>
                    <a:pt x="227" y="140"/>
                  </a:lnTo>
                  <a:lnTo>
                    <a:pt x="227" y="140"/>
                  </a:lnTo>
                  <a:lnTo>
                    <a:pt x="227" y="140"/>
                  </a:lnTo>
                  <a:lnTo>
                    <a:pt x="225" y="140"/>
                  </a:lnTo>
                  <a:lnTo>
                    <a:pt x="225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2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4"/>
                  </a:lnTo>
                  <a:lnTo>
                    <a:pt x="221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6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16" y="149"/>
                  </a:lnTo>
                  <a:lnTo>
                    <a:pt x="216" y="149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49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4" y="146"/>
                  </a:lnTo>
                  <a:lnTo>
                    <a:pt x="214" y="144"/>
                  </a:lnTo>
                  <a:lnTo>
                    <a:pt x="214" y="144"/>
                  </a:lnTo>
                  <a:lnTo>
                    <a:pt x="214" y="144"/>
                  </a:lnTo>
                  <a:lnTo>
                    <a:pt x="214" y="142"/>
                  </a:lnTo>
                  <a:lnTo>
                    <a:pt x="212" y="140"/>
                  </a:lnTo>
                  <a:lnTo>
                    <a:pt x="212" y="140"/>
                  </a:lnTo>
                  <a:lnTo>
                    <a:pt x="212" y="140"/>
                  </a:lnTo>
                  <a:lnTo>
                    <a:pt x="209" y="140"/>
                  </a:lnTo>
                  <a:lnTo>
                    <a:pt x="209" y="140"/>
                  </a:lnTo>
                  <a:lnTo>
                    <a:pt x="209" y="140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5"/>
                  </a:lnTo>
                  <a:lnTo>
                    <a:pt x="209" y="135"/>
                  </a:lnTo>
                  <a:lnTo>
                    <a:pt x="209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5"/>
                  </a:lnTo>
                  <a:lnTo>
                    <a:pt x="212" y="133"/>
                  </a:lnTo>
                  <a:lnTo>
                    <a:pt x="212" y="133"/>
                  </a:lnTo>
                  <a:lnTo>
                    <a:pt x="212" y="133"/>
                  </a:lnTo>
                  <a:lnTo>
                    <a:pt x="214" y="133"/>
                  </a:lnTo>
                  <a:lnTo>
                    <a:pt x="214" y="133"/>
                  </a:lnTo>
                  <a:lnTo>
                    <a:pt x="214" y="133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6" y="131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4" y="124"/>
                  </a:lnTo>
                  <a:lnTo>
                    <a:pt x="214" y="124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09" y="126"/>
                  </a:lnTo>
                  <a:lnTo>
                    <a:pt x="209" y="126"/>
                  </a:lnTo>
                  <a:lnTo>
                    <a:pt x="209" y="126"/>
                  </a:lnTo>
                  <a:lnTo>
                    <a:pt x="209" y="126"/>
                  </a:lnTo>
                  <a:lnTo>
                    <a:pt x="209" y="126"/>
                  </a:lnTo>
                  <a:lnTo>
                    <a:pt x="207" y="126"/>
                  </a:lnTo>
                  <a:lnTo>
                    <a:pt x="207" y="126"/>
                  </a:lnTo>
                  <a:lnTo>
                    <a:pt x="205" y="126"/>
                  </a:lnTo>
                  <a:lnTo>
                    <a:pt x="205" y="126"/>
                  </a:lnTo>
                  <a:lnTo>
                    <a:pt x="205" y="126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3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7" y="128"/>
                  </a:lnTo>
                  <a:lnTo>
                    <a:pt x="207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31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7" y="128"/>
                  </a:lnTo>
                  <a:lnTo>
                    <a:pt x="205" y="128"/>
                  </a:lnTo>
                  <a:lnTo>
                    <a:pt x="205" y="128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5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3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89" y="126"/>
                  </a:lnTo>
                  <a:lnTo>
                    <a:pt x="189" y="126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5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0" y="128"/>
                  </a:lnTo>
                  <a:lnTo>
                    <a:pt x="180" y="131"/>
                  </a:lnTo>
                  <a:lnTo>
                    <a:pt x="178" y="131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78" y="133"/>
                  </a:lnTo>
                  <a:lnTo>
                    <a:pt x="176" y="133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6" y="137"/>
                  </a:lnTo>
                  <a:lnTo>
                    <a:pt x="176" y="137"/>
                  </a:lnTo>
                  <a:lnTo>
                    <a:pt x="176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37"/>
                  </a:lnTo>
                  <a:lnTo>
                    <a:pt x="171" y="137"/>
                  </a:lnTo>
                  <a:lnTo>
                    <a:pt x="171" y="137"/>
                  </a:lnTo>
                  <a:lnTo>
                    <a:pt x="171" y="137"/>
                  </a:lnTo>
                  <a:lnTo>
                    <a:pt x="171" y="137"/>
                  </a:lnTo>
                  <a:lnTo>
                    <a:pt x="171" y="137"/>
                  </a:lnTo>
                  <a:lnTo>
                    <a:pt x="171" y="137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71" y="140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0"/>
                  </a:lnTo>
                  <a:lnTo>
                    <a:pt x="167" y="140"/>
                  </a:lnTo>
                  <a:lnTo>
                    <a:pt x="167" y="140"/>
                  </a:lnTo>
                  <a:lnTo>
                    <a:pt x="167" y="140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8" y="142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5" y="142"/>
                  </a:lnTo>
                  <a:lnTo>
                    <a:pt x="153" y="142"/>
                  </a:lnTo>
                  <a:lnTo>
                    <a:pt x="153" y="142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2"/>
                  </a:lnTo>
                  <a:lnTo>
                    <a:pt x="142" y="140"/>
                  </a:lnTo>
                  <a:lnTo>
                    <a:pt x="140" y="140"/>
                  </a:lnTo>
                  <a:lnTo>
                    <a:pt x="140" y="140"/>
                  </a:lnTo>
                  <a:lnTo>
                    <a:pt x="140" y="140"/>
                  </a:lnTo>
                  <a:lnTo>
                    <a:pt x="140" y="140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37" y="137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19" y="126"/>
                  </a:lnTo>
                  <a:lnTo>
                    <a:pt x="113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1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6" y="133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37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40"/>
                  </a:lnTo>
                  <a:lnTo>
                    <a:pt x="104" y="137"/>
                  </a:lnTo>
                  <a:lnTo>
                    <a:pt x="101" y="140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37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7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5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2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6" y="140"/>
                  </a:lnTo>
                  <a:lnTo>
                    <a:pt x="86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3" y="140"/>
                  </a:lnTo>
                  <a:lnTo>
                    <a:pt x="81" y="140"/>
                  </a:lnTo>
                  <a:lnTo>
                    <a:pt x="81" y="140"/>
                  </a:lnTo>
                  <a:lnTo>
                    <a:pt x="81" y="140"/>
                  </a:lnTo>
                  <a:lnTo>
                    <a:pt x="81" y="140"/>
                  </a:lnTo>
                  <a:lnTo>
                    <a:pt x="81" y="137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5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31"/>
                  </a:lnTo>
                  <a:lnTo>
                    <a:pt x="77" y="128"/>
                  </a:lnTo>
                  <a:lnTo>
                    <a:pt x="77" y="128"/>
                  </a:lnTo>
                  <a:lnTo>
                    <a:pt x="74" y="128"/>
                  </a:lnTo>
                  <a:lnTo>
                    <a:pt x="74" y="128"/>
                  </a:lnTo>
                  <a:lnTo>
                    <a:pt x="72" y="128"/>
                  </a:lnTo>
                  <a:lnTo>
                    <a:pt x="72" y="126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0" y="128"/>
                  </a:lnTo>
                  <a:lnTo>
                    <a:pt x="70" y="131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6" y="128"/>
                  </a:lnTo>
                  <a:lnTo>
                    <a:pt x="68" y="128"/>
                  </a:lnTo>
                  <a:lnTo>
                    <a:pt x="68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59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4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28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31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7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28"/>
                  </a:lnTo>
                  <a:lnTo>
                    <a:pt x="45" y="131"/>
                  </a:lnTo>
                  <a:lnTo>
                    <a:pt x="45" y="131"/>
                  </a:lnTo>
                  <a:lnTo>
                    <a:pt x="45" y="131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3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2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7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6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4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4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9" y="122"/>
                  </a:lnTo>
                  <a:lnTo>
                    <a:pt x="59" y="124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61" y="122"/>
                  </a:lnTo>
                  <a:lnTo>
                    <a:pt x="61" y="119"/>
                  </a:lnTo>
                  <a:lnTo>
                    <a:pt x="61" y="119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22"/>
                  </a:lnTo>
                  <a:lnTo>
                    <a:pt x="57" y="119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2"/>
                  </a:lnTo>
                  <a:lnTo>
                    <a:pt x="52" y="122"/>
                  </a:lnTo>
                  <a:lnTo>
                    <a:pt x="52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3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6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9" y="99"/>
                  </a:lnTo>
                  <a:lnTo>
                    <a:pt x="36" y="99"/>
                  </a:lnTo>
                  <a:lnTo>
                    <a:pt x="36" y="97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2"/>
                  </a:lnTo>
                  <a:lnTo>
                    <a:pt x="27" y="95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6" y="90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5" y="88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90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2" y="86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0" y="77"/>
                  </a:lnTo>
                  <a:lnTo>
                    <a:pt x="32" y="77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5" y="65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8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6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70" y="20"/>
                  </a:lnTo>
                  <a:lnTo>
                    <a:pt x="74" y="23"/>
                  </a:lnTo>
                  <a:lnTo>
                    <a:pt x="79" y="23"/>
                  </a:lnTo>
                  <a:lnTo>
                    <a:pt x="83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95" y="23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3" y="18"/>
                  </a:lnTo>
                  <a:lnTo>
                    <a:pt x="117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5" y="7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7" y="5"/>
                  </a:lnTo>
                  <a:lnTo>
                    <a:pt x="140" y="5"/>
                  </a:lnTo>
                  <a:lnTo>
                    <a:pt x="142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9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5" y="2"/>
                  </a:lnTo>
                  <a:lnTo>
                    <a:pt x="162" y="5"/>
                  </a:lnTo>
                  <a:lnTo>
                    <a:pt x="164" y="5"/>
                  </a:lnTo>
                  <a:lnTo>
                    <a:pt x="164" y="2"/>
                  </a:lnTo>
                  <a:lnTo>
                    <a:pt x="164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71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close/>
                </a:path>
              </a:pathLst>
            </a:custGeom>
            <a:solidFill>
              <a:srgbClr val="C90068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478"/>
            <p:cNvSpPr>
              <a:spLocks noEditPoints="1"/>
            </p:cNvSpPr>
            <p:nvPr/>
          </p:nvSpPr>
          <p:spPr bwMode="auto">
            <a:xfrm>
              <a:off x="5891609" y="2481527"/>
              <a:ext cx="138729" cy="280799"/>
            </a:xfrm>
            <a:custGeom>
              <a:avLst/>
              <a:gdLst>
                <a:gd name="T0" fmla="*/ 70 w 83"/>
                <a:gd name="T1" fmla="*/ 85 h 168"/>
                <a:gd name="T2" fmla="*/ 68 w 83"/>
                <a:gd name="T3" fmla="*/ 87 h 168"/>
                <a:gd name="T4" fmla="*/ 65 w 83"/>
                <a:gd name="T5" fmla="*/ 87 h 168"/>
                <a:gd name="T6" fmla="*/ 70 w 83"/>
                <a:gd name="T7" fmla="*/ 83 h 168"/>
                <a:gd name="T8" fmla="*/ 45 w 83"/>
                <a:gd name="T9" fmla="*/ 4 h 168"/>
                <a:gd name="T10" fmla="*/ 45 w 83"/>
                <a:gd name="T11" fmla="*/ 2 h 168"/>
                <a:gd name="T12" fmla="*/ 47 w 83"/>
                <a:gd name="T13" fmla="*/ 2 h 168"/>
                <a:gd name="T14" fmla="*/ 52 w 83"/>
                <a:gd name="T15" fmla="*/ 4 h 168"/>
                <a:gd name="T16" fmla="*/ 52 w 83"/>
                <a:gd name="T17" fmla="*/ 6 h 168"/>
                <a:gd name="T18" fmla="*/ 56 w 83"/>
                <a:gd name="T19" fmla="*/ 11 h 168"/>
                <a:gd name="T20" fmla="*/ 52 w 83"/>
                <a:gd name="T21" fmla="*/ 13 h 168"/>
                <a:gd name="T22" fmla="*/ 56 w 83"/>
                <a:gd name="T23" fmla="*/ 15 h 168"/>
                <a:gd name="T24" fmla="*/ 61 w 83"/>
                <a:gd name="T25" fmla="*/ 11 h 168"/>
                <a:gd name="T26" fmla="*/ 65 w 83"/>
                <a:gd name="T27" fmla="*/ 9 h 168"/>
                <a:gd name="T28" fmla="*/ 70 w 83"/>
                <a:gd name="T29" fmla="*/ 6 h 168"/>
                <a:gd name="T30" fmla="*/ 70 w 83"/>
                <a:gd name="T31" fmla="*/ 9 h 168"/>
                <a:gd name="T32" fmla="*/ 70 w 83"/>
                <a:gd name="T33" fmla="*/ 11 h 168"/>
                <a:gd name="T34" fmla="*/ 63 w 83"/>
                <a:gd name="T35" fmla="*/ 22 h 168"/>
                <a:gd name="T36" fmla="*/ 59 w 83"/>
                <a:gd name="T37" fmla="*/ 31 h 168"/>
                <a:gd name="T38" fmla="*/ 61 w 83"/>
                <a:gd name="T39" fmla="*/ 36 h 168"/>
                <a:gd name="T40" fmla="*/ 65 w 83"/>
                <a:gd name="T41" fmla="*/ 38 h 168"/>
                <a:gd name="T42" fmla="*/ 70 w 83"/>
                <a:gd name="T43" fmla="*/ 42 h 168"/>
                <a:gd name="T44" fmla="*/ 70 w 83"/>
                <a:gd name="T45" fmla="*/ 47 h 168"/>
                <a:gd name="T46" fmla="*/ 70 w 83"/>
                <a:gd name="T47" fmla="*/ 51 h 168"/>
                <a:gd name="T48" fmla="*/ 68 w 83"/>
                <a:gd name="T49" fmla="*/ 58 h 168"/>
                <a:gd name="T50" fmla="*/ 68 w 83"/>
                <a:gd name="T51" fmla="*/ 60 h 168"/>
                <a:gd name="T52" fmla="*/ 63 w 83"/>
                <a:gd name="T53" fmla="*/ 65 h 168"/>
                <a:gd name="T54" fmla="*/ 61 w 83"/>
                <a:gd name="T55" fmla="*/ 67 h 168"/>
                <a:gd name="T56" fmla="*/ 56 w 83"/>
                <a:gd name="T57" fmla="*/ 69 h 168"/>
                <a:gd name="T58" fmla="*/ 52 w 83"/>
                <a:gd name="T59" fmla="*/ 74 h 168"/>
                <a:gd name="T60" fmla="*/ 52 w 83"/>
                <a:gd name="T61" fmla="*/ 78 h 168"/>
                <a:gd name="T62" fmla="*/ 61 w 83"/>
                <a:gd name="T63" fmla="*/ 87 h 168"/>
                <a:gd name="T64" fmla="*/ 65 w 83"/>
                <a:gd name="T65" fmla="*/ 92 h 168"/>
                <a:gd name="T66" fmla="*/ 70 w 83"/>
                <a:gd name="T67" fmla="*/ 90 h 168"/>
                <a:gd name="T68" fmla="*/ 72 w 83"/>
                <a:gd name="T69" fmla="*/ 90 h 168"/>
                <a:gd name="T70" fmla="*/ 77 w 83"/>
                <a:gd name="T71" fmla="*/ 96 h 168"/>
                <a:gd name="T72" fmla="*/ 74 w 83"/>
                <a:gd name="T73" fmla="*/ 96 h 168"/>
                <a:gd name="T74" fmla="*/ 79 w 83"/>
                <a:gd name="T75" fmla="*/ 99 h 168"/>
                <a:gd name="T76" fmla="*/ 81 w 83"/>
                <a:gd name="T77" fmla="*/ 103 h 168"/>
                <a:gd name="T78" fmla="*/ 83 w 83"/>
                <a:gd name="T79" fmla="*/ 117 h 168"/>
                <a:gd name="T80" fmla="*/ 65 w 83"/>
                <a:gd name="T81" fmla="*/ 128 h 168"/>
                <a:gd name="T82" fmla="*/ 63 w 83"/>
                <a:gd name="T83" fmla="*/ 132 h 168"/>
                <a:gd name="T84" fmla="*/ 56 w 83"/>
                <a:gd name="T85" fmla="*/ 146 h 168"/>
                <a:gd name="T86" fmla="*/ 56 w 83"/>
                <a:gd name="T87" fmla="*/ 159 h 168"/>
                <a:gd name="T88" fmla="*/ 41 w 83"/>
                <a:gd name="T89" fmla="*/ 159 h 168"/>
                <a:gd name="T90" fmla="*/ 34 w 83"/>
                <a:gd name="T91" fmla="*/ 132 h 168"/>
                <a:gd name="T92" fmla="*/ 18 w 83"/>
                <a:gd name="T93" fmla="*/ 114 h 168"/>
                <a:gd name="T94" fmla="*/ 11 w 83"/>
                <a:gd name="T95" fmla="*/ 101 h 168"/>
                <a:gd name="T96" fmla="*/ 5 w 83"/>
                <a:gd name="T97" fmla="*/ 90 h 168"/>
                <a:gd name="T98" fmla="*/ 2 w 83"/>
                <a:gd name="T99" fmla="*/ 76 h 168"/>
                <a:gd name="T100" fmla="*/ 7 w 83"/>
                <a:gd name="T101" fmla="*/ 69 h 168"/>
                <a:gd name="T102" fmla="*/ 14 w 83"/>
                <a:gd name="T103" fmla="*/ 65 h 168"/>
                <a:gd name="T104" fmla="*/ 16 w 83"/>
                <a:gd name="T105" fmla="*/ 58 h 168"/>
                <a:gd name="T106" fmla="*/ 16 w 83"/>
                <a:gd name="T107" fmla="*/ 49 h 168"/>
                <a:gd name="T108" fmla="*/ 16 w 83"/>
                <a:gd name="T109" fmla="*/ 38 h 168"/>
                <a:gd name="T110" fmla="*/ 16 w 83"/>
                <a:gd name="T111" fmla="*/ 27 h 168"/>
                <a:gd name="T112" fmla="*/ 14 w 83"/>
                <a:gd name="T113" fmla="*/ 20 h 168"/>
                <a:gd name="T114" fmla="*/ 18 w 83"/>
                <a:gd name="T115" fmla="*/ 13 h 168"/>
                <a:gd name="T116" fmla="*/ 20 w 83"/>
                <a:gd name="T117" fmla="*/ 11 h 168"/>
                <a:gd name="T118" fmla="*/ 27 w 83"/>
                <a:gd name="T119" fmla="*/ 9 h 168"/>
                <a:gd name="T120" fmla="*/ 32 w 83"/>
                <a:gd name="T121" fmla="*/ 2 h 168"/>
                <a:gd name="T122" fmla="*/ 38 w 83"/>
                <a:gd name="T123" fmla="*/ 2 h 168"/>
                <a:gd name="T124" fmla="*/ 43 w 83"/>
                <a:gd name="T1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3" h="168">
                  <a:moveTo>
                    <a:pt x="70" y="83"/>
                  </a:moveTo>
                  <a:lnTo>
                    <a:pt x="70" y="83"/>
                  </a:lnTo>
                  <a:lnTo>
                    <a:pt x="70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2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68" y="87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8" y="83"/>
                  </a:lnTo>
                  <a:lnTo>
                    <a:pt x="70" y="83"/>
                  </a:lnTo>
                  <a:lnTo>
                    <a:pt x="70" y="83"/>
                  </a:lnTo>
                  <a:close/>
                  <a:moveTo>
                    <a:pt x="45" y="0"/>
                  </a:move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65" y="18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3" y="22"/>
                  </a:lnTo>
                  <a:lnTo>
                    <a:pt x="61" y="22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40"/>
                  </a:lnTo>
                  <a:lnTo>
                    <a:pt x="68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0" y="51"/>
                  </a:lnTo>
                  <a:lnTo>
                    <a:pt x="70" y="51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5" y="85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70" y="87"/>
                  </a:lnTo>
                  <a:lnTo>
                    <a:pt x="72" y="87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2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81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101"/>
                  </a:lnTo>
                  <a:lnTo>
                    <a:pt x="81" y="103"/>
                  </a:lnTo>
                  <a:lnTo>
                    <a:pt x="81" y="103"/>
                  </a:lnTo>
                  <a:lnTo>
                    <a:pt x="81" y="103"/>
                  </a:lnTo>
                  <a:lnTo>
                    <a:pt x="81" y="105"/>
                  </a:lnTo>
                  <a:lnTo>
                    <a:pt x="81" y="108"/>
                  </a:lnTo>
                  <a:lnTo>
                    <a:pt x="81" y="110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3" y="114"/>
                  </a:lnTo>
                  <a:lnTo>
                    <a:pt x="83" y="114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1" y="119"/>
                  </a:lnTo>
                  <a:lnTo>
                    <a:pt x="70" y="123"/>
                  </a:lnTo>
                  <a:lnTo>
                    <a:pt x="70" y="123"/>
                  </a:lnTo>
                  <a:lnTo>
                    <a:pt x="68" y="126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30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1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6" y="137"/>
                  </a:lnTo>
                  <a:lnTo>
                    <a:pt x="56" y="139"/>
                  </a:lnTo>
                  <a:lnTo>
                    <a:pt x="54" y="139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9" y="148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0"/>
                  </a:lnTo>
                  <a:lnTo>
                    <a:pt x="59" y="153"/>
                  </a:lnTo>
                  <a:lnTo>
                    <a:pt x="59" y="153"/>
                  </a:lnTo>
                  <a:lnTo>
                    <a:pt x="59" y="155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64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50" y="166"/>
                  </a:lnTo>
                  <a:lnTo>
                    <a:pt x="47" y="166"/>
                  </a:lnTo>
                  <a:lnTo>
                    <a:pt x="43" y="168"/>
                  </a:lnTo>
                  <a:lnTo>
                    <a:pt x="43" y="166"/>
                  </a:lnTo>
                  <a:lnTo>
                    <a:pt x="43" y="164"/>
                  </a:lnTo>
                  <a:lnTo>
                    <a:pt x="43" y="162"/>
                  </a:lnTo>
                  <a:lnTo>
                    <a:pt x="41" y="159"/>
                  </a:lnTo>
                  <a:lnTo>
                    <a:pt x="41" y="157"/>
                  </a:lnTo>
                  <a:lnTo>
                    <a:pt x="41" y="153"/>
                  </a:lnTo>
                  <a:lnTo>
                    <a:pt x="38" y="150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6" y="141"/>
                  </a:lnTo>
                  <a:lnTo>
                    <a:pt x="36" y="137"/>
                  </a:lnTo>
                  <a:lnTo>
                    <a:pt x="36" y="135"/>
                  </a:lnTo>
                  <a:lnTo>
                    <a:pt x="34" y="132"/>
                  </a:lnTo>
                  <a:lnTo>
                    <a:pt x="34" y="130"/>
                  </a:lnTo>
                  <a:lnTo>
                    <a:pt x="34" y="128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2" y="126"/>
                  </a:lnTo>
                  <a:lnTo>
                    <a:pt x="29" y="121"/>
                  </a:lnTo>
                  <a:lnTo>
                    <a:pt x="25" y="119"/>
                  </a:lnTo>
                  <a:lnTo>
                    <a:pt x="23" y="117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6" y="103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78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6" y="49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5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36"/>
                  </a:lnTo>
                  <a:lnTo>
                    <a:pt x="14" y="33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479"/>
            <p:cNvSpPr>
              <a:spLocks noEditPoints="1"/>
            </p:cNvSpPr>
            <p:nvPr/>
          </p:nvSpPr>
          <p:spPr bwMode="auto">
            <a:xfrm>
              <a:off x="3478071" y="3514467"/>
              <a:ext cx="51815" cy="51814"/>
            </a:xfrm>
            <a:custGeom>
              <a:avLst/>
              <a:gdLst>
                <a:gd name="T0" fmla="*/ 20 w 31"/>
                <a:gd name="T1" fmla="*/ 16 h 31"/>
                <a:gd name="T2" fmla="*/ 20 w 31"/>
                <a:gd name="T3" fmla="*/ 18 h 31"/>
                <a:gd name="T4" fmla="*/ 20 w 31"/>
                <a:gd name="T5" fmla="*/ 20 h 31"/>
                <a:gd name="T6" fmla="*/ 20 w 31"/>
                <a:gd name="T7" fmla="*/ 22 h 31"/>
                <a:gd name="T8" fmla="*/ 20 w 31"/>
                <a:gd name="T9" fmla="*/ 25 h 31"/>
                <a:gd name="T10" fmla="*/ 20 w 31"/>
                <a:gd name="T11" fmla="*/ 27 h 31"/>
                <a:gd name="T12" fmla="*/ 20 w 31"/>
                <a:gd name="T13" fmla="*/ 29 h 31"/>
                <a:gd name="T14" fmla="*/ 18 w 31"/>
                <a:gd name="T15" fmla="*/ 29 h 31"/>
                <a:gd name="T16" fmla="*/ 18 w 31"/>
                <a:gd name="T17" fmla="*/ 31 h 31"/>
                <a:gd name="T18" fmla="*/ 15 w 31"/>
                <a:gd name="T19" fmla="*/ 31 h 31"/>
                <a:gd name="T20" fmla="*/ 9 w 31"/>
                <a:gd name="T21" fmla="*/ 31 h 31"/>
                <a:gd name="T22" fmla="*/ 9 w 31"/>
                <a:gd name="T23" fmla="*/ 31 h 31"/>
                <a:gd name="T24" fmla="*/ 6 w 31"/>
                <a:gd name="T25" fmla="*/ 31 h 31"/>
                <a:gd name="T26" fmla="*/ 6 w 31"/>
                <a:gd name="T27" fmla="*/ 31 h 31"/>
                <a:gd name="T28" fmla="*/ 6 w 31"/>
                <a:gd name="T29" fmla="*/ 31 h 31"/>
                <a:gd name="T30" fmla="*/ 2 w 31"/>
                <a:gd name="T31" fmla="*/ 31 h 31"/>
                <a:gd name="T32" fmla="*/ 2 w 31"/>
                <a:gd name="T33" fmla="*/ 31 h 31"/>
                <a:gd name="T34" fmla="*/ 2 w 31"/>
                <a:gd name="T35" fmla="*/ 31 h 31"/>
                <a:gd name="T36" fmla="*/ 2 w 31"/>
                <a:gd name="T37" fmla="*/ 31 h 31"/>
                <a:gd name="T38" fmla="*/ 2 w 31"/>
                <a:gd name="T39" fmla="*/ 29 h 31"/>
                <a:gd name="T40" fmla="*/ 6 w 31"/>
                <a:gd name="T41" fmla="*/ 29 h 31"/>
                <a:gd name="T42" fmla="*/ 6 w 31"/>
                <a:gd name="T43" fmla="*/ 27 h 31"/>
                <a:gd name="T44" fmla="*/ 9 w 31"/>
                <a:gd name="T45" fmla="*/ 27 h 31"/>
                <a:gd name="T46" fmla="*/ 11 w 31"/>
                <a:gd name="T47" fmla="*/ 27 h 31"/>
                <a:gd name="T48" fmla="*/ 11 w 31"/>
                <a:gd name="T49" fmla="*/ 25 h 31"/>
                <a:gd name="T50" fmla="*/ 11 w 31"/>
                <a:gd name="T51" fmla="*/ 25 h 31"/>
                <a:gd name="T52" fmla="*/ 11 w 31"/>
                <a:gd name="T53" fmla="*/ 25 h 31"/>
                <a:gd name="T54" fmla="*/ 11 w 31"/>
                <a:gd name="T55" fmla="*/ 25 h 31"/>
                <a:gd name="T56" fmla="*/ 11 w 31"/>
                <a:gd name="T57" fmla="*/ 22 h 31"/>
                <a:gd name="T58" fmla="*/ 11 w 31"/>
                <a:gd name="T59" fmla="*/ 22 h 31"/>
                <a:gd name="T60" fmla="*/ 11 w 31"/>
                <a:gd name="T61" fmla="*/ 20 h 31"/>
                <a:gd name="T62" fmla="*/ 11 w 31"/>
                <a:gd name="T63" fmla="*/ 18 h 31"/>
                <a:gd name="T64" fmla="*/ 9 w 31"/>
                <a:gd name="T65" fmla="*/ 16 h 31"/>
                <a:gd name="T66" fmla="*/ 6 w 31"/>
                <a:gd name="T67" fmla="*/ 16 h 31"/>
                <a:gd name="T68" fmla="*/ 9 w 31"/>
                <a:gd name="T69" fmla="*/ 16 h 31"/>
                <a:gd name="T70" fmla="*/ 11 w 31"/>
                <a:gd name="T71" fmla="*/ 16 h 31"/>
                <a:gd name="T72" fmla="*/ 11 w 31"/>
                <a:gd name="T73" fmla="*/ 13 h 31"/>
                <a:gd name="T74" fmla="*/ 11 w 31"/>
                <a:gd name="T75" fmla="*/ 13 h 31"/>
                <a:gd name="T76" fmla="*/ 11 w 31"/>
                <a:gd name="T77" fmla="*/ 13 h 31"/>
                <a:gd name="T78" fmla="*/ 11 w 31"/>
                <a:gd name="T79" fmla="*/ 16 h 31"/>
                <a:gd name="T80" fmla="*/ 11 w 31"/>
                <a:gd name="T81" fmla="*/ 16 h 31"/>
                <a:gd name="T82" fmla="*/ 13 w 31"/>
                <a:gd name="T83" fmla="*/ 13 h 31"/>
                <a:gd name="T84" fmla="*/ 13 w 31"/>
                <a:gd name="T85" fmla="*/ 13 h 31"/>
                <a:gd name="T86" fmla="*/ 15 w 31"/>
                <a:gd name="T87" fmla="*/ 13 h 31"/>
                <a:gd name="T88" fmla="*/ 20 w 31"/>
                <a:gd name="T89" fmla="*/ 13 h 31"/>
                <a:gd name="T90" fmla="*/ 22 w 31"/>
                <a:gd name="T91" fmla="*/ 13 h 31"/>
                <a:gd name="T92" fmla="*/ 31 w 31"/>
                <a:gd name="T93" fmla="*/ 2 h 31"/>
                <a:gd name="T94" fmla="*/ 31 w 31"/>
                <a:gd name="T95" fmla="*/ 2 h 31"/>
                <a:gd name="T96" fmla="*/ 31 w 31"/>
                <a:gd name="T97" fmla="*/ 2 h 31"/>
                <a:gd name="T98" fmla="*/ 29 w 31"/>
                <a:gd name="T99" fmla="*/ 4 h 31"/>
                <a:gd name="T100" fmla="*/ 29 w 31"/>
                <a:gd name="T101" fmla="*/ 4 h 31"/>
                <a:gd name="T102" fmla="*/ 29 w 31"/>
                <a:gd name="T103" fmla="*/ 4 h 31"/>
                <a:gd name="T104" fmla="*/ 27 w 31"/>
                <a:gd name="T105" fmla="*/ 4 h 31"/>
                <a:gd name="T106" fmla="*/ 24 w 31"/>
                <a:gd name="T107" fmla="*/ 4 h 31"/>
                <a:gd name="T108" fmla="*/ 24 w 31"/>
                <a:gd name="T109" fmla="*/ 4 h 31"/>
                <a:gd name="T110" fmla="*/ 24 w 31"/>
                <a:gd name="T111" fmla="*/ 4 h 31"/>
                <a:gd name="T112" fmla="*/ 27 w 31"/>
                <a:gd name="T113" fmla="*/ 4 h 31"/>
                <a:gd name="T114" fmla="*/ 29 w 31"/>
                <a:gd name="T115" fmla="*/ 2 h 31"/>
                <a:gd name="T116" fmla="*/ 29 w 31"/>
                <a:gd name="T117" fmla="*/ 2 h 31"/>
                <a:gd name="T118" fmla="*/ 31 w 31"/>
                <a:gd name="T119" fmla="*/ 2 h 31"/>
                <a:gd name="T120" fmla="*/ 31 w 31"/>
                <a:gd name="T12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" h="31">
                  <a:moveTo>
                    <a:pt x="22" y="13"/>
                  </a:moveTo>
                  <a:lnTo>
                    <a:pt x="22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2" y="25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8" y="29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3" y="31"/>
                  </a:lnTo>
                  <a:lnTo>
                    <a:pt x="11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3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4" y="7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480"/>
            <p:cNvSpPr>
              <a:spLocks/>
            </p:cNvSpPr>
            <p:nvPr/>
          </p:nvSpPr>
          <p:spPr bwMode="auto">
            <a:xfrm>
              <a:off x="5635880" y="3526168"/>
              <a:ext cx="71872" cy="198899"/>
            </a:xfrm>
            <a:custGeom>
              <a:avLst/>
              <a:gdLst>
                <a:gd name="T0" fmla="*/ 16 w 43"/>
                <a:gd name="T1" fmla="*/ 2 h 119"/>
                <a:gd name="T2" fmla="*/ 21 w 43"/>
                <a:gd name="T3" fmla="*/ 2 h 119"/>
                <a:gd name="T4" fmla="*/ 23 w 43"/>
                <a:gd name="T5" fmla="*/ 6 h 119"/>
                <a:gd name="T6" fmla="*/ 21 w 43"/>
                <a:gd name="T7" fmla="*/ 13 h 119"/>
                <a:gd name="T8" fmla="*/ 32 w 43"/>
                <a:gd name="T9" fmla="*/ 27 h 119"/>
                <a:gd name="T10" fmla="*/ 34 w 43"/>
                <a:gd name="T11" fmla="*/ 36 h 119"/>
                <a:gd name="T12" fmla="*/ 34 w 43"/>
                <a:gd name="T13" fmla="*/ 38 h 119"/>
                <a:gd name="T14" fmla="*/ 39 w 43"/>
                <a:gd name="T15" fmla="*/ 47 h 119"/>
                <a:gd name="T16" fmla="*/ 39 w 43"/>
                <a:gd name="T17" fmla="*/ 60 h 119"/>
                <a:gd name="T18" fmla="*/ 39 w 43"/>
                <a:gd name="T19" fmla="*/ 65 h 119"/>
                <a:gd name="T20" fmla="*/ 39 w 43"/>
                <a:gd name="T21" fmla="*/ 90 h 119"/>
                <a:gd name="T22" fmla="*/ 39 w 43"/>
                <a:gd name="T23" fmla="*/ 101 h 119"/>
                <a:gd name="T24" fmla="*/ 39 w 43"/>
                <a:gd name="T25" fmla="*/ 105 h 119"/>
                <a:gd name="T26" fmla="*/ 39 w 43"/>
                <a:gd name="T27" fmla="*/ 108 h 119"/>
                <a:gd name="T28" fmla="*/ 39 w 43"/>
                <a:gd name="T29" fmla="*/ 108 h 119"/>
                <a:gd name="T30" fmla="*/ 41 w 43"/>
                <a:gd name="T31" fmla="*/ 110 h 119"/>
                <a:gd name="T32" fmla="*/ 39 w 43"/>
                <a:gd name="T33" fmla="*/ 117 h 119"/>
                <a:gd name="T34" fmla="*/ 27 w 43"/>
                <a:gd name="T35" fmla="*/ 117 h 119"/>
                <a:gd name="T36" fmla="*/ 25 w 43"/>
                <a:gd name="T37" fmla="*/ 114 h 119"/>
                <a:gd name="T38" fmla="*/ 21 w 43"/>
                <a:gd name="T39" fmla="*/ 110 h 119"/>
                <a:gd name="T40" fmla="*/ 21 w 43"/>
                <a:gd name="T41" fmla="*/ 108 h 119"/>
                <a:gd name="T42" fmla="*/ 18 w 43"/>
                <a:gd name="T43" fmla="*/ 105 h 119"/>
                <a:gd name="T44" fmla="*/ 16 w 43"/>
                <a:gd name="T45" fmla="*/ 101 h 119"/>
                <a:gd name="T46" fmla="*/ 16 w 43"/>
                <a:gd name="T47" fmla="*/ 99 h 119"/>
                <a:gd name="T48" fmla="*/ 18 w 43"/>
                <a:gd name="T49" fmla="*/ 94 h 119"/>
                <a:gd name="T50" fmla="*/ 16 w 43"/>
                <a:gd name="T51" fmla="*/ 87 h 119"/>
                <a:gd name="T52" fmla="*/ 16 w 43"/>
                <a:gd name="T53" fmla="*/ 83 h 119"/>
                <a:gd name="T54" fmla="*/ 18 w 43"/>
                <a:gd name="T55" fmla="*/ 81 h 119"/>
                <a:gd name="T56" fmla="*/ 16 w 43"/>
                <a:gd name="T57" fmla="*/ 72 h 119"/>
                <a:gd name="T58" fmla="*/ 16 w 43"/>
                <a:gd name="T59" fmla="*/ 69 h 119"/>
                <a:gd name="T60" fmla="*/ 18 w 43"/>
                <a:gd name="T61" fmla="*/ 67 h 119"/>
                <a:gd name="T62" fmla="*/ 18 w 43"/>
                <a:gd name="T63" fmla="*/ 65 h 119"/>
                <a:gd name="T64" fmla="*/ 16 w 43"/>
                <a:gd name="T65" fmla="*/ 60 h 119"/>
                <a:gd name="T66" fmla="*/ 14 w 43"/>
                <a:gd name="T67" fmla="*/ 54 h 119"/>
                <a:gd name="T68" fmla="*/ 14 w 43"/>
                <a:gd name="T69" fmla="*/ 54 h 119"/>
                <a:gd name="T70" fmla="*/ 14 w 43"/>
                <a:gd name="T71" fmla="*/ 49 h 119"/>
                <a:gd name="T72" fmla="*/ 14 w 43"/>
                <a:gd name="T73" fmla="*/ 47 h 119"/>
                <a:gd name="T74" fmla="*/ 16 w 43"/>
                <a:gd name="T75" fmla="*/ 42 h 119"/>
                <a:gd name="T76" fmla="*/ 16 w 43"/>
                <a:gd name="T77" fmla="*/ 40 h 119"/>
                <a:gd name="T78" fmla="*/ 12 w 43"/>
                <a:gd name="T79" fmla="*/ 38 h 119"/>
                <a:gd name="T80" fmla="*/ 9 w 43"/>
                <a:gd name="T81" fmla="*/ 40 h 119"/>
                <a:gd name="T82" fmla="*/ 12 w 43"/>
                <a:gd name="T83" fmla="*/ 38 h 119"/>
                <a:gd name="T84" fmla="*/ 9 w 43"/>
                <a:gd name="T85" fmla="*/ 38 h 119"/>
                <a:gd name="T86" fmla="*/ 12 w 43"/>
                <a:gd name="T87" fmla="*/ 36 h 119"/>
                <a:gd name="T88" fmla="*/ 9 w 43"/>
                <a:gd name="T89" fmla="*/ 33 h 119"/>
                <a:gd name="T90" fmla="*/ 12 w 43"/>
                <a:gd name="T91" fmla="*/ 33 h 119"/>
                <a:gd name="T92" fmla="*/ 12 w 43"/>
                <a:gd name="T93" fmla="*/ 29 h 119"/>
                <a:gd name="T94" fmla="*/ 12 w 43"/>
                <a:gd name="T95" fmla="*/ 27 h 119"/>
                <a:gd name="T96" fmla="*/ 14 w 43"/>
                <a:gd name="T97" fmla="*/ 24 h 119"/>
                <a:gd name="T98" fmla="*/ 12 w 43"/>
                <a:gd name="T99" fmla="*/ 20 h 119"/>
                <a:gd name="T100" fmla="*/ 12 w 43"/>
                <a:gd name="T101" fmla="*/ 18 h 119"/>
                <a:gd name="T102" fmla="*/ 9 w 43"/>
                <a:gd name="T103" fmla="*/ 15 h 119"/>
                <a:gd name="T104" fmla="*/ 9 w 43"/>
                <a:gd name="T105" fmla="*/ 15 h 119"/>
                <a:gd name="T106" fmla="*/ 5 w 43"/>
                <a:gd name="T107" fmla="*/ 11 h 119"/>
                <a:gd name="T108" fmla="*/ 3 w 43"/>
                <a:gd name="T109" fmla="*/ 11 h 119"/>
                <a:gd name="T110" fmla="*/ 5 w 43"/>
                <a:gd name="T111" fmla="*/ 6 h 119"/>
                <a:gd name="T112" fmla="*/ 5 w 43"/>
                <a:gd name="T113" fmla="*/ 2 h 119"/>
                <a:gd name="T114" fmla="*/ 3 w 43"/>
                <a:gd name="T11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" h="119">
                  <a:moveTo>
                    <a:pt x="3" y="0"/>
                  </a:moveTo>
                  <a:lnTo>
                    <a:pt x="7" y="0"/>
                  </a:lnTo>
                  <a:lnTo>
                    <a:pt x="12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5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5" y="20"/>
                  </a:lnTo>
                  <a:lnTo>
                    <a:pt x="27" y="22"/>
                  </a:lnTo>
                  <a:lnTo>
                    <a:pt x="30" y="24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9"/>
                  </a:lnTo>
                  <a:lnTo>
                    <a:pt x="34" y="31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6" y="45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39" y="51"/>
                  </a:lnTo>
                  <a:lnTo>
                    <a:pt x="39" y="54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9" y="74"/>
                  </a:lnTo>
                  <a:lnTo>
                    <a:pt x="39" y="78"/>
                  </a:lnTo>
                  <a:lnTo>
                    <a:pt x="39" y="83"/>
                  </a:lnTo>
                  <a:lnTo>
                    <a:pt x="39" y="87"/>
                  </a:lnTo>
                  <a:lnTo>
                    <a:pt x="39" y="90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6" y="96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3" y="112"/>
                  </a:lnTo>
                  <a:lnTo>
                    <a:pt x="43" y="114"/>
                  </a:lnTo>
                  <a:lnTo>
                    <a:pt x="41" y="114"/>
                  </a:lnTo>
                  <a:lnTo>
                    <a:pt x="39" y="114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4" y="117"/>
                  </a:lnTo>
                  <a:lnTo>
                    <a:pt x="32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1" y="112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56"/>
                  </a:lnTo>
                  <a:lnTo>
                    <a:pt x="12" y="56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1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481"/>
            <p:cNvSpPr>
              <a:spLocks noEditPoints="1"/>
            </p:cNvSpPr>
            <p:nvPr/>
          </p:nvSpPr>
          <p:spPr bwMode="auto">
            <a:xfrm>
              <a:off x="9984928" y="4291680"/>
              <a:ext cx="117000" cy="53486"/>
            </a:xfrm>
            <a:custGeom>
              <a:avLst/>
              <a:gdLst>
                <a:gd name="T0" fmla="*/ 4 w 70"/>
                <a:gd name="T1" fmla="*/ 30 h 32"/>
                <a:gd name="T2" fmla="*/ 4 w 70"/>
                <a:gd name="T3" fmla="*/ 32 h 32"/>
                <a:gd name="T4" fmla="*/ 2 w 70"/>
                <a:gd name="T5" fmla="*/ 32 h 32"/>
                <a:gd name="T6" fmla="*/ 4 w 70"/>
                <a:gd name="T7" fmla="*/ 32 h 32"/>
                <a:gd name="T8" fmla="*/ 2 w 70"/>
                <a:gd name="T9" fmla="*/ 30 h 32"/>
                <a:gd name="T10" fmla="*/ 0 w 70"/>
                <a:gd name="T11" fmla="*/ 30 h 32"/>
                <a:gd name="T12" fmla="*/ 0 w 70"/>
                <a:gd name="T13" fmla="*/ 27 h 32"/>
                <a:gd name="T14" fmla="*/ 2 w 70"/>
                <a:gd name="T15" fmla="*/ 27 h 32"/>
                <a:gd name="T16" fmla="*/ 7 w 70"/>
                <a:gd name="T17" fmla="*/ 25 h 32"/>
                <a:gd name="T18" fmla="*/ 7 w 70"/>
                <a:gd name="T19" fmla="*/ 27 h 32"/>
                <a:gd name="T20" fmla="*/ 7 w 70"/>
                <a:gd name="T21" fmla="*/ 30 h 32"/>
                <a:gd name="T22" fmla="*/ 65 w 70"/>
                <a:gd name="T23" fmla="*/ 5 h 32"/>
                <a:gd name="T24" fmla="*/ 67 w 70"/>
                <a:gd name="T25" fmla="*/ 5 h 32"/>
                <a:gd name="T26" fmla="*/ 70 w 70"/>
                <a:gd name="T27" fmla="*/ 5 h 32"/>
                <a:gd name="T28" fmla="*/ 67 w 70"/>
                <a:gd name="T29" fmla="*/ 9 h 32"/>
                <a:gd name="T30" fmla="*/ 61 w 70"/>
                <a:gd name="T31" fmla="*/ 14 h 32"/>
                <a:gd name="T32" fmla="*/ 56 w 70"/>
                <a:gd name="T33" fmla="*/ 14 h 32"/>
                <a:gd name="T34" fmla="*/ 54 w 70"/>
                <a:gd name="T35" fmla="*/ 16 h 32"/>
                <a:gd name="T36" fmla="*/ 45 w 70"/>
                <a:gd name="T37" fmla="*/ 21 h 32"/>
                <a:gd name="T38" fmla="*/ 38 w 70"/>
                <a:gd name="T39" fmla="*/ 23 h 32"/>
                <a:gd name="T40" fmla="*/ 36 w 70"/>
                <a:gd name="T41" fmla="*/ 25 h 32"/>
                <a:gd name="T42" fmla="*/ 31 w 70"/>
                <a:gd name="T43" fmla="*/ 25 h 32"/>
                <a:gd name="T44" fmla="*/ 25 w 70"/>
                <a:gd name="T45" fmla="*/ 30 h 32"/>
                <a:gd name="T46" fmla="*/ 22 w 70"/>
                <a:gd name="T47" fmla="*/ 30 h 32"/>
                <a:gd name="T48" fmla="*/ 20 w 70"/>
                <a:gd name="T49" fmla="*/ 32 h 32"/>
                <a:gd name="T50" fmla="*/ 20 w 70"/>
                <a:gd name="T51" fmla="*/ 30 h 32"/>
                <a:gd name="T52" fmla="*/ 18 w 70"/>
                <a:gd name="T53" fmla="*/ 27 h 32"/>
                <a:gd name="T54" fmla="*/ 20 w 70"/>
                <a:gd name="T55" fmla="*/ 25 h 32"/>
                <a:gd name="T56" fmla="*/ 20 w 70"/>
                <a:gd name="T57" fmla="*/ 25 h 32"/>
                <a:gd name="T58" fmla="*/ 22 w 70"/>
                <a:gd name="T59" fmla="*/ 25 h 32"/>
                <a:gd name="T60" fmla="*/ 22 w 70"/>
                <a:gd name="T61" fmla="*/ 23 h 32"/>
                <a:gd name="T62" fmla="*/ 22 w 70"/>
                <a:gd name="T63" fmla="*/ 21 h 32"/>
                <a:gd name="T64" fmla="*/ 22 w 70"/>
                <a:gd name="T65" fmla="*/ 21 h 32"/>
                <a:gd name="T66" fmla="*/ 20 w 70"/>
                <a:gd name="T67" fmla="*/ 21 h 32"/>
                <a:gd name="T68" fmla="*/ 18 w 70"/>
                <a:gd name="T69" fmla="*/ 23 h 32"/>
                <a:gd name="T70" fmla="*/ 18 w 70"/>
                <a:gd name="T71" fmla="*/ 21 h 32"/>
                <a:gd name="T72" fmla="*/ 20 w 70"/>
                <a:gd name="T73" fmla="*/ 16 h 32"/>
                <a:gd name="T74" fmla="*/ 22 w 70"/>
                <a:gd name="T75" fmla="*/ 14 h 32"/>
                <a:gd name="T76" fmla="*/ 25 w 70"/>
                <a:gd name="T77" fmla="*/ 12 h 32"/>
                <a:gd name="T78" fmla="*/ 27 w 70"/>
                <a:gd name="T79" fmla="*/ 12 h 32"/>
                <a:gd name="T80" fmla="*/ 31 w 70"/>
                <a:gd name="T81" fmla="*/ 9 h 32"/>
                <a:gd name="T82" fmla="*/ 34 w 70"/>
                <a:gd name="T83" fmla="*/ 9 h 32"/>
                <a:gd name="T84" fmla="*/ 43 w 70"/>
                <a:gd name="T85" fmla="*/ 9 h 32"/>
                <a:gd name="T86" fmla="*/ 45 w 70"/>
                <a:gd name="T87" fmla="*/ 9 h 32"/>
                <a:gd name="T88" fmla="*/ 49 w 70"/>
                <a:gd name="T89" fmla="*/ 7 h 32"/>
                <a:gd name="T90" fmla="*/ 52 w 70"/>
                <a:gd name="T91" fmla="*/ 7 h 32"/>
                <a:gd name="T92" fmla="*/ 54 w 70"/>
                <a:gd name="T93" fmla="*/ 7 h 32"/>
                <a:gd name="T94" fmla="*/ 56 w 70"/>
                <a:gd name="T95" fmla="*/ 7 h 32"/>
                <a:gd name="T96" fmla="*/ 61 w 70"/>
                <a:gd name="T97" fmla="*/ 5 h 32"/>
                <a:gd name="T98" fmla="*/ 65 w 70"/>
                <a:gd name="T99" fmla="*/ 5 h 32"/>
                <a:gd name="T100" fmla="*/ 34 w 70"/>
                <a:gd name="T101" fmla="*/ 5 h 32"/>
                <a:gd name="T102" fmla="*/ 31 w 70"/>
                <a:gd name="T103" fmla="*/ 3 h 32"/>
                <a:gd name="T104" fmla="*/ 34 w 70"/>
                <a:gd name="T105" fmla="*/ 0 h 32"/>
                <a:gd name="T106" fmla="*/ 34 w 70"/>
                <a:gd name="T107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0" h="32">
                  <a:moveTo>
                    <a:pt x="7" y="30"/>
                  </a:move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close/>
                  <a:moveTo>
                    <a:pt x="65" y="5"/>
                  </a:moveTo>
                  <a:lnTo>
                    <a:pt x="65" y="5"/>
                  </a:lnTo>
                  <a:lnTo>
                    <a:pt x="65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5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49" y="18"/>
                  </a:lnTo>
                  <a:lnTo>
                    <a:pt x="45" y="21"/>
                  </a:lnTo>
                  <a:lnTo>
                    <a:pt x="43" y="21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1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5" y="5"/>
                  </a:lnTo>
                  <a:lnTo>
                    <a:pt x="65" y="5"/>
                  </a:lnTo>
                  <a:close/>
                  <a:moveTo>
                    <a:pt x="34" y="5"/>
                  </a:move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5"/>
                  </a:lnTo>
                  <a:lnTo>
                    <a:pt x="34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482"/>
            <p:cNvSpPr>
              <a:spLocks noEditPoints="1"/>
            </p:cNvSpPr>
            <p:nvPr/>
          </p:nvSpPr>
          <p:spPr bwMode="auto">
            <a:xfrm>
              <a:off x="9012159" y="3153439"/>
              <a:ext cx="304199" cy="590013"/>
            </a:xfrm>
            <a:custGeom>
              <a:avLst/>
              <a:gdLst>
                <a:gd name="T0" fmla="*/ 61 w 182"/>
                <a:gd name="T1" fmla="*/ 306 h 353"/>
                <a:gd name="T2" fmla="*/ 49 w 182"/>
                <a:gd name="T3" fmla="*/ 297 h 353"/>
                <a:gd name="T4" fmla="*/ 47 w 182"/>
                <a:gd name="T5" fmla="*/ 299 h 353"/>
                <a:gd name="T6" fmla="*/ 49 w 182"/>
                <a:gd name="T7" fmla="*/ 292 h 353"/>
                <a:gd name="T8" fmla="*/ 79 w 182"/>
                <a:gd name="T9" fmla="*/ 263 h 353"/>
                <a:gd name="T10" fmla="*/ 128 w 182"/>
                <a:gd name="T11" fmla="*/ 211 h 353"/>
                <a:gd name="T12" fmla="*/ 121 w 182"/>
                <a:gd name="T13" fmla="*/ 202 h 353"/>
                <a:gd name="T14" fmla="*/ 58 w 182"/>
                <a:gd name="T15" fmla="*/ 7 h 353"/>
                <a:gd name="T16" fmla="*/ 70 w 182"/>
                <a:gd name="T17" fmla="*/ 20 h 353"/>
                <a:gd name="T18" fmla="*/ 79 w 182"/>
                <a:gd name="T19" fmla="*/ 41 h 353"/>
                <a:gd name="T20" fmla="*/ 79 w 182"/>
                <a:gd name="T21" fmla="*/ 61 h 353"/>
                <a:gd name="T22" fmla="*/ 85 w 182"/>
                <a:gd name="T23" fmla="*/ 65 h 353"/>
                <a:gd name="T24" fmla="*/ 101 w 182"/>
                <a:gd name="T25" fmla="*/ 54 h 353"/>
                <a:gd name="T26" fmla="*/ 119 w 182"/>
                <a:gd name="T27" fmla="*/ 54 h 353"/>
                <a:gd name="T28" fmla="*/ 135 w 182"/>
                <a:gd name="T29" fmla="*/ 52 h 353"/>
                <a:gd name="T30" fmla="*/ 157 w 182"/>
                <a:gd name="T31" fmla="*/ 81 h 353"/>
                <a:gd name="T32" fmla="*/ 175 w 182"/>
                <a:gd name="T33" fmla="*/ 106 h 353"/>
                <a:gd name="T34" fmla="*/ 180 w 182"/>
                <a:gd name="T35" fmla="*/ 128 h 353"/>
                <a:gd name="T36" fmla="*/ 178 w 182"/>
                <a:gd name="T37" fmla="*/ 146 h 353"/>
                <a:gd name="T38" fmla="*/ 160 w 182"/>
                <a:gd name="T39" fmla="*/ 146 h 353"/>
                <a:gd name="T40" fmla="*/ 142 w 182"/>
                <a:gd name="T41" fmla="*/ 144 h 353"/>
                <a:gd name="T42" fmla="*/ 124 w 182"/>
                <a:gd name="T43" fmla="*/ 160 h 353"/>
                <a:gd name="T44" fmla="*/ 124 w 182"/>
                <a:gd name="T45" fmla="*/ 184 h 353"/>
                <a:gd name="T46" fmla="*/ 126 w 182"/>
                <a:gd name="T47" fmla="*/ 196 h 353"/>
                <a:gd name="T48" fmla="*/ 119 w 182"/>
                <a:gd name="T49" fmla="*/ 191 h 353"/>
                <a:gd name="T50" fmla="*/ 115 w 182"/>
                <a:gd name="T51" fmla="*/ 189 h 353"/>
                <a:gd name="T52" fmla="*/ 106 w 182"/>
                <a:gd name="T53" fmla="*/ 184 h 353"/>
                <a:gd name="T54" fmla="*/ 90 w 182"/>
                <a:gd name="T55" fmla="*/ 182 h 353"/>
                <a:gd name="T56" fmla="*/ 90 w 182"/>
                <a:gd name="T57" fmla="*/ 166 h 353"/>
                <a:gd name="T58" fmla="*/ 70 w 182"/>
                <a:gd name="T59" fmla="*/ 171 h 353"/>
                <a:gd name="T60" fmla="*/ 70 w 182"/>
                <a:gd name="T61" fmla="*/ 205 h 353"/>
                <a:gd name="T62" fmla="*/ 65 w 182"/>
                <a:gd name="T63" fmla="*/ 227 h 353"/>
                <a:gd name="T64" fmla="*/ 58 w 182"/>
                <a:gd name="T65" fmla="*/ 241 h 353"/>
                <a:gd name="T66" fmla="*/ 63 w 182"/>
                <a:gd name="T67" fmla="*/ 263 h 353"/>
                <a:gd name="T68" fmla="*/ 76 w 182"/>
                <a:gd name="T69" fmla="*/ 272 h 353"/>
                <a:gd name="T70" fmla="*/ 90 w 182"/>
                <a:gd name="T71" fmla="*/ 315 h 353"/>
                <a:gd name="T72" fmla="*/ 90 w 182"/>
                <a:gd name="T73" fmla="*/ 315 h 353"/>
                <a:gd name="T74" fmla="*/ 108 w 182"/>
                <a:gd name="T75" fmla="*/ 322 h 353"/>
                <a:gd name="T76" fmla="*/ 117 w 182"/>
                <a:gd name="T77" fmla="*/ 349 h 353"/>
                <a:gd name="T78" fmla="*/ 106 w 182"/>
                <a:gd name="T79" fmla="*/ 340 h 353"/>
                <a:gd name="T80" fmla="*/ 88 w 182"/>
                <a:gd name="T81" fmla="*/ 331 h 353"/>
                <a:gd name="T82" fmla="*/ 81 w 182"/>
                <a:gd name="T83" fmla="*/ 328 h 353"/>
                <a:gd name="T84" fmla="*/ 72 w 182"/>
                <a:gd name="T85" fmla="*/ 317 h 353"/>
                <a:gd name="T86" fmla="*/ 65 w 182"/>
                <a:gd name="T87" fmla="*/ 306 h 353"/>
                <a:gd name="T88" fmla="*/ 56 w 182"/>
                <a:gd name="T89" fmla="*/ 297 h 353"/>
                <a:gd name="T90" fmla="*/ 47 w 182"/>
                <a:gd name="T91" fmla="*/ 288 h 353"/>
                <a:gd name="T92" fmla="*/ 43 w 182"/>
                <a:gd name="T93" fmla="*/ 283 h 353"/>
                <a:gd name="T94" fmla="*/ 45 w 182"/>
                <a:gd name="T95" fmla="*/ 265 h 353"/>
                <a:gd name="T96" fmla="*/ 47 w 182"/>
                <a:gd name="T97" fmla="*/ 254 h 353"/>
                <a:gd name="T98" fmla="*/ 49 w 182"/>
                <a:gd name="T99" fmla="*/ 238 h 353"/>
                <a:gd name="T100" fmla="*/ 58 w 182"/>
                <a:gd name="T101" fmla="*/ 223 h 353"/>
                <a:gd name="T102" fmla="*/ 61 w 182"/>
                <a:gd name="T103" fmla="*/ 198 h 353"/>
                <a:gd name="T104" fmla="*/ 54 w 182"/>
                <a:gd name="T105" fmla="*/ 180 h 353"/>
                <a:gd name="T106" fmla="*/ 47 w 182"/>
                <a:gd name="T107" fmla="*/ 155 h 353"/>
                <a:gd name="T108" fmla="*/ 27 w 182"/>
                <a:gd name="T109" fmla="*/ 128 h 353"/>
                <a:gd name="T110" fmla="*/ 34 w 182"/>
                <a:gd name="T111" fmla="*/ 108 h 353"/>
                <a:gd name="T112" fmla="*/ 34 w 182"/>
                <a:gd name="T113" fmla="*/ 97 h 353"/>
                <a:gd name="T114" fmla="*/ 25 w 182"/>
                <a:gd name="T115" fmla="*/ 81 h 353"/>
                <a:gd name="T116" fmla="*/ 9 w 182"/>
                <a:gd name="T117" fmla="*/ 59 h 353"/>
                <a:gd name="T118" fmla="*/ 0 w 182"/>
                <a:gd name="T119" fmla="*/ 47 h 353"/>
                <a:gd name="T120" fmla="*/ 5 w 182"/>
                <a:gd name="T121" fmla="*/ 27 h 353"/>
                <a:gd name="T122" fmla="*/ 20 w 182"/>
                <a:gd name="T123" fmla="*/ 18 h 353"/>
                <a:gd name="T124" fmla="*/ 38 w 182"/>
                <a:gd name="T125" fmla="*/ 7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353">
                  <a:moveTo>
                    <a:pt x="74" y="333"/>
                  </a:moveTo>
                  <a:lnTo>
                    <a:pt x="74" y="333"/>
                  </a:lnTo>
                  <a:lnTo>
                    <a:pt x="74" y="333"/>
                  </a:lnTo>
                  <a:lnTo>
                    <a:pt x="74" y="331"/>
                  </a:lnTo>
                  <a:lnTo>
                    <a:pt x="74" y="331"/>
                  </a:lnTo>
                  <a:lnTo>
                    <a:pt x="74" y="331"/>
                  </a:lnTo>
                  <a:lnTo>
                    <a:pt x="74" y="331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8"/>
                  </a:lnTo>
                  <a:lnTo>
                    <a:pt x="74" y="326"/>
                  </a:lnTo>
                  <a:lnTo>
                    <a:pt x="74" y="326"/>
                  </a:lnTo>
                  <a:lnTo>
                    <a:pt x="74" y="328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4" y="331"/>
                  </a:lnTo>
                  <a:lnTo>
                    <a:pt x="74" y="331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close/>
                  <a:moveTo>
                    <a:pt x="70" y="315"/>
                  </a:moveTo>
                  <a:lnTo>
                    <a:pt x="70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70" y="315"/>
                  </a:lnTo>
                  <a:lnTo>
                    <a:pt x="70" y="315"/>
                  </a:lnTo>
                  <a:close/>
                  <a:moveTo>
                    <a:pt x="63" y="308"/>
                  </a:moveTo>
                  <a:lnTo>
                    <a:pt x="61" y="308"/>
                  </a:lnTo>
                  <a:lnTo>
                    <a:pt x="61" y="308"/>
                  </a:lnTo>
                  <a:lnTo>
                    <a:pt x="61" y="308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8"/>
                  </a:lnTo>
                  <a:lnTo>
                    <a:pt x="61" y="308"/>
                  </a:lnTo>
                  <a:lnTo>
                    <a:pt x="63" y="308"/>
                  </a:lnTo>
                  <a:close/>
                  <a:moveTo>
                    <a:pt x="63" y="306"/>
                  </a:move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6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6"/>
                  </a:lnTo>
                  <a:lnTo>
                    <a:pt x="63" y="306"/>
                  </a:lnTo>
                  <a:lnTo>
                    <a:pt x="63" y="306"/>
                  </a:lnTo>
                  <a:lnTo>
                    <a:pt x="63" y="306"/>
                  </a:lnTo>
                  <a:close/>
                  <a:moveTo>
                    <a:pt x="49" y="295"/>
                  </a:move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52" y="295"/>
                  </a:lnTo>
                  <a:lnTo>
                    <a:pt x="52" y="299"/>
                  </a:lnTo>
                  <a:lnTo>
                    <a:pt x="52" y="299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7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close/>
                  <a:moveTo>
                    <a:pt x="43" y="292"/>
                  </a:move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301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3" y="295"/>
                  </a:lnTo>
                  <a:lnTo>
                    <a:pt x="43" y="295"/>
                  </a:lnTo>
                  <a:lnTo>
                    <a:pt x="43" y="295"/>
                  </a:lnTo>
                  <a:lnTo>
                    <a:pt x="43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3" y="292"/>
                  </a:lnTo>
                  <a:close/>
                  <a:moveTo>
                    <a:pt x="52" y="295"/>
                  </a:moveTo>
                  <a:lnTo>
                    <a:pt x="52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2"/>
                  </a:lnTo>
                  <a:lnTo>
                    <a:pt x="49" y="292"/>
                  </a:lnTo>
                  <a:lnTo>
                    <a:pt x="49" y="292"/>
                  </a:lnTo>
                  <a:lnTo>
                    <a:pt x="49" y="292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2" y="295"/>
                  </a:lnTo>
                  <a:close/>
                  <a:moveTo>
                    <a:pt x="43" y="274"/>
                  </a:moveTo>
                  <a:lnTo>
                    <a:pt x="43" y="277"/>
                  </a:lnTo>
                  <a:lnTo>
                    <a:pt x="43" y="277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4"/>
                  </a:lnTo>
                  <a:lnTo>
                    <a:pt x="43" y="274"/>
                  </a:lnTo>
                  <a:close/>
                  <a:moveTo>
                    <a:pt x="43" y="272"/>
                  </a:moveTo>
                  <a:lnTo>
                    <a:pt x="43" y="272"/>
                  </a:lnTo>
                  <a:lnTo>
                    <a:pt x="43" y="272"/>
                  </a:lnTo>
                  <a:lnTo>
                    <a:pt x="40" y="272"/>
                  </a:lnTo>
                  <a:lnTo>
                    <a:pt x="40" y="272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40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close/>
                  <a:moveTo>
                    <a:pt x="79" y="259"/>
                  </a:moveTo>
                  <a:lnTo>
                    <a:pt x="79" y="259"/>
                  </a:lnTo>
                  <a:lnTo>
                    <a:pt x="79" y="259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1"/>
                  </a:lnTo>
                  <a:lnTo>
                    <a:pt x="79" y="263"/>
                  </a:lnTo>
                  <a:lnTo>
                    <a:pt x="79" y="263"/>
                  </a:lnTo>
                  <a:lnTo>
                    <a:pt x="79" y="263"/>
                  </a:lnTo>
                  <a:lnTo>
                    <a:pt x="79" y="263"/>
                  </a:lnTo>
                  <a:lnTo>
                    <a:pt x="79" y="263"/>
                  </a:lnTo>
                  <a:lnTo>
                    <a:pt x="79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6" y="261"/>
                  </a:lnTo>
                  <a:lnTo>
                    <a:pt x="76" y="261"/>
                  </a:lnTo>
                  <a:lnTo>
                    <a:pt x="76" y="261"/>
                  </a:lnTo>
                  <a:lnTo>
                    <a:pt x="76" y="261"/>
                  </a:lnTo>
                  <a:lnTo>
                    <a:pt x="76" y="259"/>
                  </a:lnTo>
                  <a:lnTo>
                    <a:pt x="76" y="259"/>
                  </a:lnTo>
                  <a:lnTo>
                    <a:pt x="76" y="259"/>
                  </a:lnTo>
                  <a:lnTo>
                    <a:pt x="76" y="259"/>
                  </a:lnTo>
                  <a:lnTo>
                    <a:pt x="76" y="259"/>
                  </a:lnTo>
                  <a:lnTo>
                    <a:pt x="79" y="259"/>
                  </a:lnTo>
                  <a:lnTo>
                    <a:pt x="79" y="259"/>
                  </a:lnTo>
                  <a:lnTo>
                    <a:pt x="79" y="259"/>
                  </a:lnTo>
                  <a:lnTo>
                    <a:pt x="79" y="259"/>
                  </a:lnTo>
                  <a:lnTo>
                    <a:pt x="79" y="259"/>
                  </a:lnTo>
                  <a:close/>
                  <a:moveTo>
                    <a:pt x="76" y="254"/>
                  </a:moveTo>
                  <a:lnTo>
                    <a:pt x="76" y="254"/>
                  </a:lnTo>
                  <a:lnTo>
                    <a:pt x="79" y="254"/>
                  </a:lnTo>
                  <a:lnTo>
                    <a:pt x="79" y="254"/>
                  </a:lnTo>
                  <a:lnTo>
                    <a:pt x="79" y="254"/>
                  </a:lnTo>
                  <a:lnTo>
                    <a:pt x="79" y="254"/>
                  </a:lnTo>
                  <a:lnTo>
                    <a:pt x="79" y="256"/>
                  </a:lnTo>
                  <a:lnTo>
                    <a:pt x="79" y="256"/>
                  </a:lnTo>
                  <a:lnTo>
                    <a:pt x="79" y="256"/>
                  </a:lnTo>
                  <a:lnTo>
                    <a:pt x="76" y="256"/>
                  </a:lnTo>
                  <a:lnTo>
                    <a:pt x="76" y="256"/>
                  </a:lnTo>
                  <a:lnTo>
                    <a:pt x="76" y="254"/>
                  </a:lnTo>
                  <a:lnTo>
                    <a:pt x="76" y="254"/>
                  </a:lnTo>
                  <a:lnTo>
                    <a:pt x="76" y="254"/>
                  </a:lnTo>
                  <a:lnTo>
                    <a:pt x="76" y="254"/>
                  </a:lnTo>
                  <a:lnTo>
                    <a:pt x="76" y="254"/>
                  </a:lnTo>
                  <a:lnTo>
                    <a:pt x="76" y="254"/>
                  </a:lnTo>
                  <a:lnTo>
                    <a:pt x="76" y="254"/>
                  </a:lnTo>
                  <a:close/>
                  <a:moveTo>
                    <a:pt x="128" y="207"/>
                  </a:move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8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7"/>
                  </a:lnTo>
                  <a:lnTo>
                    <a:pt x="126" y="207"/>
                  </a:lnTo>
                  <a:lnTo>
                    <a:pt x="126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close/>
                  <a:moveTo>
                    <a:pt x="119" y="198"/>
                  </a:moveTo>
                  <a:lnTo>
                    <a:pt x="121" y="19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21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2"/>
                  </a:lnTo>
                  <a:lnTo>
                    <a:pt x="124" y="202"/>
                  </a:lnTo>
                  <a:lnTo>
                    <a:pt x="124" y="202"/>
                  </a:lnTo>
                  <a:lnTo>
                    <a:pt x="124" y="202"/>
                  </a:lnTo>
                  <a:lnTo>
                    <a:pt x="121" y="200"/>
                  </a:lnTo>
                  <a:lnTo>
                    <a:pt x="121" y="202"/>
                  </a:lnTo>
                  <a:lnTo>
                    <a:pt x="124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19" y="198"/>
                  </a:lnTo>
                  <a:lnTo>
                    <a:pt x="119" y="198"/>
                  </a:lnTo>
                  <a:lnTo>
                    <a:pt x="119" y="198"/>
                  </a:lnTo>
                  <a:lnTo>
                    <a:pt x="119" y="198"/>
                  </a:lnTo>
                  <a:lnTo>
                    <a:pt x="119" y="198"/>
                  </a:lnTo>
                  <a:lnTo>
                    <a:pt x="119" y="198"/>
                  </a:lnTo>
                  <a:lnTo>
                    <a:pt x="119" y="198"/>
                  </a:lnTo>
                  <a:close/>
                  <a:moveTo>
                    <a:pt x="47" y="2"/>
                  </a:move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58" y="11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9"/>
                  </a:lnTo>
                  <a:lnTo>
                    <a:pt x="76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79" y="34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59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9"/>
                  </a:lnTo>
                  <a:lnTo>
                    <a:pt x="97" y="59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3" y="56"/>
                  </a:lnTo>
                  <a:lnTo>
                    <a:pt x="103" y="56"/>
                  </a:lnTo>
                  <a:lnTo>
                    <a:pt x="103" y="59"/>
                  </a:lnTo>
                  <a:lnTo>
                    <a:pt x="106" y="56"/>
                  </a:lnTo>
                  <a:lnTo>
                    <a:pt x="106" y="59"/>
                  </a:lnTo>
                  <a:lnTo>
                    <a:pt x="106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5" y="61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4" y="50"/>
                  </a:lnTo>
                  <a:lnTo>
                    <a:pt x="124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8" y="47"/>
                  </a:lnTo>
                  <a:lnTo>
                    <a:pt x="128" y="47"/>
                  </a:lnTo>
                  <a:lnTo>
                    <a:pt x="128" y="47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42" y="56"/>
                  </a:lnTo>
                  <a:lnTo>
                    <a:pt x="142" y="56"/>
                  </a:lnTo>
                  <a:lnTo>
                    <a:pt x="142" y="56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48" y="65"/>
                  </a:lnTo>
                  <a:lnTo>
                    <a:pt x="151" y="65"/>
                  </a:lnTo>
                  <a:lnTo>
                    <a:pt x="151" y="68"/>
                  </a:lnTo>
                  <a:lnTo>
                    <a:pt x="153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60" y="74"/>
                  </a:lnTo>
                  <a:lnTo>
                    <a:pt x="160" y="77"/>
                  </a:lnTo>
                  <a:lnTo>
                    <a:pt x="160" y="77"/>
                  </a:lnTo>
                  <a:lnTo>
                    <a:pt x="160" y="79"/>
                  </a:lnTo>
                  <a:lnTo>
                    <a:pt x="157" y="81"/>
                  </a:lnTo>
                  <a:lnTo>
                    <a:pt x="157" y="81"/>
                  </a:lnTo>
                  <a:lnTo>
                    <a:pt x="157" y="83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8"/>
                  </a:lnTo>
                  <a:lnTo>
                    <a:pt x="160" y="88"/>
                  </a:lnTo>
                  <a:lnTo>
                    <a:pt x="160" y="90"/>
                  </a:lnTo>
                  <a:lnTo>
                    <a:pt x="160" y="90"/>
                  </a:lnTo>
                  <a:lnTo>
                    <a:pt x="160" y="90"/>
                  </a:lnTo>
                  <a:lnTo>
                    <a:pt x="160" y="90"/>
                  </a:lnTo>
                  <a:lnTo>
                    <a:pt x="160" y="92"/>
                  </a:lnTo>
                  <a:lnTo>
                    <a:pt x="160" y="92"/>
                  </a:lnTo>
                  <a:lnTo>
                    <a:pt x="160" y="92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6" y="99"/>
                  </a:lnTo>
                  <a:lnTo>
                    <a:pt x="166" y="99"/>
                  </a:lnTo>
                  <a:lnTo>
                    <a:pt x="166" y="99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4"/>
                  </a:lnTo>
                  <a:lnTo>
                    <a:pt x="166" y="104"/>
                  </a:lnTo>
                  <a:lnTo>
                    <a:pt x="169" y="104"/>
                  </a:lnTo>
                  <a:lnTo>
                    <a:pt x="171" y="106"/>
                  </a:lnTo>
                  <a:lnTo>
                    <a:pt x="171" y="106"/>
                  </a:lnTo>
                  <a:lnTo>
                    <a:pt x="173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75" y="113"/>
                  </a:lnTo>
                  <a:lnTo>
                    <a:pt x="178" y="113"/>
                  </a:lnTo>
                  <a:lnTo>
                    <a:pt x="178" y="113"/>
                  </a:lnTo>
                  <a:lnTo>
                    <a:pt x="178" y="113"/>
                  </a:lnTo>
                  <a:lnTo>
                    <a:pt x="178" y="113"/>
                  </a:lnTo>
                  <a:lnTo>
                    <a:pt x="180" y="113"/>
                  </a:lnTo>
                  <a:lnTo>
                    <a:pt x="180" y="113"/>
                  </a:lnTo>
                  <a:lnTo>
                    <a:pt x="180" y="113"/>
                  </a:lnTo>
                  <a:lnTo>
                    <a:pt x="182" y="115"/>
                  </a:lnTo>
                  <a:lnTo>
                    <a:pt x="182" y="117"/>
                  </a:lnTo>
                  <a:lnTo>
                    <a:pt x="180" y="117"/>
                  </a:lnTo>
                  <a:lnTo>
                    <a:pt x="180" y="117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22"/>
                  </a:lnTo>
                  <a:lnTo>
                    <a:pt x="178" y="122"/>
                  </a:lnTo>
                  <a:lnTo>
                    <a:pt x="178" y="122"/>
                  </a:lnTo>
                  <a:lnTo>
                    <a:pt x="178" y="122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0" y="122"/>
                  </a:lnTo>
                  <a:lnTo>
                    <a:pt x="180" y="124"/>
                  </a:lnTo>
                  <a:lnTo>
                    <a:pt x="180" y="124"/>
                  </a:lnTo>
                  <a:lnTo>
                    <a:pt x="180" y="124"/>
                  </a:lnTo>
                  <a:lnTo>
                    <a:pt x="180" y="124"/>
                  </a:lnTo>
                  <a:lnTo>
                    <a:pt x="180" y="124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0" y="131"/>
                  </a:lnTo>
                  <a:lnTo>
                    <a:pt x="182" y="133"/>
                  </a:lnTo>
                  <a:lnTo>
                    <a:pt x="182" y="133"/>
                  </a:lnTo>
                  <a:lnTo>
                    <a:pt x="182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0" y="137"/>
                  </a:lnTo>
                  <a:lnTo>
                    <a:pt x="180" y="137"/>
                  </a:lnTo>
                  <a:lnTo>
                    <a:pt x="180" y="137"/>
                  </a:lnTo>
                  <a:lnTo>
                    <a:pt x="182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8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6"/>
                  </a:lnTo>
                  <a:lnTo>
                    <a:pt x="171" y="146"/>
                  </a:lnTo>
                  <a:lnTo>
                    <a:pt x="171" y="144"/>
                  </a:lnTo>
                  <a:lnTo>
                    <a:pt x="171" y="144"/>
                  </a:lnTo>
                  <a:lnTo>
                    <a:pt x="171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6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6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42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7" y="144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3" y="146"/>
                  </a:lnTo>
                  <a:lnTo>
                    <a:pt x="130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60"/>
                  </a:lnTo>
                  <a:lnTo>
                    <a:pt x="126" y="160"/>
                  </a:lnTo>
                  <a:lnTo>
                    <a:pt x="124" y="160"/>
                  </a:lnTo>
                  <a:lnTo>
                    <a:pt x="124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4" y="162"/>
                  </a:lnTo>
                  <a:lnTo>
                    <a:pt x="124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19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4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9" y="169"/>
                  </a:lnTo>
                  <a:lnTo>
                    <a:pt x="119" y="169"/>
                  </a:lnTo>
                  <a:lnTo>
                    <a:pt x="119" y="171"/>
                  </a:lnTo>
                  <a:lnTo>
                    <a:pt x="119" y="173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80"/>
                  </a:lnTo>
                  <a:lnTo>
                    <a:pt x="121" y="180"/>
                  </a:lnTo>
                  <a:lnTo>
                    <a:pt x="121" y="180"/>
                  </a:lnTo>
                  <a:lnTo>
                    <a:pt x="121" y="180"/>
                  </a:lnTo>
                  <a:lnTo>
                    <a:pt x="124" y="180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7"/>
                  </a:lnTo>
                  <a:lnTo>
                    <a:pt x="126" y="187"/>
                  </a:lnTo>
                  <a:lnTo>
                    <a:pt x="126" y="187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28" y="191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30" y="202"/>
                  </a:lnTo>
                  <a:lnTo>
                    <a:pt x="133" y="205"/>
                  </a:lnTo>
                  <a:lnTo>
                    <a:pt x="133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3" y="205"/>
                  </a:lnTo>
                  <a:lnTo>
                    <a:pt x="130" y="205"/>
                  </a:lnTo>
                  <a:lnTo>
                    <a:pt x="130" y="205"/>
                  </a:lnTo>
                  <a:lnTo>
                    <a:pt x="130" y="202"/>
                  </a:lnTo>
                  <a:lnTo>
                    <a:pt x="130" y="200"/>
                  </a:lnTo>
                  <a:lnTo>
                    <a:pt x="130" y="200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6" y="198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198"/>
                  </a:lnTo>
                  <a:lnTo>
                    <a:pt x="126" y="198"/>
                  </a:lnTo>
                  <a:lnTo>
                    <a:pt x="124" y="198"/>
                  </a:lnTo>
                  <a:lnTo>
                    <a:pt x="121" y="196"/>
                  </a:lnTo>
                  <a:lnTo>
                    <a:pt x="121" y="196"/>
                  </a:lnTo>
                  <a:lnTo>
                    <a:pt x="121" y="196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5" y="191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5" y="191"/>
                  </a:lnTo>
                  <a:lnTo>
                    <a:pt x="115" y="189"/>
                  </a:lnTo>
                  <a:lnTo>
                    <a:pt x="115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2" y="187"/>
                  </a:lnTo>
                  <a:lnTo>
                    <a:pt x="112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7"/>
                  </a:lnTo>
                  <a:lnTo>
                    <a:pt x="110" y="184"/>
                  </a:lnTo>
                  <a:lnTo>
                    <a:pt x="108" y="184"/>
                  </a:lnTo>
                  <a:lnTo>
                    <a:pt x="108" y="184"/>
                  </a:lnTo>
                  <a:lnTo>
                    <a:pt x="108" y="184"/>
                  </a:lnTo>
                  <a:lnTo>
                    <a:pt x="108" y="184"/>
                  </a:lnTo>
                  <a:lnTo>
                    <a:pt x="106" y="184"/>
                  </a:lnTo>
                  <a:lnTo>
                    <a:pt x="106" y="184"/>
                  </a:lnTo>
                  <a:lnTo>
                    <a:pt x="106" y="184"/>
                  </a:lnTo>
                  <a:lnTo>
                    <a:pt x="106" y="184"/>
                  </a:lnTo>
                  <a:lnTo>
                    <a:pt x="106" y="187"/>
                  </a:lnTo>
                  <a:lnTo>
                    <a:pt x="106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3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99" y="187"/>
                  </a:lnTo>
                  <a:lnTo>
                    <a:pt x="97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4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7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8" y="184"/>
                  </a:lnTo>
                  <a:lnTo>
                    <a:pt x="90" y="184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2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0" y="175"/>
                  </a:lnTo>
                  <a:lnTo>
                    <a:pt x="90" y="175"/>
                  </a:lnTo>
                  <a:lnTo>
                    <a:pt x="90" y="175"/>
                  </a:lnTo>
                  <a:lnTo>
                    <a:pt x="90" y="175"/>
                  </a:lnTo>
                  <a:lnTo>
                    <a:pt x="90" y="175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90" y="175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88" y="166"/>
                  </a:lnTo>
                  <a:lnTo>
                    <a:pt x="88" y="166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5" y="166"/>
                  </a:lnTo>
                  <a:lnTo>
                    <a:pt x="83" y="164"/>
                  </a:lnTo>
                  <a:lnTo>
                    <a:pt x="83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2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79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6" y="166"/>
                  </a:lnTo>
                  <a:lnTo>
                    <a:pt x="74" y="164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4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1"/>
                  </a:lnTo>
                  <a:lnTo>
                    <a:pt x="70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78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2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0" y="187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91"/>
                  </a:lnTo>
                  <a:lnTo>
                    <a:pt x="72" y="191"/>
                  </a:lnTo>
                  <a:lnTo>
                    <a:pt x="72" y="193"/>
                  </a:lnTo>
                  <a:lnTo>
                    <a:pt x="72" y="193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6"/>
                  </a:lnTo>
                  <a:lnTo>
                    <a:pt x="72" y="198"/>
                  </a:lnTo>
                  <a:lnTo>
                    <a:pt x="72" y="198"/>
                  </a:lnTo>
                  <a:lnTo>
                    <a:pt x="72" y="198"/>
                  </a:lnTo>
                  <a:lnTo>
                    <a:pt x="72" y="198"/>
                  </a:lnTo>
                  <a:lnTo>
                    <a:pt x="72" y="198"/>
                  </a:lnTo>
                  <a:lnTo>
                    <a:pt x="72" y="198"/>
                  </a:lnTo>
                  <a:lnTo>
                    <a:pt x="72" y="200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67" y="209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7" y="211"/>
                  </a:lnTo>
                  <a:lnTo>
                    <a:pt x="65" y="214"/>
                  </a:lnTo>
                  <a:lnTo>
                    <a:pt x="65" y="214"/>
                  </a:lnTo>
                  <a:lnTo>
                    <a:pt x="65" y="214"/>
                  </a:lnTo>
                  <a:lnTo>
                    <a:pt x="65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5" y="218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1" y="232"/>
                  </a:lnTo>
                  <a:lnTo>
                    <a:pt x="61" y="234"/>
                  </a:lnTo>
                  <a:lnTo>
                    <a:pt x="61" y="234"/>
                  </a:lnTo>
                  <a:lnTo>
                    <a:pt x="61" y="234"/>
                  </a:lnTo>
                  <a:lnTo>
                    <a:pt x="61" y="234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6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58" y="245"/>
                  </a:lnTo>
                  <a:lnTo>
                    <a:pt x="58" y="245"/>
                  </a:lnTo>
                  <a:lnTo>
                    <a:pt x="58" y="245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50"/>
                  </a:lnTo>
                  <a:lnTo>
                    <a:pt x="58" y="250"/>
                  </a:lnTo>
                  <a:lnTo>
                    <a:pt x="58" y="250"/>
                  </a:lnTo>
                  <a:lnTo>
                    <a:pt x="58" y="252"/>
                  </a:lnTo>
                  <a:lnTo>
                    <a:pt x="58" y="252"/>
                  </a:lnTo>
                  <a:lnTo>
                    <a:pt x="61" y="252"/>
                  </a:lnTo>
                  <a:lnTo>
                    <a:pt x="61" y="252"/>
                  </a:lnTo>
                  <a:lnTo>
                    <a:pt x="61" y="252"/>
                  </a:lnTo>
                  <a:lnTo>
                    <a:pt x="61" y="252"/>
                  </a:lnTo>
                  <a:lnTo>
                    <a:pt x="58" y="252"/>
                  </a:lnTo>
                  <a:lnTo>
                    <a:pt x="58" y="252"/>
                  </a:lnTo>
                  <a:lnTo>
                    <a:pt x="58" y="254"/>
                  </a:lnTo>
                  <a:lnTo>
                    <a:pt x="58" y="254"/>
                  </a:lnTo>
                  <a:lnTo>
                    <a:pt x="58" y="254"/>
                  </a:lnTo>
                  <a:lnTo>
                    <a:pt x="58" y="254"/>
                  </a:lnTo>
                  <a:lnTo>
                    <a:pt x="61" y="256"/>
                  </a:lnTo>
                  <a:lnTo>
                    <a:pt x="61" y="256"/>
                  </a:lnTo>
                  <a:lnTo>
                    <a:pt x="61" y="256"/>
                  </a:lnTo>
                  <a:lnTo>
                    <a:pt x="61" y="256"/>
                  </a:lnTo>
                  <a:lnTo>
                    <a:pt x="61" y="259"/>
                  </a:lnTo>
                  <a:lnTo>
                    <a:pt x="61" y="259"/>
                  </a:lnTo>
                  <a:lnTo>
                    <a:pt x="61" y="259"/>
                  </a:lnTo>
                  <a:lnTo>
                    <a:pt x="61" y="259"/>
                  </a:lnTo>
                  <a:lnTo>
                    <a:pt x="63" y="261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5"/>
                  </a:lnTo>
                  <a:lnTo>
                    <a:pt x="61" y="265"/>
                  </a:lnTo>
                  <a:lnTo>
                    <a:pt x="63" y="265"/>
                  </a:lnTo>
                  <a:lnTo>
                    <a:pt x="63" y="268"/>
                  </a:lnTo>
                  <a:lnTo>
                    <a:pt x="63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70" y="265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2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6" y="268"/>
                  </a:lnTo>
                  <a:lnTo>
                    <a:pt x="76" y="268"/>
                  </a:lnTo>
                  <a:lnTo>
                    <a:pt x="76" y="270"/>
                  </a:lnTo>
                  <a:lnTo>
                    <a:pt x="76" y="270"/>
                  </a:lnTo>
                  <a:lnTo>
                    <a:pt x="76" y="270"/>
                  </a:lnTo>
                  <a:lnTo>
                    <a:pt x="76" y="270"/>
                  </a:lnTo>
                  <a:lnTo>
                    <a:pt x="76" y="270"/>
                  </a:lnTo>
                  <a:lnTo>
                    <a:pt x="76" y="270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2"/>
                  </a:lnTo>
                  <a:lnTo>
                    <a:pt x="76" y="274"/>
                  </a:lnTo>
                  <a:lnTo>
                    <a:pt x="76" y="274"/>
                  </a:lnTo>
                  <a:lnTo>
                    <a:pt x="76" y="277"/>
                  </a:lnTo>
                  <a:lnTo>
                    <a:pt x="76" y="277"/>
                  </a:lnTo>
                  <a:lnTo>
                    <a:pt x="79" y="281"/>
                  </a:lnTo>
                  <a:lnTo>
                    <a:pt x="79" y="281"/>
                  </a:lnTo>
                  <a:lnTo>
                    <a:pt x="79" y="283"/>
                  </a:lnTo>
                  <a:lnTo>
                    <a:pt x="81" y="283"/>
                  </a:lnTo>
                  <a:lnTo>
                    <a:pt x="81" y="283"/>
                  </a:lnTo>
                  <a:lnTo>
                    <a:pt x="81" y="283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3"/>
                  </a:lnTo>
                  <a:lnTo>
                    <a:pt x="81" y="283"/>
                  </a:lnTo>
                  <a:lnTo>
                    <a:pt x="83" y="283"/>
                  </a:lnTo>
                  <a:lnTo>
                    <a:pt x="83" y="283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5" y="288"/>
                  </a:lnTo>
                  <a:lnTo>
                    <a:pt x="85" y="295"/>
                  </a:lnTo>
                  <a:lnTo>
                    <a:pt x="88" y="301"/>
                  </a:lnTo>
                  <a:lnTo>
                    <a:pt x="90" y="308"/>
                  </a:lnTo>
                  <a:lnTo>
                    <a:pt x="92" y="313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2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3"/>
                  </a:lnTo>
                  <a:lnTo>
                    <a:pt x="90" y="313"/>
                  </a:lnTo>
                  <a:lnTo>
                    <a:pt x="90" y="310"/>
                  </a:lnTo>
                  <a:lnTo>
                    <a:pt x="90" y="310"/>
                  </a:lnTo>
                  <a:lnTo>
                    <a:pt x="90" y="308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8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6"/>
                  </a:lnTo>
                  <a:lnTo>
                    <a:pt x="85" y="306"/>
                  </a:lnTo>
                  <a:lnTo>
                    <a:pt x="88" y="306"/>
                  </a:lnTo>
                  <a:lnTo>
                    <a:pt x="88" y="306"/>
                  </a:lnTo>
                  <a:lnTo>
                    <a:pt x="88" y="304"/>
                  </a:lnTo>
                  <a:lnTo>
                    <a:pt x="88" y="304"/>
                  </a:lnTo>
                  <a:lnTo>
                    <a:pt x="88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3" y="306"/>
                  </a:lnTo>
                  <a:lnTo>
                    <a:pt x="83" y="306"/>
                  </a:lnTo>
                  <a:lnTo>
                    <a:pt x="83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10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88" y="313"/>
                  </a:lnTo>
                  <a:lnTo>
                    <a:pt x="90" y="313"/>
                  </a:lnTo>
                  <a:lnTo>
                    <a:pt x="90" y="313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5"/>
                  </a:lnTo>
                  <a:lnTo>
                    <a:pt x="90" y="317"/>
                  </a:lnTo>
                  <a:lnTo>
                    <a:pt x="90" y="317"/>
                  </a:lnTo>
                  <a:lnTo>
                    <a:pt x="90" y="317"/>
                  </a:lnTo>
                  <a:lnTo>
                    <a:pt x="90" y="317"/>
                  </a:lnTo>
                  <a:lnTo>
                    <a:pt x="90" y="317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92" y="317"/>
                  </a:lnTo>
                  <a:lnTo>
                    <a:pt x="94" y="315"/>
                  </a:lnTo>
                  <a:lnTo>
                    <a:pt x="94" y="315"/>
                  </a:lnTo>
                  <a:lnTo>
                    <a:pt x="94" y="315"/>
                  </a:lnTo>
                  <a:lnTo>
                    <a:pt x="94" y="315"/>
                  </a:lnTo>
                  <a:lnTo>
                    <a:pt x="97" y="322"/>
                  </a:lnTo>
                  <a:lnTo>
                    <a:pt x="97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99" y="322"/>
                  </a:lnTo>
                  <a:lnTo>
                    <a:pt x="101" y="322"/>
                  </a:lnTo>
                  <a:lnTo>
                    <a:pt x="101" y="324"/>
                  </a:lnTo>
                  <a:lnTo>
                    <a:pt x="103" y="324"/>
                  </a:lnTo>
                  <a:lnTo>
                    <a:pt x="106" y="324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08" y="322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08" y="322"/>
                  </a:lnTo>
                  <a:lnTo>
                    <a:pt x="108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2"/>
                  </a:lnTo>
                  <a:lnTo>
                    <a:pt x="110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2" y="324"/>
                  </a:lnTo>
                  <a:lnTo>
                    <a:pt x="115" y="324"/>
                  </a:lnTo>
                  <a:lnTo>
                    <a:pt x="115" y="324"/>
                  </a:lnTo>
                  <a:lnTo>
                    <a:pt x="117" y="328"/>
                  </a:lnTo>
                  <a:lnTo>
                    <a:pt x="119" y="333"/>
                  </a:lnTo>
                  <a:lnTo>
                    <a:pt x="119" y="333"/>
                  </a:lnTo>
                  <a:lnTo>
                    <a:pt x="121" y="335"/>
                  </a:lnTo>
                  <a:lnTo>
                    <a:pt x="124" y="337"/>
                  </a:lnTo>
                  <a:lnTo>
                    <a:pt x="126" y="337"/>
                  </a:lnTo>
                  <a:lnTo>
                    <a:pt x="126" y="340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4" y="344"/>
                  </a:lnTo>
                  <a:lnTo>
                    <a:pt x="124" y="344"/>
                  </a:lnTo>
                  <a:lnTo>
                    <a:pt x="124" y="346"/>
                  </a:lnTo>
                  <a:lnTo>
                    <a:pt x="124" y="346"/>
                  </a:lnTo>
                  <a:lnTo>
                    <a:pt x="124" y="346"/>
                  </a:lnTo>
                  <a:lnTo>
                    <a:pt x="121" y="349"/>
                  </a:lnTo>
                  <a:lnTo>
                    <a:pt x="121" y="349"/>
                  </a:lnTo>
                  <a:lnTo>
                    <a:pt x="121" y="349"/>
                  </a:lnTo>
                  <a:lnTo>
                    <a:pt x="121" y="349"/>
                  </a:lnTo>
                  <a:lnTo>
                    <a:pt x="121" y="349"/>
                  </a:lnTo>
                  <a:lnTo>
                    <a:pt x="121" y="349"/>
                  </a:lnTo>
                  <a:lnTo>
                    <a:pt x="121" y="349"/>
                  </a:lnTo>
                  <a:lnTo>
                    <a:pt x="121" y="351"/>
                  </a:lnTo>
                  <a:lnTo>
                    <a:pt x="121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9" y="349"/>
                  </a:lnTo>
                  <a:lnTo>
                    <a:pt x="119" y="349"/>
                  </a:lnTo>
                  <a:lnTo>
                    <a:pt x="119" y="349"/>
                  </a:lnTo>
                  <a:lnTo>
                    <a:pt x="119" y="349"/>
                  </a:lnTo>
                  <a:lnTo>
                    <a:pt x="119" y="349"/>
                  </a:lnTo>
                  <a:lnTo>
                    <a:pt x="119" y="351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5" y="346"/>
                  </a:lnTo>
                  <a:lnTo>
                    <a:pt x="112" y="349"/>
                  </a:lnTo>
                  <a:lnTo>
                    <a:pt x="110" y="349"/>
                  </a:lnTo>
                  <a:lnTo>
                    <a:pt x="110" y="349"/>
                  </a:lnTo>
                  <a:lnTo>
                    <a:pt x="110" y="349"/>
                  </a:lnTo>
                  <a:lnTo>
                    <a:pt x="108" y="349"/>
                  </a:lnTo>
                  <a:lnTo>
                    <a:pt x="108" y="351"/>
                  </a:lnTo>
                  <a:lnTo>
                    <a:pt x="108" y="351"/>
                  </a:lnTo>
                  <a:lnTo>
                    <a:pt x="108" y="351"/>
                  </a:lnTo>
                  <a:lnTo>
                    <a:pt x="108" y="351"/>
                  </a:lnTo>
                  <a:lnTo>
                    <a:pt x="108" y="353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6" y="353"/>
                  </a:lnTo>
                  <a:lnTo>
                    <a:pt x="106" y="353"/>
                  </a:lnTo>
                  <a:lnTo>
                    <a:pt x="106" y="351"/>
                  </a:lnTo>
                  <a:lnTo>
                    <a:pt x="106" y="351"/>
                  </a:lnTo>
                  <a:lnTo>
                    <a:pt x="106" y="351"/>
                  </a:lnTo>
                  <a:lnTo>
                    <a:pt x="103" y="351"/>
                  </a:lnTo>
                  <a:lnTo>
                    <a:pt x="103" y="351"/>
                  </a:lnTo>
                  <a:lnTo>
                    <a:pt x="103" y="351"/>
                  </a:lnTo>
                  <a:lnTo>
                    <a:pt x="103" y="351"/>
                  </a:lnTo>
                  <a:lnTo>
                    <a:pt x="103" y="351"/>
                  </a:lnTo>
                  <a:lnTo>
                    <a:pt x="103" y="349"/>
                  </a:lnTo>
                  <a:lnTo>
                    <a:pt x="103" y="349"/>
                  </a:lnTo>
                  <a:lnTo>
                    <a:pt x="103" y="349"/>
                  </a:lnTo>
                  <a:lnTo>
                    <a:pt x="103" y="349"/>
                  </a:lnTo>
                  <a:lnTo>
                    <a:pt x="103" y="346"/>
                  </a:lnTo>
                  <a:lnTo>
                    <a:pt x="103" y="346"/>
                  </a:lnTo>
                  <a:lnTo>
                    <a:pt x="106" y="346"/>
                  </a:lnTo>
                  <a:lnTo>
                    <a:pt x="106" y="346"/>
                  </a:lnTo>
                  <a:lnTo>
                    <a:pt x="106" y="346"/>
                  </a:lnTo>
                  <a:lnTo>
                    <a:pt x="106" y="344"/>
                  </a:lnTo>
                  <a:lnTo>
                    <a:pt x="106" y="344"/>
                  </a:lnTo>
                  <a:lnTo>
                    <a:pt x="106" y="344"/>
                  </a:lnTo>
                  <a:lnTo>
                    <a:pt x="106" y="342"/>
                  </a:lnTo>
                  <a:lnTo>
                    <a:pt x="106" y="342"/>
                  </a:lnTo>
                  <a:lnTo>
                    <a:pt x="106" y="342"/>
                  </a:lnTo>
                  <a:lnTo>
                    <a:pt x="103" y="342"/>
                  </a:lnTo>
                  <a:lnTo>
                    <a:pt x="103" y="340"/>
                  </a:lnTo>
                  <a:lnTo>
                    <a:pt x="106" y="340"/>
                  </a:lnTo>
                  <a:lnTo>
                    <a:pt x="106" y="340"/>
                  </a:lnTo>
                  <a:lnTo>
                    <a:pt x="106" y="340"/>
                  </a:lnTo>
                  <a:lnTo>
                    <a:pt x="106" y="340"/>
                  </a:lnTo>
                  <a:lnTo>
                    <a:pt x="106" y="340"/>
                  </a:lnTo>
                  <a:lnTo>
                    <a:pt x="106" y="337"/>
                  </a:lnTo>
                  <a:lnTo>
                    <a:pt x="106" y="337"/>
                  </a:lnTo>
                  <a:lnTo>
                    <a:pt x="103" y="337"/>
                  </a:lnTo>
                  <a:lnTo>
                    <a:pt x="103" y="337"/>
                  </a:lnTo>
                  <a:lnTo>
                    <a:pt x="103" y="337"/>
                  </a:lnTo>
                  <a:lnTo>
                    <a:pt x="101" y="337"/>
                  </a:lnTo>
                  <a:lnTo>
                    <a:pt x="101" y="337"/>
                  </a:lnTo>
                  <a:lnTo>
                    <a:pt x="101" y="340"/>
                  </a:lnTo>
                  <a:lnTo>
                    <a:pt x="101" y="337"/>
                  </a:lnTo>
                  <a:lnTo>
                    <a:pt x="101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40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3"/>
                  </a:lnTo>
                  <a:lnTo>
                    <a:pt x="99" y="333"/>
                  </a:lnTo>
                  <a:lnTo>
                    <a:pt x="99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4" y="333"/>
                  </a:lnTo>
                  <a:lnTo>
                    <a:pt x="94" y="333"/>
                  </a:lnTo>
                  <a:lnTo>
                    <a:pt x="94" y="333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0" y="333"/>
                  </a:lnTo>
                  <a:lnTo>
                    <a:pt x="90" y="333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88" y="331"/>
                  </a:lnTo>
                  <a:lnTo>
                    <a:pt x="88" y="331"/>
                  </a:lnTo>
                  <a:lnTo>
                    <a:pt x="88" y="328"/>
                  </a:lnTo>
                  <a:lnTo>
                    <a:pt x="88" y="328"/>
                  </a:lnTo>
                  <a:lnTo>
                    <a:pt x="88" y="328"/>
                  </a:lnTo>
                  <a:lnTo>
                    <a:pt x="88" y="328"/>
                  </a:lnTo>
                  <a:lnTo>
                    <a:pt x="88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28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85" y="331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3" y="331"/>
                  </a:lnTo>
                  <a:lnTo>
                    <a:pt x="83" y="331"/>
                  </a:lnTo>
                  <a:lnTo>
                    <a:pt x="83" y="331"/>
                  </a:lnTo>
                  <a:lnTo>
                    <a:pt x="83" y="333"/>
                  </a:lnTo>
                  <a:lnTo>
                    <a:pt x="83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81" y="328"/>
                  </a:lnTo>
                  <a:lnTo>
                    <a:pt x="79" y="326"/>
                  </a:lnTo>
                  <a:lnTo>
                    <a:pt x="79" y="326"/>
                  </a:lnTo>
                  <a:lnTo>
                    <a:pt x="79" y="326"/>
                  </a:lnTo>
                  <a:lnTo>
                    <a:pt x="79" y="326"/>
                  </a:lnTo>
                  <a:lnTo>
                    <a:pt x="79" y="326"/>
                  </a:lnTo>
                  <a:lnTo>
                    <a:pt x="79" y="326"/>
                  </a:lnTo>
                  <a:lnTo>
                    <a:pt x="76" y="324"/>
                  </a:lnTo>
                  <a:lnTo>
                    <a:pt x="76" y="324"/>
                  </a:lnTo>
                  <a:lnTo>
                    <a:pt x="76" y="324"/>
                  </a:lnTo>
                  <a:lnTo>
                    <a:pt x="76" y="324"/>
                  </a:lnTo>
                  <a:lnTo>
                    <a:pt x="74" y="324"/>
                  </a:lnTo>
                  <a:lnTo>
                    <a:pt x="74" y="322"/>
                  </a:lnTo>
                  <a:lnTo>
                    <a:pt x="74" y="322"/>
                  </a:lnTo>
                  <a:lnTo>
                    <a:pt x="74" y="322"/>
                  </a:lnTo>
                  <a:lnTo>
                    <a:pt x="74" y="322"/>
                  </a:lnTo>
                  <a:lnTo>
                    <a:pt x="76" y="322"/>
                  </a:lnTo>
                  <a:lnTo>
                    <a:pt x="74" y="322"/>
                  </a:lnTo>
                  <a:lnTo>
                    <a:pt x="74" y="322"/>
                  </a:lnTo>
                  <a:lnTo>
                    <a:pt x="74" y="322"/>
                  </a:lnTo>
                  <a:lnTo>
                    <a:pt x="74" y="322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7"/>
                  </a:lnTo>
                  <a:lnTo>
                    <a:pt x="76" y="317"/>
                  </a:lnTo>
                  <a:lnTo>
                    <a:pt x="76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70" y="313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67" y="313"/>
                  </a:lnTo>
                  <a:lnTo>
                    <a:pt x="67" y="313"/>
                  </a:lnTo>
                  <a:lnTo>
                    <a:pt x="67" y="313"/>
                  </a:lnTo>
                  <a:lnTo>
                    <a:pt x="67" y="310"/>
                  </a:lnTo>
                  <a:lnTo>
                    <a:pt x="67" y="310"/>
                  </a:lnTo>
                  <a:lnTo>
                    <a:pt x="67" y="310"/>
                  </a:lnTo>
                  <a:lnTo>
                    <a:pt x="67" y="308"/>
                  </a:lnTo>
                  <a:lnTo>
                    <a:pt x="67" y="308"/>
                  </a:lnTo>
                  <a:lnTo>
                    <a:pt x="67" y="308"/>
                  </a:lnTo>
                  <a:lnTo>
                    <a:pt x="67" y="308"/>
                  </a:lnTo>
                  <a:lnTo>
                    <a:pt x="67" y="308"/>
                  </a:lnTo>
                  <a:lnTo>
                    <a:pt x="65" y="308"/>
                  </a:lnTo>
                  <a:lnTo>
                    <a:pt x="65" y="308"/>
                  </a:lnTo>
                  <a:lnTo>
                    <a:pt x="65" y="308"/>
                  </a:lnTo>
                  <a:lnTo>
                    <a:pt x="65" y="308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4"/>
                  </a:lnTo>
                  <a:lnTo>
                    <a:pt x="65" y="304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1"/>
                  </a:lnTo>
                  <a:lnTo>
                    <a:pt x="61" y="301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61" y="304"/>
                  </a:lnTo>
                  <a:lnTo>
                    <a:pt x="61" y="301"/>
                  </a:lnTo>
                  <a:lnTo>
                    <a:pt x="58" y="301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4" y="292"/>
                  </a:lnTo>
                  <a:lnTo>
                    <a:pt x="54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9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88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0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7"/>
                  </a:lnTo>
                  <a:lnTo>
                    <a:pt x="43" y="277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4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5" y="272"/>
                  </a:lnTo>
                  <a:lnTo>
                    <a:pt x="45" y="270"/>
                  </a:lnTo>
                  <a:lnTo>
                    <a:pt x="45" y="270"/>
                  </a:lnTo>
                  <a:lnTo>
                    <a:pt x="43" y="270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5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5" y="261"/>
                  </a:lnTo>
                  <a:lnTo>
                    <a:pt x="45" y="259"/>
                  </a:lnTo>
                  <a:lnTo>
                    <a:pt x="45" y="261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5" y="259"/>
                  </a:lnTo>
                  <a:lnTo>
                    <a:pt x="45" y="256"/>
                  </a:lnTo>
                  <a:lnTo>
                    <a:pt x="45" y="256"/>
                  </a:lnTo>
                  <a:lnTo>
                    <a:pt x="45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5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5" y="256"/>
                  </a:lnTo>
                  <a:lnTo>
                    <a:pt x="45" y="256"/>
                  </a:lnTo>
                  <a:lnTo>
                    <a:pt x="45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6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5" y="254"/>
                  </a:lnTo>
                  <a:lnTo>
                    <a:pt x="45" y="254"/>
                  </a:lnTo>
                  <a:lnTo>
                    <a:pt x="45" y="254"/>
                  </a:lnTo>
                  <a:lnTo>
                    <a:pt x="45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4"/>
                  </a:lnTo>
                  <a:lnTo>
                    <a:pt x="47" y="252"/>
                  </a:lnTo>
                  <a:lnTo>
                    <a:pt x="45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49" y="245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1"/>
                  </a:lnTo>
                  <a:lnTo>
                    <a:pt x="49" y="241"/>
                  </a:lnTo>
                  <a:lnTo>
                    <a:pt x="49" y="238"/>
                  </a:lnTo>
                  <a:lnTo>
                    <a:pt x="49" y="238"/>
                  </a:lnTo>
                  <a:lnTo>
                    <a:pt x="52" y="236"/>
                  </a:lnTo>
                  <a:lnTo>
                    <a:pt x="52" y="236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2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5"/>
                  </a:lnTo>
                  <a:lnTo>
                    <a:pt x="56" y="225"/>
                  </a:lnTo>
                  <a:lnTo>
                    <a:pt x="56" y="225"/>
                  </a:lnTo>
                  <a:lnTo>
                    <a:pt x="56" y="225"/>
                  </a:lnTo>
                  <a:lnTo>
                    <a:pt x="56" y="225"/>
                  </a:lnTo>
                  <a:lnTo>
                    <a:pt x="56" y="225"/>
                  </a:lnTo>
                  <a:lnTo>
                    <a:pt x="56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0"/>
                  </a:lnTo>
                  <a:lnTo>
                    <a:pt x="58" y="220"/>
                  </a:lnTo>
                  <a:lnTo>
                    <a:pt x="58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1"/>
                  </a:lnTo>
                  <a:lnTo>
                    <a:pt x="63" y="211"/>
                  </a:lnTo>
                  <a:lnTo>
                    <a:pt x="63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5" y="209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3" y="205"/>
                  </a:lnTo>
                  <a:lnTo>
                    <a:pt x="63" y="205"/>
                  </a:lnTo>
                  <a:lnTo>
                    <a:pt x="63" y="202"/>
                  </a:lnTo>
                  <a:lnTo>
                    <a:pt x="65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3" y="200"/>
                  </a:lnTo>
                  <a:lnTo>
                    <a:pt x="63" y="200"/>
                  </a:lnTo>
                  <a:lnTo>
                    <a:pt x="63" y="200"/>
                  </a:lnTo>
                  <a:lnTo>
                    <a:pt x="63" y="200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1"/>
                  </a:lnTo>
                  <a:lnTo>
                    <a:pt x="61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58" y="187"/>
                  </a:lnTo>
                  <a:lnTo>
                    <a:pt x="56" y="187"/>
                  </a:lnTo>
                  <a:lnTo>
                    <a:pt x="56" y="187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2" y="178"/>
                  </a:lnTo>
                  <a:lnTo>
                    <a:pt x="52" y="178"/>
                  </a:lnTo>
                  <a:lnTo>
                    <a:pt x="52" y="175"/>
                  </a:lnTo>
                  <a:lnTo>
                    <a:pt x="52" y="175"/>
                  </a:lnTo>
                  <a:lnTo>
                    <a:pt x="52" y="175"/>
                  </a:lnTo>
                  <a:lnTo>
                    <a:pt x="52" y="175"/>
                  </a:lnTo>
                  <a:lnTo>
                    <a:pt x="52" y="175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4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6"/>
                  </a:lnTo>
                  <a:lnTo>
                    <a:pt x="52" y="164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0"/>
                  </a:lnTo>
                  <a:lnTo>
                    <a:pt x="52" y="160"/>
                  </a:lnTo>
                  <a:lnTo>
                    <a:pt x="49" y="160"/>
                  </a:lnTo>
                  <a:lnTo>
                    <a:pt x="49" y="160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7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3" y="148"/>
                  </a:lnTo>
                  <a:lnTo>
                    <a:pt x="40" y="148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6" y="144"/>
                  </a:lnTo>
                  <a:lnTo>
                    <a:pt x="36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2" y="137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19"/>
                  </a:lnTo>
                  <a:lnTo>
                    <a:pt x="34" y="119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3"/>
                  </a:lnTo>
                  <a:lnTo>
                    <a:pt x="34" y="113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32" y="104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0" y="77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7" y="56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5" y="47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close/>
                </a:path>
              </a:pathLst>
            </a:custGeom>
            <a:solidFill>
              <a:srgbClr val="C90068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483"/>
            <p:cNvSpPr>
              <a:spLocks/>
            </p:cNvSpPr>
            <p:nvPr/>
          </p:nvSpPr>
          <p:spPr bwMode="auto">
            <a:xfrm>
              <a:off x="6672164" y="4007538"/>
              <a:ext cx="387771" cy="427885"/>
            </a:xfrm>
            <a:custGeom>
              <a:avLst/>
              <a:gdLst>
                <a:gd name="T0" fmla="*/ 99 w 232"/>
                <a:gd name="T1" fmla="*/ 0 h 256"/>
                <a:gd name="T2" fmla="*/ 176 w 232"/>
                <a:gd name="T3" fmla="*/ 49 h 256"/>
                <a:gd name="T4" fmla="*/ 176 w 232"/>
                <a:gd name="T5" fmla="*/ 60 h 256"/>
                <a:gd name="T6" fmla="*/ 203 w 232"/>
                <a:gd name="T7" fmla="*/ 83 h 256"/>
                <a:gd name="T8" fmla="*/ 207 w 232"/>
                <a:gd name="T9" fmla="*/ 92 h 256"/>
                <a:gd name="T10" fmla="*/ 205 w 232"/>
                <a:gd name="T11" fmla="*/ 98 h 256"/>
                <a:gd name="T12" fmla="*/ 200 w 232"/>
                <a:gd name="T13" fmla="*/ 110 h 256"/>
                <a:gd name="T14" fmla="*/ 198 w 232"/>
                <a:gd name="T15" fmla="*/ 121 h 256"/>
                <a:gd name="T16" fmla="*/ 200 w 232"/>
                <a:gd name="T17" fmla="*/ 130 h 256"/>
                <a:gd name="T18" fmla="*/ 207 w 232"/>
                <a:gd name="T19" fmla="*/ 134 h 256"/>
                <a:gd name="T20" fmla="*/ 212 w 232"/>
                <a:gd name="T21" fmla="*/ 139 h 256"/>
                <a:gd name="T22" fmla="*/ 212 w 232"/>
                <a:gd name="T23" fmla="*/ 146 h 256"/>
                <a:gd name="T24" fmla="*/ 209 w 232"/>
                <a:gd name="T25" fmla="*/ 152 h 256"/>
                <a:gd name="T26" fmla="*/ 209 w 232"/>
                <a:gd name="T27" fmla="*/ 161 h 256"/>
                <a:gd name="T28" fmla="*/ 209 w 232"/>
                <a:gd name="T29" fmla="*/ 170 h 256"/>
                <a:gd name="T30" fmla="*/ 209 w 232"/>
                <a:gd name="T31" fmla="*/ 179 h 256"/>
                <a:gd name="T32" fmla="*/ 214 w 232"/>
                <a:gd name="T33" fmla="*/ 188 h 256"/>
                <a:gd name="T34" fmla="*/ 212 w 232"/>
                <a:gd name="T35" fmla="*/ 191 h 256"/>
                <a:gd name="T36" fmla="*/ 214 w 232"/>
                <a:gd name="T37" fmla="*/ 193 h 256"/>
                <a:gd name="T38" fmla="*/ 214 w 232"/>
                <a:gd name="T39" fmla="*/ 200 h 256"/>
                <a:gd name="T40" fmla="*/ 216 w 232"/>
                <a:gd name="T41" fmla="*/ 204 h 256"/>
                <a:gd name="T42" fmla="*/ 218 w 232"/>
                <a:gd name="T43" fmla="*/ 211 h 256"/>
                <a:gd name="T44" fmla="*/ 218 w 232"/>
                <a:gd name="T45" fmla="*/ 215 h 256"/>
                <a:gd name="T46" fmla="*/ 225 w 232"/>
                <a:gd name="T47" fmla="*/ 218 h 256"/>
                <a:gd name="T48" fmla="*/ 227 w 232"/>
                <a:gd name="T49" fmla="*/ 220 h 256"/>
                <a:gd name="T50" fmla="*/ 230 w 232"/>
                <a:gd name="T51" fmla="*/ 222 h 256"/>
                <a:gd name="T52" fmla="*/ 230 w 232"/>
                <a:gd name="T53" fmla="*/ 224 h 256"/>
                <a:gd name="T54" fmla="*/ 209 w 232"/>
                <a:gd name="T55" fmla="*/ 238 h 256"/>
                <a:gd name="T56" fmla="*/ 194 w 232"/>
                <a:gd name="T57" fmla="*/ 245 h 256"/>
                <a:gd name="T58" fmla="*/ 180 w 232"/>
                <a:gd name="T59" fmla="*/ 245 h 256"/>
                <a:gd name="T60" fmla="*/ 173 w 232"/>
                <a:gd name="T61" fmla="*/ 251 h 256"/>
                <a:gd name="T62" fmla="*/ 164 w 232"/>
                <a:gd name="T63" fmla="*/ 254 h 256"/>
                <a:gd name="T64" fmla="*/ 151 w 232"/>
                <a:gd name="T65" fmla="*/ 254 h 256"/>
                <a:gd name="T66" fmla="*/ 142 w 232"/>
                <a:gd name="T67" fmla="*/ 254 h 256"/>
                <a:gd name="T68" fmla="*/ 135 w 232"/>
                <a:gd name="T69" fmla="*/ 249 h 256"/>
                <a:gd name="T70" fmla="*/ 128 w 232"/>
                <a:gd name="T71" fmla="*/ 251 h 256"/>
                <a:gd name="T72" fmla="*/ 115 w 232"/>
                <a:gd name="T73" fmla="*/ 251 h 256"/>
                <a:gd name="T74" fmla="*/ 111 w 232"/>
                <a:gd name="T75" fmla="*/ 245 h 256"/>
                <a:gd name="T76" fmla="*/ 108 w 232"/>
                <a:gd name="T77" fmla="*/ 236 h 256"/>
                <a:gd name="T78" fmla="*/ 108 w 232"/>
                <a:gd name="T79" fmla="*/ 229 h 256"/>
                <a:gd name="T80" fmla="*/ 106 w 232"/>
                <a:gd name="T81" fmla="*/ 215 h 256"/>
                <a:gd name="T82" fmla="*/ 97 w 232"/>
                <a:gd name="T83" fmla="*/ 202 h 256"/>
                <a:gd name="T84" fmla="*/ 90 w 232"/>
                <a:gd name="T85" fmla="*/ 204 h 256"/>
                <a:gd name="T86" fmla="*/ 79 w 232"/>
                <a:gd name="T87" fmla="*/ 202 h 256"/>
                <a:gd name="T88" fmla="*/ 70 w 232"/>
                <a:gd name="T89" fmla="*/ 197 h 256"/>
                <a:gd name="T90" fmla="*/ 57 w 232"/>
                <a:gd name="T91" fmla="*/ 191 h 256"/>
                <a:gd name="T92" fmla="*/ 43 w 232"/>
                <a:gd name="T93" fmla="*/ 182 h 256"/>
                <a:gd name="T94" fmla="*/ 36 w 232"/>
                <a:gd name="T95" fmla="*/ 182 h 256"/>
                <a:gd name="T96" fmla="*/ 9 w 232"/>
                <a:gd name="T97" fmla="*/ 134 h 256"/>
                <a:gd name="T98" fmla="*/ 3 w 232"/>
                <a:gd name="T99" fmla="*/ 85 h 256"/>
                <a:gd name="T100" fmla="*/ 12 w 232"/>
                <a:gd name="T101" fmla="*/ 80 h 256"/>
                <a:gd name="T102" fmla="*/ 23 w 232"/>
                <a:gd name="T103" fmla="*/ 65 h 256"/>
                <a:gd name="T104" fmla="*/ 27 w 232"/>
                <a:gd name="T105" fmla="*/ 58 h 256"/>
                <a:gd name="T106" fmla="*/ 32 w 232"/>
                <a:gd name="T107" fmla="*/ 51 h 256"/>
                <a:gd name="T108" fmla="*/ 27 w 232"/>
                <a:gd name="T109" fmla="*/ 47 h 256"/>
                <a:gd name="T110" fmla="*/ 25 w 232"/>
                <a:gd name="T111" fmla="*/ 42 h 256"/>
                <a:gd name="T112" fmla="*/ 30 w 232"/>
                <a:gd name="T113" fmla="*/ 33 h 256"/>
                <a:gd name="T114" fmla="*/ 32 w 232"/>
                <a:gd name="T115" fmla="*/ 24 h 256"/>
                <a:gd name="T116" fmla="*/ 32 w 232"/>
                <a:gd name="T117" fmla="*/ 15 h 256"/>
                <a:gd name="T118" fmla="*/ 27 w 232"/>
                <a:gd name="T119" fmla="*/ 6 h 256"/>
                <a:gd name="T120" fmla="*/ 25 w 232"/>
                <a:gd name="T121" fmla="*/ 2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2" h="256">
                  <a:moveTo>
                    <a:pt x="32" y="0"/>
                  </a:moveTo>
                  <a:lnTo>
                    <a:pt x="32" y="0"/>
                  </a:lnTo>
                  <a:lnTo>
                    <a:pt x="34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45" y="0"/>
                  </a:lnTo>
                  <a:lnTo>
                    <a:pt x="50" y="0"/>
                  </a:lnTo>
                  <a:lnTo>
                    <a:pt x="54" y="0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6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7" y="0"/>
                  </a:lnTo>
                  <a:lnTo>
                    <a:pt x="81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6" y="4"/>
                  </a:lnTo>
                  <a:lnTo>
                    <a:pt x="111" y="9"/>
                  </a:lnTo>
                  <a:lnTo>
                    <a:pt x="115" y="11"/>
                  </a:lnTo>
                  <a:lnTo>
                    <a:pt x="119" y="13"/>
                  </a:lnTo>
                  <a:lnTo>
                    <a:pt x="124" y="15"/>
                  </a:lnTo>
                  <a:lnTo>
                    <a:pt x="128" y="20"/>
                  </a:lnTo>
                  <a:lnTo>
                    <a:pt x="133" y="22"/>
                  </a:lnTo>
                  <a:lnTo>
                    <a:pt x="137" y="24"/>
                  </a:lnTo>
                  <a:lnTo>
                    <a:pt x="142" y="26"/>
                  </a:lnTo>
                  <a:lnTo>
                    <a:pt x="146" y="31"/>
                  </a:lnTo>
                  <a:lnTo>
                    <a:pt x="151" y="33"/>
                  </a:lnTo>
                  <a:lnTo>
                    <a:pt x="155" y="35"/>
                  </a:lnTo>
                  <a:lnTo>
                    <a:pt x="160" y="38"/>
                  </a:lnTo>
                  <a:lnTo>
                    <a:pt x="164" y="42"/>
                  </a:lnTo>
                  <a:lnTo>
                    <a:pt x="169" y="44"/>
                  </a:lnTo>
                  <a:lnTo>
                    <a:pt x="173" y="47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6" y="51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3" y="58"/>
                  </a:lnTo>
                  <a:lnTo>
                    <a:pt x="176" y="58"/>
                  </a:lnTo>
                  <a:lnTo>
                    <a:pt x="176" y="58"/>
                  </a:lnTo>
                  <a:lnTo>
                    <a:pt x="176" y="58"/>
                  </a:lnTo>
                  <a:lnTo>
                    <a:pt x="173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8" y="60"/>
                  </a:lnTo>
                  <a:lnTo>
                    <a:pt x="178" y="62"/>
                  </a:lnTo>
                  <a:lnTo>
                    <a:pt x="178" y="62"/>
                  </a:lnTo>
                  <a:lnTo>
                    <a:pt x="178" y="62"/>
                  </a:lnTo>
                  <a:lnTo>
                    <a:pt x="180" y="65"/>
                  </a:lnTo>
                  <a:lnTo>
                    <a:pt x="180" y="65"/>
                  </a:lnTo>
                  <a:lnTo>
                    <a:pt x="182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9" y="71"/>
                  </a:lnTo>
                  <a:lnTo>
                    <a:pt x="189" y="74"/>
                  </a:lnTo>
                  <a:lnTo>
                    <a:pt x="191" y="74"/>
                  </a:lnTo>
                  <a:lnTo>
                    <a:pt x="194" y="76"/>
                  </a:lnTo>
                  <a:lnTo>
                    <a:pt x="196" y="76"/>
                  </a:lnTo>
                  <a:lnTo>
                    <a:pt x="196" y="78"/>
                  </a:lnTo>
                  <a:lnTo>
                    <a:pt x="198" y="80"/>
                  </a:lnTo>
                  <a:lnTo>
                    <a:pt x="200" y="80"/>
                  </a:lnTo>
                  <a:lnTo>
                    <a:pt x="203" y="83"/>
                  </a:lnTo>
                  <a:lnTo>
                    <a:pt x="205" y="85"/>
                  </a:lnTo>
                  <a:lnTo>
                    <a:pt x="205" y="85"/>
                  </a:lnTo>
                  <a:lnTo>
                    <a:pt x="207" y="87"/>
                  </a:lnTo>
                  <a:lnTo>
                    <a:pt x="207" y="87"/>
                  </a:lnTo>
                  <a:lnTo>
                    <a:pt x="207" y="87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89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2"/>
                  </a:lnTo>
                  <a:lnTo>
                    <a:pt x="207" y="94"/>
                  </a:lnTo>
                  <a:lnTo>
                    <a:pt x="205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5" y="96"/>
                  </a:lnTo>
                  <a:lnTo>
                    <a:pt x="207" y="96"/>
                  </a:lnTo>
                  <a:lnTo>
                    <a:pt x="207" y="96"/>
                  </a:lnTo>
                  <a:lnTo>
                    <a:pt x="207" y="96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98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101"/>
                  </a:lnTo>
                  <a:lnTo>
                    <a:pt x="205" y="103"/>
                  </a:lnTo>
                  <a:lnTo>
                    <a:pt x="205" y="103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5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3" y="110"/>
                  </a:lnTo>
                  <a:lnTo>
                    <a:pt x="200" y="110"/>
                  </a:lnTo>
                  <a:lnTo>
                    <a:pt x="200" y="110"/>
                  </a:lnTo>
                  <a:lnTo>
                    <a:pt x="200" y="110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4"/>
                  </a:lnTo>
                  <a:lnTo>
                    <a:pt x="200" y="114"/>
                  </a:lnTo>
                  <a:lnTo>
                    <a:pt x="200" y="114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9"/>
                  </a:lnTo>
                  <a:lnTo>
                    <a:pt x="198" y="119"/>
                  </a:lnTo>
                  <a:lnTo>
                    <a:pt x="198" y="119"/>
                  </a:lnTo>
                  <a:lnTo>
                    <a:pt x="198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123"/>
                  </a:lnTo>
                  <a:lnTo>
                    <a:pt x="200" y="123"/>
                  </a:lnTo>
                  <a:lnTo>
                    <a:pt x="200" y="123"/>
                  </a:lnTo>
                  <a:lnTo>
                    <a:pt x="200" y="123"/>
                  </a:lnTo>
                  <a:lnTo>
                    <a:pt x="200" y="125"/>
                  </a:lnTo>
                  <a:lnTo>
                    <a:pt x="200" y="125"/>
                  </a:lnTo>
                  <a:lnTo>
                    <a:pt x="200" y="125"/>
                  </a:lnTo>
                  <a:lnTo>
                    <a:pt x="200" y="125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28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0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3" y="130"/>
                  </a:lnTo>
                  <a:lnTo>
                    <a:pt x="205" y="132"/>
                  </a:lnTo>
                  <a:lnTo>
                    <a:pt x="205" y="132"/>
                  </a:lnTo>
                  <a:lnTo>
                    <a:pt x="205" y="132"/>
                  </a:lnTo>
                  <a:lnTo>
                    <a:pt x="207" y="132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4"/>
                  </a:lnTo>
                  <a:lnTo>
                    <a:pt x="207" y="137"/>
                  </a:lnTo>
                  <a:lnTo>
                    <a:pt x="207" y="137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7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09" y="139"/>
                  </a:lnTo>
                  <a:lnTo>
                    <a:pt x="212" y="139"/>
                  </a:lnTo>
                  <a:lnTo>
                    <a:pt x="212" y="139"/>
                  </a:lnTo>
                  <a:lnTo>
                    <a:pt x="212" y="139"/>
                  </a:lnTo>
                  <a:lnTo>
                    <a:pt x="212" y="139"/>
                  </a:lnTo>
                  <a:lnTo>
                    <a:pt x="212" y="139"/>
                  </a:lnTo>
                  <a:lnTo>
                    <a:pt x="212" y="139"/>
                  </a:lnTo>
                  <a:lnTo>
                    <a:pt x="214" y="141"/>
                  </a:lnTo>
                  <a:lnTo>
                    <a:pt x="214" y="141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4" y="143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8"/>
                  </a:lnTo>
                  <a:lnTo>
                    <a:pt x="212" y="148"/>
                  </a:lnTo>
                  <a:lnTo>
                    <a:pt x="212" y="146"/>
                  </a:lnTo>
                  <a:lnTo>
                    <a:pt x="212" y="146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12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0"/>
                  </a:lnTo>
                  <a:lnTo>
                    <a:pt x="209" y="152"/>
                  </a:lnTo>
                  <a:lnTo>
                    <a:pt x="209" y="152"/>
                  </a:lnTo>
                  <a:lnTo>
                    <a:pt x="209" y="152"/>
                  </a:lnTo>
                  <a:lnTo>
                    <a:pt x="209" y="152"/>
                  </a:lnTo>
                  <a:lnTo>
                    <a:pt x="209" y="152"/>
                  </a:lnTo>
                  <a:lnTo>
                    <a:pt x="209" y="155"/>
                  </a:lnTo>
                  <a:lnTo>
                    <a:pt x="207" y="157"/>
                  </a:lnTo>
                  <a:lnTo>
                    <a:pt x="207" y="157"/>
                  </a:lnTo>
                  <a:lnTo>
                    <a:pt x="207" y="157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7" y="159"/>
                  </a:lnTo>
                  <a:lnTo>
                    <a:pt x="209" y="161"/>
                  </a:lnTo>
                  <a:lnTo>
                    <a:pt x="209" y="161"/>
                  </a:lnTo>
                  <a:lnTo>
                    <a:pt x="207" y="161"/>
                  </a:lnTo>
                  <a:lnTo>
                    <a:pt x="207" y="161"/>
                  </a:lnTo>
                  <a:lnTo>
                    <a:pt x="209" y="161"/>
                  </a:lnTo>
                  <a:lnTo>
                    <a:pt x="209" y="161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61"/>
                  </a:lnTo>
                  <a:lnTo>
                    <a:pt x="209" y="161"/>
                  </a:lnTo>
                  <a:lnTo>
                    <a:pt x="209" y="161"/>
                  </a:lnTo>
                  <a:lnTo>
                    <a:pt x="209" y="161"/>
                  </a:lnTo>
                  <a:lnTo>
                    <a:pt x="209" y="161"/>
                  </a:lnTo>
                  <a:lnTo>
                    <a:pt x="212" y="161"/>
                  </a:lnTo>
                  <a:lnTo>
                    <a:pt x="212" y="161"/>
                  </a:lnTo>
                  <a:lnTo>
                    <a:pt x="212" y="161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09" y="170"/>
                  </a:lnTo>
                  <a:lnTo>
                    <a:pt x="209" y="170"/>
                  </a:lnTo>
                  <a:lnTo>
                    <a:pt x="209" y="170"/>
                  </a:lnTo>
                  <a:lnTo>
                    <a:pt x="209" y="170"/>
                  </a:lnTo>
                  <a:lnTo>
                    <a:pt x="209" y="170"/>
                  </a:lnTo>
                  <a:lnTo>
                    <a:pt x="209" y="170"/>
                  </a:lnTo>
                  <a:lnTo>
                    <a:pt x="209" y="173"/>
                  </a:lnTo>
                  <a:lnTo>
                    <a:pt x="209" y="173"/>
                  </a:lnTo>
                  <a:lnTo>
                    <a:pt x="209" y="173"/>
                  </a:lnTo>
                  <a:lnTo>
                    <a:pt x="209" y="173"/>
                  </a:lnTo>
                  <a:lnTo>
                    <a:pt x="209" y="173"/>
                  </a:lnTo>
                  <a:lnTo>
                    <a:pt x="209" y="173"/>
                  </a:lnTo>
                  <a:lnTo>
                    <a:pt x="209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7" y="175"/>
                  </a:lnTo>
                  <a:lnTo>
                    <a:pt x="207" y="175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9"/>
                  </a:lnTo>
                  <a:lnTo>
                    <a:pt x="209" y="179"/>
                  </a:lnTo>
                  <a:lnTo>
                    <a:pt x="209" y="182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12" y="184"/>
                  </a:lnTo>
                  <a:lnTo>
                    <a:pt x="212" y="184"/>
                  </a:lnTo>
                  <a:lnTo>
                    <a:pt x="212" y="184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4" y="188"/>
                  </a:lnTo>
                  <a:lnTo>
                    <a:pt x="214" y="188"/>
                  </a:lnTo>
                  <a:lnTo>
                    <a:pt x="214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12" y="186"/>
                  </a:lnTo>
                  <a:lnTo>
                    <a:pt x="209" y="186"/>
                  </a:lnTo>
                  <a:lnTo>
                    <a:pt x="209" y="186"/>
                  </a:lnTo>
                  <a:lnTo>
                    <a:pt x="209" y="186"/>
                  </a:lnTo>
                  <a:lnTo>
                    <a:pt x="209" y="188"/>
                  </a:lnTo>
                  <a:lnTo>
                    <a:pt x="209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88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2" y="193"/>
                  </a:lnTo>
                  <a:lnTo>
                    <a:pt x="214" y="193"/>
                  </a:lnTo>
                  <a:lnTo>
                    <a:pt x="214" y="193"/>
                  </a:lnTo>
                  <a:lnTo>
                    <a:pt x="214" y="193"/>
                  </a:lnTo>
                  <a:lnTo>
                    <a:pt x="214" y="193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0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6" y="202"/>
                  </a:lnTo>
                  <a:lnTo>
                    <a:pt x="216" y="202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6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6" y="209"/>
                  </a:lnTo>
                  <a:lnTo>
                    <a:pt x="218" y="209"/>
                  </a:lnTo>
                  <a:lnTo>
                    <a:pt x="218" y="209"/>
                  </a:lnTo>
                  <a:lnTo>
                    <a:pt x="218" y="211"/>
                  </a:lnTo>
                  <a:lnTo>
                    <a:pt x="218" y="211"/>
                  </a:lnTo>
                  <a:lnTo>
                    <a:pt x="218" y="211"/>
                  </a:lnTo>
                  <a:lnTo>
                    <a:pt x="216" y="211"/>
                  </a:lnTo>
                  <a:lnTo>
                    <a:pt x="216" y="211"/>
                  </a:lnTo>
                  <a:lnTo>
                    <a:pt x="216" y="211"/>
                  </a:lnTo>
                  <a:lnTo>
                    <a:pt x="218" y="213"/>
                  </a:lnTo>
                  <a:lnTo>
                    <a:pt x="218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6" y="215"/>
                  </a:lnTo>
                  <a:lnTo>
                    <a:pt x="216" y="215"/>
                  </a:lnTo>
                  <a:lnTo>
                    <a:pt x="216" y="215"/>
                  </a:lnTo>
                  <a:lnTo>
                    <a:pt x="216" y="215"/>
                  </a:lnTo>
                  <a:lnTo>
                    <a:pt x="216" y="215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8" y="213"/>
                  </a:lnTo>
                  <a:lnTo>
                    <a:pt x="218" y="213"/>
                  </a:lnTo>
                  <a:lnTo>
                    <a:pt x="218" y="215"/>
                  </a:lnTo>
                  <a:lnTo>
                    <a:pt x="218" y="215"/>
                  </a:lnTo>
                  <a:lnTo>
                    <a:pt x="218" y="215"/>
                  </a:lnTo>
                  <a:lnTo>
                    <a:pt x="218" y="215"/>
                  </a:lnTo>
                  <a:lnTo>
                    <a:pt x="221" y="215"/>
                  </a:lnTo>
                  <a:lnTo>
                    <a:pt x="221" y="218"/>
                  </a:lnTo>
                  <a:lnTo>
                    <a:pt x="221" y="218"/>
                  </a:lnTo>
                  <a:lnTo>
                    <a:pt x="221" y="220"/>
                  </a:lnTo>
                  <a:lnTo>
                    <a:pt x="221" y="220"/>
                  </a:lnTo>
                  <a:lnTo>
                    <a:pt x="221" y="218"/>
                  </a:lnTo>
                  <a:lnTo>
                    <a:pt x="221" y="218"/>
                  </a:lnTo>
                  <a:lnTo>
                    <a:pt x="221" y="218"/>
                  </a:lnTo>
                  <a:lnTo>
                    <a:pt x="221" y="218"/>
                  </a:lnTo>
                  <a:lnTo>
                    <a:pt x="221" y="218"/>
                  </a:lnTo>
                  <a:lnTo>
                    <a:pt x="221" y="218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18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3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7" y="222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5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0" y="222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0" y="222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4"/>
                  </a:lnTo>
                  <a:lnTo>
                    <a:pt x="230" y="227"/>
                  </a:lnTo>
                  <a:lnTo>
                    <a:pt x="230" y="227"/>
                  </a:lnTo>
                  <a:lnTo>
                    <a:pt x="230" y="227"/>
                  </a:lnTo>
                  <a:lnTo>
                    <a:pt x="227" y="229"/>
                  </a:lnTo>
                  <a:lnTo>
                    <a:pt x="227" y="229"/>
                  </a:lnTo>
                  <a:lnTo>
                    <a:pt x="225" y="231"/>
                  </a:lnTo>
                  <a:lnTo>
                    <a:pt x="225" y="231"/>
                  </a:lnTo>
                  <a:lnTo>
                    <a:pt x="225" y="231"/>
                  </a:lnTo>
                  <a:lnTo>
                    <a:pt x="225" y="231"/>
                  </a:lnTo>
                  <a:lnTo>
                    <a:pt x="221" y="233"/>
                  </a:lnTo>
                  <a:lnTo>
                    <a:pt x="221" y="233"/>
                  </a:lnTo>
                  <a:lnTo>
                    <a:pt x="218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2" y="238"/>
                  </a:lnTo>
                  <a:lnTo>
                    <a:pt x="212" y="238"/>
                  </a:lnTo>
                  <a:lnTo>
                    <a:pt x="212" y="238"/>
                  </a:lnTo>
                  <a:lnTo>
                    <a:pt x="209" y="238"/>
                  </a:lnTo>
                  <a:lnTo>
                    <a:pt x="207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3" y="242"/>
                  </a:lnTo>
                  <a:lnTo>
                    <a:pt x="203" y="240"/>
                  </a:lnTo>
                  <a:lnTo>
                    <a:pt x="203" y="242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8" y="242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196" y="242"/>
                  </a:lnTo>
                  <a:lnTo>
                    <a:pt x="196" y="245"/>
                  </a:lnTo>
                  <a:lnTo>
                    <a:pt x="196" y="245"/>
                  </a:lnTo>
                  <a:lnTo>
                    <a:pt x="194" y="245"/>
                  </a:lnTo>
                  <a:lnTo>
                    <a:pt x="194" y="245"/>
                  </a:lnTo>
                  <a:lnTo>
                    <a:pt x="194" y="245"/>
                  </a:lnTo>
                  <a:lnTo>
                    <a:pt x="194" y="245"/>
                  </a:lnTo>
                  <a:lnTo>
                    <a:pt x="194" y="245"/>
                  </a:lnTo>
                  <a:lnTo>
                    <a:pt x="194" y="245"/>
                  </a:lnTo>
                  <a:lnTo>
                    <a:pt x="191" y="245"/>
                  </a:lnTo>
                  <a:lnTo>
                    <a:pt x="191" y="245"/>
                  </a:lnTo>
                  <a:lnTo>
                    <a:pt x="189" y="247"/>
                  </a:lnTo>
                  <a:lnTo>
                    <a:pt x="189" y="247"/>
                  </a:lnTo>
                  <a:lnTo>
                    <a:pt x="189" y="247"/>
                  </a:lnTo>
                  <a:lnTo>
                    <a:pt x="187" y="247"/>
                  </a:lnTo>
                  <a:lnTo>
                    <a:pt x="187" y="247"/>
                  </a:lnTo>
                  <a:lnTo>
                    <a:pt x="185" y="245"/>
                  </a:lnTo>
                  <a:lnTo>
                    <a:pt x="185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78" y="245"/>
                  </a:lnTo>
                  <a:lnTo>
                    <a:pt x="178" y="245"/>
                  </a:lnTo>
                  <a:lnTo>
                    <a:pt x="178" y="245"/>
                  </a:lnTo>
                  <a:lnTo>
                    <a:pt x="176" y="245"/>
                  </a:lnTo>
                  <a:lnTo>
                    <a:pt x="176" y="245"/>
                  </a:lnTo>
                  <a:lnTo>
                    <a:pt x="176" y="247"/>
                  </a:lnTo>
                  <a:lnTo>
                    <a:pt x="176" y="247"/>
                  </a:lnTo>
                  <a:lnTo>
                    <a:pt x="176" y="247"/>
                  </a:lnTo>
                  <a:lnTo>
                    <a:pt x="176" y="247"/>
                  </a:lnTo>
                  <a:lnTo>
                    <a:pt x="176" y="249"/>
                  </a:lnTo>
                  <a:lnTo>
                    <a:pt x="176" y="249"/>
                  </a:lnTo>
                  <a:lnTo>
                    <a:pt x="176" y="249"/>
                  </a:lnTo>
                  <a:lnTo>
                    <a:pt x="176" y="249"/>
                  </a:lnTo>
                  <a:lnTo>
                    <a:pt x="176" y="251"/>
                  </a:lnTo>
                  <a:lnTo>
                    <a:pt x="176" y="251"/>
                  </a:lnTo>
                  <a:lnTo>
                    <a:pt x="176" y="251"/>
                  </a:lnTo>
                  <a:lnTo>
                    <a:pt x="173" y="251"/>
                  </a:lnTo>
                  <a:lnTo>
                    <a:pt x="173" y="251"/>
                  </a:lnTo>
                  <a:lnTo>
                    <a:pt x="171" y="254"/>
                  </a:lnTo>
                  <a:lnTo>
                    <a:pt x="171" y="254"/>
                  </a:lnTo>
                  <a:lnTo>
                    <a:pt x="171" y="254"/>
                  </a:lnTo>
                  <a:lnTo>
                    <a:pt x="171" y="254"/>
                  </a:lnTo>
                  <a:lnTo>
                    <a:pt x="169" y="254"/>
                  </a:lnTo>
                  <a:lnTo>
                    <a:pt x="169" y="254"/>
                  </a:lnTo>
                  <a:lnTo>
                    <a:pt x="169" y="254"/>
                  </a:lnTo>
                  <a:lnTo>
                    <a:pt x="169" y="254"/>
                  </a:lnTo>
                  <a:lnTo>
                    <a:pt x="169" y="254"/>
                  </a:lnTo>
                  <a:lnTo>
                    <a:pt x="169" y="254"/>
                  </a:lnTo>
                  <a:lnTo>
                    <a:pt x="169" y="256"/>
                  </a:lnTo>
                  <a:lnTo>
                    <a:pt x="167" y="256"/>
                  </a:lnTo>
                  <a:lnTo>
                    <a:pt x="167" y="256"/>
                  </a:lnTo>
                  <a:lnTo>
                    <a:pt x="167" y="256"/>
                  </a:lnTo>
                  <a:lnTo>
                    <a:pt x="167" y="256"/>
                  </a:lnTo>
                  <a:lnTo>
                    <a:pt x="167" y="256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60" y="254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8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5" y="251"/>
                  </a:lnTo>
                  <a:lnTo>
                    <a:pt x="153" y="251"/>
                  </a:lnTo>
                  <a:lnTo>
                    <a:pt x="153" y="254"/>
                  </a:lnTo>
                  <a:lnTo>
                    <a:pt x="153" y="254"/>
                  </a:lnTo>
                  <a:lnTo>
                    <a:pt x="153" y="254"/>
                  </a:lnTo>
                  <a:lnTo>
                    <a:pt x="151" y="254"/>
                  </a:lnTo>
                  <a:lnTo>
                    <a:pt x="151" y="254"/>
                  </a:lnTo>
                  <a:lnTo>
                    <a:pt x="151" y="254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51" y="256"/>
                  </a:lnTo>
                  <a:lnTo>
                    <a:pt x="149" y="256"/>
                  </a:lnTo>
                  <a:lnTo>
                    <a:pt x="149" y="256"/>
                  </a:lnTo>
                  <a:lnTo>
                    <a:pt x="149" y="256"/>
                  </a:lnTo>
                  <a:lnTo>
                    <a:pt x="146" y="256"/>
                  </a:lnTo>
                  <a:lnTo>
                    <a:pt x="146" y="256"/>
                  </a:lnTo>
                  <a:lnTo>
                    <a:pt x="146" y="254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4" y="254"/>
                  </a:lnTo>
                  <a:lnTo>
                    <a:pt x="144" y="254"/>
                  </a:lnTo>
                  <a:lnTo>
                    <a:pt x="144" y="254"/>
                  </a:lnTo>
                  <a:lnTo>
                    <a:pt x="144" y="254"/>
                  </a:lnTo>
                  <a:lnTo>
                    <a:pt x="142" y="256"/>
                  </a:lnTo>
                  <a:lnTo>
                    <a:pt x="142" y="256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40" y="251"/>
                  </a:lnTo>
                  <a:lnTo>
                    <a:pt x="137" y="249"/>
                  </a:lnTo>
                  <a:lnTo>
                    <a:pt x="137" y="249"/>
                  </a:lnTo>
                  <a:lnTo>
                    <a:pt x="137" y="249"/>
                  </a:lnTo>
                  <a:lnTo>
                    <a:pt x="137" y="249"/>
                  </a:lnTo>
                  <a:lnTo>
                    <a:pt x="135" y="249"/>
                  </a:lnTo>
                  <a:lnTo>
                    <a:pt x="135" y="249"/>
                  </a:lnTo>
                  <a:lnTo>
                    <a:pt x="137" y="249"/>
                  </a:lnTo>
                  <a:lnTo>
                    <a:pt x="135" y="249"/>
                  </a:lnTo>
                  <a:lnTo>
                    <a:pt x="135" y="249"/>
                  </a:lnTo>
                  <a:lnTo>
                    <a:pt x="135" y="249"/>
                  </a:lnTo>
                  <a:lnTo>
                    <a:pt x="135" y="249"/>
                  </a:lnTo>
                  <a:lnTo>
                    <a:pt x="135" y="247"/>
                  </a:lnTo>
                  <a:lnTo>
                    <a:pt x="133" y="247"/>
                  </a:lnTo>
                  <a:lnTo>
                    <a:pt x="133" y="247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1" y="249"/>
                  </a:lnTo>
                  <a:lnTo>
                    <a:pt x="131" y="249"/>
                  </a:lnTo>
                  <a:lnTo>
                    <a:pt x="131" y="249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31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6" y="251"/>
                  </a:lnTo>
                  <a:lnTo>
                    <a:pt x="126" y="254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4" y="251"/>
                  </a:lnTo>
                  <a:lnTo>
                    <a:pt x="124" y="251"/>
                  </a:lnTo>
                  <a:lnTo>
                    <a:pt x="124" y="251"/>
                  </a:lnTo>
                  <a:lnTo>
                    <a:pt x="124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9"/>
                  </a:lnTo>
                  <a:lnTo>
                    <a:pt x="115" y="247"/>
                  </a:lnTo>
                  <a:lnTo>
                    <a:pt x="115" y="247"/>
                  </a:lnTo>
                  <a:lnTo>
                    <a:pt x="115" y="247"/>
                  </a:lnTo>
                  <a:lnTo>
                    <a:pt x="113" y="247"/>
                  </a:lnTo>
                  <a:lnTo>
                    <a:pt x="113" y="247"/>
                  </a:lnTo>
                  <a:lnTo>
                    <a:pt x="113" y="247"/>
                  </a:lnTo>
                  <a:lnTo>
                    <a:pt x="113" y="247"/>
                  </a:lnTo>
                  <a:lnTo>
                    <a:pt x="113" y="247"/>
                  </a:lnTo>
                  <a:lnTo>
                    <a:pt x="113" y="247"/>
                  </a:lnTo>
                  <a:lnTo>
                    <a:pt x="111" y="247"/>
                  </a:lnTo>
                  <a:lnTo>
                    <a:pt x="111" y="247"/>
                  </a:lnTo>
                  <a:lnTo>
                    <a:pt x="111" y="247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5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11" y="242"/>
                  </a:lnTo>
                  <a:lnTo>
                    <a:pt x="108" y="242"/>
                  </a:lnTo>
                  <a:lnTo>
                    <a:pt x="108" y="240"/>
                  </a:lnTo>
                  <a:lnTo>
                    <a:pt x="108" y="240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11" y="233"/>
                  </a:lnTo>
                  <a:lnTo>
                    <a:pt x="108" y="233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11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11" y="231"/>
                  </a:lnTo>
                  <a:lnTo>
                    <a:pt x="111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9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4"/>
                  </a:lnTo>
                  <a:lnTo>
                    <a:pt x="108" y="224"/>
                  </a:lnTo>
                  <a:lnTo>
                    <a:pt x="108" y="224"/>
                  </a:lnTo>
                  <a:lnTo>
                    <a:pt x="108" y="222"/>
                  </a:lnTo>
                  <a:lnTo>
                    <a:pt x="108" y="220"/>
                  </a:lnTo>
                  <a:lnTo>
                    <a:pt x="108" y="220"/>
                  </a:lnTo>
                  <a:lnTo>
                    <a:pt x="108" y="220"/>
                  </a:lnTo>
                  <a:lnTo>
                    <a:pt x="108" y="220"/>
                  </a:lnTo>
                  <a:lnTo>
                    <a:pt x="106" y="218"/>
                  </a:lnTo>
                  <a:lnTo>
                    <a:pt x="106" y="215"/>
                  </a:lnTo>
                  <a:lnTo>
                    <a:pt x="106" y="215"/>
                  </a:lnTo>
                  <a:lnTo>
                    <a:pt x="108" y="215"/>
                  </a:lnTo>
                  <a:lnTo>
                    <a:pt x="108" y="215"/>
                  </a:lnTo>
                  <a:lnTo>
                    <a:pt x="108" y="215"/>
                  </a:lnTo>
                  <a:lnTo>
                    <a:pt x="106" y="215"/>
                  </a:lnTo>
                  <a:lnTo>
                    <a:pt x="106" y="213"/>
                  </a:lnTo>
                  <a:lnTo>
                    <a:pt x="106" y="213"/>
                  </a:lnTo>
                  <a:lnTo>
                    <a:pt x="104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4" y="209"/>
                  </a:lnTo>
                  <a:lnTo>
                    <a:pt x="104" y="206"/>
                  </a:lnTo>
                  <a:lnTo>
                    <a:pt x="102" y="206"/>
                  </a:lnTo>
                  <a:lnTo>
                    <a:pt x="99" y="204"/>
                  </a:lnTo>
                  <a:lnTo>
                    <a:pt x="99" y="204"/>
                  </a:lnTo>
                  <a:lnTo>
                    <a:pt x="99" y="204"/>
                  </a:lnTo>
                  <a:lnTo>
                    <a:pt x="99" y="204"/>
                  </a:lnTo>
                  <a:lnTo>
                    <a:pt x="99" y="202"/>
                  </a:lnTo>
                  <a:lnTo>
                    <a:pt x="99" y="202"/>
                  </a:lnTo>
                  <a:lnTo>
                    <a:pt x="97" y="202"/>
                  </a:lnTo>
                  <a:lnTo>
                    <a:pt x="97" y="202"/>
                  </a:lnTo>
                  <a:lnTo>
                    <a:pt x="97" y="202"/>
                  </a:lnTo>
                  <a:lnTo>
                    <a:pt x="97" y="202"/>
                  </a:lnTo>
                  <a:lnTo>
                    <a:pt x="97" y="202"/>
                  </a:lnTo>
                  <a:lnTo>
                    <a:pt x="95" y="202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5" y="206"/>
                  </a:lnTo>
                  <a:lnTo>
                    <a:pt x="93" y="206"/>
                  </a:lnTo>
                  <a:lnTo>
                    <a:pt x="93" y="206"/>
                  </a:lnTo>
                  <a:lnTo>
                    <a:pt x="93" y="206"/>
                  </a:lnTo>
                  <a:lnTo>
                    <a:pt x="93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6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204"/>
                  </a:lnTo>
                  <a:lnTo>
                    <a:pt x="84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9" y="202"/>
                  </a:lnTo>
                  <a:lnTo>
                    <a:pt x="77" y="202"/>
                  </a:lnTo>
                  <a:lnTo>
                    <a:pt x="77" y="202"/>
                  </a:lnTo>
                  <a:lnTo>
                    <a:pt x="77" y="202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5" y="200"/>
                  </a:lnTo>
                  <a:lnTo>
                    <a:pt x="72" y="200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70" y="197"/>
                  </a:lnTo>
                  <a:lnTo>
                    <a:pt x="68" y="197"/>
                  </a:lnTo>
                  <a:lnTo>
                    <a:pt x="66" y="197"/>
                  </a:lnTo>
                  <a:lnTo>
                    <a:pt x="66" y="197"/>
                  </a:lnTo>
                  <a:lnTo>
                    <a:pt x="66" y="195"/>
                  </a:lnTo>
                  <a:lnTo>
                    <a:pt x="66" y="195"/>
                  </a:lnTo>
                  <a:lnTo>
                    <a:pt x="66" y="195"/>
                  </a:lnTo>
                  <a:lnTo>
                    <a:pt x="63" y="195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1" y="193"/>
                  </a:lnTo>
                  <a:lnTo>
                    <a:pt x="59" y="193"/>
                  </a:lnTo>
                  <a:lnTo>
                    <a:pt x="59" y="193"/>
                  </a:lnTo>
                  <a:lnTo>
                    <a:pt x="59" y="193"/>
                  </a:lnTo>
                  <a:lnTo>
                    <a:pt x="59" y="193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57" y="193"/>
                  </a:lnTo>
                  <a:lnTo>
                    <a:pt x="57" y="191"/>
                  </a:lnTo>
                  <a:lnTo>
                    <a:pt x="57" y="191"/>
                  </a:lnTo>
                  <a:lnTo>
                    <a:pt x="54" y="191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4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48" y="188"/>
                  </a:lnTo>
                  <a:lnTo>
                    <a:pt x="48" y="188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79"/>
                  </a:lnTo>
                  <a:lnTo>
                    <a:pt x="41" y="179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39" y="179"/>
                  </a:lnTo>
                  <a:lnTo>
                    <a:pt x="39" y="179"/>
                  </a:lnTo>
                  <a:lnTo>
                    <a:pt x="39" y="179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4" y="182"/>
                  </a:lnTo>
                  <a:lnTo>
                    <a:pt x="34" y="179"/>
                  </a:lnTo>
                  <a:lnTo>
                    <a:pt x="34" y="179"/>
                  </a:lnTo>
                  <a:lnTo>
                    <a:pt x="32" y="177"/>
                  </a:lnTo>
                  <a:lnTo>
                    <a:pt x="30" y="175"/>
                  </a:lnTo>
                  <a:lnTo>
                    <a:pt x="30" y="173"/>
                  </a:lnTo>
                  <a:lnTo>
                    <a:pt x="30" y="170"/>
                  </a:lnTo>
                  <a:lnTo>
                    <a:pt x="30" y="168"/>
                  </a:lnTo>
                  <a:lnTo>
                    <a:pt x="27" y="164"/>
                  </a:lnTo>
                  <a:lnTo>
                    <a:pt x="23" y="157"/>
                  </a:lnTo>
                  <a:lnTo>
                    <a:pt x="23" y="155"/>
                  </a:lnTo>
                  <a:lnTo>
                    <a:pt x="23" y="152"/>
                  </a:lnTo>
                  <a:lnTo>
                    <a:pt x="21" y="150"/>
                  </a:lnTo>
                  <a:lnTo>
                    <a:pt x="21" y="146"/>
                  </a:lnTo>
                  <a:lnTo>
                    <a:pt x="18" y="143"/>
                  </a:lnTo>
                  <a:lnTo>
                    <a:pt x="16" y="141"/>
                  </a:lnTo>
                  <a:lnTo>
                    <a:pt x="14" y="139"/>
                  </a:lnTo>
                  <a:lnTo>
                    <a:pt x="12" y="137"/>
                  </a:lnTo>
                  <a:lnTo>
                    <a:pt x="9" y="134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7" y="130"/>
                  </a:lnTo>
                  <a:lnTo>
                    <a:pt x="5" y="128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3"/>
                  </a:lnTo>
                  <a:lnTo>
                    <a:pt x="3" y="121"/>
                  </a:lnTo>
                  <a:lnTo>
                    <a:pt x="3" y="119"/>
                  </a:lnTo>
                  <a:lnTo>
                    <a:pt x="3" y="116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7" y="112"/>
                  </a:lnTo>
                  <a:lnTo>
                    <a:pt x="5" y="110"/>
                  </a:lnTo>
                  <a:lnTo>
                    <a:pt x="5" y="105"/>
                  </a:lnTo>
                  <a:lnTo>
                    <a:pt x="3" y="101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89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6" y="78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34" y="26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3"/>
                  </a:lnTo>
                  <a:lnTo>
                    <a:pt x="32" y="15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1"/>
                  </a:lnTo>
                  <a:lnTo>
                    <a:pt x="30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Freeform 484"/>
            <p:cNvSpPr>
              <a:spLocks noEditPoints="1"/>
            </p:cNvSpPr>
            <p:nvPr/>
          </p:nvSpPr>
          <p:spPr bwMode="auto">
            <a:xfrm>
              <a:off x="7833805" y="2334441"/>
              <a:ext cx="274114" cy="172156"/>
            </a:xfrm>
            <a:custGeom>
              <a:avLst/>
              <a:gdLst>
                <a:gd name="T0" fmla="*/ 51 w 164"/>
                <a:gd name="T1" fmla="*/ 2 h 103"/>
                <a:gd name="T2" fmla="*/ 51 w 164"/>
                <a:gd name="T3" fmla="*/ 7 h 103"/>
                <a:gd name="T4" fmla="*/ 51 w 164"/>
                <a:gd name="T5" fmla="*/ 11 h 103"/>
                <a:gd name="T6" fmla="*/ 54 w 164"/>
                <a:gd name="T7" fmla="*/ 16 h 103"/>
                <a:gd name="T8" fmla="*/ 60 w 164"/>
                <a:gd name="T9" fmla="*/ 20 h 103"/>
                <a:gd name="T10" fmla="*/ 56 w 164"/>
                <a:gd name="T11" fmla="*/ 27 h 103"/>
                <a:gd name="T12" fmla="*/ 49 w 164"/>
                <a:gd name="T13" fmla="*/ 22 h 103"/>
                <a:gd name="T14" fmla="*/ 36 w 164"/>
                <a:gd name="T15" fmla="*/ 25 h 103"/>
                <a:gd name="T16" fmla="*/ 33 w 164"/>
                <a:gd name="T17" fmla="*/ 31 h 103"/>
                <a:gd name="T18" fmla="*/ 42 w 164"/>
                <a:gd name="T19" fmla="*/ 36 h 103"/>
                <a:gd name="T20" fmla="*/ 51 w 164"/>
                <a:gd name="T21" fmla="*/ 34 h 103"/>
                <a:gd name="T22" fmla="*/ 58 w 164"/>
                <a:gd name="T23" fmla="*/ 36 h 103"/>
                <a:gd name="T24" fmla="*/ 65 w 164"/>
                <a:gd name="T25" fmla="*/ 40 h 103"/>
                <a:gd name="T26" fmla="*/ 74 w 164"/>
                <a:gd name="T27" fmla="*/ 36 h 103"/>
                <a:gd name="T28" fmla="*/ 81 w 164"/>
                <a:gd name="T29" fmla="*/ 38 h 103"/>
                <a:gd name="T30" fmla="*/ 89 w 164"/>
                <a:gd name="T31" fmla="*/ 40 h 103"/>
                <a:gd name="T32" fmla="*/ 96 w 164"/>
                <a:gd name="T33" fmla="*/ 40 h 103"/>
                <a:gd name="T34" fmla="*/ 105 w 164"/>
                <a:gd name="T35" fmla="*/ 40 h 103"/>
                <a:gd name="T36" fmla="*/ 121 w 164"/>
                <a:gd name="T37" fmla="*/ 38 h 103"/>
                <a:gd name="T38" fmla="*/ 128 w 164"/>
                <a:gd name="T39" fmla="*/ 49 h 103"/>
                <a:gd name="T40" fmla="*/ 130 w 164"/>
                <a:gd name="T41" fmla="*/ 58 h 103"/>
                <a:gd name="T42" fmla="*/ 137 w 164"/>
                <a:gd name="T43" fmla="*/ 56 h 103"/>
                <a:gd name="T44" fmla="*/ 150 w 164"/>
                <a:gd name="T45" fmla="*/ 61 h 103"/>
                <a:gd name="T46" fmla="*/ 155 w 164"/>
                <a:gd name="T47" fmla="*/ 74 h 103"/>
                <a:gd name="T48" fmla="*/ 157 w 164"/>
                <a:gd name="T49" fmla="*/ 81 h 103"/>
                <a:gd name="T50" fmla="*/ 159 w 164"/>
                <a:gd name="T51" fmla="*/ 90 h 103"/>
                <a:gd name="T52" fmla="*/ 148 w 164"/>
                <a:gd name="T53" fmla="*/ 85 h 103"/>
                <a:gd name="T54" fmla="*/ 137 w 164"/>
                <a:gd name="T55" fmla="*/ 90 h 103"/>
                <a:gd name="T56" fmla="*/ 137 w 164"/>
                <a:gd name="T57" fmla="*/ 85 h 103"/>
                <a:gd name="T58" fmla="*/ 123 w 164"/>
                <a:gd name="T59" fmla="*/ 88 h 103"/>
                <a:gd name="T60" fmla="*/ 107 w 164"/>
                <a:gd name="T61" fmla="*/ 99 h 103"/>
                <a:gd name="T62" fmla="*/ 94 w 164"/>
                <a:gd name="T63" fmla="*/ 97 h 103"/>
                <a:gd name="T64" fmla="*/ 92 w 164"/>
                <a:gd name="T65" fmla="*/ 81 h 103"/>
                <a:gd name="T66" fmla="*/ 89 w 164"/>
                <a:gd name="T67" fmla="*/ 74 h 103"/>
                <a:gd name="T68" fmla="*/ 83 w 164"/>
                <a:gd name="T69" fmla="*/ 65 h 103"/>
                <a:gd name="T70" fmla="*/ 74 w 164"/>
                <a:gd name="T71" fmla="*/ 63 h 103"/>
                <a:gd name="T72" fmla="*/ 69 w 164"/>
                <a:gd name="T73" fmla="*/ 63 h 103"/>
                <a:gd name="T74" fmla="*/ 65 w 164"/>
                <a:gd name="T75" fmla="*/ 72 h 103"/>
                <a:gd name="T76" fmla="*/ 65 w 164"/>
                <a:gd name="T77" fmla="*/ 76 h 103"/>
                <a:gd name="T78" fmla="*/ 67 w 164"/>
                <a:gd name="T79" fmla="*/ 81 h 103"/>
                <a:gd name="T80" fmla="*/ 60 w 164"/>
                <a:gd name="T81" fmla="*/ 83 h 103"/>
                <a:gd name="T82" fmla="*/ 51 w 164"/>
                <a:gd name="T83" fmla="*/ 83 h 103"/>
                <a:gd name="T84" fmla="*/ 51 w 164"/>
                <a:gd name="T85" fmla="*/ 88 h 103"/>
                <a:gd name="T86" fmla="*/ 47 w 164"/>
                <a:gd name="T87" fmla="*/ 92 h 103"/>
                <a:gd name="T88" fmla="*/ 42 w 164"/>
                <a:gd name="T89" fmla="*/ 90 h 103"/>
                <a:gd name="T90" fmla="*/ 38 w 164"/>
                <a:gd name="T91" fmla="*/ 90 h 103"/>
                <a:gd name="T92" fmla="*/ 31 w 164"/>
                <a:gd name="T93" fmla="*/ 94 h 103"/>
                <a:gd name="T94" fmla="*/ 27 w 164"/>
                <a:gd name="T95" fmla="*/ 97 h 103"/>
                <a:gd name="T96" fmla="*/ 20 w 164"/>
                <a:gd name="T97" fmla="*/ 88 h 103"/>
                <a:gd name="T98" fmla="*/ 24 w 164"/>
                <a:gd name="T99" fmla="*/ 72 h 103"/>
                <a:gd name="T100" fmla="*/ 18 w 164"/>
                <a:gd name="T101" fmla="*/ 58 h 103"/>
                <a:gd name="T102" fmla="*/ 18 w 164"/>
                <a:gd name="T103" fmla="*/ 52 h 103"/>
                <a:gd name="T104" fmla="*/ 11 w 164"/>
                <a:gd name="T105" fmla="*/ 49 h 103"/>
                <a:gd name="T106" fmla="*/ 0 w 164"/>
                <a:gd name="T107" fmla="*/ 45 h 103"/>
                <a:gd name="T108" fmla="*/ 0 w 164"/>
                <a:gd name="T109" fmla="*/ 36 h 103"/>
                <a:gd name="T110" fmla="*/ 20 w 164"/>
                <a:gd name="T111" fmla="*/ 34 h 103"/>
                <a:gd name="T112" fmla="*/ 22 w 164"/>
                <a:gd name="T113" fmla="*/ 27 h 103"/>
                <a:gd name="T114" fmla="*/ 22 w 164"/>
                <a:gd name="T115" fmla="*/ 25 h 103"/>
                <a:gd name="T116" fmla="*/ 22 w 164"/>
                <a:gd name="T117" fmla="*/ 20 h 103"/>
                <a:gd name="T118" fmla="*/ 27 w 164"/>
                <a:gd name="T119" fmla="*/ 11 h 103"/>
                <a:gd name="T120" fmla="*/ 33 w 164"/>
                <a:gd name="T121" fmla="*/ 9 h 103"/>
                <a:gd name="T122" fmla="*/ 47 w 164"/>
                <a:gd name="T12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4" h="103">
                  <a:moveTo>
                    <a:pt x="58" y="29"/>
                  </a:move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8" y="29"/>
                  </a:lnTo>
                  <a:close/>
                  <a:moveTo>
                    <a:pt x="51" y="2"/>
                  </a:moveTo>
                  <a:lnTo>
                    <a:pt x="51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2"/>
                  </a:lnTo>
                  <a:close/>
                  <a:moveTo>
                    <a:pt x="49" y="2"/>
                  </a:move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8"/>
                  </a:lnTo>
                  <a:lnTo>
                    <a:pt x="51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60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4" y="25"/>
                  </a:lnTo>
                  <a:lnTo>
                    <a:pt x="54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7" y="22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7" y="43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2" y="40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3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98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6" y="38"/>
                  </a:lnTo>
                  <a:lnTo>
                    <a:pt x="116" y="38"/>
                  </a:lnTo>
                  <a:lnTo>
                    <a:pt x="119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1" y="45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3" y="47"/>
                  </a:lnTo>
                  <a:lnTo>
                    <a:pt x="123" y="47"/>
                  </a:lnTo>
                  <a:lnTo>
                    <a:pt x="123" y="47"/>
                  </a:lnTo>
                  <a:lnTo>
                    <a:pt x="125" y="47"/>
                  </a:lnTo>
                  <a:lnTo>
                    <a:pt x="125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5" y="49"/>
                  </a:lnTo>
                  <a:lnTo>
                    <a:pt x="125" y="49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8" y="54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41" y="58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7"/>
                  </a:lnTo>
                  <a:lnTo>
                    <a:pt x="152" y="70"/>
                  </a:lnTo>
                  <a:lnTo>
                    <a:pt x="152" y="72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7" y="76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81"/>
                  </a:lnTo>
                  <a:lnTo>
                    <a:pt x="157" y="81"/>
                  </a:lnTo>
                  <a:lnTo>
                    <a:pt x="157" y="81"/>
                  </a:lnTo>
                  <a:lnTo>
                    <a:pt x="157" y="81"/>
                  </a:lnTo>
                  <a:lnTo>
                    <a:pt x="157" y="81"/>
                  </a:lnTo>
                  <a:lnTo>
                    <a:pt x="157" y="83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1" y="85"/>
                  </a:lnTo>
                  <a:lnTo>
                    <a:pt x="161" y="85"/>
                  </a:lnTo>
                  <a:lnTo>
                    <a:pt x="164" y="85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1" y="88"/>
                  </a:lnTo>
                  <a:lnTo>
                    <a:pt x="161" y="88"/>
                  </a:lnTo>
                  <a:lnTo>
                    <a:pt x="164" y="88"/>
                  </a:lnTo>
                  <a:lnTo>
                    <a:pt x="161" y="88"/>
                  </a:lnTo>
                  <a:lnTo>
                    <a:pt x="161" y="90"/>
                  </a:lnTo>
                  <a:lnTo>
                    <a:pt x="161" y="90"/>
                  </a:lnTo>
                  <a:lnTo>
                    <a:pt x="159" y="90"/>
                  </a:lnTo>
                  <a:lnTo>
                    <a:pt x="159" y="90"/>
                  </a:lnTo>
                  <a:lnTo>
                    <a:pt x="159" y="90"/>
                  </a:lnTo>
                  <a:lnTo>
                    <a:pt x="159" y="90"/>
                  </a:lnTo>
                  <a:lnTo>
                    <a:pt x="159" y="90"/>
                  </a:lnTo>
                  <a:lnTo>
                    <a:pt x="159" y="90"/>
                  </a:lnTo>
                  <a:lnTo>
                    <a:pt x="157" y="90"/>
                  </a:lnTo>
                  <a:lnTo>
                    <a:pt x="157" y="88"/>
                  </a:lnTo>
                  <a:lnTo>
                    <a:pt x="155" y="88"/>
                  </a:lnTo>
                  <a:lnTo>
                    <a:pt x="152" y="88"/>
                  </a:lnTo>
                  <a:lnTo>
                    <a:pt x="152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48" y="85"/>
                  </a:lnTo>
                  <a:lnTo>
                    <a:pt x="148" y="88"/>
                  </a:lnTo>
                  <a:lnTo>
                    <a:pt x="146" y="88"/>
                  </a:lnTo>
                  <a:lnTo>
                    <a:pt x="146" y="85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3" y="88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7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7" y="85"/>
                  </a:lnTo>
                  <a:lnTo>
                    <a:pt x="137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2" y="85"/>
                  </a:lnTo>
                  <a:lnTo>
                    <a:pt x="130" y="85"/>
                  </a:lnTo>
                  <a:lnTo>
                    <a:pt x="130" y="85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8" y="85"/>
                  </a:lnTo>
                  <a:lnTo>
                    <a:pt x="125" y="85"/>
                  </a:lnTo>
                  <a:lnTo>
                    <a:pt x="125" y="85"/>
                  </a:lnTo>
                  <a:lnTo>
                    <a:pt x="125" y="85"/>
                  </a:lnTo>
                  <a:lnTo>
                    <a:pt x="125" y="85"/>
                  </a:lnTo>
                  <a:lnTo>
                    <a:pt x="125" y="85"/>
                  </a:lnTo>
                  <a:lnTo>
                    <a:pt x="125" y="85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1" y="88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07" y="99"/>
                  </a:lnTo>
                  <a:lnTo>
                    <a:pt x="107" y="99"/>
                  </a:lnTo>
                  <a:lnTo>
                    <a:pt x="107" y="99"/>
                  </a:lnTo>
                  <a:lnTo>
                    <a:pt x="107" y="99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7"/>
                  </a:lnTo>
                  <a:lnTo>
                    <a:pt x="94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92" y="85"/>
                  </a:lnTo>
                  <a:lnTo>
                    <a:pt x="92" y="83"/>
                  </a:lnTo>
                  <a:lnTo>
                    <a:pt x="89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7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5" y="72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4"/>
                  </a:lnTo>
                  <a:lnTo>
                    <a:pt x="33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8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1"/>
                  </a:lnTo>
                  <a:lnTo>
                    <a:pt x="22" y="81"/>
                  </a:lnTo>
                  <a:lnTo>
                    <a:pt x="22" y="79"/>
                  </a:lnTo>
                  <a:lnTo>
                    <a:pt x="22" y="76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7" y="70"/>
                  </a:lnTo>
                  <a:lnTo>
                    <a:pt x="27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8" y="56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2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11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7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31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485"/>
            <p:cNvSpPr>
              <a:spLocks noEditPoints="1"/>
            </p:cNvSpPr>
            <p:nvPr/>
          </p:nvSpPr>
          <p:spPr bwMode="auto">
            <a:xfrm>
              <a:off x="9692430" y="2961226"/>
              <a:ext cx="120343" cy="135385"/>
            </a:xfrm>
            <a:custGeom>
              <a:avLst/>
              <a:gdLst>
                <a:gd name="T0" fmla="*/ 2 w 72"/>
                <a:gd name="T1" fmla="*/ 21 h 81"/>
                <a:gd name="T2" fmla="*/ 0 w 72"/>
                <a:gd name="T3" fmla="*/ 21 h 81"/>
                <a:gd name="T4" fmla="*/ 0 w 72"/>
                <a:gd name="T5" fmla="*/ 21 h 81"/>
                <a:gd name="T6" fmla="*/ 2 w 72"/>
                <a:gd name="T7" fmla="*/ 18 h 81"/>
                <a:gd name="T8" fmla="*/ 65 w 72"/>
                <a:gd name="T9" fmla="*/ 3 h 81"/>
                <a:gd name="T10" fmla="*/ 65 w 72"/>
                <a:gd name="T11" fmla="*/ 3 h 81"/>
                <a:gd name="T12" fmla="*/ 69 w 72"/>
                <a:gd name="T13" fmla="*/ 5 h 81"/>
                <a:gd name="T14" fmla="*/ 72 w 72"/>
                <a:gd name="T15" fmla="*/ 7 h 81"/>
                <a:gd name="T16" fmla="*/ 69 w 72"/>
                <a:gd name="T17" fmla="*/ 9 h 81"/>
                <a:gd name="T18" fmla="*/ 72 w 72"/>
                <a:gd name="T19" fmla="*/ 14 h 81"/>
                <a:gd name="T20" fmla="*/ 72 w 72"/>
                <a:gd name="T21" fmla="*/ 16 h 81"/>
                <a:gd name="T22" fmla="*/ 72 w 72"/>
                <a:gd name="T23" fmla="*/ 18 h 81"/>
                <a:gd name="T24" fmla="*/ 72 w 72"/>
                <a:gd name="T25" fmla="*/ 21 h 81"/>
                <a:gd name="T26" fmla="*/ 72 w 72"/>
                <a:gd name="T27" fmla="*/ 23 h 81"/>
                <a:gd name="T28" fmla="*/ 72 w 72"/>
                <a:gd name="T29" fmla="*/ 23 h 81"/>
                <a:gd name="T30" fmla="*/ 69 w 72"/>
                <a:gd name="T31" fmla="*/ 25 h 81"/>
                <a:gd name="T32" fmla="*/ 69 w 72"/>
                <a:gd name="T33" fmla="*/ 30 h 81"/>
                <a:gd name="T34" fmla="*/ 69 w 72"/>
                <a:gd name="T35" fmla="*/ 32 h 81"/>
                <a:gd name="T36" fmla="*/ 69 w 72"/>
                <a:gd name="T37" fmla="*/ 45 h 81"/>
                <a:gd name="T38" fmla="*/ 69 w 72"/>
                <a:gd name="T39" fmla="*/ 50 h 81"/>
                <a:gd name="T40" fmla="*/ 69 w 72"/>
                <a:gd name="T41" fmla="*/ 54 h 81"/>
                <a:gd name="T42" fmla="*/ 67 w 72"/>
                <a:gd name="T43" fmla="*/ 59 h 81"/>
                <a:gd name="T44" fmla="*/ 65 w 72"/>
                <a:gd name="T45" fmla="*/ 61 h 81"/>
                <a:gd name="T46" fmla="*/ 63 w 72"/>
                <a:gd name="T47" fmla="*/ 66 h 81"/>
                <a:gd name="T48" fmla="*/ 65 w 72"/>
                <a:gd name="T49" fmla="*/ 77 h 81"/>
                <a:gd name="T50" fmla="*/ 63 w 72"/>
                <a:gd name="T51" fmla="*/ 79 h 81"/>
                <a:gd name="T52" fmla="*/ 60 w 72"/>
                <a:gd name="T53" fmla="*/ 79 h 81"/>
                <a:gd name="T54" fmla="*/ 60 w 72"/>
                <a:gd name="T55" fmla="*/ 77 h 81"/>
                <a:gd name="T56" fmla="*/ 56 w 72"/>
                <a:gd name="T57" fmla="*/ 70 h 81"/>
                <a:gd name="T58" fmla="*/ 54 w 72"/>
                <a:gd name="T59" fmla="*/ 68 h 81"/>
                <a:gd name="T60" fmla="*/ 51 w 72"/>
                <a:gd name="T61" fmla="*/ 66 h 81"/>
                <a:gd name="T62" fmla="*/ 49 w 72"/>
                <a:gd name="T63" fmla="*/ 63 h 81"/>
                <a:gd name="T64" fmla="*/ 47 w 72"/>
                <a:gd name="T65" fmla="*/ 61 h 81"/>
                <a:gd name="T66" fmla="*/ 47 w 72"/>
                <a:gd name="T67" fmla="*/ 59 h 81"/>
                <a:gd name="T68" fmla="*/ 45 w 72"/>
                <a:gd name="T69" fmla="*/ 54 h 81"/>
                <a:gd name="T70" fmla="*/ 45 w 72"/>
                <a:gd name="T71" fmla="*/ 54 h 81"/>
                <a:gd name="T72" fmla="*/ 42 w 72"/>
                <a:gd name="T73" fmla="*/ 52 h 81"/>
                <a:gd name="T74" fmla="*/ 42 w 72"/>
                <a:gd name="T75" fmla="*/ 52 h 81"/>
                <a:gd name="T76" fmla="*/ 42 w 72"/>
                <a:gd name="T77" fmla="*/ 52 h 81"/>
                <a:gd name="T78" fmla="*/ 42 w 72"/>
                <a:gd name="T79" fmla="*/ 50 h 81"/>
                <a:gd name="T80" fmla="*/ 42 w 72"/>
                <a:gd name="T81" fmla="*/ 48 h 81"/>
                <a:gd name="T82" fmla="*/ 42 w 72"/>
                <a:gd name="T83" fmla="*/ 48 h 81"/>
                <a:gd name="T84" fmla="*/ 42 w 72"/>
                <a:gd name="T85" fmla="*/ 45 h 81"/>
                <a:gd name="T86" fmla="*/ 42 w 72"/>
                <a:gd name="T87" fmla="*/ 43 h 81"/>
                <a:gd name="T88" fmla="*/ 40 w 72"/>
                <a:gd name="T89" fmla="*/ 41 h 81"/>
                <a:gd name="T90" fmla="*/ 42 w 72"/>
                <a:gd name="T91" fmla="*/ 36 h 81"/>
                <a:gd name="T92" fmla="*/ 42 w 72"/>
                <a:gd name="T93" fmla="*/ 34 h 81"/>
                <a:gd name="T94" fmla="*/ 45 w 72"/>
                <a:gd name="T95" fmla="*/ 30 h 81"/>
                <a:gd name="T96" fmla="*/ 45 w 72"/>
                <a:gd name="T97" fmla="*/ 27 h 81"/>
                <a:gd name="T98" fmla="*/ 45 w 72"/>
                <a:gd name="T99" fmla="*/ 25 h 81"/>
                <a:gd name="T100" fmla="*/ 47 w 72"/>
                <a:gd name="T101" fmla="*/ 18 h 81"/>
                <a:gd name="T102" fmla="*/ 49 w 72"/>
                <a:gd name="T103" fmla="*/ 16 h 81"/>
                <a:gd name="T104" fmla="*/ 51 w 72"/>
                <a:gd name="T105" fmla="*/ 14 h 81"/>
                <a:gd name="T106" fmla="*/ 51 w 72"/>
                <a:gd name="T107" fmla="*/ 12 h 81"/>
                <a:gd name="T108" fmla="*/ 51 w 72"/>
                <a:gd name="T109" fmla="*/ 9 h 81"/>
                <a:gd name="T110" fmla="*/ 51 w 72"/>
                <a:gd name="T111" fmla="*/ 9 h 81"/>
                <a:gd name="T112" fmla="*/ 56 w 72"/>
                <a:gd name="T113" fmla="*/ 5 h 81"/>
                <a:gd name="T114" fmla="*/ 58 w 72"/>
                <a:gd name="T115" fmla="*/ 3 h 81"/>
                <a:gd name="T116" fmla="*/ 60 w 72"/>
                <a:gd name="T117" fmla="*/ 3 h 81"/>
                <a:gd name="T118" fmla="*/ 60 w 72"/>
                <a:gd name="T119" fmla="*/ 0 h 81"/>
                <a:gd name="T120" fmla="*/ 65 w 72"/>
                <a:gd name="T121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2" h="81">
                  <a:moveTo>
                    <a:pt x="2" y="18"/>
                  </a:move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close/>
                  <a:moveTo>
                    <a:pt x="65" y="0"/>
                  </a:move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7" y="3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2" y="5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4"/>
                  </a:lnTo>
                  <a:lnTo>
                    <a:pt x="72" y="14"/>
                  </a:lnTo>
                  <a:lnTo>
                    <a:pt x="69" y="14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5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5" y="61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5" y="81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49" y="63"/>
                  </a:lnTo>
                  <a:lnTo>
                    <a:pt x="51" y="66"/>
                  </a:lnTo>
                  <a:lnTo>
                    <a:pt x="49" y="66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7" y="63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8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2" y="39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3"/>
                  </a:lnTo>
                  <a:lnTo>
                    <a:pt x="47" y="23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51" y="14"/>
                  </a:lnTo>
                  <a:lnTo>
                    <a:pt x="49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4" y="7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58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486"/>
            <p:cNvSpPr>
              <a:spLocks/>
            </p:cNvSpPr>
            <p:nvPr/>
          </p:nvSpPr>
          <p:spPr bwMode="auto">
            <a:xfrm>
              <a:off x="6822592" y="2481527"/>
              <a:ext cx="210600" cy="198899"/>
            </a:xfrm>
            <a:custGeom>
              <a:avLst/>
              <a:gdLst>
                <a:gd name="T0" fmla="*/ 126 w 126"/>
                <a:gd name="T1" fmla="*/ 2 h 119"/>
                <a:gd name="T2" fmla="*/ 126 w 126"/>
                <a:gd name="T3" fmla="*/ 6 h 119"/>
                <a:gd name="T4" fmla="*/ 117 w 126"/>
                <a:gd name="T5" fmla="*/ 18 h 119"/>
                <a:gd name="T6" fmla="*/ 108 w 126"/>
                <a:gd name="T7" fmla="*/ 24 h 119"/>
                <a:gd name="T8" fmla="*/ 113 w 126"/>
                <a:gd name="T9" fmla="*/ 40 h 119"/>
                <a:gd name="T10" fmla="*/ 110 w 126"/>
                <a:gd name="T11" fmla="*/ 51 h 119"/>
                <a:gd name="T12" fmla="*/ 104 w 126"/>
                <a:gd name="T13" fmla="*/ 72 h 119"/>
                <a:gd name="T14" fmla="*/ 83 w 126"/>
                <a:gd name="T15" fmla="*/ 85 h 119"/>
                <a:gd name="T16" fmla="*/ 54 w 126"/>
                <a:gd name="T17" fmla="*/ 103 h 119"/>
                <a:gd name="T18" fmla="*/ 38 w 126"/>
                <a:gd name="T19" fmla="*/ 114 h 119"/>
                <a:gd name="T20" fmla="*/ 25 w 126"/>
                <a:gd name="T21" fmla="*/ 119 h 119"/>
                <a:gd name="T22" fmla="*/ 18 w 126"/>
                <a:gd name="T23" fmla="*/ 114 h 119"/>
                <a:gd name="T24" fmla="*/ 16 w 126"/>
                <a:gd name="T25" fmla="*/ 112 h 119"/>
                <a:gd name="T26" fmla="*/ 14 w 126"/>
                <a:gd name="T27" fmla="*/ 110 h 119"/>
                <a:gd name="T28" fmla="*/ 9 w 126"/>
                <a:gd name="T29" fmla="*/ 110 h 119"/>
                <a:gd name="T30" fmla="*/ 12 w 126"/>
                <a:gd name="T31" fmla="*/ 108 h 119"/>
                <a:gd name="T32" fmla="*/ 9 w 126"/>
                <a:gd name="T33" fmla="*/ 101 h 119"/>
                <a:gd name="T34" fmla="*/ 9 w 126"/>
                <a:gd name="T35" fmla="*/ 96 h 119"/>
                <a:gd name="T36" fmla="*/ 9 w 126"/>
                <a:gd name="T37" fmla="*/ 94 h 119"/>
                <a:gd name="T38" fmla="*/ 14 w 126"/>
                <a:gd name="T39" fmla="*/ 90 h 119"/>
                <a:gd name="T40" fmla="*/ 12 w 126"/>
                <a:gd name="T41" fmla="*/ 87 h 119"/>
                <a:gd name="T42" fmla="*/ 12 w 126"/>
                <a:gd name="T43" fmla="*/ 85 h 119"/>
                <a:gd name="T44" fmla="*/ 16 w 126"/>
                <a:gd name="T45" fmla="*/ 83 h 119"/>
                <a:gd name="T46" fmla="*/ 18 w 126"/>
                <a:gd name="T47" fmla="*/ 83 h 119"/>
                <a:gd name="T48" fmla="*/ 18 w 126"/>
                <a:gd name="T49" fmla="*/ 78 h 119"/>
                <a:gd name="T50" fmla="*/ 21 w 126"/>
                <a:gd name="T51" fmla="*/ 76 h 119"/>
                <a:gd name="T52" fmla="*/ 21 w 126"/>
                <a:gd name="T53" fmla="*/ 72 h 119"/>
                <a:gd name="T54" fmla="*/ 21 w 126"/>
                <a:gd name="T55" fmla="*/ 69 h 119"/>
                <a:gd name="T56" fmla="*/ 18 w 126"/>
                <a:gd name="T57" fmla="*/ 69 h 119"/>
                <a:gd name="T58" fmla="*/ 16 w 126"/>
                <a:gd name="T59" fmla="*/ 67 h 119"/>
                <a:gd name="T60" fmla="*/ 18 w 126"/>
                <a:gd name="T61" fmla="*/ 65 h 119"/>
                <a:gd name="T62" fmla="*/ 14 w 126"/>
                <a:gd name="T63" fmla="*/ 63 h 119"/>
                <a:gd name="T64" fmla="*/ 12 w 126"/>
                <a:gd name="T65" fmla="*/ 65 h 119"/>
                <a:gd name="T66" fmla="*/ 9 w 126"/>
                <a:gd name="T67" fmla="*/ 65 h 119"/>
                <a:gd name="T68" fmla="*/ 7 w 126"/>
                <a:gd name="T69" fmla="*/ 58 h 119"/>
                <a:gd name="T70" fmla="*/ 5 w 126"/>
                <a:gd name="T71" fmla="*/ 56 h 119"/>
                <a:gd name="T72" fmla="*/ 5 w 126"/>
                <a:gd name="T73" fmla="*/ 54 h 119"/>
                <a:gd name="T74" fmla="*/ 5 w 126"/>
                <a:gd name="T75" fmla="*/ 45 h 119"/>
                <a:gd name="T76" fmla="*/ 3 w 126"/>
                <a:gd name="T77" fmla="*/ 42 h 119"/>
                <a:gd name="T78" fmla="*/ 0 w 126"/>
                <a:gd name="T79" fmla="*/ 42 h 119"/>
                <a:gd name="T80" fmla="*/ 3 w 126"/>
                <a:gd name="T81" fmla="*/ 38 h 119"/>
                <a:gd name="T82" fmla="*/ 3 w 126"/>
                <a:gd name="T83" fmla="*/ 36 h 119"/>
                <a:gd name="T84" fmla="*/ 5 w 126"/>
                <a:gd name="T85" fmla="*/ 36 h 119"/>
                <a:gd name="T86" fmla="*/ 9 w 126"/>
                <a:gd name="T87" fmla="*/ 33 h 119"/>
                <a:gd name="T88" fmla="*/ 12 w 126"/>
                <a:gd name="T89" fmla="*/ 29 h 119"/>
                <a:gd name="T90" fmla="*/ 14 w 126"/>
                <a:gd name="T91" fmla="*/ 27 h 119"/>
                <a:gd name="T92" fmla="*/ 16 w 126"/>
                <a:gd name="T93" fmla="*/ 27 h 119"/>
                <a:gd name="T94" fmla="*/ 16 w 126"/>
                <a:gd name="T95" fmla="*/ 24 h 119"/>
                <a:gd name="T96" fmla="*/ 16 w 126"/>
                <a:gd name="T97" fmla="*/ 22 h 119"/>
                <a:gd name="T98" fmla="*/ 14 w 126"/>
                <a:gd name="T99" fmla="*/ 15 h 119"/>
                <a:gd name="T100" fmla="*/ 21 w 126"/>
                <a:gd name="T101" fmla="*/ 13 h 119"/>
                <a:gd name="T102" fmla="*/ 23 w 126"/>
                <a:gd name="T103" fmla="*/ 18 h 119"/>
                <a:gd name="T104" fmla="*/ 27 w 126"/>
                <a:gd name="T105" fmla="*/ 15 h 119"/>
                <a:gd name="T106" fmla="*/ 45 w 126"/>
                <a:gd name="T107" fmla="*/ 11 h 119"/>
                <a:gd name="T108" fmla="*/ 65 w 126"/>
                <a:gd name="T109" fmla="*/ 15 h 119"/>
                <a:gd name="T110" fmla="*/ 90 w 126"/>
                <a:gd name="T111" fmla="*/ 9 h 119"/>
                <a:gd name="T112" fmla="*/ 110 w 126"/>
                <a:gd name="T113" fmla="*/ 6 h 119"/>
                <a:gd name="T114" fmla="*/ 124 w 126"/>
                <a:gd name="T115" fmla="*/ 2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6" h="119">
                  <a:moveTo>
                    <a:pt x="124" y="2"/>
                  </a:move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6" y="6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4" y="11"/>
                  </a:lnTo>
                  <a:lnTo>
                    <a:pt x="122" y="15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3" y="42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7"/>
                  </a:lnTo>
                  <a:lnTo>
                    <a:pt x="110" y="49"/>
                  </a:lnTo>
                  <a:lnTo>
                    <a:pt x="110" y="51"/>
                  </a:lnTo>
                  <a:lnTo>
                    <a:pt x="110" y="56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4" y="72"/>
                  </a:lnTo>
                  <a:lnTo>
                    <a:pt x="101" y="74"/>
                  </a:lnTo>
                  <a:lnTo>
                    <a:pt x="99" y="74"/>
                  </a:lnTo>
                  <a:lnTo>
                    <a:pt x="97" y="76"/>
                  </a:lnTo>
                  <a:lnTo>
                    <a:pt x="95" y="78"/>
                  </a:lnTo>
                  <a:lnTo>
                    <a:pt x="92" y="78"/>
                  </a:lnTo>
                  <a:lnTo>
                    <a:pt x="90" y="81"/>
                  </a:lnTo>
                  <a:lnTo>
                    <a:pt x="88" y="81"/>
                  </a:lnTo>
                  <a:lnTo>
                    <a:pt x="86" y="83"/>
                  </a:lnTo>
                  <a:lnTo>
                    <a:pt x="83" y="83"/>
                  </a:lnTo>
                  <a:lnTo>
                    <a:pt x="83" y="85"/>
                  </a:lnTo>
                  <a:lnTo>
                    <a:pt x="81" y="87"/>
                  </a:lnTo>
                  <a:lnTo>
                    <a:pt x="79" y="87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2" y="92"/>
                  </a:lnTo>
                  <a:lnTo>
                    <a:pt x="70" y="94"/>
                  </a:lnTo>
                  <a:lnTo>
                    <a:pt x="68" y="94"/>
                  </a:lnTo>
                  <a:lnTo>
                    <a:pt x="63" y="96"/>
                  </a:lnTo>
                  <a:lnTo>
                    <a:pt x="59" y="101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2" y="105"/>
                  </a:lnTo>
                  <a:lnTo>
                    <a:pt x="50" y="108"/>
                  </a:lnTo>
                  <a:lnTo>
                    <a:pt x="45" y="110"/>
                  </a:lnTo>
                  <a:lnTo>
                    <a:pt x="43" y="112"/>
                  </a:lnTo>
                  <a:lnTo>
                    <a:pt x="41" y="114"/>
                  </a:lnTo>
                  <a:lnTo>
                    <a:pt x="38" y="114"/>
                  </a:lnTo>
                  <a:lnTo>
                    <a:pt x="38" y="114"/>
                  </a:lnTo>
                  <a:lnTo>
                    <a:pt x="38" y="114"/>
                  </a:lnTo>
                  <a:lnTo>
                    <a:pt x="38" y="114"/>
                  </a:lnTo>
                  <a:lnTo>
                    <a:pt x="34" y="117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1"/>
                  </a:lnTo>
                  <a:lnTo>
                    <a:pt x="12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3" y="76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7" y="58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8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3" y="15"/>
                  </a:lnTo>
                  <a:lnTo>
                    <a:pt x="65" y="15"/>
                  </a:lnTo>
                  <a:lnTo>
                    <a:pt x="68" y="15"/>
                  </a:lnTo>
                  <a:lnTo>
                    <a:pt x="77" y="13"/>
                  </a:lnTo>
                  <a:lnTo>
                    <a:pt x="81" y="13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6" y="11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6"/>
                  </a:lnTo>
                  <a:lnTo>
                    <a:pt x="92" y="6"/>
                  </a:lnTo>
                  <a:lnTo>
                    <a:pt x="95" y="6"/>
                  </a:lnTo>
                  <a:lnTo>
                    <a:pt x="97" y="4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10" y="6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0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Freeform 487"/>
            <p:cNvSpPr>
              <a:spLocks/>
            </p:cNvSpPr>
            <p:nvPr/>
          </p:nvSpPr>
          <p:spPr bwMode="auto">
            <a:xfrm>
              <a:off x="5831438" y="2072028"/>
              <a:ext cx="138729" cy="73543"/>
            </a:xfrm>
            <a:custGeom>
              <a:avLst/>
              <a:gdLst>
                <a:gd name="T0" fmla="*/ 50 w 83"/>
                <a:gd name="T1" fmla="*/ 0 h 44"/>
                <a:gd name="T2" fmla="*/ 50 w 83"/>
                <a:gd name="T3" fmla="*/ 2 h 44"/>
                <a:gd name="T4" fmla="*/ 54 w 83"/>
                <a:gd name="T5" fmla="*/ 2 h 44"/>
                <a:gd name="T6" fmla="*/ 68 w 83"/>
                <a:gd name="T7" fmla="*/ 9 h 44"/>
                <a:gd name="T8" fmla="*/ 65 w 83"/>
                <a:gd name="T9" fmla="*/ 15 h 44"/>
                <a:gd name="T10" fmla="*/ 68 w 83"/>
                <a:gd name="T11" fmla="*/ 15 h 44"/>
                <a:gd name="T12" fmla="*/ 72 w 83"/>
                <a:gd name="T13" fmla="*/ 20 h 44"/>
                <a:gd name="T14" fmla="*/ 79 w 83"/>
                <a:gd name="T15" fmla="*/ 20 h 44"/>
                <a:gd name="T16" fmla="*/ 81 w 83"/>
                <a:gd name="T17" fmla="*/ 18 h 44"/>
                <a:gd name="T18" fmla="*/ 81 w 83"/>
                <a:gd name="T19" fmla="*/ 22 h 44"/>
                <a:gd name="T20" fmla="*/ 81 w 83"/>
                <a:gd name="T21" fmla="*/ 26 h 44"/>
                <a:gd name="T22" fmla="*/ 79 w 83"/>
                <a:gd name="T23" fmla="*/ 29 h 44"/>
                <a:gd name="T24" fmla="*/ 77 w 83"/>
                <a:gd name="T25" fmla="*/ 29 h 44"/>
                <a:gd name="T26" fmla="*/ 74 w 83"/>
                <a:gd name="T27" fmla="*/ 31 h 44"/>
                <a:gd name="T28" fmla="*/ 77 w 83"/>
                <a:gd name="T29" fmla="*/ 33 h 44"/>
                <a:gd name="T30" fmla="*/ 74 w 83"/>
                <a:gd name="T31" fmla="*/ 33 h 44"/>
                <a:gd name="T32" fmla="*/ 70 w 83"/>
                <a:gd name="T33" fmla="*/ 33 h 44"/>
                <a:gd name="T34" fmla="*/ 65 w 83"/>
                <a:gd name="T35" fmla="*/ 31 h 44"/>
                <a:gd name="T36" fmla="*/ 63 w 83"/>
                <a:gd name="T37" fmla="*/ 29 h 44"/>
                <a:gd name="T38" fmla="*/ 61 w 83"/>
                <a:gd name="T39" fmla="*/ 33 h 44"/>
                <a:gd name="T40" fmla="*/ 59 w 83"/>
                <a:gd name="T41" fmla="*/ 38 h 44"/>
                <a:gd name="T42" fmla="*/ 56 w 83"/>
                <a:gd name="T43" fmla="*/ 42 h 44"/>
                <a:gd name="T44" fmla="*/ 56 w 83"/>
                <a:gd name="T45" fmla="*/ 44 h 44"/>
                <a:gd name="T46" fmla="*/ 54 w 83"/>
                <a:gd name="T47" fmla="*/ 42 h 44"/>
                <a:gd name="T48" fmla="*/ 52 w 83"/>
                <a:gd name="T49" fmla="*/ 38 h 44"/>
                <a:gd name="T50" fmla="*/ 50 w 83"/>
                <a:gd name="T51" fmla="*/ 38 h 44"/>
                <a:gd name="T52" fmla="*/ 45 w 83"/>
                <a:gd name="T53" fmla="*/ 31 h 44"/>
                <a:gd name="T54" fmla="*/ 43 w 83"/>
                <a:gd name="T55" fmla="*/ 33 h 44"/>
                <a:gd name="T56" fmla="*/ 41 w 83"/>
                <a:gd name="T57" fmla="*/ 38 h 44"/>
                <a:gd name="T58" fmla="*/ 38 w 83"/>
                <a:gd name="T59" fmla="*/ 40 h 44"/>
                <a:gd name="T60" fmla="*/ 34 w 83"/>
                <a:gd name="T61" fmla="*/ 42 h 44"/>
                <a:gd name="T62" fmla="*/ 29 w 83"/>
                <a:gd name="T63" fmla="*/ 42 h 44"/>
                <a:gd name="T64" fmla="*/ 20 w 83"/>
                <a:gd name="T65" fmla="*/ 44 h 44"/>
                <a:gd name="T66" fmla="*/ 16 w 83"/>
                <a:gd name="T67" fmla="*/ 40 h 44"/>
                <a:gd name="T68" fmla="*/ 16 w 83"/>
                <a:gd name="T69" fmla="*/ 38 h 44"/>
                <a:gd name="T70" fmla="*/ 14 w 83"/>
                <a:gd name="T71" fmla="*/ 33 h 44"/>
                <a:gd name="T72" fmla="*/ 7 w 83"/>
                <a:gd name="T73" fmla="*/ 31 h 44"/>
                <a:gd name="T74" fmla="*/ 5 w 83"/>
                <a:gd name="T75" fmla="*/ 35 h 44"/>
                <a:gd name="T76" fmla="*/ 0 w 83"/>
                <a:gd name="T77" fmla="*/ 38 h 44"/>
                <a:gd name="T78" fmla="*/ 2 w 83"/>
                <a:gd name="T79" fmla="*/ 35 h 44"/>
                <a:gd name="T80" fmla="*/ 0 w 83"/>
                <a:gd name="T81" fmla="*/ 31 h 44"/>
                <a:gd name="T82" fmla="*/ 2 w 83"/>
                <a:gd name="T83" fmla="*/ 26 h 44"/>
                <a:gd name="T84" fmla="*/ 7 w 83"/>
                <a:gd name="T85" fmla="*/ 22 h 44"/>
                <a:gd name="T86" fmla="*/ 9 w 83"/>
                <a:gd name="T87" fmla="*/ 18 h 44"/>
                <a:gd name="T88" fmla="*/ 14 w 83"/>
                <a:gd name="T89" fmla="*/ 15 h 44"/>
                <a:gd name="T90" fmla="*/ 18 w 83"/>
                <a:gd name="T91" fmla="*/ 11 h 44"/>
                <a:gd name="T92" fmla="*/ 16 w 83"/>
                <a:gd name="T93" fmla="*/ 9 h 44"/>
                <a:gd name="T94" fmla="*/ 18 w 83"/>
                <a:gd name="T95" fmla="*/ 6 h 44"/>
                <a:gd name="T96" fmla="*/ 23 w 83"/>
                <a:gd name="T97" fmla="*/ 9 h 44"/>
                <a:gd name="T98" fmla="*/ 25 w 83"/>
                <a:gd name="T99" fmla="*/ 6 h 44"/>
                <a:gd name="T100" fmla="*/ 27 w 83"/>
                <a:gd name="T101" fmla="*/ 6 h 44"/>
                <a:gd name="T102" fmla="*/ 27 w 83"/>
                <a:gd name="T103" fmla="*/ 4 h 44"/>
                <a:gd name="T104" fmla="*/ 32 w 83"/>
                <a:gd name="T105" fmla="*/ 4 h 44"/>
                <a:gd name="T106" fmla="*/ 38 w 83"/>
                <a:gd name="T107" fmla="*/ 4 h 44"/>
                <a:gd name="T108" fmla="*/ 41 w 83"/>
                <a:gd name="T109" fmla="*/ 4 h 44"/>
                <a:gd name="T110" fmla="*/ 47 w 83"/>
                <a:gd name="T111" fmla="*/ 4 h 44"/>
                <a:gd name="T112" fmla="*/ 47 w 83"/>
                <a:gd name="T113" fmla="*/ 2 h 44"/>
                <a:gd name="T114" fmla="*/ 45 w 83"/>
                <a:gd name="T115" fmla="*/ 2 h 44"/>
                <a:gd name="T116" fmla="*/ 45 w 83"/>
                <a:gd name="T117" fmla="*/ 2 h 44"/>
                <a:gd name="T118" fmla="*/ 47 w 83"/>
                <a:gd name="T11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3" h="44">
                  <a:moveTo>
                    <a:pt x="47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2"/>
                  </a:lnTo>
                  <a:lnTo>
                    <a:pt x="83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9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4" y="35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68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41" y="35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3" y="42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1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5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488"/>
            <p:cNvSpPr>
              <a:spLocks noEditPoints="1"/>
            </p:cNvSpPr>
            <p:nvPr/>
          </p:nvSpPr>
          <p:spPr bwMode="auto">
            <a:xfrm>
              <a:off x="5960137" y="1293144"/>
              <a:ext cx="322586" cy="488056"/>
            </a:xfrm>
            <a:custGeom>
              <a:avLst/>
              <a:gdLst>
                <a:gd name="T0" fmla="*/ 98 w 193"/>
                <a:gd name="T1" fmla="*/ 265 h 292"/>
                <a:gd name="T2" fmla="*/ 134 w 193"/>
                <a:gd name="T3" fmla="*/ 236 h 292"/>
                <a:gd name="T4" fmla="*/ 134 w 193"/>
                <a:gd name="T5" fmla="*/ 245 h 292"/>
                <a:gd name="T6" fmla="*/ 125 w 193"/>
                <a:gd name="T7" fmla="*/ 254 h 292"/>
                <a:gd name="T8" fmla="*/ 132 w 193"/>
                <a:gd name="T9" fmla="*/ 236 h 292"/>
                <a:gd name="T10" fmla="*/ 9 w 193"/>
                <a:gd name="T11" fmla="*/ 234 h 292"/>
                <a:gd name="T12" fmla="*/ 11 w 193"/>
                <a:gd name="T13" fmla="*/ 227 h 292"/>
                <a:gd name="T14" fmla="*/ 166 w 193"/>
                <a:gd name="T15" fmla="*/ 72 h 292"/>
                <a:gd name="T16" fmla="*/ 177 w 193"/>
                <a:gd name="T17" fmla="*/ 27 h 292"/>
                <a:gd name="T18" fmla="*/ 186 w 193"/>
                <a:gd name="T19" fmla="*/ 47 h 292"/>
                <a:gd name="T20" fmla="*/ 188 w 193"/>
                <a:gd name="T21" fmla="*/ 65 h 292"/>
                <a:gd name="T22" fmla="*/ 175 w 193"/>
                <a:gd name="T23" fmla="*/ 65 h 292"/>
                <a:gd name="T24" fmla="*/ 164 w 193"/>
                <a:gd name="T25" fmla="*/ 68 h 292"/>
                <a:gd name="T26" fmla="*/ 161 w 193"/>
                <a:gd name="T27" fmla="*/ 72 h 292"/>
                <a:gd name="T28" fmla="*/ 155 w 193"/>
                <a:gd name="T29" fmla="*/ 77 h 292"/>
                <a:gd name="T30" fmla="*/ 150 w 193"/>
                <a:gd name="T31" fmla="*/ 83 h 292"/>
                <a:gd name="T32" fmla="*/ 152 w 193"/>
                <a:gd name="T33" fmla="*/ 90 h 292"/>
                <a:gd name="T34" fmla="*/ 157 w 193"/>
                <a:gd name="T35" fmla="*/ 95 h 292"/>
                <a:gd name="T36" fmla="*/ 146 w 193"/>
                <a:gd name="T37" fmla="*/ 108 h 292"/>
                <a:gd name="T38" fmla="*/ 134 w 193"/>
                <a:gd name="T39" fmla="*/ 112 h 292"/>
                <a:gd name="T40" fmla="*/ 123 w 193"/>
                <a:gd name="T41" fmla="*/ 117 h 292"/>
                <a:gd name="T42" fmla="*/ 116 w 193"/>
                <a:gd name="T43" fmla="*/ 121 h 292"/>
                <a:gd name="T44" fmla="*/ 114 w 193"/>
                <a:gd name="T45" fmla="*/ 126 h 292"/>
                <a:gd name="T46" fmla="*/ 105 w 193"/>
                <a:gd name="T47" fmla="*/ 128 h 292"/>
                <a:gd name="T48" fmla="*/ 107 w 193"/>
                <a:gd name="T49" fmla="*/ 133 h 292"/>
                <a:gd name="T50" fmla="*/ 98 w 193"/>
                <a:gd name="T51" fmla="*/ 139 h 292"/>
                <a:gd name="T52" fmla="*/ 96 w 193"/>
                <a:gd name="T53" fmla="*/ 151 h 292"/>
                <a:gd name="T54" fmla="*/ 94 w 193"/>
                <a:gd name="T55" fmla="*/ 155 h 292"/>
                <a:gd name="T56" fmla="*/ 96 w 193"/>
                <a:gd name="T57" fmla="*/ 162 h 292"/>
                <a:gd name="T58" fmla="*/ 98 w 193"/>
                <a:gd name="T59" fmla="*/ 173 h 292"/>
                <a:gd name="T60" fmla="*/ 119 w 193"/>
                <a:gd name="T61" fmla="*/ 182 h 292"/>
                <a:gd name="T62" fmla="*/ 128 w 193"/>
                <a:gd name="T63" fmla="*/ 189 h 292"/>
                <a:gd name="T64" fmla="*/ 125 w 193"/>
                <a:gd name="T65" fmla="*/ 198 h 292"/>
                <a:gd name="T66" fmla="*/ 112 w 193"/>
                <a:gd name="T67" fmla="*/ 200 h 292"/>
                <a:gd name="T68" fmla="*/ 105 w 193"/>
                <a:gd name="T69" fmla="*/ 198 h 292"/>
                <a:gd name="T70" fmla="*/ 103 w 193"/>
                <a:gd name="T71" fmla="*/ 198 h 292"/>
                <a:gd name="T72" fmla="*/ 92 w 193"/>
                <a:gd name="T73" fmla="*/ 198 h 292"/>
                <a:gd name="T74" fmla="*/ 96 w 193"/>
                <a:gd name="T75" fmla="*/ 202 h 292"/>
                <a:gd name="T76" fmla="*/ 112 w 193"/>
                <a:gd name="T77" fmla="*/ 207 h 292"/>
                <a:gd name="T78" fmla="*/ 123 w 193"/>
                <a:gd name="T79" fmla="*/ 205 h 292"/>
                <a:gd name="T80" fmla="*/ 119 w 193"/>
                <a:gd name="T81" fmla="*/ 209 h 292"/>
                <a:gd name="T82" fmla="*/ 112 w 193"/>
                <a:gd name="T83" fmla="*/ 209 h 292"/>
                <a:gd name="T84" fmla="*/ 105 w 193"/>
                <a:gd name="T85" fmla="*/ 218 h 292"/>
                <a:gd name="T86" fmla="*/ 94 w 193"/>
                <a:gd name="T87" fmla="*/ 220 h 292"/>
                <a:gd name="T88" fmla="*/ 96 w 193"/>
                <a:gd name="T89" fmla="*/ 227 h 292"/>
                <a:gd name="T90" fmla="*/ 96 w 193"/>
                <a:gd name="T91" fmla="*/ 234 h 292"/>
                <a:gd name="T92" fmla="*/ 94 w 193"/>
                <a:gd name="T93" fmla="*/ 236 h 292"/>
                <a:gd name="T94" fmla="*/ 96 w 193"/>
                <a:gd name="T95" fmla="*/ 245 h 292"/>
                <a:gd name="T96" fmla="*/ 94 w 193"/>
                <a:gd name="T97" fmla="*/ 256 h 292"/>
                <a:gd name="T98" fmla="*/ 85 w 193"/>
                <a:gd name="T99" fmla="*/ 274 h 292"/>
                <a:gd name="T100" fmla="*/ 69 w 193"/>
                <a:gd name="T101" fmla="*/ 274 h 292"/>
                <a:gd name="T102" fmla="*/ 60 w 193"/>
                <a:gd name="T103" fmla="*/ 286 h 292"/>
                <a:gd name="T104" fmla="*/ 38 w 193"/>
                <a:gd name="T105" fmla="*/ 290 h 292"/>
                <a:gd name="T106" fmla="*/ 33 w 193"/>
                <a:gd name="T107" fmla="*/ 272 h 292"/>
                <a:gd name="T108" fmla="*/ 22 w 193"/>
                <a:gd name="T109" fmla="*/ 254 h 292"/>
                <a:gd name="T110" fmla="*/ 15 w 193"/>
                <a:gd name="T111" fmla="*/ 247 h 292"/>
                <a:gd name="T112" fmla="*/ 11 w 193"/>
                <a:gd name="T113" fmla="*/ 234 h 292"/>
                <a:gd name="T114" fmla="*/ 9 w 193"/>
                <a:gd name="T115" fmla="*/ 223 h 292"/>
                <a:gd name="T116" fmla="*/ 2 w 193"/>
                <a:gd name="T117" fmla="*/ 223 h 292"/>
                <a:gd name="T118" fmla="*/ 6 w 193"/>
                <a:gd name="T119" fmla="*/ 214 h 292"/>
                <a:gd name="T120" fmla="*/ 22 w 193"/>
                <a:gd name="T121" fmla="*/ 164 h 292"/>
                <a:gd name="T122" fmla="*/ 42 w 193"/>
                <a:gd name="T123" fmla="*/ 68 h 292"/>
                <a:gd name="T124" fmla="*/ 128 w 193"/>
                <a:gd name="T125" fmla="*/ 0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93" h="292">
                  <a:moveTo>
                    <a:pt x="105" y="247"/>
                  </a:move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50"/>
                  </a:lnTo>
                  <a:lnTo>
                    <a:pt x="105" y="250"/>
                  </a:lnTo>
                  <a:lnTo>
                    <a:pt x="105" y="250"/>
                  </a:lnTo>
                  <a:lnTo>
                    <a:pt x="105" y="250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5" y="252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6"/>
                  </a:lnTo>
                  <a:lnTo>
                    <a:pt x="103" y="256"/>
                  </a:lnTo>
                  <a:lnTo>
                    <a:pt x="103" y="256"/>
                  </a:lnTo>
                  <a:lnTo>
                    <a:pt x="103" y="256"/>
                  </a:lnTo>
                  <a:lnTo>
                    <a:pt x="103" y="256"/>
                  </a:lnTo>
                  <a:lnTo>
                    <a:pt x="103" y="256"/>
                  </a:lnTo>
                  <a:lnTo>
                    <a:pt x="103" y="259"/>
                  </a:lnTo>
                  <a:lnTo>
                    <a:pt x="103" y="259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101" y="263"/>
                  </a:lnTo>
                  <a:lnTo>
                    <a:pt x="101" y="263"/>
                  </a:lnTo>
                  <a:lnTo>
                    <a:pt x="101" y="263"/>
                  </a:lnTo>
                  <a:lnTo>
                    <a:pt x="101" y="265"/>
                  </a:lnTo>
                  <a:lnTo>
                    <a:pt x="101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5"/>
                  </a:lnTo>
                  <a:lnTo>
                    <a:pt x="98" y="268"/>
                  </a:lnTo>
                  <a:lnTo>
                    <a:pt x="98" y="268"/>
                  </a:lnTo>
                  <a:lnTo>
                    <a:pt x="98" y="268"/>
                  </a:lnTo>
                  <a:lnTo>
                    <a:pt x="98" y="268"/>
                  </a:lnTo>
                  <a:lnTo>
                    <a:pt x="98" y="268"/>
                  </a:lnTo>
                  <a:lnTo>
                    <a:pt x="98" y="268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0"/>
                  </a:lnTo>
                  <a:lnTo>
                    <a:pt x="98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68"/>
                  </a:lnTo>
                  <a:lnTo>
                    <a:pt x="96" y="268"/>
                  </a:lnTo>
                  <a:lnTo>
                    <a:pt x="94" y="268"/>
                  </a:lnTo>
                  <a:lnTo>
                    <a:pt x="94" y="265"/>
                  </a:lnTo>
                  <a:lnTo>
                    <a:pt x="94" y="265"/>
                  </a:lnTo>
                  <a:lnTo>
                    <a:pt x="96" y="265"/>
                  </a:lnTo>
                  <a:lnTo>
                    <a:pt x="96" y="263"/>
                  </a:lnTo>
                  <a:lnTo>
                    <a:pt x="96" y="263"/>
                  </a:lnTo>
                  <a:lnTo>
                    <a:pt x="96" y="263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101" y="256"/>
                  </a:lnTo>
                  <a:lnTo>
                    <a:pt x="101" y="256"/>
                  </a:lnTo>
                  <a:lnTo>
                    <a:pt x="101" y="254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47"/>
                  </a:lnTo>
                  <a:lnTo>
                    <a:pt x="103" y="247"/>
                  </a:lnTo>
                  <a:lnTo>
                    <a:pt x="103" y="247"/>
                  </a:lnTo>
                  <a:lnTo>
                    <a:pt x="105" y="247"/>
                  </a:lnTo>
                  <a:lnTo>
                    <a:pt x="105" y="247"/>
                  </a:lnTo>
                  <a:lnTo>
                    <a:pt x="105" y="247"/>
                  </a:lnTo>
                  <a:close/>
                  <a:moveTo>
                    <a:pt x="132" y="236"/>
                  </a:moveTo>
                  <a:lnTo>
                    <a:pt x="132" y="236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4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4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9" y="236"/>
                  </a:lnTo>
                  <a:lnTo>
                    <a:pt x="137" y="236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38"/>
                  </a:lnTo>
                  <a:lnTo>
                    <a:pt x="134" y="241"/>
                  </a:lnTo>
                  <a:lnTo>
                    <a:pt x="134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1"/>
                  </a:lnTo>
                  <a:lnTo>
                    <a:pt x="132" y="243"/>
                  </a:lnTo>
                  <a:lnTo>
                    <a:pt x="134" y="243"/>
                  </a:lnTo>
                  <a:lnTo>
                    <a:pt x="134" y="243"/>
                  </a:lnTo>
                  <a:lnTo>
                    <a:pt x="134" y="243"/>
                  </a:lnTo>
                  <a:lnTo>
                    <a:pt x="134" y="243"/>
                  </a:lnTo>
                  <a:lnTo>
                    <a:pt x="134" y="243"/>
                  </a:lnTo>
                  <a:lnTo>
                    <a:pt x="134" y="243"/>
                  </a:lnTo>
                  <a:lnTo>
                    <a:pt x="132" y="243"/>
                  </a:lnTo>
                  <a:lnTo>
                    <a:pt x="132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4" y="245"/>
                  </a:lnTo>
                  <a:lnTo>
                    <a:pt x="137" y="245"/>
                  </a:lnTo>
                  <a:lnTo>
                    <a:pt x="137" y="245"/>
                  </a:lnTo>
                  <a:lnTo>
                    <a:pt x="137" y="245"/>
                  </a:lnTo>
                  <a:lnTo>
                    <a:pt x="137" y="245"/>
                  </a:lnTo>
                  <a:lnTo>
                    <a:pt x="137" y="245"/>
                  </a:lnTo>
                  <a:lnTo>
                    <a:pt x="137" y="247"/>
                  </a:lnTo>
                  <a:lnTo>
                    <a:pt x="137" y="247"/>
                  </a:lnTo>
                  <a:lnTo>
                    <a:pt x="137" y="247"/>
                  </a:lnTo>
                  <a:lnTo>
                    <a:pt x="137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4" y="247"/>
                  </a:lnTo>
                  <a:lnTo>
                    <a:pt x="132" y="247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0" y="250"/>
                  </a:lnTo>
                  <a:lnTo>
                    <a:pt x="130" y="252"/>
                  </a:lnTo>
                  <a:lnTo>
                    <a:pt x="130" y="252"/>
                  </a:lnTo>
                  <a:lnTo>
                    <a:pt x="130" y="252"/>
                  </a:lnTo>
                  <a:lnTo>
                    <a:pt x="130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30" y="252"/>
                  </a:lnTo>
                  <a:lnTo>
                    <a:pt x="128" y="252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8" y="254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5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5" y="256"/>
                  </a:lnTo>
                  <a:lnTo>
                    <a:pt x="125" y="256"/>
                  </a:lnTo>
                  <a:lnTo>
                    <a:pt x="125" y="256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4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5" y="252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3" y="250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3" y="245"/>
                  </a:lnTo>
                  <a:lnTo>
                    <a:pt x="121" y="245"/>
                  </a:lnTo>
                  <a:lnTo>
                    <a:pt x="123" y="243"/>
                  </a:lnTo>
                  <a:lnTo>
                    <a:pt x="123" y="243"/>
                  </a:lnTo>
                  <a:lnTo>
                    <a:pt x="125" y="241"/>
                  </a:lnTo>
                  <a:lnTo>
                    <a:pt x="128" y="238"/>
                  </a:lnTo>
                  <a:lnTo>
                    <a:pt x="128" y="236"/>
                  </a:lnTo>
                  <a:lnTo>
                    <a:pt x="128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30" y="234"/>
                  </a:lnTo>
                  <a:lnTo>
                    <a:pt x="132" y="234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close/>
                  <a:moveTo>
                    <a:pt x="139" y="234"/>
                  </a:moveTo>
                  <a:lnTo>
                    <a:pt x="139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4"/>
                  </a:lnTo>
                  <a:lnTo>
                    <a:pt x="137" y="234"/>
                  </a:lnTo>
                  <a:lnTo>
                    <a:pt x="137" y="234"/>
                  </a:lnTo>
                  <a:lnTo>
                    <a:pt x="137" y="234"/>
                  </a:lnTo>
                  <a:lnTo>
                    <a:pt x="137" y="234"/>
                  </a:lnTo>
                  <a:lnTo>
                    <a:pt x="137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9" y="234"/>
                  </a:lnTo>
                  <a:close/>
                  <a:moveTo>
                    <a:pt x="11" y="232"/>
                  </a:move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close/>
                  <a:moveTo>
                    <a:pt x="13" y="227"/>
                  </a:moveTo>
                  <a:lnTo>
                    <a:pt x="13" y="227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6" y="232"/>
                  </a:lnTo>
                  <a:lnTo>
                    <a:pt x="6" y="232"/>
                  </a:lnTo>
                  <a:lnTo>
                    <a:pt x="6" y="232"/>
                  </a:lnTo>
                  <a:lnTo>
                    <a:pt x="6" y="232"/>
                  </a:lnTo>
                  <a:lnTo>
                    <a:pt x="6" y="232"/>
                  </a:lnTo>
                  <a:lnTo>
                    <a:pt x="6" y="232"/>
                  </a:lnTo>
                  <a:lnTo>
                    <a:pt x="6" y="232"/>
                  </a:lnTo>
                  <a:lnTo>
                    <a:pt x="6" y="229"/>
                  </a:lnTo>
                  <a:lnTo>
                    <a:pt x="6" y="229"/>
                  </a:lnTo>
                  <a:lnTo>
                    <a:pt x="6" y="229"/>
                  </a:lnTo>
                  <a:lnTo>
                    <a:pt x="9" y="229"/>
                  </a:lnTo>
                  <a:lnTo>
                    <a:pt x="9" y="229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3" y="227"/>
                  </a:lnTo>
                  <a:close/>
                  <a:moveTo>
                    <a:pt x="123" y="205"/>
                  </a:moveTo>
                  <a:lnTo>
                    <a:pt x="125" y="205"/>
                  </a:lnTo>
                  <a:lnTo>
                    <a:pt x="125" y="205"/>
                  </a:lnTo>
                  <a:lnTo>
                    <a:pt x="125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7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3" y="205"/>
                  </a:lnTo>
                  <a:lnTo>
                    <a:pt x="123" y="205"/>
                  </a:lnTo>
                  <a:close/>
                  <a:moveTo>
                    <a:pt x="107" y="130"/>
                  </a:move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7" y="130"/>
                  </a:lnTo>
                  <a:lnTo>
                    <a:pt x="107" y="130"/>
                  </a:lnTo>
                  <a:close/>
                  <a:moveTo>
                    <a:pt x="166" y="72"/>
                  </a:move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4" y="72"/>
                  </a:lnTo>
                  <a:lnTo>
                    <a:pt x="166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6" y="72"/>
                  </a:lnTo>
                  <a:close/>
                  <a:moveTo>
                    <a:pt x="157" y="11"/>
                  </a:moveTo>
                  <a:lnTo>
                    <a:pt x="159" y="11"/>
                  </a:lnTo>
                  <a:lnTo>
                    <a:pt x="159" y="11"/>
                  </a:lnTo>
                  <a:lnTo>
                    <a:pt x="159" y="11"/>
                  </a:lnTo>
                  <a:lnTo>
                    <a:pt x="159" y="11"/>
                  </a:lnTo>
                  <a:lnTo>
                    <a:pt x="159" y="11"/>
                  </a:lnTo>
                  <a:lnTo>
                    <a:pt x="161" y="11"/>
                  </a:lnTo>
                  <a:lnTo>
                    <a:pt x="161" y="14"/>
                  </a:lnTo>
                  <a:lnTo>
                    <a:pt x="161" y="14"/>
                  </a:lnTo>
                  <a:lnTo>
                    <a:pt x="161" y="14"/>
                  </a:lnTo>
                  <a:lnTo>
                    <a:pt x="164" y="14"/>
                  </a:lnTo>
                  <a:lnTo>
                    <a:pt x="164" y="14"/>
                  </a:lnTo>
                  <a:lnTo>
                    <a:pt x="166" y="14"/>
                  </a:lnTo>
                  <a:lnTo>
                    <a:pt x="166" y="14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68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0" y="18"/>
                  </a:lnTo>
                  <a:lnTo>
                    <a:pt x="173" y="18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7" y="20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7" y="27"/>
                  </a:lnTo>
                  <a:lnTo>
                    <a:pt x="177" y="29"/>
                  </a:lnTo>
                  <a:lnTo>
                    <a:pt x="177" y="29"/>
                  </a:lnTo>
                  <a:lnTo>
                    <a:pt x="177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7" y="32"/>
                  </a:lnTo>
                  <a:lnTo>
                    <a:pt x="177" y="32"/>
                  </a:lnTo>
                  <a:lnTo>
                    <a:pt x="177" y="32"/>
                  </a:lnTo>
                  <a:lnTo>
                    <a:pt x="177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79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6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79" y="38"/>
                  </a:lnTo>
                  <a:lnTo>
                    <a:pt x="182" y="38"/>
                  </a:lnTo>
                  <a:lnTo>
                    <a:pt x="182" y="38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2" y="41"/>
                  </a:lnTo>
                  <a:lnTo>
                    <a:pt x="184" y="41"/>
                  </a:lnTo>
                  <a:lnTo>
                    <a:pt x="184" y="41"/>
                  </a:lnTo>
                  <a:lnTo>
                    <a:pt x="184" y="43"/>
                  </a:lnTo>
                  <a:lnTo>
                    <a:pt x="186" y="43"/>
                  </a:lnTo>
                  <a:lnTo>
                    <a:pt x="186" y="43"/>
                  </a:lnTo>
                  <a:lnTo>
                    <a:pt x="186" y="43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5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6" y="47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6"/>
                  </a:lnTo>
                  <a:lnTo>
                    <a:pt x="184" y="56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6" y="59"/>
                  </a:lnTo>
                  <a:lnTo>
                    <a:pt x="186" y="59"/>
                  </a:lnTo>
                  <a:lnTo>
                    <a:pt x="188" y="59"/>
                  </a:lnTo>
                  <a:lnTo>
                    <a:pt x="188" y="59"/>
                  </a:lnTo>
                  <a:lnTo>
                    <a:pt x="188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1" y="63"/>
                  </a:lnTo>
                  <a:lnTo>
                    <a:pt x="191" y="63"/>
                  </a:lnTo>
                  <a:lnTo>
                    <a:pt x="191" y="63"/>
                  </a:lnTo>
                  <a:lnTo>
                    <a:pt x="193" y="63"/>
                  </a:lnTo>
                  <a:lnTo>
                    <a:pt x="193" y="65"/>
                  </a:lnTo>
                  <a:lnTo>
                    <a:pt x="193" y="65"/>
                  </a:lnTo>
                  <a:lnTo>
                    <a:pt x="193" y="65"/>
                  </a:lnTo>
                  <a:lnTo>
                    <a:pt x="193" y="65"/>
                  </a:lnTo>
                  <a:lnTo>
                    <a:pt x="193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3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91" y="68"/>
                  </a:lnTo>
                  <a:lnTo>
                    <a:pt x="191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8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6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4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8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82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7" y="65"/>
                  </a:lnTo>
                  <a:lnTo>
                    <a:pt x="177" y="65"/>
                  </a:lnTo>
                  <a:lnTo>
                    <a:pt x="177" y="65"/>
                  </a:lnTo>
                  <a:lnTo>
                    <a:pt x="179" y="65"/>
                  </a:lnTo>
                  <a:lnTo>
                    <a:pt x="179" y="65"/>
                  </a:lnTo>
                  <a:lnTo>
                    <a:pt x="179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5" y="68"/>
                  </a:lnTo>
                  <a:lnTo>
                    <a:pt x="175" y="65"/>
                  </a:lnTo>
                  <a:lnTo>
                    <a:pt x="175" y="65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0" y="63"/>
                  </a:lnTo>
                  <a:lnTo>
                    <a:pt x="168" y="63"/>
                  </a:lnTo>
                  <a:lnTo>
                    <a:pt x="168" y="63"/>
                  </a:lnTo>
                  <a:lnTo>
                    <a:pt x="168" y="63"/>
                  </a:lnTo>
                  <a:lnTo>
                    <a:pt x="170" y="63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70" y="68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4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6" y="65"/>
                  </a:lnTo>
                  <a:lnTo>
                    <a:pt x="164" y="65"/>
                  </a:lnTo>
                  <a:lnTo>
                    <a:pt x="164" y="65"/>
                  </a:lnTo>
                  <a:lnTo>
                    <a:pt x="166" y="65"/>
                  </a:lnTo>
                  <a:lnTo>
                    <a:pt x="166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4" y="70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6" y="68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8" y="72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6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59" y="70"/>
                  </a:lnTo>
                  <a:lnTo>
                    <a:pt x="159" y="70"/>
                  </a:lnTo>
                  <a:lnTo>
                    <a:pt x="159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9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4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59" y="72"/>
                  </a:lnTo>
                  <a:lnTo>
                    <a:pt x="157" y="72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59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59" y="74"/>
                  </a:lnTo>
                  <a:lnTo>
                    <a:pt x="159" y="72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9" y="74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57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2" y="74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7" y="77"/>
                  </a:lnTo>
                  <a:lnTo>
                    <a:pt x="157" y="77"/>
                  </a:lnTo>
                  <a:lnTo>
                    <a:pt x="157" y="77"/>
                  </a:lnTo>
                  <a:lnTo>
                    <a:pt x="157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5" y="77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2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3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2" y="88"/>
                  </a:lnTo>
                  <a:lnTo>
                    <a:pt x="152" y="88"/>
                  </a:lnTo>
                  <a:lnTo>
                    <a:pt x="152" y="88"/>
                  </a:lnTo>
                  <a:lnTo>
                    <a:pt x="152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2" y="88"/>
                  </a:lnTo>
                  <a:lnTo>
                    <a:pt x="152" y="88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0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2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4"/>
                  </a:lnTo>
                  <a:lnTo>
                    <a:pt x="148" y="106"/>
                  </a:lnTo>
                  <a:lnTo>
                    <a:pt x="148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3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08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9" y="108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0"/>
                  </a:lnTo>
                  <a:lnTo>
                    <a:pt x="134" y="112"/>
                  </a:lnTo>
                  <a:lnTo>
                    <a:pt x="134" y="112"/>
                  </a:lnTo>
                  <a:lnTo>
                    <a:pt x="134" y="112"/>
                  </a:lnTo>
                  <a:lnTo>
                    <a:pt x="134" y="112"/>
                  </a:lnTo>
                  <a:lnTo>
                    <a:pt x="134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8" y="112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5" y="112"/>
                  </a:lnTo>
                  <a:lnTo>
                    <a:pt x="128" y="112"/>
                  </a:lnTo>
                  <a:lnTo>
                    <a:pt x="125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9" y="119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4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6" y="121"/>
                  </a:lnTo>
                  <a:lnTo>
                    <a:pt x="114" y="121"/>
                  </a:lnTo>
                  <a:lnTo>
                    <a:pt x="112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2" y="121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4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2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07" y="124"/>
                  </a:lnTo>
                  <a:lnTo>
                    <a:pt x="110" y="126"/>
                  </a:lnTo>
                  <a:lnTo>
                    <a:pt x="112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4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6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07" y="128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7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7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4"/>
                  </a:lnTo>
                  <a:lnTo>
                    <a:pt x="98" y="124"/>
                  </a:lnTo>
                  <a:lnTo>
                    <a:pt x="101" y="126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5" y="128"/>
                  </a:lnTo>
                  <a:lnTo>
                    <a:pt x="105" y="128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7" y="133"/>
                  </a:lnTo>
                  <a:lnTo>
                    <a:pt x="107" y="133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98" y="137"/>
                  </a:lnTo>
                  <a:lnTo>
                    <a:pt x="98" y="137"/>
                  </a:lnTo>
                  <a:lnTo>
                    <a:pt x="98" y="137"/>
                  </a:lnTo>
                  <a:lnTo>
                    <a:pt x="98" y="137"/>
                  </a:lnTo>
                  <a:lnTo>
                    <a:pt x="98" y="137"/>
                  </a:lnTo>
                  <a:lnTo>
                    <a:pt x="98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7"/>
                  </a:lnTo>
                  <a:lnTo>
                    <a:pt x="96" y="139"/>
                  </a:lnTo>
                  <a:lnTo>
                    <a:pt x="96" y="139"/>
                  </a:lnTo>
                  <a:lnTo>
                    <a:pt x="96" y="139"/>
                  </a:lnTo>
                  <a:lnTo>
                    <a:pt x="96" y="139"/>
                  </a:lnTo>
                  <a:lnTo>
                    <a:pt x="96" y="139"/>
                  </a:lnTo>
                  <a:lnTo>
                    <a:pt x="96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39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48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6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1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5"/>
                  </a:lnTo>
                  <a:lnTo>
                    <a:pt x="98" y="155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8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8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6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60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0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4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6" y="166"/>
                  </a:lnTo>
                  <a:lnTo>
                    <a:pt x="98" y="166"/>
                  </a:lnTo>
                  <a:lnTo>
                    <a:pt x="98" y="166"/>
                  </a:lnTo>
                  <a:lnTo>
                    <a:pt x="96" y="166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6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1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101" y="173"/>
                  </a:lnTo>
                  <a:lnTo>
                    <a:pt x="101" y="173"/>
                  </a:lnTo>
                  <a:lnTo>
                    <a:pt x="101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3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5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7" y="178"/>
                  </a:lnTo>
                  <a:lnTo>
                    <a:pt x="107" y="178"/>
                  </a:lnTo>
                  <a:lnTo>
                    <a:pt x="107" y="178"/>
                  </a:lnTo>
                  <a:lnTo>
                    <a:pt x="107" y="178"/>
                  </a:lnTo>
                  <a:lnTo>
                    <a:pt x="107" y="178"/>
                  </a:lnTo>
                  <a:lnTo>
                    <a:pt x="110" y="175"/>
                  </a:lnTo>
                  <a:lnTo>
                    <a:pt x="110" y="175"/>
                  </a:lnTo>
                  <a:lnTo>
                    <a:pt x="112" y="175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78"/>
                  </a:lnTo>
                  <a:lnTo>
                    <a:pt x="112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4" y="180"/>
                  </a:lnTo>
                  <a:lnTo>
                    <a:pt x="116" y="180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21" y="182"/>
                  </a:lnTo>
                  <a:lnTo>
                    <a:pt x="121" y="182"/>
                  </a:lnTo>
                  <a:lnTo>
                    <a:pt x="121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21" y="184"/>
                  </a:lnTo>
                  <a:lnTo>
                    <a:pt x="123" y="184"/>
                  </a:lnTo>
                  <a:lnTo>
                    <a:pt x="121" y="184"/>
                  </a:lnTo>
                  <a:lnTo>
                    <a:pt x="119" y="184"/>
                  </a:lnTo>
                  <a:lnTo>
                    <a:pt x="119" y="182"/>
                  </a:lnTo>
                  <a:lnTo>
                    <a:pt x="116" y="182"/>
                  </a:lnTo>
                  <a:lnTo>
                    <a:pt x="119" y="182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21" y="184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21" y="184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7"/>
                  </a:lnTo>
                  <a:lnTo>
                    <a:pt x="121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3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5" y="189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8" y="187"/>
                  </a:lnTo>
                  <a:lnTo>
                    <a:pt x="128" y="187"/>
                  </a:lnTo>
                  <a:lnTo>
                    <a:pt x="128" y="187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91"/>
                  </a:lnTo>
                  <a:lnTo>
                    <a:pt x="128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3"/>
                  </a:lnTo>
                  <a:lnTo>
                    <a:pt x="132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1"/>
                  </a:lnTo>
                  <a:lnTo>
                    <a:pt x="128" y="191"/>
                  </a:lnTo>
                  <a:lnTo>
                    <a:pt x="128" y="191"/>
                  </a:lnTo>
                  <a:lnTo>
                    <a:pt x="128" y="191"/>
                  </a:lnTo>
                  <a:lnTo>
                    <a:pt x="130" y="191"/>
                  </a:lnTo>
                  <a:lnTo>
                    <a:pt x="130" y="191"/>
                  </a:lnTo>
                  <a:lnTo>
                    <a:pt x="130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8" y="193"/>
                  </a:lnTo>
                  <a:lnTo>
                    <a:pt x="132" y="193"/>
                  </a:lnTo>
                  <a:lnTo>
                    <a:pt x="132" y="193"/>
                  </a:lnTo>
                  <a:lnTo>
                    <a:pt x="132" y="196"/>
                  </a:lnTo>
                  <a:lnTo>
                    <a:pt x="132" y="196"/>
                  </a:lnTo>
                  <a:lnTo>
                    <a:pt x="132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28" y="196"/>
                  </a:lnTo>
                  <a:lnTo>
                    <a:pt x="128" y="196"/>
                  </a:lnTo>
                  <a:lnTo>
                    <a:pt x="128" y="196"/>
                  </a:lnTo>
                  <a:lnTo>
                    <a:pt x="128" y="196"/>
                  </a:lnTo>
                  <a:lnTo>
                    <a:pt x="128" y="196"/>
                  </a:lnTo>
                  <a:lnTo>
                    <a:pt x="125" y="196"/>
                  </a:lnTo>
                  <a:lnTo>
                    <a:pt x="125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8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5" y="198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6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0"/>
                  </a:lnTo>
                  <a:lnTo>
                    <a:pt x="116" y="200"/>
                  </a:lnTo>
                  <a:lnTo>
                    <a:pt x="116" y="200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6" y="202"/>
                  </a:lnTo>
                  <a:lnTo>
                    <a:pt x="114" y="202"/>
                  </a:lnTo>
                  <a:lnTo>
                    <a:pt x="114" y="202"/>
                  </a:lnTo>
                  <a:lnTo>
                    <a:pt x="116" y="205"/>
                  </a:lnTo>
                  <a:lnTo>
                    <a:pt x="116" y="205"/>
                  </a:lnTo>
                  <a:lnTo>
                    <a:pt x="114" y="202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2" y="202"/>
                  </a:lnTo>
                  <a:lnTo>
                    <a:pt x="112" y="202"/>
                  </a:lnTo>
                  <a:lnTo>
                    <a:pt x="110" y="202"/>
                  </a:lnTo>
                  <a:lnTo>
                    <a:pt x="112" y="200"/>
                  </a:lnTo>
                  <a:lnTo>
                    <a:pt x="110" y="200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2" y="200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2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7" y="193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7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6"/>
                  </a:lnTo>
                  <a:lnTo>
                    <a:pt x="107" y="198"/>
                  </a:lnTo>
                  <a:lnTo>
                    <a:pt x="107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198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10" y="202"/>
                  </a:lnTo>
                  <a:lnTo>
                    <a:pt x="110" y="202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10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198"/>
                  </a:lnTo>
                  <a:lnTo>
                    <a:pt x="105" y="198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3" y="198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5" y="200"/>
                  </a:lnTo>
                  <a:lnTo>
                    <a:pt x="103" y="200"/>
                  </a:lnTo>
                  <a:lnTo>
                    <a:pt x="103" y="200"/>
                  </a:lnTo>
                  <a:lnTo>
                    <a:pt x="103" y="200"/>
                  </a:lnTo>
                  <a:lnTo>
                    <a:pt x="103" y="200"/>
                  </a:lnTo>
                  <a:lnTo>
                    <a:pt x="103" y="200"/>
                  </a:lnTo>
                  <a:lnTo>
                    <a:pt x="103" y="200"/>
                  </a:lnTo>
                  <a:lnTo>
                    <a:pt x="101" y="200"/>
                  </a:lnTo>
                  <a:lnTo>
                    <a:pt x="101" y="200"/>
                  </a:lnTo>
                  <a:lnTo>
                    <a:pt x="101" y="200"/>
                  </a:lnTo>
                  <a:lnTo>
                    <a:pt x="101" y="200"/>
                  </a:lnTo>
                  <a:lnTo>
                    <a:pt x="101" y="200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7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0" y="200"/>
                  </a:lnTo>
                  <a:lnTo>
                    <a:pt x="80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9" y="202"/>
                  </a:lnTo>
                  <a:lnTo>
                    <a:pt x="92" y="202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4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4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98" y="202"/>
                  </a:lnTo>
                  <a:lnTo>
                    <a:pt x="101" y="202"/>
                  </a:lnTo>
                  <a:lnTo>
                    <a:pt x="101" y="202"/>
                  </a:lnTo>
                  <a:lnTo>
                    <a:pt x="103" y="202"/>
                  </a:lnTo>
                  <a:lnTo>
                    <a:pt x="103" y="202"/>
                  </a:lnTo>
                  <a:lnTo>
                    <a:pt x="103" y="202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3" y="205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5" y="205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10" y="207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10" y="205"/>
                  </a:lnTo>
                  <a:lnTo>
                    <a:pt x="110" y="205"/>
                  </a:lnTo>
                  <a:lnTo>
                    <a:pt x="110" y="205"/>
                  </a:lnTo>
                  <a:lnTo>
                    <a:pt x="110" y="205"/>
                  </a:lnTo>
                  <a:lnTo>
                    <a:pt x="110" y="205"/>
                  </a:lnTo>
                  <a:lnTo>
                    <a:pt x="110" y="205"/>
                  </a:lnTo>
                  <a:lnTo>
                    <a:pt x="112" y="205"/>
                  </a:lnTo>
                  <a:lnTo>
                    <a:pt x="110" y="205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7"/>
                  </a:lnTo>
                  <a:lnTo>
                    <a:pt x="114" y="207"/>
                  </a:lnTo>
                  <a:lnTo>
                    <a:pt x="114" y="207"/>
                  </a:lnTo>
                  <a:lnTo>
                    <a:pt x="114" y="207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4" y="205"/>
                  </a:lnTo>
                  <a:lnTo>
                    <a:pt x="116" y="205"/>
                  </a:lnTo>
                  <a:lnTo>
                    <a:pt x="119" y="205"/>
                  </a:lnTo>
                  <a:lnTo>
                    <a:pt x="119" y="205"/>
                  </a:lnTo>
                  <a:lnTo>
                    <a:pt x="119" y="205"/>
                  </a:lnTo>
                  <a:lnTo>
                    <a:pt x="119" y="205"/>
                  </a:lnTo>
                  <a:lnTo>
                    <a:pt x="119" y="205"/>
                  </a:lnTo>
                  <a:lnTo>
                    <a:pt x="119" y="202"/>
                  </a:lnTo>
                  <a:lnTo>
                    <a:pt x="121" y="202"/>
                  </a:lnTo>
                  <a:lnTo>
                    <a:pt x="121" y="202"/>
                  </a:lnTo>
                  <a:lnTo>
                    <a:pt x="123" y="202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1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3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3" y="202"/>
                  </a:lnTo>
                  <a:lnTo>
                    <a:pt x="125" y="202"/>
                  </a:lnTo>
                  <a:lnTo>
                    <a:pt x="125" y="202"/>
                  </a:lnTo>
                  <a:lnTo>
                    <a:pt x="125" y="205"/>
                  </a:lnTo>
                  <a:lnTo>
                    <a:pt x="125" y="205"/>
                  </a:lnTo>
                  <a:lnTo>
                    <a:pt x="125" y="205"/>
                  </a:lnTo>
                  <a:lnTo>
                    <a:pt x="125" y="205"/>
                  </a:lnTo>
                  <a:lnTo>
                    <a:pt x="125" y="205"/>
                  </a:lnTo>
                  <a:lnTo>
                    <a:pt x="125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19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5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1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7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21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9" y="209"/>
                  </a:lnTo>
                  <a:lnTo>
                    <a:pt x="116" y="209"/>
                  </a:lnTo>
                  <a:lnTo>
                    <a:pt x="116" y="209"/>
                  </a:lnTo>
                  <a:lnTo>
                    <a:pt x="116" y="209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09"/>
                  </a:lnTo>
                  <a:lnTo>
                    <a:pt x="116" y="209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11"/>
                  </a:lnTo>
                  <a:lnTo>
                    <a:pt x="116" y="214"/>
                  </a:lnTo>
                  <a:lnTo>
                    <a:pt x="116" y="214"/>
                  </a:lnTo>
                  <a:lnTo>
                    <a:pt x="116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11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10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6"/>
                  </a:lnTo>
                  <a:lnTo>
                    <a:pt x="105" y="218"/>
                  </a:lnTo>
                  <a:lnTo>
                    <a:pt x="103" y="218"/>
                  </a:lnTo>
                  <a:lnTo>
                    <a:pt x="103" y="218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6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3" y="218"/>
                  </a:lnTo>
                  <a:lnTo>
                    <a:pt x="103" y="218"/>
                  </a:lnTo>
                  <a:lnTo>
                    <a:pt x="103" y="218"/>
                  </a:lnTo>
                  <a:lnTo>
                    <a:pt x="103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101" y="218"/>
                  </a:lnTo>
                  <a:lnTo>
                    <a:pt x="98" y="220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7" y="218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18"/>
                  </a:lnTo>
                  <a:lnTo>
                    <a:pt x="85" y="220"/>
                  </a:lnTo>
                  <a:lnTo>
                    <a:pt x="85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7" y="220"/>
                  </a:lnTo>
                  <a:lnTo>
                    <a:pt x="89" y="220"/>
                  </a:lnTo>
                  <a:lnTo>
                    <a:pt x="89" y="218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20"/>
                  </a:lnTo>
                  <a:lnTo>
                    <a:pt x="89" y="218"/>
                  </a:lnTo>
                  <a:lnTo>
                    <a:pt x="89" y="218"/>
                  </a:lnTo>
                  <a:lnTo>
                    <a:pt x="92" y="218"/>
                  </a:lnTo>
                  <a:lnTo>
                    <a:pt x="92" y="220"/>
                  </a:lnTo>
                  <a:lnTo>
                    <a:pt x="92" y="220"/>
                  </a:lnTo>
                  <a:lnTo>
                    <a:pt x="94" y="220"/>
                  </a:lnTo>
                  <a:lnTo>
                    <a:pt x="94" y="220"/>
                  </a:lnTo>
                  <a:lnTo>
                    <a:pt x="94" y="220"/>
                  </a:lnTo>
                  <a:lnTo>
                    <a:pt x="94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8" y="220"/>
                  </a:lnTo>
                  <a:lnTo>
                    <a:pt x="98" y="220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89" y="223"/>
                  </a:lnTo>
                  <a:lnTo>
                    <a:pt x="92" y="223"/>
                  </a:lnTo>
                  <a:lnTo>
                    <a:pt x="94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6" y="225"/>
                  </a:lnTo>
                  <a:lnTo>
                    <a:pt x="94" y="225"/>
                  </a:lnTo>
                  <a:lnTo>
                    <a:pt x="94" y="225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8" y="227"/>
                  </a:lnTo>
                  <a:lnTo>
                    <a:pt x="98" y="227"/>
                  </a:lnTo>
                  <a:lnTo>
                    <a:pt x="98" y="227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4" y="229"/>
                  </a:lnTo>
                  <a:lnTo>
                    <a:pt x="94" y="229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6" y="229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96" y="234"/>
                  </a:lnTo>
                  <a:lnTo>
                    <a:pt x="96" y="236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98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4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4"/>
                  </a:lnTo>
                  <a:lnTo>
                    <a:pt x="96" y="236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4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2" y="236"/>
                  </a:lnTo>
                  <a:lnTo>
                    <a:pt x="94" y="236"/>
                  </a:lnTo>
                  <a:lnTo>
                    <a:pt x="94" y="236"/>
                  </a:lnTo>
                  <a:lnTo>
                    <a:pt x="94" y="238"/>
                  </a:lnTo>
                  <a:lnTo>
                    <a:pt x="94" y="238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38"/>
                  </a:lnTo>
                  <a:lnTo>
                    <a:pt x="96" y="241"/>
                  </a:lnTo>
                  <a:lnTo>
                    <a:pt x="98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8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4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6" y="243"/>
                  </a:lnTo>
                  <a:lnTo>
                    <a:pt x="96" y="243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1"/>
                  </a:lnTo>
                  <a:lnTo>
                    <a:pt x="94" y="241"/>
                  </a:lnTo>
                  <a:lnTo>
                    <a:pt x="94" y="241"/>
                  </a:lnTo>
                  <a:lnTo>
                    <a:pt x="94" y="241"/>
                  </a:lnTo>
                  <a:lnTo>
                    <a:pt x="94" y="241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6" y="243"/>
                  </a:lnTo>
                  <a:lnTo>
                    <a:pt x="96" y="243"/>
                  </a:lnTo>
                  <a:lnTo>
                    <a:pt x="96" y="245"/>
                  </a:lnTo>
                  <a:lnTo>
                    <a:pt x="98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6" y="245"/>
                  </a:lnTo>
                  <a:lnTo>
                    <a:pt x="98" y="245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6" y="247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96" y="252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6" y="256"/>
                  </a:lnTo>
                  <a:lnTo>
                    <a:pt x="96" y="256"/>
                  </a:lnTo>
                  <a:lnTo>
                    <a:pt x="94" y="256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6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94" y="263"/>
                  </a:lnTo>
                  <a:lnTo>
                    <a:pt x="94" y="263"/>
                  </a:lnTo>
                  <a:lnTo>
                    <a:pt x="94" y="263"/>
                  </a:lnTo>
                  <a:lnTo>
                    <a:pt x="94" y="263"/>
                  </a:lnTo>
                  <a:lnTo>
                    <a:pt x="94" y="263"/>
                  </a:lnTo>
                  <a:lnTo>
                    <a:pt x="94" y="263"/>
                  </a:lnTo>
                  <a:lnTo>
                    <a:pt x="94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3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92" y="265"/>
                  </a:lnTo>
                  <a:lnTo>
                    <a:pt x="89" y="268"/>
                  </a:lnTo>
                  <a:lnTo>
                    <a:pt x="89" y="268"/>
                  </a:lnTo>
                  <a:lnTo>
                    <a:pt x="89" y="272"/>
                  </a:lnTo>
                  <a:lnTo>
                    <a:pt x="89" y="272"/>
                  </a:lnTo>
                  <a:lnTo>
                    <a:pt x="89" y="272"/>
                  </a:lnTo>
                  <a:lnTo>
                    <a:pt x="89" y="272"/>
                  </a:lnTo>
                  <a:lnTo>
                    <a:pt x="89" y="272"/>
                  </a:lnTo>
                  <a:lnTo>
                    <a:pt x="89" y="272"/>
                  </a:lnTo>
                  <a:lnTo>
                    <a:pt x="89" y="272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4"/>
                  </a:lnTo>
                  <a:lnTo>
                    <a:pt x="87" y="277"/>
                  </a:lnTo>
                  <a:lnTo>
                    <a:pt x="87" y="277"/>
                  </a:lnTo>
                  <a:lnTo>
                    <a:pt x="85" y="277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5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4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0" y="272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80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6" y="274"/>
                  </a:lnTo>
                  <a:lnTo>
                    <a:pt x="76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8" y="274"/>
                  </a:lnTo>
                  <a:lnTo>
                    <a:pt x="76" y="274"/>
                  </a:lnTo>
                  <a:lnTo>
                    <a:pt x="76" y="274"/>
                  </a:lnTo>
                  <a:lnTo>
                    <a:pt x="76" y="274"/>
                  </a:lnTo>
                  <a:lnTo>
                    <a:pt x="76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4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71" y="274"/>
                  </a:lnTo>
                  <a:lnTo>
                    <a:pt x="69" y="274"/>
                  </a:lnTo>
                  <a:lnTo>
                    <a:pt x="69" y="274"/>
                  </a:lnTo>
                  <a:lnTo>
                    <a:pt x="69" y="274"/>
                  </a:lnTo>
                  <a:lnTo>
                    <a:pt x="69" y="274"/>
                  </a:lnTo>
                  <a:lnTo>
                    <a:pt x="69" y="274"/>
                  </a:lnTo>
                  <a:lnTo>
                    <a:pt x="69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4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2" y="277"/>
                  </a:lnTo>
                  <a:lnTo>
                    <a:pt x="62" y="277"/>
                  </a:lnTo>
                  <a:lnTo>
                    <a:pt x="62" y="277"/>
                  </a:lnTo>
                  <a:lnTo>
                    <a:pt x="62" y="277"/>
                  </a:lnTo>
                  <a:lnTo>
                    <a:pt x="62" y="279"/>
                  </a:lnTo>
                  <a:lnTo>
                    <a:pt x="60" y="279"/>
                  </a:lnTo>
                  <a:lnTo>
                    <a:pt x="60" y="279"/>
                  </a:lnTo>
                  <a:lnTo>
                    <a:pt x="60" y="279"/>
                  </a:lnTo>
                  <a:lnTo>
                    <a:pt x="60" y="279"/>
                  </a:lnTo>
                  <a:lnTo>
                    <a:pt x="60" y="279"/>
                  </a:lnTo>
                  <a:lnTo>
                    <a:pt x="60" y="279"/>
                  </a:lnTo>
                  <a:lnTo>
                    <a:pt x="60" y="281"/>
                  </a:lnTo>
                  <a:lnTo>
                    <a:pt x="58" y="281"/>
                  </a:lnTo>
                  <a:lnTo>
                    <a:pt x="58" y="281"/>
                  </a:lnTo>
                  <a:lnTo>
                    <a:pt x="58" y="283"/>
                  </a:lnTo>
                  <a:lnTo>
                    <a:pt x="58" y="283"/>
                  </a:lnTo>
                  <a:lnTo>
                    <a:pt x="58" y="283"/>
                  </a:lnTo>
                  <a:lnTo>
                    <a:pt x="58" y="283"/>
                  </a:lnTo>
                  <a:lnTo>
                    <a:pt x="58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2" y="288"/>
                  </a:lnTo>
                  <a:lnTo>
                    <a:pt x="62" y="288"/>
                  </a:lnTo>
                  <a:lnTo>
                    <a:pt x="62" y="288"/>
                  </a:lnTo>
                  <a:lnTo>
                    <a:pt x="62" y="288"/>
                  </a:lnTo>
                  <a:lnTo>
                    <a:pt x="60" y="290"/>
                  </a:lnTo>
                  <a:lnTo>
                    <a:pt x="60" y="290"/>
                  </a:lnTo>
                  <a:lnTo>
                    <a:pt x="60" y="290"/>
                  </a:lnTo>
                  <a:lnTo>
                    <a:pt x="60" y="290"/>
                  </a:lnTo>
                  <a:lnTo>
                    <a:pt x="60" y="290"/>
                  </a:lnTo>
                  <a:lnTo>
                    <a:pt x="58" y="292"/>
                  </a:lnTo>
                  <a:lnTo>
                    <a:pt x="58" y="292"/>
                  </a:lnTo>
                  <a:lnTo>
                    <a:pt x="58" y="292"/>
                  </a:lnTo>
                  <a:lnTo>
                    <a:pt x="58" y="292"/>
                  </a:lnTo>
                  <a:lnTo>
                    <a:pt x="56" y="292"/>
                  </a:lnTo>
                  <a:lnTo>
                    <a:pt x="56" y="290"/>
                  </a:lnTo>
                  <a:lnTo>
                    <a:pt x="53" y="290"/>
                  </a:lnTo>
                  <a:lnTo>
                    <a:pt x="53" y="290"/>
                  </a:lnTo>
                  <a:lnTo>
                    <a:pt x="53" y="290"/>
                  </a:lnTo>
                  <a:lnTo>
                    <a:pt x="53" y="290"/>
                  </a:lnTo>
                  <a:lnTo>
                    <a:pt x="53" y="290"/>
                  </a:lnTo>
                  <a:lnTo>
                    <a:pt x="53" y="290"/>
                  </a:lnTo>
                  <a:lnTo>
                    <a:pt x="51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2"/>
                  </a:lnTo>
                  <a:lnTo>
                    <a:pt x="49" y="292"/>
                  </a:lnTo>
                  <a:lnTo>
                    <a:pt x="47" y="292"/>
                  </a:lnTo>
                  <a:lnTo>
                    <a:pt x="47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5" y="292"/>
                  </a:lnTo>
                  <a:lnTo>
                    <a:pt x="42" y="292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40" y="292"/>
                  </a:lnTo>
                  <a:lnTo>
                    <a:pt x="38" y="292"/>
                  </a:lnTo>
                  <a:lnTo>
                    <a:pt x="38" y="292"/>
                  </a:lnTo>
                  <a:lnTo>
                    <a:pt x="38" y="292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2"/>
                  </a:lnTo>
                  <a:lnTo>
                    <a:pt x="38" y="292"/>
                  </a:lnTo>
                  <a:lnTo>
                    <a:pt x="38" y="292"/>
                  </a:lnTo>
                  <a:lnTo>
                    <a:pt x="38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6" y="292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6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90"/>
                  </a:lnTo>
                  <a:lnTo>
                    <a:pt x="38" y="288"/>
                  </a:lnTo>
                  <a:lnTo>
                    <a:pt x="36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38" y="286"/>
                  </a:lnTo>
                  <a:lnTo>
                    <a:pt x="38" y="286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38" y="286"/>
                  </a:lnTo>
                  <a:lnTo>
                    <a:pt x="38" y="283"/>
                  </a:lnTo>
                  <a:lnTo>
                    <a:pt x="38" y="283"/>
                  </a:lnTo>
                  <a:lnTo>
                    <a:pt x="38" y="283"/>
                  </a:lnTo>
                  <a:lnTo>
                    <a:pt x="38" y="283"/>
                  </a:lnTo>
                  <a:lnTo>
                    <a:pt x="38" y="283"/>
                  </a:lnTo>
                  <a:lnTo>
                    <a:pt x="38" y="283"/>
                  </a:lnTo>
                  <a:lnTo>
                    <a:pt x="38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6" y="281"/>
                  </a:lnTo>
                  <a:lnTo>
                    <a:pt x="36" y="281"/>
                  </a:lnTo>
                  <a:lnTo>
                    <a:pt x="36" y="281"/>
                  </a:lnTo>
                  <a:lnTo>
                    <a:pt x="33" y="281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7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31" y="277"/>
                  </a:lnTo>
                  <a:lnTo>
                    <a:pt x="31" y="277"/>
                  </a:lnTo>
                  <a:lnTo>
                    <a:pt x="31" y="274"/>
                  </a:lnTo>
                  <a:lnTo>
                    <a:pt x="31" y="274"/>
                  </a:lnTo>
                  <a:lnTo>
                    <a:pt x="29" y="274"/>
                  </a:lnTo>
                  <a:lnTo>
                    <a:pt x="29" y="274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7" y="272"/>
                  </a:lnTo>
                  <a:lnTo>
                    <a:pt x="27" y="270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1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29" y="268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3" y="268"/>
                  </a:lnTo>
                  <a:lnTo>
                    <a:pt x="33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6" y="265"/>
                  </a:lnTo>
                  <a:lnTo>
                    <a:pt x="36" y="265"/>
                  </a:lnTo>
                  <a:lnTo>
                    <a:pt x="36" y="265"/>
                  </a:lnTo>
                  <a:lnTo>
                    <a:pt x="33" y="265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4" y="259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20" y="247"/>
                  </a:lnTo>
                  <a:lnTo>
                    <a:pt x="20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5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18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7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5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3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1" y="238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32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3" y="227"/>
                  </a:lnTo>
                  <a:lnTo>
                    <a:pt x="11" y="225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5"/>
                  </a:lnTo>
                  <a:lnTo>
                    <a:pt x="9" y="225"/>
                  </a:lnTo>
                  <a:lnTo>
                    <a:pt x="6" y="225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6" y="227"/>
                  </a:lnTo>
                  <a:lnTo>
                    <a:pt x="4" y="227"/>
                  </a:lnTo>
                  <a:lnTo>
                    <a:pt x="4" y="227"/>
                  </a:lnTo>
                  <a:lnTo>
                    <a:pt x="4" y="225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6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6" y="225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4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3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20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8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6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0" y="214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4" y="211"/>
                  </a:lnTo>
                  <a:lnTo>
                    <a:pt x="4" y="214"/>
                  </a:lnTo>
                  <a:lnTo>
                    <a:pt x="6" y="214"/>
                  </a:lnTo>
                  <a:lnTo>
                    <a:pt x="6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9" y="209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1" y="202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1" y="196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11" y="193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1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8" y="191"/>
                  </a:lnTo>
                  <a:lnTo>
                    <a:pt x="20" y="189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20" y="184"/>
                  </a:lnTo>
                  <a:lnTo>
                    <a:pt x="20" y="184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0"/>
                  </a:lnTo>
                  <a:lnTo>
                    <a:pt x="22" y="180"/>
                  </a:lnTo>
                  <a:lnTo>
                    <a:pt x="22" y="180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0" y="175"/>
                  </a:lnTo>
                  <a:lnTo>
                    <a:pt x="18" y="173"/>
                  </a:lnTo>
                  <a:lnTo>
                    <a:pt x="18" y="171"/>
                  </a:lnTo>
                  <a:lnTo>
                    <a:pt x="15" y="171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20" y="166"/>
                  </a:lnTo>
                  <a:lnTo>
                    <a:pt x="20" y="166"/>
                  </a:lnTo>
                  <a:lnTo>
                    <a:pt x="22" y="166"/>
                  </a:lnTo>
                  <a:lnTo>
                    <a:pt x="22" y="166"/>
                  </a:lnTo>
                  <a:lnTo>
                    <a:pt x="22" y="166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2" y="164"/>
                  </a:lnTo>
                  <a:lnTo>
                    <a:pt x="24" y="164"/>
                  </a:lnTo>
                  <a:lnTo>
                    <a:pt x="24" y="162"/>
                  </a:lnTo>
                  <a:lnTo>
                    <a:pt x="24" y="162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0" y="155"/>
                  </a:lnTo>
                  <a:lnTo>
                    <a:pt x="20" y="155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18" y="155"/>
                  </a:lnTo>
                  <a:lnTo>
                    <a:pt x="15" y="155"/>
                  </a:lnTo>
                  <a:lnTo>
                    <a:pt x="15" y="153"/>
                  </a:lnTo>
                  <a:lnTo>
                    <a:pt x="13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11" y="124"/>
                  </a:lnTo>
                  <a:lnTo>
                    <a:pt x="6" y="119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2"/>
                  </a:lnTo>
                  <a:lnTo>
                    <a:pt x="11" y="110"/>
                  </a:lnTo>
                  <a:lnTo>
                    <a:pt x="13" y="108"/>
                  </a:lnTo>
                  <a:lnTo>
                    <a:pt x="15" y="104"/>
                  </a:lnTo>
                  <a:lnTo>
                    <a:pt x="18" y="104"/>
                  </a:lnTo>
                  <a:lnTo>
                    <a:pt x="20" y="101"/>
                  </a:lnTo>
                  <a:lnTo>
                    <a:pt x="24" y="101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8" y="99"/>
                  </a:lnTo>
                  <a:lnTo>
                    <a:pt x="40" y="99"/>
                  </a:lnTo>
                  <a:lnTo>
                    <a:pt x="38" y="99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29" y="92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7"/>
                  </a:lnTo>
                  <a:lnTo>
                    <a:pt x="40" y="77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2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0" y="59"/>
                  </a:lnTo>
                  <a:lnTo>
                    <a:pt x="49" y="59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4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8" y="50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5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38"/>
                  </a:lnTo>
                  <a:lnTo>
                    <a:pt x="67" y="36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3"/>
                  </a:lnTo>
                  <a:lnTo>
                    <a:pt x="71" y="23"/>
                  </a:lnTo>
                  <a:lnTo>
                    <a:pt x="71" y="23"/>
                  </a:lnTo>
                  <a:lnTo>
                    <a:pt x="76" y="20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89" y="14"/>
                  </a:lnTo>
                  <a:lnTo>
                    <a:pt x="89" y="11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103" y="11"/>
                  </a:lnTo>
                  <a:lnTo>
                    <a:pt x="110" y="11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23" y="11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19" y="0"/>
                  </a:lnTo>
                  <a:lnTo>
                    <a:pt x="125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4" y="2"/>
                  </a:lnTo>
                  <a:lnTo>
                    <a:pt x="134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3" y="7"/>
                  </a:lnTo>
                  <a:lnTo>
                    <a:pt x="143" y="9"/>
                  </a:lnTo>
                  <a:lnTo>
                    <a:pt x="146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489"/>
            <p:cNvSpPr>
              <a:spLocks/>
            </p:cNvSpPr>
            <p:nvPr/>
          </p:nvSpPr>
          <p:spPr bwMode="auto">
            <a:xfrm>
              <a:off x="6692221" y="4992007"/>
              <a:ext cx="45129" cy="63514"/>
            </a:xfrm>
            <a:custGeom>
              <a:avLst/>
              <a:gdLst>
                <a:gd name="T0" fmla="*/ 22 w 27"/>
                <a:gd name="T1" fmla="*/ 6 h 38"/>
                <a:gd name="T2" fmla="*/ 24 w 27"/>
                <a:gd name="T3" fmla="*/ 4 h 38"/>
                <a:gd name="T4" fmla="*/ 27 w 27"/>
                <a:gd name="T5" fmla="*/ 6 h 38"/>
                <a:gd name="T6" fmla="*/ 27 w 27"/>
                <a:gd name="T7" fmla="*/ 6 h 38"/>
                <a:gd name="T8" fmla="*/ 27 w 27"/>
                <a:gd name="T9" fmla="*/ 9 h 38"/>
                <a:gd name="T10" fmla="*/ 27 w 27"/>
                <a:gd name="T11" fmla="*/ 11 h 38"/>
                <a:gd name="T12" fmla="*/ 27 w 27"/>
                <a:gd name="T13" fmla="*/ 13 h 38"/>
                <a:gd name="T14" fmla="*/ 27 w 27"/>
                <a:gd name="T15" fmla="*/ 15 h 38"/>
                <a:gd name="T16" fmla="*/ 27 w 27"/>
                <a:gd name="T17" fmla="*/ 20 h 38"/>
                <a:gd name="T18" fmla="*/ 27 w 27"/>
                <a:gd name="T19" fmla="*/ 27 h 38"/>
                <a:gd name="T20" fmla="*/ 27 w 27"/>
                <a:gd name="T21" fmla="*/ 24 h 38"/>
                <a:gd name="T22" fmla="*/ 24 w 27"/>
                <a:gd name="T23" fmla="*/ 27 h 38"/>
                <a:gd name="T24" fmla="*/ 24 w 27"/>
                <a:gd name="T25" fmla="*/ 31 h 38"/>
                <a:gd name="T26" fmla="*/ 22 w 27"/>
                <a:gd name="T27" fmla="*/ 33 h 38"/>
                <a:gd name="T28" fmla="*/ 22 w 27"/>
                <a:gd name="T29" fmla="*/ 36 h 38"/>
                <a:gd name="T30" fmla="*/ 22 w 27"/>
                <a:gd name="T31" fmla="*/ 38 h 38"/>
                <a:gd name="T32" fmla="*/ 22 w 27"/>
                <a:gd name="T33" fmla="*/ 38 h 38"/>
                <a:gd name="T34" fmla="*/ 20 w 27"/>
                <a:gd name="T35" fmla="*/ 38 h 38"/>
                <a:gd name="T36" fmla="*/ 13 w 27"/>
                <a:gd name="T37" fmla="*/ 38 h 38"/>
                <a:gd name="T38" fmla="*/ 11 w 27"/>
                <a:gd name="T39" fmla="*/ 36 h 38"/>
                <a:gd name="T40" fmla="*/ 6 w 27"/>
                <a:gd name="T41" fmla="*/ 36 h 38"/>
                <a:gd name="T42" fmla="*/ 6 w 27"/>
                <a:gd name="T43" fmla="*/ 33 h 38"/>
                <a:gd name="T44" fmla="*/ 4 w 27"/>
                <a:gd name="T45" fmla="*/ 31 h 38"/>
                <a:gd name="T46" fmla="*/ 2 w 27"/>
                <a:gd name="T47" fmla="*/ 29 h 38"/>
                <a:gd name="T48" fmla="*/ 4 w 27"/>
                <a:gd name="T49" fmla="*/ 29 h 38"/>
                <a:gd name="T50" fmla="*/ 2 w 27"/>
                <a:gd name="T51" fmla="*/ 27 h 38"/>
                <a:gd name="T52" fmla="*/ 2 w 27"/>
                <a:gd name="T53" fmla="*/ 27 h 38"/>
                <a:gd name="T54" fmla="*/ 2 w 27"/>
                <a:gd name="T55" fmla="*/ 24 h 38"/>
                <a:gd name="T56" fmla="*/ 0 w 27"/>
                <a:gd name="T57" fmla="*/ 24 h 38"/>
                <a:gd name="T58" fmla="*/ 0 w 27"/>
                <a:gd name="T59" fmla="*/ 24 h 38"/>
                <a:gd name="T60" fmla="*/ 0 w 27"/>
                <a:gd name="T61" fmla="*/ 22 h 38"/>
                <a:gd name="T62" fmla="*/ 0 w 27"/>
                <a:gd name="T63" fmla="*/ 18 h 38"/>
                <a:gd name="T64" fmla="*/ 2 w 27"/>
                <a:gd name="T65" fmla="*/ 13 h 38"/>
                <a:gd name="T66" fmla="*/ 6 w 27"/>
                <a:gd name="T67" fmla="*/ 9 h 38"/>
                <a:gd name="T68" fmla="*/ 9 w 27"/>
                <a:gd name="T69" fmla="*/ 4 h 38"/>
                <a:gd name="T70" fmla="*/ 11 w 27"/>
                <a:gd name="T71" fmla="*/ 2 h 38"/>
                <a:gd name="T72" fmla="*/ 13 w 27"/>
                <a:gd name="T73" fmla="*/ 0 h 38"/>
                <a:gd name="T74" fmla="*/ 13 w 27"/>
                <a:gd name="T75" fmla="*/ 0 h 38"/>
                <a:gd name="T76" fmla="*/ 18 w 27"/>
                <a:gd name="T77" fmla="*/ 2 h 38"/>
                <a:gd name="T78" fmla="*/ 20 w 27"/>
                <a:gd name="T79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" h="38">
                  <a:moveTo>
                    <a:pt x="22" y="6"/>
                  </a:moveTo>
                  <a:lnTo>
                    <a:pt x="22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4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4" y="31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15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1" y="36"/>
                  </a:lnTo>
                  <a:lnTo>
                    <a:pt x="9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2" y="13"/>
                  </a:lnTo>
                  <a:lnTo>
                    <a:pt x="4" y="11"/>
                  </a:lnTo>
                  <a:lnTo>
                    <a:pt x="6" y="9"/>
                  </a:lnTo>
                  <a:lnTo>
                    <a:pt x="6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11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2" y="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490"/>
            <p:cNvSpPr>
              <a:spLocks noEditPoints="1"/>
            </p:cNvSpPr>
            <p:nvPr/>
          </p:nvSpPr>
          <p:spPr bwMode="auto">
            <a:xfrm>
              <a:off x="5876566" y="932116"/>
              <a:ext cx="364371" cy="120343"/>
            </a:xfrm>
            <a:custGeom>
              <a:avLst/>
              <a:gdLst>
                <a:gd name="T0" fmla="*/ 189 w 218"/>
                <a:gd name="T1" fmla="*/ 52 h 72"/>
                <a:gd name="T2" fmla="*/ 166 w 218"/>
                <a:gd name="T3" fmla="*/ 56 h 72"/>
                <a:gd name="T4" fmla="*/ 148 w 218"/>
                <a:gd name="T5" fmla="*/ 54 h 72"/>
                <a:gd name="T6" fmla="*/ 164 w 218"/>
                <a:gd name="T7" fmla="*/ 43 h 72"/>
                <a:gd name="T8" fmla="*/ 160 w 218"/>
                <a:gd name="T9" fmla="*/ 41 h 72"/>
                <a:gd name="T10" fmla="*/ 137 w 218"/>
                <a:gd name="T11" fmla="*/ 38 h 72"/>
                <a:gd name="T12" fmla="*/ 25 w 218"/>
                <a:gd name="T13" fmla="*/ 43 h 72"/>
                <a:gd name="T14" fmla="*/ 2 w 218"/>
                <a:gd name="T15" fmla="*/ 34 h 72"/>
                <a:gd name="T16" fmla="*/ 133 w 218"/>
                <a:gd name="T17" fmla="*/ 29 h 72"/>
                <a:gd name="T18" fmla="*/ 5 w 218"/>
                <a:gd name="T19" fmla="*/ 18 h 72"/>
                <a:gd name="T20" fmla="*/ 88 w 218"/>
                <a:gd name="T21" fmla="*/ 14 h 72"/>
                <a:gd name="T22" fmla="*/ 99 w 218"/>
                <a:gd name="T23" fmla="*/ 20 h 72"/>
                <a:gd name="T24" fmla="*/ 112 w 218"/>
                <a:gd name="T25" fmla="*/ 25 h 72"/>
                <a:gd name="T26" fmla="*/ 148 w 218"/>
                <a:gd name="T27" fmla="*/ 32 h 72"/>
                <a:gd name="T28" fmla="*/ 135 w 218"/>
                <a:gd name="T29" fmla="*/ 36 h 72"/>
                <a:gd name="T30" fmla="*/ 117 w 218"/>
                <a:gd name="T31" fmla="*/ 43 h 72"/>
                <a:gd name="T32" fmla="*/ 106 w 218"/>
                <a:gd name="T33" fmla="*/ 54 h 72"/>
                <a:gd name="T34" fmla="*/ 99 w 218"/>
                <a:gd name="T35" fmla="*/ 63 h 72"/>
                <a:gd name="T36" fmla="*/ 88 w 218"/>
                <a:gd name="T37" fmla="*/ 72 h 72"/>
                <a:gd name="T38" fmla="*/ 83 w 218"/>
                <a:gd name="T39" fmla="*/ 65 h 72"/>
                <a:gd name="T40" fmla="*/ 68 w 218"/>
                <a:gd name="T41" fmla="*/ 63 h 72"/>
                <a:gd name="T42" fmla="*/ 50 w 218"/>
                <a:gd name="T43" fmla="*/ 54 h 72"/>
                <a:gd name="T44" fmla="*/ 79 w 218"/>
                <a:gd name="T45" fmla="*/ 54 h 72"/>
                <a:gd name="T46" fmla="*/ 90 w 218"/>
                <a:gd name="T47" fmla="*/ 47 h 72"/>
                <a:gd name="T48" fmla="*/ 45 w 218"/>
                <a:gd name="T49" fmla="*/ 47 h 72"/>
                <a:gd name="T50" fmla="*/ 65 w 218"/>
                <a:gd name="T51" fmla="*/ 43 h 72"/>
                <a:gd name="T52" fmla="*/ 81 w 218"/>
                <a:gd name="T53" fmla="*/ 38 h 72"/>
                <a:gd name="T54" fmla="*/ 77 w 218"/>
                <a:gd name="T55" fmla="*/ 36 h 72"/>
                <a:gd name="T56" fmla="*/ 63 w 218"/>
                <a:gd name="T57" fmla="*/ 34 h 72"/>
                <a:gd name="T58" fmla="*/ 56 w 218"/>
                <a:gd name="T59" fmla="*/ 36 h 72"/>
                <a:gd name="T60" fmla="*/ 50 w 218"/>
                <a:gd name="T61" fmla="*/ 41 h 72"/>
                <a:gd name="T62" fmla="*/ 27 w 218"/>
                <a:gd name="T63" fmla="*/ 36 h 72"/>
                <a:gd name="T64" fmla="*/ 20 w 218"/>
                <a:gd name="T65" fmla="*/ 29 h 72"/>
                <a:gd name="T66" fmla="*/ 18 w 218"/>
                <a:gd name="T67" fmla="*/ 25 h 72"/>
                <a:gd name="T68" fmla="*/ 5 w 218"/>
                <a:gd name="T69" fmla="*/ 23 h 72"/>
                <a:gd name="T70" fmla="*/ 11 w 218"/>
                <a:gd name="T71" fmla="*/ 16 h 72"/>
                <a:gd name="T72" fmla="*/ 20 w 218"/>
                <a:gd name="T73" fmla="*/ 16 h 72"/>
                <a:gd name="T74" fmla="*/ 27 w 218"/>
                <a:gd name="T75" fmla="*/ 18 h 72"/>
                <a:gd name="T76" fmla="*/ 41 w 218"/>
                <a:gd name="T77" fmla="*/ 20 h 72"/>
                <a:gd name="T78" fmla="*/ 45 w 218"/>
                <a:gd name="T79" fmla="*/ 18 h 72"/>
                <a:gd name="T80" fmla="*/ 65 w 218"/>
                <a:gd name="T81" fmla="*/ 23 h 72"/>
                <a:gd name="T82" fmla="*/ 79 w 218"/>
                <a:gd name="T83" fmla="*/ 29 h 72"/>
                <a:gd name="T84" fmla="*/ 70 w 218"/>
                <a:gd name="T85" fmla="*/ 18 h 72"/>
                <a:gd name="T86" fmla="*/ 70 w 218"/>
                <a:gd name="T87" fmla="*/ 11 h 72"/>
                <a:gd name="T88" fmla="*/ 99 w 218"/>
                <a:gd name="T89" fmla="*/ 7 h 72"/>
                <a:gd name="T90" fmla="*/ 164 w 218"/>
                <a:gd name="T91" fmla="*/ 7 h 72"/>
                <a:gd name="T92" fmla="*/ 166 w 218"/>
                <a:gd name="T93" fmla="*/ 9 h 72"/>
                <a:gd name="T94" fmla="*/ 173 w 218"/>
                <a:gd name="T95" fmla="*/ 7 h 72"/>
                <a:gd name="T96" fmla="*/ 182 w 218"/>
                <a:gd name="T97" fmla="*/ 7 h 72"/>
                <a:gd name="T98" fmla="*/ 216 w 218"/>
                <a:gd name="T99" fmla="*/ 11 h 72"/>
                <a:gd name="T100" fmla="*/ 202 w 218"/>
                <a:gd name="T101" fmla="*/ 20 h 72"/>
                <a:gd name="T102" fmla="*/ 135 w 218"/>
                <a:gd name="T103" fmla="*/ 23 h 72"/>
                <a:gd name="T104" fmla="*/ 121 w 218"/>
                <a:gd name="T105" fmla="*/ 16 h 72"/>
                <a:gd name="T106" fmla="*/ 106 w 218"/>
                <a:gd name="T107" fmla="*/ 11 h 72"/>
                <a:gd name="T108" fmla="*/ 101 w 218"/>
                <a:gd name="T109" fmla="*/ 9 h 72"/>
                <a:gd name="T110" fmla="*/ 108 w 218"/>
                <a:gd name="T111" fmla="*/ 7 h 72"/>
                <a:gd name="T112" fmla="*/ 115 w 218"/>
                <a:gd name="T113" fmla="*/ 5 h 72"/>
                <a:gd name="T114" fmla="*/ 133 w 218"/>
                <a:gd name="T115" fmla="*/ 9 h 72"/>
                <a:gd name="T116" fmla="*/ 144 w 218"/>
                <a:gd name="T117" fmla="*/ 9 h 72"/>
                <a:gd name="T118" fmla="*/ 153 w 218"/>
                <a:gd name="T119" fmla="*/ 7 h 72"/>
                <a:gd name="T120" fmla="*/ 155 w 218"/>
                <a:gd name="T121" fmla="*/ 5 h 72"/>
                <a:gd name="T122" fmla="*/ 130 w 218"/>
                <a:gd name="T123" fmla="*/ 2 h 72"/>
                <a:gd name="T124" fmla="*/ 126 w 218"/>
                <a:gd name="T125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" h="72">
                  <a:moveTo>
                    <a:pt x="175" y="43"/>
                  </a:moveTo>
                  <a:lnTo>
                    <a:pt x="175" y="43"/>
                  </a:lnTo>
                  <a:lnTo>
                    <a:pt x="178" y="43"/>
                  </a:lnTo>
                  <a:lnTo>
                    <a:pt x="178" y="43"/>
                  </a:lnTo>
                  <a:lnTo>
                    <a:pt x="175" y="43"/>
                  </a:lnTo>
                  <a:lnTo>
                    <a:pt x="175" y="43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3" y="47"/>
                  </a:lnTo>
                  <a:lnTo>
                    <a:pt x="178" y="47"/>
                  </a:lnTo>
                  <a:lnTo>
                    <a:pt x="178" y="47"/>
                  </a:lnTo>
                  <a:lnTo>
                    <a:pt x="178" y="47"/>
                  </a:lnTo>
                  <a:lnTo>
                    <a:pt x="180" y="47"/>
                  </a:lnTo>
                  <a:lnTo>
                    <a:pt x="180" y="47"/>
                  </a:lnTo>
                  <a:lnTo>
                    <a:pt x="180" y="50"/>
                  </a:lnTo>
                  <a:lnTo>
                    <a:pt x="184" y="50"/>
                  </a:lnTo>
                  <a:lnTo>
                    <a:pt x="187" y="50"/>
                  </a:lnTo>
                  <a:lnTo>
                    <a:pt x="187" y="47"/>
                  </a:lnTo>
                  <a:lnTo>
                    <a:pt x="187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91" y="47"/>
                  </a:lnTo>
                  <a:lnTo>
                    <a:pt x="191" y="47"/>
                  </a:lnTo>
                  <a:lnTo>
                    <a:pt x="191" y="47"/>
                  </a:lnTo>
                  <a:lnTo>
                    <a:pt x="191" y="47"/>
                  </a:lnTo>
                  <a:lnTo>
                    <a:pt x="191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3" y="50"/>
                  </a:lnTo>
                  <a:lnTo>
                    <a:pt x="198" y="50"/>
                  </a:lnTo>
                  <a:lnTo>
                    <a:pt x="198" y="52"/>
                  </a:lnTo>
                  <a:lnTo>
                    <a:pt x="191" y="52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4" y="56"/>
                  </a:lnTo>
                  <a:lnTo>
                    <a:pt x="182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75" y="56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3" y="59"/>
                  </a:lnTo>
                  <a:lnTo>
                    <a:pt x="171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6" y="59"/>
                  </a:lnTo>
                  <a:lnTo>
                    <a:pt x="169" y="59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9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9" y="56"/>
                  </a:lnTo>
                  <a:lnTo>
                    <a:pt x="169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9" y="54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53" y="56"/>
                  </a:lnTo>
                  <a:lnTo>
                    <a:pt x="151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4" y="54"/>
                  </a:lnTo>
                  <a:lnTo>
                    <a:pt x="146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6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51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1" y="50"/>
                  </a:lnTo>
                  <a:lnTo>
                    <a:pt x="153" y="50"/>
                  </a:lnTo>
                  <a:lnTo>
                    <a:pt x="153" y="50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1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4" y="43"/>
                  </a:lnTo>
                  <a:lnTo>
                    <a:pt x="153" y="43"/>
                  </a:lnTo>
                  <a:lnTo>
                    <a:pt x="162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71" y="43"/>
                  </a:lnTo>
                  <a:lnTo>
                    <a:pt x="171" y="43"/>
                  </a:lnTo>
                  <a:lnTo>
                    <a:pt x="173" y="43"/>
                  </a:lnTo>
                  <a:lnTo>
                    <a:pt x="175" y="43"/>
                  </a:lnTo>
                  <a:close/>
                  <a:moveTo>
                    <a:pt x="148" y="36"/>
                  </a:moveTo>
                  <a:lnTo>
                    <a:pt x="148" y="36"/>
                  </a:lnTo>
                  <a:lnTo>
                    <a:pt x="148" y="36"/>
                  </a:lnTo>
                  <a:lnTo>
                    <a:pt x="151" y="36"/>
                  </a:lnTo>
                  <a:lnTo>
                    <a:pt x="151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3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2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7" y="38"/>
                  </a:lnTo>
                  <a:lnTo>
                    <a:pt x="135" y="38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9" y="36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6"/>
                  </a:lnTo>
                  <a:close/>
                  <a:moveTo>
                    <a:pt x="11" y="36"/>
                  </a:moveTo>
                  <a:lnTo>
                    <a:pt x="11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3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41"/>
                  </a:lnTo>
                  <a:lnTo>
                    <a:pt x="16" y="4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1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close/>
                  <a:moveTo>
                    <a:pt x="128" y="27"/>
                  </a:moveTo>
                  <a:lnTo>
                    <a:pt x="128" y="27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5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close/>
                  <a:moveTo>
                    <a:pt x="126" y="23"/>
                  </a:moveTo>
                  <a:lnTo>
                    <a:pt x="128" y="23"/>
                  </a:lnTo>
                  <a:lnTo>
                    <a:pt x="128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3"/>
                  </a:lnTo>
                  <a:close/>
                  <a:moveTo>
                    <a:pt x="5" y="18"/>
                  </a:move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5" y="18"/>
                  </a:lnTo>
                  <a:lnTo>
                    <a:pt x="5" y="18"/>
                  </a:lnTo>
                  <a:close/>
                  <a:moveTo>
                    <a:pt x="5" y="16"/>
                  </a:moveTo>
                  <a:lnTo>
                    <a:pt x="5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close/>
                  <a:moveTo>
                    <a:pt x="81" y="14"/>
                  </a:moveTo>
                  <a:lnTo>
                    <a:pt x="81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5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9" y="16"/>
                  </a:lnTo>
                  <a:lnTo>
                    <a:pt x="99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6" y="18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10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7" y="27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9" y="25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33" y="29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4" y="34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2" y="36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6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5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5" y="45"/>
                  </a:lnTo>
                  <a:lnTo>
                    <a:pt x="112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08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99" y="59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5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97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7" y="72"/>
                  </a:lnTo>
                  <a:lnTo>
                    <a:pt x="95" y="72"/>
                  </a:lnTo>
                  <a:lnTo>
                    <a:pt x="95" y="72"/>
                  </a:lnTo>
                  <a:lnTo>
                    <a:pt x="92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3" y="70"/>
                  </a:lnTo>
                  <a:lnTo>
                    <a:pt x="83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79" y="68"/>
                  </a:lnTo>
                  <a:lnTo>
                    <a:pt x="77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6" y="65"/>
                  </a:lnTo>
                  <a:lnTo>
                    <a:pt x="86" y="65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1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6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3" y="54"/>
                  </a:lnTo>
                  <a:lnTo>
                    <a:pt x="61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3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65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50"/>
                  </a:lnTo>
                  <a:lnTo>
                    <a:pt x="74" y="50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50"/>
                  </a:lnTo>
                  <a:lnTo>
                    <a:pt x="65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2" y="50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2" y="45"/>
                  </a:lnTo>
                  <a:lnTo>
                    <a:pt x="54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70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8" y="41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88" y="41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4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3" y="32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5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59" y="36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2" y="38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38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4" y="41"/>
                  </a:lnTo>
                  <a:lnTo>
                    <a:pt x="36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2" y="41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9" y="38"/>
                  </a:lnTo>
                  <a:lnTo>
                    <a:pt x="36" y="38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3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4" y="29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3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3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4" y="23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7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9" y="20"/>
                  </a:lnTo>
                  <a:lnTo>
                    <a:pt x="7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1" y="18"/>
                  </a:lnTo>
                  <a:lnTo>
                    <a:pt x="36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2" y="20"/>
                  </a:lnTo>
                  <a:lnTo>
                    <a:pt x="32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3" y="20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7" y="23"/>
                  </a:lnTo>
                  <a:lnTo>
                    <a:pt x="45" y="23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3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5" y="20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8" y="23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2" y="25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8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1" y="14"/>
                  </a:lnTo>
                  <a:close/>
                  <a:moveTo>
                    <a:pt x="103" y="7"/>
                  </a:move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6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99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3" y="7"/>
                  </a:lnTo>
                  <a:close/>
                  <a:moveTo>
                    <a:pt x="178" y="7"/>
                  </a:moveTo>
                  <a:lnTo>
                    <a:pt x="175" y="7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8" y="5"/>
                  </a:lnTo>
                  <a:lnTo>
                    <a:pt x="178" y="7"/>
                  </a:lnTo>
                  <a:close/>
                  <a:moveTo>
                    <a:pt x="173" y="5"/>
                  </a:moveTo>
                  <a:lnTo>
                    <a:pt x="175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close/>
                  <a:moveTo>
                    <a:pt x="162" y="7"/>
                  </a:move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2" y="7"/>
                  </a:lnTo>
                  <a:lnTo>
                    <a:pt x="162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9" y="9"/>
                  </a:lnTo>
                  <a:lnTo>
                    <a:pt x="166" y="9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69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69" y="9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7"/>
                  </a:lnTo>
                  <a:lnTo>
                    <a:pt x="173" y="7"/>
                  </a:lnTo>
                  <a:lnTo>
                    <a:pt x="173" y="7"/>
                  </a:lnTo>
                  <a:lnTo>
                    <a:pt x="173" y="7"/>
                  </a:lnTo>
                  <a:lnTo>
                    <a:pt x="173" y="7"/>
                  </a:lnTo>
                  <a:lnTo>
                    <a:pt x="173" y="7"/>
                  </a:lnTo>
                  <a:lnTo>
                    <a:pt x="171" y="7"/>
                  </a:lnTo>
                  <a:lnTo>
                    <a:pt x="171" y="7"/>
                  </a:lnTo>
                  <a:lnTo>
                    <a:pt x="173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8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9"/>
                  </a:lnTo>
                  <a:lnTo>
                    <a:pt x="180" y="9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4" y="7"/>
                  </a:lnTo>
                  <a:lnTo>
                    <a:pt x="182" y="9"/>
                  </a:lnTo>
                  <a:lnTo>
                    <a:pt x="184" y="9"/>
                  </a:lnTo>
                  <a:lnTo>
                    <a:pt x="184" y="7"/>
                  </a:lnTo>
                  <a:lnTo>
                    <a:pt x="187" y="9"/>
                  </a:lnTo>
                  <a:lnTo>
                    <a:pt x="187" y="7"/>
                  </a:lnTo>
                  <a:lnTo>
                    <a:pt x="191" y="7"/>
                  </a:lnTo>
                  <a:lnTo>
                    <a:pt x="191" y="7"/>
                  </a:lnTo>
                  <a:lnTo>
                    <a:pt x="189" y="9"/>
                  </a:lnTo>
                  <a:lnTo>
                    <a:pt x="189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6" y="9"/>
                  </a:lnTo>
                  <a:lnTo>
                    <a:pt x="196" y="9"/>
                  </a:lnTo>
                  <a:lnTo>
                    <a:pt x="196" y="9"/>
                  </a:lnTo>
                  <a:lnTo>
                    <a:pt x="196" y="9"/>
                  </a:lnTo>
                  <a:lnTo>
                    <a:pt x="196" y="9"/>
                  </a:lnTo>
                  <a:lnTo>
                    <a:pt x="198" y="9"/>
                  </a:lnTo>
                  <a:lnTo>
                    <a:pt x="198" y="9"/>
                  </a:lnTo>
                  <a:lnTo>
                    <a:pt x="209" y="9"/>
                  </a:lnTo>
                  <a:lnTo>
                    <a:pt x="211" y="9"/>
                  </a:lnTo>
                  <a:lnTo>
                    <a:pt x="214" y="9"/>
                  </a:lnTo>
                  <a:lnTo>
                    <a:pt x="214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1"/>
                  </a:lnTo>
                  <a:lnTo>
                    <a:pt x="216" y="14"/>
                  </a:lnTo>
                  <a:lnTo>
                    <a:pt x="216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6" y="14"/>
                  </a:lnTo>
                  <a:lnTo>
                    <a:pt x="214" y="14"/>
                  </a:lnTo>
                  <a:lnTo>
                    <a:pt x="214" y="16"/>
                  </a:lnTo>
                  <a:lnTo>
                    <a:pt x="211" y="16"/>
                  </a:lnTo>
                  <a:lnTo>
                    <a:pt x="211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7" y="18"/>
                  </a:lnTo>
                  <a:lnTo>
                    <a:pt x="205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2" y="18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0"/>
                  </a:lnTo>
                  <a:lnTo>
                    <a:pt x="202" y="23"/>
                  </a:lnTo>
                  <a:lnTo>
                    <a:pt x="200" y="23"/>
                  </a:lnTo>
                  <a:lnTo>
                    <a:pt x="200" y="23"/>
                  </a:lnTo>
                  <a:lnTo>
                    <a:pt x="196" y="23"/>
                  </a:lnTo>
                  <a:lnTo>
                    <a:pt x="196" y="23"/>
                  </a:lnTo>
                  <a:lnTo>
                    <a:pt x="193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89" y="23"/>
                  </a:lnTo>
                  <a:lnTo>
                    <a:pt x="189" y="23"/>
                  </a:lnTo>
                  <a:lnTo>
                    <a:pt x="184" y="23"/>
                  </a:lnTo>
                  <a:lnTo>
                    <a:pt x="182" y="23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0" y="25"/>
                  </a:lnTo>
                  <a:lnTo>
                    <a:pt x="164" y="25"/>
                  </a:lnTo>
                  <a:lnTo>
                    <a:pt x="162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48" y="23"/>
                  </a:lnTo>
                  <a:lnTo>
                    <a:pt x="144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5" y="20"/>
                  </a:lnTo>
                  <a:lnTo>
                    <a:pt x="135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4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8" y="18"/>
                  </a:lnTo>
                  <a:lnTo>
                    <a:pt x="130" y="18"/>
                  </a:lnTo>
                  <a:lnTo>
                    <a:pt x="139" y="20"/>
                  </a:lnTo>
                  <a:lnTo>
                    <a:pt x="139" y="18"/>
                  </a:lnTo>
                  <a:lnTo>
                    <a:pt x="133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1" y="16"/>
                  </a:lnTo>
                  <a:lnTo>
                    <a:pt x="119" y="16"/>
                  </a:lnTo>
                  <a:lnTo>
                    <a:pt x="117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2" y="16"/>
                  </a:lnTo>
                  <a:lnTo>
                    <a:pt x="110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8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7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101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06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1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6" y="9"/>
                  </a:lnTo>
                  <a:lnTo>
                    <a:pt x="103" y="9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5" y="11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2" y="7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30" y="7"/>
                  </a:lnTo>
                  <a:lnTo>
                    <a:pt x="133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7" y="9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42" y="7"/>
                  </a:lnTo>
                  <a:lnTo>
                    <a:pt x="142" y="9"/>
                  </a:lnTo>
                  <a:lnTo>
                    <a:pt x="144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7"/>
                  </a:lnTo>
                  <a:lnTo>
                    <a:pt x="153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5"/>
                  </a:lnTo>
                  <a:lnTo>
                    <a:pt x="151" y="5"/>
                  </a:lnTo>
                  <a:lnTo>
                    <a:pt x="151" y="5"/>
                  </a:lnTo>
                  <a:lnTo>
                    <a:pt x="153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7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7" y="5"/>
                  </a:lnTo>
                  <a:lnTo>
                    <a:pt x="160" y="5"/>
                  </a:lnTo>
                  <a:lnTo>
                    <a:pt x="162" y="5"/>
                  </a:lnTo>
                  <a:lnTo>
                    <a:pt x="164" y="5"/>
                  </a:lnTo>
                  <a:lnTo>
                    <a:pt x="164" y="5"/>
                  </a:lnTo>
                  <a:lnTo>
                    <a:pt x="164" y="5"/>
                  </a:lnTo>
                  <a:lnTo>
                    <a:pt x="162" y="5"/>
                  </a:lnTo>
                  <a:lnTo>
                    <a:pt x="164" y="5"/>
                  </a:lnTo>
                  <a:lnTo>
                    <a:pt x="164" y="5"/>
                  </a:lnTo>
                  <a:lnTo>
                    <a:pt x="164" y="5"/>
                  </a:lnTo>
                  <a:lnTo>
                    <a:pt x="164" y="5"/>
                  </a:lnTo>
                  <a:lnTo>
                    <a:pt x="162" y="5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close/>
                  <a:moveTo>
                    <a:pt x="119" y="5"/>
                  </a:move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19" y="5"/>
                  </a:lnTo>
                  <a:close/>
                  <a:moveTo>
                    <a:pt x="130" y="2"/>
                  </a:move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close/>
                  <a:moveTo>
                    <a:pt x="137" y="0"/>
                  </a:moveTo>
                  <a:lnTo>
                    <a:pt x="137" y="0"/>
                  </a:lnTo>
                  <a:lnTo>
                    <a:pt x="137" y="2"/>
                  </a:lnTo>
                  <a:lnTo>
                    <a:pt x="137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7" y="0"/>
                  </a:lnTo>
                  <a:close/>
                  <a:moveTo>
                    <a:pt x="133" y="0"/>
                  </a:moveTo>
                  <a:lnTo>
                    <a:pt x="133" y="0"/>
                  </a:lnTo>
                  <a:lnTo>
                    <a:pt x="133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3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Freeform 491"/>
            <p:cNvSpPr>
              <a:spLocks/>
            </p:cNvSpPr>
            <p:nvPr/>
          </p:nvSpPr>
          <p:spPr bwMode="auto">
            <a:xfrm>
              <a:off x="3605099" y="3728410"/>
              <a:ext cx="147085" cy="165471"/>
            </a:xfrm>
            <a:custGeom>
              <a:avLst/>
              <a:gdLst>
                <a:gd name="T0" fmla="*/ 88 w 88"/>
                <a:gd name="T1" fmla="*/ 7 h 99"/>
                <a:gd name="T2" fmla="*/ 85 w 88"/>
                <a:gd name="T3" fmla="*/ 14 h 99"/>
                <a:gd name="T4" fmla="*/ 79 w 88"/>
                <a:gd name="T5" fmla="*/ 20 h 99"/>
                <a:gd name="T6" fmla="*/ 76 w 88"/>
                <a:gd name="T7" fmla="*/ 27 h 99"/>
                <a:gd name="T8" fmla="*/ 79 w 88"/>
                <a:gd name="T9" fmla="*/ 34 h 99"/>
                <a:gd name="T10" fmla="*/ 79 w 88"/>
                <a:gd name="T11" fmla="*/ 43 h 99"/>
                <a:gd name="T12" fmla="*/ 81 w 88"/>
                <a:gd name="T13" fmla="*/ 50 h 99"/>
                <a:gd name="T14" fmla="*/ 83 w 88"/>
                <a:gd name="T15" fmla="*/ 52 h 99"/>
                <a:gd name="T16" fmla="*/ 85 w 88"/>
                <a:gd name="T17" fmla="*/ 56 h 99"/>
                <a:gd name="T18" fmla="*/ 83 w 88"/>
                <a:gd name="T19" fmla="*/ 65 h 99"/>
                <a:gd name="T20" fmla="*/ 81 w 88"/>
                <a:gd name="T21" fmla="*/ 70 h 99"/>
                <a:gd name="T22" fmla="*/ 83 w 88"/>
                <a:gd name="T23" fmla="*/ 74 h 99"/>
                <a:gd name="T24" fmla="*/ 79 w 88"/>
                <a:gd name="T25" fmla="*/ 79 h 99"/>
                <a:gd name="T26" fmla="*/ 74 w 88"/>
                <a:gd name="T27" fmla="*/ 88 h 99"/>
                <a:gd name="T28" fmla="*/ 70 w 88"/>
                <a:gd name="T29" fmla="*/ 86 h 99"/>
                <a:gd name="T30" fmla="*/ 70 w 88"/>
                <a:gd name="T31" fmla="*/ 83 h 99"/>
                <a:gd name="T32" fmla="*/ 65 w 88"/>
                <a:gd name="T33" fmla="*/ 81 h 99"/>
                <a:gd name="T34" fmla="*/ 58 w 88"/>
                <a:gd name="T35" fmla="*/ 83 h 99"/>
                <a:gd name="T36" fmla="*/ 52 w 88"/>
                <a:gd name="T37" fmla="*/ 86 h 99"/>
                <a:gd name="T38" fmla="*/ 45 w 88"/>
                <a:gd name="T39" fmla="*/ 83 h 99"/>
                <a:gd name="T40" fmla="*/ 43 w 88"/>
                <a:gd name="T41" fmla="*/ 88 h 99"/>
                <a:gd name="T42" fmla="*/ 43 w 88"/>
                <a:gd name="T43" fmla="*/ 90 h 99"/>
                <a:gd name="T44" fmla="*/ 45 w 88"/>
                <a:gd name="T45" fmla="*/ 97 h 99"/>
                <a:gd name="T46" fmla="*/ 36 w 88"/>
                <a:gd name="T47" fmla="*/ 97 h 99"/>
                <a:gd name="T48" fmla="*/ 31 w 88"/>
                <a:gd name="T49" fmla="*/ 95 h 99"/>
                <a:gd name="T50" fmla="*/ 25 w 88"/>
                <a:gd name="T51" fmla="*/ 88 h 99"/>
                <a:gd name="T52" fmla="*/ 22 w 88"/>
                <a:gd name="T53" fmla="*/ 83 h 99"/>
                <a:gd name="T54" fmla="*/ 22 w 88"/>
                <a:gd name="T55" fmla="*/ 79 h 99"/>
                <a:gd name="T56" fmla="*/ 20 w 88"/>
                <a:gd name="T57" fmla="*/ 77 h 99"/>
                <a:gd name="T58" fmla="*/ 18 w 88"/>
                <a:gd name="T59" fmla="*/ 74 h 99"/>
                <a:gd name="T60" fmla="*/ 18 w 88"/>
                <a:gd name="T61" fmla="*/ 70 h 99"/>
                <a:gd name="T62" fmla="*/ 18 w 88"/>
                <a:gd name="T63" fmla="*/ 68 h 99"/>
                <a:gd name="T64" fmla="*/ 16 w 88"/>
                <a:gd name="T65" fmla="*/ 65 h 99"/>
                <a:gd name="T66" fmla="*/ 16 w 88"/>
                <a:gd name="T67" fmla="*/ 63 h 99"/>
                <a:gd name="T68" fmla="*/ 13 w 88"/>
                <a:gd name="T69" fmla="*/ 63 h 99"/>
                <a:gd name="T70" fmla="*/ 9 w 88"/>
                <a:gd name="T71" fmla="*/ 63 h 99"/>
                <a:gd name="T72" fmla="*/ 9 w 88"/>
                <a:gd name="T73" fmla="*/ 59 h 99"/>
                <a:gd name="T74" fmla="*/ 4 w 88"/>
                <a:gd name="T75" fmla="*/ 56 h 99"/>
                <a:gd name="T76" fmla="*/ 0 w 88"/>
                <a:gd name="T77" fmla="*/ 45 h 99"/>
                <a:gd name="T78" fmla="*/ 4 w 88"/>
                <a:gd name="T79" fmla="*/ 38 h 99"/>
                <a:gd name="T80" fmla="*/ 4 w 88"/>
                <a:gd name="T81" fmla="*/ 29 h 99"/>
                <a:gd name="T82" fmla="*/ 7 w 88"/>
                <a:gd name="T83" fmla="*/ 25 h 99"/>
                <a:gd name="T84" fmla="*/ 13 w 88"/>
                <a:gd name="T85" fmla="*/ 25 h 99"/>
                <a:gd name="T86" fmla="*/ 18 w 88"/>
                <a:gd name="T87" fmla="*/ 23 h 99"/>
                <a:gd name="T88" fmla="*/ 18 w 88"/>
                <a:gd name="T89" fmla="*/ 20 h 99"/>
                <a:gd name="T90" fmla="*/ 18 w 88"/>
                <a:gd name="T91" fmla="*/ 18 h 99"/>
                <a:gd name="T92" fmla="*/ 18 w 88"/>
                <a:gd name="T93" fmla="*/ 16 h 99"/>
                <a:gd name="T94" fmla="*/ 18 w 88"/>
                <a:gd name="T95" fmla="*/ 11 h 99"/>
                <a:gd name="T96" fmla="*/ 22 w 88"/>
                <a:gd name="T97" fmla="*/ 2 h 99"/>
                <a:gd name="T98" fmla="*/ 25 w 88"/>
                <a:gd name="T99" fmla="*/ 0 h 99"/>
                <a:gd name="T100" fmla="*/ 43 w 88"/>
                <a:gd name="T101" fmla="*/ 5 h 99"/>
                <a:gd name="T102" fmla="*/ 47 w 88"/>
                <a:gd name="T103" fmla="*/ 7 h 99"/>
                <a:gd name="T104" fmla="*/ 47 w 88"/>
                <a:gd name="T105" fmla="*/ 2 h 99"/>
                <a:gd name="T106" fmla="*/ 61 w 88"/>
                <a:gd name="T107" fmla="*/ 2 h 99"/>
                <a:gd name="T108" fmla="*/ 63 w 88"/>
                <a:gd name="T109" fmla="*/ 2 h 99"/>
                <a:gd name="T110" fmla="*/ 67 w 88"/>
                <a:gd name="T111" fmla="*/ 2 h 99"/>
                <a:gd name="T112" fmla="*/ 70 w 88"/>
                <a:gd name="T113" fmla="*/ 5 h 99"/>
                <a:gd name="T114" fmla="*/ 65 w 88"/>
                <a:gd name="T115" fmla="*/ 2 h 99"/>
                <a:gd name="T116" fmla="*/ 65 w 88"/>
                <a:gd name="T117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8" h="99">
                  <a:moveTo>
                    <a:pt x="81" y="2"/>
                  </a:moveTo>
                  <a:lnTo>
                    <a:pt x="83" y="2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6" y="34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81" y="47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3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79" y="79"/>
                  </a:lnTo>
                  <a:lnTo>
                    <a:pt x="79" y="81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4" y="86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70" y="86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3" y="81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1" y="83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5" y="92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0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7" y="92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79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4" y="32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8" y="0"/>
                  </a:lnTo>
                  <a:lnTo>
                    <a:pt x="58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5" y="5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5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5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2"/>
                  </a:lnTo>
                  <a:lnTo>
                    <a:pt x="81" y="2"/>
                  </a:lnTo>
                  <a:lnTo>
                    <a:pt x="81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Freeform 492"/>
            <p:cNvSpPr>
              <a:spLocks/>
            </p:cNvSpPr>
            <p:nvPr/>
          </p:nvSpPr>
          <p:spPr bwMode="auto">
            <a:xfrm>
              <a:off x="6403065" y="3081569"/>
              <a:ext cx="578313" cy="748798"/>
            </a:xfrm>
            <a:custGeom>
              <a:avLst/>
              <a:gdLst>
                <a:gd name="T0" fmla="*/ 267 w 346"/>
                <a:gd name="T1" fmla="*/ 7 h 448"/>
                <a:gd name="T2" fmla="*/ 310 w 346"/>
                <a:gd name="T3" fmla="*/ 23 h 448"/>
                <a:gd name="T4" fmla="*/ 312 w 346"/>
                <a:gd name="T5" fmla="*/ 25 h 448"/>
                <a:gd name="T6" fmla="*/ 312 w 346"/>
                <a:gd name="T7" fmla="*/ 32 h 448"/>
                <a:gd name="T8" fmla="*/ 316 w 346"/>
                <a:gd name="T9" fmla="*/ 59 h 448"/>
                <a:gd name="T10" fmla="*/ 321 w 346"/>
                <a:gd name="T11" fmla="*/ 81 h 448"/>
                <a:gd name="T12" fmla="*/ 328 w 346"/>
                <a:gd name="T13" fmla="*/ 86 h 448"/>
                <a:gd name="T14" fmla="*/ 339 w 346"/>
                <a:gd name="T15" fmla="*/ 95 h 448"/>
                <a:gd name="T16" fmla="*/ 343 w 346"/>
                <a:gd name="T17" fmla="*/ 99 h 448"/>
                <a:gd name="T18" fmla="*/ 337 w 346"/>
                <a:gd name="T19" fmla="*/ 113 h 448"/>
                <a:gd name="T20" fmla="*/ 325 w 346"/>
                <a:gd name="T21" fmla="*/ 117 h 448"/>
                <a:gd name="T22" fmla="*/ 312 w 346"/>
                <a:gd name="T23" fmla="*/ 124 h 448"/>
                <a:gd name="T24" fmla="*/ 312 w 346"/>
                <a:gd name="T25" fmla="*/ 138 h 448"/>
                <a:gd name="T26" fmla="*/ 305 w 346"/>
                <a:gd name="T27" fmla="*/ 167 h 448"/>
                <a:gd name="T28" fmla="*/ 298 w 346"/>
                <a:gd name="T29" fmla="*/ 221 h 448"/>
                <a:gd name="T30" fmla="*/ 289 w 346"/>
                <a:gd name="T31" fmla="*/ 230 h 448"/>
                <a:gd name="T32" fmla="*/ 278 w 346"/>
                <a:gd name="T33" fmla="*/ 252 h 448"/>
                <a:gd name="T34" fmla="*/ 274 w 346"/>
                <a:gd name="T35" fmla="*/ 275 h 448"/>
                <a:gd name="T36" fmla="*/ 263 w 346"/>
                <a:gd name="T37" fmla="*/ 288 h 448"/>
                <a:gd name="T38" fmla="*/ 249 w 346"/>
                <a:gd name="T39" fmla="*/ 329 h 448"/>
                <a:gd name="T40" fmla="*/ 240 w 346"/>
                <a:gd name="T41" fmla="*/ 331 h 448"/>
                <a:gd name="T42" fmla="*/ 240 w 346"/>
                <a:gd name="T43" fmla="*/ 335 h 448"/>
                <a:gd name="T44" fmla="*/ 240 w 346"/>
                <a:gd name="T45" fmla="*/ 344 h 448"/>
                <a:gd name="T46" fmla="*/ 251 w 346"/>
                <a:gd name="T47" fmla="*/ 347 h 448"/>
                <a:gd name="T48" fmla="*/ 263 w 346"/>
                <a:gd name="T49" fmla="*/ 362 h 448"/>
                <a:gd name="T50" fmla="*/ 274 w 346"/>
                <a:gd name="T51" fmla="*/ 371 h 448"/>
                <a:gd name="T52" fmla="*/ 280 w 346"/>
                <a:gd name="T53" fmla="*/ 389 h 448"/>
                <a:gd name="T54" fmla="*/ 267 w 346"/>
                <a:gd name="T55" fmla="*/ 421 h 448"/>
                <a:gd name="T56" fmla="*/ 222 w 346"/>
                <a:gd name="T57" fmla="*/ 446 h 448"/>
                <a:gd name="T58" fmla="*/ 209 w 346"/>
                <a:gd name="T59" fmla="*/ 443 h 448"/>
                <a:gd name="T60" fmla="*/ 193 w 346"/>
                <a:gd name="T61" fmla="*/ 446 h 448"/>
                <a:gd name="T62" fmla="*/ 186 w 346"/>
                <a:gd name="T63" fmla="*/ 439 h 448"/>
                <a:gd name="T64" fmla="*/ 175 w 346"/>
                <a:gd name="T65" fmla="*/ 430 h 448"/>
                <a:gd name="T66" fmla="*/ 170 w 346"/>
                <a:gd name="T67" fmla="*/ 421 h 448"/>
                <a:gd name="T68" fmla="*/ 161 w 346"/>
                <a:gd name="T69" fmla="*/ 423 h 448"/>
                <a:gd name="T70" fmla="*/ 150 w 346"/>
                <a:gd name="T71" fmla="*/ 423 h 448"/>
                <a:gd name="T72" fmla="*/ 141 w 346"/>
                <a:gd name="T73" fmla="*/ 428 h 448"/>
                <a:gd name="T74" fmla="*/ 132 w 346"/>
                <a:gd name="T75" fmla="*/ 421 h 448"/>
                <a:gd name="T76" fmla="*/ 128 w 346"/>
                <a:gd name="T77" fmla="*/ 416 h 448"/>
                <a:gd name="T78" fmla="*/ 119 w 346"/>
                <a:gd name="T79" fmla="*/ 405 h 448"/>
                <a:gd name="T80" fmla="*/ 116 w 346"/>
                <a:gd name="T81" fmla="*/ 396 h 448"/>
                <a:gd name="T82" fmla="*/ 110 w 346"/>
                <a:gd name="T83" fmla="*/ 389 h 448"/>
                <a:gd name="T84" fmla="*/ 101 w 346"/>
                <a:gd name="T85" fmla="*/ 383 h 448"/>
                <a:gd name="T86" fmla="*/ 96 w 346"/>
                <a:gd name="T87" fmla="*/ 371 h 448"/>
                <a:gd name="T88" fmla="*/ 90 w 346"/>
                <a:gd name="T89" fmla="*/ 362 h 448"/>
                <a:gd name="T90" fmla="*/ 81 w 346"/>
                <a:gd name="T91" fmla="*/ 358 h 448"/>
                <a:gd name="T92" fmla="*/ 76 w 346"/>
                <a:gd name="T93" fmla="*/ 347 h 448"/>
                <a:gd name="T94" fmla="*/ 65 w 346"/>
                <a:gd name="T95" fmla="*/ 335 h 448"/>
                <a:gd name="T96" fmla="*/ 51 w 346"/>
                <a:gd name="T97" fmla="*/ 331 h 448"/>
                <a:gd name="T98" fmla="*/ 40 w 346"/>
                <a:gd name="T99" fmla="*/ 322 h 448"/>
                <a:gd name="T100" fmla="*/ 38 w 346"/>
                <a:gd name="T101" fmla="*/ 311 h 448"/>
                <a:gd name="T102" fmla="*/ 40 w 346"/>
                <a:gd name="T103" fmla="*/ 295 h 448"/>
                <a:gd name="T104" fmla="*/ 18 w 346"/>
                <a:gd name="T105" fmla="*/ 254 h 448"/>
                <a:gd name="T106" fmla="*/ 9 w 346"/>
                <a:gd name="T107" fmla="*/ 227 h 448"/>
                <a:gd name="T108" fmla="*/ 9 w 346"/>
                <a:gd name="T109" fmla="*/ 209 h 448"/>
                <a:gd name="T110" fmla="*/ 13 w 346"/>
                <a:gd name="T111" fmla="*/ 191 h 448"/>
                <a:gd name="T112" fmla="*/ 18 w 346"/>
                <a:gd name="T113" fmla="*/ 178 h 448"/>
                <a:gd name="T114" fmla="*/ 27 w 346"/>
                <a:gd name="T115" fmla="*/ 156 h 448"/>
                <a:gd name="T116" fmla="*/ 42 w 346"/>
                <a:gd name="T117" fmla="*/ 66 h 448"/>
                <a:gd name="T118" fmla="*/ 60 w 346"/>
                <a:gd name="T119" fmla="*/ 36 h 448"/>
                <a:gd name="T120" fmla="*/ 94 w 346"/>
                <a:gd name="T121" fmla="*/ 7 h 448"/>
                <a:gd name="T122" fmla="*/ 148 w 346"/>
                <a:gd name="T123" fmla="*/ 7 h 448"/>
                <a:gd name="T124" fmla="*/ 193 w 346"/>
                <a:gd name="T125" fmla="*/ 0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6" h="448">
                  <a:moveTo>
                    <a:pt x="193" y="5"/>
                  </a:moveTo>
                  <a:lnTo>
                    <a:pt x="193" y="7"/>
                  </a:lnTo>
                  <a:lnTo>
                    <a:pt x="195" y="7"/>
                  </a:lnTo>
                  <a:lnTo>
                    <a:pt x="197" y="7"/>
                  </a:lnTo>
                  <a:lnTo>
                    <a:pt x="197" y="7"/>
                  </a:lnTo>
                  <a:lnTo>
                    <a:pt x="200" y="7"/>
                  </a:lnTo>
                  <a:lnTo>
                    <a:pt x="202" y="7"/>
                  </a:lnTo>
                  <a:lnTo>
                    <a:pt x="204" y="7"/>
                  </a:lnTo>
                  <a:lnTo>
                    <a:pt x="206" y="7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3" y="7"/>
                  </a:lnTo>
                  <a:lnTo>
                    <a:pt x="215" y="7"/>
                  </a:lnTo>
                  <a:lnTo>
                    <a:pt x="218" y="7"/>
                  </a:lnTo>
                  <a:lnTo>
                    <a:pt x="220" y="7"/>
                  </a:lnTo>
                  <a:lnTo>
                    <a:pt x="222" y="7"/>
                  </a:lnTo>
                  <a:lnTo>
                    <a:pt x="224" y="7"/>
                  </a:lnTo>
                  <a:lnTo>
                    <a:pt x="227" y="7"/>
                  </a:lnTo>
                  <a:lnTo>
                    <a:pt x="229" y="7"/>
                  </a:lnTo>
                  <a:lnTo>
                    <a:pt x="233" y="7"/>
                  </a:lnTo>
                  <a:lnTo>
                    <a:pt x="238" y="7"/>
                  </a:lnTo>
                  <a:lnTo>
                    <a:pt x="242" y="7"/>
                  </a:lnTo>
                  <a:lnTo>
                    <a:pt x="247" y="7"/>
                  </a:lnTo>
                  <a:lnTo>
                    <a:pt x="251" y="7"/>
                  </a:lnTo>
                  <a:lnTo>
                    <a:pt x="256" y="7"/>
                  </a:lnTo>
                  <a:lnTo>
                    <a:pt x="263" y="7"/>
                  </a:lnTo>
                  <a:lnTo>
                    <a:pt x="267" y="7"/>
                  </a:lnTo>
                  <a:lnTo>
                    <a:pt x="272" y="7"/>
                  </a:lnTo>
                  <a:lnTo>
                    <a:pt x="276" y="7"/>
                  </a:lnTo>
                  <a:lnTo>
                    <a:pt x="280" y="7"/>
                  </a:lnTo>
                  <a:lnTo>
                    <a:pt x="285" y="7"/>
                  </a:lnTo>
                  <a:lnTo>
                    <a:pt x="289" y="7"/>
                  </a:lnTo>
                  <a:lnTo>
                    <a:pt x="294" y="7"/>
                  </a:lnTo>
                  <a:lnTo>
                    <a:pt x="301" y="7"/>
                  </a:lnTo>
                  <a:lnTo>
                    <a:pt x="305" y="7"/>
                  </a:lnTo>
                  <a:lnTo>
                    <a:pt x="305" y="7"/>
                  </a:lnTo>
                  <a:lnTo>
                    <a:pt x="305" y="7"/>
                  </a:lnTo>
                  <a:lnTo>
                    <a:pt x="305" y="7"/>
                  </a:lnTo>
                  <a:lnTo>
                    <a:pt x="305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5" y="7"/>
                  </a:lnTo>
                  <a:lnTo>
                    <a:pt x="305" y="7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4"/>
                  </a:lnTo>
                  <a:lnTo>
                    <a:pt x="305" y="14"/>
                  </a:lnTo>
                  <a:lnTo>
                    <a:pt x="305" y="14"/>
                  </a:lnTo>
                  <a:lnTo>
                    <a:pt x="305" y="16"/>
                  </a:lnTo>
                  <a:lnTo>
                    <a:pt x="305" y="16"/>
                  </a:lnTo>
                  <a:lnTo>
                    <a:pt x="305" y="16"/>
                  </a:lnTo>
                  <a:lnTo>
                    <a:pt x="305" y="16"/>
                  </a:lnTo>
                  <a:lnTo>
                    <a:pt x="307" y="18"/>
                  </a:lnTo>
                  <a:lnTo>
                    <a:pt x="310" y="23"/>
                  </a:lnTo>
                  <a:lnTo>
                    <a:pt x="312" y="25"/>
                  </a:lnTo>
                  <a:lnTo>
                    <a:pt x="314" y="27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30"/>
                  </a:lnTo>
                  <a:lnTo>
                    <a:pt x="314" y="27"/>
                  </a:lnTo>
                  <a:lnTo>
                    <a:pt x="314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5"/>
                  </a:lnTo>
                  <a:lnTo>
                    <a:pt x="312" y="27"/>
                  </a:lnTo>
                  <a:lnTo>
                    <a:pt x="312" y="27"/>
                  </a:lnTo>
                  <a:lnTo>
                    <a:pt x="312" y="25"/>
                  </a:lnTo>
                  <a:lnTo>
                    <a:pt x="312" y="25"/>
                  </a:lnTo>
                  <a:lnTo>
                    <a:pt x="312" y="25"/>
                  </a:lnTo>
                  <a:lnTo>
                    <a:pt x="312" y="25"/>
                  </a:lnTo>
                  <a:lnTo>
                    <a:pt x="312" y="25"/>
                  </a:lnTo>
                  <a:lnTo>
                    <a:pt x="312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30"/>
                  </a:lnTo>
                  <a:lnTo>
                    <a:pt x="310" y="30"/>
                  </a:lnTo>
                  <a:lnTo>
                    <a:pt x="310" y="30"/>
                  </a:lnTo>
                  <a:lnTo>
                    <a:pt x="310" y="30"/>
                  </a:lnTo>
                  <a:lnTo>
                    <a:pt x="312" y="32"/>
                  </a:lnTo>
                  <a:lnTo>
                    <a:pt x="312" y="32"/>
                  </a:lnTo>
                  <a:lnTo>
                    <a:pt x="312" y="36"/>
                  </a:lnTo>
                  <a:lnTo>
                    <a:pt x="312" y="36"/>
                  </a:lnTo>
                  <a:lnTo>
                    <a:pt x="314" y="41"/>
                  </a:lnTo>
                  <a:lnTo>
                    <a:pt x="314" y="41"/>
                  </a:lnTo>
                  <a:lnTo>
                    <a:pt x="314" y="43"/>
                  </a:lnTo>
                  <a:lnTo>
                    <a:pt x="314" y="43"/>
                  </a:lnTo>
                  <a:lnTo>
                    <a:pt x="314" y="43"/>
                  </a:lnTo>
                  <a:lnTo>
                    <a:pt x="312" y="43"/>
                  </a:lnTo>
                  <a:lnTo>
                    <a:pt x="312" y="43"/>
                  </a:lnTo>
                  <a:lnTo>
                    <a:pt x="312" y="43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2" y="48"/>
                  </a:lnTo>
                  <a:lnTo>
                    <a:pt x="312" y="48"/>
                  </a:lnTo>
                  <a:lnTo>
                    <a:pt x="312" y="48"/>
                  </a:lnTo>
                  <a:lnTo>
                    <a:pt x="314" y="50"/>
                  </a:lnTo>
                  <a:lnTo>
                    <a:pt x="314" y="50"/>
                  </a:lnTo>
                  <a:lnTo>
                    <a:pt x="314" y="52"/>
                  </a:lnTo>
                  <a:lnTo>
                    <a:pt x="314" y="52"/>
                  </a:lnTo>
                  <a:lnTo>
                    <a:pt x="314" y="52"/>
                  </a:lnTo>
                  <a:lnTo>
                    <a:pt x="314" y="52"/>
                  </a:lnTo>
                  <a:lnTo>
                    <a:pt x="314" y="52"/>
                  </a:lnTo>
                  <a:lnTo>
                    <a:pt x="314" y="54"/>
                  </a:lnTo>
                  <a:lnTo>
                    <a:pt x="314" y="54"/>
                  </a:lnTo>
                  <a:lnTo>
                    <a:pt x="314" y="59"/>
                  </a:lnTo>
                  <a:lnTo>
                    <a:pt x="316" y="59"/>
                  </a:lnTo>
                  <a:lnTo>
                    <a:pt x="316" y="61"/>
                  </a:lnTo>
                  <a:lnTo>
                    <a:pt x="316" y="61"/>
                  </a:lnTo>
                  <a:lnTo>
                    <a:pt x="316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3"/>
                  </a:lnTo>
                  <a:lnTo>
                    <a:pt x="314" y="63"/>
                  </a:lnTo>
                  <a:lnTo>
                    <a:pt x="314" y="63"/>
                  </a:lnTo>
                  <a:lnTo>
                    <a:pt x="316" y="63"/>
                  </a:lnTo>
                  <a:lnTo>
                    <a:pt x="316" y="66"/>
                  </a:lnTo>
                  <a:lnTo>
                    <a:pt x="316" y="66"/>
                  </a:lnTo>
                  <a:lnTo>
                    <a:pt x="316" y="72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5"/>
                  </a:lnTo>
                  <a:lnTo>
                    <a:pt x="319" y="77"/>
                  </a:lnTo>
                  <a:lnTo>
                    <a:pt x="319" y="77"/>
                  </a:lnTo>
                  <a:lnTo>
                    <a:pt x="319" y="77"/>
                  </a:lnTo>
                  <a:lnTo>
                    <a:pt x="319" y="77"/>
                  </a:lnTo>
                  <a:lnTo>
                    <a:pt x="319" y="79"/>
                  </a:lnTo>
                  <a:lnTo>
                    <a:pt x="321" y="79"/>
                  </a:lnTo>
                  <a:lnTo>
                    <a:pt x="321" y="81"/>
                  </a:lnTo>
                  <a:lnTo>
                    <a:pt x="321" y="81"/>
                  </a:lnTo>
                  <a:lnTo>
                    <a:pt x="321" y="81"/>
                  </a:lnTo>
                  <a:lnTo>
                    <a:pt x="321" y="81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3" y="84"/>
                  </a:lnTo>
                  <a:lnTo>
                    <a:pt x="325" y="84"/>
                  </a:lnTo>
                  <a:lnTo>
                    <a:pt x="325" y="84"/>
                  </a:lnTo>
                  <a:lnTo>
                    <a:pt x="325" y="84"/>
                  </a:lnTo>
                  <a:lnTo>
                    <a:pt x="325" y="84"/>
                  </a:lnTo>
                  <a:lnTo>
                    <a:pt x="325" y="84"/>
                  </a:lnTo>
                  <a:lnTo>
                    <a:pt x="328" y="84"/>
                  </a:lnTo>
                  <a:lnTo>
                    <a:pt x="328" y="84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28" y="86"/>
                  </a:lnTo>
                  <a:lnTo>
                    <a:pt x="330" y="88"/>
                  </a:lnTo>
                  <a:lnTo>
                    <a:pt x="332" y="88"/>
                  </a:lnTo>
                  <a:lnTo>
                    <a:pt x="332" y="90"/>
                  </a:lnTo>
                  <a:lnTo>
                    <a:pt x="332" y="90"/>
                  </a:lnTo>
                  <a:lnTo>
                    <a:pt x="334" y="93"/>
                  </a:lnTo>
                  <a:lnTo>
                    <a:pt x="334" y="93"/>
                  </a:lnTo>
                  <a:lnTo>
                    <a:pt x="334" y="93"/>
                  </a:lnTo>
                  <a:lnTo>
                    <a:pt x="334" y="93"/>
                  </a:lnTo>
                  <a:lnTo>
                    <a:pt x="334" y="93"/>
                  </a:lnTo>
                  <a:lnTo>
                    <a:pt x="334" y="93"/>
                  </a:lnTo>
                  <a:lnTo>
                    <a:pt x="334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9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7"/>
                  </a:lnTo>
                  <a:lnTo>
                    <a:pt x="337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39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1" y="97"/>
                  </a:lnTo>
                  <a:lnTo>
                    <a:pt x="343" y="99"/>
                  </a:lnTo>
                  <a:lnTo>
                    <a:pt x="343" y="97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3" y="99"/>
                  </a:lnTo>
                  <a:lnTo>
                    <a:pt x="346" y="99"/>
                  </a:lnTo>
                  <a:lnTo>
                    <a:pt x="346" y="99"/>
                  </a:lnTo>
                  <a:lnTo>
                    <a:pt x="346" y="99"/>
                  </a:lnTo>
                  <a:lnTo>
                    <a:pt x="346" y="99"/>
                  </a:lnTo>
                  <a:lnTo>
                    <a:pt x="346" y="99"/>
                  </a:lnTo>
                  <a:lnTo>
                    <a:pt x="346" y="99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6" y="102"/>
                  </a:lnTo>
                  <a:lnTo>
                    <a:pt x="343" y="104"/>
                  </a:lnTo>
                  <a:lnTo>
                    <a:pt x="341" y="104"/>
                  </a:lnTo>
                  <a:lnTo>
                    <a:pt x="341" y="108"/>
                  </a:lnTo>
                  <a:lnTo>
                    <a:pt x="341" y="111"/>
                  </a:lnTo>
                  <a:lnTo>
                    <a:pt x="341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3"/>
                  </a:lnTo>
                  <a:lnTo>
                    <a:pt x="339" y="113"/>
                  </a:lnTo>
                  <a:lnTo>
                    <a:pt x="339" y="113"/>
                  </a:lnTo>
                  <a:lnTo>
                    <a:pt x="339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4" y="113"/>
                  </a:lnTo>
                  <a:lnTo>
                    <a:pt x="334" y="113"/>
                  </a:lnTo>
                  <a:lnTo>
                    <a:pt x="334" y="113"/>
                  </a:lnTo>
                  <a:lnTo>
                    <a:pt x="334" y="113"/>
                  </a:lnTo>
                  <a:lnTo>
                    <a:pt x="334" y="113"/>
                  </a:lnTo>
                  <a:lnTo>
                    <a:pt x="334" y="113"/>
                  </a:lnTo>
                  <a:lnTo>
                    <a:pt x="334" y="113"/>
                  </a:lnTo>
                  <a:lnTo>
                    <a:pt x="332" y="113"/>
                  </a:lnTo>
                  <a:lnTo>
                    <a:pt x="332" y="115"/>
                  </a:lnTo>
                  <a:lnTo>
                    <a:pt x="332" y="115"/>
                  </a:lnTo>
                  <a:lnTo>
                    <a:pt x="332" y="115"/>
                  </a:lnTo>
                  <a:lnTo>
                    <a:pt x="330" y="115"/>
                  </a:lnTo>
                  <a:lnTo>
                    <a:pt x="330" y="115"/>
                  </a:lnTo>
                  <a:lnTo>
                    <a:pt x="330" y="113"/>
                  </a:lnTo>
                  <a:lnTo>
                    <a:pt x="330" y="115"/>
                  </a:lnTo>
                  <a:lnTo>
                    <a:pt x="328" y="115"/>
                  </a:lnTo>
                  <a:lnTo>
                    <a:pt x="328" y="117"/>
                  </a:lnTo>
                  <a:lnTo>
                    <a:pt x="325" y="117"/>
                  </a:lnTo>
                  <a:lnTo>
                    <a:pt x="323" y="117"/>
                  </a:lnTo>
                  <a:lnTo>
                    <a:pt x="323" y="117"/>
                  </a:lnTo>
                  <a:lnTo>
                    <a:pt x="323" y="117"/>
                  </a:lnTo>
                  <a:lnTo>
                    <a:pt x="323" y="120"/>
                  </a:lnTo>
                  <a:lnTo>
                    <a:pt x="323" y="120"/>
                  </a:lnTo>
                  <a:lnTo>
                    <a:pt x="323" y="120"/>
                  </a:lnTo>
                  <a:lnTo>
                    <a:pt x="323" y="122"/>
                  </a:lnTo>
                  <a:lnTo>
                    <a:pt x="323" y="122"/>
                  </a:lnTo>
                  <a:lnTo>
                    <a:pt x="323" y="122"/>
                  </a:lnTo>
                  <a:lnTo>
                    <a:pt x="323" y="124"/>
                  </a:lnTo>
                  <a:lnTo>
                    <a:pt x="321" y="124"/>
                  </a:lnTo>
                  <a:lnTo>
                    <a:pt x="321" y="124"/>
                  </a:lnTo>
                  <a:lnTo>
                    <a:pt x="319" y="124"/>
                  </a:lnTo>
                  <a:lnTo>
                    <a:pt x="319" y="124"/>
                  </a:lnTo>
                  <a:lnTo>
                    <a:pt x="319" y="124"/>
                  </a:lnTo>
                  <a:lnTo>
                    <a:pt x="316" y="124"/>
                  </a:lnTo>
                  <a:lnTo>
                    <a:pt x="316" y="124"/>
                  </a:lnTo>
                  <a:lnTo>
                    <a:pt x="316" y="124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14" y="124"/>
                  </a:lnTo>
                  <a:lnTo>
                    <a:pt x="312" y="124"/>
                  </a:lnTo>
                  <a:lnTo>
                    <a:pt x="312" y="124"/>
                  </a:lnTo>
                  <a:lnTo>
                    <a:pt x="312" y="124"/>
                  </a:lnTo>
                  <a:lnTo>
                    <a:pt x="312" y="124"/>
                  </a:lnTo>
                  <a:lnTo>
                    <a:pt x="314" y="124"/>
                  </a:lnTo>
                  <a:lnTo>
                    <a:pt x="314" y="126"/>
                  </a:lnTo>
                  <a:lnTo>
                    <a:pt x="314" y="126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4" y="126"/>
                  </a:lnTo>
                  <a:lnTo>
                    <a:pt x="314" y="126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29"/>
                  </a:lnTo>
                  <a:lnTo>
                    <a:pt x="314" y="131"/>
                  </a:lnTo>
                  <a:lnTo>
                    <a:pt x="312" y="133"/>
                  </a:lnTo>
                  <a:lnTo>
                    <a:pt x="312" y="133"/>
                  </a:lnTo>
                  <a:lnTo>
                    <a:pt x="312" y="133"/>
                  </a:lnTo>
                  <a:lnTo>
                    <a:pt x="312" y="133"/>
                  </a:lnTo>
                  <a:lnTo>
                    <a:pt x="312" y="133"/>
                  </a:lnTo>
                  <a:lnTo>
                    <a:pt x="312" y="135"/>
                  </a:lnTo>
                  <a:lnTo>
                    <a:pt x="312" y="135"/>
                  </a:lnTo>
                  <a:lnTo>
                    <a:pt x="312" y="135"/>
                  </a:lnTo>
                  <a:lnTo>
                    <a:pt x="312" y="138"/>
                  </a:lnTo>
                  <a:lnTo>
                    <a:pt x="312" y="138"/>
                  </a:lnTo>
                  <a:lnTo>
                    <a:pt x="312" y="138"/>
                  </a:lnTo>
                  <a:lnTo>
                    <a:pt x="312" y="138"/>
                  </a:lnTo>
                  <a:lnTo>
                    <a:pt x="312" y="138"/>
                  </a:lnTo>
                  <a:lnTo>
                    <a:pt x="312" y="138"/>
                  </a:lnTo>
                  <a:lnTo>
                    <a:pt x="312" y="140"/>
                  </a:lnTo>
                  <a:lnTo>
                    <a:pt x="312" y="140"/>
                  </a:lnTo>
                  <a:lnTo>
                    <a:pt x="312" y="140"/>
                  </a:lnTo>
                  <a:lnTo>
                    <a:pt x="312" y="140"/>
                  </a:lnTo>
                  <a:lnTo>
                    <a:pt x="312" y="140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7"/>
                  </a:lnTo>
                  <a:lnTo>
                    <a:pt x="310" y="149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07" y="156"/>
                  </a:lnTo>
                  <a:lnTo>
                    <a:pt x="307" y="156"/>
                  </a:lnTo>
                  <a:lnTo>
                    <a:pt x="307" y="160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5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71"/>
                  </a:lnTo>
                  <a:lnTo>
                    <a:pt x="303" y="174"/>
                  </a:lnTo>
                  <a:lnTo>
                    <a:pt x="305" y="176"/>
                  </a:lnTo>
                  <a:lnTo>
                    <a:pt x="305" y="180"/>
                  </a:lnTo>
                  <a:lnTo>
                    <a:pt x="305" y="183"/>
                  </a:lnTo>
                  <a:lnTo>
                    <a:pt x="305" y="187"/>
                  </a:lnTo>
                  <a:lnTo>
                    <a:pt x="307" y="189"/>
                  </a:lnTo>
                  <a:lnTo>
                    <a:pt x="305" y="196"/>
                  </a:lnTo>
                  <a:lnTo>
                    <a:pt x="305" y="198"/>
                  </a:lnTo>
                  <a:lnTo>
                    <a:pt x="305" y="198"/>
                  </a:lnTo>
                  <a:lnTo>
                    <a:pt x="305" y="198"/>
                  </a:lnTo>
                  <a:lnTo>
                    <a:pt x="305" y="200"/>
                  </a:lnTo>
                  <a:lnTo>
                    <a:pt x="305" y="200"/>
                  </a:lnTo>
                  <a:lnTo>
                    <a:pt x="305" y="205"/>
                  </a:lnTo>
                  <a:lnTo>
                    <a:pt x="305" y="205"/>
                  </a:lnTo>
                  <a:lnTo>
                    <a:pt x="305" y="207"/>
                  </a:lnTo>
                  <a:lnTo>
                    <a:pt x="305" y="207"/>
                  </a:lnTo>
                  <a:lnTo>
                    <a:pt x="301" y="212"/>
                  </a:lnTo>
                  <a:lnTo>
                    <a:pt x="301" y="221"/>
                  </a:lnTo>
                  <a:lnTo>
                    <a:pt x="301" y="221"/>
                  </a:lnTo>
                  <a:lnTo>
                    <a:pt x="301" y="221"/>
                  </a:lnTo>
                  <a:lnTo>
                    <a:pt x="301" y="221"/>
                  </a:lnTo>
                  <a:lnTo>
                    <a:pt x="301" y="221"/>
                  </a:lnTo>
                  <a:lnTo>
                    <a:pt x="301" y="221"/>
                  </a:lnTo>
                  <a:lnTo>
                    <a:pt x="298" y="221"/>
                  </a:lnTo>
                  <a:lnTo>
                    <a:pt x="298" y="223"/>
                  </a:lnTo>
                  <a:lnTo>
                    <a:pt x="298" y="223"/>
                  </a:lnTo>
                  <a:lnTo>
                    <a:pt x="301" y="223"/>
                  </a:lnTo>
                  <a:lnTo>
                    <a:pt x="301" y="223"/>
                  </a:lnTo>
                  <a:lnTo>
                    <a:pt x="301" y="225"/>
                  </a:lnTo>
                  <a:lnTo>
                    <a:pt x="301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8" y="227"/>
                  </a:lnTo>
                  <a:lnTo>
                    <a:pt x="292" y="227"/>
                  </a:lnTo>
                  <a:lnTo>
                    <a:pt x="292" y="227"/>
                  </a:lnTo>
                  <a:lnTo>
                    <a:pt x="289" y="227"/>
                  </a:lnTo>
                  <a:lnTo>
                    <a:pt x="289" y="227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9" y="230"/>
                  </a:lnTo>
                  <a:lnTo>
                    <a:pt x="285" y="239"/>
                  </a:lnTo>
                  <a:lnTo>
                    <a:pt x="285" y="239"/>
                  </a:lnTo>
                  <a:lnTo>
                    <a:pt x="285" y="239"/>
                  </a:lnTo>
                  <a:lnTo>
                    <a:pt x="285" y="239"/>
                  </a:lnTo>
                  <a:lnTo>
                    <a:pt x="285" y="239"/>
                  </a:lnTo>
                  <a:lnTo>
                    <a:pt x="285" y="241"/>
                  </a:lnTo>
                  <a:lnTo>
                    <a:pt x="285" y="241"/>
                  </a:lnTo>
                  <a:lnTo>
                    <a:pt x="285" y="241"/>
                  </a:lnTo>
                  <a:lnTo>
                    <a:pt x="285" y="241"/>
                  </a:lnTo>
                  <a:lnTo>
                    <a:pt x="283" y="241"/>
                  </a:lnTo>
                  <a:lnTo>
                    <a:pt x="283" y="243"/>
                  </a:lnTo>
                  <a:lnTo>
                    <a:pt x="283" y="243"/>
                  </a:lnTo>
                  <a:lnTo>
                    <a:pt x="283" y="243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3" y="245"/>
                  </a:lnTo>
                  <a:lnTo>
                    <a:pt x="280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0"/>
                  </a:lnTo>
                  <a:lnTo>
                    <a:pt x="278" y="250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2"/>
                  </a:lnTo>
                  <a:lnTo>
                    <a:pt x="278" y="252"/>
                  </a:lnTo>
                  <a:lnTo>
                    <a:pt x="278" y="254"/>
                  </a:lnTo>
                  <a:lnTo>
                    <a:pt x="278" y="254"/>
                  </a:lnTo>
                  <a:lnTo>
                    <a:pt x="278" y="254"/>
                  </a:lnTo>
                  <a:lnTo>
                    <a:pt x="276" y="261"/>
                  </a:lnTo>
                  <a:lnTo>
                    <a:pt x="276" y="261"/>
                  </a:lnTo>
                  <a:lnTo>
                    <a:pt x="276" y="263"/>
                  </a:lnTo>
                  <a:lnTo>
                    <a:pt x="276" y="263"/>
                  </a:lnTo>
                  <a:lnTo>
                    <a:pt x="276" y="263"/>
                  </a:lnTo>
                  <a:lnTo>
                    <a:pt x="276" y="263"/>
                  </a:lnTo>
                  <a:lnTo>
                    <a:pt x="276" y="268"/>
                  </a:lnTo>
                  <a:lnTo>
                    <a:pt x="276" y="270"/>
                  </a:lnTo>
                  <a:lnTo>
                    <a:pt x="276" y="270"/>
                  </a:lnTo>
                  <a:lnTo>
                    <a:pt x="276" y="270"/>
                  </a:lnTo>
                  <a:lnTo>
                    <a:pt x="276" y="270"/>
                  </a:lnTo>
                  <a:lnTo>
                    <a:pt x="276" y="270"/>
                  </a:lnTo>
                  <a:lnTo>
                    <a:pt x="276" y="272"/>
                  </a:lnTo>
                  <a:lnTo>
                    <a:pt x="276" y="272"/>
                  </a:lnTo>
                  <a:lnTo>
                    <a:pt x="274" y="272"/>
                  </a:lnTo>
                  <a:lnTo>
                    <a:pt x="274" y="272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4" y="275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2" y="275"/>
                  </a:lnTo>
                  <a:lnTo>
                    <a:pt x="272" y="272"/>
                  </a:lnTo>
                  <a:lnTo>
                    <a:pt x="269" y="270"/>
                  </a:lnTo>
                  <a:lnTo>
                    <a:pt x="269" y="270"/>
                  </a:lnTo>
                  <a:lnTo>
                    <a:pt x="269" y="270"/>
                  </a:lnTo>
                  <a:lnTo>
                    <a:pt x="265" y="272"/>
                  </a:lnTo>
                  <a:lnTo>
                    <a:pt x="265" y="272"/>
                  </a:lnTo>
                  <a:lnTo>
                    <a:pt x="265" y="275"/>
                  </a:lnTo>
                  <a:lnTo>
                    <a:pt x="265" y="275"/>
                  </a:lnTo>
                  <a:lnTo>
                    <a:pt x="263" y="279"/>
                  </a:lnTo>
                  <a:lnTo>
                    <a:pt x="263" y="279"/>
                  </a:lnTo>
                  <a:lnTo>
                    <a:pt x="263" y="279"/>
                  </a:lnTo>
                  <a:lnTo>
                    <a:pt x="265" y="286"/>
                  </a:lnTo>
                  <a:lnTo>
                    <a:pt x="265" y="286"/>
                  </a:lnTo>
                  <a:lnTo>
                    <a:pt x="265" y="288"/>
                  </a:lnTo>
                  <a:lnTo>
                    <a:pt x="265" y="288"/>
                  </a:lnTo>
                  <a:lnTo>
                    <a:pt x="263" y="288"/>
                  </a:lnTo>
                  <a:lnTo>
                    <a:pt x="263" y="288"/>
                  </a:lnTo>
                  <a:lnTo>
                    <a:pt x="263" y="288"/>
                  </a:lnTo>
                  <a:lnTo>
                    <a:pt x="263" y="288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0"/>
                  </a:lnTo>
                  <a:lnTo>
                    <a:pt x="260" y="299"/>
                  </a:lnTo>
                  <a:lnTo>
                    <a:pt x="258" y="304"/>
                  </a:lnTo>
                  <a:lnTo>
                    <a:pt x="258" y="304"/>
                  </a:lnTo>
                  <a:lnTo>
                    <a:pt x="260" y="324"/>
                  </a:lnTo>
                  <a:lnTo>
                    <a:pt x="260" y="326"/>
                  </a:lnTo>
                  <a:lnTo>
                    <a:pt x="260" y="326"/>
                  </a:lnTo>
                  <a:lnTo>
                    <a:pt x="260" y="326"/>
                  </a:lnTo>
                  <a:lnTo>
                    <a:pt x="258" y="329"/>
                  </a:lnTo>
                  <a:lnTo>
                    <a:pt x="258" y="329"/>
                  </a:lnTo>
                  <a:lnTo>
                    <a:pt x="256" y="329"/>
                  </a:lnTo>
                  <a:lnTo>
                    <a:pt x="256" y="329"/>
                  </a:lnTo>
                  <a:lnTo>
                    <a:pt x="256" y="329"/>
                  </a:lnTo>
                  <a:lnTo>
                    <a:pt x="254" y="329"/>
                  </a:lnTo>
                  <a:lnTo>
                    <a:pt x="254" y="329"/>
                  </a:lnTo>
                  <a:lnTo>
                    <a:pt x="254" y="331"/>
                  </a:lnTo>
                  <a:lnTo>
                    <a:pt x="254" y="331"/>
                  </a:lnTo>
                  <a:lnTo>
                    <a:pt x="254" y="331"/>
                  </a:lnTo>
                  <a:lnTo>
                    <a:pt x="254" y="331"/>
                  </a:lnTo>
                  <a:lnTo>
                    <a:pt x="251" y="331"/>
                  </a:lnTo>
                  <a:lnTo>
                    <a:pt x="251" y="331"/>
                  </a:lnTo>
                  <a:lnTo>
                    <a:pt x="251" y="329"/>
                  </a:lnTo>
                  <a:lnTo>
                    <a:pt x="249" y="329"/>
                  </a:lnTo>
                  <a:lnTo>
                    <a:pt x="249" y="329"/>
                  </a:lnTo>
                  <a:lnTo>
                    <a:pt x="249" y="329"/>
                  </a:lnTo>
                  <a:lnTo>
                    <a:pt x="249" y="329"/>
                  </a:lnTo>
                  <a:lnTo>
                    <a:pt x="249" y="329"/>
                  </a:lnTo>
                  <a:lnTo>
                    <a:pt x="249" y="329"/>
                  </a:lnTo>
                  <a:lnTo>
                    <a:pt x="249" y="329"/>
                  </a:lnTo>
                  <a:lnTo>
                    <a:pt x="247" y="329"/>
                  </a:lnTo>
                  <a:lnTo>
                    <a:pt x="247" y="329"/>
                  </a:lnTo>
                  <a:lnTo>
                    <a:pt x="247" y="329"/>
                  </a:lnTo>
                  <a:lnTo>
                    <a:pt x="247" y="329"/>
                  </a:lnTo>
                  <a:lnTo>
                    <a:pt x="247" y="329"/>
                  </a:lnTo>
                  <a:lnTo>
                    <a:pt x="247" y="329"/>
                  </a:lnTo>
                  <a:lnTo>
                    <a:pt x="245" y="329"/>
                  </a:lnTo>
                  <a:lnTo>
                    <a:pt x="245" y="329"/>
                  </a:lnTo>
                  <a:lnTo>
                    <a:pt x="245" y="329"/>
                  </a:lnTo>
                  <a:lnTo>
                    <a:pt x="245" y="329"/>
                  </a:lnTo>
                  <a:lnTo>
                    <a:pt x="245" y="329"/>
                  </a:lnTo>
                  <a:lnTo>
                    <a:pt x="242" y="329"/>
                  </a:lnTo>
                  <a:lnTo>
                    <a:pt x="242" y="329"/>
                  </a:lnTo>
                  <a:lnTo>
                    <a:pt x="242" y="329"/>
                  </a:lnTo>
                  <a:lnTo>
                    <a:pt x="242" y="329"/>
                  </a:lnTo>
                  <a:lnTo>
                    <a:pt x="242" y="329"/>
                  </a:lnTo>
                  <a:lnTo>
                    <a:pt x="242" y="329"/>
                  </a:lnTo>
                  <a:lnTo>
                    <a:pt x="240" y="329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1"/>
                  </a:lnTo>
                  <a:lnTo>
                    <a:pt x="240" y="333"/>
                  </a:lnTo>
                  <a:lnTo>
                    <a:pt x="240" y="333"/>
                  </a:lnTo>
                  <a:lnTo>
                    <a:pt x="240" y="333"/>
                  </a:lnTo>
                  <a:lnTo>
                    <a:pt x="240" y="333"/>
                  </a:lnTo>
                  <a:lnTo>
                    <a:pt x="240" y="333"/>
                  </a:lnTo>
                  <a:lnTo>
                    <a:pt x="240" y="333"/>
                  </a:lnTo>
                  <a:lnTo>
                    <a:pt x="242" y="333"/>
                  </a:lnTo>
                  <a:lnTo>
                    <a:pt x="242" y="333"/>
                  </a:lnTo>
                  <a:lnTo>
                    <a:pt x="242" y="333"/>
                  </a:lnTo>
                  <a:lnTo>
                    <a:pt x="242" y="333"/>
                  </a:lnTo>
                  <a:lnTo>
                    <a:pt x="242" y="333"/>
                  </a:lnTo>
                  <a:lnTo>
                    <a:pt x="240" y="333"/>
                  </a:lnTo>
                  <a:lnTo>
                    <a:pt x="240" y="335"/>
                  </a:lnTo>
                  <a:lnTo>
                    <a:pt x="240" y="335"/>
                  </a:lnTo>
                  <a:lnTo>
                    <a:pt x="240" y="335"/>
                  </a:lnTo>
                  <a:lnTo>
                    <a:pt x="240" y="335"/>
                  </a:lnTo>
                  <a:lnTo>
                    <a:pt x="240" y="335"/>
                  </a:lnTo>
                  <a:lnTo>
                    <a:pt x="240" y="335"/>
                  </a:lnTo>
                  <a:lnTo>
                    <a:pt x="242" y="335"/>
                  </a:lnTo>
                  <a:lnTo>
                    <a:pt x="240" y="335"/>
                  </a:lnTo>
                  <a:lnTo>
                    <a:pt x="240" y="335"/>
                  </a:lnTo>
                  <a:lnTo>
                    <a:pt x="240" y="338"/>
                  </a:lnTo>
                  <a:lnTo>
                    <a:pt x="240" y="338"/>
                  </a:lnTo>
                  <a:lnTo>
                    <a:pt x="240" y="338"/>
                  </a:lnTo>
                  <a:lnTo>
                    <a:pt x="240" y="338"/>
                  </a:lnTo>
                  <a:lnTo>
                    <a:pt x="240" y="338"/>
                  </a:lnTo>
                  <a:lnTo>
                    <a:pt x="240" y="338"/>
                  </a:lnTo>
                  <a:lnTo>
                    <a:pt x="240" y="338"/>
                  </a:lnTo>
                  <a:lnTo>
                    <a:pt x="238" y="340"/>
                  </a:lnTo>
                  <a:lnTo>
                    <a:pt x="238" y="340"/>
                  </a:lnTo>
                  <a:lnTo>
                    <a:pt x="238" y="340"/>
                  </a:lnTo>
                  <a:lnTo>
                    <a:pt x="238" y="340"/>
                  </a:lnTo>
                  <a:lnTo>
                    <a:pt x="238" y="340"/>
                  </a:lnTo>
                  <a:lnTo>
                    <a:pt x="238" y="340"/>
                  </a:lnTo>
                  <a:lnTo>
                    <a:pt x="238" y="340"/>
                  </a:lnTo>
                  <a:lnTo>
                    <a:pt x="238" y="342"/>
                  </a:lnTo>
                  <a:lnTo>
                    <a:pt x="238" y="342"/>
                  </a:lnTo>
                  <a:lnTo>
                    <a:pt x="238" y="342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40" y="344"/>
                  </a:lnTo>
                  <a:lnTo>
                    <a:pt x="240" y="344"/>
                  </a:lnTo>
                  <a:lnTo>
                    <a:pt x="240" y="344"/>
                  </a:lnTo>
                  <a:lnTo>
                    <a:pt x="240" y="344"/>
                  </a:lnTo>
                  <a:lnTo>
                    <a:pt x="240" y="344"/>
                  </a:lnTo>
                  <a:lnTo>
                    <a:pt x="240" y="344"/>
                  </a:lnTo>
                  <a:lnTo>
                    <a:pt x="240" y="344"/>
                  </a:lnTo>
                  <a:lnTo>
                    <a:pt x="242" y="344"/>
                  </a:lnTo>
                  <a:lnTo>
                    <a:pt x="242" y="344"/>
                  </a:lnTo>
                  <a:lnTo>
                    <a:pt x="242" y="344"/>
                  </a:lnTo>
                  <a:lnTo>
                    <a:pt x="242" y="344"/>
                  </a:lnTo>
                  <a:lnTo>
                    <a:pt x="242" y="344"/>
                  </a:lnTo>
                  <a:lnTo>
                    <a:pt x="245" y="347"/>
                  </a:lnTo>
                  <a:lnTo>
                    <a:pt x="245" y="347"/>
                  </a:lnTo>
                  <a:lnTo>
                    <a:pt x="245" y="347"/>
                  </a:lnTo>
                  <a:lnTo>
                    <a:pt x="245" y="347"/>
                  </a:lnTo>
                  <a:lnTo>
                    <a:pt x="247" y="347"/>
                  </a:lnTo>
                  <a:lnTo>
                    <a:pt x="247" y="344"/>
                  </a:lnTo>
                  <a:lnTo>
                    <a:pt x="247" y="344"/>
                  </a:lnTo>
                  <a:lnTo>
                    <a:pt x="247" y="347"/>
                  </a:lnTo>
                  <a:lnTo>
                    <a:pt x="247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4" y="347"/>
                  </a:lnTo>
                  <a:lnTo>
                    <a:pt x="254" y="349"/>
                  </a:lnTo>
                  <a:lnTo>
                    <a:pt x="254" y="349"/>
                  </a:lnTo>
                  <a:lnTo>
                    <a:pt x="254" y="349"/>
                  </a:lnTo>
                  <a:lnTo>
                    <a:pt x="256" y="351"/>
                  </a:lnTo>
                  <a:lnTo>
                    <a:pt x="256" y="351"/>
                  </a:lnTo>
                  <a:lnTo>
                    <a:pt x="256" y="351"/>
                  </a:lnTo>
                  <a:lnTo>
                    <a:pt x="256" y="351"/>
                  </a:lnTo>
                  <a:lnTo>
                    <a:pt x="258" y="353"/>
                  </a:lnTo>
                  <a:lnTo>
                    <a:pt x="258" y="353"/>
                  </a:lnTo>
                  <a:lnTo>
                    <a:pt x="260" y="356"/>
                  </a:lnTo>
                  <a:lnTo>
                    <a:pt x="260" y="358"/>
                  </a:lnTo>
                  <a:lnTo>
                    <a:pt x="260" y="358"/>
                  </a:lnTo>
                  <a:lnTo>
                    <a:pt x="260" y="358"/>
                  </a:lnTo>
                  <a:lnTo>
                    <a:pt x="260" y="358"/>
                  </a:lnTo>
                  <a:lnTo>
                    <a:pt x="260" y="360"/>
                  </a:lnTo>
                  <a:lnTo>
                    <a:pt x="263" y="360"/>
                  </a:lnTo>
                  <a:lnTo>
                    <a:pt x="263" y="360"/>
                  </a:lnTo>
                  <a:lnTo>
                    <a:pt x="263" y="360"/>
                  </a:lnTo>
                  <a:lnTo>
                    <a:pt x="263" y="360"/>
                  </a:lnTo>
                  <a:lnTo>
                    <a:pt x="263" y="360"/>
                  </a:lnTo>
                  <a:lnTo>
                    <a:pt x="263" y="360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3" y="362"/>
                  </a:lnTo>
                  <a:lnTo>
                    <a:pt x="265" y="362"/>
                  </a:lnTo>
                  <a:lnTo>
                    <a:pt x="265" y="362"/>
                  </a:lnTo>
                  <a:lnTo>
                    <a:pt x="265" y="365"/>
                  </a:lnTo>
                  <a:lnTo>
                    <a:pt x="265" y="365"/>
                  </a:lnTo>
                  <a:lnTo>
                    <a:pt x="265" y="365"/>
                  </a:lnTo>
                  <a:lnTo>
                    <a:pt x="265" y="365"/>
                  </a:lnTo>
                  <a:lnTo>
                    <a:pt x="267" y="365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7"/>
                  </a:lnTo>
                  <a:lnTo>
                    <a:pt x="269" y="369"/>
                  </a:lnTo>
                  <a:lnTo>
                    <a:pt x="269" y="369"/>
                  </a:lnTo>
                  <a:lnTo>
                    <a:pt x="269" y="369"/>
                  </a:lnTo>
                  <a:lnTo>
                    <a:pt x="269" y="369"/>
                  </a:lnTo>
                  <a:lnTo>
                    <a:pt x="272" y="369"/>
                  </a:lnTo>
                  <a:lnTo>
                    <a:pt x="272" y="369"/>
                  </a:lnTo>
                  <a:lnTo>
                    <a:pt x="272" y="369"/>
                  </a:lnTo>
                  <a:lnTo>
                    <a:pt x="272" y="369"/>
                  </a:lnTo>
                  <a:lnTo>
                    <a:pt x="274" y="371"/>
                  </a:lnTo>
                  <a:lnTo>
                    <a:pt x="274" y="371"/>
                  </a:lnTo>
                  <a:lnTo>
                    <a:pt x="274" y="371"/>
                  </a:lnTo>
                  <a:lnTo>
                    <a:pt x="274" y="371"/>
                  </a:lnTo>
                  <a:lnTo>
                    <a:pt x="274" y="371"/>
                  </a:lnTo>
                  <a:lnTo>
                    <a:pt x="274" y="374"/>
                  </a:lnTo>
                  <a:lnTo>
                    <a:pt x="274" y="374"/>
                  </a:lnTo>
                  <a:lnTo>
                    <a:pt x="276" y="376"/>
                  </a:lnTo>
                  <a:lnTo>
                    <a:pt x="276" y="376"/>
                  </a:lnTo>
                  <a:lnTo>
                    <a:pt x="276" y="378"/>
                  </a:lnTo>
                  <a:lnTo>
                    <a:pt x="276" y="378"/>
                  </a:lnTo>
                  <a:lnTo>
                    <a:pt x="276" y="380"/>
                  </a:lnTo>
                  <a:lnTo>
                    <a:pt x="276" y="380"/>
                  </a:lnTo>
                  <a:lnTo>
                    <a:pt x="276" y="380"/>
                  </a:lnTo>
                  <a:lnTo>
                    <a:pt x="278" y="383"/>
                  </a:lnTo>
                  <a:lnTo>
                    <a:pt x="278" y="385"/>
                  </a:lnTo>
                  <a:lnTo>
                    <a:pt x="278" y="385"/>
                  </a:lnTo>
                  <a:lnTo>
                    <a:pt x="278" y="385"/>
                  </a:lnTo>
                  <a:lnTo>
                    <a:pt x="278" y="385"/>
                  </a:lnTo>
                  <a:lnTo>
                    <a:pt x="278" y="385"/>
                  </a:lnTo>
                  <a:lnTo>
                    <a:pt x="280" y="387"/>
                  </a:lnTo>
                  <a:lnTo>
                    <a:pt x="278" y="387"/>
                  </a:lnTo>
                  <a:lnTo>
                    <a:pt x="278" y="387"/>
                  </a:lnTo>
                  <a:lnTo>
                    <a:pt x="278" y="389"/>
                  </a:lnTo>
                  <a:lnTo>
                    <a:pt x="278" y="389"/>
                  </a:lnTo>
                  <a:lnTo>
                    <a:pt x="280" y="389"/>
                  </a:lnTo>
                  <a:lnTo>
                    <a:pt x="280" y="389"/>
                  </a:lnTo>
                  <a:lnTo>
                    <a:pt x="280" y="389"/>
                  </a:lnTo>
                  <a:lnTo>
                    <a:pt x="280" y="389"/>
                  </a:lnTo>
                  <a:lnTo>
                    <a:pt x="280" y="389"/>
                  </a:lnTo>
                  <a:lnTo>
                    <a:pt x="280" y="389"/>
                  </a:lnTo>
                  <a:lnTo>
                    <a:pt x="280" y="392"/>
                  </a:lnTo>
                  <a:lnTo>
                    <a:pt x="280" y="394"/>
                  </a:lnTo>
                  <a:lnTo>
                    <a:pt x="283" y="394"/>
                  </a:lnTo>
                  <a:lnTo>
                    <a:pt x="283" y="396"/>
                  </a:lnTo>
                  <a:lnTo>
                    <a:pt x="283" y="396"/>
                  </a:lnTo>
                  <a:lnTo>
                    <a:pt x="283" y="396"/>
                  </a:lnTo>
                  <a:lnTo>
                    <a:pt x="285" y="398"/>
                  </a:lnTo>
                  <a:lnTo>
                    <a:pt x="285" y="398"/>
                  </a:lnTo>
                  <a:lnTo>
                    <a:pt x="285" y="398"/>
                  </a:lnTo>
                  <a:lnTo>
                    <a:pt x="285" y="401"/>
                  </a:lnTo>
                  <a:lnTo>
                    <a:pt x="283" y="403"/>
                  </a:lnTo>
                  <a:lnTo>
                    <a:pt x="283" y="403"/>
                  </a:lnTo>
                  <a:lnTo>
                    <a:pt x="280" y="405"/>
                  </a:lnTo>
                  <a:lnTo>
                    <a:pt x="280" y="405"/>
                  </a:lnTo>
                  <a:lnTo>
                    <a:pt x="278" y="407"/>
                  </a:lnTo>
                  <a:lnTo>
                    <a:pt x="278" y="407"/>
                  </a:lnTo>
                  <a:lnTo>
                    <a:pt x="276" y="410"/>
                  </a:lnTo>
                  <a:lnTo>
                    <a:pt x="276" y="412"/>
                  </a:lnTo>
                  <a:lnTo>
                    <a:pt x="274" y="412"/>
                  </a:lnTo>
                  <a:lnTo>
                    <a:pt x="274" y="414"/>
                  </a:lnTo>
                  <a:lnTo>
                    <a:pt x="272" y="414"/>
                  </a:lnTo>
                  <a:lnTo>
                    <a:pt x="272" y="416"/>
                  </a:lnTo>
                  <a:lnTo>
                    <a:pt x="269" y="416"/>
                  </a:lnTo>
                  <a:lnTo>
                    <a:pt x="269" y="419"/>
                  </a:lnTo>
                  <a:lnTo>
                    <a:pt x="267" y="421"/>
                  </a:lnTo>
                  <a:lnTo>
                    <a:pt x="265" y="423"/>
                  </a:lnTo>
                  <a:lnTo>
                    <a:pt x="263" y="425"/>
                  </a:lnTo>
                  <a:lnTo>
                    <a:pt x="260" y="428"/>
                  </a:lnTo>
                  <a:lnTo>
                    <a:pt x="260" y="430"/>
                  </a:lnTo>
                  <a:lnTo>
                    <a:pt x="258" y="432"/>
                  </a:lnTo>
                  <a:lnTo>
                    <a:pt x="256" y="434"/>
                  </a:lnTo>
                  <a:lnTo>
                    <a:pt x="254" y="437"/>
                  </a:lnTo>
                  <a:lnTo>
                    <a:pt x="251" y="439"/>
                  </a:lnTo>
                  <a:lnTo>
                    <a:pt x="249" y="441"/>
                  </a:lnTo>
                  <a:lnTo>
                    <a:pt x="249" y="441"/>
                  </a:lnTo>
                  <a:lnTo>
                    <a:pt x="249" y="441"/>
                  </a:lnTo>
                  <a:lnTo>
                    <a:pt x="245" y="441"/>
                  </a:lnTo>
                  <a:lnTo>
                    <a:pt x="242" y="441"/>
                  </a:lnTo>
                  <a:lnTo>
                    <a:pt x="242" y="441"/>
                  </a:lnTo>
                  <a:lnTo>
                    <a:pt x="242" y="441"/>
                  </a:lnTo>
                  <a:lnTo>
                    <a:pt x="240" y="439"/>
                  </a:lnTo>
                  <a:lnTo>
                    <a:pt x="238" y="437"/>
                  </a:lnTo>
                  <a:lnTo>
                    <a:pt x="238" y="439"/>
                  </a:lnTo>
                  <a:lnTo>
                    <a:pt x="238" y="439"/>
                  </a:lnTo>
                  <a:lnTo>
                    <a:pt x="236" y="439"/>
                  </a:lnTo>
                  <a:lnTo>
                    <a:pt x="233" y="441"/>
                  </a:lnTo>
                  <a:lnTo>
                    <a:pt x="231" y="441"/>
                  </a:lnTo>
                  <a:lnTo>
                    <a:pt x="227" y="441"/>
                  </a:lnTo>
                  <a:lnTo>
                    <a:pt x="227" y="441"/>
                  </a:lnTo>
                  <a:lnTo>
                    <a:pt x="222" y="443"/>
                  </a:lnTo>
                  <a:lnTo>
                    <a:pt x="222" y="443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20" y="446"/>
                  </a:lnTo>
                  <a:lnTo>
                    <a:pt x="220" y="446"/>
                  </a:lnTo>
                  <a:lnTo>
                    <a:pt x="220" y="446"/>
                  </a:lnTo>
                  <a:lnTo>
                    <a:pt x="220" y="446"/>
                  </a:lnTo>
                  <a:lnTo>
                    <a:pt x="218" y="446"/>
                  </a:lnTo>
                  <a:lnTo>
                    <a:pt x="218" y="446"/>
                  </a:lnTo>
                  <a:lnTo>
                    <a:pt x="218" y="443"/>
                  </a:lnTo>
                  <a:lnTo>
                    <a:pt x="215" y="443"/>
                  </a:lnTo>
                  <a:lnTo>
                    <a:pt x="215" y="443"/>
                  </a:lnTo>
                  <a:lnTo>
                    <a:pt x="215" y="443"/>
                  </a:lnTo>
                  <a:lnTo>
                    <a:pt x="215" y="441"/>
                  </a:lnTo>
                  <a:lnTo>
                    <a:pt x="215" y="441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3" y="439"/>
                  </a:lnTo>
                  <a:lnTo>
                    <a:pt x="211" y="441"/>
                  </a:lnTo>
                  <a:lnTo>
                    <a:pt x="211" y="441"/>
                  </a:lnTo>
                  <a:lnTo>
                    <a:pt x="211" y="441"/>
                  </a:lnTo>
                  <a:lnTo>
                    <a:pt x="209" y="443"/>
                  </a:lnTo>
                  <a:lnTo>
                    <a:pt x="209" y="443"/>
                  </a:lnTo>
                  <a:lnTo>
                    <a:pt x="209" y="443"/>
                  </a:lnTo>
                  <a:lnTo>
                    <a:pt x="209" y="443"/>
                  </a:lnTo>
                  <a:lnTo>
                    <a:pt x="209" y="443"/>
                  </a:lnTo>
                  <a:lnTo>
                    <a:pt x="204" y="441"/>
                  </a:lnTo>
                  <a:lnTo>
                    <a:pt x="204" y="441"/>
                  </a:lnTo>
                  <a:lnTo>
                    <a:pt x="202" y="439"/>
                  </a:lnTo>
                  <a:lnTo>
                    <a:pt x="202" y="439"/>
                  </a:lnTo>
                  <a:lnTo>
                    <a:pt x="200" y="439"/>
                  </a:lnTo>
                  <a:lnTo>
                    <a:pt x="200" y="441"/>
                  </a:lnTo>
                  <a:lnTo>
                    <a:pt x="200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7" y="441"/>
                  </a:lnTo>
                  <a:lnTo>
                    <a:pt x="195" y="441"/>
                  </a:lnTo>
                  <a:lnTo>
                    <a:pt x="195" y="443"/>
                  </a:lnTo>
                  <a:lnTo>
                    <a:pt x="195" y="443"/>
                  </a:lnTo>
                  <a:lnTo>
                    <a:pt x="195" y="443"/>
                  </a:lnTo>
                  <a:lnTo>
                    <a:pt x="195" y="443"/>
                  </a:lnTo>
                  <a:lnTo>
                    <a:pt x="195" y="443"/>
                  </a:lnTo>
                  <a:lnTo>
                    <a:pt x="195" y="446"/>
                  </a:lnTo>
                  <a:lnTo>
                    <a:pt x="193" y="446"/>
                  </a:lnTo>
                  <a:lnTo>
                    <a:pt x="193" y="448"/>
                  </a:lnTo>
                  <a:lnTo>
                    <a:pt x="193" y="446"/>
                  </a:lnTo>
                  <a:lnTo>
                    <a:pt x="193" y="446"/>
                  </a:lnTo>
                  <a:lnTo>
                    <a:pt x="193" y="446"/>
                  </a:lnTo>
                  <a:lnTo>
                    <a:pt x="193" y="446"/>
                  </a:lnTo>
                  <a:lnTo>
                    <a:pt x="193" y="443"/>
                  </a:lnTo>
                  <a:lnTo>
                    <a:pt x="193" y="443"/>
                  </a:lnTo>
                  <a:lnTo>
                    <a:pt x="193" y="443"/>
                  </a:lnTo>
                  <a:lnTo>
                    <a:pt x="193" y="443"/>
                  </a:lnTo>
                  <a:lnTo>
                    <a:pt x="191" y="443"/>
                  </a:lnTo>
                  <a:lnTo>
                    <a:pt x="191" y="443"/>
                  </a:lnTo>
                  <a:lnTo>
                    <a:pt x="191" y="443"/>
                  </a:lnTo>
                  <a:lnTo>
                    <a:pt x="191" y="443"/>
                  </a:lnTo>
                  <a:lnTo>
                    <a:pt x="191" y="443"/>
                  </a:lnTo>
                  <a:lnTo>
                    <a:pt x="191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3"/>
                  </a:lnTo>
                  <a:lnTo>
                    <a:pt x="188" y="441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6" y="439"/>
                  </a:lnTo>
                  <a:lnTo>
                    <a:pt x="184" y="437"/>
                  </a:lnTo>
                  <a:lnTo>
                    <a:pt x="184" y="437"/>
                  </a:lnTo>
                  <a:lnTo>
                    <a:pt x="182" y="437"/>
                  </a:lnTo>
                  <a:lnTo>
                    <a:pt x="179" y="437"/>
                  </a:lnTo>
                  <a:lnTo>
                    <a:pt x="179" y="437"/>
                  </a:lnTo>
                  <a:lnTo>
                    <a:pt x="179" y="437"/>
                  </a:lnTo>
                  <a:lnTo>
                    <a:pt x="179" y="434"/>
                  </a:lnTo>
                  <a:lnTo>
                    <a:pt x="179" y="434"/>
                  </a:lnTo>
                  <a:lnTo>
                    <a:pt x="179" y="434"/>
                  </a:lnTo>
                  <a:lnTo>
                    <a:pt x="179" y="434"/>
                  </a:lnTo>
                  <a:lnTo>
                    <a:pt x="179" y="434"/>
                  </a:lnTo>
                  <a:lnTo>
                    <a:pt x="179" y="434"/>
                  </a:lnTo>
                  <a:lnTo>
                    <a:pt x="179" y="432"/>
                  </a:lnTo>
                  <a:lnTo>
                    <a:pt x="179" y="432"/>
                  </a:lnTo>
                  <a:lnTo>
                    <a:pt x="177" y="432"/>
                  </a:lnTo>
                  <a:lnTo>
                    <a:pt x="177" y="432"/>
                  </a:lnTo>
                  <a:lnTo>
                    <a:pt x="177" y="432"/>
                  </a:lnTo>
                  <a:lnTo>
                    <a:pt x="177" y="432"/>
                  </a:lnTo>
                  <a:lnTo>
                    <a:pt x="175" y="430"/>
                  </a:lnTo>
                  <a:lnTo>
                    <a:pt x="175" y="430"/>
                  </a:lnTo>
                  <a:lnTo>
                    <a:pt x="175" y="430"/>
                  </a:lnTo>
                  <a:lnTo>
                    <a:pt x="175" y="430"/>
                  </a:lnTo>
                  <a:lnTo>
                    <a:pt x="175" y="430"/>
                  </a:lnTo>
                  <a:lnTo>
                    <a:pt x="175" y="430"/>
                  </a:lnTo>
                  <a:lnTo>
                    <a:pt x="175" y="430"/>
                  </a:lnTo>
                  <a:lnTo>
                    <a:pt x="175" y="428"/>
                  </a:lnTo>
                  <a:lnTo>
                    <a:pt x="175" y="428"/>
                  </a:lnTo>
                  <a:lnTo>
                    <a:pt x="175" y="428"/>
                  </a:lnTo>
                  <a:lnTo>
                    <a:pt x="175" y="428"/>
                  </a:lnTo>
                  <a:lnTo>
                    <a:pt x="175" y="428"/>
                  </a:lnTo>
                  <a:lnTo>
                    <a:pt x="175" y="428"/>
                  </a:lnTo>
                  <a:lnTo>
                    <a:pt x="173" y="428"/>
                  </a:lnTo>
                  <a:lnTo>
                    <a:pt x="173" y="425"/>
                  </a:lnTo>
                  <a:lnTo>
                    <a:pt x="173" y="428"/>
                  </a:lnTo>
                  <a:lnTo>
                    <a:pt x="170" y="425"/>
                  </a:lnTo>
                  <a:lnTo>
                    <a:pt x="170" y="425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8" y="421"/>
                  </a:lnTo>
                  <a:lnTo>
                    <a:pt x="168" y="421"/>
                  </a:lnTo>
                  <a:lnTo>
                    <a:pt x="168" y="419"/>
                  </a:lnTo>
                  <a:lnTo>
                    <a:pt x="168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6" y="419"/>
                  </a:lnTo>
                  <a:lnTo>
                    <a:pt x="164" y="419"/>
                  </a:lnTo>
                  <a:lnTo>
                    <a:pt x="164" y="419"/>
                  </a:lnTo>
                  <a:lnTo>
                    <a:pt x="164" y="419"/>
                  </a:lnTo>
                  <a:lnTo>
                    <a:pt x="164" y="421"/>
                  </a:lnTo>
                  <a:lnTo>
                    <a:pt x="164" y="421"/>
                  </a:lnTo>
                  <a:lnTo>
                    <a:pt x="164" y="421"/>
                  </a:lnTo>
                  <a:lnTo>
                    <a:pt x="164" y="421"/>
                  </a:lnTo>
                  <a:lnTo>
                    <a:pt x="164" y="421"/>
                  </a:lnTo>
                  <a:lnTo>
                    <a:pt x="164" y="421"/>
                  </a:lnTo>
                  <a:lnTo>
                    <a:pt x="164" y="423"/>
                  </a:lnTo>
                  <a:lnTo>
                    <a:pt x="164" y="423"/>
                  </a:lnTo>
                  <a:lnTo>
                    <a:pt x="164" y="423"/>
                  </a:lnTo>
                  <a:lnTo>
                    <a:pt x="161" y="423"/>
                  </a:lnTo>
                  <a:lnTo>
                    <a:pt x="161" y="425"/>
                  </a:lnTo>
                  <a:lnTo>
                    <a:pt x="161" y="425"/>
                  </a:lnTo>
                  <a:lnTo>
                    <a:pt x="161" y="425"/>
                  </a:lnTo>
                  <a:lnTo>
                    <a:pt x="161" y="425"/>
                  </a:lnTo>
                  <a:lnTo>
                    <a:pt x="161" y="425"/>
                  </a:lnTo>
                  <a:lnTo>
                    <a:pt x="159" y="425"/>
                  </a:lnTo>
                  <a:lnTo>
                    <a:pt x="159" y="425"/>
                  </a:lnTo>
                  <a:lnTo>
                    <a:pt x="159" y="425"/>
                  </a:lnTo>
                  <a:lnTo>
                    <a:pt x="159" y="428"/>
                  </a:lnTo>
                  <a:lnTo>
                    <a:pt x="159" y="428"/>
                  </a:lnTo>
                  <a:lnTo>
                    <a:pt x="159" y="428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3"/>
                  </a:lnTo>
                  <a:lnTo>
                    <a:pt x="155" y="423"/>
                  </a:lnTo>
                  <a:lnTo>
                    <a:pt x="155" y="423"/>
                  </a:lnTo>
                  <a:lnTo>
                    <a:pt x="155" y="423"/>
                  </a:lnTo>
                  <a:lnTo>
                    <a:pt x="152" y="423"/>
                  </a:lnTo>
                  <a:lnTo>
                    <a:pt x="152" y="423"/>
                  </a:lnTo>
                  <a:lnTo>
                    <a:pt x="152" y="423"/>
                  </a:lnTo>
                  <a:lnTo>
                    <a:pt x="150" y="423"/>
                  </a:lnTo>
                  <a:lnTo>
                    <a:pt x="150" y="423"/>
                  </a:lnTo>
                  <a:lnTo>
                    <a:pt x="150" y="423"/>
                  </a:lnTo>
                  <a:lnTo>
                    <a:pt x="150" y="423"/>
                  </a:lnTo>
                  <a:lnTo>
                    <a:pt x="150" y="423"/>
                  </a:lnTo>
                  <a:lnTo>
                    <a:pt x="150" y="421"/>
                  </a:lnTo>
                  <a:lnTo>
                    <a:pt x="150" y="421"/>
                  </a:lnTo>
                  <a:lnTo>
                    <a:pt x="150" y="421"/>
                  </a:lnTo>
                  <a:lnTo>
                    <a:pt x="150" y="421"/>
                  </a:lnTo>
                  <a:lnTo>
                    <a:pt x="148" y="423"/>
                  </a:lnTo>
                  <a:lnTo>
                    <a:pt x="148" y="423"/>
                  </a:lnTo>
                  <a:lnTo>
                    <a:pt x="148" y="423"/>
                  </a:lnTo>
                  <a:lnTo>
                    <a:pt x="148" y="423"/>
                  </a:lnTo>
                  <a:lnTo>
                    <a:pt x="148" y="425"/>
                  </a:lnTo>
                  <a:lnTo>
                    <a:pt x="148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6" y="425"/>
                  </a:lnTo>
                  <a:lnTo>
                    <a:pt x="143" y="425"/>
                  </a:lnTo>
                  <a:lnTo>
                    <a:pt x="143" y="425"/>
                  </a:lnTo>
                  <a:lnTo>
                    <a:pt x="143" y="428"/>
                  </a:lnTo>
                  <a:lnTo>
                    <a:pt x="143" y="428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1" y="428"/>
                  </a:lnTo>
                  <a:lnTo>
                    <a:pt x="141" y="425"/>
                  </a:lnTo>
                  <a:lnTo>
                    <a:pt x="139" y="425"/>
                  </a:lnTo>
                  <a:lnTo>
                    <a:pt x="139" y="428"/>
                  </a:lnTo>
                  <a:lnTo>
                    <a:pt x="137" y="428"/>
                  </a:lnTo>
                  <a:lnTo>
                    <a:pt x="137" y="425"/>
                  </a:lnTo>
                  <a:lnTo>
                    <a:pt x="137" y="425"/>
                  </a:lnTo>
                  <a:lnTo>
                    <a:pt x="137" y="425"/>
                  </a:lnTo>
                  <a:lnTo>
                    <a:pt x="137" y="425"/>
                  </a:lnTo>
                  <a:lnTo>
                    <a:pt x="137" y="423"/>
                  </a:lnTo>
                  <a:lnTo>
                    <a:pt x="134" y="423"/>
                  </a:lnTo>
                  <a:lnTo>
                    <a:pt x="134" y="425"/>
                  </a:lnTo>
                  <a:lnTo>
                    <a:pt x="134" y="425"/>
                  </a:lnTo>
                  <a:lnTo>
                    <a:pt x="134" y="425"/>
                  </a:lnTo>
                  <a:lnTo>
                    <a:pt x="134" y="423"/>
                  </a:lnTo>
                  <a:lnTo>
                    <a:pt x="134" y="423"/>
                  </a:lnTo>
                  <a:lnTo>
                    <a:pt x="134" y="423"/>
                  </a:lnTo>
                  <a:lnTo>
                    <a:pt x="134" y="423"/>
                  </a:lnTo>
                  <a:lnTo>
                    <a:pt x="134" y="423"/>
                  </a:lnTo>
                  <a:lnTo>
                    <a:pt x="134" y="423"/>
                  </a:lnTo>
                  <a:lnTo>
                    <a:pt x="134" y="421"/>
                  </a:lnTo>
                  <a:lnTo>
                    <a:pt x="134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30" y="421"/>
                  </a:lnTo>
                  <a:lnTo>
                    <a:pt x="128" y="421"/>
                  </a:lnTo>
                  <a:lnTo>
                    <a:pt x="128" y="419"/>
                  </a:lnTo>
                  <a:lnTo>
                    <a:pt x="128" y="419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6"/>
                  </a:lnTo>
                  <a:lnTo>
                    <a:pt x="128" y="414"/>
                  </a:lnTo>
                  <a:lnTo>
                    <a:pt x="125" y="414"/>
                  </a:lnTo>
                  <a:lnTo>
                    <a:pt x="125" y="414"/>
                  </a:lnTo>
                  <a:lnTo>
                    <a:pt x="123" y="414"/>
                  </a:lnTo>
                  <a:lnTo>
                    <a:pt x="123" y="414"/>
                  </a:lnTo>
                  <a:lnTo>
                    <a:pt x="123" y="412"/>
                  </a:lnTo>
                  <a:lnTo>
                    <a:pt x="123" y="412"/>
                  </a:lnTo>
                  <a:lnTo>
                    <a:pt x="123" y="412"/>
                  </a:lnTo>
                  <a:lnTo>
                    <a:pt x="123" y="412"/>
                  </a:lnTo>
                  <a:lnTo>
                    <a:pt x="123" y="412"/>
                  </a:lnTo>
                  <a:lnTo>
                    <a:pt x="123" y="412"/>
                  </a:lnTo>
                  <a:lnTo>
                    <a:pt x="121" y="412"/>
                  </a:lnTo>
                  <a:lnTo>
                    <a:pt x="121" y="412"/>
                  </a:lnTo>
                  <a:lnTo>
                    <a:pt x="121" y="412"/>
                  </a:lnTo>
                  <a:lnTo>
                    <a:pt x="121" y="410"/>
                  </a:lnTo>
                  <a:lnTo>
                    <a:pt x="121" y="410"/>
                  </a:lnTo>
                  <a:lnTo>
                    <a:pt x="121" y="410"/>
                  </a:lnTo>
                  <a:lnTo>
                    <a:pt x="121" y="410"/>
                  </a:lnTo>
                  <a:lnTo>
                    <a:pt x="121" y="410"/>
                  </a:lnTo>
                  <a:lnTo>
                    <a:pt x="121" y="407"/>
                  </a:lnTo>
                  <a:lnTo>
                    <a:pt x="121" y="407"/>
                  </a:lnTo>
                  <a:lnTo>
                    <a:pt x="119" y="405"/>
                  </a:lnTo>
                  <a:lnTo>
                    <a:pt x="119" y="405"/>
                  </a:lnTo>
                  <a:lnTo>
                    <a:pt x="119" y="405"/>
                  </a:lnTo>
                  <a:lnTo>
                    <a:pt x="116" y="403"/>
                  </a:lnTo>
                  <a:lnTo>
                    <a:pt x="116" y="403"/>
                  </a:lnTo>
                  <a:lnTo>
                    <a:pt x="116" y="403"/>
                  </a:lnTo>
                  <a:lnTo>
                    <a:pt x="116" y="401"/>
                  </a:lnTo>
                  <a:lnTo>
                    <a:pt x="116" y="401"/>
                  </a:lnTo>
                  <a:lnTo>
                    <a:pt x="116" y="401"/>
                  </a:lnTo>
                  <a:lnTo>
                    <a:pt x="119" y="398"/>
                  </a:lnTo>
                  <a:lnTo>
                    <a:pt x="119" y="398"/>
                  </a:lnTo>
                  <a:lnTo>
                    <a:pt x="119" y="396"/>
                  </a:lnTo>
                  <a:lnTo>
                    <a:pt x="119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6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6" y="394"/>
                  </a:lnTo>
                  <a:lnTo>
                    <a:pt x="114" y="394"/>
                  </a:lnTo>
                  <a:lnTo>
                    <a:pt x="114" y="394"/>
                  </a:lnTo>
                  <a:lnTo>
                    <a:pt x="114" y="394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4" y="392"/>
                  </a:lnTo>
                  <a:lnTo>
                    <a:pt x="112" y="392"/>
                  </a:lnTo>
                  <a:lnTo>
                    <a:pt x="112" y="392"/>
                  </a:lnTo>
                  <a:lnTo>
                    <a:pt x="112" y="392"/>
                  </a:lnTo>
                  <a:lnTo>
                    <a:pt x="112" y="392"/>
                  </a:lnTo>
                  <a:lnTo>
                    <a:pt x="112" y="392"/>
                  </a:lnTo>
                  <a:lnTo>
                    <a:pt x="112" y="392"/>
                  </a:lnTo>
                  <a:lnTo>
                    <a:pt x="112" y="392"/>
                  </a:lnTo>
                  <a:lnTo>
                    <a:pt x="110" y="392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7"/>
                  </a:lnTo>
                  <a:lnTo>
                    <a:pt x="108" y="387"/>
                  </a:lnTo>
                  <a:lnTo>
                    <a:pt x="108" y="387"/>
                  </a:lnTo>
                  <a:lnTo>
                    <a:pt x="105" y="387"/>
                  </a:lnTo>
                  <a:lnTo>
                    <a:pt x="105" y="387"/>
                  </a:lnTo>
                  <a:lnTo>
                    <a:pt x="103" y="387"/>
                  </a:lnTo>
                  <a:lnTo>
                    <a:pt x="103" y="387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5"/>
                  </a:lnTo>
                  <a:lnTo>
                    <a:pt x="101" y="385"/>
                  </a:lnTo>
                  <a:lnTo>
                    <a:pt x="101" y="385"/>
                  </a:lnTo>
                  <a:lnTo>
                    <a:pt x="101" y="385"/>
                  </a:lnTo>
                  <a:lnTo>
                    <a:pt x="101" y="385"/>
                  </a:lnTo>
                  <a:lnTo>
                    <a:pt x="101" y="385"/>
                  </a:lnTo>
                  <a:lnTo>
                    <a:pt x="101" y="385"/>
                  </a:lnTo>
                  <a:lnTo>
                    <a:pt x="101" y="385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3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101" y="380"/>
                  </a:lnTo>
                  <a:lnTo>
                    <a:pt x="99" y="380"/>
                  </a:lnTo>
                  <a:lnTo>
                    <a:pt x="99" y="380"/>
                  </a:lnTo>
                  <a:lnTo>
                    <a:pt x="99" y="378"/>
                  </a:lnTo>
                  <a:lnTo>
                    <a:pt x="99" y="378"/>
                  </a:lnTo>
                  <a:lnTo>
                    <a:pt x="99" y="378"/>
                  </a:lnTo>
                  <a:lnTo>
                    <a:pt x="99" y="378"/>
                  </a:lnTo>
                  <a:lnTo>
                    <a:pt x="96" y="378"/>
                  </a:lnTo>
                  <a:lnTo>
                    <a:pt x="96" y="378"/>
                  </a:lnTo>
                  <a:lnTo>
                    <a:pt x="96" y="378"/>
                  </a:lnTo>
                  <a:lnTo>
                    <a:pt x="96" y="376"/>
                  </a:lnTo>
                  <a:lnTo>
                    <a:pt x="96" y="376"/>
                  </a:lnTo>
                  <a:lnTo>
                    <a:pt x="96" y="376"/>
                  </a:lnTo>
                  <a:lnTo>
                    <a:pt x="96" y="376"/>
                  </a:lnTo>
                  <a:lnTo>
                    <a:pt x="96" y="376"/>
                  </a:lnTo>
                  <a:lnTo>
                    <a:pt x="96" y="376"/>
                  </a:lnTo>
                  <a:lnTo>
                    <a:pt x="99" y="376"/>
                  </a:lnTo>
                  <a:lnTo>
                    <a:pt x="99" y="374"/>
                  </a:lnTo>
                  <a:lnTo>
                    <a:pt x="99" y="374"/>
                  </a:lnTo>
                  <a:lnTo>
                    <a:pt x="99" y="374"/>
                  </a:lnTo>
                  <a:lnTo>
                    <a:pt x="99" y="371"/>
                  </a:lnTo>
                  <a:lnTo>
                    <a:pt x="99" y="371"/>
                  </a:lnTo>
                  <a:lnTo>
                    <a:pt x="99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6" y="369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7"/>
                  </a:lnTo>
                  <a:lnTo>
                    <a:pt x="94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5"/>
                  </a:lnTo>
                  <a:lnTo>
                    <a:pt x="92" y="365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5"/>
                  </a:lnTo>
                  <a:lnTo>
                    <a:pt x="92" y="365"/>
                  </a:lnTo>
                  <a:lnTo>
                    <a:pt x="92" y="365"/>
                  </a:lnTo>
                  <a:lnTo>
                    <a:pt x="92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90" y="362"/>
                  </a:lnTo>
                  <a:lnTo>
                    <a:pt x="87" y="360"/>
                  </a:lnTo>
                  <a:lnTo>
                    <a:pt x="87" y="360"/>
                  </a:lnTo>
                  <a:lnTo>
                    <a:pt x="87" y="360"/>
                  </a:lnTo>
                  <a:lnTo>
                    <a:pt x="87" y="360"/>
                  </a:lnTo>
                  <a:lnTo>
                    <a:pt x="87" y="360"/>
                  </a:lnTo>
                  <a:lnTo>
                    <a:pt x="87" y="360"/>
                  </a:lnTo>
                  <a:lnTo>
                    <a:pt x="87" y="360"/>
                  </a:lnTo>
                  <a:lnTo>
                    <a:pt x="85" y="360"/>
                  </a:lnTo>
                  <a:lnTo>
                    <a:pt x="85" y="360"/>
                  </a:lnTo>
                  <a:lnTo>
                    <a:pt x="85" y="360"/>
                  </a:lnTo>
                  <a:lnTo>
                    <a:pt x="85" y="360"/>
                  </a:lnTo>
                  <a:lnTo>
                    <a:pt x="85" y="360"/>
                  </a:lnTo>
                  <a:lnTo>
                    <a:pt x="85" y="360"/>
                  </a:lnTo>
                  <a:lnTo>
                    <a:pt x="85" y="358"/>
                  </a:lnTo>
                  <a:lnTo>
                    <a:pt x="83" y="358"/>
                  </a:lnTo>
                  <a:lnTo>
                    <a:pt x="83" y="358"/>
                  </a:lnTo>
                  <a:lnTo>
                    <a:pt x="83" y="358"/>
                  </a:lnTo>
                  <a:lnTo>
                    <a:pt x="81" y="358"/>
                  </a:lnTo>
                  <a:lnTo>
                    <a:pt x="81" y="358"/>
                  </a:lnTo>
                  <a:lnTo>
                    <a:pt x="81" y="358"/>
                  </a:lnTo>
                  <a:lnTo>
                    <a:pt x="81" y="358"/>
                  </a:lnTo>
                  <a:lnTo>
                    <a:pt x="78" y="356"/>
                  </a:lnTo>
                  <a:lnTo>
                    <a:pt x="78" y="356"/>
                  </a:lnTo>
                  <a:lnTo>
                    <a:pt x="78" y="356"/>
                  </a:lnTo>
                  <a:lnTo>
                    <a:pt x="76" y="356"/>
                  </a:lnTo>
                  <a:lnTo>
                    <a:pt x="76" y="356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49"/>
                  </a:lnTo>
                  <a:lnTo>
                    <a:pt x="74" y="349"/>
                  </a:lnTo>
                  <a:lnTo>
                    <a:pt x="74" y="349"/>
                  </a:lnTo>
                  <a:lnTo>
                    <a:pt x="76" y="349"/>
                  </a:lnTo>
                  <a:lnTo>
                    <a:pt x="76" y="349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7"/>
                  </a:lnTo>
                  <a:lnTo>
                    <a:pt x="76" y="344"/>
                  </a:lnTo>
                  <a:lnTo>
                    <a:pt x="76" y="344"/>
                  </a:lnTo>
                  <a:lnTo>
                    <a:pt x="74" y="344"/>
                  </a:lnTo>
                  <a:lnTo>
                    <a:pt x="74" y="344"/>
                  </a:lnTo>
                  <a:lnTo>
                    <a:pt x="74" y="342"/>
                  </a:lnTo>
                  <a:lnTo>
                    <a:pt x="74" y="342"/>
                  </a:lnTo>
                  <a:lnTo>
                    <a:pt x="74" y="342"/>
                  </a:lnTo>
                  <a:lnTo>
                    <a:pt x="74" y="342"/>
                  </a:lnTo>
                  <a:lnTo>
                    <a:pt x="74" y="342"/>
                  </a:lnTo>
                  <a:lnTo>
                    <a:pt x="74" y="342"/>
                  </a:lnTo>
                  <a:lnTo>
                    <a:pt x="74" y="342"/>
                  </a:lnTo>
                  <a:lnTo>
                    <a:pt x="72" y="342"/>
                  </a:lnTo>
                  <a:lnTo>
                    <a:pt x="72" y="342"/>
                  </a:lnTo>
                  <a:lnTo>
                    <a:pt x="72" y="342"/>
                  </a:lnTo>
                  <a:lnTo>
                    <a:pt x="72" y="342"/>
                  </a:lnTo>
                  <a:lnTo>
                    <a:pt x="69" y="342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9" y="340"/>
                  </a:lnTo>
                  <a:lnTo>
                    <a:pt x="67" y="338"/>
                  </a:lnTo>
                  <a:lnTo>
                    <a:pt x="67" y="338"/>
                  </a:lnTo>
                  <a:lnTo>
                    <a:pt x="67" y="338"/>
                  </a:lnTo>
                  <a:lnTo>
                    <a:pt x="67" y="335"/>
                  </a:lnTo>
                  <a:lnTo>
                    <a:pt x="65" y="335"/>
                  </a:lnTo>
                  <a:lnTo>
                    <a:pt x="65" y="335"/>
                  </a:lnTo>
                  <a:lnTo>
                    <a:pt x="63" y="335"/>
                  </a:lnTo>
                  <a:lnTo>
                    <a:pt x="63" y="335"/>
                  </a:lnTo>
                  <a:lnTo>
                    <a:pt x="63" y="335"/>
                  </a:lnTo>
                  <a:lnTo>
                    <a:pt x="60" y="335"/>
                  </a:lnTo>
                  <a:lnTo>
                    <a:pt x="60" y="335"/>
                  </a:lnTo>
                  <a:lnTo>
                    <a:pt x="60" y="335"/>
                  </a:lnTo>
                  <a:lnTo>
                    <a:pt x="58" y="333"/>
                  </a:lnTo>
                  <a:lnTo>
                    <a:pt x="58" y="333"/>
                  </a:lnTo>
                  <a:lnTo>
                    <a:pt x="58" y="333"/>
                  </a:lnTo>
                  <a:lnTo>
                    <a:pt x="58" y="333"/>
                  </a:lnTo>
                  <a:lnTo>
                    <a:pt x="58" y="333"/>
                  </a:lnTo>
                  <a:lnTo>
                    <a:pt x="58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6" y="333"/>
                  </a:lnTo>
                  <a:lnTo>
                    <a:pt x="54" y="333"/>
                  </a:lnTo>
                  <a:lnTo>
                    <a:pt x="54" y="333"/>
                  </a:lnTo>
                  <a:lnTo>
                    <a:pt x="54" y="333"/>
                  </a:lnTo>
                  <a:lnTo>
                    <a:pt x="54" y="333"/>
                  </a:lnTo>
                  <a:lnTo>
                    <a:pt x="51" y="333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29"/>
                  </a:lnTo>
                  <a:lnTo>
                    <a:pt x="54" y="326"/>
                  </a:lnTo>
                  <a:lnTo>
                    <a:pt x="54" y="326"/>
                  </a:lnTo>
                  <a:lnTo>
                    <a:pt x="54" y="326"/>
                  </a:lnTo>
                  <a:lnTo>
                    <a:pt x="54" y="326"/>
                  </a:lnTo>
                  <a:lnTo>
                    <a:pt x="54" y="326"/>
                  </a:lnTo>
                  <a:lnTo>
                    <a:pt x="54" y="324"/>
                  </a:lnTo>
                  <a:lnTo>
                    <a:pt x="54" y="324"/>
                  </a:lnTo>
                  <a:lnTo>
                    <a:pt x="54" y="324"/>
                  </a:lnTo>
                  <a:lnTo>
                    <a:pt x="54" y="324"/>
                  </a:lnTo>
                  <a:lnTo>
                    <a:pt x="54" y="324"/>
                  </a:lnTo>
                  <a:lnTo>
                    <a:pt x="54" y="322"/>
                  </a:lnTo>
                  <a:lnTo>
                    <a:pt x="51" y="322"/>
                  </a:lnTo>
                  <a:lnTo>
                    <a:pt x="51" y="324"/>
                  </a:lnTo>
                  <a:lnTo>
                    <a:pt x="51" y="324"/>
                  </a:lnTo>
                  <a:lnTo>
                    <a:pt x="49" y="322"/>
                  </a:lnTo>
                  <a:lnTo>
                    <a:pt x="49" y="322"/>
                  </a:lnTo>
                  <a:lnTo>
                    <a:pt x="47" y="322"/>
                  </a:lnTo>
                  <a:lnTo>
                    <a:pt x="47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2" y="322"/>
                  </a:lnTo>
                  <a:lnTo>
                    <a:pt x="42" y="322"/>
                  </a:lnTo>
                  <a:lnTo>
                    <a:pt x="42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40" y="322"/>
                  </a:lnTo>
                  <a:lnTo>
                    <a:pt x="38" y="322"/>
                  </a:lnTo>
                  <a:lnTo>
                    <a:pt x="38" y="322"/>
                  </a:lnTo>
                  <a:lnTo>
                    <a:pt x="38" y="322"/>
                  </a:lnTo>
                  <a:lnTo>
                    <a:pt x="38" y="322"/>
                  </a:lnTo>
                  <a:lnTo>
                    <a:pt x="38" y="322"/>
                  </a:lnTo>
                  <a:lnTo>
                    <a:pt x="38" y="322"/>
                  </a:lnTo>
                  <a:lnTo>
                    <a:pt x="38" y="320"/>
                  </a:lnTo>
                  <a:lnTo>
                    <a:pt x="38" y="320"/>
                  </a:lnTo>
                  <a:lnTo>
                    <a:pt x="38" y="317"/>
                  </a:lnTo>
                  <a:lnTo>
                    <a:pt x="40" y="317"/>
                  </a:lnTo>
                  <a:lnTo>
                    <a:pt x="40" y="317"/>
                  </a:lnTo>
                  <a:lnTo>
                    <a:pt x="40" y="315"/>
                  </a:lnTo>
                  <a:lnTo>
                    <a:pt x="38" y="315"/>
                  </a:lnTo>
                  <a:lnTo>
                    <a:pt x="38" y="317"/>
                  </a:lnTo>
                  <a:lnTo>
                    <a:pt x="38" y="317"/>
                  </a:lnTo>
                  <a:lnTo>
                    <a:pt x="38" y="317"/>
                  </a:lnTo>
                  <a:lnTo>
                    <a:pt x="36" y="315"/>
                  </a:lnTo>
                  <a:lnTo>
                    <a:pt x="36" y="315"/>
                  </a:lnTo>
                  <a:lnTo>
                    <a:pt x="38" y="313"/>
                  </a:lnTo>
                  <a:lnTo>
                    <a:pt x="38" y="311"/>
                  </a:lnTo>
                  <a:lnTo>
                    <a:pt x="38" y="311"/>
                  </a:lnTo>
                  <a:lnTo>
                    <a:pt x="38" y="311"/>
                  </a:lnTo>
                  <a:lnTo>
                    <a:pt x="38" y="311"/>
                  </a:lnTo>
                  <a:lnTo>
                    <a:pt x="38" y="311"/>
                  </a:lnTo>
                  <a:lnTo>
                    <a:pt x="40" y="311"/>
                  </a:lnTo>
                  <a:lnTo>
                    <a:pt x="40" y="311"/>
                  </a:lnTo>
                  <a:lnTo>
                    <a:pt x="40" y="308"/>
                  </a:lnTo>
                  <a:lnTo>
                    <a:pt x="40" y="308"/>
                  </a:lnTo>
                  <a:lnTo>
                    <a:pt x="40" y="308"/>
                  </a:lnTo>
                  <a:lnTo>
                    <a:pt x="40" y="308"/>
                  </a:lnTo>
                  <a:lnTo>
                    <a:pt x="40" y="308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40" y="299"/>
                  </a:lnTo>
                  <a:lnTo>
                    <a:pt x="40" y="299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3" y="281"/>
                  </a:lnTo>
                  <a:lnTo>
                    <a:pt x="29" y="277"/>
                  </a:lnTo>
                  <a:lnTo>
                    <a:pt x="27" y="275"/>
                  </a:lnTo>
                  <a:lnTo>
                    <a:pt x="24" y="270"/>
                  </a:lnTo>
                  <a:lnTo>
                    <a:pt x="24" y="270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4" y="263"/>
                  </a:lnTo>
                  <a:lnTo>
                    <a:pt x="24" y="263"/>
                  </a:lnTo>
                  <a:lnTo>
                    <a:pt x="27" y="263"/>
                  </a:lnTo>
                  <a:lnTo>
                    <a:pt x="24" y="261"/>
                  </a:lnTo>
                  <a:lnTo>
                    <a:pt x="24" y="261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2" y="259"/>
                  </a:lnTo>
                  <a:lnTo>
                    <a:pt x="22" y="259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8" y="257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2"/>
                  </a:lnTo>
                  <a:lnTo>
                    <a:pt x="18" y="252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3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5" y="241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4"/>
                  </a:lnTo>
                  <a:lnTo>
                    <a:pt x="13" y="232"/>
                  </a:lnTo>
                  <a:lnTo>
                    <a:pt x="13" y="230"/>
                  </a:lnTo>
                  <a:lnTo>
                    <a:pt x="13" y="230"/>
                  </a:lnTo>
                  <a:lnTo>
                    <a:pt x="11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9" y="227"/>
                  </a:lnTo>
                  <a:lnTo>
                    <a:pt x="6" y="230"/>
                  </a:lnTo>
                  <a:lnTo>
                    <a:pt x="6" y="230"/>
                  </a:lnTo>
                  <a:lnTo>
                    <a:pt x="4" y="230"/>
                  </a:lnTo>
                  <a:lnTo>
                    <a:pt x="4" y="230"/>
                  </a:lnTo>
                  <a:lnTo>
                    <a:pt x="4" y="230"/>
                  </a:lnTo>
                  <a:lnTo>
                    <a:pt x="2" y="230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2" y="225"/>
                  </a:lnTo>
                  <a:lnTo>
                    <a:pt x="0" y="225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2" y="223"/>
                  </a:lnTo>
                  <a:lnTo>
                    <a:pt x="4" y="218"/>
                  </a:lnTo>
                  <a:lnTo>
                    <a:pt x="4" y="218"/>
                  </a:lnTo>
                  <a:lnTo>
                    <a:pt x="4" y="218"/>
                  </a:lnTo>
                  <a:lnTo>
                    <a:pt x="4" y="216"/>
                  </a:lnTo>
                  <a:lnTo>
                    <a:pt x="6" y="216"/>
                  </a:lnTo>
                  <a:lnTo>
                    <a:pt x="6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2"/>
                  </a:lnTo>
                  <a:lnTo>
                    <a:pt x="11" y="212"/>
                  </a:lnTo>
                  <a:lnTo>
                    <a:pt x="9" y="209"/>
                  </a:lnTo>
                  <a:lnTo>
                    <a:pt x="9" y="209"/>
                  </a:lnTo>
                  <a:lnTo>
                    <a:pt x="9" y="209"/>
                  </a:lnTo>
                  <a:lnTo>
                    <a:pt x="9" y="207"/>
                  </a:lnTo>
                  <a:lnTo>
                    <a:pt x="9" y="207"/>
                  </a:lnTo>
                  <a:lnTo>
                    <a:pt x="6" y="205"/>
                  </a:lnTo>
                  <a:lnTo>
                    <a:pt x="6" y="205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0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13" y="196"/>
                  </a:lnTo>
                  <a:lnTo>
                    <a:pt x="13" y="196"/>
                  </a:lnTo>
                  <a:lnTo>
                    <a:pt x="13" y="194"/>
                  </a:lnTo>
                  <a:lnTo>
                    <a:pt x="13" y="194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5" y="194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13" y="183"/>
                  </a:lnTo>
                  <a:lnTo>
                    <a:pt x="13" y="183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20" y="174"/>
                  </a:lnTo>
                  <a:lnTo>
                    <a:pt x="20" y="171"/>
                  </a:lnTo>
                  <a:lnTo>
                    <a:pt x="22" y="171"/>
                  </a:lnTo>
                  <a:lnTo>
                    <a:pt x="22" y="171"/>
                  </a:lnTo>
                  <a:lnTo>
                    <a:pt x="22" y="171"/>
                  </a:lnTo>
                  <a:lnTo>
                    <a:pt x="22" y="169"/>
                  </a:lnTo>
                  <a:lnTo>
                    <a:pt x="24" y="169"/>
                  </a:lnTo>
                  <a:lnTo>
                    <a:pt x="24" y="167"/>
                  </a:lnTo>
                  <a:lnTo>
                    <a:pt x="24" y="165"/>
                  </a:lnTo>
                  <a:lnTo>
                    <a:pt x="24" y="165"/>
                  </a:lnTo>
                  <a:lnTo>
                    <a:pt x="24" y="162"/>
                  </a:lnTo>
                  <a:lnTo>
                    <a:pt x="22" y="162"/>
                  </a:lnTo>
                  <a:lnTo>
                    <a:pt x="22" y="162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4" y="158"/>
                  </a:lnTo>
                  <a:lnTo>
                    <a:pt x="24" y="156"/>
                  </a:lnTo>
                  <a:lnTo>
                    <a:pt x="27" y="156"/>
                  </a:lnTo>
                  <a:lnTo>
                    <a:pt x="27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6" y="156"/>
                  </a:lnTo>
                  <a:lnTo>
                    <a:pt x="36" y="156"/>
                  </a:lnTo>
                  <a:lnTo>
                    <a:pt x="38" y="156"/>
                  </a:lnTo>
                  <a:lnTo>
                    <a:pt x="40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3"/>
                  </a:lnTo>
                  <a:lnTo>
                    <a:pt x="45" y="149"/>
                  </a:lnTo>
                  <a:lnTo>
                    <a:pt x="45" y="144"/>
                  </a:lnTo>
                  <a:lnTo>
                    <a:pt x="45" y="138"/>
                  </a:lnTo>
                  <a:lnTo>
                    <a:pt x="45" y="133"/>
                  </a:lnTo>
                  <a:lnTo>
                    <a:pt x="42" y="126"/>
                  </a:lnTo>
                  <a:lnTo>
                    <a:pt x="42" y="122"/>
                  </a:lnTo>
                  <a:lnTo>
                    <a:pt x="42" y="115"/>
                  </a:lnTo>
                  <a:lnTo>
                    <a:pt x="42" y="111"/>
                  </a:lnTo>
                  <a:lnTo>
                    <a:pt x="42" y="104"/>
                  </a:lnTo>
                  <a:lnTo>
                    <a:pt x="42" y="99"/>
                  </a:lnTo>
                  <a:lnTo>
                    <a:pt x="42" y="93"/>
                  </a:lnTo>
                  <a:lnTo>
                    <a:pt x="42" y="88"/>
                  </a:lnTo>
                  <a:lnTo>
                    <a:pt x="42" y="81"/>
                  </a:lnTo>
                  <a:lnTo>
                    <a:pt x="42" y="77"/>
                  </a:lnTo>
                  <a:lnTo>
                    <a:pt x="42" y="72"/>
                  </a:lnTo>
                  <a:lnTo>
                    <a:pt x="42" y="66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0" y="54"/>
                  </a:lnTo>
                  <a:lnTo>
                    <a:pt x="45" y="54"/>
                  </a:lnTo>
                  <a:lnTo>
                    <a:pt x="47" y="54"/>
                  </a:lnTo>
                  <a:lnTo>
                    <a:pt x="49" y="54"/>
                  </a:lnTo>
                  <a:lnTo>
                    <a:pt x="51" y="54"/>
                  </a:lnTo>
                  <a:lnTo>
                    <a:pt x="54" y="54"/>
                  </a:lnTo>
                  <a:lnTo>
                    <a:pt x="56" y="54"/>
                  </a:lnTo>
                  <a:lnTo>
                    <a:pt x="58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3" y="54"/>
                  </a:lnTo>
                  <a:lnTo>
                    <a:pt x="60" y="52"/>
                  </a:lnTo>
                  <a:lnTo>
                    <a:pt x="60" y="50"/>
                  </a:lnTo>
                  <a:lnTo>
                    <a:pt x="60" y="45"/>
                  </a:lnTo>
                  <a:lnTo>
                    <a:pt x="60" y="43"/>
                  </a:lnTo>
                  <a:lnTo>
                    <a:pt x="60" y="41"/>
                  </a:lnTo>
                  <a:lnTo>
                    <a:pt x="60" y="39"/>
                  </a:lnTo>
                  <a:lnTo>
                    <a:pt x="60" y="36"/>
                  </a:lnTo>
                  <a:lnTo>
                    <a:pt x="60" y="34"/>
                  </a:lnTo>
                  <a:lnTo>
                    <a:pt x="60" y="30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1"/>
                  </a:lnTo>
                  <a:lnTo>
                    <a:pt x="60" y="18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9"/>
                  </a:lnTo>
                  <a:lnTo>
                    <a:pt x="60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7" y="7"/>
                  </a:lnTo>
                  <a:lnTo>
                    <a:pt x="69" y="7"/>
                  </a:lnTo>
                  <a:lnTo>
                    <a:pt x="72" y="7"/>
                  </a:lnTo>
                  <a:lnTo>
                    <a:pt x="74" y="7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5" y="7"/>
                  </a:lnTo>
                  <a:lnTo>
                    <a:pt x="87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9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5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2" y="7"/>
                  </a:lnTo>
                  <a:lnTo>
                    <a:pt x="114" y="7"/>
                  </a:lnTo>
                  <a:lnTo>
                    <a:pt x="116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8" y="7"/>
                  </a:lnTo>
                  <a:lnTo>
                    <a:pt x="130" y="7"/>
                  </a:lnTo>
                  <a:lnTo>
                    <a:pt x="132" y="7"/>
                  </a:lnTo>
                  <a:lnTo>
                    <a:pt x="134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9" y="7"/>
                  </a:lnTo>
                  <a:lnTo>
                    <a:pt x="141" y="7"/>
                  </a:lnTo>
                  <a:lnTo>
                    <a:pt x="143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50" y="7"/>
                  </a:lnTo>
                  <a:lnTo>
                    <a:pt x="152" y="7"/>
                  </a:lnTo>
                  <a:lnTo>
                    <a:pt x="155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9" y="7"/>
                  </a:lnTo>
                  <a:lnTo>
                    <a:pt x="161" y="7"/>
                  </a:lnTo>
                  <a:lnTo>
                    <a:pt x="164" y="7"/>
                  </a:lnTo>
                  <a:lnTo>
                    <a:pt x="166" y="7"/>
                  </a:lnTo>
                  <a:lnTo>
                    <a:pt x="168" y="7"/>
                  </a:lnTo>
                  <a:lnTo>
                    <a:pt x="170" y="7"/>
                  </a:lnTo>
                  <a:lnTo>
                    <a:pt x="173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7" y="7"/>
                  </a:lnTo>
                  <a:lnTo>
                    <a:pt x="179" y="7"/>
                  </a:lnTo>
                  <a:lnTo>
                    <a:pt x="182" y="7"/>
                  </a:lnTo>
                  <a:lnTo>
                    <a:pt x="184" y="7"/>
                  </a:lnTo>
                  <a:lnTo>
                    <a:pt x="186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88" y="7"/>
                  </a:lnTo>
                  <a:lnTo>
                    <a:pt x="191" y="5"/>
                  </a:lnTo>
                  <a:lnTo>
                    <a:pt x="191" y="3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3"/>
                  </a:lnTo>
                  <a:lnTo>
                    <a:pt x="193" y="3"/>
                  </a:lnTo>
                  <a:lnTo>
                    <a:pt x="193" y="3"/>
                  </a:lnTo>
                  <a:lnTo>
                    <a:pt x="193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493"/>
            <p:cNvSpPr>
              <a:spLocks/>
            </p:cNvSpPr>
            <p:nvPr/>
          </p:nvSpPr>
          <p:spPr bwMode="auto">
            <a:xfrm>
              <a:off x="3466371" y="3255397"/>
              <a:ext cx="3343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0 w 2"/>
                <a:gd name="T6" fmla="*/ 0 w 2"/>
                <a:gd name="T7" fmla="*/ 2 w 2"/>
                <a:gd name="T8" fmla="*/ 2 w 2"/>
                <a:gd name="T9" fmla="*/ 2 w 2"/>
                <a:gd name="T10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494"/>
            <p:cNvSpPr>
              <a:spLocks noEditPoints="1"/>
            </p:cNvSpPr>
            <p:nvPr/>
          </p:nvSpPr>
          <p:spPr bwMode="auto">
            <a:xfrm>
              <a:off x="8430503" y="3574639"/>
              <a:ext cx="81900" cy="157114"/>
            </a:xfrm>
            <a:custGeom>
              <a:avLst/>
              <a:gdLst>
                <a:gd name="T0" fmla="*/ 45 w 49"/>
                <a:gd name="T1" fmla="*/ 52 h 94"/>
                <a:gd name="T2" fmla="*/ 47 w 49"/>
                <a:gd name="T3" fmla="*/ 56 h 94"/>
                <a:gd name="T4" fmla="*/ 4 w 49"/>
                <a:gd name="T5" fmla="*/ 20 h 94"/>
                <a:gd name="T6" fmla="*/ 4 w 49"/>
                <a:gd name="T7" fmla="*/ 20 h 94"/>
                <a:gd name="T8" fmla="*/ 2 w 49"/>
                <a:gd name="T9" fmla="*/ 9 h 94"/>
                <a:gd name="T10" fmla="*/ 7 w 49"/>
                <a:gd name="T11" fmla="*/ 7 h 94"/>
                <a:gd name="T12" fmla="*/ 4 w 49"/>
                <a:gd name="T13" fmla="*/ 2 h 94"/>
                <a:gd name="T14" fmla="*/ 22 w 49"/>
                <a:gd name="T15" fmla="*/ 11 h 94"/>
                <a:gd name="T16" fmla="*/ 25 w 49"/>
                <a:gd name="T17" fmla="*/ 16 h 94"/>
                <a:gd name="T18" fmla="*/ 25 w 49"/>
                <a:gd name="T19" fmla="*/ 18 h 94"/>
                <a:gd name="T20" fmla="*/ 27 w 49"/>
                <a:gd name="T21" fmla="*/ 20 h 94"/>
                <a:gd name="T22" fmla="*/ 27 w 49"/>
                <a:gd name="T23" fmla="*/ 22 h 94"/>
                <a:gd name="T24" fmla="*/ 31 w 49"/>
                <a:gd name="T25" fmla="*/ 25 h 94"/>
                <a:gd name="T26" fmla="*/ 34 w 49"/>
                <a:gd name="T27" fmla="*/ 29 h 94"/>
                <a:gd name="T28" fmla="*/ 34 w 49"/>
                <a:gd name="T29" fmla="*/ 31 h 94"/>
                <a:gd name="T30" fmla="*/ 31 w 49"/>
                <a:gd name="T31" fmla="*/ 34 h 94"/>
                <a:gd name="T32" fmla="*/ 36 w 49"/>
                <a:gd name="T33" fmla="*/ 31 h 94"/>
                <a:gd name="T34" fmla="*/ 38 w 49"/>
                <a:gd name="T35" fmla="*/ 36 h 94"/>
                <a:gd name="T36" fmla="*/ 38 w 49"/>
                <a:gd name="T37" fmla="*/ 40 h 94"/>
                <a:gd name="T38" fmla="*/ 40 w 49"/>
                <a:gd name="T39" fmla="*/ 43 h 94"/>
                <a:gd name="T40" fmla="*/ 40 w 49"/>
                <a:gd name="T41" fmla="*/ 45 h 94"/>
                <a:gd name="T42" fmla="*/ 43 w 49"/>
                <a:gd name="T43" fmla="*/ 45 h 94"/>
                <a:gd name="T44" fmla="*/ 43 w 49"/>
                <a:gd name="T45" fmla="*/ 49 h 94"/>
                <a:gd name="T46" fmla="*/ 43 w 49"/>
                <a:gd name="T47" fmla="*/ 52 h 94"/>
                <a:gd name="T48" fmla="*/ 45 w 49"/>
                <a:gd name="T49" fmla="*/ 54 h 94"/>
                <a:gd name="T50" fmla="*/ 47 w 49"/>
                <a:gd name="T51" fmla="*/ 56 h 94"/>
                <a:gd name="T52" fmla="*/ 47 w 49"/>
                <a:gd name="T53" fmla="*/ 58 h 94"/>
                <a:gd name="T54" fmla="*/ 47 w 49"/>
                <a:gd name="T55" fmla="*/ 56 h 94"/>
                <a:gd name="T56" fmla="*/ 49 w 49"/>
                <a:gd name="T57" fmla="*/ 70 h 94"/>
                <a:gd name="T58" fmla="*/ 45 w 49"/>
                <a:gd name="T59" fmla="*/ 81 h 94"/>
                <a:gd name="T60" fmla="*/ 36 w 49"/>
                <a:gd name="T61" fmla="*/ 88 h 94"/>
                <a:gd name="T62" fmla="*/ 27 w 49"/>
                <a:gd name="T63" fmla="*/ 92 h 94"/>
                <a:gd name="T64" fmla="*/ 20 w 49"/>
                <a:gd name="T65" fmla="*/ 94 h 94"/>
                <a:gd name="T66" fmla="*/ 18 w 49"/>
                <a:gd name="T67" fmla="*/ 92 h 94"/>
                <a:gd name="T68" fmla="*/ 13 w 49"/>
                <a:gd name="T69" fmla="*/ 90 h 94"/>
                <a:gd name="T70" fmla="*/ 11 w 49"/>
                <a:gd name="T71" fmla="*/ 83 h 94"/>
                <a:gd name="T72" fmla="*/ 7 w 49"/>
                <a:gd name="T73" fmla="*/ 72 h 94"/>
                <a:gd name="T74" fmla="*/ 7 w 49"/>
                <a:gd name="T75" fmla="*/ 65 h 94"/>
                <a:gd name="T76" fmla="*/ 7 w 49"/>
                <a:gd name="T77" fmla="*/ 63 h 94"/>
                <a:gd name="T78" fmla="*/ 4 w 49"/>
                <a:gd name="T79" fmla="*/ 52 h 94"/>
                <a:gd name="T80" fmla="*/ 2 w 49"/>
                <a:gd name="T81" fmla="*/ 40 h 94"/>
                <a:gd name="T82" fmla="*/ 4 w 49"/>
                <a:gd name="T83" fmla="*/ 38 h 94"/>
                <a:gd name="T84" fmla="*/ 4 w 49"/>
                <a:gd name="T85" fmla="*/ 40 h 94"/>
                <a:gd name="T86" fmla="*/ 4 w 49"/>
                <a:gd name="T87" fmla="*/ 43 h 94"/>
                <a:gd name="T88" fmla="*/ 4 w 49"/>
                <a:gd name="T89" fmla="*/ 38 h 94"/>
                <a:gd name="T90" fmla="*/ 7 w 49"/>
                <a:gd name="T91" fmla="*/ 31 h 94"/>
                <a:gd name="T92" fmla="*/ 7 w 49"/>
                <a:gd name="T93" fmla="*/ 22 h 94"/>
                <a:gd name="T94" fmla="*/ 9 w 49"/>
                <a:gd name="T95" fmla="*/ 18 h 94"/>
                <a:gd name="T96" fmla="*/ 9 w 49"/>
                <a:gd name="T97" fmla="*/ 11 h 94"/>
                <a:gd name="T98" fmla="*/ 11 w 49"/>
                <a:gd name="T99" fmla="*/ 9 h 94"/>
                <a:gd name="T100" fmla="*/ 13 w 49"/>
                <a:gd name="T101" fmla="*/ 9 h 94"/>
                <a:gd name="T102" fmla="*/ 18 w 49"/>
                <a:gd name="T103" fmla="*/ 9 h 94"/>
                <a:gd name="T104" fmla="*/ 16 w 49"/>
                <a:gd name="T105" fmla="*/ 9 h 94"/>
                <a:gd name="T106" fmla="*/ 11 w 49"/>
                <a:gd name="T107" fmla="*/ 7 h 94"/>
                <a:gd name="T108" fmla="*/ 7 w 49"/>
                <a:gd name="T109" fmla="*/ 4 h 94"/>
                <a:gd name="T110" fmla="*/ 4 w 49"/>
                <a:gd name="T111" fmla="*/ 2 h 94"/>
                <a:gd name="T112" fmla="*/ 11 w 49"/>
                <a:gd name="T113" fmla="*/ 2 h 94"/>
                <a:gd name="T114" fmla="*/ 11 w 49"/>
                <a:gd name="T115" fmla="*/ 2 h 94"/>
                <a:gd name="T116" fmla="*/ 16 w 49"/>
                <a:gd name="T117" fmla="*/ 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" h="94">
                  <a:moveTo>
                    <a:pt x="47" y="56"/>
                  </a:move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4"/>
                  </a:lnTo>
                  <a:lnTo>
                    <a:pt x="47" y="56"/>
                  </a:lnTo>
                  <a:lnTo>
                    <a:pt x="47" y="56"/>
                  </a:lnTo>
                  <a:close/>
                  <a:moveTo>
                    <a:pt x="4" y="20"/>
                  </a:moveTo>
                  <a:lnTo>
                    <a:pt x="7" y="20"/>
                  </a:lnTo>
                  <a:lnTo>
                    <a:pt x="7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7" y="20"/>
                  </a:lnTo>
                  <a:lnTo>
                    <a:pt x="7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20"/>
                  </a:lnTo>
                  <a:close/>
                  <a:moveTo>
                    <a:pt x="2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8" y="7"/>
                  </a:moveTo>
                  <a:lnTo>
                    <a:pt x="22" y="11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6"/>
                  </a:lnTo>
                  <a:lnTo>
                    <a:pt x="27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0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4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40" y="40"/>
                  </a:lnTo>
                  <a:lnTo>
                    <a:pt x="38" y="43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2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61"/>
                  </a:lnTo>
                  <a:lnTo>
                    <a:pt x="49" y="65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70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9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3" y="83"/>
                  </a:lnTo>
                  <a:lnTo>
                    <a:pt x="40" y="88"/>
                  </a:lnTo>
                  <a:lnTo>
                    <a:pt x="38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4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5"/>
                  </a:lnTo>
                  <a:lnTo>
                    <a:pt x="2" y="45"/>
                  </a:lnTo>
                  <a:lnTo>
                    <a:pt x="2" y="43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3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4" y="43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7" y="45"/>
                  </a:lnTo>
                  <a:lnTo>
                    <a:pt x="4" y="45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7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9" y="4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3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3" y="4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495"/>
            <p:cNvSpPr>
              <a:spLocks noEditPoints="1"/>
            </p:cNvSpPr>
            <p:nvPr/>
          </p:nvSpPr>
          <p:spPr bwMode="auto">
            <a:xfrm>
              <a:off x="5346724" y="2225799"/>
              <a:ext cx="439585" cy="337628"/>
            </a:xfrm>
            <a:custGeom>
              <a:avLst/>
              <a:gdLst>
                <a:gd name="T0" fmla="*/ 209 w 263"/>
                <a:gd name="T1" fmla="*/ 110 h 202"/>
                <a:gd name="T2" fmla="*/ 203 w 263"/>
                <a:gd name="T3" fmla="*/ 114 h 202"/>
                <a:gd name="T4" fmla="*/ 239 w 263"/>
                <a:gd name="T5" fmla="*/ 92 h 202"/>
                <a:gd name="T6" fmla="*/ 243 w 263"/>
                <a:gd name="T7" fmla="*/ 99 h 202"/>
                <a:gd name="T8" fmla="*/ 232 w 263"/>
                <a:gd name="T9" fmla="*/ 101 h 202"/>
                <a:gd name="T10" fmla="*/ 230 w 263"/>
                <a:gd name="T11" fmla="*/ 96 h 202"/>
                <a:gd name="T12" fmla="*/ 259 w 263"/>
                <a:gd name="T13" fmla="*/ 90 h 202"/>
                <a:gd name="T14" fmla="*/ 252 w 263"/>
                <a:gd name="T15" fmla="*/ 90 h 202"/>
                <a:gd name="T16" fmla="*/ 34 w 263"/>
                <a:gd name="T17" fmla="*/ 2 h 202"/>
                <a:gd name="T18" fmla="*/ 45 w 263"/>
                <a:gd name="T19" fmla="*/ 6 h 202"/>
                <a:gd name="T20" fmla="*/ 66 w 263"/>
                <a:gd name="T21" fmla="*/ 4 h 202"/>
                <a:gd name="T22" fmla="*/ 81 w 263"/>
                <a:gd name="T23" fmla="*/ 6 h 202"/>
                <a:gd name="T24" fmla="*/ 101 w 263"/>
                <a:gd name="T25" fmla="*/ 9 h 202"/>
                <a:gd name="T26" fmla="*/ 108 w 263"/>
                <a:gd name="T27" fmla="*/ 9 h 202"/>
                <a:gd name="T28" fmla="*/ 115 w 263"/>
                <a:gd name="T29" fmla="*/ 9 h 202"/>
                <a:gd name="T30" fmla="*/ 126 w 263"/>
                <a:gd name="T31" fmla="*/ 9 h 202"/>
                <a:gd name="T32" fmla="*/ 142 w 263"/>
                <a:gd name="T33" fmla="*/ 11 h 202"/>
                <a:gd name="T34" fmla="*/ 151 w 263"/>
                <a:gd name="T35" fmla="*/ 13 h 202"/>
                <a:gd name="T36" fmla="*/ 164 w 263"/>
                <a:gd name="T37" fmla="*/ 22 h 202"/>
                <a:gd name="T38" fmla="*/ 176 w 263"/>
                <a:gd name="T39" fmla="*/ 24 h 202"/>
                <a:gd name="T40" fmla="*/ 191 w 263"/>
                <a:gd name="T41" fmla="*/ 27 h 202"/>
                <a:gd name="T42" fmla="*/ 200 w 263"/>
                <a:gd name="T43" fmla="*/ 27 h 202"/>
                <a:gd name="T44" fmla="*/ 209 w 263"/>
                <a:gd name="T45" fmla="*/ 31 h 202"/>
                <a:gd name="T46" fmla="*/ 225 w 263"/>
                <a:gd name="T47" fmla="*/ 33 h 202"/>
                <a:gd name="T48" fmla="*/ 236 w 263"/>
                <a:gd name="T49" fmla="*/ 33 h 202"/>
                <a:gd name="T50" fmla="*/ 241 w 263"/>
                <a:gd name="T51" fmla="*/ 42 h 202"/>
                <a:gd name="T52" fmla="*/ 214 w 263"/>
                <a:gd name="T53" fmla="*/ 60 h 202"/>
                <a:gd name="T54" fmla="*/ 196 w 263"/>
                <a:gd name="T55" fmla="*/ 74 h 202"/>
                <a:gd name="T56" fmla="*/ 173 w 263"/>
                <a:gd name="T57" fmla="*/ 96 h 202"/>
                <a:gd name="T58" fmla="*/ 182 w 263"/>
                <a:gd name="T59" fmla="*/ 119 h 202"/>
                <a:gd name="T60" fmla="*/ 171 w 263"/>
                <a:gd name="T61" fmla="*/ 128 h 202"/>
                <a:gd name="T62" fmla="*/ 162 w 263"/>
                <a:gd name="T63" fmla="*/ 144 h 202"/>
                <a:gd name="T64" fmla="*/ 153 w 263"/>
                <a:gd name="T65" fmla="*/ 148 h 202"/>
                <a:gd name="T66" fmla="*/ 140 w 263"/>
                <a:gd name="T67" fmla="*/ 162 h 202"/>
                <a:gd name="T68" fmla="*/ 126 w 263"/>
                <a:gd name="T69" fmla="*/ 166 h 202"/>
                <a:gd name="T70" fmla="*/ 90 w 263"/>
                <a:gd name="T71" fmla="*/ 168 h 202"/>
                <a:gd name="T72" fmla="*/ 72 w 263"/>
                <a:gd name="T73" fmla="*/ 180 h 202"/>
                <a:gd name="T74" fmla="*/ 59 w 263"/>
                <a:gd name="T75" fmla="*/ 180 h 202"/>
                <a:gd name="T76" fmla="*/ 52 w 263"/>
                <a:gd name="T77" fmla="*/ 166 h 202"/>
                <a:gd name="T78" fmla="*/ 41 w 263"/>
                <a:gd name="T79" fmla="*/ 155 h 202"/>
                <a:gd name="T80" fmla="*/ 30 w 263"/>
                <a:gd name="T81" fmla="*/ 148 h 202"/>
                <a:gd name="T82" fmla="*/ 41 w 263"/>
                <a:gd name="T83" fmla="*/ 135 h 202"/>
                <a:gd name="T84" fmla="*/ 36 w 263"/>
                <a:gd name="T85" fmla="*/ 121 h 202"/>
                <a:gd name="T86" fmla="*/ 39 w 263"/>
                <a:gd name="T87" fmla="*/ 110 h 202"/>
                <a:gd name="T88" fmla="*/ 41 w 263"/>
                <a:gd name="T89" fmla="*/ 96 h 202"/>
                <a:gd name="T90" fmla="*/ 41 w 263"/>
                <a:gd name="T91" fmla="*/ 85 h 202"/>
                <a:gd name="T92" fmla="*/ 45 w 263"/>
                <a:gd name="T93" fmla="*/ 72 h 202"/>
                <a:gd name="T94" fmla="*/ 54 w 263"/>
                <a:gd name="T95" fmla="*/ 58 h 202"/>
                <a:gd name="T96" fmla="*/ 52 w 263"/>
                <a:gd name="T97" fmla="*/ 49 h 202"/>
                <a:gd name="T98" fmla="*/ 36 w 263"/>
                <a:gd name="T99" fmla="*/ 47 h 202"/>
                <a:gd name="T100" fmla="*/ 25 w 263"/>
                <a:gd name="T101" fmla="*/ 47 h 202"/>
                <a:gd name="T102" fmla="*/ 18 w 263"/>
                <a:gd name="T103" fmla="*/ 40 h 202"/>
                <a:gd name="T104" fmla="*/ 9 w 263"/>
                <a:gd name="T105" fmla="*/ 38 h 202"/>
                <a:gd name="T106" fmla="*/ 12 w 263"/>
                <a:gd name="T107" fmla="*/ 33 h 202"/>
                <a:gd name="T108" fmla="*/ 9 w 263"/>
                <a:gd name="T109" fmla="*/ 31 h 202"/>
                <a:gd name="T110" fmla="*/ 5 w 263"/>
                <a:gd name="T111" fmla="*/ 29 h 202"/>
                <a:gd name="T112" fmla="*/ 5 w 263"/>
                <a:gd name="T113" fmla="*/ 22 h 202"/>
                <a:gd name="T114" fmla="*/ 0 w 263"/>
                <a:gd name="T115" fmla="*/ 18 h 202"/>
                <a:gd name="T116" fmla="*/ 7 w 263"/>
                <a:gd name="T117" fmla="*/ 13 h 202"/>
                <a:gd name="T118" fmla="*/ 18 w 263"/>
                <a:gd name="T119" fmla="*/ 11 h 202"/>
                <a:gd name="T120" fmla="*/ 21 w 263"/>
                <a:gd name="T121" fmla="*/ 6 h 202"/>
                <a:gd name="T122" fmla="*/ 27 w 263"/>
                <a:gd name="T123" fmla="*/ 2 h 202"/>
                <a:gd name="T124" fmla="*/ 32 w 263"/>
                <a:gd name="T125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3" h="202">
                  <a:moveTo>
                    <a:pt x="119" y="202"/>
                  </a:move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202"/>
                  </a:lnTo>
                  <a:lnTo>
                    <a:pt x="119" y="202"/>
                  </a:lnTo>
                  <a:close/>
                  <a:moveTo>
                    <a:pt x="72" y="186"/>
                  </a:moveTo>
                  <a:lnTo>
                    <a:pt x="72" y="186"/>
                  </a:lnTo>
                  <a:lnTo>
                    <a:pt x="75" y="186"/>
                  </a:lnTo>
                  <a:lnTo>
                    <a:pt x="75" y="186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72" y="186"/>
                  </a:lnTo>
                  <a:lnTo>
                    <a:pt x="72" y="186"/>
                  </a:lnTo>
                  <a:close/>
                  <a:moveTo>
                    <a:pt x="164" y="144"/>
                  </a:moveTo>
                  <a:lnTo>
                    <a:pt x="164" y="146"/>
                  </a:lnTo>
                  <a:lnTo>
                    <a:pt x="164" y="146"/>
                  </a:lnTo>
                  <a:lnTo>
                    <a:pt x="162" y="144"/>
                  </a:lnTo>
                  <a:lnTo>
                    <a:pt x="164" y="144"/>
                  </a:lnTo>
                  <a:lnTo>
                    <a:pt x="162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4" y="144"/>
                  </a:lnTo>
                  <a:close/>
                  <a:moveTo>
                    <a:pt x="209" y="110"/>
                  </a:moveTo>
                  <a:lnTo>
                    <a:pt x="209" y="110"/>
                  </a:lnTo>
                  <a:lnTo>
                    <a:pt x="209" y="110"/>
                  </a:lnTo>
                  <a:lnTo>
                    <a:pt x="209" y="112"/>
                  </a:lnTo>
                  <a:lnTo>
                    <a:pt x="209" y="112"/>
                  </a:lnTo>
                  <a:lnTo>
                    <a:pt x="209" y="112"/>
                  </a:lnTo>
                  <a:lnTo>
                    <a:pt x="209" y="112"/>
                  </a:lnTo>
                  <a:lnTo>
                    <a:pt x="209" y="112"/>
                  </a:lnTo>
                  <a:lnTo>
                    <a:pt x="209" y="112"/>
                  </a:lnTo>
                  <a:lnTo>
                    <a:pt x="209" y="112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7"/>
                  </a:lnTo>
                  <a:lnTo>
                    <a:pt x="207" y="117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7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4"/>
                  </a:lnTo>
                  <a:lnTo>
                    <a:pt x="203" y="112"/>
                  </a:lnTo>
                  <a:lnTo>
                    <a:pt x="203" y="112"/>
                  </a:lnTo>
                  <a:lnTo>
                    <a:pt x="203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07" y="110"/>
                  </a:lnTo>
                  <a:lnTo>
                    <a:pt x="209" y="110"/>
                  </a:lnTo>
                  <a:lnTo>
                    <a:pt x="209" y="110"/>
                  </a:lnTo>
                  <a:lnTo>
                    <a:pt x="209" y="110"/>
                  </a:lnTo>
                  <a:close/>
                  <a:moveTo>
                    <a:pt x="239" y="90"/>
                  </a:moveTo>
                  <a:lnTo>
                    <a:pt x="241" y="92"/>
                  </a:lnTo>
                  <a:lnTo>
                    <a:pt x="241" y="90"/>
                  </a:lnTo>
                  <a:lnTo>
                    <a:pt x="241" y="90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39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4"/>
                  </a:lnTo>
                  <a:lnTo>
                    <a:pt x="241" y="94"/>
                  </a:lnTo>
                  <a:lnTo>
                    <a:pt x="239" y="94"/>
                  </a:lnTo>
                  <a:lnTo>
                    <a:pt x="239" y="94"/>
                  </a:lnTo>
                  <a:lnTo>
                    <a:pt x="239" y="94"/>
                  </a:lnTo>
                  <a:lnTo>
                    <a:pt x="239" y="94"/>
                  </a:lnTo>
                  <a:lnTo>
                    <a:pt x="239" y="94"/>
                  </a:lnTo>
                  <a:lnTo>
                    <a:pt x="239" y="94"/>
                  </a:lnTo>
                  <a:lnTo>
                    <a:pt x="239" y="96"/>
                  </a:lnTo>
                  <a:lnTo>
                    <a:pt x="241" y="96"/>
                  </a:lnTo>
                  <a:lnTo>
                    <a:pt x="241" y="96"/>
                  </a:lnTo>
                  <a:lnTo>
                    <a:pt x="241" y="96"/>
                  </a:lnTo>
                  <a:lnTo>
                    <a:pt x="243" y="96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6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1" y="105"/>
                  </a:lnTo>
                  <a:lnTo>
                    <a:pt x="241" y="105"/>
                  </a:lnTo>
                  <a:lnTo>
                    <a:pt x="239" y="105"/>
                  </a:lnTo>
                  <a:lnTo>
                    <a:pt x="239" y="108"/>
                  </a:lnTo>
                  <a:lnTo>
                    <a:pt x="239" y="108"/>
                  </a:lnTo>
                  <a:lnTo>
                    <a:pt x="239" y="108"/>
                  </a:lnTo>
                  <a:lnTo>
                    <a:pt x="239" y="108"/>
                  </a:lnTo>
                  <a:lnTo>
                    <a:pt x="239" y="108"/>
                  </a:lnTo>
                  <a:lnTo>
                    <a:pt x="236" y="108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32" y="103"/>
                  </a:lnTo>
                  <a:lnTo>
                    <a:pt x="232" y="101"/>
                  </a:lnTo>
                  <a:lnTo>
                    <a:pt x="232" y="101"/>
                  </a:lnTo>
                  <a:lnTo>
                    <a:pt x="230" y="101"/>
                  </a:lnTo>
                  <a:lnTo>
                    <a:pt x="230" y="101"/>
                  </a:lnTo>
                  <a:lnTo>
                    <a:pt x="230" y="101"/>
                  </a:lnTo>
                  <a:lnTo>
                    <a:pt x="230" y="101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3"/>
                  </a:lnTo>
                  <a:lnTo>
                    <a:pt x="227" y="103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3" y="101"/>
                  </a:lnTo>
                  <a:lnTo>
                    <a:pt x="223" y="101"/>
                  </a:lnTo>
                  <a:lnTo>
                    <a:pt x="223" y="99"/>
                  </a:lnTo>
                  <a:lnTo>
                    <a:pt x="223" y="99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7" y="96"/>
                  </a:lnTo>
                  <a:lnTo>
                    <a:pt x="227" y="96"/>
                  </a:lnTo>
                  <a:lnTo>
                    <a:pt x="227" y="96"/>
                  </a:lnTo>
                  <a:lnTo>
                    <a:pt x="227" y="96"/>
                  </a:lnTo>
                  <a:lnTo>
                    <a:pt x="227" y="96"/>
                  </a:lnTo>
                  <a:lnTo>
                    <a:pt x="230" y="96"/>
                  </a:lnTo>
                  <a:lnTo>
                    <a:pt x="230" y="96"/>
                  </a:lnTo>
                  <a:lnTo>
                    <a:pt x="230" y="96"/>
                  </a:lnTo>
                  <a:lnTo>
                    <a:pt x="230" y="96"/>
                  </a:lnTo>
                  <a:lnTo>
                    <a:pt x="230" y="94"/>
                  </a:lnTo>
                  <a:lnTo>
                    <a:pt x="230" y="96"/>
                  </a:lnTo>
                  <a:lnTo>
                    <a:pt x="230" y="96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0" y="94"/>
                  </a:lnTo>
                  <a:lnTo>
                    <a:pt x="232" y="94"/>
                  </a:lnTo>
                  <a:lnTo>
                    <a:pt x="232" y="94"/>
                  </a:lnTo>
                  <a:lnTo>
                    <a:pt x="232" y="94"/>
                  </a:lnTo>
                  <a:lnTo>
                    <a:pt x="232" y="94"/>
                  </a:lnTo>
                  <a:lnTo>
                    <a:pt x="232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2" y="92"/>
                  </a:lnTo>
                  <a:lnTo>
                    <a:pt x="232" y="92"/>
                  </a:lnTo>
                  <a:lnTo>
                    <a:pt x="234" y="92"/>
                  </a:lnTo>
                  <a:lnTo>
                    <a:pt x="234" y="92"/>
                  </a:lnTo>
                  <a:lnTo>
                    <a:pt x="234" y="92"/>
                  </a:lnTo>
                  <a:lnTo>
                    <a:pt x="236" y="92"/>
                  </a:lnTo>
                  <a:lnTo>
                    <a:pt x="236" y="92"/>
                  </a:lnTo>
                  <a:lnTo>
                    <a:pt x="239" y="92"/>
                  </a:lnTo>
                  <a:lnTo>
                    <a:pt x="239" y="90"/>
                  </a:lnTo>
                  <a:close/>
                  <a:moveTo>
                    <a:pt x="259" y="87"/>
                  </a:move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59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0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3" y="92"/>
                  </a:lnTo>
                  <a:lnTo>
                    <a:pt x="263" y="92"/>
                  </a:lnTo>
                  <a:lnTo>
                    <a:pt x="263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2"/>
                  </a:lnTo>
                  <a:lnTo>
                    <a:pt x="261" y="94"/>
                  </a:lnTo>
                  <a:lnTo>
                    <a:pt x="261" y="94"/>
                  </a:lnTo>
                  <a:lnTo>
                    <a:pt x="259" y="94"/>
                  </a:lnTo>
                  <a:lnTo>
                    <a:pt x="256" y="92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2" y="90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9" y="87"/>
                  </a:lnTo>
                  <a:lnTo>
                    <a:pt x="259" y="87"/>
                  </a:lnTo>
                  <a:lnTo>
                    <a:pt x="259" y="87"/>
                  </a:lnTo>
                  <a:close/>
                  <a:moveTo>
                    <a:pt x="216" y="33"/>
                  </a:moveTo>
                  <a:lnTo>
                    <a:pt x="216" y="33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3"/>
                  </a:lnTo>
                  <a:close/>
                  <a:moveTo>
                    <a:pt x="32" y="2"/>
                  </a:move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6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7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4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0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49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5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4" y="20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7" y="22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71" y="24"/>
                  </a:lnTo>
                  <a:lnTo>
                    <a:pt x="171" y="22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4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9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4"/>
                  </a:lnTo>
                  <a:lnTo>
                    <a:pt x="189" y="24"/>
                  </a:lnTo>
                  <a:lnTo>
                    <a:pt x="189" y="2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89" y="2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200" y="24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3" y="27"/>
                  </a:lnTo>
                  <a:lnTo>
                    <a:pt x="203" y="27"/>
                  </a:lnTo>
                  <a:lnTo>
                    <a:pt x="203" y="27"/>
                  </a:lnTo>
                  <a:lnTo>
                    <a:pt x="203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7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5" y="33"/>
                  </a:lnTo>
                  <a:lnTo>
                    <a:pt x="205" y="33"/>
                  </a:lnTo>
                  <a:lnTo>
                    <a:pt x="207" y="33"/>
                  </a:lnTo>
                  <a:lnTo>
                    <a:pt x="207" y="33"/>
                  </a:lnTo>
                  <a:lnTo>
                    <a:pt x="207" y="33"/>
                  </a:lnTo>
                  <a:lnTo>
                    <a:pt x="207" y="33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2" y="31"/>
                  </a:lnTo>
                  <a:lnTo>
                    <a:pt x="214" y="31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6" y="36"/>
                  </a:lnTo>
                  <a:lnTo>
                    <a:pt x="216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21" y="33"/>
                  </a:lnTo>
                  <a:lnTo>
                    <a:pt x="223" y="33"/>
                  </a:lnTo>
                  <a:lnTo>
                    <a:pt x="223" y="33"/>
                  </a:lnTo>
                  <a:lnTo>
                    <a:pt x="223" y="33"/>
                  </a:lnTo>
                  <a:lnTo>
                    <a:pt x="225" y="33"/>
                  </a:lnTo>
                  <a:lnTo>
                    <a:pt x="225" y="33"/>
                  </a:lnTo>
                  <a:lnTo>
                    <a:pt x="225" y="33"/>
                  </a:lnTo>
                  <a:lnTo>
                    <a:pt x="225" y="33"/>
                  </a:lnTo>
                  <a:lnTo>
                    <a:pt x="225" y="36"/>
                  </a:lnTo>
                  <a:lnTo>
                    <a:pt x="225" y="36"/>
                  </a:lnTo>
                  <a:lnTo>
                    <a:pt x="225" y="36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3"/>
                  </a:lnTo>
                  <a:lnTo>
                    <a:pt x="227" y="33"/>
                  </a:lnTo>
                  <a:lnTo>
                    <a:pt x="227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6"/>
                  </a:lnTo>
                  <a:lnTo>
                    <a:pt x="230" y="33"/>
                  </a:lnTo>
                  <a:lnTo>
                    <a:pt x="230" y="33"/>
                  </a:lnTo>
                  <a:lnTo>
                    <a:pt x="230" y="33"/>
                  </a:lnTo>
                  <a:lnTo>
                    <a:pt x="230" y="33"/>
                  </a:lnTo>
                  <a:lnTo>
                    <a:pt x="230" y="33"/>
                  </a:lnTo>
                  <a:lnTo>
                    <a:pt x="230" y="33"/>
                  </a:lnTo>
                  <a:lnTo>
                    <a:pt x="232" y="33"/>
                  </a:lnTo>
                  <a:lnTo>
                    <a:pt x="232" y="33"/>
                  </a:lnTo>
                  <a:lnTo>
                    <a:pt x="232" y="33"/>
                  </a:lnTo>
                  <a:lnTo>
                    <a:pt x="232" y="33"/>
                  </a:lnTo>
                  <a:lnTo>
                    <a:pt x="232" y="31"/>
                  </a:lnTo>
                  <a:lnTo>
                    <a:pt x="232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4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6" y="33"/>
                  </a:lnTo>
                  <a:lnTo>
                    <a:pt x="236" y="33"/>
                  </a:lnTo>
                  <a:lnTo>
                    <a:pt x="236" y="33"/>
                  </a:lnTo>
                  <a:lnTo>
                    <a:pt x="239" y="33"/>
                  </a:lnTo>
                  <a:lnTo>
                    <a:pt x="239" y="33"/>
                  </a:lnTo>
                  <a:lnTo>
                    <a:pt x="239" y="33"/>
                  </a:lnTo>
                  <a:lnTo>
                    <a:pt x="239" y="33"/>
                  </a:lnTo>
                  <a:lnTo>
                    <a:pt x="239" y="33"/>
                  </a:lnTo>
                  <a:lnTo>
                    <a:pt x="239" y="33"/>
                  </a:lnTo>
                  <a:lnTo>
                    <a:pt x="241" y="33"/>
                  </a:lnTo>
                  <a:lnTo>
                    <a:pt x="241" y="33"/>
                  </a:lnTo>
                  <a:lnTo>
                    <a:pt x="241" y="36"/>
                  </a:lnTo>
                  <a:lnTo>
                    <a:pt x="241" y="33"/>
                  </a:lnTo>
                  <a:lnTo>
                    <a:pt x="241" y="33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3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6"/>
                  </a:lnTo>
                  <a:lnTo>
                    <a:pt x="241" y="38"/>
                  </a:lnTo>
                  <a:lnTo>
                    <a:pt x="241" y="36"/>
                  </a:lnTo>
                  <a:lnTo>
                    <a:pt x="239" y="36"/>
                  </a:lnTo>
                  <a:lnTo>
                    <a:pt x="239" y="38"/>
                  </a:lnTo>
                  <a:lnTo>
                    <a:pt x="239" y="38"/>
                  </a:lnTo>
                  <a:lnTo>
                    <a:pt x="239" y="38"/>
                  </a:lnTo>
                  <a:lnTo>
                    <a:pt x="239" y="38"/>
                  </a:lnTo>
                  <a:lnTo>
                    <a:pt x="239" y="40"/>
                  </a:lnTo>
                  <a:lnTo>
                    <a:pt x="239" y="40"/>
                  </a:lnTo>
                  <a:lnTo>
                    <a:pt x="239" y="40"/>
                  </a:lnTo>
                  <a:lnTo>
                    <a:pt x="241" y="40"/>
                  </a:lnTo>
                  <a:lnTo>
                    <a:pt x="241" y="40"/>
                  </a:lnTo>
                  <a:lnTo>
                    <a:pt x="241" y="40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2"/>
                  </a:lnTo>
                  <a:lnTo>
                    <a:pt x="241" y="45"/>
                  </a:lnTo>
                  <a:lnTo>
                    <a:pt x="241" y="45"/>
                  </a:lnTo>
                  <a:lnTo>
                    <a:pt x="241" y="45"/>
                  </a:lnTo>
                  <a:lnTo>
                    <a:pt x="239" y="45"/>
                  </a:lnTo>
                  <a:lnTo>
                    <a:pt x="239" y="47"/>
                  </a:lnTo>
                  <a:lnTo>
                    <a:pt x="236" y="47"/>
                  </a:lnTo>
                  <a:lnTo>
                    <a:pt x="234" y="49"/>
                  </a:lnTo>
                  <a:lnTo>
                    <a:pt x="234" y="49"/>
                  </a:lnTo>
                  <a:lnTo>
                    <a:pt x="234" y="49"/>
                  </a:lnTo>
                  <a:lnTo>
                    <a:pt x="234" y="49"/>
                  </a:lnTo>
                  <a:lnTo>
                    <a:pt x="234" y="49"/>
                  </a:lnTo>
                  <a:lnTo>
                    <a:pt x="232" y="49"/>
                  </a:lnTo>
                  <a:lnTo>
                    <a:pt x="232" y="49"/>
                  </a:lnTo>
                  <a:lnTo>
                    <a:pt x="232" y="49"/>
                  </a:lnTo>
                  <a:lnTo>
                    <a:pt x="232" y="49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2" y="51"/>
                  </a:lnTo>
                  <a:lnTo>
                    <a:pt x="230" y="51"/>
                  </a:lnTo>
                  <a:lnTo>
                    <a:pt x="225" y="54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1" y="56"/>
                  </a:lnTo>
                  <a:lnTo>
                    <a:pt x="221" y="56"/>
                  </a:lnTo>
                  <a:lnTo>
                    <a:pt x="221" y="58"/>
                  </a:lnTo>
                  <a:lnTo>
                    <a:pt x="221" y="58"/>
                  </a:lnTo>
                  <a:lnTo>
                    <a:pt x="218" y="58"/>
                  </a:lnTo>
                  <a:lnTo>
                    <a:pt x="218" y="60"/>
                  </a:lnTo>
                  <a:lnTo>
                    <a:pt x="216" y="60"/>
                  </a:lnTo>
                  <a:lnTo>
                    <a:pt x="216" y="60"/>
                  </a:lnTo>
                  <a:lnTo>
                    <a:pt x="214" y="60"/>
                  </a:lnTo>
                  <a:lnTo>
                    <a:pt x="214" y="60"/>
                  </a:lnTo>
                  <a:lnTo>
                    <a:pt x="214" y="60"/>
                  </a:lnTo>
                  <a:lnTo>
                    <a:pt x="214" y="60"/>
                  </a:lnTo>
                  <a:lnTo>
                    <a:pt x="209" y="63"/>
                  </a:lnTo>
                  <a:lnTo>
                    <a:pt x="207" y="63"/>
                  </a:lnTo>
                  <a:lnTo>
                    <a:pt x="203" y="63"/>
                  </a:lnTo>
                  <a:lnTo>
                    <a:pt x="203" y="63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198" y="65"/>
                  </a:lnTo>
                  <a:lnTo>
                    <a:pt x="198" y="65"/>
                  </a:lnTo>
                  <a:lnTo>
                    <a:pt x="198" y="65"/>
                  </a:lnTo>
                  <a:lnTo>
                    <a:pt x="196" y="67"/>
                  </a:lnTo>
                  <a:lnTo>
                    <a:pt x="194" y="69"/>
                  </a:lnTo>
                  <a:lnTo>
                    <a:pt x="191" y="69"/>
                  </a:lnTo>
                  <a:lnTo>
                    <a:pt x="191" y="72"/>
                  </a:lnTo>
                  <a:lnTo>
                    <a:pt x="191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4" y="72"/>
                  </a:lnTo>
                  <a:lnTo>
                    <a:pt x="196" y="72"/>
                  </a:lnTo>
                  <a:lnTo>
                    <a:pt x="196" y="72"/>
                  </a:lnTo>
                  <a:lnTo>
                    <a:pt x="196" y="72"/>
                  </a:lnTo>
                  <a:lnTo>
                    <a:pt x="196" y="72"/>
                  </a:lnTo>
                  <a:lnTo>
                    <a:pt x="196" y="74"/>
                  </a:lnTo>
                  <a:lnTo>
                    <a:pt x="196" y="74"/>
                  </a:lnTo>
                  <a:lnTo>
                    <a:pt x="196" y="74"/>
                  </a:lnTo>
                  <a:lnTo>
                    <a:pt x="196" y="74"/>
                  </a:lnTo>
                  <a:lnTo>
                    <a:pt x="196" y="74"/>
                  </a:lnTo>
                  <a:lnTo>
                    <a:pt x="194" y="74"/>
                  </a:lnTo>
                  <a:lnTo>
                    <a:pt x="194" y="74"/>
                  </a:lnTo>
                  <a:lnTo>
                    <a:pt x="194" y="74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89" y="76"/>
                  </a:lnTo>
                  <a:lnTo>
                    <a:pt x="191" y="76"/>
                  </a:lnTo>
                  <a:lnTo>
                    <a:pt x="191" y="76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91" y="74"/>
                  </a:lnTo>
                  <a:lnTo>
                    <a:pt x="189" y="76"/>
                  </a:lnTo>
                  <a:lnTo>
                    <a:pt x="189" y="76"/>
                  </a:lnTo>
                  <a:lnTo>
                    <a:pt x="189" y="76"/>
                  </a:lnTo>
                  <a:lnTo>
                    <a:pt x="189" y="76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7" y="78"/>
                  </a:lnTo>
                  <a:lnTo>
                    <a:pt x="187" y="81"/>
                  </a:lnTo>
                  <a:lnTo>
                    <a:pt x="187" y="81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5" y="83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0" y="87"/>
                  </a:lnTo>
                  <a:lnTo>
                    <a:pt x="180" y="87"/>
                  </a:lnTo>
                  <a:lnTo>
                    <a:pt x="180" y="90"/>
                  </a:lnTo>
                  <a:lnTo>
                    <a:pt x="178" y="90"/>
                  </a:lnTo>
                  <a:lnTo>
                    <a:pt x="178" y="92"/>
                  </a:lnTo>
                  <a:lnTo>
                    <a:pt x="178" y="92"/>
                  </a:lnTo>
                  <a:lnTo>
                    <a:pt x="176" y="94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101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103"/>
                  </a:lnTo>
                  <a:lnTo>
                    <a:pt x="171" y="103"/>
                  </a:lnTo>
                  <a:lnTo>
                    <a:pt x="171" y="105"/>
                  </a:lnTo>
                  <a:lnTo>
                    <a:pt x="171" y="105"/>
                  </a:lnTo>
                  <a:lnTo>
                    <a:pt x="173" y="108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2"/>
                  </a:lnTo>
                  <a:lnTo>
                    <a:pt x="176" y="114"/>
                  </a:lnTo>
                  <a:lnTo>
                    <a:pt x="176" y="114"/>
                  </a:lnTo>
                  <a:lnTo>
                    <a:pt x="176" y="114"/>
                  </a:lnTo>
                  <a:lnTo>
                    <a:pt x="176" y="117"/>
                  </a:lnTo>
                  <a:lnTo>
                    <a:pt x="178" y="117"/>
                  </a:lnTo>
                  <a:lnTo>
                    <a:pt x="178" y="117"/>
                  </a:lnTo>
                  <a:lnTo>
                    <a:pt x="178" y="117"/>
                  </a:lnTo>
                  <a:lnTo>
                    <a:pt x="180" y="117"/>
                  </a:lnTo>
                  <a:lnTo>
                    <a:pt x="180" y="117"/>
                  </a:lnTo>
                  <a:lnTo>
                    <a:pt x="180" y="117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21"/>
                  </a:lnTo>
                  <a:lnTo>
                    <a:pt x="182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1"/>
                  </a:lnTo>
                  <a:lnTo>
                    <a:pt x="180" y="123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8" y="123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6" y="123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1" y="126"/>
                  </a:lnTo>
                  <a:lnTo>
                    <a:pt x="171" y="126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69" y="128"/>
                  </a:lnTo>
                  <a:lnTo>
                    <a:pt x="169" y="128"/>
                  </a:lnTo>
                  <a:lnTo>
                    <a:pt x="169" y="128"/>
                  </a:lnTo>
                  <a:lnTo>
                    <a:pt x="169" y="128"/>
                  </a:lnTo>
                  <a:lnTo>
                    <a:pt x="169" y="128"/>
                  </a:lnTo>
                  <a:lnTo>
                    <a:pt x="169" y="128"/>
                  </a:lnTo>
                  <a:lnTo>
                    <a:pt x="169" y="130"/>
                  </a:lnTo>
                  <a:lnTo>
                    <a:pt x="169" y="130"/>
                  </a:lnTo>
                  <a:lnTo>
                    <a:pt x="169" y="130"/>
                  </a:lnTo>
                  <a:lnTo>
                    <a:pt x="167" y="130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4" y="132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4" y="137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4" y="139"/>
                  </a:lnTo>
                  <a:lnTo>
                    <a:pt x="162" y="141"/>
                  </a:lnTo>
                  <a:lnTo>
                    <a:pt x="162" y="141"/>
                  </a:lnTo>
                  <a:lnTo>
                    <a:pt x="162" y="141"/>
                  </a:lnTo>
                  <a:lnTo>
                    <a:pt x="162" y="141"/>
                  </a:lnTo>
                  <a:lnTo>
                    <a:pt x="162" y="141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3" y="148"/>
                  </a:lnTo>
                  <a:lnTo>
                    <a:pt x="153" y="148"/>
                  </a:lnTo>
                  <a:lnTo>
                    <a:pt x="153" y="148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51" y="148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9" y="150"/>
                  </a:lnTo>
                  <a:lnTo>
                    <a:pt x="146" y="150"/>
                  </a:lnTo>
                  <a:lnTo>
                    <a:pt x="146" y="150"/>
                  </a:lnTo>
                  <a:lnTo>
                    <a:pt x="146" y="153"/>
                  </a:lnTo>
                  <a:lnTo>
                    <a:pt x="144" y="153"/>
                  </a:lnTo>
                  <a:lnTo>
                    <a:pt x="144" y="153"/>
                  </a:lnTo>
                  <a:lnTo>
                    <a:pt x="144" y="153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2" y="155"/>
                  </a:lnTo>
                  <a:lnTo>
                    <a:pt x="142" y="157"/>
                  </a:lnTo>
                  <a:lnTo>
                    <a:pt x="142" y="157"/>
                  </a:lnTo>
                  <a:lnTo>
                    <a:pt x="142" y="157"/>
                  </a:lnTo>
                  <a:lnTo>
                    <a:pt x="142" y="159"/>
                  </a:lnTo>
                  <a:lnTo>
                    <a:pt x="142" y="159"/>
                  </a:lnTo>
                  <a:lnTo>
                    <a:pt x="142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2"/>
                  </a:lnTo>
                  <a:lnTo>
                    <a:pt x="140" y="164"/>
                  </a:lnTo>
                  <a:lnTo>
                    <a:pt x="140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5" y="168"/>
                  </a:lnTo>
                  <a:lnTo>
                    <a:pt x="135" y="168"/>
                  </a:lnTo>
                  <a:lnTo>
                    <a:pt x="135" y="168"/>
                  </a:lnTo>
                  <a:lnTo>
                    <a:pt x="135" y="168"/>
                  </a:lnTo>
                  <a:lnTo>
                    <a:pt x="133" y="166"/>
                  </a:lnTo>
                  <a:lnTo>
                    <a:pt x="133" y="166"/>
                  </a:lnTo>
                  <a:lnTo>
                    <a:pt x="133" y="166"/>
                  </a:lnTo>
                  <a:lnTo>
                    <a:pt x="133" y="166"/>
                  </a:lnTo>
                  <a:lnTo>
                    <a:pt x="133" y="164"/>
                  </a:lnTo>
                  <a:lnTo>
                    <a:pt x="131" y="164"/>
                  </a:lnTo>
                  <a:lnTo>
                    <a:pt x="131" y="164"/>
                  </a:lnTo>
                  <a:lnTo>
                    <a:pt x="131" y="166"/>
                  </a:lnTo>
                  <a:lnTo>
                    <a:pt x="131" y="166"/>
                  </a:lnTo>
                  <a:lnTo>
                    <a:pt x="131" y="166"/>
                  </a:lnTo>
                  <a:lnTo>
                    <a:pt x="128" y="166"/>
                  </a:lnTo>
                  <a:lnTo>
                    <a:pt x="128" y="166"/>
                  </a:lnTo>
                  <a:lnTo>
                    <a:pt x="128" y="166"/>
                  </a:lnTo>
                  <a:lnTo>
                    <a:pt x="126" y="166"/>
                  </a:lnTo>
                  <a:lnTo>
                    <a:pt x="126" y="166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6" y="168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4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5" y="166"/>
                  </a:lnTo>
                  <a:lnTo>
                    <a:pt x="113" y="166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06" y="168"/>
                  </a:lnTo>
                  <a:lnTo>
                    <a:pt x="106" y="166"/>
                  </a:lnTo>
                  <a:lnTo>
                    <a:pt x="106" y="166"/>
                  </a:lnTo>
                  <a:lnTo>
                    <a:pt x="106" y="168"/>
                  </a:lnTo>
                  <a:lnTo>
                    <a:pt x="104" y="168"/>
                  </a:lnTo>
                  <a:lnTo>
                    <a:pt x="104" y="166"/>
                  </a:lnTo>
                  <a:lnTo>
                    <a:pt x="101" y="166"/>
                  </a:lnTo>
                  <a:lnTo>
                    <a:pt x="99" y="168"/>
                  </a:lnTo>
                  <a:lnTo>
                    <a:pt x="99" y="166"/>
                  </a:lnTo>
                  <a:lnTo>
                    <a:pt x="97" y="166"/>
                  </a:lnTo>
                  <a:lnTo>
                    <a:pt x="95" y="168"/>
                  </a:lnTo>
                  <a:lnTo>
                    <a:pt x="95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0" y="168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88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4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7" y="175"/>
                  </a:lnTo>
                  <a:lnTo>
                    <a:pt x="77" y="175"/>
                  </a:lnTo>
                  <a:lnTo>
                    <a:pt x="77" y="175"/>
                  </a:lnTo>
                  <a:lnTo>
                    <a:pt x="77" y="175"/>
                  </a:lnTo>
                  <a:lnTo>
                    <a:pt x="77" y="175"/>
                  </a:lnTo>
                  <a:lnTo>
                    <a:pt x="75" y="175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2" y="177"/>
                  </a:lnTo>
                  <a:lnTo>
                    <a:pt x="72" y="177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2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70" y="184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66" y="184"/>
                  </a:lnTo>
                  <a:lnTo>
                    <a:pt x="66" y="184"/>
                  </a:lnTo>
                  <a:lnTo>
                    <a:pt x="66" y="184"/>
                  </a:lnTo>
                  <a:lnTo>
                    <a:pt x="66" y="184"/>
                  </a:lnTo>
                  <a:lnTo>
                    <a:pt x="63" y="184"/>
                  </a:lnTo>
                  <a:lnTo>
                    <a:pt x="63" y="184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1" y="182"/>
                  </a:lnTo>
                  <a:lnTo>
                    <a:pt x="61" y="180"/>
                  </a:lnTo>
                  <a:lnTo>
                    <a:pt x="61" y="180"/>
                  </a:lnTo>
                  <a:lnTo>
                    <a:pt x="59" y="180"/>
                  </a:lnTo>
                  <a:lnTo>
                    <a:pt x="59" y="180"/>
                  </a:lnTo>
                  <a:lnTo>
                    <a:pt x="59" y="180"/>
                  </a:lnTo>
                  <a:lnTo>
                    <a:pt x="59" y="180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5"/>
                  </a:lnTo>
                  <a:lnTo>
                    <a:pt x="57" y="175"/>
                  </a:lnTo>
                  <a:lnTo>
                    <a:pt x="54" y="175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7" y="173"/>
                  </a:lnTo>
                  <a:lnTo>
                    <a:pt x="57" y="173"/>
                  </a:lnTo>
                  <a:lnTo>
                    <a:pt x="57" y="173"/>
                  </a:lnTo>
                  <a:lnTo>
                    <a:pt x="57" y="173"/>
                  </a:lnTo>
                  <a:lnTo>
                    <a:pt x="57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7" y="164"/>
                  </a:lnTo>
                  <a:lnTo>
                    <a:pt x="57" y="164"/>
                  </a:lnTo>
                  <a:lnTo>
                    <a:pt x="57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2" y="164"/>
                  </a:lnTo>
                  <a:lnTo>
                    <a:pt x="54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2" y="164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9"/>
                  </a:lnTo>
                  <a:lnTo>
                    <a:pt x="45" y="157"/>
                  </a:lnTo>
                  <a:lnTo>
                    <a:pt x="43" y="157"/>
                  </a:lnTo>
                  <a:lnTo>
                    <a:pt x="43" y="157"/>
                  </a:lnTo>
                  <a:lnTo>
                    <a:pt x="43" y="157"/>
                  </a:lnTo>
                  <a:lnTo>
                    <a:pt x="43" y="157"/>
                  </a:lnTo>
                  <a:lnTo>
                    <a:pt x="43" y="157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3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5"/>
                  </a:lnTo>
                  <a:lnTo>
                    <a:pt x="41" y="157"/>
                  </a:lnTo>
                  <a:lnTo>
                    <a:pt x="41" y="157"/>
                  </a:lnTo>
                  <a:lnTo>
                    <a:pt x="43" y="157"/>
                  </a:lnTo>
                  <a:lnTo>
                    <a:pt x="41" y="157"/>
                  </a:lnTo>
                  <a:lnTo>
                    <a:pt x="41" y="157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9" y="157"/>
                  </a:lnTo>
                  <a:lnTo>
                    <a:pt x="39" y="157"/>
                  </a:lnTo>
                  <a:lnTo>
                    <a:pt x="39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3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0" y="148"/>
                  </a:lnTo>
                  <a:lnTo>
                    <a:pt x="32" y="148"/>
                  </a:lnTo>
                  <a:lnTo>
                    <a:pt x="32" y="146"/>
                  </a:lnTo>
                  <a:lnTo>
                    <a:pt x="30" y="146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4" y="141"/>
                  </a:lnTo>
                  <a:lnTo>
                    <a:pt x="34" y="141"/>
                  </a:lnTo>
                  <a:lnTo>
                    <a:pt x="34" y="139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41" y="135"/>
                  </a:lnTo>
                  <a:lnTo>
                    <a:pt x="41" y="135"/>
                  </a:lnTo>
                  <a:lnTo>
                    <a:pt x="41" y="135"/>
                  </a:lnTo>
                  <a:lnTo>
                    <a:pt x="43" y="132"/>
                  </a:lnTo>
                  <a:lnTo>
                    <a:pt x="43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0"/>
                  </a:lnTo>
                  <a:lnTo>
                    <a:pt x="39" y="130"/>
                  </a:lnTo>
                  <a:lnTo>
                    <a:pt x="39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6" y="121"/>
                  </a:lnTo>
                  <a:lnTo>
                    <a:pt x="36" y="121"/>
                  </a:lnTo>
                  <a:lnTo>
                    <a:pt x="36" y="121"/>
                  </a:lnTo>
                  <a:lnTo>
                    <a:pt x="36" y="121"/>
                  </a:lnTo>
                  <a:lnTo>
                    <a:pt x="36" y="121"/>
                  </a:lnTo>
                  <a:lnTo>
                    <a:pt x="36" y="121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3" y="114"/>
                  </a:lnTo>
                  <a:lnTo>
                    <a:pt x="43" y="114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39" y="112"/>
                  </a:lnTo>
                  <a:lnTo>
                    <a:pt x="39" y="112"/>
                  </a:lnTo>
                  <a:lnTo>
                    <a:pt x="39" y="112"/>
                  </a:lnTo>
                  <a:lnTo>
                    <a:pt x="39" y="112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9" y="110"/>
                  </a:lnTo>
                  <a:lnTo>
                    <a:pt x="36" y="110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2" y="101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6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9" y="96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1" y="96"/>
                  </a:lnTo>
                  <a:lnTo>
                    <a:pt x="41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1" y="87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8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48" y="45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39" y="45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2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5" y="13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9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1" y="9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close/>
                </a:path>
              </a:pathLst>
            </a:custGeom>
            <a:solidFill>
              <a:srgbClr val="FF6200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1" name="Freeform 496"/>
            <p:cNvSpPr>
              <a:spLocks noEditPoints="1"/>
            </p:cNvSpPr>
            <p:nvPr/>
          </p:nvSpPr>
          <p:spPr bwMode="auto">
            <a:xfrm>
              <a:off x="6199151" y="4848264"/>
              <a:ext cx="563271" cy="503098"/>
            </a:xfrm>
            <a:custGeom>
              <a:avLst/>
              <a:gdLst>
                <a:gd name="T0" fmla="*/ 295 w 337"/>
                <a:gd name="T1" fmla="*/ 5 h 301"/>
                <a:gd name="T2" fmla="*/ 313 w 337"/>
                <a:gd name="T3" fmla="*/ 16 h 301"/>
                <a:gd name="T4" fmla="*/ 322 w 337"/>
                <a:gd name="T5" fmla="*/ 83 h 301"/>
                <a:gd name="T6" fmla="*/ 295 w 337"/>
                <a:gd name="T7" fmla="*/ 110 h 301"/>
                <a:gd name="T8" fmla="*/ 319 w 337"/>
                <a:gd name="T9" fmla="*/ 115 h 301"/>
                <a:gd name="T10" fmla="*/ 331 w 337"/>
                <a:gd name="T11" fmla="*/ 137 h 301"/>
                <a:gd name="T12" fmla="*/ 317 w 337"/>
                <a:gd name="T13" fmla="*/ 160 h 301"/>
                <a:gd name="T14" fmla="*/ 295 w 337"/>
                <a:gd name="T15" fmla="*/ 185 h 301"/>
                <a:gd name="T16" fmla="*/ 265 w 337"/>
                <a:gd name="T17" fmla="*/ 223 h 301"/>
                <a:gd name="T18" fmla="*/ 254 w 337"/>
                <a:gd name="T19" fmla="*/ 232 h 301"/>
                <a:gd name="T20" fmla="*/ 232 w 337"/>
                <a:gd name="T21" fmla="*/ 254 h 301"/>
                <a:gd name="T22" fmla="*/ 214 w 337"/>
                <a:gd name="T23" fmla="*/ 268 h 301"/>
                <a:gd name="T24" fmla="*/ 196 w 337"/>
                <a:gd name="T25" fmla="*/ 277 h 301"/>
                <a:gd name="T26" fmla="*/ 176 w 337"/>
                <a:gd name="T27" fmla="*/ 283 h 301"/>
                <a:gd name="T28" fmla="*/ 155 w 337"/>
                <a:gd name="T29" fmla="*/ 286 h 301"/>
                <a:gd name="T30" fmla="*/ 126 w 337"/>
                <a:gd name="T31" fmla="*/ 283 h 301"/>
                <a:gd name="T32" fmla="*/ 115 w 337"/>
                <a:gd name="T33" fmla="*/ 283 h 301"/>
                <a:gd name="T34" fmla="*/ 92 w 337"/>
                <a:gd name="T35" fmla="*/ 292 h 301"/>
                <a:gd name="T36" fmla="*/ 70 w 337"/>
                <a:gd name="T37" fmla="*/ 299 h 301"/>
                <a:gd name="T38" fmla="*/ 52 w 337"/>
                <a:gd name="T39" fmla="*/ 297 h 301"/>
                <a:gd name="T40" fmla="*/ 41 w 337"/>
                <a:gd name="T41" fmla="*/ 292 h 301"/>
                <a:gd name="T42" fmla="*/ 34 w 337"/>
                <a:gd name="T43" fmla="*/ 288 h 301"/>
                <a:gd name="T44" fmla="*/ 34 w 337"/>
                <a:gd name="T45" fmla="*/ 283 h 301"/>
                <a:gd name="T46" fmla="*/ 30 w 337"/>
                <a:gd name="T47" fmla="*/ 266 h 301"/>
                <a:gd name="T48" fmla="*/ 27 w 337"/>
                <a:gd name="T49" fmla="*/ 261 h 301"/>
                <a:gd name="T50" fmla="*/ 25 w 337"/>
                <a:gd name="T51" fmla="*/ 254 h 301"/>
                <a:gd name="T52" fmla="*/ 36 w 337"/>
                <a:gd name="T53" fmla="*/ 241 h 301"/>
                <a:gd name="T54" fmla="*/ 25 w 337"/>
                <a:gd name="T55" fmla="*/ 214 h 301"/>
                <a:gd name="T56" fmla="*/ 14 w 337"/>
                <a:gd name="T57" fmla="*/ 182 h 301"/>
                <a:gd name="T58" fmla="*/ 7 w 337"/>
                <a:gd name="T59" fmla="*/ 162 h 301"/>
                <a:gd name="T60" fmla="*/ 7 w 337"/>
                <a:gd name="T61" fmla="*/ 151 h 301"/>
                <a:gd name="T62" fmla="*/ 9 w 337"/>
                <a:gd name="T63" fmla="*/ 144 h 301"/>
                <a:gd name="T64" fmla="*/ 21 w 337"/>
                <a:gd name="T65" fmla="*/ 146 h 301"/>
                <a:gd name="T66" fmla="*/ 25 w 337"/>
                <a:gd name="T67" fmla="*/ 158 h 301"/>
                <a:gd name="T68" fmla="*/ 52 w 337"/>
                <a:gd name="T69" fmla="*/ 160 h 301"/>
                <a:gd name="T70" fmla="*/ 63 w 337"/>
                <a:gd name="T71" fmla="*/ 153 h 301"/>
                <a:gd name="T72" fmla="*/ 74 w 337"/>
                <a:gd name="T73" fmla="*/ 131 h 301"/>
                <a:gd name="T74" fmla="*/ 77 w 337"/>
                <a:gd name="T75" fmla="*/ 86 h 301"/>
                <a:gd name="T76" fmla="*/ 86 w 337"/>
                <a:gd name="T77" fmla="*/ 72 h 301"/>
                <a:gd name="T78" fmla="*/ 88 w 337"/>
                <a:gd name="T79" fmla="*/ 81 h 301"/>
                <a:gd name="T80" fmla="*/ 90 w 337"/>
                <a:gd name="T81" fmla="*/ 99 h 301"/>
                <a:gd name="T82" fmla="*/ 99 w 337"/>
                <a:gd name="T83" fmla="*/ 113 h 301"/>
                <a:gd name="T84" fmla="*/ 124 w 337"/>
                <a:gd name="T85" fmla="*/ 99 h 301"/>
                <a:gd name="T86" fmla="*/ 133 w 337"/>
                <a:gd name="T87" fmla="*/ 88 h 301"/>
                <a:gd name="T88" fmla="*/ 140 w 337"/>
                <a:gd name="T89" fmla="*/ 77 h 301"/>
                <a:gd name="T90" fmla="*/ 155 w 337"/>
                <a:gd name="T91" fmla="*/ 83 h 301"/>
                <a:gd name="T92" fmla="*/ 187 w 337"/>
                <a:gd name="T93" fmla="*/ 86 h 301"/>
                <a:gd name="T94" fmla="*/ 214 w 337"/>
                <a:gd name="T95" fmla="*/ 52 h 301"/>
                <a:gd name="T96" fmla="*/ 225 w 337"/>
                <a:gd name="T97" fmla="*/ 34 h 301"/>
                <a:gd name="T98" fmla="*/ 232 w 337"/>
                <a:gd name="T99" fmla="*/ 29 h 301"/>
                <a:gd name="T100" fmla="*/ 238 w 337"/>
                <a:gd name="T101" fmla="*/ 25 h 301"/>
                <a:gd name="T102" fmla="*/ 245 w 337"/>
                <a:gd name="T103" fmla="*/ 16 h 301"/>
                <a:gd name="T104" fmla="*/ 263 w 337"/>
                <a:gd name="T105" fmla="*/ 7 h 301"/>
                <a:gd name="T106" fmla="*/ 241 w 337"/>
                <a:gd name="T107" fmla="*/ 158 h 301"/>
                <a:gd name="T108" fmla="*/ 230 w 337"/>
                <a:gd name="T109" fmla="*/ 162 h 301"/>
                <a:gd name="T110" fmla="*/ 223 w 337"/>
                <a:gd name="T111" fmla="*/ 171 h 301"/>
                <a:gd name="T112" fmla="*/ 214 w 337"/>
                <a:gd name="T113" fmla="*/ 178 h 301"/>
                <a:gd name="T114" fmla="*/ 221 w 337"/>
                <a:gd name="T115" fmla="*/ 194 h 301"/>
                <a:gd name="T116" fmla="*/ 232 w 337"/>
                <a:gd name="T117" fmla="*/ 203 h 301"/>
                <a:gd name="T118" fmla="*/ 238 w 337"/>
                <a:gd name="T119" fmla="*/ 191 h 301"/>
                <a:gd name="T120" fmla="*/ 259 w 337"/>
                <a:gd name="T121" fmla="*/ 178 h 301"/>
                <a:gd name="T122" fmla="*/ 261 w 337"/>
                <a:gd name="T123" fmla="*/ 164 h 301"/>
                <a:gd name="T124" fmla="*/ 243 w 337"/>
                <a:gd name="T125" fmla="*/ 155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37" h="301">
                  <a:moveTo>
                    <a:pt x="279" y="0"/>
                  </a:moveTo>
                  <a:lnTo>
                    <a:pt x="27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6" y="2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88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7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301" y="5"/>
                  </a:lnTo>
                  <a:lnTo>
                    <a:pt x="301" y="5"/>
                  </a:lnTo>
                  <a:lnTo>
                    <a:pt x="301" y="5"/>
                  </a:lnTo>
                  <a:lnTo>
                    <a:pt x="304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6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08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10" y="7"/>
                  </a:lnTo>
                  <a:lnTo>
                    <a:pt x="310" y="7"/>
                  </a:lnTo>
                  <a:lnTo>
                    <a:pt x="310" y="9"/>
                  </a:lnTo>
                  <a:lnTo>
                    <a:pt x="313" y="14"/>
                  </a:lnTo>
                  <a:lnTo>
                    <a:pt x="313" y="16"/>
                  </a:lnTo>
                  <a:lnTo>
                    <a:pt x="315" y="20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5" y="32"/>
                  </a:lnTo>
                  <a:lnTo>
                    <a:pt x="315" y="32"/>
                  </a:lnTo>
                  <a:lnTo>
                    <a:pt x="315" y="32"/>
                  </a:lnTo>
                  <a:lnTo>
                    <a:pt x="317" y="34"/>
                  </a:lnTo>
                  <a:lnTo>
                    <a:pt x="317" y="36"/>
                  </a:lnTo>
                  <a:lnTo>
                    <a:pt x="317" y="38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3"/>
                  </a:lnTo>
                  <a:lnTo>
                    <a:pt x="322" y="43"/>
                  </a:lnTo>
                  <a:lnTo>
                    <a:pt x="322" y="43"/>
                  </a:lnTo>
                  <a:lnTo>
                    <a:pt x="322" y="47"/>
                  </a:lnTo>
                  <a:lnTo>
                    <a:pt x="322" y="47"/>
                  </a:lnTo>
                  <a:lnTo>
                    <a:pt x="322" y="52"/>
                  </a:lnTo>
                  <a:lnTo>
                    <a:pt x="324" y="54"/>
                  </a:lnTo>
                  <a:lnTo>
                    <a:pt x="324" y="56"/>
                  </a:lnTo>
                  <a:lnTo>
                    <a:pt x="322" y="59"/>
                  </a:lnTo>
                  <a:lnTo>
                    <a:pt x="322" y="61"/>
                  </a:lnTo>
                  <a:lnTo>
                    <a:pt x="322" y="65"/>
                  </a:lnTo>
                  <a:lnTo>
                    <a:pt x="322" y="68"/>
                  </a:lnTo>
                  <a:lnTo>
                    <a:pt x="322" y="72"/>
                  </a:lnTo>
                  <a:lnTo>
                    <a:pt x="322" y="77"/>
                  </a:lnTo>
                  <a:lnTo>
                    <a:pt x="322" y="79"/>
                  </a:lnTo>
                  <a:lnTo>
                    <a:pt x="322" y="79"/>
                  </a:lnTo>
                  <a:lnTo>
                    <a:pt x="322" y="79"/>
                  </a:lnTo>
                  <a:lnTo>
                    <a:pt x="322" y="81"/>
                  </a:lnTo>
                  <a:lnTo>
                    <a:pt x="322" y="81"/>
                  </a:lnTo>
                  <a:lnTo>
                    <a:pt x="322" y="81"/>
                  </a:lnTo>
                  <a:lnTo>
                    <a:pt x="322" y="83"/>
                  </a:lnTo>
                  <a:lnTo>
                    <a:pt x="322" y="83"/>
                  </a:lnTo>
                  <a:lnTo>
                    <a:pt x="322" y="83"/>
                  </a:lnTo>
                  <a:lnTo>
                    <a:pt x="322" y="83"/>
                  </a:lnTo>
                  <a:lnTo>
                    <a:pt x="322" y="83"/>
                  </a:lnTo>
                  <a:lnTo>
                    <a:pt x="319" y="83"/>
                  </a:lnTo>
                  <a:lnTo>
                    <a:pt x="319" y="86"/>
                  </a:lnTo>
                  <a:lnTo>
                    <a:pt x="319" y="88"/>
                  </a:lnTo>
                  <a:lnTo>
                    <a:pt x="319" y="88"/>
                  </a:lnTo>
                  <a:lnTo>
                    <a:pt x="319" y="88"/>
                  </a:lnTo>
                  <a:lnTo>
                    <a:pt x="319" y="90"/>
                  </a:lnTo>
                  <a:lnTo>
                    <a:pt x="319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5" y="90"/>
                  </a:lnTo>
                  <a:lnTo>
                    <a:pt x="313" y="88"/>
                  </a:lnTo>
                  <a:lnTo>
                    <a:pt x="310" y="88"/>
                  </a:lnTo>
                  <a:lnTo>
                    <a:pt x="310" y="86"/>
                  </a:lnTo>
                  <a:lnTo>
                    <a:pt x="308" y="86"/>
                  </a:lnTo>
                  <a:lnTo>
                    <a:pt x="308" y="86"/>
                  </a:lnTo>
                  <a:lnTo>
                    <a:pt x="308" y="86"/>
                  </a:lnTo>
                  <a:lnTo>
                    <a:pt x="306" y="86"/>
                  </a:lnTo>
                  <a:lnTo>
                    <a:pt x="306" y="88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1" y="92"/>
                  </a:lnTo>
                  <a:lnTo>
                    <a:pt x="301" y="95"/>
                  </a:lnTo>
                  <a:lnTo>
                    <a:pt x="299" y="97"/>
                  </a:lnTo>
                  <a:lnTo>
                    <a:pt x="297" y="99"/>
                  </a:lnTo>
                  <a:lnTo>
                    <a:pt x="295" y="101"/>
                  </a:lnTo>
                  <a:lnTo>
                    <a:pt x="295" y="104"/>
                  </a:lnTo>
                  <a:lnTo>
                    <a:pt x="295" y="106"/>
                  </a:lnTo>
                  <a:lnTo>
                    <a:pt x="295" y="108"/>
                  </a:lnTo>
                  <a:lnTo>
                    <a:pt x="295" y="110"/>
                  </a:lnTo>
                  <a:lnTo>
                    <a:pt x="295" y="110"/>
                  </a:lnTo>
                  <a:lnTo>
                    <a:pt x="295" y="110"/>
                  </a:lnTo>
                  <a:lnTo>
                    <a:pt x="295" y="110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7" y="110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97" y="113"/>
                  </a:lnTo>
                  <a:lnTo>
                    <a:pt x="299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7" y="115"/>
                  </a:lnTo>
                  <a:lnTo>
                    <a:pt x="299" y="117"/>
                  </a:lnTo>
                  <a:lnTo>
                    <a:pt x="299" y="119"/>
                  </a:lnTo>
                  <a:lnTo>
                    <a:pt x="301" y="119"/>
                  </a:lnTo>
                  <a:lnTo>
                    <a:pt x="301" y="122"/>
                  </a:lnTo>
                  <a:lnTo>
                    <a:pt x="301" y="122"/>
                  </a:lnTo>
                  <a:lnTo>
                    <a:pt x="304" y="122"/>
                  </a:lnTo>
                  <a:lnTo>
                    <a:pt x="306" y="122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10" y="124"/>
                  </a:lnTo>
                  <a:lnTo>
                    <a:pt x="315" y="124"/>
                  </a:lnTo>
                  <a:lnTo>
                    <a:pt x="317" y="124"/>
                  </a:lnTo>
                  <a:lnTo>
                    <a:pt x="317" y="124"/>
                  </a:lnTo>
                  <a:lnTo>
                    <a:pt x="317" y="124"/>
                  </a:lnTo>
                  <a:lnTo>
                    <a:pt x="317" y="124"/>
                  </a:lnTo>
                  <a:lnTo>
                    <a:pt x="317" y="122"/>
                  </a:lnTo>
                  <a:lnTo>
                    <a:pt x="317" y="122"/>
                  </a:lnTo>
                  <a:lnTo>
                    <a:pt x="317" y="122"/>
                  </a:lnTo>
                  <a:lnTo>
                    <a:pt x="317" y="119"/>
                  </a:lnTo>
                  <a:lnTo>
                    <a:pt x="317" y="119"/>
                  </a:lnTo>
                  <a:lnTo>
                    <a:pt x="317" y="117"/>
                  </a:lnTo>
                  <a:lnTo>
                    <a:pt x="319" y="115"/>
                  </a:lnTo>
                  <a:lnTo>
                    <a:pt x="319" y="113"/>
                  </a:lnTo>
                  <a:lnTo>
                    <a:pt x="319" y="110"/>
                  </a:lnTo>
                  <a:lnTo>
                    <a:pt x="322" y="110"/>
                  </a:lnTo>
                  <a:lnTo>
                    <a:pt x="322" y="110"/>
                  </a:lnTo>
                  <a:lnTo>
                    <a:pt x="322" y="113"/>
                  </a:lnTo>
                  <a:lnTo>
                    <a:pt x="322" y="113"/>
                  </a:lnTo>
                  <a:lnTo>
                    <a:pt x="322" y="113"/>
                  </a:lnTo>
                  <a:lnTo>
                    <a:pt x="324" y="113"/>
                  </a:lnTo>
                  <a:lnTo>
                    <a:pt x="324" y="113"/>
                  </a:lnTo>
                  <a:lnTo>
                    <a:pt x="326" y="113"/>
                  </a:lnTo>
                  <a:lnTo>
                    <a:pt x="326" y="113"/>
                  </a:lnTo>
                  <a:lnTo>
                    <a:pt x="328" y="113"/>
                  </a:lnTo>
                  <a:lnTo>
                    <a:pt x="331" y="113"/>
                  </a:lnTo>
                  <a:lnTo>
                    <a:pt x="335" y="113"/>
                  </a:lnTo>
                  <a:lnTo>
                    <a:pt x="337" y="113"/>
                  </a:lnTo>
                  <a:lnTo>
                    <a:pt x="337" y="113"/>
                  </a:lnTo>
                  <a:lnTo>
                    <a:pt x="337" y="117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9"/>
                  </a:lnTo>
                  <a:lnTo>
                    <a:pt x="335" y="119"/>
                  </a:lnTo>
                  <a:lnTo>
                    <a:pt x="335" y="119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3" y="128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1" y="135"/>
                  </a:lnTo>
                  <a:lnTo>
                    <a:pt x="331" y="137"/>
                  </a:lnTo>
                  <a:lnTo>
                    <a:pt x="331" y="137"/>
                  </a:lnTo>
                  <a:lnTo>
                    <a:pt x="331" y="137"/>
                  </a:lnTo>
                  <a:lnTo>
                    <a:pt x="331" y="137"/>
                  </a:lnTo>
                  <a:lnTo>
                    <a:pt x="331" y="137"/>
                  </a:lnTo>
                  <a:lnTo>
                    <a:pt x="328" y="144"/>
                  </a:lnTo>
                  <a:lnTo>
                    <a:pt x="328" y="144"/>
                  </a:lnTo>
                  <a:lnTo>
                    <a:pt x="326" y="146"/>
                  </a:lnTo>
                  <a:lnTo>
                    <a:pt x="326" y="146"/>
                  </a:lnTo>
                  <a:lnTo>
                    <a:pt x="326" y="149"/>
                  </a:lnTo>
                  <a:lnTo>
                    <a:pt x="326" y="149"/>
                  </a:lnTo>
                  <a:lnTo>
                    <a:pt x="326" y="149"/>
                  </a:lnTo>
                  <a:lnTo>
                    <a:pt x="324" y="149"/>
                  </a:lnTo>
                  <a:lnTo>
                    <a:pt x="324" y="149"/>
                  </a:lnTo>
                  <a:lnTo>
                    <a:pt x="324" y="149"/>
                  </a:lnTo>
                  <a:lnTo>
                    <a:pt x="324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4" y="151"/>
                  </a:lnTo>
                  <a:lnTo>
                    <a:pt x="324" y="151"/>
                  </a:lnTo>
                  <a:lnTo>
                    <a:pt x="324" y="153"/>
                  </a:lnTo>
                  <a:lnTo>
                    <a:pt x="324" y="153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22" y="155"/>
                  </a:lnTo>
                  <a:lnTo>
                    <a:pt x="319" y="155"/>
                  </a:lnTo>
                  <a:lnTo>
                    <a:pt x="319" y="158"/>
                  </a:lnTo>
                  <a:lnTo>
                    <a:pt x="317" y="160"/>
                  </a:lnTo>
                  <a:lnTo>
                    <a:pt x="317" y="158"/>
                  </a:lnTo>
                  <a:lnTo>
                    <a:pt x="317" y="158"/>
                  </a:lnTo>
                  <a:lnTo>
                    <a:pt x="315" y="160"/>
                  </a:lnTo>
                  <a:lnTo>
                    <a:pt x="317" y="160"/>
                  </a:lnTo>
                  <a:lnTo>
                    <a:pt x="317" y="160"/>
                  </a:lnTo>
                  <a:lnTo>
                    <a:pt x="317" y="160"/>
                  </a:lnTo>
                  <a:lnTo>
                    <a:pt x="317" y="160"/>
                  </a:lnTo>
                  <a:lnTo>
                    <a:pt x="317" y="160"/>
                  </a:lnTo>
                  <a:lnTo>
                    <a:pt x="317" y="160"/>
                  </a:lnTo>
                  <a:lnTo>
                    <a:pt x="315" y="160"/>
                  </a:lnTo>
                  <a:lnTo>
                    <a:pt x="313" y="162"/>
                  </a:lnTo>
                  <a:lnTo>
                    <a:pt x="313" y="162"/>
                  </a:lnTo>
                  <a:lnTo>
                    <a:pt x="313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06" y="167"/>
                  </a:lnTo>
                  <a:lnTo>
                    <a:pt x="306" y="169"/>
                  </a:lnTo>
                  <a:lnTo>
                    <a:pt x="306" y="169"/>
                  </a:lnTo>
                  <a:lnTo>
                    <a:pt x="304" y="169"/>
                  </a:lnTo>
                  <a:lnTo>
                    <a:pt x="304" y="169"/>
                  </a:lnTo>
                  <a:lnTo>
                    <a:pt x="304" y="169"/>
                  </a:lnTo>
                  <a:lnTo>
                    <a:pt x="304" y="169"/>
                  </a:lnTo>
                  <a:lnTo>
                    <a:pt x="304" y="169"/>
                  </a:lnTo>
                  <a:lnTo>
                    <a:pt x="304" y="171"/>
                  </a:lnTo>
                  <a:lnTo>
                    <a:pt x="304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297" y="178"/>
                  </a:lnTo>
                  <a:lnTo>
                    <a:pt x="295" y="182"/>
                  </a:lnTo>
                  <a:lnTo>
                    <a:pt x="295" y="182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5"/>
                  </a:lnTo>
                  <a:lnTo>
                    <a:pt x="295" y="187"/>
                  </a:lnTo>
                  <a:lnTo>
                    <a:pt x="292" y="187"/>
                  </a:lnTo>
                  <a:lnTo>
                    <a:pt x="290" y="189"/>
                  </a:lnTo>
                  <a:lnTo>
                    <a:pt x="290" y="191"/>
                  </a:lnTo>
                  <a:lnTo>
                    <a:pt x="288" y="194"/>
                  </a:lnTo>
                  <a:lnTo>
                    <a:pt x="286" y="198"/>
                  </a:lnTo>
                  <a:lnTo>
                    <a:pt x="286" y="200"/>
                  </a:lnTo>
                  <a:lnTo>
                    <a:pt x="286" y="200"/>
                  </a:lnTo>
                  <a:lnTo>
                    <a:pt x="283" y="200"/>
                  </a:lnTo>
                  <a:lnTo>
                    <a:pt x="283" y="200"/>
                  </a:lnTo>
                  <a:lnTo>
                    <a:pt x="279" y="207"/>
                  </a:lnTo>
                  <a:lnTo>
                    <a:pt x="279" y="209"/>
                  </a:lnTo>
                  <a:lnTo>
                    <a:pt x="279" y="209"/>
                  </a:lnTo>
                  <a:lnTo>
                    <a:pt x="279" y="209"/>
                  </a:lnTo>
                  <a:lnTo>
                    <a:pt x="279" y="209"/>
                  </a:lnTo>
                  <a:lnTo>
                    <a:pt x="277" y="212"/>
                  </a:lnTo>
                  <a:lnTo>
                    <a:pt x="274" y="216"/>
                  </a:lnTo>
                  <a:lnTo>
                    <a:pt x="272" y="216"/>
                  </a:lnTo>
                  <a:lnTo>
                    <a:pt x="272" y="216"/>
                  </a:lnTo>
                  <a:lnTo>
                    <a:pt x="270" y="218"/>
                  </a:lnTo>
                  <a:lnTo>
                    <a:pt x="268" y="221"/>
                  </a:lnTo>
                  <a:lnTo>
                    <a:pt x="268" y="221"/>
                  </a:lnTo>
                  <a:lnTo>
                    <a:pt x="265" y="221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7"/>
                  </a:lnTo>
                  <a:lnTo>
                    <a:pt x="261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9" y="227"/>
                  </a:lnTo>
                  <a:lnTo>
                    <a:pt x="256" y="230"/>
                  </a:lnTo>
                  <a:lnTo>
                    <a:pt x="256" y="230"/>
                  </a:lnTo>
                  <a:lnTo>
                    <a:pt x="256" y="230"/>
                  </a:lnTo>
                  <a:lnTo>
                    <a:pt x="256" y="230"/>
                  </a:lnTo>
                  <a:lnTo>
                    <a:pt x="256" y="230"/>
                  </a:lnTo>
                  <a:lnTo>
                    <a:pt x="256" y="230"/>
                  </a:lnTo>
                  <a:lnTo>
                    <a:pt x="254" y="232"/>
                  </a:lnTo>
                  <a:lnTo>
                    <a:pt x="254" y="232"/>
                  </a:lnTo>
                  <a:lnTo>
                    <a:pt x="254" y="232"/>
                  </a:lnTo>
                  <a:lnTo>
                    <a:pt x="254" y="232"/>
                  </a:lnTo>
                  <a:lnTo>
                    <a:pt x="254" y="234"/>
                  </a:lnTo>
                  <a:lnTo>
                    <a:pt x="254" y="234"/>
                  </a:lnTo>
                  <a:lnTo>
                    <a:pt x="254" y="234"/>
                  </a:lnTo>
                  <a:lnTo>
                    <a:pt x="254" y="234"/>
                  </a:lnTo>
                  <a:lnTo>
                    <a:pt x="254" y="234"/>
                  </a:lnTo>
                  <a:lnTo>
                    <a:pt x="254" y="234"/>
                  </a:lnTo>
                  <a:lnTo>
                    <a:pt x="252" y="234"/>
                  </a:lnTo>
                  <a:lnTo>
                    <a:pt x="252" y="234"/>
                  </a:lnTo>
                  <a:lnTo>
                    <a:pt x="252" y="234"/>
                  </a:lnTo>
                  <a:lnTo>
                    <a:pt x="252" y="236"/>
                  </a:lnTo>
                  <a:lnTo>
                    <a:pt x="252" y="236"/>
                  </a:lnTo>
                  <a:lnTo>
                    <a:pt x="247" y="239"/>
                  </a:lnTo>
                  <a:lnTo>
                    <a:pt x="245" y="241"/>
                  </a:lnTo>
                  <a:lnTo>
                    <a:pt x="245" y="243"/>
                  </a:lnTo>
                  <a:lnTo>
                    <a:pt x="245" y="243"/>
                  </a:lnTo>
                  <a:lnTo>
                    <a:pt x="241" y="245"/>
                  </a:lnTo>
                  <a:lnTo>
                    <a:pt x="241" y="245"/>
                  </a:lnTo>
                  <a:lnTo>
                    <a:pt x="241" y="245"/>
                  </a:lnTo>
                  <a:lnTo>
                    <a:pt x="241" y="245"/>
                  </a:lnTo>
                  <a:lnTo>
                    <a:pt x="241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6" y="250"/>
                  </a:lnTo>
                  <a:lnTo>
                    <a:pt x="236" y="250"/>
                  </a:lnTo>
                  <a:lnTo>
                    <a:pt x="236" y="252"/>
                  </a:lnTo>
                  <a:lnTo>
                    <a:pt x="234" y="252"/>
                  </a:lnTo>
                  <a:lnTo>
                    <a:pt x="234" y="252"/>
                  </a:lnTo>
                  <a:lnTo>
                    <a:pt x="234" y="252"/>
                  </a:lnTo>
                  <a:lnTo>
                    <a:pt x="234" y="252"/>
                  </a:lnTo>
                  <a:lnTo>
                    <a:pt x="232" y="254"/>
                  </a:lnTo>
                  <a:lnTo>
                    <a:pt x="232" y="254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4"/>
                  </a:lnTo>
                  <a:lnTo>
                    <a:pt x="230" y="257"/>
                  </a:lnTo>
                  <a:lnTo>
                    <a:pt x="230" y="257"/>
                  </a:lnTo>
                  <a:lnTo>
                    <a:pt x="230" y="257"/>
                  </a:lnTo>
                  <a:lnTo>
                    <a:pt x="227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5" y="259"/>
                  </a:lnTo>
                  <a:lnTo>
                    <a:pt x="223" y="261"/>
                  </a:lnTo>
                  <a:lnTo>
                    <a:pt x="223" y="261"/>
                  </a:lnTo>
                  <a:lnTo>
                    <a:pt x="223" y="261"/>
                  </a:lnTo>
                  <a:lnTo>
                    <a:pt x="223" y="261"/>
                  </a:lnTo>
                  <a:lnTo>
                    <a:pt x="223" y="261"/>
                  </a:lnTo>
                  <a:lnTo>
                    <a:pt x="221" y="261"/>
                  </a:lnTo>
                  <a:lnTo>
                    <a:pt x="221" y="263"/>
                  </a:lnTo>
                  <a:lnTo>
                    <a:pt x="218" y="263"/>
                  </a:lnTo>
                  <a:lnTo>
                    <a:pt x="218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4" y="268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09" y="270"/>
                  </a:lnTo>
                  <a:lnTo>
                    <a:pt x="209" y="270"/>
                  </a:lnTo>
                  <a:lnTo>
                    <a:pt x="209" y="270"/>
                  </a:lnTo>
                  <a:lnTo>
                    <a:pt x="209" y="270"/>
                  </a:lnTo>
                  <a:lnTo>
                    <a:pt x="209" y="270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07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3" y="274"/>
                  </a:lnTo>
                  <a:lnTo>
                    <a:pt x="203" y="274"/>
                  </a:lnTo>
                  <a:lnTo>
                    <a:pt x="203" y="274"/>
                  </a:lnTo>
                  <a:lnTo>
                    <a:pt x="200" y="274"/>
                  </a:lnTo>
                  <a:lnTo>
                    <a:pt x="198" y="274"/>
                  </a:lnTo>
                  <a:lnTo>
                    <a:pt x="198" y="274"/>
                  </a:lnTo>
                  <a:lnTo>
                    <a:pt x="198" y="274"/>
                  </a:lnTo>
                  <a:lnTo>
                    <a:pt x="198" y="277"/>
                  </a:lnTo>
                  <a:lnTo>
                    <a:pt x="198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7"/>
                  </a:lnTo>
                  <a:lnTo>
                    <a:pt x="194" y="277"/>
                  </a:lnTo>
                  <a:lnTo>
                    <a:pt x="194" y="277"/>
                  </a:lnTo>
                  <a:lnTo>
                    <a:pt x="191" y="277"/>
                  </a:lnTo>
                  <a:lnTo>
                    <a:pt x="191" y="277"/>
                  </a:lnTo>
                  <a:lnTo>
                    <a:pt x="191" y="277"/>
                  </a:lnTo>
                  <a:lnTo>
                    <a:pt x="191" y="277"/>
                  </a:lnTo>
                  <a:lnTo>
                    <a:pt x="189" y="277"/>
                  </a:lnTo>
                  <a:lnTo>
                    <a:pt x="187" y="277"/>
                  </a:lnTo>
                  <a:lnTo>
                    <a:pt x="185" y="277"/>
                  </a:lnTo>
                  <a:lnTo>
                    <a:pt x="182" y="277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0" y="277"/>
                  </a:lnTo>
                  <a:lnTo>
                    <a:pt x="178" y="279"/>
                  </a:lnTo>
                  <a:lnTo>
                    <a:pt x="178" y="279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8" y="283"/>
                  </a:lnTo>
                  <a:lnTo>
                    <a:pt x="178" y="283"/>
                  </a:lnTo>
                  <a:lnTo>
                    <a:pt x="180" y="283"/>
                  </a:lnTo>
                  <a:lnTo>
                    <a:pt x="180" y="283"/>
                  </a:lnTo>
                  <a:lnTo>
                    <a:pt x="180" y="283"/>
                  </a:lnTo>
                  <a:lnTo>
                    <a:pt x="178" y="283"/>
                  </a:lnTo>
                  <a:lnTo>
                    <a:pt x="178" y="283"/>
                  </a:lnTo>
                  <a:lnTo>
                    <a:pt x="178" y="283"/>
                  </a:lnTo>
                  <a:lnTo>
                    <a:pt x="178" y="283"/>
                  </a:lnTo>
                  <a:lnTo>
                    <a:pt x="178" y="283"/>
                  </a:lnTo>
                  <a:lnTo>
                    <a:pt x="176" y="283"/>
                  </a:lnTo>
                  <a:lnTo>
                    <a:pt x="176" y="283"/>
                  </a:lnTo>
                  <a:lnTo>
                    <a:pt x="176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1" y="283"/>
                  </a:lnTo>
                  <a:lnTo>
                    <a:pt x="171" y="283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7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4" y="283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6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0" y="288"/>
                  </a:lnTo>
                  <a:lnTo>
                    <a:pt x="160" y="288"/>
                  </a:lnTo>
                  <a:lnTo>
                    <a:pt x="158" y="286"/>
                  </a:lnTo>
                  <a:lnTo>
                    <a:pt x="158" y="286"/>
                  </a:lnTo>
                  <a:lnTo>
                    <a:pt x="158" y="288"/>
                  </a:lnTo>
                  <a:lnTo>
                    <a:pt x="155" y="288"/>
                  </a:lnTo>
                  <a:lnTo>
                    <a:pt x="155" y="286"/>
                  </a:lnTo>
                  <a:lnTo>
                    <a:pt x="153" y="286"/>
                  </a:lnTo>
                  <a:lnTo>
                    <a:pt x="153" y="286"/>
                  </a:lnTo>
                  <a:lnTo>
                    <a:pt x="153" y="286"/>
                  </a:lnTo>
                  <a:lnTo>
                    <a:pt x="151" y="286"/>
                  </a:lnTo>
                  <a:lnTo>
                    <a:pt x="151" y="286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4" y="283"/>
                  </a:lnTo>
                  <a:lnTo>
                    <a:pt x="144" y="283"/>
                  </a:lnTo>
                  <a:lnTo>
                    <a:pt x="144" y="283"/>
                  </a:lnTo>
                  <a:lnTo>
                    <a:pt x="142" y="283"/>
                  </a:lnTo>
                  <a:lnTo>
                    <a:pt x="137" y="281"/>
                  </a:lnTo>
                  <a:lnTo>
                    <a:pt x="137" y="281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6"/>
                  </a:lnTo>
                  <a:lnTo>
                    <a:pt x="133" y="286"/>
                  </a:lnTo>
                  <a:lnTo>
                    <a:pt x="133" y="286"/>
                  </a:lnTo>
                  <a:lnTo>
                    <a:pt x="133" y="286"/>
                  </a:lnTo>
                  <a:lnTo>
                    <a:pt x="126" y="286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6"/>
                  </a:lnTo>
                  <a:lnTo>
                    <a:pt x="126" y="286"/>
                  </a:lnTo>
                  <a:lnTo>
                    <a:pt x="126" y="283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4" y="286"/>
                  </a:lnTo>
                  <a:lnTo>
                    <a:pt x="124" y="286"/>
                  </a:lnTo>
                  <a:lnTo>
                    <a:pt x="124" y="286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1"/>
                  </a:lnTo>
                  <a:lnTo>
                    <a:pt x="119" y="281"/>
                  </a:lnTo>
                  <a:lnTo>
                    <a:pt x="119" y="283"/>
                  </a:lnTo>
                  <a:lnTo>
                    <a:pt x="119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19" y="283"/>
                  </a:lnTo>
                  <a:lnTo>
                    <a:pt x="117" y="283"/>
                  </a:lnTo>
                  <a:lnTo>
                    <a:pt x="117" y="283"/>
                  </a:lnTo>
                  <a:lnTo>
                    <a:pt x="117" y="283"/>
                  </a:lnTo>
                  <a:lnTo>
                    <a:pt x="117" y="283"/>
                  </a:lnTo>
                  <a:lnTo>
                    <a:pt x="117" y="283"/>
                  </a:lnTo>
                  <a:lnTo>
                    <a:pt x="115" y="283"/>
                  </a:lnTo>
                  <a:lnTo>
                    <a:pt x="115" y="283"/>
                  </a:lnTo>
                  <a:lnTo>
                    <a:pt x="113" y="283"/>
                  </a:lnTo>
                  <a:lnTo>
                    <a:pt x="113" y="283"/>
                  </a:lnTo>
                  <a:lnTo>
                    <a:pt x="110" y="283"/>
                  </a:lnTo>
                  <a:lnTo>
                    <a:pt x="108" y="283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4" y="290"/>
                  </a:lnTo>
                  <a:lnTo>
                    <a:pt x="104" y="290"/>
                  </a:lnTo>
                  <a:lnTo>
                    <a:pt x="104" y="290"/>
                  </a:lnTo>
                  <a:lnTo>
                    <a:pt x="104" y="290"/>
                  </a:lnTo>
                  <a:lnTo>
                    <a:pt x="101" y="292"/>
                  </a:lnTo>
                  <a:lnTo>
                    <a:pt x="101" y="292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7" y="292"/>
                  </a:lnTo>
                  <a:lnTo>
                    <a:pt x="97" y="290"/>
                  </a:lnTo>
                  <a:lnTo>
                    <a:pt x="95" y="290"/>
                  </a:lnTo>
                  <a:lnTo>
                    <a:pt x="95" y="290"/>
                  </a:lnTo>
                  <a:lnTo>
                    <a:pt x="95" y="292"/>
                  </a:lnTo>
                  <a:lnTo>
                    <a:pt x="95" y="292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6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81" y="292"/>
                  </a:lnTo>
                  <a:lnTo>
                    <a:pt x="81" y="295"/>
                  </a:lnTo>
                  <a:lnTo>
                    <a:pt x="81" y="295"/>
                  </a:lnTo>
                  <a:lnTo>
                    <a:pt x="79" y="292"/>
                  </a:lnTo>
                  <a:lnTo>
                    <a:pt x="74" y="292"/>
                  </a:lnTo>
                  <a:lnTo>
                    <a:pt x="74" y="295"/>
                  </a:lnTo>
                  <a:lnTo>
                    <a:pt x="74" y="295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9"/>
                  </a:lnTo>
                  <a:lnTo>
                    <a:pt x="70" y="299"/>
                  </a:lnTo>
                  <a:lnTo>
                    <a:pt x="68" y="299"/>
                  </a:lnTo>
                  <a:lnTo>
                    <a:pt x="68" y="299"/>
                  </a:lnTo>
                  <a:lnTo>
                    <a:pt x="68" y="299"/>
                  </a:lnTo>
                  <a:lnTo>
                    <a:pt x="66" y="299"/>
                  </a:lnTo>
                  <a:lnTo>
                    <a:pt x="66" y="301"/>
                  </a:lnTo>
                  <a:lnTo>
                    <a:pt x="66" y="301"/>
                  </a:lnTo>
                  <a:lnTo>
                    <a:pt x="66" y="301"/>
                  </a:lnTo>
                  <a:lnTo>
                    <a:pt x="66" y="301"/>
                  </a:lnTo>
                  <a:lnTo>
                    <a:pt x="66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1" y="301"/>
                  </a:lnTo>
                  <a:lnTo>
                    <a:pt x="61" y="301"/>
                  </a:lnTo>
                  <a:lnTo>
                    <a:pt x="59" y="301"/>
                  </a:lnTo>
                  <a:lnTo>
                    <a:pt x="59" y="301"/>
                  </a:lnTo>
                  <a:lnTo>
                    <a:pt x="59" y="301"/>
                  </a:lnTo>
                  <a:lnTo>
                    <a:pt x="57" y="301"/>
                  </a:lnTo>
                  <a:lnTo>
                    <a:pt x="57" y="301"/>
                  </a:lnTo>
                  <a:lnTo>
                    <a:pt x="57" y="301"/>
                  </a:lnTo>
                  <a:lnTo>
                    <a:pt x="57" y="301"/>
                  </a:lnTo>
                  <a:lnTo>
                    <a:pt x="57" y="301"/>
                  </a:lnTo>
                  <a:lnTo>
                    <a:pt x="57" y="299"/>
                  </a:lnTo>
                  <a:lnTo>
                    <a:pt x="54" y="299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4" y="297"/>
                  </a:lnTo>
                  <a:lnTo>
                    <a:pt x="52" y="297"/>
                  </a:lnTo>
                  <a:lnTo>
                    <a:pt x="52" y="297"/>
                  </a:lnTo>
                  <a:lnTo>
                    <a:pt x="52" y="297"/>
                  </a:lnTo>
                  <a:lnTo>
                    <a:pt x="52" y="297"/>
                  </a:lnTo>
                  <a:lnTo>
                    <a:pt x="52" y="297"/>
                  </a:lnTo>
                  <a:lnTo>
                    <a:pt x="52" y="297"/>
                  </a:lnTo>
                  <a:lnTo>
                    <a:pt x="52" y="297"/>
                  </a:lnTo>
                  <a:lnTo>
                    <a:pt x="50" y="297"/>
                  </a:lnTo>
                  <a:lnTo>
                    <a:pt x="50" y="297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2" y="292"/>
                  </a:lnTo>
                  <a:lnTo>
                    <a:pt x="50" y="292"/>
                  </a:lnTo>
                  <a:lnTo>
                    <a:pt x="50" y="292"/>
                  </a:lnTo>
                  <a:lnTo>
                    <a:pt x="48" y="292"/>
                  </a:lnTo>
                  <a:lnTo>
                    <a:pt x="48" y="292"/>
                  </a:lnTo>
                  <a:lnTo>
                    <a:pt x="48" y="292"/>
                  </a:lnTo>
                  <a:lnTo>
                    <a:pt x="48" y="292"/>
                  </a:lnTo>
                  <a:lnTo>
                    <a:pt x="48" y="292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8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3" y="290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3" y="292"/>
                  </a:lnTo>
                  <a:lnTo>
                    <a:pt x="41" y="292"/>
                  </a:lnTo>
                  <a:lnTo>
                    <a:pt x="41" y="292"/>
                  </a:lnTo>
                  <a:lnTo>
                    <a:pt x="41" y="292"/>
                  </a:lnTo>
                  <a:lnTo>
                    <a:pt x="41" y="290"/>
                  </a:lnTo>
                  <a:lnTo>
                    <a:pt x="41" y="290"/>
                  </a:lnTo>
                  <a:lnTo>
                    <a:pt x="41" y="290"/>
                  </a:lnTo>
                  <a:lnTo>
                    <a:pt x="41" y="290"/>
                  </a:lnTo>
                  <a:lnTo>
                    <a:pt x="41" y="290"/>
                  </a:lnTo>
                  <a:lnTo>
                    <a:pt x="41" y="290"/>
                  </a:lnTo>
                  <a:lnTo>
                    <a:pt x="43" y="290"/>
                  </a:lnTo>
                  <a:lnTo>
                    <a:pt x="43" y="290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6"/>
                  </a:lnTo>
                  <a:lnTo>
                    <a:pt x="43" y="286"/>
                  </a:lnTo>
                  <a:lnTo>
                    <a:pt x="43" y="286"/>
                  </a:lnTo>
                  <a:lnTo>
                    <a:pt x="41" y="286"/>
                  </a:lnTo>
                  <a:lnTo>
                    <a:pt x="41" y="283"/>
                  </a:lnTo>
                  <a:lnTo>
                    <a:pt x="39" y="283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90"/>
                  </a:lnTo>
                  <a:lnTo>
                    <a:pt x="34" y="290"/>
                  </a:lnTo>
                  <a:lnTo>
                    <a:pt x="34" y="290"/>
                  </a:lnTo>
                  <a:lnTo>
                    <a:pt x="34" y="290"/>
                  </a:lnTo>
                  <a:lnTo>
                    <a:pt x="34" y="290"/>
                  </a:lnTo>
                  <a:lnTo>
                    <a:pt x="34" y="290"/>
                  </a:lnTo>
                  <a:lnTo>
                    <a:pt x="34" y="290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4" y="283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2" y="283"/>
                  </a:lnTo>
                  <a:lnTo>
                    <a:pt x="34" y="281"/>
                  </a:lnTo>
                  <a:lnTo>
                    <a:pt x="34" y="281"/>
                  </a:lnTo>
                  <a:lnTo>
                    <a:pt x="34" y="281"/>
                  </a:lnTo>
                  <a:lnTo>
                    <a:pt x="34" y="281"/>
                  </a:lnTo>
                  <a:lnTo>
                    <a:pt x="34" y="281"/>
                  </a:lnTo>
                  <a:lnTo>
                    <a:pt x="36" y="281"/>
                  </a:lnTo>
                  <a:lnTo>
                    <a:pt x="36" y="279"/>
                  </a:lnTo>
                  <a:lnTo>
                    <a:pt x="36" y="279"/>
                  </a:lnTo>
                  <a:lnTo>
                    <a:pt x="36" y="279"/>
                  </a:lnTo>
                  <a:lnTo>
                    <a:pt x="36" y="279"/>
                  </a:lnTo>
                  <a:lnTo>
                    <a:pt x="36" y="277"/>
                  </a:lnTo>
                  <a:lnTo>
                    <a:pt x="34" y="274"/>
                  </a:lnTo>
                  <a:lnTo>
                    <a:pt x="34" y="274"/>
                  </a:lnTo>
                  <a:lnTo>
                    <a:pt x="34" y="274"/>
                  </a:lnTo>
                  <a:lnTo>
                    <a:pt x="34" y="274"/>
                  </a:lnTo>
                  <a:lnTo>
                    <a:pt x="34" y="272"/>
                  </a:lnTo>
                  <a:lnTo>
                    <a:pt x="34" y="272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2" y="272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0" y="268"/>
                  </a:lnTo>
                  <a:lnTo>
                    <a:pt x="30" y="268"/>
                  </a:lnTo>
                  <a:lnTo>
                    <a:pt x="30" y="266"/>
                  </a:lnTo>
                  <a:lnTo>
                    <a:pt x="30" y="266"/>
                  </a:lnTo>
                  <a:lnTo>
                    <a:pt x="30" y="266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5" y="252"/>
                  </a:lnTo>
                  <a:lnTo>
                    <a:pt x="25" y="252"/>
                  </a:lnTo>
                  <a:lnTo>
                    <a:pt x="25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7" y="254"/>
                  </a:lnTo>
                  <a:lnTo>
                    <a:pt x="30" y="254"/>
                  </a:lnTo>
                  <a:lnTo>
                    <a:pt x="30" y="254"/>
                  </a:lnTo>
                  <a:lnTo>
                    <a:pt x="30" y="252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48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34" y="243"/>
                  </a:lnTo>
                  <a:lnTo>
                    <a:pt x="34" y="243"/>
                  </a:lnTo>
                  <a:lnTo>
                    <a:pt x="34" y="243"/>
                  </a:lnTo>
                  <a:lnTo>
                    <a:pt x="34" y="243"/>
                  </a:lnTo>
                  <a:lnTo>
                    <a:pt x="36" y="241"/>
                  </a:lnTo>
                  <a:lnTo>
                    <a:pt x="34" y="239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4" y="232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30"/>
                  </a:lnTo>
                  <a:lnTo>
                    <a:pt x="34" y="227"/>
                  </a:lnTo>
                  <a:lnTo>
                    <a:pt x="32" y="227"/>
                  </a:lnTo>
                  <a:lnTo>
                    <a:pt x="32" y="225"/>
                  </a:lnTo>
                  <a:lnTo>
                    <a:pt x="32" y="225"/>
                  </a:lnTo>
                  <a:lnTo>
                    <a:pt x="32" y="225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7" y="218"/>
                  </a:lnTo>
                  <a:lnTo>
                    <a:pt x="27" y="218"/>
                  </a:lnTo>
                  <a:lnTo>
                    <a:pt x="27" y="218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09"/>
                  </a:lnTo>
                  <a:lnTo>
                    <a:pt x="21" y="207"/>
                  </a:lnTo>
                  <a:lnTo>
                    <a:pt x="21" y="207"/>
                  </a:lnTo>
                  <a:lnTo>
                    <a:pt x="21" y="207"/>
                  </a:lnTo>
                  <a:lnTo>
                    <a:pt x="21" y="205"/>
                  </a:lnTo>
                  <a:lnTo>
                    <a:pt x="21" y="205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6" y="194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89"/>
                  </a:lnTo>
                  <a:lnTo>
                    <a:pt x="14" y="187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2"/>
                  </a:lnTo>
                  <a:lnTo>
                    <a:pt x="12" y="182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78"/>
                  </a:lnTo>
                  <a:lnTo>
                    <a:pt x="12" y="178"/>
                  </a:lnTo>
                  <a:lnTo>
                    <a:pt x="12" y="178"/>
                  </a:lnTo>
                  <a:lnTo>
                    <a:pt x="12" y="178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12" y="176"/>
                  </a:lnTo>
                  <a:lnTo>
                    <a:pt x="9" y="173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7" y="167"/>
                  </a:lnTo>
                  <a:lnTo>
                    <a:pt x="7" y="167"/>
                  </a:lnTo>
                  <a:lnTo>
                    <a:pt x="7" y="167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5" y="162"/>
                  </a:lnTo>
                  <a:lnTo>
                    <a:pt x="5" y="160"/>
                  </a:lnTo>
                  <a:lnTo>
                    <a:pt x="3" y="160"/>
                  </a:lnTo>
                  <a:lnTo>
                    <a:pt x="3" y="160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8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0" y="155"/>
                  </a:lnTo>
                  <a:lnTo>
                    <a:pt x="3" y="155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5" y="153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4" y="142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6"/>
                  </a:lnTo>
                  <a:lnTo>
                    <a:pt x="18" y="146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6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18" y="151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3"/>
                  </a:lnTo>
                  <a:lnTo>
                    <a:pt x="21" y="155"/>
                  </a:lnTo>
                  <a:lnTo>
                    <a:pt x="21" y="155"/>
                  </a:lnTo>
                  <a:lnTo>
                    <a:pt x="21" y="158"/>
                  </a:lnTo>
                  <a:lnTo>
                    <a:pt x="21" y="158"/>
                  </a:lnTo>
                  <a:lnTo>
                    <a:pt x="23" y="158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23" y="155"/>
                  </a:lnTo>
                  <a:lnTo>
                    <a:pt x="25" y="155"/>
                  </a:lnTo>
                  <a:lnTo>
                    <a:pt x="25" y="155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30" y="158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9" y="160"/>
                  </a:lnTo>
                  <a:lnTo>
                    <a:pt x="39" y="160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3" y="162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8" y="160"/>
                  </a:lnTo>
                  <a:lnTo>
                    <a:pt x="52" y="160"/>
                  </a:lnTo>
                  <a:lnTo>
                    <a:pt x="52" y="160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7" y="162"/>
                  </a:lnTo>
                  <a:lnTo>
                    <a:pt x="59" y="162"/>
                  </a:lnTo>
                  <a:lnTo>
                    <a:pt x="59" y="160"/>
                  </a:lnTo>
                  <a:lnTo>
                    <a:pt x="59" y="160"/>
                  </a:lnTo>
                  <a:lnTo>
                    <a:pt x="57" y="160"/>
                  </a:lnTo>
                  <a:lnTo>
                    <a:pt x="57" y="158"/>
                  </a:lnTo>
                  <a:lnTo>
                    <a:pt x="57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61" y="158"/>
                  </a:lnTo>
                  <a:lnTo>
                    <a:pt x="61" y="158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3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8" y="153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70" y="151"/>
                  </a:lnTo>
                  <a:lnTo>
                    <a:pt x="70" y="151"/>
                  </a:lnTo>
                  <a:lnTo>
                    <a:pt x="70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4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72" y="140"/>
                  </a:lnTo>
                  <a:lnTo>
                    <a:pt x="74" y="140"/>
                  </a:lnTo>
                  <a:lnTo>
                    <a:pt x="74" y="137"/>
                  </a:lnTo>
                  <a:lnTo>
                    <a:pt x="74" y="137"/>
                  </a:lnTo>
                  <a:lnTo>
                    <a:pt x="74" y="135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28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4" y="113"/>
                  </a:lnTo>
                  <a:lnTo>
                    <a:pt x="74" y="110"/>
                  </a:lnTo>
                  <a:lnTo>
                    <a:pt x="74" y="110"/>
                  </a:lnTo>
                  <a:lnTo>
                    <a:pt x="74" y="108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2"/>
                  </a:lnTo>
                  <a:lnTo>
                    <a:pt x="74" y="90"/>
                  </a:lnTo>
                  <a:lnTo>
                    <a:pt x="77" y="90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7" y="72"/>
                  </a:lnTo>
                  <a:lnTo>
                    <a:pt x="77" y="70"/>
                  </a:lnTo>
                  <a:lnTo>
                    <a:pt x="77" y="70"/>
                  </a:lnTo>
                  <a:lnTo>
                    <a:pt x="77" y="68"/>
                  </a:lnTo>
                  <a:lnTo>
                    <a:pt x="77" y="68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8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0"/>
                  </a:lnTo>
                  <a:lnTo>
                    <a:pt x="92" y="92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9"/>
                  </a:lnTo>
                  <a:lnTo>
                    <a:pt x="90" y="99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88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2" y="113"/>
                  </a:lnTo>
                  <a:lnTo>
                    <a:pt x="92" y="113"/>
                  </a:lnTo>
                  <a:lnTo>
                    <a:pt x="92" y="110"/>
                  </a:lnTo>
                  <a:lnTo>
                    <a:pt x="95" y="113"/>
                  </a:lnTo>
                  <a:lnTo>
                    <a:pt x="95" y="113"/>
                  </a:lnTo>
                  <a:lnTo>
                    <a:pt x="97" y="113"/>
                  </a:lnTo>
                  <a:lnTo>
                    <a:pt x="99" y="113"/>
                  </a:lnTo>
                  <a:lnTo>
                    <a:pt x="99" y="113"/>
                  </a:lnTo>
                  <a:lnTo>
                    <a:pt x="101" y="113"/>
                  </a:lnTo>
                  <a:lnTo>
                    <a:pt x="101" y="113"/>
                  </a:lnTo>
                  <a:lnTo>
                    <a:pt x="101" y="113"/>
                  </a:lnTo>
                  <a:lnTo>
                    <a:pt x="104" y="113"/>
                  </a:lnTo>
                  <a:lnTo>
                    <a:pt x="104" y="113"/>
                  </a:lnTo>
                  <a:lnTo>
                    <a:pt x="104" y="113"/>
                  </a:lnTo>
                  <a:lnTo>
                    <a:pt x="106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08" y="113"/>
                  </a:lnTo>
                  <a:lnTo>
                    <a:pt x="110" y="113"/>
                  </a:lnTo>
                  <a:lnTo>
                    <a:pt x="110" y="113"/>
                  </a:lnTo>
                  <a:lnTo>
                    <a:pt x="110" y="113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7" y="108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4"/>
                  </a:lnTo>
                  <a:lnTo>
                    <a:pt x="119" y="101"/>
                  </a:lnTo>
                  <a:lnTo>
                    <a:pt x="122" y="101"/>
                  </a:lnTo>
                  <a:lnTo>
                    <a:pt x="122" y="101"/>
                  </a:lnTo>
                  <a:lnTo>
                    <a:pt x="122" y="101"/>
                  </a:lnTo>
                  <a:lnTo>
                    <a:pt x="122" y="101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31" y="95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1" y="90"/>
                  </a:lnTo>
                  <a:lnTo>
                    <a:pt x="133" y="90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3" y="86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5" y="81"/>
                  </a:lnTo>
                  <a:lnTo>
                    <a:pt x="135" y="79"/>
                  </a:lnTo>
                  <a:lnTo>
                    <a:pt x="135" y="79"/>
                  </a:lnTo>
                  <a:lnTo>
                    <a:pt x="135" y="79"/>
                  </a:lnTo>
                  <a:lnTo>
                    <a:pt x="135" y="79"/>
                  </a:lnTo>
                  <a:lnTo>
                    <a:pt x="135" y="79"/>
                  </a:lnTo>
                  <a:lnTo>
                    <a:pt x="135" y="79"/>
                  </a:lnTo>
                  <a:lnTo>
                    <a:pt x="137" y="79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4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7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5" y="81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58" y="83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3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9" y="88"/>
                  </a:lnTo>
                  <a:lnTo>
                    <a:pt x="171" y="88"/>
                  </a:lnTo>
                  <a:lnTo>
                    <a:pt x="171" y="88"/>
                  </a:lnTo>
                  <a:lnTo>
                    <a:pt x="173" y="88"/>
                  </a:lnTo>
                  <a:lnTo>
                    <a:pt x="173" y="88"/>
                  </a:lnTo>
                  <a:lnTo>
                    <a:pt x="173" y="88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6" y="88"/>
                  </a:lnTo>
                  <a:lnTo>
                    <a:pt x="178" y="88"/>
                  </a:lnTo>
                  <a:lnTo>
                    <a:pt x="178" y="86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0" y="86"/>
                  </a:lnTo>
                  <a:lnTo>
                    <a:pt x="182" y="88"/>
                  </a:lnTo>
                  <a:lnTo>
                    <a:pt x="187" y="86"/>
                  </a:lnTo>
                  <a:lnTo>
                    <a:pt x="187" y="86"/>
                  </a:lnTo>
                  <a:lnTo>
                    <a:pt x="191" y="83"/>
                  </a:lnTo>
                  <a:lnTo>
                    <a:pt x="191" y="81"/>
                  </a:lnTo>
                  <a:lnTo>
                    <a:pt x="191" y="79"/>
                  </a:lnTo>
                  <a:lnTo>
                    <a:pt x="194" y="77"/>
                  </a:lnTo>
                  <a:lnTo>
                    <a:pt x="196" y="72"/>
                  </a:lnTo>
                  <a:lnTo>
                    <a:pt x="196" y="70"/>
                  </a:lnTo>
                  <a:lnTo>
                    <a:pt x="196" y="70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8" y="65"/>
                  </a:lnTo>
                  <a:lnTo>
                    <a:pt x="198" y="65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198" y="63"/>
                  </a:lnTo>
                  <a:lnTo>
                    <a:pt x="200" y="63"/>
                  </a:lnTo>
                  <a:lnTo>
                    <a:pt x="200" y="61"/>
                  </a:lnTo>
                  <a:lnTo>
                    <a:pt x="205" y="61"/>
                  </a:lnTo>
                  <a:lnTo>
                    <a:pt x="207" y="59"/>
                  </a:lnTo>
                  <a:lnTo>
                    <a:pt x="207" y="59"/>
                  </a:lnTo>
                  <a:lnTo>
                    <a:pt x="207" y="61"/>
                  </a:lnTo>
                  <a:lnTo>
                    <a:pt x="207" y="61"/>
                  </a:lnTo>
                  <a:lnTo>
                    <a:pt x="209" y="61"/>
                  </a:lnTo>
                  <a:lnTo>
                    <a:pt x="209" y="59"/>
                  </a:lnTo>
                  <a:lnTo>
                    <a:pt x="209" y="59"/>
                  </a:lnTo>
                  <a:lnTo>
                    <a:pt x="212" y="56"/>
                  </a:lnTo>
                  <a:lnTo>
                    <a:pt x="212" y="56"/>
                  </a:lnTo>
                  <a:lnTo>
                    <a:pt x="212" y="54"/>
                  </a:lnTo>
                  <a:lnTo>
                    <a:pt x="214" y="54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6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47"/>
                  </a:lnTo>
                  <a:lnTo>
                    <a:pt x="221" y="41"/>
                  </a:lnTo>
                  <a:lnTo>
                    <a:pt x="221" y="41"/>
                  </a:lnTo>
                  <a:lnTo>
                    <a:pt x="221" y="41"/>
                  </a:lnTo>
                  <a:lnTo>
                    <a:pt x="221" y="38"/>
                  </a:lnTo>
                  <a:lnTo>
                    <a:pt x="221" y="38"/>
                  </a:lnTo>
                  <a:lnTo>
                    <a:pt x="221" y="38"/>
                  </a:lnTo>
                  <a:lnTo>
                    <a:pt x="221" y="38"/>
                  </a:lnTo>
                  <a:lnTo>
                    <a:pt x="221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6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3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4"/>
                  </a:lnTo>
                  <a:lnTo>
                    <a:pt x="225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30" y="32"/>
                  </a:lnTo>
                  <a:lnTo>
                    <a:pt x="230" y="29"/>
                  </a:lnTo>
                  <a:lnTo>
                    <a:pt x="230" y="32"/>
                  </a:lnTo>
                  <a:lnTo>
                    <a:pt x="230" y="32"/>
                  </a:lnTo>
                  <a:lnTo>
                    <a:pt x="230" y="32"/>
                  </a:lnTo>
                  <a:lnTo>
                    <a:pt x="230" y="32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29"/>
                  </a:lnTo>
                  <a:lnTo>
                    <a:pt x="230" y="32"/>
                  </a:lnTo>
                  <a:lnTo>
                    <a:pt x="230" y="32"/>
                  </a:lnTo>
                  <a:lnTo>
                    <a:pt x="232" y="32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2" y="29"/>
                  </a:lnTo>
                  <a:lnTo>
                    <a:pt x="234" y="29"/>
                  </a:lnTo>
                  <a:lnTo>
                    <a:pt x="234" y="29"/>
                  </a:lnTo>
                  <a:lnTo>
                    <a:pt x="234" y="29"/>
                  </a:lnTo>
                  <a:lnTo>
                    <a:pt x="234" y="29"/>
                  </a:lnTo>
                  <a:lnTo>
                    <a:pt x="234" y="29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38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1" y="23"/>
                  </a:lnTo>
                  <a:lnTo>
                    <a:pt x="241" y="20"/>
                  </a:lnTo>
                  <a:lnTo>
                    <a:pt x="241" y="20"/>
                  </a:lnTo>
                  <a:lnTo>
                    <a:pt x="241" y="20"/>
                  </a:lnTo>
                  <a:lnTo>
                    <a:pt x="243" y="20"/>
                  </a:lnTo>
                  <a:lnTo>
                    <a:pt x="243" y="20"/>
                  </a:lnTo>
                  <a:lnTo>
                    <a:pt x="243" y="20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6"/>
                  </a:lnTo>
                  <a:lnTo>
                    <a:pt x="245" y="14"/>
                  </a:lnTo>
                  <a:lnTo>
                    <a:pt x="245" y="14"/>
                  </a:lnTo>
                  <a:lnTo>
                    <a:pt x="247" y="14"/>
                  </a:lnTo>
                  <a:lnTo>
                    <a:pt x="247" y="14"/>
                  </a:lnTo>
                  <a:lnTo>
                    <a:pt x="247" y="14"/>
                  </a:lnTo>
                  <a:lnTo>
                    <a:pt x="247" y="14"/>
                  </a:lnTo>
                  <a:lnTo>
                    <a:pt x="247" y="14"/>
                  </a:lnTo>
                  <a:lnTo>
                    <a:pt x="247" y="14"/>
                  </a:lnTo>
                  <a:lnTo>
                    <a:pt x="250" y="11"/>
                  </a:lnTo>
                  <a:lnTo>
                    <a:pt x="250" y="11"/>
                  </a:lnTo>
                  <a:lnTo>
                    <a:pt x="250" y="11"/>
                  </a:lnTo>
                  <a:lnTo>
                    <a:pt x="252" y="11"/>
                  </a:lnTo>
                  <a:lnTo>
                    <a:pt x="252" y="11"/>
                  </a:lnTo>
                  <a:lnTo>
                    <a:pt x="254" y="11"/>
                  </a:lnTo>
                  <a:lnTo>
                    <a:pt x="254" y="11"/>
                  </a:lnTo>
                  <a:lnTo>
                    <a:pt x="254" y="11"/>
                  </a:lnTo>
                  <a:lnTo>
                    <a:pt x="254" y="11"/>
                  </a:lnTo>
                  <a:lnTo>
                    <a:pt x="256" y="11"/>
                  </a:lnTo>
                  <a:lnTo>
                    <a:pt x="256" y="11"/>
                  </a:lnTo>
                  <a:lnTo>
                    <a:pt x="256" y="11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59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3" y="7"/>
                  </a:lnTo>
                  <a:lnTo>
                    <a:pt x="263" y="7"/>
                  </a:lnTo>
                  <a:lnTo>
                    <a:pt x="263" y="7"/>
                  </a:lnTo>
                  <a:lnTo>
                    <a:pt x="263" y="7"/>
                  </a:lnTo>
                  <a:lnTo>
                    <a:pt x="263" y="5"/>
                  </a:lnTo>
                  <a:lnTo>
                    <a:pt x="263" y="5"/>
                  </a:lnTo>
                  <a:lnTo>
                    <a:pt x="263" y="2"/>
                  </a:lnTo>
                  <a:lnTo>
                    <a:pt x="265" y="2"/>
                  </a:lnTo>
                  <a:lnTo>
                    <a:pt x="265" y="2"/>
                  </a:lnTo>
                  <a:lnTo>
                    <a:pt x="265" y="2"/>
                  </a:lnTo>
                  <a:lnTo>
                    <a:pt x="265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68" y="2"/>
                  </a:lnTo>
                  <a:lnTo>
                    <a:pt x="270" y="2"/>
                  </a:lnTo>
                  <a:lnTo>
                    <a:pt x="270" y="2"/>
                  </a:lnTo>
                  <a:lnTo>
                    <a:pt x="270" y="2"/>
                  </a:lnTo>
                  <a:lnTo>
                    <a:pt x="272" y="2"/>
                  </a:lnTo>
                  <a:lnTo>
                    <a:pt x="272" y="2"/>
                  </a:lnTo>
                  <a:lnTo>
                    <a:pt x="272" y="2"/>
                  </a:lnTo>
                  <a:lnTo>
                    <a:pt x="272" y="2"/>
                  </a:lnTo>
                  <a:lnTo>
                    <a:pt x="272" y="2"/>
                  </a:lnTo>
                  <a:lnTo>
                    <a:pt x="272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7" y="0"/>
                  </a:lnTo>
                  <a:lnTo>
                    <a:pt x="279" y="0"/>
                  </a:lnTo>
                  <a:close/>
                  <a:moveTo>
                    <a:pt x="243" y="155"/>
                  </a:moveTo>
                  <a:lnTo>
                    <a:pt x="241" y="155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5"/>
                  </a:lnTo>
                  <a:lnTo>
                    <a:pt x="238" y="158"/>
                  </a:lnTo>
                  <a:lnTo>
                    <a:pt x="238" y="155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2" y="162"/>
                  </a:lnTo>
                  <a:lnTo>
                    <a:pt x="232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2"/>
                  </a:lnTo>
                  <a:lnTo>
                    <a:pt x="230" y="164"/>
                  </a:lnTo>
                  <a:lnTo>
                    <a:pt x="230" y="164"/>
                  </a:lnTo>
                  <a:lnTo>
                    <a:pt x="230" y="164"/>
                  </a:lnTo>
                  <a:lnTo>
                    <a:pt x="230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7"/>
                  </a:lnTo>
                  <a:lnTo>
                    <a:pt x="227" y="167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5" y="169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21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6" y="187"/>
                  </a:lnTo>
                  <a:lnTo>
                    <a:pt x="216" y="187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91"/>
                  </a:lnTo>
                  <a:lnTo>
                    <a:pt x="218" y="191"/>
                  </a:lnTo>
                  <a:lnTo>
                    <a:pt x="218" y="191"/>
                  </a:lnTo>
                  <a:lnTo>
                    <a:pt x="221" y="191"/>
                  </a:lnTo>
                  <a:lnTo>
                    <a:pt x="221" y="191"/>
                  </a:lnTo>
                  <a:lnTo>
                    <a:pt x="221" y="191"/>
                  </a:lnTo>
                  <a:lnTo>
                    <a:pt x="221" y="191"/>
                  </a:lnTo>
                  <a:lnTo>
                    <a:pt x="221" y="191"/>
                  </a:lnTo>
                  <a:lnTo>
                    <a:pt x="218" y="191"/>
                  </a:lnTo>
                  <a:lnTo>
                    <a:pt x="218" y="194"/>
                  </a:lnTo>
                  <a:lnTo>
                    <a:pt x="221" y="194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1" y="196"/>
                  </a:lnTo>
                  <a:lnTo>
                    <a:pt x="223" y="196"/>
                  </a:lnTo>
                  <a:lnTo>
                    <a:pt x="223" y="196"/>
                  </a:lnTo>
                  <a:lnTo>
                    <a:pt x="223" y="198"/>
                  </a:lnTo>
                  <a:lnTo>
                    <a:pt x="223" y="198"/>
                  </a:lnTo>
                  <a:lnTo>
                    <a:pt x="223" y="198"/>
                  </a:lnTo>
                  <a:lnTo>
                    <a:pt x="223" y="198"/>
                  </a:lnTo>
                  <a:lnTo>
                    <a:pt x="223" y="198"/>
                  </a:lnTo>
                  <a:lnTo>
                    <a:pt x="223" y="198"/>
                  </a:lnTo>
                  <a:lnTo>
                    <a:pt x="223" y="198"/>
                  </a:lnTo>
                  <a:lnTo>
                    <a:pt x="225" y="200"/>
                  </a:lnTo>
                  <a:lnTo>
                    <a:pt x="225" y="200"/>
                  </a:lnTo>
                  <a:lnTo>
                    <a:pt x="227" y="203"/>
                  </a:lnTo>
                  <a:lnTo>
                    <a:pt x="227" y="203"/>
                  </a:lnTo>
                  <a:lnTo>
                    <a:pt x="227" y="203"/>
                  </a:lnTo>
                  <a:lnTo>
                    <a:pt x="227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0" y="203"/>
                  </a:lnTo>
                  <a:lnTo>
                    <a:pt x="232" y="203"/>
                  </a:lnTo>
                  <a:lnTo>
                    <a:pt x="234" y="203"/>
                  </a:lnTo>
                  <a:lnTo>
                    <a:pt x="234" y="203"/>
                  </a:lnTo>
                  <a:lnTo>
                    <a:pt x="234" y="203"/>
                  </a:lnTo>
                  <a:lnTo>
                    <a:pt x="234" y="203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198"/>
                  </a:lnTo>
                  <a:lnTo>
                    <a:pt x="234" y="198"/>
                  </a:lnTo>
                  <a:lnTo>
                    <a:pt x="234" y="198"/>
                  </a:lnTo>
                  <a:lnTo>
                    <a:pt x="234" y="198"/>
                  </a:lnTo>
                  <a:lnTo>
                    <a:pt x="234" y="198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4"/>
                  </a:lnTo>
                  <a:lnTo>
                    <a:pt x="236" y="194"/>
                  </a:lnTo>
                  <a:lnTo>
                    <a:pt x="236" y="194"/>
                  </a:lnTo>
                  <a:lnTo>
                    <a:pt x="236" y="194"/>
                  </a:lnTo>
                  <a:lnTo>
                    <a:pt x="238" y="194"/>
                  </a:lnTo>
                  <a:lnTo>
                    <a:pt x="238" y="194"/>
                  </a:lnTo>
                  <a:lnTo>
                    <a:pt x="238" y="194"/>
                  </a:lnTo>
                  <a:lnTo>
                    <a:pt x="238" y="194"/>
                  </a:lnTo>
                  <a:lnTo>
                    <a:pt x="238" y="194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41" y="191"/>
                  </a:lnTo>
                  <a:lnTo>
                    <a:pt x="241" y="191"/>
                  </a:lnTo>
                  <a:lnTo>
                    <a:pt x="241" y="191"/>
                  </a:lnTo>
                  <a:lnTo>
                    <a:pt x="241" y="191"/>
                  </a:lnTo>
                  <a:lnTo>
                    <a:pt x="243" y="191"/>
                  </a:lnTo>
                  <a:lnTo>
                    <a:pt x="243" y="189"/>
                  </a:lnTo>
                  <a:lnTo>
                    <a:pt x="243" y="189"/>
                  </a:lnTo>
                  <a:lnTo>
                    <a:pt x="243" y="189"/>
                  </a:lnTo>
                  <a:lnTo>
                    <a:pt x="245" y="191"/>
                  </a:lnTo>
                  <a:lnTo>
                    <a:pt x="245" y="191"/>
                  </a:lnTo>
                  <a:lnTo>
                    <a:pt x="247" y="189"/>
                  </a:lnTo>
                  <a:lnTo>
                    <a:pt x="250" y="189"/>
                  </a:lnTo>
                  <a:lnTo>
                    <a:pt x="250" y="189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2"/>
                  </a:lnTo>
                  <a:lnTo>
                    <a:pt x="256" y="180"/>
                  </a:lnTo>
                  <a:lnTo>
                    <a:pt x="256" y="180"/>
                  </a:lnTo>
                  <a:lnTo>
                    <a:pt x="256" y="180"/>
                  </a:lnTo>
                  <a:lnTo>
                    <a:pt x="256" y="178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61" y="176"/>
                  </a:lnTo>
                  <a:lnTo>
                    <a:pt x="261" y="173"/>
                  </a:lnTo>
                  <a:lnTo>
                    <a:pt x="261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3"/>
                  </a:lnTo>
                  <a:lnTo>
                    <a:pt x="263" y="173"/>
                  </a:lnTo>
                  <a:lnTo>
                    <a:pt x="263" y="173"/>
                  </a:lnTo>
                  <a:lnTo>
                    <a:pt x="263" y="173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3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7"/>
                  </a:lnTo>
                  <a:lnTo>
                    <a:pt x="261" y="167"/>
                  </a:lnTo>
                  <a:lnTo>
                    <a:pt x="261" y="167"/>
                  </a:lnTo>
                  <a:lnTo>
                    <a:pt x="261" y="167"/>
                  </a:lnTo>
                  <a:lnTo>
                    <a:pt x="261" y="164"/>
                  </a:lnTo>
                  <a:lnTo>
                    <a:pt x="259" y="164"/>
                  </a:lnTo>
                  <a:lnTo>
                    <a:pt x="259" y="164"/>
                  </a:lnTo>
                  <a:lnTo>
                    <a:pt x="256" y="164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0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0" y="155"/>
                  </a:lnTo>
                  <a:lnTo>
                    <a:pt x="250" y="155"/>
                  </a:lnTo>
                  <a:lnTo>
                    <a:pt x="250" y="155"/>
                  </a:lnTo>
                  <a:lnTo>
                    <a:pt x="250" y="155"/>
                  </a:lnTo>
                  <a:lnTo>
                    <a:pt x="250" y="155"/>
                  </a:lnTo>
                  <a:lnTo>
                    <a:pt x="250" y="155"/>
                  </a:lnTo>
                  <a:lnTo>
                    <a:pt x="250" y="153"/>
                  </a:lnTo>
                  <a:lnTo>
                    <a:pt x="247" y="153"/>
                  </a:lnTo>
                  <a:lnTo>
                    <a:pt x="247" y="153"/>
                  </a:lnTo>
                  <a:lnTo>
                    <a:pt x="247" y="153"/>
                  </a:lnTo>
                  <a:lnTo>
                    <a:pt x="247" y="153"/>
                  </a:lnTo>
                  <a:lnTo>
                    <a:pt x="245" y="155"/>
                  </a:lnTo>
                  <a:lnTo>
                    <a:pt x="243" y="155"/>
                  </a:lnTo>
                  <a:lnTo>
                    <a:pt x="243" y="155"/>
                  </a:lnTo>
                  <a:lnTo>
                    <a:pt x="243" y="155"/>
                  </a:lnTo>
                  <a:lnTo>
                    <a:pt x="243" y="15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497"/>
            <p:cNvSpPr>
              <a:spLocks/>
            </p:cNvSpPr>
            <p:nvPr/>
          </p:nvSpPr>
          <p:spPr bwMode="auto">
            <a:xfrm>
              <a:off x="7135149" y="3511124"/>
              <a:ext cx="220628" cy="138728"/>
            </a:xfrm>
            <a:custGeom>
              <a:avLst/>
              <a:gdLst>
                <a:gd name="T0" fmla="*/ 15 w 132"/>
                <a:gd name="T1" fmla="*/ 2 h 83"/>
                <a:gd name="T2" fmla="*/ 15 w 132"/>
                <a:gd name="T3" fmla="*/ 2 h 83"/>
                <a:gd name="T4" fmla="*/ 18 w 132"/>
                <a:gd name="T5" fmla="*/ 6 h 83"/>
                <a:gd name="T6" fmla="*/ 20 w 132"/>
                <a:gd name="T7" fmla="*/ 9 h 83"/>
                <a:gd name="T8" fmla="*/ 29 w 132"/>
                <a:gd name="T9" fmla="*/ 20 h 83"/>
                <a:gd name="T10" fmla="*/ 36 w 132"/>
                <a:gd name="T11" fmla="*/ 24 h 83"/>
                <a:gd name="T12" fmla="*/ 40 w 132"/>
                <a:gd name="T13" fmla="*/ 24 h 83"/>
                <a:gd name="T14" fmla="*/ 45 w 132"/>
                <a:gd name="T15" fmla="*/ 24 h 83"/>
                <a:gd name="T16" fmla="*/ 49 w 132"/>
                <a:gd name="T17" fmla="*/ 24 h 83"/>
                <a:gd name="T18" fmla="*/ 56 w 132"/>
                <a:gd name="T19" fmla="*/ 20 h 83"/>
                <a:gd name="T20" fmla="*/ 58 w 132"/>
                <a:gd name="T21" fmla="*/ 18 h 83"/>
                <a:gd name="T22" fmla="*/ 63 w 132"/>
                <a:gd name="T23" fmla="*/ 15 h 83"/>
                <a:gd name="T24" fmla="*/ 65 w 132"/>
                <a:gd name="T25" fmla="*/ 13 h 83"/>
                <a:gd name="T26" fmla="*/ 67 w 132"/>
                <a:gd name="T27" fmla="*/ 15 h 83"/>
                <a:gd name="T28" fmla="*/ 69 w 132"/>
                <a:gd name="T29" fmla="*/ 15 h 83"/>
                <a:gd name="T30" fmla="*/ 74 w 132"/>
                <a:gd name="T31" fmla="*/ 15 h 83"/>
                <a:gd name="T32" fmla="*/ 78 w 132"/>
                <a:gd name="T33" fmla="*/ 18 h 83"/>
                <a:gd name="T34" fmla="*/ 83 w 132"/>
                <a:gd name="T35" fmla="*/ 18 h 83"/>
                <a:gd name="T36" fmla="*/ 87 w 132"/>
                <a:gd name="T37" fmla="*/ 15 h 83"/>
                <a:gd name="T38" fmla="*/ 87 w 132"/>
                <a:gd name="T39" fmla="*/ 13 h 83"/>
                <a:gd name="T40" fmla="*/ 94 w 132"/>
                <a:gd name="T41" fmla="*/ 9 h 83"/>
                <a:gd name="T42" fmla="*/ 99 w 132"/>
                <a:gd name="T43" fmla="*/ 6 h 83"/>
                <a:gd name="T44" fmla="*/ 105 w 132"/>
                <a:gd name="T45" fmla="*/ 9 h 83"/>
                <a:gd name="T46" fmla="*/ 114 w 132"/>
                <a:gd name="T47" fmla="*/ 6 h 83"/>
                <a:gd name="T48" fmla="*/ 117 w 132"/>
                <a:gd name="T49" fmla="*/ 6 h 83"/>
                <a:gd name="T50" fmla="*/ 117 w 132"/>
                <a:gd name="T51" fmla="*/ 4 h 83"/>
                <a:gd name="T52" fmla="*/ 121 w 132"/>
                <a:gd name="T53" fmla="*/ 4 h 83"/>
                <a:gd name="T54" fmla="*/ 126 w 132"/>
                <a:gd name="T55" fmla="*/ 4 h 83"/>
                <a:gd name="T56" fmla="*/ 130 w 132"/>
                <a:gd name="T57" fmla="*/ 4 h 83"/>
                <a:gd name="T58" fmla="*/ 130 w 132"/>
                <a:gd name="T59" fmla="*/ 22 h 83"/>
                <a:gd name="T60" fmla="*/ 132 w 132"/>
                <a:gd name="T61" fmla="*/ 38 h 83"/>
                <a:gd name="T62" fmla="*/ 130 w 132"/>
                <a:gd name="T63" fmla="*/ 51 h 83"/>
                <a:gd name="T64" fmla="*/ 123 w 132"/>
                <a:gd name="T65" fmla="*/ 65 h 83"/>
                <a:gd name="T66" fmla="*/ 117 w 132"/>
                <a:gd name="T67" fmla="*/ 78 h 83"/>
                <a:gd name="T68" fmla="*/ 101 w 132"/>
                <a:gd name="T69" fmla="*/ 83 h 83"/>
                <a:gd name="T70" fmla="*/ 87 w 132"/>
                <a:gd name="T71" fmla="*/ 81 h 83"/>
                <a:gd name="T72" fmla="*/ 76 w 132"/>
                <a:gd name="T73" fmla="*/ 76 h 83"/>
                <a:gd name="T74" fmla="*/ 67 w 132"/>
                <a:gd name="T75" fmla="*/ 72 h 83"/>
                <a:gd name="T76" fmla="*/ 58 w 132"/>
                <a:gd name="T77" fmla="*/ 69 h 83"/>
                <a:gd name="T78" fmla="*/ 47 w 132"/>
                <a:gd name="T79" fmla="*/ 65 h 83"/>
                <a:gd name="T80" fmla="*/ 36 w 132"/>
                <a:gd name="T81" fmla="*/ 60 h 83"/>
                <a:gd name="T82" fmla="*/ 24 w 132"/>
                <a:gd name="T83" fmla="*/ 54 h 83"/>
                <a:gd name="T84" fmla="*/ 20 w 132"/>
                <a:gd name="T85" fmla="*/ 51 h 83"/>
                <a:gd name="T86" fmla="*/ 15 w 132"/>
                <a:gd name="T87" fmla="*/ 47 h 83"/>
                <a:gd name="T88" fmla="*/ 13 w 132"/>
                <a:gd name="T89" fmla="*/ 45 h 83"/>
                <a:gd name="T90" fmla="*/ 11 w 132"/>
                <a:gd name="T91" fmla="*/ 38 h 83"/>
                <a:gd name="T92" fmla="*/ 9 w 132"/>
                <a:gd name="T93" fmla="*/ 36 h 83"/>
                <a:gd name="T94" fmla="*/ 4 w 132"/>
                <a:gd name="T95" fmla="*/ 29 h 83"/>
                <a:gd name="T96" fmla="*/ 0 w 132"/>
                <a:gd name="T97" fmla="*/ 22 h 83"/>
                <a:gd name="T98" fmla="*/ 0 w 132"/>
                <a:gd name="T99" fmla="*/ 20 h 83"/>
                <a:gd name="T100" fmla="*/ 2 w 132"/>
                <a:gd name="T101" fmla="*/ 15 h 83"/>
                <a:gd name="T102" fmla="*/ 4 w 132"/>
                <a:gd name="T103" fmla="*/ 13 h 83"/>
                <a:gd name="T104" fmla="*/ 11 w 132"/>
                <a:gd name="T10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2" h="83">
                  <a:moveTo>
                    <a:pt x="13" y="0"/>
                  </a:moveTo>
                  <a:lnTo>
                    <a:pt x="13" y="0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8" y="2"/>
                  </a:lnTo>
                  <a:lnTo>
                    <a:pt x="15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1"/>
                  </a:lnTo>
                  <a:lnTo>
                    <a:pt x="22" y="13"/>
                  </a:lnTo>
                  <a:lnTo>
                    <a:pt x="24" y="15"/>
                  </a:lnTo>
                  <a:lnTo>
                    <a:pt x="27" y="18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1" y="22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7" y="15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9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8"/>
                  </a:lnTo>
                  <a:lnTo>
                    <a:pt x="130" y="22"/>
                  </a:lnTo>
                  <a:lnTo>
                    <a:pt x="132" y="24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2" y="33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5"/>
                  </a:lnTo>
                  <a:lnTo>
                    <a:pt x="132" y="47"/>
                  </a:lnTo>
                  <a:lnTo>
                    <a:pt x="130" y="49"/>
                  </a:lnTo>
                  <a:lnTo>
                    <a:pt x="130" y="51"/>
                  </a:lnTo>
                  <a:lnTo>
                    <a:pt x="128" y="54"/>
                  </a:lnTo>
                  <a:lnTo>
                    <a:pt x="128" y="56"/>
                  </a:lnTo>
                  <a:lnTo>
                    <a:pt x="126" y="58"/>
                  </a:lnTo>
                  <a:lnTo>
                    <a:pt x="126" y="60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1" y="67"/>
                  </a:lnTo>
                  <a:lnTo>
                    <a:pt x="121" y="69"/>
                  </a:lnTo>
                  <a:lnTo>
                    <a:pt x="119" y="72"/>
                  </a:lnTo>
                  <a:lnTo>
                    <a:pt x="119" y="74"/>
                  </a:lnTo>
                  <a:lnTo>
                    <a:pt x="117" y="76"/>
                  </a:lnTo>
                  <a:lnTo>
                    <a:pt x="117" y="78"/>
                  </a:lnTo>
                  <a:lnTo>
                    <a:pt x="114" y="81"/>
                  </a:lnTo>
                  <a:lnTo>
                    <a:pt x="112" y="83"/>
                  </a:lnTo>
                  <a:lnTo>
                    <a:pt x="110" y="83"/>
                  </a:lnTo>
                  <a:lnTo>
                    <a:pt x="105" y="83"/>
                  </a:lnTo>
                  <a:lnTo>
                    <a:pt x="103" y="83"/>
                  </a:lnTo>
                  <a:lnTo>
                    <a:pt x="101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0" y="81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5" y="78"/>
                  </a:lnTo>
                  <a:lnTo>
                    <a:pt x="83" y="78"/>
                  </a:lnTo>
                  <a:lnTo>
                    <a:pt x="81" y="78"/>
                  </a:lnTo>
                  <a:lnTo>
                    <a:pt x="78" y="78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4" y="76"/>
                  </a:lnTo>
                  <a:lnTo>
                    <a:pt x="72" y="74"/>
                  </a:lnTo>
                  <a:lnTo>
                    <a:pt x="69" y="74"/>
                  </a:lnTo>
                  <a:lnTo>
                    <a:pt x="67" y="74"/>
                  </a:lnTo>
                  <a:lnTo>
                    <a:pt x="67" y="72"/>
                  </a:lnTo>
                  <a:lnTo>
                    <a:pt x="65" y="72"/>
                  </a:lnTo>
                  <a:lnTo>
                    <a:pt x="63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4" y="67"/>
                  </a:lnTo>
                  <a:lnTo>
                    <a:pt x="51" y="67"/>
                  </a:lnTo>
                  <a:lnTo>
                    <a:pt x="49" y="67"/>
                  </a:lnTo>
                  <a:lnTo>
                    <a:pt x="49" y="65"/>
                  </a:lnTo>
                  <a:lnTo>
                    <a:pt x="47" y="65"/>
                  </a:lnTo>
                  <a:lnTo>
                    <a:pt x="45" y="65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6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7" y="56"/>
                  </a:lnTo>
                  <a:lnTo>
                    <a:pt x="24" y="54"/>
                  </a:lnTo>
                  <a:lnTo>
                    <a:pt x="22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5" y="49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498"/>
            <p:cNvSpPr>
              <a:spLocks/>
            </p:cNvSpPr>
            <p:nvPr/>
          </p:nvSpPr>
          <p:spPr bwMode="auto">
            <a:xfrm>
              <a:off x="7081664" y="3491067"/>
              <a:ext cx="361028" cy="544885"/>
            </a:xfrm>
            <a:custGeom>
              <a:avLst/>
              <a:gdLst>
                <a:gd name="T0" fmla="*/ 211 w 216"/>
                <a:gd name="T1" fmla="*/ 3 h 326"/>
                <a:gd name="T2" fmla="*/ 207 w 216"/>
                <a:gd name="T3" fmla="*/ 12 h 326"/>
                <a:gd name="T4" fmla="*/ 207 w 216"/>
                <a:gd name="T5" fmla="*/ 18 h 326"/>
                <a:gd name="T6" fmla="*/ 209 w 216"/>
                <a:gd name="T7" fmla="*/ 30 h 326"/>
                <a:gd name="T8" fmla="*/ 207 w 216"/>
                <a:gd name="T9" fmla="*/ 36 h 326"/>
                <a:gd name="T10" fmla="*/ 211 w 216"/>
                <a:gd name="T11" fmla="*/ 36 h 326"/>
                <a:gd name="T12" fmla="*/ 211 w 216"/>
                <a:gd name="T13" fmla="*/ 34 h 326"/>
                <a:gd name="T14" fmla="*/ 214 w 216"/>
                <a:gd name="T15" fmla="*/ 36 h 326"/>
                <a:gd name="T16" fmla="*/ 214 w 216"/>
                <a:gd name="T17" fmla="*/ 39 h 326"/>
                <a:gd name="T18" fmla="*/ 211 w 216"/>
                <a:gd name="T19" fmla="*/ 36 h 326"/>
                <a:gd name="T20" fmla="*/ 205 w 216"/>
                <a:gd name="T21" fmla="*/ 48 h 326"/>
                <a:gd name="T22" fmla="*/ 203 w 216"/>
                <a:gd name="T23" fmla="*/ 54 h 326"/>
                <a:gd name="T24" fmla="*/ 200 w 216"/>
                <a:gd name="T25" fmla="*/ 63 h 326"/>
                <a:gd name="T26" fmla="*/ 196 w 216"/>
                <a:gd name="T27" fmla="*/ 72 h 326"/>
                <a:gd name="T28" fmla="*/ 194 w 216"/>
                <a:gd name="T29" fmla="*/ 84 h 326"/>
                <a:gd name="T30" fmla="*/ 185 w 216"/>
                <a:gd name="T31" fmla="*/ 95 h 326"/>
                <a:gd name="T32" fmla="*/ 182 w 216"/>
                <a:gd name="T33" fmla="*/ 104 h 326"/>
                <a:gd name="T34" fmla="*/ 169 w 216"/>
                <a:gd name="T35" fmla="*/ 133 h 326"/>
                <a:gd name="T36" fmla="*/ 153 w 216"/>
                <a:gd name="T37" fmla="*/ 165 h 326"/>
                <a:gd name="T38" fmla="*/ 119 w 216"/>
                <a:gd name="T39" fmla="*/ 214 h 326"/>
                <a:gd name="T40" fmla="*/ 113 w 216"/>
                <a:gd name="T41" fmla="*/ 221 h 326"/>
                <a:gd name="T42" fmla="*/ 101 w 216"/>
                <a:gd name="T43" fmla="*/ 232 h 326"/>
                <a:gd name="T44" fmla="*/ 70 w 216"/>
                <a:gd name="T45" fmla="*/ 255 h 326"/>
                <a:gd name="T46" fmla="*/ 65 w 216"/>
                <a:gd name="T47" fmla="*/ 259 h 326"/>
                <a:gd name="T48" fmla="*/ 54 w 216"/>
                <a:gd name="T49" fmla="*/ 270 h 326"/>
                <a:gd name="T50" fmla="*/ 34 w 216"/>
                <a:gd name="T51" fmla="*/ 293 h 326"/>
                <a:gd name="T52" fmla="*/ 32 w 216"/>
                <a:gd name="T53" fmla="*/ 295 h 326"/>
                <a:gd name="T54" fmla="*/ 27 w 216"/>
                <a:gd name="T55" fmla="*/ 302 h 326"/>
                <a:gd name="T56" fmla="*/ 25 w 216"/>
                <a:gd name="T57" fmla="*/ 306 h 326"/>
                <a:gd name="T58" fmla="*/ 23 w 216"/>
                <a:gd name="T59" fmla="*/ 306 h 326"/>
                <a:gd name="T60" fmla="*/ 23 w 216"/>
                <a:gd name="T61" fmla="*/ 309 h 326"/>
                <a:gd name="T62" fmla="*/ 21 w 216"/>
                <a:gd name="T63" fmla="*/ 313 h 326"/>
                <a:gd name="T64" fmla="*/ 18 w 216"/>
                <a:gd name="T65" fmla="*/ 313 h 326"/>
                <a:gd name="T66" fmla="*/ 14 w 216"/>
                <a:gd name="T67" fmla="*/ 324 h 326"/>
                <a:gd name="T68" fmla="*/ 7 w 216"/>
                <a:gd name="T69" fmla="*/ 315 h 326"/>
                <a:gd name="T70" fmla="*/ 0 w 216"/>
                <a:gd name="T71" fmla="*/ 300 h 326"/>
                <a:gd name="T72" fmla="*/ 0 w 216"/>
                <a:gd name="T73" fmla="*/ 273 h 326"/>
                <a:gd name="T74" fmla="*/ 0 w 216"/>
                <a:gd name="T75" fmla="*/ 241 h 326"/>
                <a:gd name="T76" fmla="*/ 3 w 216"/>
                <a:gd name="T77" fmla="*/ 216 h 326"/>
                <a:gd name="T78" fmla="*/ 18 w 216"/>
                <a:gd name="T79" fmla="*/ 194 h 326"/>
                <a:gd name="T80" fmla="*/ 25 w 216"/>
                <a:gd name="T81" fmla="*/ 185 h 326"/>
                <a:gd name="T82" fmla="*/ 41 w 216"/>
                <a:gd name="T83" fmla="*/ 178 h 326"/>
                <a:gd name="T84" fmla="*/ 56 w 216"/>
                <a:gd name="T85" fmla="*/ 169 h 326"/>
                <a:gd name="T86" fmla="*/ 70 w 216"/>
                <a:gd name="T87" fmla="*/ 167 h 326"/>
                <a:gd name="T88" fmla="*/ 83 w 216"/>
                <a:gd name="T89" fmla="*/ 169 h 326"/>
                <a:gd name="T90" fmla="*/ 101 w 216"/>
                <a:gd name="T91" fmla="*/ 144 h 326"/>
                <a:gd name="T92" fmla="*/ 115 w 216"/>
                <a:gd name="T93" fmla="*/ 129 h 326"/>
                <a:gd name="T94" fmla="*/ 126 w 216"/>
                <a:gd name="T95" fmla="*/ 117 h 326"/>
                <a:gd name="T96" fmla="*/ 137 w 216"/>
                <a:gd name="T97" fmla="*/ 104 h 326"/>
                <a:gd name="T98" fmla="*/ 149 w 216"/>
                <a:gd name="T99" fmla="*/ 90 h 326"/>
                <a:gd name="T100" fmla="*/ 160 w 216"/>
                <a:gd name="T101" fmla="*/ 66 h 326"/>
                <a:gd name="T102" fmla="*/ 164 w 216"/>
                <a:gd name="T103" fmla="*/ 39 h 326"/>
                <a:gd name="T104" fmla="*/ 169 w 216"/>
                <a:gd name="T105" fmla="*/ 16 h 326"/>
                <a:gd name="T106" fmla="*/ 173 w 216"/>
                <a:gd name="T107" fmla="*/ 14 h 326"/>
                <a:gd name="T108" fmla="*/ 178 w 216"/>
                <a:gd name="T109" fmla="*/ 12 h 326"/>
                <a:gd name="T110" fmla="*/ 185 w 216"/>
                <a:gd name="T111" fmla="*/ 12 h 326"/>
                <a:gd name="T112" fmla="*/ 189 w 216"/>
                <a:gd name="T113" fmla="*/ 9 h 326"/>
                <a:gd name="T114" fmla="*/ 196 w 216"/>
                <a:gd name="T115" fmla="*/ 3 h 326"/>
                <a:gd name="T116" fmla="*/ 198 w 216"/>
                <a:gd name="T117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6" h="326">
                  <a:moveTo>
                    <a:pt x="200" y="0"/>
                  </a:moveTo>
                  <a:lnTo>
                    <a:pt x="205" y="0"/>
                  </a:lnTo>
                  <a:lnTo>
                    <a:pt x="205" y="3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07" y="3"/>
                  </a:lnTo>
                  <a:lnTo>
                    <a:pt x="209" y="3"/>
                  </a:lnTo>
                  <a:lnTo>
                    <a:pt x="209" y="3"/>
                  </a:lnTo>
                  <a:lnTo>
                    <a:pt x="209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1" y="5"/>
                  </a:lnTo>
                  <a:lnTo>
                    <a:pt x="209" y="5"/>
                  </a:lnTo>
                  <a:lnTo>
                    <a:pt x="209" y="5"/>
                  </a:lnTo>
                  <a:lnTo>
                    <a:pt x="209" y="7"/>
                  </a:lnTo>
                  <a:lnTo>
                    <a:pt x="209" y="7"/>
                  </a:lnTo>
                  <a:lnTo>
                    <a:pt x="209" y="7"/>
                  </a:lnTo>
                  <a:lnTo>
                    <a:pt x="209" y="9"/>
                  </a:lnTo>
                  <a:lnTo>
                    <a:pt x="209" y="9"/>
                  </a:lnTo>
                  <a:lnTo>
                    <a:pt x="209" y="9"/>
                  </a:lnTo>
                  <a:lnTo>
                    <a:pt x="207" y="12"/>
                  </a:lnTo>
                  <a:lnTo>
                    <a:pt x="207" y="12"/>
                  </a:lnTo>
                  <a:lnTo>
                    <a:pt x="207" y="12"/>
                  </a:lnTo>
                  <a:lnTo>
                    <a:pt x="207" y="12"/>
                  </a:lnTo>
                  <a:lnTo>
                    <a:pt x="207" y="12"/>
                  </a:lnTo>
                  <a:lnTo>
                    <a:pt x="207" y="12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6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3"/>
                  </a:lnTo>
                  <a:lnTo>
                    <a:pt x="209" y="27"/>
                  </a:lnTo>
                  <a:lnTo>
                    <a:pt x="209" y="30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07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09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1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4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4" y="39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7" y="39"/>
                  </a:lnTo>
                  <a:lnTo>
                    <a:pt x="205" y="39"/>
                  </a:lnTo>
                  <a:lnTo>
                    <a:pt x="205" y="39"/>
                  </a:lnTo>
                  <a:lnTo>
                    <a:pt x="205" y="41"/>
                  </a:lnTo>
                  <a:lnTo>
                    <a:pt x="205" y="43"/>
                  </a:lnTo>
                  <a:lnTo>
                    <a:pt x="205" y="45"/>
                  </a:lnTo>
                  <a:lnTo>
                    <a:pt x="205" y="45"/>
                  </a:lnTo>
                  <a:lnTo>
                    <a:pt x="205" y="45"/>
                  </a:lnTo>
                  <a:lnTo>
                    <a:pt x="205" y="48"/>
                  </a:lnTo>
                  <a:lnTo>
                    <a:pt x="205" y="48"/>
                  </a:lnTo>
                  <a:lnTo>
                    <a:pt x="205" y="48"/>
                  </a:lnTo>
                  <a:lnTo>
                    <a:pt x="205" y="50"/>
                  </a:lnTo>
                  <a:lnTo>
                    <a:pt x="205" y="50"/>
                  </a:lnTo>
                  <a:lnTo>
                    <a:pt x="205" y="50"/>
                  </a:lnTo>
                  <a:lnTo>
                    <a:pt x="205" y="50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3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3" y="54"/>
                  </a:lnTo>
                  <a:lnTo>
                    <a:pt x="203" y="54"/>
                  </a:lnTo>
                  <a:lnTo>
                    <a:pt x="203" y="57"/>
                  </a:lnTo>
                  <a:lnTo>
                    <a:pt x="203" y="57"/>
                  </a:lnTo>
                  <a:lnTo>
                    <a:pt x="203" y="57"/>
                  </a:lnTo>
                  <a:lnTo>
                    <a:pt x="205" y="59"/>
                  </a:lnTo>
                  <a:lnTo>
                    <a:pt x="205" y="59"/>
                  </a:lnTo>
                  <a:lnTo>
                    <a:pt x="205" y="61"/>
                  </a:lnTo>
                  <a:lnTo>
                    <a:pt x="205" y="61"/>
                  </a:lnTo>
                  <a:lnTo>
                    <a:pt x="203" y="63"/>
                  </a:lnTo>
                  <a:lnTo>
                    <a:pt x="203" y="63"/>
                  </a:lnTo>
                  <a:lnTo>
                    <a:pt x="200" y="63"/>
                  </a:lnTo>
                  <a:lnTo>
                    <a:pt x="200" y="63"/>
                  </a:lnTo>
                  <a:lnTo>
                    <a:pt x="200" y="63"/>
                  </a:lnTo>
                  <a:lnTo>
                    <a:pt x="200" y="66"/>
                  </a:lnTo>
                  <a:lnTo>
                    <a:pt x="200" y="66"/>
                  </a:lnTo>
                  <a:lnTo>
                    <a:pt x="200" y="68"/>
                  </a:lnTo>
                  <a:lnTo>
                    <a:pt x="200" y="68"/>
                  </a:lnTo>
                  <a:lnTo>
                    <a:pt x="200" y="68"/>
                  </a:lnTo>
                  <a:lnTo>
                    <a:pt x="200" y="70"/>
                  </a:lnTo>
                  <a:lnTo>
                    <a:pt x="198" y="72"/>
                  </a:lnTo>
                  <a:lnTo>
                    <a:pt x="196" y="72"/>
                  </a:lnTo>
                  <a:lnTo>
                    <a:pt x="196" y="72"/>
                  </a:lnTo>
                  <a:lnTo>
                    <a:pt x="196" y="75"/>
                  </a:lnTo>
                  <a:lnTo>
                    <a:pt x="196" y="75"/>
                  </a:lnTo>
                  <a:lnTo>
                    <a:pt x="196" y="77"/>
                  </a:lnTo>
                  <a:lnTo>
                    <a:pt x="196" y="77"/>
                  </a:lnTo>
                  <a:lnTo>
                    <a:pt x="194" y="79"/>
                  </a:lnTo>
                  <a:lnTo>
                    <a:pt x="194" y="79"/>
                  </a:lnTo>
                  <a:lnTo>
                    <a:pt x="194" y="81"/>
                  </a:lnTo>
                  <a:lnTo>
                    <a:pt x="194" y="81"/>
                  </a:lnTo>
                  <a:lnTo>
                    <a:pt x="194" y="81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1" y="84"/>
                  </a:lnTo>
                  <a:lnTo>
                    <a:pt x="191" y="84"/>
                  </a:lnTo>
                  <a:lnTo>
                    <a:pt x="191" y="84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89" y="90"/>
                  </a:lnTo>
                  <a:lnTo>
                    <a:pt x="189" y="90"/>
                  </a:lnTo>
                  <a:lnTo>
                    <a:pt x="189" y="90"/>
                  </a:lnTo>
                  <a:lnTo>
                    <a:pt x="187" y="93"/>
                  </a:lnTo>
                  <a:lnTo>
                    <a:pt x="185" y="95"/>
                  </a:lnTo>
                  <a:lnTo>
                    <a:pt x="185" y="97"/>
                  </a:lnTo>
                  <a:lnTo>
                    <a:pt x="185" y="97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102"/>
                  </a:lnTo>
                  <a:lnTo>
                    <a:pt x="182" y="102"/>
                  </a:lnTo>
                  <a:lnTo>
                    <a:pt x="182" y="102"/>
                  </a:lnTo>
                  <a:lnTo>
                    <a:pt x="182" y="104"/>
                  </a:lnTo>
                  <a:lnTo>
                    <a:pt x="182" y="104"/>
                  </a:lnTo>
                  <a:lnTo>
                    <a:pt x="182" y="104"/>
                  </a:lnTo>
                  <a:lnTo>
                    <a:pt x="180" y="111"/>
                  </a:lnTo>
                  <a:lnTo>
                    <a:pt x="178" y="113"/>
                  </a:lnTo>
                  <a:lnTo>
                    <a:pt x="176" y="117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1" y="126"/>
                  </a:lnTo>
                  <a:lnTo>
                    <a:pt x="169" y="133"/>
                  </a:lnTo>
                  <a:lnTo>
                    <a:pt x="169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8"/>
                  </a:lnTo>
                  <a:lnTo>
                    <a:pt x="169" y="138"/>
                  </a:lnTo>
                  <a:lnTo>
                    <a:pt x="164" y="147"/>
                  </a:lnTo>
                  <a:lnTo>
                    <a:pt x="162" y="151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58" y="158"/>
                  </a:lnTo>
                  <a:lnTo>
                    <a:pt x="158" y="160"/>
                  </a:lnTo>
                  <a:lnTo>
                    <a:pt x="153" y="165"/>
                  </a:lnTo>
                  <a:lnTo>
                    <a:pt x="151" y="169"/>
                  </a:lnTo>
                  <a:lnTo>
                    <a:pt x="149" y="176"/>
                  </a:lnTo>
                  <a:lnTo>
                    <a:pt x="146" y="178"/>
                  </a:lnTo>
                  <a:lnTo>
                    <a:pt x="140" y="189"/>
                  </a:lnTo>
                  <a:lnTo>
                    <a:pt x="137" y="192"/>
                  </a:lnTo>
                  <a:lnTo>
                    <a:pt x="133" y="196"/>
                  </a:lnTo>
                  <a:lnTo>
                    <a:pt x="131" y="198"/>
                  </a:lnTo>
                  <a:lnTo>
                    <a:pt x="128" y="203"/>
                  </a:lnTo>
                  <a:lnTo>
                    <a:pt x="124" y="207"/>
                  </a:lnTo>
                  <a:lnTo>
                    <a:pt x="122" y="212"/>
                  </a:lnTo>
                  <a:lnTo>
                    <a:pt x="119" y="214"/>
                  </a:lnTo>
                  <a:lnTo>
                    <a:pt x="117" y="216"/>
                  </a:lnTo>
                  <a:lnTo>
                    <a:pt x="115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3" y="219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0" y="221"/>
                  </a:lnTo>
                  <a:lnTo>
                    <a:pt x="110" y="223"/>
                  </a:lnTo>
                  <a:lnTo>
                    <a:pt x="108" y="223"/>
                  </a:lnTo>
                  <a:lnTo>
                    <a:pt x="108" y="225"/>
                  </a:lnTo>
                  <a:lnTo>
                    <a:pt x="108" y="225"/>
                  </a:lnTo>
                  <a:lnTo>
                    <a:pt x="108" y="225"/>
                  </a:lnTo>
                  <a:lnTo>
                    <a:pt x="108" y="228"/>
                  </a:lnTo>
                  <a:lnTo>
                    <a:pt x="106" y="228"/>
                  </a:lnTo>
                  <a:lnTo>
                    <a:pt x="104" y="230"/>
                  </a:lnTo>
                  <a:lnTo>
                    <a:pt x="101" y="232"/>
                  </a:lnTo>
                  <a:lnTo>
                    <a:pt x="90" y="239"/>
                  </a:lnTo>
                  <a:lnTo>
                    <a:pt x="90" y="239"/>
                  </a:lnTo>
                  <a:lnTo>
                    <a:pt x="90" y="239"/>
                  </a:lnTo>
                  <a:lnTo>
                    <a:pt x="86" y="241"/>
                  </a:lnTo>
                  <a:lnTo>
                    <a:pt x="81" y="243"/>
                  </a:lnTo>
                  <a:lnTo>
                    <a:pt x="81" y="243"/>
                  </a:lnTo>
                  <a:lnTo>
                    <a:pt x="81" y="243"/>
                  </a:lnTo>
                  <a:lnTo>
                    <a:pt x="79" y="246"/>
                  </a:lnTo>
                  <a:lnTo>
                    <a:pt x="77" y="248"/>
                  </a:lnTo>
                  <a:lnTo>
                    <a:pt x="72" y="252"/>
                  </a:lnTo>
                  <a:lnTo>
                    <a:pt x="70" y="255"/>
                  </a:lnTo>
                  <a:lnTo>
                    <a:pt x="68" y="255"/>
                  </a:lnTo>
                  <a:lnTo>
                    <a:pt x="68" y="255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8" y="257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3" y="259"/>
                  </a:lnTo>
                  <a:lnTo>
                    <a:pt x="63" y="261"/>
                  </a:lnTo>
                  <a:lnTo>
                    <a:pt x="61" y="261"/>
                  </a:lnTo>
                  <a:lnTo>
                    <a:pt x="61" y="264"/>
                  </a:lnTo>
                  <a:lnTo>
                    <a:pt x="59" y="264"/>
                  </a:lnTo>
                  <a:lnTo>
                    <a:pt x="59" y="266"/>
                  </a:lnTo>
                  <a:lnTo>
                    <a:pt x="59" y="266"/>
                  </a:lnTo>
                  <a:lnTo>
                    <a:pt x="56" y="266"/>
                  </a:lnTo>
                  <a:lnTo>
                    <a:pt x="54" y="270"/>
                  </a:lnTo>
                  <a:lnTo>
                    <a:pt x="50" y="275"/>
                  </a:lnTo>
                  <a:lnTo>
                    <a:pt x="45" y="279"/>
                  </a:lnTo>
                  <a:lnTo>
                    <a:pt x="41" y="286"/>
                  </a:lnTo>
                  <a:lnTo>
                    <a:pt x="39" y="288"/>
                  </a:lnTo>
                  <a:lnTo>
                    <a:pt x="39" y="288"/>
                  </a:lnTo>
                  <a:lnTo>
                    <a:pt x="36" y="291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4" y="293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7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7"/>
                  </a:lnTo>
                  <a:lnTo>
                    <a:pt x="32" y="297"/>
                  </a:lnTo>
                  <a:lnTo>
                    <a:pt x="32" y="297"/>
                  </a:lnTo>
                  <a:lnTo>
                    <a:pt x="30" y="297"/>
                  </a:lnTo>
                  <a:lnTo>
                    <a:pt x="30" y="300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7" y="302"/>
                  </a:lnTo>
                  <a:lnTo>
                    <a:pt x="27" y="304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3" y="304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6"/>
                  </a:lnTo>
                  <a:lnTo>
                    <a:pt x="23" y="306"/>
                  </a:lnTo>
                  <a:lnTo>
                    <a:pt x="21" y="306"/>
                  </a:lnTo>
                  <a:lnTo>
                    <a:pt x="21" y="306"/>
                  </a:lnTo>
                  <a:lnTo>
                    <a:pt x="21" y="306"/>
                  </a:lnTo>
                  <a:lnTo>
                    <a:pt x="21" y="306"/>
                  </a:lnTo>
                  <a:lnTo>
                    <a:pt x="21" y="309"/>
                  </a:lnTo>
                  <a:lnTo>
                    <a:pt x="21" y="309"/>
                  </a:lnTo>
                  <a:lnTo>
                    <a:pt x="21" y="309"/>
                  </a:lnTo>
                  <a:lnTo>
                    <a:pt x="21" y="309"/>
                  </a:lnTo>
                  <a:lnTo>
                    <a:pt x="21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09"/>
                  </a:lnTo>
                  <a:lnTo>
                    <a:pt x="23" y="311"/>
                  </a:lnTo>
                  <a:lnTo>
                    <a:pt x="23" y="311"/>
                  </a:lnTo>
                  <a:lnTo>
                    <a:pt x="21" y="311"/>
                  </a:lnTo>
                  <a:lnTo>
                    <a:pt x="21" y="311"/>
                  </a:lnTo>
                  <a:lnTo>
                    <a:pt x="21" y="311"/>
                  </a:lnTo>
                  <a:lnTo>
                    <a:pt x="21" y="311"/>
                  </a:lnTo>
                  <a:lnTo>
                    <a:pt x="21" y="311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21" y="313"/>
                  </a:lnTo>
                  <a:lnTo>
                    <a:pt x="18" y="313"/>
                  </a:lnTo>
                  <a:lnTo>
                    <a:pt x="18" y="313"/>
                  </a:lnTo>
                  <a:lnTo>
                    <a:pt x="18" y="313"/>
                  </a:lnTo>
                  <a:lnTo>
                    <a:pt x="18" y="313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6" y="320"/>
                  </a:lnTo>
                  <a:lnTo>
                    <a:pt x="16" y="320"/>
                  </a:lnTo>
                  <a:lnTo>
                    <a:pt x="16" y="320"/>
                  </a:lnTo>
                  <a:lnTo>
                    <a:pt x="16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6"/>
                  </a:lnTo>
                  <a:lnTo>
                    <a:pt x="14" y="324"/>
                  </a:lnTo>
                  <a:lnTo>
                    <a:pt x="14" y="322"/>
                  </a:lnTo>
                  <a:lnTo>
                    <a:pt x="12" y="322"/>
                  </a:lnTo>
                  <a:lnTo>
                    <a:pt x="12" y="322"/>
                  </a:lnTo>
                  <a:lnTo>
                    <a:pt x="12" y="320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7" y="315"/>
                  </a:lnTo>
                  <a:lnTo>
                    <a:pt x="7" y="313"/>
                  </a:lnTo>
                  <a:lnTo>
                    <a:pt x="5" y="313"/>
                  </a:lnTo>
                  <a:lnTo>
                    <a:pt x="5" y="311"/>
                  </a:lnTo>
                  <a:lnTo>
                    <a:pt x="3" y="309"/>
                  </a:lnTo>
                  <a:lnTo>
                    <a:pt x="3" y="309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2"/>
                  </a:lnTo>
                  <a:lnTo>
                    <a:pt x="0" y="300"/>
                  </a:lnTo>
                  <a:lnTo>
                    <a:pt x="0" y="297"/>
                  </a:lnTo>
                  <a:lnTo>
                    <a:pt x="0" y="295"/>
                  </a:lnTo>
                  <a:lnTo>
                    <a:pt x="0" y="293"/>
                  </a:lnTo>
                  <a:lnTo>
                    <a:pt x="0" y="291"/>
                  </a:lnTo>
                  <a:lnTo>
                    <a:pt x="0" y="288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0" y="282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0" y="273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4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0" y="252"/>
                  </a:lnTo>
                  <a:lnTo>
                    <a:pt x="0" y="250"/>
                  </a:lnTo>
                  <a:lnTo>
                    <a:pt x="0" y="246"/>
                  </a:lnTo>
                  <a:lnTo>
                    <a:pt x="0" y="243"/>
                  </a:lnTo>
                  <a:lnTo>
                    <a:pt x="0" y="241"/>
                  </a:lnTo>
                  <a:lnTo>
                    <a:pt x="0" y="237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0"/>
                  </a:lnTo>
                  <a:lnTo>
                    <a:pt x="0" y="228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0" y="219"/>
                  </a:lnTo>
                  <a:lnTo>
                    <a:pt x="0" y="219"/>
                  </a:lnTo>
                  <a:lnTo>
                    <a:pt x="0" y="216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5" y="212"/>
                  </a:lnTo>
                  <a:lnTo>
                    <a:pt x="7" y="210"/>
                  </a:lnTo>
                  <a:lnTo>
                    <a:pt x="9" y="210"/>
                  </a:lnTo>
                  <a:lnTo>
                    <a:pt x="9" y="207"/>
                  </a:lnTo>
                  <a:lnTo>
                    <a:pt x="9" y="205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4" y="198"/>
                  </a:lnTo>
                  <a:lnTo>
                    <a:pt x="16" y="196"/>
                  </a:lnTo>
                  <a:lnTo>
                    <a:pt x="18" y="194"/>
                  </a:lnTo>
                  <a:lnTo>
                    <a:pt x="18" y="189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21" y="189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3" y="187"/>
                  </a:lnTo>
                  <a:lnTo>
                    <a:pt x="23" y="185"/>
                  </a:lnTo>
                  <a:lnTo>
                    <a:pt x="23" y="185"/>
                  </a:lnTo>
                  <a:lnTo>
                    <a:pt x="25" y="185"/>
                  </a:lnTo>
                  <a:lnTo>
                    <a:pt x="27" y="185"/>
                  </a:lnTo>
                  <a:lnTo>
                    <a:pt x="27" y="185"/>
                  </a:lnTo>
                  <a:lnTo>
                    <a:pt x="30" y="185"/>
                  </a:lnTo>
                  <a:lnTo>
                    <a:pt x="34" y="185"/>
                  </a:lnTo>
                  <a:lnTo>
                    <a:pt x="36" y="183"/>
                  </a:lnTo>
                  <a:lnTo>
                    <a:pt x="39" y="183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3" y="176"/>
                  </a:lnTo>
                  <a:lnTo>
                    <a:pt x="45" y="174"/>
                  </a:lnTo>
                  <a:lnTo>
                    <a:pt x="47" y="174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4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9" y="169"/>
                  </a:lnTo>
                  <a:lnTo>
                    <a:pt x="61" y="167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8" y="167"/>
                  </a:lnTo>
                  <a:lnTo>
                    <a:pt x="68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2" y="167"/>
                  </a:lnTo>
                  <a:lnTo>
                    <a:pt x="72" y="167"/>
                  </a:lnTo>
                  <a:lnTo>
                    <a:pt x="74" y="167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77" y="167"/>
                  </a:lnTo>
                  <a:lnTo>
                    <a:pt x="79" y="169"/>
                  </a:lnTo>
                  <a:lnTo>
                    <a:pt x="79" y="169"/>
                  </a:lnTo>
                  <a:lnTo>
                    <a:pt x="81" y="169"/>
                  </a:lnTo>
                  <a:lnTo>
                    <a:pt x="81" y="169"/>
                  </a:lnTo>
                  <a:lnTo>
                    <a:pt x="83" y="169"/>
                  </a:lnTo>
                  <a:lnTo>
                    <a:pt x="83" y="169"/>
                  </a:lnTo>
                  <a:lnTo>
                    <a:pt x="86" y="167"/>
                  </a:lnTo>
                  <a:lnTo>
                    <a:pt x="86" y="167"/>
                  </a:lnTo>
                  <a:lnTo>
                    <a:pt x="86" y="165"/>
                  </a:lnTo>
                  <a:lnTo>
                    <a:pt x="88" y="162"/>
                  </a:lnTo>
                  <a:lnTo>
                    <a:pt x="90" y="158"/>
                  </a:lnTo>
                  <a:lnTo>
                    <a:pt x="92" y="156"/>
                  </a:lnTo>
                  <a:lnTo>
                    <a:pt x="95" y="153"/>
                  </a:lnTo>
                  <a:lnTo>
                    <a:pt x="97" y="151"/>
                  </a:lnTo>
                  <a:lnTo>
                    <a:pt x="99" y="149"/>
                  </a:lnTo>
                  <a:lnTo>
                    <a:pt x="101" y="144"/>
                  </a:lnTo>
                  <a:lnTo>
                    <a:pt x="104" y="142"/>
                  </a:lnTo>
                  <a:lnTo>
                    <a:pt x="104" y="140"/>
                  </a:lnTo>
                  <a:lnTo>
                    <a:pt x="106" y="140"/>
                  </a:lnTo>
                  <a:lnTo>
                    <a:pt x="108" y="138"/>
                  </a:lnTo>
                  <a:lnTo>
                    <a:pt x="108" y="135"/>
                  </a:lnTo>
                  <a:lnTo>
                    <a:pt x="110" y="135"/>
                  </a:lnTo>
                  <a:lnTo>
                    <a:pt x="110" y="133"/>
                  </a:lnTo>
                  <a:lnTo>
                    <a:pt x="113" y="131"/>
                  </a:lnTo>
                  <a:lnTo>
                    <a:pt x="113" y="131"/>
                  </a:lnTo>
                  <a:lnTo>
                    <a:pt x="115" y="129"/>
                  </a:lnTo>
                  <a:lnTo>
                    <a:pt x="115" y="129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2"/>
                  </a:lnTo>
                  <a:lnTo>
                    <a:pt x="122" y="122"/>
                  </a:lnTo>
                  <a:lnTo>
                    <a:pt x="122" y="120"/>
                  </a:lnTo>
                  <a:lnTo>
                    <a:pt x="124" y="120"/>
                  </a:lnTo>
                  <a:lnTo>
                    <a:pt x="124" y="117"/>
                  </a:lnTo>
                  <a:lnTo>
                    <a:pt x="126" y="117"/>
                  </a:lnTo>
                  <a:lnTo>
                    <a:pt x="126" y="115"/>
                  </a:lnTo>
                  <a:lnTo>
                    <a:pt x="128" y="115"/>
                  </a:lnTo>
                  <a:lnTo>
                    <a:pt x="128" y="113"/>
                  </a:lnTo>
                  <a:lnTo>
                    <a:pt x="128" y="113"/>
                  </a:lnTo>
                  <a:lnTo>
                    <a:pt x="131" y="111"/>
                  </a:lnTo>
                  <a:lnTo>
                    <a:pt x="131" y="111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40" y="102"/>
                  </a:lnTo>
                  <a:lnTo>
                    <a:pt x="140" y="99"/>
                  </a:lnTo>
                  <a:lnTo>
                    <a:pt x="142" y="99"/>
                  </a:lnTo>
                  <a:lnTo>
                    <a:pt x="142" y="97"/>
                  </a:lnTo>
                  <a:lnTo>
                    <a:pt x="144" y="97"/>
                  </a:lnTo>
                  <a:lnTo>
                    <a:pt x="144" y="95"/>
                  </a:lnTo>
                  <a:lnTo>
                    <a:pt x="144" y="95"/>
                  </a:lnTo>
                  <a:lnTo>
                    <a:pt x="146" y="93"/>
                  </a:lnTo>
                  <a:lnTo>
                    <a:pt x="149" y="90"/>
                  </a:lnTo>
                  <a:lnTo>
                    <a:pt x="149" y="88"/>
                  </a:lnTo>
                  <a:lnTo>
                    <a:pt x="151" y="86"/>
                  </a:lnTo>
                  <a:lnTo>
                    <a:pt x="151" y="84"/>
                  </a:lnTo>
                  <a:lnTo>
                    <a:pt x="153" y="81"/>
                  </a:lnTo>
                  <a:lnTo>
                    <a:pt x="153" y="79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8" y="72"/>
                  </a:lnTo>
                  <a:lnTo>
                    <a:pt x="158" y="70"/>
                  </a:lnTo>
                  <a:lnTo>
                    <a:pt x="160" y="68"/>
                  </a:lnTo>
                  <a:lnTo>
                    <a:pt x="160" y="66"/>
                  </a:lnTo>
                  <a:lnTo>
                    <a:pt x="162" y="63"/>
                  </a:lnTo>
                  <a:lnTo>
                    <a:pt x="162" y="61"/>
                  </a:lnTo>
                  <a:lnTo>
                    <a:pt x="164" y="59"/>
                  </a:lnTo>
                  <a:lnTo>
                    <a:pt x="164" y="57"/>
                  </a:lnTo>
                  <a:lnTo>
                    <a:pt x="164" y="54"/>
                  </a:lnTo>
                  <a:lnTo>
                    <a:pt x="164" y="52"/>
                  </a:lnTo>
                  <a:lnTo>
                    <a:pt x="164" y="50"/>
                  </a:lnTo>
                  <a:lnTo>
                    <a:pt x="164" y="45"/>
                  </a:lnTo>
                  <a:lnTo>
                    <a:pt x="164" y="43"/>
                  </a:lnTo>
                  <a:lnTo>
                    <a:pt x="164" y="41"/>
                  </a:lnTo>
                  <a:lnTo>
                    <a:pt x="164" y="39"/>
                  </a:lnTo>
                  <a:lnTo>
                    <a:pt x="164" y="36"/>
                  </a:lnTo>
                  <a:lnTo>
                    <a:pt x="162" y="34"/>
                  </a:lnTo>
                  <a:lnTo>
                    <a:pt x="162" y="30"/>
                  </a:lnTo>
                  <a:lnTo>
                    <a:pt x="162" y="27"/>
                  </a:lnTo>
                  <a:lnTo>
                    <a:pt x="162" y="25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2" y="16"/>
                  </a:lnTo>
                  <a:lnTo>
                    <a:pt x="164" y="16"/>
                  </a:lnTo>
                  <a:lnTo>
                    <a:pt x="167" y="16"/>
                  </a:lnTo>
                  <a:lnTo>
                    <a:pt x="169" y="16"/>
                  </a:lnTo>
                  <a:lnTo>
                    <a:pt x="169" y="16"/>
                  </a:lnTo>
                  <a:lnTo>
                    <a:pt x="169" y="14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71" y="14"/>
                  </a:lnTo>
                  <a:lnTo>
                    <a:pt x="171" y="16"/>
                  </a:lnTo>
                  <a:lnTo>
                    <a:pt x="171" y="14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6" y="14"/>
                  </a:lnTo>
                  <a:lnTo>
                    <a:pt x="176" y="12"/>
                  </a:lnTo>
                  <a:lnTo>
                    <a:pt x="176" y="12"/>
                  </a:lnTo>
                  <a:lnTo>
                    <a:pt x="176" y="12"/>
                  </a:lnTo>
                  <a:lnTo>
                    <a:pt x="176" y="12"/>
                  </a:lnTo>
                  <a:lnTo>
                    <a:pt x="178" y="12"/>
                  </a:lnTo>
                  <a:lnTo>
                    <a:pt x="178" y="12"/>
                  </a:lnTo>
                  <a:lnTo>
                    <a:pt x="178" y="12"/>
                  </a:lnTo>
                  <a:lnTo>
                    <a:pt x="178" y="12"/>
                  </a:lnTo>
                  <a:lnTo>
                    <a:pt x="178" y="12"/>
                  </a:lnTo>
                  <a:lnTo>
                    <a:pt x="178" y="12"/>
                  </a:lnTo>
                  <a:lnTo>
                    <a:pt x="180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2" y="12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7" y="12"/>
                  </a:lnTo>
                  <a:lnTo>
                    <a:pt x="187" y="9"/>
                  </a:lnTo>
                  <a:lnTo>
                    <a:pt x="187" y="9"/>
                  </a:lnTo>
                  <a:lnTo>
                    <a:pt x="187" y="9"/>
                  </a:lnTo>
                  <a:lnTo>
                    <a:pt x="189" y="9"/>
                  </a:lnTo>
                  <a:lnTo>
                    <a:pt x="189" y="9"/>
                  </a:lnTo>
                  <a:lnTo>
                    <a:pt x="189" y="9"/>
                  </a:lnTo>
                  <a:lnTo>
                    <a:pt x="189" y="9"/>
                  </a:lnTo>
                  <a:lnTo>
                    <a:pt x="189" y="9"/>
                  </a:lnTo>
                  <a:lnTo>
                    <a:pt x="191" y="9"/>
                  </a:lnTo>
                  <a:lnTo>
                    <a:pt x="191" y="7"/>
                  </a:lnTo>
                  <a:lnTo>
                    <a:pt x="194" y="7"/>
                  </a:lnTo>
                  <a:lnTo>
                    <a:pt x="194" y="7"/>
                  </a:lnTo>
                  <a:lnTo>
                    <a:pt x="194" y="5"/>
                  </a:lnTo>
                  <a:lnTo>
                    <a:pt x="194" y="5"/>
                  </a:lnTo>
                  <a:lnTo>
                    <a:pt x="196" y="5"/>
                  </a:lnTo>
                  <a:lnTo>
                    <a:pt x="196" y="5"/>
                  </a:lnTo>
                  <a:lnTo>
                    <a:pt x="196" y="3"/>
                  </a:lnTo>
                  <a:lnTo>
                    <a:pt x="196" y="3"/>
                  </a:lnTo>
                  <a:lnTo>
                    <a:pt x="196" y="3"/>
                  </a:lnTo>
                  <a:lnTo>
                    <a:pt x="196" y="3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0" y="0"/>
                  </a:lnTo>
                  <a:lnTo>
                    <a:pt x="20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Freeform 499"/>
            <p:cNvSpPr>
              <a:spLocks noEditPoints="1"/>
            </p:cNvSpPr>
            <p:nvPr/>
          </p:nvSpPr>
          <p:spPr bwMode="auto">
            <a:xfrm>
              <a:off x="11093084" y="4228166"/>
              <a:ext cx="442928" cy="228985"/>
            </a:xfrm>
            <a:custGeom>
              <a:avLst/>
              <a:gdLst>
                <a:gd name="T0" fmla="*/ 224 w 265"/>
                <a:gd name="T1" fmla="*/ 119 h 137"/>
                <a:gd name="T2" fmla="*/ 92 w 265"/>
                <a:gd name="T3" fmla="*/ 126 h 137"/>
                <a:gd name="T4" fmla="*/ 85 w 265"/>
                <a:gd name="T5" fmla="*/ 119 h 137"/>
                <a:gd name="T6" fmla="*/ 81 w 265"/>
                <a:gd name="T7" fmla="*/ 113 h 137"/>
                <a:gd name="T8" fmla="*/ 213 w 265"/>
                <a:gd name="T9" fmla="*/ 99 h 137"/>
                <a:gd name="T10" fmla="*/ 209 w 265"/>
                <a:gd name="T11" fmla="*/ 99 h 137"/>
                <a:gd name="T12" fmla="*/ 218 w 265"/>
                <a:gd name="T13" fmla="*/ 90 h 137"/>
                <a:gd name="T14" fmla="*/ 121 w 265"/>
                <a:gd name="T15" fmla="*/ 92 h 137"/>
                <a:gd name="T16" fmla="*/ 132 w 265"/>
                <a:gd name="T17" fmla="*/ 97 h 137"/>
                <a:gd name="T18" fmla="*/ 128 w 265"/>
                <a:gd name="T19" fmla="*/ 101 h 137"/>
                <a:gd name="T20" fmla="*/ 121 w 265"/>
                <a:gd name="T21" fmla="*/ 99 h 137"/>
                <a:gd name="T22" fmla="*/ 116 w 265"/>
                <a:gd name="T23" fmla="*/ 92 h 137"/>
                <a:gd name="T24" fmla="*/ 114 w 265"/>
                <a:gd name="T25" fmla="*/ 88 h 137"/>
                <a:gd name="T26" fmla="*/ 128 w 265"/>
                <a:gd name="T27" fmla="*/ 77 h 137"/>
                <a:gd name="T28" fmla="*/ 121 w 265"/>
                <a:gd name="T29" fmla="*/ 72 h 137"/>
                <a:gd name="T30" fmla="*/ 92 w 265"/>
                <a:gd name="T31" fmla="*/ 68 h 137"/>
                <a:gd name="T32" fmla="*/ 103 w 265"/>
                <a:gd name="T33" fmla="*/ 74 h 137"/>
                <a:gd name="T34" fmla="*/ 96 w 265"/>
                <a:gd name="T35" fmla="*/ 79 h 137"/>
                <a:gd name="T36" fmla="*/ 81 w 265"/>
                <a:gd name="T37" fmla="*/ 74 h 137"/>
                <a:gd name="T38" fmla="*/ 85 w 265"/>
                <a:gd name="T39" fmla="*/ 68 h 137"/>
                <a:gd name="T40" fmla="*/ 94 w 265"/>
                <a:gd name="T41" fmla="*/ 63 h 137"/>
                <a:gd name="T42" fmla="*/ 74 w 265"/>
                <a:gd name="T43" fmla="*/ 59 h 137"/>
                <a:gd name="T44" fmla="*/ 92 w 265"/>
                <a:gd name="T45" fmla="*/ 61 h 137"/>
                <a:gd name="T46" fmla="*/ 69 w 265"/>
                <a:gd name="T47" fmla="*/ 61 h 137"/>
                <a:gd name="T48" fmla="*/ 40 w 265"/>
                <a:gd name="T49" fmla="*/ 52 h 137"/>
                <a:gd name="T50" fmla="*/ 54 w 265"/>
                <a:gd name="T51" fmla="*/ 52 h 137"/>
                <a:gd name="T52" fmla="*/ 51 w 265"/>
                <a:gd name="T53" fmla="*/ 50 h 137"/>
                <a:gd name="T54" fmla="*/ 47 w 265"/>
                <a:gd name="T55" fmla="*/ 47 h 137"/>
                <a:gd name="T56" fmla="*/ 36 w 265"/>
                <a:gd name="T57" fmla="*/ 52 h 137"/>
                <a:gd name="T58" fmla="*/ 36 w 265"/>
                <a:gd name="T59" fmla="*/ 47 h 137"/>
                <a:gd name="T60" fmla="*/ 148 w 265"/>
                <a:gd name="T61" fmla="*/ 43 h 137"/>
                <a:gd name="T62" fmla="*/ 110 w 265"/>
                <a:gd name="T63" fmla="*/ 63 h 137"/>
                <a:gd name="T64" fmla="*/ 105 w 265"/>
                <a:gd name="T65" fmla="*/ 43 h 137"/>
                <a:gd name="T66" fmla="*/ 110 w 265"/>
                <a:gd name="T67" fmla="*/ 52 h 137"/>
                <a:gd name="T68" fmla="*/ 114 w 265"/>
                <a:gd name="T69" fmla="*/ 59 h 137"/>
                <a:gd name="T70" fmla="*/ 114 w 265"/>
                <a:gd name="T71" fmla="*/ 65 h 137"/>
                <a:gd name="T72" fmla="*/ 31 w 265"/>
                <a:gd name="T73" fmla="*/ 38 h 137"/>
                <a:gd name="T74" fmla="*/ 42 w 265"/>
                <a:gd name="T75" fmla="*/ 41 h 137"/>
                <a:gd name="T76" fmla="*/ 47 w 265"/>
                <a:gd name="T77" fmla="*/ 47 h 137"/>
                <a:gd name="T78" fmla="*/ 40 w 265"/>
                <a:gd name="T79" fmla="*/ 43 h 137"/>
                <a:gd name="T80" fmla="*/ 33 w 265"/>
                <a:gd name="T81" fmla="*/ 43 h 137"/>
                <a:gd name="T82" fmla="*/ 42 w 265"/>
                <a:gd name="T83" fmla="*/ 36 h 137"/>
                <a:gd name="T84" fmla="*/ 105 w 265"/>
                <a:gd name="T85" fmla="*/ 32 h 137"/>
                <a:gd name="T86" fmla="*/ 33 w 265"/>
                <a:gd name="T87" fmla="*/ 36 h 137"/>
                <a:gd name="T88" fmla="*/ 24 w 265"/>
                <a:gd name="T89" fmla="*/ 29 h 137"/>
                <a:gd name="T90" fmla="*/ 20 w 265"/>
                <a:gd name="T91" fmla="*/ 27 h 137"/>
                <a:gd name="T92" fmla="*/ 58 w 265"/>
                <a:gd name="T93" fmla="*/ 25 h 137"/>
                <a:gd name="T94" fmla="*/ 67 w 265"/>
                <a:gd name="T95" fmla="*/ 25 h 137"/>
                <a:gd name="T96" fmla="*/ 76 w 265"/>
                <a:gd name="T97" fmla="*/ 34 h 137"/>
                <a:gd name="T98" fmla="*/ 87 w 265"/>
                <a:gd name="T99" fmla="*/ 45 h 137"/>
                <a:gd name="T100" fmla="*/ 81 w 265"/>
                <a:gd name="T101" fmla="*/ 43 h 137"/>
                <a:gd name="T102" fmla="*/ 72 w 265"/>
                <a:gd name="T103" fmla="*/ 36 h 137"/>
                <a:gd name="T104" fmla="*/ 63 w 265"/>
                <a:gd name="T105" fmla="*/ 27 h 137"/>
                <a:gd name="T106" fmla="*/ 56 w 265"/>
                <a:gd name="T107" fmla="*/ 23 h 137"/>
                <a:gd name="T108" fmla="*/ 58 w 265"/>
                <a:gd name="T109" fmla="*/ 20 h 137"/>
                <a:gd name="T110" fmla="*/ 47 w 265"/>
                <a:gd name="T111" fmla="*/ 23 h 137"/>
                <a:gd name="T112" fmla="*/ 4 w 265"/>
                <a:gd name="T113" fmla="*/ 11 h 137"/>
                <a:gd name="T114" fmla="*/ 11 w 265"/>
                <a:gd name="T115" fmla="*/ 9 h 137"/>
                <a:gd name="T116" fmla="*/ 29 w 265"/>
                <a:gd name="T117" fmla="*/ 5 h 137"/>
                <a:gd name="T118" fmla="*/ 38 w 265"/>
                <a:gd name="T119" fmla="*/ 18 h 137"/>
                <a:gd name="T120" fmla="*/ 38 w 265"/>
                <a:gd name="T121" fmla="*/ 18 h 137"/>
                <a:gd name="T122" fmla="*/ 27 w 265"/>
                <a:gd name="T123" fmla="*/ 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5" h="137">
                  <a:moveTo>
                    <a:pt x="263" y="137"/>
                  </a:moveTo>
                  <a:lnTo>
                    <a:pt x="263" y="137"/>
                  </a:lnTo>
                  <a:lnTo>
                    <a:pt x="263" y="137"/>
                  </a:lnTo>
                  <a:lnTo>
                    <a:pt x="263" y="137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5" y="137"/>
                  </a:lnTo>
                  <a:lnTo>
                    <a:pt x="263" y="137"/>
                  </a:lnTo>
                  <a:close/>
                  <a:moveTo>
                    <a:pt x="227" y="122"/>
                  </a:moveTo>
                  <a:lnTo>
                    <a:pt x="227" y="122"/>
                  </a:lnTo>
                  <a:lnTo>
                    <a:pt x="227" y="122"/>
                  </a:lnTo>
                  <a:lnTo>
                    <a:pt x="227" y="122"/>
                  </a:lnTo>
                  <a:lnTo>
                    <a:pt x="227" y="122"/>
                  </a:lnTo>
                  <a:lnTo>
                    <a:pt x="227" y="119"/>
                  </a:lnTo>
                  <a:lnTo>
                    <a:pt x="229" y="122"/>
                  </a:lnTo>
                  <a:lnTo>
                    <a:pt x="229" y="122"/>
                  </a:lnTo>
                  <a:lnTo>
                    <a:pt x="227" y="122"/>
                  </a:lnTo>
                  <a:lnTo>
                    <a:pt x="227" y="122"/>
                  </a:lnTo>
                  <a:close/>
                  <a:moveTo>
                    <a:pt x="227" y="122"/>
                  </a:moveTo>
                  <a:lnTo>
                    <a:pt x="227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2" y="119"/>
                  </a:lnTo>
                  <a:lnTo>
                    <a:pt x="222" y="119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19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4" y="122"/>
                  </a:lnTo>
                  <a:lnTo>
                    <a:pt x="227" y="122"/>
                  </a:lnTo>
                  <a:lnTo>
                    <a:pt x="227" y="122"/>
                  </a:lnTo>
                  <a:lnTo>
                    <a:pt x="227" y="122"/>
                  </a:lnTo>
                  <a:close/>
                  <a:moveTo>
                    <a:pt x="83" y="117"/>
                  </a:moveTo>
                  <a:lnTo>
                    <a:pt x="83" y="117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5" y="117"/>
                  </a:lnTo>
                  <a:lnTo>
                    <a:pt x="85" y="119"/>
                  </a:lnTo>
                  <a:lnTo>
                    <a:pt x="85" y="119"/>
                  </a:lnTo>
                  <a:lnTo>
                    <a:pt x="87" y="119"/>
                  </a:lnTo>
                  <a:lnTo>
                    <a:pt x="87" y="119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90" y="122"/>
                  </a:lnTo>
                  <a:lnTo>
                    <a:pt x="90" y="122"/>
                  </a:lnTo>
                  <a:lnTo>
                    <a:pt x="92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2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90" y="126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90" y="122"/>
                  </a:lnTo>
                  <a:lnTo>
                    <a:pt x="90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5" y="122"/>
                  </a:lnTo>
                  <a:lnTo>
                    <a:pt x="83" y="122"/>
                  </a:lnTo>
                  <a:lnTo>
                    <a:pt x="85" y="119"/>
                  </a:lnTo>
                  <a:lnTo>
                    <a:pt x="85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81" y="119"/>
                  </a:lnTo>
                  <a:lnTo>
                    <a:pt x="81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lnTo>
                    <a:pt x="83" y="117"/>
                  </a:lnTo>
                  <a:close/>
                  <a:moveTo>
                    <a:pt x="81" y="113"/>
                  </a:moveTo>
                  <a:lnTo>
                    <a:pt x="81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81" y="113"/>
                  </a:lnTo>
                  <a:lnTo>
                    <a:pt x="81" y="113"/>
                  </a:lnTo>
                  <a:close/>
                  <a:moveTo>
                    <a:pt x="220" y="113"/>
                  </a:move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18" y="115"/>
                  </a:lnTo>
                  <a:lnTo>
                    <a:pt x="218" y="115"/>
                  </a:lnTo>
                  <a:lnTo>
                    <a:pt x="220" y="113"/>
                  </a:lnTo>
                  <a:lnTo>
                    <a:pt x="220" y="115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lnTo>
                    <a:pt x="220" y="113"/>
                  </a:lnTo>
                  <a:close/>
                  <a:moveTo>
                    <a:pt x="213" y="99"/>
                  </a:moveTo>
                  <a:lnTo>
                    <a:pt x="213" y="101"/>
                  </a:lnTo>
                  <a:lnTo>
                    <a:pt x="213" y="99"/>
                  </a:lnTo>
                  <a:lnTo>
                    <a:pt x="213" y="101"/>
                  </a:lnTo>
                  <a:lnTo>
                    <a:pt x="213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09" y="101"/>
                  </a:lnTo>
                  <a:lnTo>
                    <a:pt x="209" y="101"/>
                  </a:lnTo>
                  <a:lnTo>
                    <a:pt x="209" y="101"/>
                  </a:lnTo>
                  <a:lnTo>
                    <a:pt x="209" y="101"/>
                  </a:lnTo>
                  <a:lnTo>
                    <a:pt x="206" y="104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101"/>
                  </a:lnTo>
                  <a:lnTo>
                    <a:pt x="206" y="101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9" y="99"/>
                  </a:lnTo>
                  <a:lnTo>
                    <a:pt x="209" y="99"/>
                  </a:lnTo>
                  <a:lnTo>
                    <a:pt x="209" y="99"/>
                  </a:lnTo>
                  <a:lnTo>
                    <a:pt x="211" y="97"/>
                  </a:lnTo>
                  <a:lnTo>
                    <a:pt x="211" y="97"/>
                  </a:lnTo>
                  <a:lnTo>
                    <a:pt x="211" y="97"/>
                  </a:lnTo>
                  <a:lnTo>
                    <a:pt x="213" y="97"/>
                  </a:lnTo>
                  <a:lnTo>
                    <a:pt x="213" y="97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lnTo>
                    <a:pt x="213" y="99"/>
                  </a:lnTo>
                  <a:close/>
                  <a:moveTo>
                    <a:pt x="206" y="92"/>
                  </a:move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lnTo>
                    <a:pt x="206" y="92"/>
                  </a:lnTo>
                  <a:close/>
                  <a:moveTo>
                    <a:pt x="218" y="88"/>
                  </a:move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15" y="90"/>
                  </a:lnTo>
                  <a:lnTo>
                    <a:pt x="215" y="90"/>
                  </a:lnTo>
                  <a:lnTo>
                    <a:pt x="218" y="88"/>
                  </a:lnTo>
                  <a:lnTo>
                    <a:pt x="215" y="88"/>
                  </a:lnTo>
                  <a:lnTo>
                    <a:pt x="215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close/>
                  <a:moveTo>
                    <a:pt x="123" y="88"/>
                  </a:moveTo>
                  <a:lnTo>
                    <a:pt x="123" y="90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lnTo>
                    <a:pt x="123" y="88"/>
                  </a:lnTo>
                  <a:close/>
                  <a:moveTo>
                    <a:pt x="114" y="88"/>
                  </a:moveTo>
                  <a:lnTo>
                    <a:pt x="114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9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5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5"/>
                  </a:lnTo>
                  <a:lnTo>
                    <a:pt x="128" y="92"/>
                  </a:lnTo>
                  <a:lnTo>
                    <a:pt x="128" y="95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5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30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8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7"/>
                  </a:lnTo>
                  <a:lnTo>
                    <a:pt x="121" y="97"/>
                  </a:lnTo>
                  <a:lnTo>
                    <a:pt x="121" y="97"/>
                  </a:lnTo>
                  <a:lnTo>
                    <a:pt x="121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6" y="95"/>
                  </a:lnTo>
                  <a:lnTo>
                    <a:pt x="116" y="95"/>
                  </a:lnTo>
                  <a:lnTo>
                    <a:pt x="119" y="95"/>
                  </a:lnTo>
                  <a:lnTo>
                    <a:pt x="116" y="95"/>
                  </a:lnTo>
                  <a:lnTo>
                    <a:pt x="116" y="95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2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6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lnTo>
                    <a:pt x="114" y="88"/>
                  </a:lnTo>
                  <a:close/>
                  <a:moveTo>
                    <a:pt x="238" y="79"/>
                  </a:moveTo>
                  <a:lnTo>
                    <a:pt x="238" y="79"/>
                  </a:lnTo>
                  <a:lnTo>
                    <a:pt x="238" y="79"/>
                  </a:lnTo>
                  <a:lnTo>
                    <a:pt x="238" y="79"/>
                  </a:lnTo>
                  <a:lnTo>
                    <a:pt x="238" y="79"/>
                  </a:lnTo>
                  <a:lnTo>
                    <a:pt x="238" y="79"/>
                  </a:lnTo>
                  <a:lnTo>
                    <a:pt x="238" y="79"/>
                  </a:lnTo>
                  <a:lnTo>
                    <a:pt x="238" y="79"/>
                  </a:lnTo>
                  <a:lnTo>
                    <a:pt x="238" y="79"/>
                  </a:lnTo>
                  <a:close/>
                  <a:moveTo>
                    <a:pt x="236" y="77"/>
                  </a:moveTo>
                  <a:lnTo>
                    <a:pt x="236" y="77"/>
                  </a:lnTo>
                  <a:lnTo>
                    <a:pt x="236" y="77"/>
                  </a:lnTo>
                  <a:lnTo>
                    <a:pt x="236" y="77"/>
                  </a:lnTo>
                  <a:lnTo>
                    <a:pt x="236" y="77"/>
                  </a:lnTo>
                  <a:close/>
                  <a:moveTo>
                    <a:pt x="130" y="74"/>
                  </a:move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8" y="77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30" y="74"/>
                  </a:lnTo>
                  <a:lnTo>
                    <a:pt x="130" y="74"/>
                  </a:lnTo>
                  <a:close/>
                  <a:moveTo>
                    <a:pt x="116" y="72"/>
                  </a:move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21" y="72"/>
                  </a:lnTo>
                  <a:lnTo>
                    <a:pt x="121" y="72"/>
                  </a:lnTo>
                  <a:lnTo>
                    <a:pt x="121" y="72"/>
                  </a:lnTo>
                  <a:lnTo>
                    <a:pt x="121" y="72"/>
                  </a:lnTo>
                  <a:lnTo>
                    <a:pt x="121" y="74"/>
                  </a:lnTo>
                  <a:lnTo>
                    <a:pt x="121" y="74"/>
                  </a:lnTo>
                  <a:lnTo>
                    <a:pt x="121" y="74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7"/>
                  </a:lnTo>
                  <a:lnTo>
                    <a:pt x="119" y="74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72"/>
                  </a:lnTo>
                  <a:close/>
                  <a:moveTo>
                    <a:pt x="87" y="68"/>
                  </a:moveTo>
                  <a:lnTo>
                    <a:pt x="87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2"/>
                  </a:lnTo>
                  <a:lnTo>
                    <a:pt x="99" y="70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3" y="74"/>
                  </a:lnTo>
                  <a:lnTo>
                    <a:pt x="103" y="74"/>
                  </a:lnTo>
                  <a:lnTo>
                    <a:pt x="103" y="74"/>
                  </a:lnTo>
                  <a:lnTo>
                    <a:pt x="103" y="74"/>
                  </a:lnTo>
                  <a:lnTo>
                    <a:pt x="103" y="74"/>
                  </a:lnTo>
                  <a:lnTo>
                    <a:pt x="103" y="74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3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7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05" y="79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99" y="81"/>
                  </a:lnTo>
                  <a:lnTo>
                    <a:pt x="99" y="79"/>
                  </a:lnTo>
                  <a:lnTo>
                    <a:pt x="99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7"/>
                  </a:lnTo>
                  <a:lnTo>
                    <a:pt x="92" y="77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7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8"/>
                  </a:lnTo>
                  <a:lnTo>
                    <a:pt x="85" y="68"/>
                  </a:lnTo>
                  <a:lnTo>
                    <a:pt x="85" y="68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7" y="68"/>
                  </a:lnTo>
                  <a:close/>
                  <a:moveTo>
                    <a:pt x="85" y="61"/>
                  </a:moveTo>
                  <a:lnTo>
                    <a:pt x="85" y="61"/>
                  </a:lnTo>
                  <a:lnTo>
                    <a:pt x="85" y="61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close/>
                  <a:moveTo>
                    <a:pt x="99" y="61"/>
                  </a:move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close/>
                  <a:moveTo>
                    <a:pt x="74" y="61"/>
                  </a:move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61"/>
                  </a:lnTo>
                  <a:lnTo>
                    <a:pt x="74" y="61"/>
                  </a:lnTo>
                  <a:close/>
                  <a:moveTo>
                    <a:pt x="92" y="59"/>
                  </a:moveTo>
                  <a:lnTo>
                    <a:pt x="94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59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close/>
                  <a:moveTo>
                    <a:pt x="72" y="59"/>
                  </a:move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close/>
                  <a:moveTo>
                    <a:pt x="92" y="59"/>
                  </a:move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9"/>
                  </a:lnTo>
                  <a:close/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  <a:moveTo>
                    <a:pt x="51" y="54"/>
                  </a:move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1" y="54"/>
                  </a:lnTo>
                  <a:close/>
                  <a:moveTo>
                    <a:pt x="49" y="47"/>
                  </a:move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close/>
                  <a:moveTo>
                    <a:pt x="36" y="47"/>
                  </a:move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3" y="50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close/>
                  <a:moveTo>
                    <a:pt x="83" y="45"/>
                  </a:move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close/>
                  <a:moveTo>
                    <a:pt x="148" y="43"/>
                  </a:move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close/>
                  <a:moveTo>
                    <a:pt x="116" y="72"/>
                  </a:move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2" y="68"/>
                  </a:lnTo>
                  <a:lnTo>
                    <a:pt x="112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5" y="59"/>
                  </a:lnTo>
                  <a:lnTo>
                    <a:pt x="105" y="59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7"/>
                  </a:lnTo>
                  <a:lnTo>
                    <a:pt x="112" y="47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4" y="56"/>
                  </a:lnTo>
                  <a:lnTo>
                    <a:pt x="114" y="56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59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3"/>
                  </a:lnTo>
                  <a:lnTo>
                    <a:pt x="114" y="61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6" y="63"/>
                  </a:lnTo>
                  <a:lnTo>
                    <a:pt x="116" y="65"/>
                  </a:lnTo>
                  <a:lnTo>
                    <a:pt x="116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6" y="65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0"/>
                  </a:lnTo>
                  <a:lnTo>
                    <a:pt x="116" y="72"/>
                  </a:lnTo>
                  <a:close/>
                  <a:moveTo>
                    <a:pt x="31" y="43"/>
                  </a:moveTo>
                  <a:lnTo>
                    <a:pt x="31" y="43"/>
                  </a:lnTo>
                  <a:lnTo>
                    <a:pt x="31" y="43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1" y="43"/>
                  </a:lnTo>
                  <a:close/>
                  <a:moveTo>
                    <a:pt x="31" y="38"/>
                  </a:move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close/>
                  <a:moveTo>
                    <a:pt x="24" y="36"/>
                  </a:moveTo>
                  <a:lnTo>
                    <a:pt x="24" y="36"/>
                  </a:lnTo>
                  <a:lnTo>
                    <a:pt x="24" y="36"/>
                  </a:lnTo>
                  <a:lnTo>
                    <a:pt x="27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  <a:moveTo>
                    <a:pt x="42" y="38"/>
                  </a:moveTo>
                  <a:lnTo>
                    <a:pt x="42" y="38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close/>
                  <a:moveTo>
                    <a:pt x="20" y="38"/>
                  </a:moveTo>
                  <a:lnTo>
                    <a:pt x="20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close/>
                  <a:moveTo>
                    <a:pt x="105" y="32"/>
                  </a:move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close/>
                  <a:moveTo>
                    <a:pt x="33" y="36"/>
                  </a:moveTo>
                  <a:lnTo>
                    <a:pt x="33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9" y="38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close/>
                  <a:moveTo>
                    <a:pt x="20" y="29"/>
                  </a:move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close/>
                  <a:moveTo>
                    <a:pt x="22" y="25"/>
                  </a:move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4" y="32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60" y="25"/>
                  </a:move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3" y="25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0" y="25"/>
                  </a:lnTo>
                  <a:close/>
                  <a:moveTo>
                    <a:pt x="63" y="25"/>
                  </a:moveTo>
                  <a:lnTo>
                    <a:pt x="63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3" y="38"/>
                  </a:lnTo>
                  <a:lnTo>
                    <a:pt x="85" y="38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90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3"/>
                  </a:lnTo>
                  <a:lnTo>
                    <a:pt x="83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3" y="25"/>
                  </a:lnTo>
                  <a:lnTo>
                    <a:pt x="63" y="25"/>
                  </a:lnTo>
                  <a:close/>
                  <a:moveTo>
                    <a:pt x="58" y="23"/>
                  </a:move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5"/>
                  </a:lnTo>
                  <a:lnTo>
                    <a:pt x="58" y="25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close/>
                  <a:moveTo>
                    <a:pt x="40" y="20"/>
                  </a:move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close/>
                  <a:moveTo>
                    <a:pt x="58" y="20"/>
                  </a:move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8" y="20"/>
                  </a:lnTo>
                  <a:close/>
                  <a:moveTo>
                    <a:pt x="47" y="23"/>
                  </a:move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3"/>
                  </a:lnTo>
                  <a:close/>
                  <a:moveTo>
                    <a:pt x="0" y="18"/>
                  </a:move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6" y="11"/>
                  </a:move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11"/>
                  </a:lnTo>
                  <a:lnTo>
                    <a:pt x="6" y="11"/>
                  </a:lnTo>
                  <a:close/>
                  <a:moveTo>
                    <a:pt x="13" y="7"/>
                  </a:move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close/>
                  <a:moveTo>
                    <a:pt x="22" y="2"/>
                  </a:move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500"/>
            <p:cNvSpPr>
              <a:spLocks/>
            </p:cNvSpPr>
            <p:nvPr/>
          </p:nvSpPr>
          <p:spPr bwMode="auto">
            <a:xfrm>
              <a:off x="6060422" y="2105456"/>
              <a:ext cx="98615" cy="55157"/>
            </a:xfrm>
            <a:custGeom>
              <a:avLst/>
              <a:gdLst>
                <a:gd name="T0" fmla="*/ 54 w 59"/>
                <a:gd name="T1" fmla="*/ 2 h 33"/>
                <a:gd name="T2" fmla="*/ 56 w 59"/>
                <a:gd name="T3" fmla="*/ 4 h 33"/>
                <a:gd name="T4" fmla="*/ 56 w 59"/>
                <a:gd name="T5" fmla="*/ 4 h 33"/>
                <a:gd name="T6" fmla="*/ 59 w 59"/>
                <a:gd name="T7" fmla="*/ 9 h 33"/>
                <a:gd name="T8" fmla="*/ 59 w 59"/>
                <a:gd name="T9" fmla="*/ 9 h 33"/>
                <a:gd name="T10" fmla="*/ 56 w 59"/>
                <a:gd name="T11" fmla="*/ 9 h 33"/>
                <a:gd name="T12" fmla="*/ 54 w 59"/>
                <a:gd name="T13" fmla="*/ 9 h 33"/>
                <a:gd name="T14" fmla="*/ 54 w 59"/>
                <a:gd name="T15" fmla="*/ 11 h 33"/>
                <a:gd name="T16" fmla="*/ 54 w 59"/>
                <a:gd name="T17" fmla="*/ 13 h 33"/>
                <a:gd name="T18" fmla="*/ 52 w 59"/>
                <a:gd name="T19" fmla="*/ 11 h 33"/>
                <a:gd name="T20" fmla="*/ 52 w 59"/>
                <a:gd name="T21" fmla="*/ 13 h 33"/>
                <a:gd name="T22" fmla="*/ 47 w 59"/>
                <a:gd name="T23" fmla="*/ 15 h 33"/>
                <a:gd name="T24" fmla="*/ 43 w 59"/>
                <a:gd name="T25" fmla="*/ 15 h 33"/>
                <a:gd name="T26" fmla="*/ 43 w 59"/>
                <a:gd name="T27" fmla="*/ 20 h 33"/>
                <a:gd name="T28" fmla="*/ 45 w 59"/>
                <a:gd name="T29" fmla="*/ 20 h 33"/>
                <a:gd name="T30" fmla="*/ 45 w 59"/>
                <a:gd name="T31" fmla="*/ 24 h 33"/>
                <a:gd name="T32" fmla="*/ 41 w 59"/>
                <a:gd name="T33" fmla="*/ 24 h 33"/>
                <a:gd name="T34" fmla="*/ 41 w 59"/>
                <a:gd name="T35" fmla="*/ 24 h 33"/>
                <a:gd name="T36" fmla="*/ 36 w 59"/>
                <a:gd name="T37" fmla="*/ 27 h 33"/>
                <a:gd name="T38" fmla="*/ 38 w 59"/>
                <a:gd name="T39" fmla="*/ 29 h 33"/>
                <a:gd name="T40" fmla="*/ 38 w 59"/>
                <a:gd name="T41" fmla="*/ 29 h 33"/>
                <a:gd name="T42" fmla="*/ 38 w 59"/>
                <a:gd name="T43" fmla="*/ 29 h 33"/>
                <a:gd name="T44" fmla="*/ 38 w 59"/>
                <a:gd name="T45" fmla="*/ 31 h 33"/>
                <a:gd name="T46" fmla="*/ 38 w 59"/>
                <a:gd name="T47" fmla="*/ 33 h 33"/>
                <a:gd name="T48" fmla="*/ 32 w 59"/>
                <a:gd name="T49" fmla="*/ 33 h 33"/>
                <a:gd name="T50" fmla="*/ 29 w 59"/>
                <a:gd name="T51" fmla="*/ 33 h 33"/>
                <a:gd name="T52" fmla="*/ 27 w 59"/>
                <a:gd name="T53" fmla="*/ 31 h 33"/>
                <a:gd name="T54" fmla="*/ 25 w 59"/>
                <a:gd name="T55" fmla="*/ 31 h 33"/>
                <a:gd name="T56" fmla="*/ 25 w 59"/>
                <a:gd name="T57" fmla="*/ 29 h 33"/>
                <a:gd name="T58" fmla="*/ 23 w 59"/>
                <a:gd name="T59" fmla="*/ 31 h 33"/>
                <a:gd name="T60" fmla="*/ 18 w 59"/>
                <a:gd name="T61" fmla="*/ 33 h 33"/>
                <a:gd name="T62" fmla="*/ 16 w 59"/>
                <a:gd name="T63" fmla="*/ 33 h 33"/>
                <a:gd name="T64" fmla="*/ 14 w 59"/>
                <a:gd name="T65" fmla="*/ 33 h 33"/>
                <a:gd name="T66" fmla="*/ 11 w 59"/>
                <a:gd name="T67" fmla="*/ 33 h 33"/>
                <a:gd name="T68" fmla="*/ 7 w 59"/>
                <a:gd name="T69" fmla="*/ 33 h 33"/>
                <a:gd name="T70" fmla="*/ 5 w 59"/>
                <a:gd name="T71" fmla="*/ 31 h 33"/>
                <a:gd name="T72" fmla="*/ 9 w 59"/>
                <a:gd name="T73" fmla="*/ 31 h 33"/>
                <a:gd name="T74" fmla="*/ 11 w 59"/>
                <a:gd name="T75" fmla="*/ 29 h 33"/>
                <a:gd name="T76" fmla="*/ 5 w 59"/>
                <a:gd name="T77" fmla="*/ 24 h 33"/>
                <a:gd name="T78" fmla="*/ 5 w 59"/>
                <a:gd name="T79" fmla="*/ 22 h 33"/>
                <a:gd name="T80" fmla="*/ 2 w 59"/>
                <a:gd name="T81" fmla="*/ 20 h 33"/>
                <a:gd name="T82" fmla="*/ 2 w 59"/>
                <a:gd name="T83" fmla="*/ 20 h 33"/>
                <a:gd name="T84" fmla="*/ 5 w 59"/>
                <a:gd name="T85" fmla="*/ 15 h 33"/>
                <a:gd name="T86" fmla="*/ 2 w 59"/>
                <a:gd name="T87" fmla="*/ 15 h 33"/>
                <a:gd name="T88" fmla="*/ 0 w 59"/>
                <a:gd name="T89" fmla="*/ 15 h 33"/>
                <a:gd name="T90" fmla="*/ 2 w 59"/>
                <a:gd name="T91" fmla="*/ 13 h 33"/>
                <a:gd name="T92" fmla="*/ 5 w 59"/>
                <a:gd name="T93" fmla="*/ 11 h 33"/>
                <a:gd name="T94" fmla="*/ 7 w 59"/>
                <a:gd name="T95" fmla="*/ 9 h 33"/>
                <a:gd name="T96" fmla="*/ 11 w 59"/>
                <a:gd name="T97" fmla="*/ 9 h 33"/>
                <a:gd name="T98" fmla="*/ 16 w 59"/>
                <a:gd name="T99" fmla="*/ 11 h 33"/>
                <a:gd name="T100" fmla="*/ 20 w 59"/>
                <a:gd name="T101" fmla="*/ 11 h 33"/>
                <a:gd name="T102" fmla="*/ 23 w 59"/>
                <a:gd name="T103" fmla="*/ 11 h 33"/>
                <a:gd name="T104" fmla="*/ 25 w 59"/>
                <a:gd name="T105" fmla="*/ 11 h 33"/>
                <a:gd name="T106" fmla="*/ 25 w 59"/>
                <a:gd name="T107" fmla="*/ 9 h 33"/>
                <a:gd name="T108" fmla="*/ 27 w 59"/>
                <a:gd name="T109" fmla="*/ 6 h 33"/>
                <a:gd name="T110" fmla="*/ 29 w 59"/>
                <a:gd name="T111" fmla="*/ 6 h 33"/>
                <a:gd name="T112" fmla="*/ 38 w 59"/>
                <a:gd name="T113" fmla="*/ 6 h 33"/>
                <a:gd name="T114" fmla="*/ 41 w 59"/>
                <a:gd name="T115" fmla="*/ 4 h 33"/>
                <a:gd name="T116" fmla="*/ 43 w 59"/>
                <a:gd name="T117" fmla="*/ 4 h 33"/>
                <a:gd name="T118" fmla="*/ 47 w 59"/>
                <a:gd name="T119" fmla="*/ 4 h 33"/>
                <a:gd name="T120" fmla="*/ 47 w 59"/>
                <a:gd name="T121" fmla="*/ 4 h 33"/>
                <a:gd name="T122" fmla="*/ 50 w 59"/>
                <a:gd name="T123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" h="33">
                  <a:moveTo>
                    <a:pt x="54" y="0"/>
                  </a:move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38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7" y="4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50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0"/>
                  </a:lnTo>
                  <a:lnTo>
                    <a:pt x="52" y="2"/>
                  </a:lnTo>
                  <a:lnTo>
                    <a:pt x="54" y="0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501"/>
            <p:cNvSpPr>
              <a:spLocks/>
            </p:cNvSpPr>
            <p:nvPr/>
          </p:nvSpPr>
          <p:spPr bwMode="auto">
            <a:xfrm>
              <a:off x="6162380" y="2000156"/>
              <a:ext cx="172157" cy="71871"/>
            </a:xfrm>
            <a:custGeom>
              <a:avLst/>
              <a:gdLst>
                <a:gd name="T0" fmla="*/ 52 w 103"/>
                <a:gd name="T1" fmla="*/ 4 h 43"/>
                <a:gd name="T2" fmla="*/ 54 w 103"/>
                <a:gd name="T3" fmla="*/ 7 h 43"/>
                <a:gd name="T4" fmla="*/ 52 w 103"/>
                <a:gd name="T5" fmla="*/ 9 h 43"/>
                <a:gd name="T6" fmla="*/ 56 w 103"/>
                <a:gd name="T7" fmla="*/ 9 h 43"/>
                <a:gd name="T8" fmla="*/ 58 w 103"/>
                <a:gd name="T9" fmla="*/ 7 h 43"/>
                <a:gd name="T10" fmla="*/ 63 w 103"/>
                <a:gd name="T11" fmla="*/ 7 h 43"/>
                <a:gd name="T12" fmla="*/ 65 w 103"/>
                <a:gd name="T13" fmla="*/ 7 h 43"/>
                <a:gd name="T14" fmla="*/ 70 w 103"/>
                <a:gd name="T15" fmla="*/ 4 h 43"/>
                <a:gd name="T16" fmla="*/ 74 w 103"/>
                <a:gd name="T17" fmla="*/ 7 h 43"/>
                <a:gd name="T18" fmla="*/ 76 w 103"/>
                <a:gd name="T19" fmla="*/ 4 h 43"/>
                <a:gd name="T20" fmla="*/ 79 w 103"/>
                <a:gd name="T21" fmla="*/ 4 h 43"/>
                <a:gd name="T22" fmla="*/ 83 w 103"/>
                <a:gd name="T23" fmla="*/ 4 h 43"/>
                <a:gd name="T24" fmla="*/ 88 w 103"/>
                <a:gd name="T25" fmla="*/ 4 h 43"/>
                <a:gd name="T26" fmla="*/ 90 w 103"/>
                <a:gd name="T27" fmla="*/ 7 h 43"/>
                <a:gd name="T28" fmla="*/ 96 w 103"/>
                <a:gd name="T29" fmla="*/ 11 h 43"/>
                <a:gd name="T30" fmla="*/ 96 w 103"/>
                <a:gd name="T31" fmla="*/ 11 h 43"/>
                <a:gd name="T32" fmla="*/ 103 w 103"/>
                <a:gd name="T33" fmla="*/ 13 h 43"/>
                <a:gd name="T34" fmla="*/ 101 w 103"/>
                <a:gd name="T35" fmla="*/ 16 h 43"/>
                <a:gd name="T36" fmla="*/ 101 w 103"/>
                <a:gd name="T37" fmla="*/ 20 h 43"/>
                <a:gd name="T38" fmla="*/ 101 w 103"/>
                <a:gd name="T39" fmla="*/ 22 h 43"/>
                <a:gd name="T40" fmla="*/ 99 w 103"/>
                <a:gd name="T41" fmla="*/ 25 h 43"/>
                <a:gd name="T42" fmla="*/ 96 w 103"/>
                <a:gd name="T43" fmla="*/ 29 h 43"/>
                <a:gd name="T44" fmla="*/ 90 w 103"/>
                <a:gd name="T45" fmla="*/ 29 h 43"/>
                <a:gd name="T46" fmla="*/ 85 w 103"/>
                <a:gd name="T47" fmla="*/ 25 h 43"/>
                <a:gd name="T48" fmla="*/ 83 w 103"/>
                <a:gd name="T49" fmla="*/ 25 h 43"/>
                <a:gd name="T50" fmla="*/ 81 w 103"/>
                <a:gd name="T51" fmla="*/ 25 h 43"/>
                <a:gd name="T52" fmla="*/ 74 w 103"/>
                <a:gd name="T53" fmla="*/ 25 h 43"/>
                <a:gd name="T54" fmla="*/ 67 w 103"/>
                <a:gd name="T55" fmla="*/ 25 h 43"/>
                <a:gd name="T56" fmla="*/ 67 w 103"/>
                <a:gd name="T57" fmla="*/ 27 h 43"/>
                <a:gd name="T58" fmla="*/ 63 w 103"/>
                <a:gd name="T59" fmla="*/ 31 h 43"/>
                <a:gd name="T60" fmla="*/ 61 w 103"/>
                <a:gd name="T61" fmla="*/ 34 h 43"/>
                <a:gd name="T62" fmla="*/ 56 w 103"/>
                <a:gd name="T63" fmla="*/ 34 h 43"/>
                <a:gd name="T64" fmla="*/ 54 w 103"/>
                <a:gd name="T65" fmla="*/ 34 h 43"/>
                <a:gd name="T66" fmla="*/ 49 w 103"/>
                <a:gd name="T67" fmla="*/ 34 h 43"/>
                <a:gd name="T68" fmla="*/ 49 w 103"/>
                <a:gd name="T69" fmla="*/ 34 h 43"/>
                <a:gd name="T70" fmla="*/ 40 w 103"/>
                <a:gd name="T71" fmla="*/ 36 h 43"/>
                <a:gd name="T72" fmla="*/ 36 w 103"/>
                <a:gd name="T73" fmla="*/ 38 h 43"/>
                <a:gd name="T74" fmla="*/ 36 w 103"/>
                <a:gd name="T75" fmla="*/ 43 h 43"/>
                <a:gd name="T76" fmla="*/ 27 w 103"/>
                <a:gd name="T77" fmla="*/ 43 h 43"/>
                <a:gd name="T78" fmla="*/ 16 w 103"/>
                <a:gd name="T79" fmla="*/ 40 h 43"/>
                <a:gd name="T80" fmla="*/ 13 w 103"/>
                <a:gd name="T81" fmla="*/ 40 h 43"/>
                <a:gd name="T82" fmla="*/ 4 w 103"/>
                <a:gd name="T83" fmla="*/ 36 h 43"/>
                <a:gd name="T84" fmla="*/ 4 w 103"/>
                <a:gd name="T85" fmla="*/ 34 h 43"/>
                <a:gd name="T86" fmla="*/ 2 w 103"/>
                <a:gd name="T87" fmla="*/ 31 h 43"/>
                <a:gd name="T88" fmla="*/ 2 w 103"/>
                <a:gd name="T89" fmla="*/ 31 h 43"/>
                <a:gd name="T90" fmla="*/ 2 w 103"/>
                <a:gd name="T91" fmla="*/ 29 h 43"/>
                <a:gd name="T92" fmla="*/ 0 w 103"/>
                <a:gd name="T93" fmla="*/ 27 h 43"/>
                <a:gd name="T94" fmla="*/ 2 w 103"/>
                <a:gd name="T95" fmla="*/ 22 h 43"/>
                <a:gd name="T96" fmla="*/ 4 w 103"/>
                <a:gd name="T97" fmla="*/ 18 h 43"/>
                <a:gd name="T98" fmla="*/ 11 w 103"/>
                <a:gd name="T99" fmla="*/ 18 h 43"/>
                <a:gd name="T100" fmla="*/ 18 w 103"/>
                <a:gd name="T101" fmla="*/ 16 h 43"/>
                <a:gd name="T102" fmla="*/ 22 w 103"/>
                <a:gd name="T103" fmla="*/ 13 h 43"/>
                <a:gd name="T104" fmla="*/ 27 w 103"/>
                <a:gd name="T105" fmla="*/ 7 h 43"/>
                <a:gd name="T106" fmla="*/ 29 w 103"/>
                <a:gd name="T107" fmla="*/ 4 h 43"/>
                <a:gd name="T108" fmla="*/ 34 w 103"/>
                <a:gd name="T109" fmla="*/ 2 h 43"/>
                <a:gd name="T110" fmla="*/ 38 w 103"/>
                <a:gd name="T111" fmla="*/ 4 h 43"/>
                <a:gd name="T112" fmla="*/ 40 w 103"/>
                <a:gd name="T113" fmla="*/ 4 h 43"/>
                <a:gd name="T114" fmla="*/ 43 w 103"/>
                <a:gd name="T115" fmla="*/ 4 h 43"/>
                <a:gd name="T116" fmla="*/ 43 w 103"/>
                <a:gd name="T117" fmla="*/ 2 h 43"/>
                <a:gd name="T118" fmla="*/ 47 w 103"/>
                <a:gd name="T119" fmla="*/ 0 h 43"/>
                <a:gd name="T120" fmla="*/ 49 w 103"/>
                <a:gd name="T121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3" h="43">
                  <a:moveTo>
                    <a:pt x="49" y="4"/>
                  </a:move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8" y="11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4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4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2" y="25"/>
                  </a:lnTo>
                  <a:lnTo>
                    <a:pt x="70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5" y="29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7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7" y="43"/>
                  </a:lnTo>
                  <a:lnTo>
                    <a:pt x="25" y="43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6" y="43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Freeform 502"/>
            <p:cNvSpPr>
              <a:spLocks/>
            </p:cNvSpPr>
            <p:nvPr/>
          </p:nvSpPr>
          <p:spPr bwMode="auto">
            <a:xfrm>
              <a:off x="9282930" y="3908924"/>
              <a:ext cx="15043" cy="8357"/>
            </a:xfrm>
            <a:custGeom>
              <a:avLst/>
              <a:gdLst>
                <a:gd name="T0" fmla="*/ 4 w 9"/>
                <a:gd name="T1" fmla="*/ 0 h 5"/>
                <a:gd name="T2" fmla="*/ 7 w 9"/>
                <a:gd name="T3" fmla="*/ 2 h 5"/>
                <a:gd name="T4" fmla="*/ 7 w 9"/>
                <a:gd name="T5" fmla="*/ 2 h 5"/>
                <a:gd name="T6" fmla="*/ 9 w 9"/>
                <a:gd name="T7" fmla="*/ 2 h 5"/>
                <a:gd name="T8" fmla="*/ 9 w 9"/>
                <a:gd name="T9" fmla="*/ 2 h 5"/>
                <a:gd name="T10" fmla="*/ 9 w 9"/>
                <a:gd name="T11" fmla="*/ 2 h 5"/>
                <a:gd name="T12" fmla="*/ 9 w 9"/>
                <a:gd name="T13" fmla="*/ 2 h 5"/>
                <a:gd name="T14" fmla="*/ 9 w 9"/>
                <a:gd name="T15" fmla="*/ 2 h 5"/>
                <a:gd name="T16" fmla="*/ 7 w 9"/>
                <a:gd name="T17" fmla="*/ 5 h 5"/>
                <a:gd name="T18" fmla="*/ 7 w 9"/>
                <a:gd name="T19" fmla="*/ 5 h 5"/>
                <a:gd name="T20" fmla="*/ 7 w 9"/>
                <a:gd name="T21" fmla="*/ 5 h 5"/>
                <a:gd name="T22" fmla="*/ 7 w 9"/>
                <a:gd name="T23" fmla="*/ 5 h 5"/>
                <a:gd name="T24" fmla="*/ 4 w 9"/>
                <a:gd name="T25" fmla="*/ 5 h 5"/>
                <a:gd name="T26" fmla="*/ 4 w 9"/>
                <a:gd name="T27" fmla="*/ 5 h 5"/>
                <a:gd name="T28" fmla="*/ 4 w 9"/>
                <a:gd name="T29" fmla="*/ 5 h 5"/>
                <a:gd name="T30" fmla="*/ 4 w 9"/>
                <a:gd name="T31" fmla="*/ 5 h 5"/>
                <a:gd name="T32" fmla="*/ 4 w 9"/>
                <a:gd name="T33" fmla="*/ 5 h 5"/>
                <a:gd name="T34" fmla="*/ 4 w 9"/>
                <a:gd name="T35" fmla="*/ 5 h 5"/>
                <a:gd name="T36" fmla="*/ 4 w 9"/>
                <a:gd name="T37" fmla="*/ 5 h 5"/>
                <a:gd name="T38" fmla="*/ 4 w 9"/>
                <a:gd name="T39" fmla="*/ 5 h 5"/>
                <a:gd name="T40" fmla="*/ 4 w 9"/>
                <a:gd name="T41" fmla="*/ 5 h 5"/>
                <a:gd name="T42" fmla="*/ 4 w 9"/>
                <a:gd name="T43" fmla="*/ 5 h 5"/>
                <a:gd name="T44" fmla="*/ 2 w 9"/>
                <a:gd name="T45" fmla="*/ 5 h 5"/>
                <a:gd name="T46" fmla="*/ 2 w 9"/>
                <a:gd name="T47" fmla="*/ 5 h 5"/>
                <a:gd name="T48" fmla="*/ 2 w 9"/>
                <a:gd name="T49" fmla="*/ 5 h 5"/>
                <a:gd name="T50" fmla="*/ 0 w 9"/>
                <a:gd name="T51" fmla="*/ 5 h 5"/>
                <a:gd name="T52" fmla="*/ 0 w 9"/>
                <a:gd name="T53" fmla="*/ 5 h 5"/>
                <a:gd name="T54" fmla="*/ 0 w 9"/>
                <a:gd name="T55" fmla="*/ 2 h 5"/>
                <a:gd name="T56" fmla="*/ 2 w 9"/>
                <a:gd name="T57" fmla="*/ 2 h 5"/>
                <a:gd name="T58" fmla="*/ 2 w 9"/>
                <a:gd name="T59" fmla="*/ 2 h 5"/>
                <a:gd name="T60" fmla="*/ 2 w 9"/>
                <a:gd name="T61" fmla="*/ 2 h 5"/>
                <a:gd name="T62" fmla="*/ 2 w 9"/>
                <a:gd name="T63" fmla="*/ 0 h 5"/>
                <a:gd name="T64" fmla="*/ 2 w 9"/>
                <a:gd name="T65" fmla="*/ 0 h 5"/>
                <a:gd name="T66" fmla="*/ 2 w 9"/>
                <a:gd name="T67" fmla="*/ 0 h 5"/>
                <a:gd name="T68" fmla="*/ 2 w 9"/>
                <a:gd name="T69" fmla="*/ 0 h 5"/>
                <a:gd name="T70" fmla="*/ 4 w 9"/>
                <a:gd name="T71" fmla="*/ 0 h 5"/>
                <a:gd name="T72" fmla="*/ 4 w 9"/>
                <a:gd name="T73" fmla="*/ 0 h 5"/>
                <a:gd name="T74" fmla="*/ 4 w 9"/>
                <a:gd name="T75" fmla="*/ 0 h 5"/>
                <a:gd name="T76" fmla="*/ 4 w 9"/>
                <a:gd name="T77" fmla="*/ 0 h 5"/>
                <a:gd name="T78" fmla="*/ 4 w 9"/>
                <a:gd name="T7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" h="5">
                  <a:moveTo>
                    <a:pt x="4" y="0"/>
                  </a:move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503"/>
            <p:cNvSpPr>
              <a:spLocks noEditPoints="1"/>
            </p:cNvSpPr>
            <p:nvPr/>
          </p:nvSpPr>
          <p:spPr bwMode="auto">
            <a:xfrm>
              <a:off x="5177910" y="3571296"/>
              <a:ext cx="105300" cy="120343"/>
            </a:xfrm>
            <a:custGeom>
              <a:avLst/>
              <a:gdLst>
                <a:gd name="T0" fmla="*/ 16 w 63"/>
                <a:gd name="T1" fmla="*/ 58 h 72"/>
                <a:gd name="T2" fmla="*/ 16 w 63"/>
                <a:gd name="T3" fmla="*/ 60 h 72"/>
                <a:gd name="T4" fmla="*/ 9 w 63"/>
                <a:gd name="T5" fmla="*/ 56 h 72"/>
                <a:gd name="T6" fmla="*/ 16 w 63"/>
                <a:gd name="T7" fmla="*/ 56 h 72"/>
                <a:gd name="T8" fmla="*/ 50 w 63"/>
                <a:gd name="T9" fmla="*/ 6 h 72"/>
                <a:gd name="T10" fmla="*/ 52 w 63"/>
                <a:gd name="T11" fmla="*/ 11 h 72"/>
                <a:gd name="T12" fmla="*/ 52 w 63"/>
                <a:gd name="T13" fmla="*/ 13 h 72"/>
                <a:gd name="T14" fmla="*/ 56 w 63"/>
                <a:gd name="T15" fmla="*/ 15 h 72"/>
                <a:gd name="T16" fmla="*/ 54 w 63"/>
                <a:gd name="T17" fmla="*/ 20 h 72"/>
                <a:gd name="T18" fmla="*/ 56 w 63"/>
                <a:gd name="T19" fmla="*/ 27 h 72"/>
                <a:gd name="T20" fmla="*/ 59 w 63"/>
                <a:gd name="T21" fmla="*/ 31 h 72"/>
                <a:gd name="T22" fmla="*/ 56 w 63"/>
                <a:gd name="T23" fmla="*/ 36 h 72"/>
                <a:gd name="T24" fmla="*/ 56 w 63"/>
                <a:gd name="T25" fmla="*/ 38 h 72"/>
                <a:gd name="T26" fmla="*/ 61 w 63"/>
                <a:gd name="T27" fmla="*/ 36 h 72"/>
                <a:gd name="T28" fmla="*/ 63 w 63"/>
                <a:gd name="T29" fmla="*/ 40 h 72"/>
                <a:gd name="T30" fmla="*/ 59 w 63"/>
                <a:gd name="T31" fmla="*/ 45 h 72"/>
                <a:gd name="T32" fmla="*/ 54 w 63"/>
                <a:gd name="T33" fmla="*/ 54 h 72"/>
                <a:gd name="T34" fmla="*/ 41 w 63"/>
                <a:gd name="T35" fmla="*/ 65 h 72"/>
                <a:gd name="T36" fmla="*/ 41 w 63"/>
                <a:gd name="T37" fmla="*/ 69 h 72"/>
                <a:gd name="T38" fmla="*/ 36 w 63"/>
                <a:gd name="T39" fmla="*/ 72 h 72"/>
                <a:gd name="T40" fmla="*/ 36 w 63"/>
                <a:gd name="T41" fmla="*/ 72 h 72"/>
                <a:gd name="T42" fmla="*/ 21 w 63"/>
                <a:gd name="T43" fmla="*/ 60 h 72"/>
                <a:gd name="T44" fmla="*/ 18 w 63"/>
                <a:gd name="T45" fmla="*/ 60 h 72"/>
                <a:gd name="T46" fmla="*/ 18 w 63"/>
                <a:gd name="T47" fmla="*/ 58 h 72"/>
                <a:gd name="T48" fmla="*/ 23 w 63"/>
                <a:gd name="T49" fmla="*/ 58 h 72"/>
                <a:gd name="T50" fmla="*/ 23 w 63"/>
                <a:gd name="T51" fmla="*/ 56 h 72"/>
                <a:gd name="T52" fmla="*/ 21 w 63"/>
                <a:gd name="T53" fmla="*/ 56 h 72"/>
                <a:gd name="T54" fmla="*/ 18 w 63"/>
                <a:gd name="T55" fmla="*/ 56 h 72"/>
                <a:gd name="T56" fmla="*/ 16 w 63"/>
                <a:gd name="T57" fmla="*/ 56 h 72"/>
                <a:gd name="T58" fmla="*/ 18 w 63"/>
                <a:gd name="T59" fmla="*/ 51 h 72"/>
                <a:gd name="T60" fmla="*/ 14 w 63"/>
                <a:gd name="T61" fmla="*/ 54 h 72"/>
                <a:gd name="T62" fmla="*/ 9 w 63"/>
                <a:gd name="T63" fmla="*/ 51 h 72"/>
                <a:gd name="T64" fmla="*/ 9 w 63"/>
                <a:gd name="T65" fmla="*/ 47 h 72"/>
                <a:gd name="T66" fmla="*/ 9 w 63"/>
                <a:gd name="T67" fmla="*/ 45 h 72"/>
                <a:gd name="T68" fmla="*/ 7 w 63"/>
                <a:gd name="T69" fmla="*/ 42 h 72"/>
                <a:gd name="T70" fmla="*/ 7 w 63"/>
                <a:gd name="T71" fmla="*/ 40 h 72"/>
                <a:gd name="T72" fmla="*/ 3 w 63"/>
                <a:gd name="T73" fmla="*/ 40 h 72"/>
                <a:gd name="T74" fmla="*/ 0 w 63"/>
                <a:gd name="T75" fmla="*/ 38 h 72"/>
                <a:gd name="T76" fmla="*/ 0 w 63"/>
                <a:gd name="T77" fmla="*/ 36 h 72"/>
                <a:gd name="T78" fmla="*/ 5 w 63"/>
                <a:gd name="T79" fmla="*/ 38 h 72"/>
                <a:gd name="T80" fmla="*/ 5 w 63"/>
                <a:gd name="T81" fmla="*/ 36 h 72"/>
                <a:gd name="T82" fmla="*/ 7 w 63"/>
                <a:gd name="T83" fmla="*/ 33 h 72"/>
                <a:gd name="T84" fmla="*/ 9 w 63"/>
                <a:gd name="T85" fmla="*/ 33 h 72"/>
                <a:gd name="T86" fmla="*/ 7 w 63"/>
                <a:gd name="T87" fmla="*/ 31 h 72"/>
                <a:gd name="T88" fmla="*/ 7 w 63"/>
                <a:gd name="T89" fmla="*/ 31 h 72"/>
                <a:gd name="T90" fmla="*/ 5 w 63"/>
                <a:gd name="T91" fmla="*/ 31 h 72"/>
                <a:gd name="T92" fmla="*/ 5 w 63"/>
                <a:gd name="T93" fmla="*/ 33 h 72"/>
                <a:gd name="T94" fmla="*/ 3 w 63"/>
                <a:gd name="T95" fmla="*/ 31 h 72"/>
                <a:gd name="T96" fmla="*/ 3 w 63"/>
                <a:gd name="T97" fmla="*/ 27 h 72"/>
                <a:gd name="T98" fmla="*/ 5 w 63"/>
                <a:gd name="T99" fmla="*/ 27 h 72"/>
                <a:gd name="T100" fmla="*/ 3 w 63"/>
                <a:gd name="T101" fmla="*/ 24 h 72"/>
                <a:gd name="T102" fmla="*/ 3 w 63"/>
                <a:gd name="T103" fmla="*/ 24 h 72"/>
                <a:gd name="T104" fmla="*/ 0 w 63"/>
                <a:gd name="T105" fmla="*/ 24 h 72"/>
                <a:gd name="T106" fmla="*/ 5 w 63"/>
                <a:gd name="T107" fmla="*/ 22 h 72"/>
                <a:gd name="T108" fmla="*/ 7 w 63"/>
                <a:gd name="T109" fmla="*/ 18 h 72"/>
                <a:gd name="T110" fmla="*/ 12 w 63"/>
                <a:gd name="T111" fmla="*/ 15 h 72"/>
                <a:gd name="T112" fmla="*/ 12 w 63"/>
                <a:gd name="T113" fmla="*/ 13 h 72"/>
                <a:gd name="T114" fmla="*/ 14 w 63"/>
                <a:gd name="T115" fmla="*/ 9 h 72"/>
                <a:gd name="T116" fmla="*/ 16 w 63"/>
                <a:gd name="T117" fmla="*/ 6 h 72"/>
                <a:gd name="T118" fmla="*/ 16 w 63"/>
                <a:gd name="T119" fmla="*/ 4 h 72"/>
                <a:gd name="T120" fmla="*/ 23 w 63"/>
                <a:gd name="T121" fmla="*/ 0 h 72"/>
                <a:gd name="T122" fmla="*/ 43 w 63"/>
                <a:gd name="T123" fmla="*/ 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3" h="72">
                  <a:moveTo>
                    <a:pt x="16" y="56"/>
                  </a:move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close/>
                  <a:moveTo>
                    <a:pt x="45" y="2"/>
                  </a:moveTo>
                  <a:lnTo>
                    <a:pt x="45" y="2"/>
                  </a:lnTo>
                  <a:lnTo>
                    <a:pt x="47" y="2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4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6" y="31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2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5" y="63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1" y="65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2" y="67"/>
                  </a:lnTo>
                  <a:lnTo>
                    <a:pt x="25" y="65"/>
                  </a:lnTo>
                  <a:lnTo>
                    <a:pt x="21" y="63"/>
                  </a:lnTo>
                  <a:lnTo>
                    <a:pt x="16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6" y="60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4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7" y="31"/>
                  </a:lnTo>
                  <a:lnTo>
                    <a:pt x="7" y="33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504"/>
            <p:cNvSpPr>
              <a:spLocks/>
            </p:cNvSpPr>
            <p:nvPr/>
          </p:nvSpPr>
          <p:spPr bwMode="auto">
            <a:xfrm>
              <a:off x="6234251" y="2135542"/>
              <a:ext cx="142072" cy="153771"/>
            </a:xfrm>
            <a:custGeom>
              <a:avLst/>
              <a:gdLst>
                <a:gd name="T0" fmla="*/ 24 w 85"/>
                <a:gd name="T1" fmla="*/ 0 h 92"/>
                <a:gd name="T2" fmla="*/ 33 w 85"/>
                <a:gd name="T3" fmla="*/ 6 h 92"/>
                <a:gd name="T4" fmla="*/ 36 w 85"/>
                <a:gd name="T5" fmla="*/ 9 h 92"/>
                <a:gd name="T6" fmla="*/ 38 w 85"/>
                <a:gd name="T7" fmla="*/ 13 h 92"/>
                <a:gd name="T8" fmla="*/ 42 w 85"/>
                <a:gd name="T9" fmla="*/ 20 h 92"/>
                <a:gd name="T10" fmla="*/ 51 w 85"/>
                <a:gd name="T11" fmla="*/ 22 h 92"/>
                <a:gd name="T12" fmla="*/ 51 w 85"/>
                <a:gd name="T13" fmla="*/ 24 h 92"/>
                <a:gd name="T14" fmla="*/ 51 w 85"/>
                <a:gd name="T15" fmla="*/ 27 h 92"/>
                <a:gd name="T16" fmla="*/ 49 w 85"/>
                <a:gd name="T17" fmla="*/ 31 h 92"/>
                <a:gd name="T18" fmla="*/ 58 w 85"/>
                <a:gd name="T19" fmla="*/ 33 h 92"/>
                <a:gd name="T20" fmla="*/ 65 w 85"/>
                <a:gd name="T21" fmla="*/ 38 h 92"/>
                <a:gd name="T22" fmla="*/ 74 w 85"/>
                <a:gd name="T23" fmla="*/ 36 h 92"/>
                <a:gd name="T24" fmla="*/ 74 w 85"/>
                <a:gd name="T25" fmla="*/ 38 h 92"/>
                <a:gd name="T26" fmla="*/ 74 w 85"/>
                <a:gd name="T27" fmla="*/ 40 h 92"/>
                <a:gd name="T28" fmla="*/ 74 w 85"/>
                <a:gd name="T29" fmla="*/ 45 h 92"/>
                <a:gd name="T30" fmla="*/ 74 w 85"/>
                <a:gd name="T31" fmla="*/ 49 h 92"/>
                <a:gd name="T32" fmla="*/ 71 w 85"/>
                <a:gd name="T33" fmla="*/ 54 h 92"/>
                <a:gd name="T34" fmla="*/ 74 w 85"/>
                <a:gd name="T35" fmla="*/ 58 h 92"/>
                <a:gd name="T36" fmla="*/ 74 w 85"/>
                <a:gd name="T37" fmla="*/ 60 h 92"/>
                <a:gd name="T38" fmla="*/ 78 w 85"/>
                <a:gd name="T39" fmla="*/ 65 h 92"/>
                <a:gd name="T40" fmla="*/ 85 w 85"/>
                <a:gd name="T41" fmla="*/ 69 h 92"/>
                <a:gd name="T42" fmla="*/ 83 w 85"/>
                <a:gd name="T43" fmla="*/ 74 h 92"/>
                <a:gd name="T44" fmla="*/ 76 w 85"/>
                <a:gd name="T45" fmla="*/ 76 h 92"/>
                <a:gd name="T46" fmla="*/ 76 w 85"/>
                <a:gd name="T47" fmla="*/ 78 h 92"/>
                <a:gd name="T48" fmla="*/ 78 w 85"/>
                <a:gd name="T49" fmla="*/ 85 h 92"/>
                <a:gd name="T50" fmla="*/ 74 w 85"/>
                <a:gd name="T51" fmla="*/ 90 h 92"/>
                <a:gd name="T52" fmla="*/ 65 w 85"/>
                <a:gd name="T53" fmla="*/ 90 h 92"/>
                <a:gd name="T54" fmla="*/ 60 w 85"/>
                <a:gd name="T55" fmla="*/ 87 h 92"/>
                <a:gd name="T56" fmla="*/ 62 w 85"/>
                <a:gd name="T57" fmla="*/ 83 h 92"/>
                <a:gd name="T58" fmla="*/ 58 w 85"/>
                <a:gd name="T59" fmla="*/ 81 h 92"/>
                <a:gd name="T60" fmla="*/ 53 w 85"/>
                <a:gd name="T61" fmla="*/ 76 h 92"/>
                <a:gd name="T62" fmla="*/ 49 w 85"/>
                <a:gd name="T63" fmla="*/ 72 h 92"/>
                <a:gd name="T64" fmla="*/ 45 w 85"/>
                <a:gd name="T65" fmla="*/ 67 h 92"/>
                <a:gd name="T66" fmla="*/ 40 w 85"/>
                <a:gd name="T67" fmla="*/ 69 h 92"/>
                <a:gd name="T68" fmla="*/ 38 w 85"/>
                <a:gd name="T69" fmla="*/ 74 h 92"/>
                <a:gd name="T70" fmla="*/ 33 w 85"/>
                <a:gd name="T71" fmla="*/ 74 h 92"/>
                <a:gd name="T72" fmla="*/ 24 w 85"/>
                <a:gd name="T73" fmla="*/ 72 h 92"/>
                <a:gd name="T74" fmla="*/ 18 w 85"/>
                <a:gd name="T75" fmla="*/ 67 h 92"/>
                <a:gd name="T76" fmla="*/ 13 w 85"/>
                <a:gd name="T77" fmla="*/ 58 h 92"/>
                <a:gd name="T78" fmla="*/ 18 w 85"/>
                <a:gd name="T79" fmla="*/ 60 h 92"/>
                <a:gd name="T80" fmla="*/ 11 w 85"/>
                <a:gd name="T81" fmla="*/ 51 h 92"/>
                <a:gd name="T82" fmla="*/ 15 w 85"/>
                <a:gd name="T83" fmla="*/ 49 h 92"/>
                <a:gd name="T84" fmla="*/ 18 w 85"/>
                <a:gd name="T85" fmla="*/ 47 h 92"/>
                <a:gd name="T86" fmla="*/ 13 w 85"/>
                <a:gd name="T87" fmla="*/ 45 h 92"/>
                <a:gd name="T88" fmla="*/ 9 w 85"/>
                <a:gd name="T89" fmla="*/ 40 h 92"/>
                <a:gd name="T90" fmla="*/ 11 w 85"/>
                <a:gd name="T91" fmla="*/ 33 h 92"/>
                <a:gd name="T92" fmla="*/ 11 w 85"/>
                <a:gd name="T93" fmla="*/ 29 h 92"/>
                <a:gd name="T94" fmla="*/ 9 w 85"/>
                <a:gd name="T95" fmla="*/ 29 h 92"/>
                <a:gd name="T96" fmla="*/ 6 w 85"/>
                <a:gd name="T97" fmla="*/ 27 h 92"/>
                <a:gd name="T98" fmla="*/ 6 w 85"/>
                <a:gd name="T99" fmla="*/ 24 h 92"/>
                <a:gd name="T100" fmla="*/ 9 w 85"/>
                <a:gd name="T101" fmla="*/ 22 h 92"/>
                <a:gd name="T102" fmla="*/ 11 w 85"/>
                <a:gd name="T103" fmla="*/ 20 h 92"/>
                <a:gd name="T104" fmla="*/ 4 w 85"/>
                <a:gd name="T105" fmla="*/ 15 h 92"/>
                <a:gd name="T106" fmla="*/ 4 w 85"/>
                <a:gd name="T107" fmla="*/ 13 h 92"/>
                <a:gd name="T108" fmla="*/ 2 w 85"/>
                <a:gd name="T109" fmla="*/ 11 h 92"/>
                <a:gd name="T110" fmla="*/ 0 w 85"/>
                <a:gd name="T111" fmla="*/ 6 h 92"/>
                <a:gd name="T112" fmla="*/ 2 w 85"/>
                <a:gd name="T113" fmla="*/ 4 h 92"/>
                <a:gd name="T114" fmla="*/ 6 w 85"/>
                <a:gd name="T115" fmla="*/ 4 h 92"/>
                <a:gd name="T116" fmla="*/ 11 w 85"/>
                <a:gd name="T117" fmla="*/ 2 h 92"/>
                <a:gd name="T118" fmla="*/ 15 w 85"/>
                <a:gd name="T11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5" h="92">
                  <a:moveTo>
                    <a:pt x="15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9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2" y="33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7" y="38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4" y="33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4" y="40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4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76" y="81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1" y="87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2" y="90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1" y="76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29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15" y="56"/>
                  </a:lnTo>
                  <a:lnTo>
                    <a:pt x="13" y="54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505"/>
            <p:cNvSpPr>
              <a:spLocks/>
            </p:cNvSpPr>
            <p:nvPr/>
          </p:nvSpPr>
          <p:spPr bwMode="auto">
            <a:xfrm>
              <a:off x="5035839" y="3303868"/>
              <a:ext cx="210600" cy="172156"/>
            </a:xfrm>
            <a:custGeom>
              <a:avLst/>
              <a:gdLst>
                <a:gd name="T0" fmla="*/ 97 w 126"/>
                <a:gd name="T1" fmla="*/ 32 h 103"/>
                <a:gd name="T2" fmla="*/ 99 w 126"/>
                <a:gd name="T3" fmla="*/ 36 h 103"/>
                <a:gd name="T4" fmla="*/ 106 w 126"/>
                <a:gd name="T5" fmla="*/ 43 h 103"/>
                <a:gd name="T6" fmla="*/ 110 w 126"/>
                <a:gd name="T7" fmla="*/ 50 h 103"/>
                <a:gd name="T8" fmla="*/ 114 w 126"/>
                <a:gd name="T9" fmla="*/ 61 h 103"/>
                <a:gd name="T10" fmla="*/ 114 w 126"/>
                <a:gd name="T11" fmla="*/ 76 h 103"/>
                <a:gd name="T12" fmla="*/ 119 w 126"/>
                <a:gd name="T13" fmla="*/ 79 h 103"/>
                <a:gd name="T14" fmla="*/ 123 w 126"/>
                <a:gd name="T15" fmla="*/ 83 h 103"/>
                <a:gd name="T16" fmla="*/ 126 w 126"/>
                <a:gd name="T17" fmla="*/ 88 h 103"/>
                <a:gd name="T18" fmla="*/ 126 w 126"/>
                <a:gd name="T19" fmla="*/ 90 h 103"/>
                <a:gd name="T20" fmla="*/ 126 w 126"/>
                <a:gd name="T21" fmla="*/ 94 h 103"/>
                <a:gd name="T22" fmla="*/ 126 w 126"/>
                <a:gd name="T23" fmla="*/ 99 h 103"/>
                <a:gd name="T24" fmla="*/ 117 w 126"/>
                <a:gd name="T25" fmla="*/ 101 h 103"/>
                <a:gd name="T26" fmla="*/ 103 w 126"/>
                <a:gd name="T27" fmla="*/ 101 h 103"/>
                <a:gd name="T28" fmla="*/ 97 w 126"/>
                <a:gd name="T29" fmla="*/ 99 h 103"/>
                <a:gd name="T30" fmla="*/ 90 w 126"/>
                <a:gd name="T31" fmla="*/ 97 h 103"/>
                <a:gd name="T32" fmla="*/ 85 w 126"/>
                <a:gd name="T33" fmla="*/ 97 h 103"/>
                <a:gd name="T34" fmla="*/ 29 w 126"/>
                <a:gd name="T35" fmla="*/ 101 h 103"/>
                <a:gd name="T36" fmla="*/ 13 w 126"/>
                <a:gd name="T37" fmla="*/ 101 h 103"/>
                <a:gd name="T38" fmla="*/ 18 w 126"/>
                <a:gd name="T39" fmla="*/ 97 h 103"/>
                <a:gd name="T40" fmla="*/ 29 w 126"/>
                <a:gd name="T41" fmla="*/ 97 h 103"/>
                <a:gd name="T42" fmla="*/ 36 w 126"/>
                <a:gd name="T43" fmla="*/ 97 h 103"/>
                <a:gd name="T44" fmla="*/ 40 w 126"/>
                <a:gd name="T45" fmla="*/ 94 h 103"/>
                <a:gd name="T46" fmla="*/ 40 w 126"/>
                <a:gd name="T47" fmla="*/ 92 h 103"/>
                <a:gd name="T48" fmla="*/ 34 w 126"/>
                <a:gd name="T49" fmla="*/ 97 h 103"/>
                <a:gd name="T50" fmla="*/ 29 w 126"/>
                <a:gd name="T51" fmla="*/ 94 h 103"/>
                <a:gd name="T52" fmla="*/ 22 w 126"/>
                <a:gd name="T53" fmla="*/ 97 h 103"/>
                <a:gd name="T54" fmla="*/ 20 w 126"/>
                <a:gd name="T55" fmla="*/ 94 h 103"/>
                <a:gd name="T56" fmla="*/ 18 w 126"/>
                <a:gd name="T57" fmla="*/ 94 h 103"/>
                <a:gd name="T58" fmla="*/ 13 w 126"/>
                <a:gd name="T59" fmla="*/ 94 h 103"/>
                <a:gd name="T60" fmla="*/ 13 w 126"/>
                <a:gd name="T61" fmla="*/ 88 h 103"/>
                <a:gd name="T62" fmla="*/ 34 w 126"/>
                <a:gd name="T63" fmla="*/ 79 h 103"/>
                <a:gd name="T64" fmla="*/ 49 w 126"/>
                <a:gd name="T65" fmla="*/ 74 h 103"/>
                <a:gd name="T66" fmla="*/ 61 w 126"/>
                <a:gd name="T67" fmla="*/ 81 h 103"/>
                <a:gd name="T68" fmla="*/ 76 w 126"/>
                <a:gd name="T69" fmla="*/ 79 h 103"/>
                <a:gd name="T70" fmla="*/ 67 w 126"/>
                <a:gd name="T71" fmla="*/ 74 h 103"/>
                <a:gd name="T72" fmla="*/ 56 w 126"/>
                <a:gd name="T73" fmla="*/ 70 h 103"/>
                <a:gd name="T74" fmla="*/ 40 w 126"/>
                <a:gd name="T75" fmla="*/ 74 h 103"/>
                <a:gd name="T76" fmla="*/ 18 w 126"/>
                <a:gd name="T77" fmla="*/ 72 h 103"/>
                <a:gd name="T78" fmla="*/ 18 w 126"/>
                <a:gd name="T79" fmla="*/ 70 h 103"/>
                <a:gd name="T80" fmla="*/ 20 w 126"/>
                <a:gd name="T81" fmla="*/ 65 h 103"/>
                <a:gd name="T82" fmla="*/ 16 w 126"/>
                <a:gd name="T83" fmla="*/ 67 h 103"/>
                <a:gd name="T84" fmla="*/ 18 w 126"/>
                <a:gd name="T85" fmla="*/ 63 h 103"/>
                <a:gd name="T86" fmla="*/ 22 w 126"/>
                <a:gd name="T87" fmla="*/ 61 h 103"/>
                <a:gd name="T88" fmla="*/ 18 w 126"/>
                <a:gd name="T89" fmla="*/ 63 h 103"/>
                <a:gd name="T90" fmla="*/ 16 w 126"/>
                <a:gd name="T91" fmla="*/ 65 h 103"/>
                <a:gd name="T92" fmla="*/ 11 w 126"/>
                <a:gd name="T93" fmla="*/ 56 h 103"/>
                <a:gd name="T94" fmla="*/ 0 w 126"/>
                <a:gd name="T95" fmla="*/ 47 h 103"/>
                <a:gd name="T96" fmla="*/ 18 w 126"/>
                <a:gd name="T97" fmla="*/ 27 h 103"/>
                <a:gd name="T98" fmla="*/ 25 w 126"/>
                <a:gd name="T99" fmla="*/ 5 h 103"/>
                <a:gd name="T100" fmla="*/ 34 w 126"/>
                <a:gd name="T101" fmla="*/ 5 h 103"/>
                <a:gd name="T102" fmla="*/ 43 w 126"/>
                <a:gd name="T103" fmla="*/ 5 h 103"/>
                <a:gd name="T104" fmla="*/ 52 w 126"/>
                <a:gd name="T105" fmla="*/ 2 h 103"/>
                <a:gd name="T106" fmla="*/ 54 w 126"/>
                <a:gd name="T107" fmla="*/ 0 h 103"/>
                <a:gd name="T108" fmla="*/ 67 w 126"/>
                <a:gd name="T109" fmla="*/ 0 h 103"/>
                <a:gd name="T110" fmla="*/ 72 w 126"/>
                <a:gd name="T111" fmla="*/ 7 h 103"/>
                <a:gd name="T112" fmla="*/ 76 w 126"/>
                <a:gd name="T113" fmla="*/ 14 h 103"/>
                <a:gd name="T114" fmla="*/ 79 w 126"/>
                <a:gd name="T115" fmla="*/ 14 h 103"/>
                <a:gd name="T116" fmla="*/ 83 w 126"/>
                <a:gd name="T117" fmla="*/ 14 h 103"/>
                <a:gd name="T118" fmla="*/ 88 w 126"/>
                <a:gd name="T119" fmla="*/ 18 h 103"/>
                <a:gd name="T120" fmla="*/ 88 w 126"/>
                <a:gd name="T121" fmla="*/ 2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" h="103">
                  <a:moveTo>
                    <a:pt x="92" y="27"/>
                  </a:move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6" y="41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8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2" y="70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2"/>
                  </a:lnTo>
                  <a:lnTo>
                    <a:pt x="112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6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23" y="81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5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2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4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99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2" y="101"/>
                  </a:lnTo>
                  <a:lnTo>
                    <a:pt x="112" y="101"/>
                  </a:lnTo>
                  <a:lnTo>
                    <a:pt x="112" y="101"/>
                  </a:lnTo>
                  <a:lnTo>
                    <a:pt x="110" y="101"/>
                  </a:lnTo>
                  <a:lnTo>
                    <a:pt x="110" y="103"/>
                  </a:lnTo>
                  <a:lnTo>
                    <a:pt x="110" y="103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6" y="103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7" y="101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7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4" y="99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90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4"/>
                  </a:lnTo>
                  <a:lnTo>
                    <a:pt x="79" y="94"/>
                  </a:lnTo>
                  <a:lnTo>
                    <a:pt x="70" y="94"/>
                  </a:lnTo>
                  <a:lnTo>
                    <a:pt x="63" y="94"/>
                  </a:lnTo>
                  <a:lnTo>
                    <a:pt x="56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5" y="94"/>
                  </a:lnTo>
                  <a:lnTo>
                    <a:pt x="45" y="97"/>
                  </a:lnTo>
                  <a:lnTo>
                    <a:pt x="43" y="97"/>
                  </a:lnTo>
                  <a:lnTo>
                    <a:pt x="43" y="99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2" y="101"/>
                  </a:lnTo>
                  <a:lnTo>
                    <a:pt x="22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18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2" y="97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2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36" y="97"/>
                  </a:lnTo>
                  <a:lnTo>
                    <a:pt x="38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6" y="88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5" y="83"/>
                  </a:lnTo>
                  <a:lnTo>
                    <a:pt x="29" y="83"/>
                  </a:lnTo>
                  <a:lnTo>
                    <a:pt x="31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3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7" y="79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4" y="81"/>
                  </a:lnTo>
                  <a:lnTo>
                    <a:pt x="76" y="79"/>
                  </a:lnTo>
                  <a:lnTo>
                    <a:pt x="76" y="79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70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7" y="67"/>
                  </a:lnTo>
                  <a:lnTo>
                    <a:pt x="47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3" y="70"/>
                  </a:lnTo>
                  <a:lnTo>
                    <a:pt x="43" y="70"/>
                  </a:lnTo>
                  <a:lnTo>
                    <a:pt x="43" y="70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8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29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5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20" y="63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58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3" y="65"/>
                  </a:lnTo>
                  <a:lnTo>
                    <a:pt x="16" y="67"/>
                  </a:lnTo>
                  <a:lnTo>
                    <a:pt x="13" y="67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2" y="45"/>
                  </a:lnTo>
                  <a:lnTo>
                    <a:pt x="4" y="43"/>
                  </a:lnTo>
                  <a:lnTo>
                    <a:pt x="7" y="43"/>
                  </a:lnTo>
                  <a:lnTo>
                    <a:pt x="7" y="41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6" y="29"/>
                  </a:lnTo>
                  <a:lnTo>
                    <a:pt x="18" y="27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7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8" y="16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506"/>
            <p:cNvSpPr>
              <a:spLocks/>
            </p:cNvSpPr>
            <p:nvPr/>
          </p:nvSpPr>
          <p:spPr bwMode="auto">
            <a:xfrm>
              <a:off x="6815906" y="2687112"/>
              <a:ext cx="738770" cy="628456"/>
            </a:xfrm>
            <a:custGeom>
              <a:avLst/>
              <a:gdLst>
                <a:gd name="T0" fmla="*/ 155 w 442"/>
                <a:gd name="T1" fmla="*/ 34 h 376"/>
                <a:gd name="T2" fmla="*/ 211 w 442"/>
                <a:gd name="T3" fmla="*/ 72 h 376"/>
                <a:gd name="T4" fmla="*/ 263 w 442"/>
                <a:gd name="T5" fmla="*/ 81 h 376"/>
                <a:gd name="T6" fmla="*/ 283 w 442"/>
                <a:gd name="T7" fmla="*/ 90 h 376"/>
                <a:gd name="T8" fmla="*/ 287 w 442"/>
                <a:gd name="T9" fmla="*/ 99 h 376"/>
                <a:gd name="T10" fmla="*/ 290 w 442"/>
                <a:gd name="T11" fmla="*/ 106 h 376"/>
                <a:gd name="T12" fmla="*/ 292 w 442"/>
                <a:gd name="T13" fmla="*/ 108 h 376"/>
                <a:gd name="T14" fmla="*/ 299 w 442"/>
                <a:gd name="T15" fmla="*/ 110 h 376"/>
                <a:gd name="T16" fmla="*/ 299 w 442"/>
                <a:gd name="T17" fmla="*/ 113 h 376"/>
                <a:gd name="T18" fmla="*/ 303 w 442"/>
                <a:gd name="T19" fmla="*/ 117 h 376"/>
                <a:gd name="T20" fmla="*/ 305 w 442"/>
                <a:gd name="T21" fmla="*/ 119 h 376"/>
                <a:gd name="T22" fmla="*/ 317 w 442"/>
                <a:gd name="T23" fmla="*/ 126 h 376"/>
                <a:gd name="T24" fmla="*/ 323 w 442"/>
                <a:gd name="T25" fmla="*/ 142 h 376"/>
                <a:gd name="T26" fmla="*/ 319 w 442"/>
                <a:gd name="T27" fmla="*/ 144 h 376"/>
                <a:gd name="T28" fmla="*/ 321 w 442"/>
                <a:gd name="T29" fmla="*/ 149 h 376"/>
                <a:gd name="T30" fmla="*/ 328 w 442"/>
                <a:gd name="T31" fmla="*/ 158 h 376"/>
                <a:gd name="T32" fmla="*/ 335 w 442"/>
                <a:gd name="T33" fmla="*/ 171 h 376"/>
                <a:gd name="T34" fmla="*/ 348 w 442"/>
                <a:gd name="T35" fmla="*/ 180 h 376"/>
                <a:gd name="T36" fmla="*/ 350 w 442"/>
                <a:gd name="T37" fmla="*/ 185 h 376"/>
                <a:gd name="T38" fmla="*/ 359 w 442"/>
                <a:gd name="T39" fmla="*/ 196 h 376"/>
                <a:gd name="T40" fmla="*/ 420 w 442"/>
                <a:gd name="T41" fmla="*/ 225 h 376"/>
                <a:gd name="T42" fmla="*/ 433 w 442"/>
                <a:gd name="T43" fmla="*/ 290 h 376"/>
                <a:gd name="T44" fmla="*/ 326 w 442"/>
                <a:gd name="T45" fmla="*/ 322 h 376"/>
                <a:gd name="T46" fmla="*/ 260 w 442"/>
                <a:gd name="T47" fmla="*/ 356 h 376"/>
                <a:gd name="T48" fmla="*/ 209 w 442"/>
                <a:gd name="T49" fmla="*/ 353 h 376"/>
                <a:gd name="T50" fmla="*/ 195 w 442"/>
                <a:gd name="T51" fmla="*/ 356 h 376"/>
                <a:gd name="T52" fmla="*/ 195 w 442"/>
                <a:gd name="T53" fmla="*/ 369 h 376"/>
                <a:gd name="T54" fmla="*/ 186 w 442"/>
                <a:gd name="T55" fmla="*/ 369 h 376"/>
                <a:gd name="T56" fmla="*/ 180 w 442"/>
                <a:gd name="T57" fmla="*/ 358 h 376"/>
                <a:gd name="T58" fmla="*/ 171 w 442"/>
                <a:gd name="T59" fmla="*/ 347 h 376"/>
                <a:gd name="T60" fmla="*/ 162 w 442"/>
                <a:gd name="T61" fmla="*/ 338 h 376"/>
                <a:gd name="T62" fmla="*/ 157 w 442"/>
                <a:gd name="T63" fmla="*/ 329 h 376"/>
                <a:gd name="T64" fmla="*/ 153 w 442"/>
                <a:gd name="T65" fmla="*/ 322 h 376"/>
                <a:gd name="T66" fmla="*/ 148 w 442"/>
                <a:gd name="T67" fmla="*/ 311 h 376"/>
                <a:gd name="T68" fmla="*/ 141 w 442"/>
                <a:gd name="T69" fmla="*/ 302 h 376"/>
                <a:gd name="T70" fmla="*/ 132 w 442"/>
                <a:gd name="T71" fmla="*/ 290 h 376"/>
                <a:gd name="T72" fmla="*/ 123 w 442"/>
                <a:gd name="T73" fmla="*/ 284 h 376"/>
                <a:gd name="T74" fmla="*/ 112 w 442"/>
                <a:gd name="T75" fmla="*/ 272 h 376"/>
                <a:gd name="T76" fmla="*/ 110 w 442"/>
                <a:gd name="T77" fmla="*/ 268 h 376"/>
                <a:gd name="T78" fmla="*/ 103 w 442"/>
                <a:gd name="T79" fmla="*/ 259 h 376"/>
                <a:gd name="T80" fmla="*/ 103 w 442"/>
                <a:gd name="T81" fmla="*/ 248 h 376"/>
                <a:gd name="T82" fmla="*/ 101 w 442"/>
                <a:gd name="T83" fmla="*/ 241 h 376"/>
                <a:gd name="T84" fmla="*/ 101 w 442"/>
                <a:gd name="T85" fmla="*/ 227 h 376"/>
                <a:gd name="T86" fmla="*/ 99 w 442"/>
                <a:gd name="T87" fmla="*/ 221 h 376"/>
                <a:gd name="T88" fmla="*/ 92 w 442"/>
                <a:gd name="T89" fmla="*/ 212 h 376"/>
                <a:gd name="T90" fmla="*/ 87 w 442"/>
                <a:gd name="T91" fmla="*/ 200 h 376"/>
                <a:gd name="T92" fmla="*/ 76 w 442"/>
                <a:gd name="T93" fmla="*/ 191 h 376"/>
                <a:gd name="T94" fmla="*/ 69 w 442"/>
                <a:gd name="T95" fmla="*/ 187 h 376"/>
                <a:gd name="T96" fmla="*/ 58 w 442"/>
                <a:gd name="T97" fmla="*/ 173 h 376"/>
                <a:gd name="T98" fmla="*/ 56 w 442"/>
                <a:gd name="T99" fmla="*/ 160 h 376"/>
                <a:gd name="T100" fmla="*/ 47 w 442"/>
                <a:gd name="T101" fmla="*/ 151 h 376"/>
                <a:gd name="T102" fmla="*/ 27 w 442"/>
                <a:gd name="T103" fmla="*/ 119 h 376"/>
                <a:gd name="T104" fmla="*/ 16 w 442"/>
                <a:gd name="T105" fmla="*/ 101 h 376"/>
                <a:gd name="T106" fmla="*/ 9 w 442"/>
                <a:gd name="T107" fmla="*/ 97 h 376"/>
                <a:gd name="T108" fmla="*/ 7 w 442"/>
                <a:gd name="T109" fmla="*/ 97 h 376"/>
                <a:gd name="T110" fmla="*/ 4 w 442"/>
                <a:gd name="T111" fmla="*/ 97 h 376"/>
                <a:gd name="T112" fmla="*/ 2 w 442"/>
                <a:gd name="T113" fmla="*/ 99 h 376"/>
                <a:gd name="T114" fmla="*/ 2 w 442"/>
                <a:gd name="T115" fmla="*/ 95 h 376"/>
                <a:gd name="T116" fmla="*/ 4 w 442"/>
                <a:gd name="T117" fmla="*/ 79 h 376"/>
                <a:gd name="T118" fmla="*/ 4 w 442"/>
                <a:gd name="T119" fmla="*/ 68 h 376"/>
                <a:gd name="T120" fmla="*/ 58 w 442"/>
                <a:gd name="T121" fmla="*/ 43 h 376"/>
                <a:gd name="T122" fmla="*/ 81 w 442"/>
                <a:gd name="T123" fmla="*/ 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42" h="376">
                  <a:moveTo>
                    <a:pt x="99" y="5"/>
                  </a:move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8" y="5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2" y="7"/>
                  </a:lnTo>
                  <a:lnTo>
                    <a:pt x="114" y="9"/>
                  </a:lnTo>
                  <a:lnTo>
                    <a:pt x="117" y="9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4"/>
                  </a:lnTo>
                  <a:lnTo>
                    <a:pt x="123" y="14"/>
                  </a:lnTo>
                  <a:lnTo>
                    <a:pt x="126" y="16"/>
                  </a:lnTo>
                  <a:lnTo>
                    <a:pt x="128" y="16"/>
                  </a:lnTo>
                  <a:lnTo>
                    <a:pt x="130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35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41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30"/>
                  </a:lnTo>
                  <a:lnTo>
                    <a:pt x="150" y="30"/>
                  </a:lnTo>
                  <a:lnTo>
                    <a:pt x="153" y="32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7" y="36"/>
                  </a:lnTo>
                  <a:lnTo>
                    <a:pt x="159" y="39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4" y="41"/>
                  </a:lnTo>
                  <a:lnTo>
                    <a:pt x="166" y="43"/>
                  </a:lnTo>
                  <a:lnTo>
                    <a:pt x="168" y="45"/>
                  </a:lnTo>
                  <a:lnTo>
                    <a:pt x="171" y="45"/>
                  </a:lnTo>
                  <a:lnTo>
                    <a:pt x="173" y="47"/>
                  </a:lnTo>
                  <a:lnTo>
                    <a:pt x="175" y="50"/>
                  </a:lnTo>
                  <a:lnTo>
                    <a:pt x="177" y="52"/>
                  </a:lnTo>
                  <a:lnTo>
                    <a:pt x="180" y="54"/>
                  </a:lnTo>
                  <a:lnTo>
                    <a:pt x="182" y="54"/>
                  </a:lnTo>
                  <a:lnTo>
                    <a:pt x="184" y="56"/>
                  </a:lnTo>
                  <a:lnTo>
                    <a:pt x="189" y="59"/>
                  </a:lnTo>
                  <a:lnTo>
                    <a:pt x="191" y="61"/>
                  </a:lnTo>
                  <a:lnTo>
                    <a:pt x="193" y="63"/>
                  </a:lnTo>
                  <a:lnTo>
                    <a:pt x="195" y="65"/>
                  </a:lnTo>
                  <a:lnTo>
                    <a:pt x="198" y="65"/>
                  </a:lnTo>
                  <a:lnTo>
                    <a:pt x="200" y="68"/>
                  </a:lnTo>
                  <a:lnTo>
                    <a:pt x="202" y="70"/>
                  </a:lnTo>
                  <a:lnTo>
                    <a:pt x="202" y="70"/>
                  </a:lnTo>
                  <a:lnTo>
                    <a:pt x="202" y="70"/>
                  </a:lnTo>
                  <a:lnTo>
                    <a:pt x="202" y="70"/>
                  </a:lnTo>
                  <a:lnTo>
                    <a:pt x="204" y="70"/>
                  </a:lnTo>
                  <a:lnTo>
                    <a:pt x="204" y="70"/>
                  </a:lnTo>
                  <a:lnTo>
                    <a:pt x="204" y="70"/>
                  </a:lnTo>
                  <a:lnTo>
                    <a:pt x="206" y="72"/>
                  </a:lnTo>
                  <a:lnTo>
                    <a:pt x="209" y="72"/>
                  </a:lnTo>
                  <a:lnTo>
                    <a:pt x="211" y="72"/>
                  </a:lnTo>
                  <a:lnTo>
                    <a:pt x="211" y="72"/>
                  </a:lnTo>
                  <a:lnTo>
                    <a:pt x="213" y="72"/>
                  </a:lnTo>
                  <a:lnTo>
                    <a:pt x="215" y="72"/>
                  </a:lnTo>
                  <a:lnTo>
                    <a:pt x="218" y="72"/>
                  </a:lnTo>
                  <a:lnTo>
                    <a:pt x="220" y="72"/>
                  </a:lnTo>
                  <a:lnTo>
                    <a:pt x="222" y="72"/>
                  </a:lnTo>
                  <a:lnTo>
                    <a:pt x="224" y="72"/>
                  </a:lnTo>
                  <a:lnTo>
                    <a:pt x="227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31" y="74"/>
                  </a:lnTo>
                  <a:lnTo>
                    <a:pt x="233" y="74"/>
                  </a:lnTo>
                  <a:lnTo>
                    <a:pt x="236" y="74"/>
                  </a:lnTo>
                  <a:lnTo>
                    <a:pt x="236" y="74"/>
                  </a:lnTo>
                  <a:lnTo>
                    <a:pt x="238" y="74"/>
                  </a:lnTo>
                  <a:lnTo>
                    <a:pt x="238" y="74"/>
                  </a:lnTo>
                  <a:lnTo>
                    <a:pt x="240" y="74"/>
                  </a:lnTo>
                  <a:lnTo>
                    <a:pt x="240" y="72"/>
                  </a:lnTo>
                  <a:lnTo>
                    <a:pt x="242" y="74"/>
                  </a:lnTo>
                  <a:lnTo>
                    <a:pt x="245" y="74"/>
                  </a:lnTo>
                  <a:lnTo>
                    <a:pt x="247" y="74"/>
                  </a:lnTo>
                  <a:lnTo>
                    <a:pt x="249" y="74"/>
                  </a:lnTo>
                  <a:lnTo>
                    <a:pt x="251" y="74"/>
                  </a:lnTo>
                  <a:lnTo>
                    <a:pt x="254" y="74"/>
                  </a:lnTo>
                  <a:lnTo>
                    <a:pt x="256" y="74"/>
                  </a:lnTo>
                  <a:lnTo>
                    <a:pt x="258" y="74"/>
                  </a:lnTo>
                  <a:lnTo>
                    <a:pt x="258" y="77"/>
                  </a:lnTo>
                  <a:lnTo>
                    <a:pt x="258" y="77"/>
                  </a:lnTo>
                  <a:lnTo>
                    <a:pt x="258" y="77"/>
                  </a:lnTo>
                  <a:lnTo>
                    <a:pt x="258" y="77"/>
                  </a:lnTo>
                  <a:lnTo>
                    <a:pt x="260" y="77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6"/>
                  </a:lnTo>
                  <a:lnTo>
                    <a:pt x="263" y="86"/>
                  </a:lnTo>
                  <a:lnTo>
                    <a:pt x="265" y="86"/>
                  </a:lnTo>
                  <a:lnTo>
                    <a:pt x="265" y="86"/>
                  </a:lnTo>
                  <a:lnTo>
                    <a:pt x="265" y="86"/>
                  </a:lnTo>
                  <a:lnTo>
                    <a:pt x="265" y="86"/>
                  </a:lnTo>
                  <a:lnTo>
                    <a:pt x="269" y="86"/>
                  </a:lnTo>
                  <a:lnTo>
                    <a:pt x="274" y="86"/>
                  </a:lnTo>
                  <a:lnTo>
                    <a:pt x="276" y="86"/>
                  </a:lnTo>
                  <a:lnTo>
                    <a:pt x="281" y="86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3" y="88"/>
                  </a:lnTo>
                  <a:lnTo>
                    <a:pt x="283" y="88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0"/>
                  </a:lnTo>
                  <a:lnTo>
                    <a:pt x="283" y="92"/>
                  </a:lnTo>
                  <a:lnTo>
                    <a:pt x="283" y="92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9"/>
                  </a:lnTo>
                  <a:lnTo>
                    <a:pt x="285" y="99"/>
                  </a:lnTo>
                  <a:lnTo>
                    <a:pt x="287" y="99"/>
                  </a:lnTo>
                  <a:lnTo>
                    <a:pt x="287" y="99"/>
                  </a:lnTo>
                  <a:lnTo>
                    <a:pt x="287" y="99"/>
                  </a:lnTo>
                  <a:lnTo>
                    <a:pt x="287" y="99"/>
                  </a:lnTo>
                  <a:lnTo>
                    <a:pt x="287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90" y="99"/>
                  </a:lnTo>
                  <a:lnTo>
                    <a:pt x="287" y="99"/>
                  </a:lnTo>
                  <a:lnTo>
                    <a:pt x="287" y="99"/>
                  </a:lnTo>
                  <a:lnTo>
                    <a:pt x="287" y="99"/>
                  </a:lnTo>
                  <a:lnTo>
                    <a:pt x="287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0" y="101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0" y="104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4"/>
                  </a:lnTo>
                  <a:lnTo>
                    <a:pt x="290" y="104"/>
                  </a:lnTo>
                  <a:lnTo>
                    <a:pt x="290" y="104"/>
                  </a:lnTo>
                  <a:lnTo>
                    <a:pt x="290" y="104"/>
                  </a:lnTo>
                  <a:lnTo>
                    <a:pt x="290" y="104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6"/>
                  </a:lnTo>
                  <a:lnTo>
                    <a:pt x="292" y="106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10"/>
                  </a:lnTo>
                  <a:lnTo>
                    <a:pt x="292" y="110"/>
                  </a:lnTo>
                  <a:lnTo>
                    <a:pt x="292" y="110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2" y="108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6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299" y="110"/>
                  </a:lnTo>
                  <a:lnTo>
                    <a:pt x="301" y="110"/>
                  </a:lnTo>
                  <a:lnTo>
                    <a:pt x="301" y="110"/>
                  </a:lnTo>
                  <a:lnTo>
                    <a:pt x="301" y="110"/>
                  </a:lnTo>
                  <a:lnTo>
                    <a:pt x="301" y="110"/>
                  </a:lnTo>
                  <a:lnTo>
                    <a:pt x="301" y="110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6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5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08" y="122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0" y="124"/>
                  </a:lnTo>
                  <a:lnTo>
                    <a:pt x="312" y="124"/>
                  </a:lnTo>
                  <a:lnTo>
                    <a:pt x="312" y="124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4" y="126"/>
                  </a:lnTo>
                  <a:lnTo>
                    <a:pt x="314" y="126"/>
                  </a:lnTo>
                  <a:lnTo>
                    <a:pt x="314" y="126"/>
                  </a:lnTo>
                  <a:lnTo>
                    <a:pt x="314" y="126"/>
                  </a:lnTo>
                  <a:lnTo>
                    <a:pt x="317" y="126"/>
                  </a:lnTo>
                  <a:lnTo>
                    <a:pt x="317" y="126"/>
                  </a:lnTo>
                  <a:lnTo>
                    <a:pt x="317" y="128"/>
                  </a:lnTo>
                  <a:lnTo>
                    <a:pt x="319" y="128"/>
                  </a:lnTo>
                  <a:lnTo>
                    <a:pt x="319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19" y="131"/>
                  </a:lnTo>
                  <a:lnTo>
                    <a:pt x="319" y="131"/>
                  </a:lnTo>
                  <a:lnTo>
                    <a:pt x="319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28"/>
                  </a:lnTo>
                  <a:lnTo>
                    <a:pt x="317" y="128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3"/>
                  </a:lnTo>
                  <a:lnTo>
                    <a:pt x="317" y="133"/>
                  </a:lnTo>
                  <a:lnTo>
                    <a:pt x="319" y="135"/>
                  </a:lnTo>
                  <a:lnTo>
                    <a:pt x="319" y="135"/>
                  </a:lnTo>
                  <a:lnTo>
                    <a:pt x="319" y="135"/>
                  </a:lnTo>
                  <a:lnTo>
                    <a:pt x="319" y="135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3" y="137"/>
                  </a:lnTo>
                  <a:lnTo>
                    <a:pt x="323" y="140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4"/>
                  </a:lnTo>
                  <a:lnTo>
                    <a:pt x="323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4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9"/>
                  </a:lnTo>
                  <a:lnTo>
                    <a:pt x="321" y="149"/>
                  </a:lnTo>
                  <a:lnTo>
                    <a:pt x="321" y="149"/>
                  </a:lnTo>
                  <a:lnTo>
                    <a:pt x="321" y="149"/>
                  </a:lnTo>
                  <a:lnTo>
                    <a:pt x="321" y="149"/>
                  </a:lnTo>
                  <a:lnTo>
                    <a:pt x="321" y="151"/>
                  </a:lnTo>
                  <a:lnTo>
                    <a:pt x="323" y="151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6" y="155"/>
                  </a:lnTo>
                  <a:lnTo>
                    <a:pt x="326" y="155"/>
                  </a:lnTo>
                  <a:lnTo>
                    <a:pt x="326" y="155"/>
                  </a:lnTo>
                  <a:lnTo>
                    <a:pt x="326" y="155"/>
                  </a:lnTo>
                  <a:lnTo>
                    <a:pt x="323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3" y="153"/>
                  </a:lnTo>
                  <a:lnTo>
                    <a:pt x="323" y="155"/>
                  </a:lnTo>
                  <a:lnTo>
                    <a:pt x="323" y="155"/>
                  </a:lnTo>
                  <a:lnTo>
                    <a:pt x="323" y="155"/>
                  </a:lnTo>
                  <a:lnTo>
                    <a:pt x="323" y="155"/>
                  </a:lnTo>
                  <a:lnTo>
                    <a:pt x="323" y="155"/>
                  </a:lnTo>
                  <a:lnTo>
                    <a:pt x="326" y="155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58"/>
                  </a:lnTo>
                  <a:lnTo>
                    <a:pt x="328" y="158"/>
                  </a:lnTo>
                  <a:lnTo>
                    <a:pt x="328" y="158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28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7"/>
                  </a:lnTo>
                  <a:lnTo>
                    <a:pt x="332" y="167"/>
                  </a:lnTo>
                  <a:lnTo>
                    <a:pt x="332" y="167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2" y="169"/>
                  </a:lnTo>
                  <a:lnTo>
                    <a:pt x="335" y="169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3"/>
                  </a:lnTo>
                  <a:lnTo>
                    <a:pt x="337" y="173"/>
                  </a:lnTo>
                  <a:lnTo>
                    <a:pt x="337" y="173"/>
                  </a:lnTo>
                  <a:lnTo>
                    <a:pt x="337" y="176"/>
                  </a:lnTo>
                  <a:lnTo>
                    <a:pt x="337" y="176"/>
                  </a:lnTo>
                  <a:lnTo>
                    <a:pt x="337" y="176"/>
                  </a:lnTo>
                  <a:lnTo>
                    <a:pt x="337" y="176"/>
                  </a:lnTo>
                  <a:lnTo>
                    <a:pt x="337" y="178"/>
                  </a:lnTo>
                  <a:lnTo>
                    <a:pt x="337" y="178"/>
                  </a:lnTo>
                  <a:lnTo>
                    <a:pt x="339" y="178"/>
                  </a:lnTo>
                  <a:lnTo>
                    <a:pt x="339" y="178"/>
                  </a:lnTo>
                  <a:lnTo>
                    <a:pt x="339" y="180"/>
                  </a:lnTo>
                  <a:lnTo>
                    <a:pt x="341" y="180"/>
                  </a:lnTo>
                  <a:lnTo>
                    <a:pt x="341" y="180"/>
                  </a:lnTo>
                  <a:lnTo>
                    <a:pt x="344" y="182"/>
                  </a:lnTo>
                  <a:lnTo>
                    <a:pt x="346" y="180"/>
                  </a:lnTo>
                  <a:lnTo>
                    <a:pt x="346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0"/>
                  </a:lnTo>
                  <a:lnTo>
                    <a:pt x="348" y="182"/>
                  </a:lnTo>
                  <a:lnTo>
                    <a:pt x="348" y="182"/>
                  </a:lnTo>
                  <a:lnTo>
                    <a:pt x="348" y="182"/>
                  </a:lnTo>
                  <a:lnTo>
                    <a:pt x="348" y="182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0"/>
                  </a:lnTo>
                  <a:lnTo>
                    <a:pt x="350" y="180"/>
                  </a:lnTo>
                  <a:lnTo>
                    <a:pt x="350" y="180"/>
                  </a:lnTo>
                  <a:lnTo>
                    <a:pt x="350" y="180"/>
                  </a:lnTo>
                  <a:lnTo>
                    <a:pt x="350" y="180"/>
                  </a:lnTo>
                  <a:lnTo>
                    <a:pt x="350" y="180"/>
                  </a:lnTo>
                  <a:lnTo>
                    <a:pt x="350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0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2"/>
                  </a:lnTo>
                  <a:lnTo>
                    <a:pt x="350" y="185"/>
                  </a:lnTo>
                  <a:lnTo>
                    <a:pt x="350" y="185"/>
                  </a:lnTo>
                  <a:lnTo>
                    <a:pt x="350" y="185"/>
                  </a:lnTo>
                  <a:lnTo>
                    <a:pt x="350" y="185"/>
                  </a:lnTo>
                  <a:lnTo>
                    <a:pt x="350" y="185"/>
                  </a:lnTo>
                  <a:lnTo>
                    <a:pt x="350" y="185"/>
                  </a:lnTo>
                  <a:lnTo>
                    <a:pt x="350" y="185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48" y="187"/>
                  </a:lnTo>
                  <a:lnTo>
                    <a:pt x="348" y="187"/>
                  </a:lnTo>
                  <a:lnTo>
                    <a:pt x="348" y="187"/>
                  </a:lnTo>
                  <a:lnTo>
                    <a:pt x="348" y="187"/>
                  </a:lnTo>
                  <a:lnTo>
                    <a:pt x="348" y="187"/>
                  </a:lnTo>
                  <a:lnTo>
                    <a:pt x="348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0" y="187"/>
                  </a:lnTo>
                  <a:lnTo>
                    <a:pt x="353" y="187"/>
                  </a:lnTo>
                  <a:lnTo>
                    <a:pt x="353" y="187"/>
                  </a:lnTo>
                  <a:lnTo>
                    <a:pt x="353" y="187"/>
                  </a:lnTo>
                  <a:lnTo>
                    <a:pt x="355" y="189"/>
                  </a:lnTo>
                  <a:lnTo>
                    <a:pt x="355" y="189"/>
                  </a:lnTo>
                  <a:lnTo>
                    <a:pt x="355" y="189"/>
                  </a:lnTo>
                  <a:lnTo>
                    <a:pt x="355" y="189"/>
                  </a:lnTo>
                  <a:lnTo>
                    <a:pt x="355" y="191"/>
                  </a:lnTo>
                  <a:lnTo>
                    <a:pt x="355" y="191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9" y="196"/>
                  </a:lnTo>
                  <a:lnTo>
                    <a:pt x="359" y="198"/>
                  </a:lnTo>
                  <a:lnTo>
                    <a:pt x="362" y="198"/>
                  </a:lnTo>
                  <a:lnTo>
                    <a:pt x="362" y="200"/>
                  </a:lnTo>
                  <a:lnTo>
                    <a:pt x="364" y="203"/>
                  </a:lnTo>
                  <a:lnTo>
                    <a:pt x="364" y="203"/>
                  </a:lnTo>
                  <a:lnTo>
                    <a:pt x="366" y="205"/>
                  </a:lnTo>
                  <a:lnTo>
                    <a:pt x="366" y="207"/>
                  </a:lnTo>
                  <a:lnTo>
                    <a:pt x="368" y="207"/>
                  </a:lnTo>
                  <a:lnTo>
                    <a:pt x="368" y="209"/>
                  </a:lnTo>
                  <a:lnTo>
                    <a:pt x="370" y="212"/>
                  </a:lnTo>
                  <a:lnTo>
                    <a:pt x="370" y="212"/>
                  </a:lnTo>
                  <a:lnTo>
                    <a:pt x="373" y="214"/>
                  </a:lnTo>
                  <a:lnTo>
                    <a:pt x="375" y="216"/>
                  </a:lnTo>
                  <a:lnTo>
                    <a:pt x="375" y="216"/>
                  </a:lnTo>
                  <a:lnTo>
                    <a:pt x="377" y="218"/>
                  </a:lnTo>
                  <a:lnTo>
                    <a:pt x="377" y="221"/>
                  </a:lnTo>
                  <a:lnTo>
                    <a:pt x="377" y="221"/>
                  </a:lnTo>
                  <a:lnTo>
                    <a:pt x="379" y="221"/>
                  </a:lnTo>
                  <a:lnTo>
                    <a:pt x="382" y="221"/>
                  </a:lnTo>
                  <a:lnTo>
                    <a:pt x="384" y="221"/>
                  </a:lnTo>
                  <a:lnTo>
                    <a:pt x="388" y="221"/>
                  </a:lnTo>
                  <a:lnTo>
                    <a:pt x="391" y="223"/>
                  </a:lnTo>
                  <a:lnTo>
                    <a:pt x="393" y="223"/>
                  </a:lnTo>
                  <a:lnTo>
                    <a:pt x="397" y="223"/>
                  </a:lnTo>
                  <a:lnTo>
                    <a:pt x="400" y="223"/>
                  </a:lnTo>
                  <a:lnTo>
                    <a:pt x="402" y="223"/>
                  </a:lnTo>
                  <a:lnTo>
                    <a:pt x="404" y="223"/>
                  </a:lnTo>
                  <a:lnTo>
                    <a:pt x="409" y="225"/>
                  </a:lnTo>
                  <a:lnTo>
                    <a:pt x="411" y="225"/>
                  </a:lnTo>
                  <a:lnTo>
                    <a:pt x="413" y="225"/>
                  </a:lnTo>
                  <a:lnTo>
                    <a:pt x="418" y="225"/>
                  </a:lnTo>
                  <a:lnTo>
                    <a:pt x="420" y="225"/>
                  </a:lnTo>
                  <a:lnTo>
                    <a:pt x="422" y="227"/>
                  </a:lnTo>
                  <a:lnTo>
                    <a:pt x="424" y="227"/>
                  </a:lnTo>
                  <a:lnTo>
                    <a:pt x="429" y="227"/>
                  </a:lnTo>
                  <a:lnTo>
                    <a:pt x="431" y="227"/>
                  </a:lnTo>
                  <a:lnTo>
                    <a:pt x="431" y="227"/>
                  </a:lnTo>
                  <a:lnTo>
                    <a:pt x="433" y="225"/>
                  </a:lnTo>
                  <a:lnTo>
                    <a:pt x="433" y="227"/>
                  </a:lnTo>
                  <a:lnTo>
                    <a:pt x="436" y="232"/>
                  </a:lnTo>
                  <a:lnTo>
                    <a:pt x="438" y="234"/>
                  </a:lnTo>
                  <a:lnTo>
                    <a:pt x="440" y="236"/>
                  </a:lnTo>
                  <a:lnTo>
                    <a:pt x="442" y="241"/>
                  </a:lnTo>
                  <a:lnTo>
                    <a:pt x="442" y="241"/>
                  </a:lnTo>
                  <a:lnTo>
                    <a:pt x="442" y="243"/>
                  </a:lnTo>
                  <a:lnTo>
                    <a:pt x="442" y="243"/>
                  </a:lnTo>
                  <a:lnTo>
                    <a:pt x="442" y="245"/>
                  </a:lnTo>
                  <a:lnTo>
                    <a:pt x="442" y="245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0" y="257"/>
                  </a:lnTo>
                  <a:lnTo>
                    <a:pt x="440" y="259"/>
                  </a:lnTo>
                  <a:lnTo>
                    <a:pt x="440" y="263"/>
                  </a:lnTo>
                  <a:lnTo>
                    <a:pt x="438" y="268"/>
                  </a:lnTo>
                  <a:lnTo>
                    <a:pt x="438" y="270"/>
                  </a:lnTo>
                  <a:lnTo>
                    <a:pt x="438" y="275"/>
                  </a:lnTo>
                  <a:lnTo>
                    <a:pt x="436" y="279"/>
                  </a:lnTo>
                  <a:lnTo>
                    <a:pt x="436" y="281"/>
                  </a:lnTo>
                  <a:lnTo>
                    <a:pt x="436" y="284"/>
                  </a:lnTo>
                  <a:lnTo>
                    <a:pt x="436" y="286"/>
                  </a:lnTo>
                  <a:lnTo>
                    <a:pt x="433" y="288"/>
                  </a:lnTo>
                  <a:lnTo>
                    <a:pt x="433" y="288"/>
                  </a:lnTo>
                  <a:lnTo>
                    <a:pt x="433" y="290"/>
                  </a:lnTo>
                  <a:lnTo>
                    <a:pt x="431" y="290"/>
                  </a:lnTo>
                  <a:lnTo>
                    <a:pt x="427" y="293"/>
                  </a:lnTo>
                  <a:lnTo>
                    <a:pt x="424" y="295"/>
                  </a:lnTo>
                  <a:lnTo>
                    <a:pt x="420" y="295"/>
                  </a:lnTo>
                  <a:lnTo>
                    <a:pt x="418" y="297"/>
                  </a:lnTo>
                  <a:lnTo>
                    <a:pt x="413" y="297"/>
                  </a:lnTo>
                  <a:lnTo>
                    <a:pt x="411" y="299"/>
                  </a:lnTo>
                  <a:lnTo>
                    <a:pt x="406" y="302"/>
                  </a:lnTo>
                  <a:lnTo>
                    <a:pt x="404" y="302"/>
                  </a:lnTo>
                  <a:lnTo>
                    <a:pt x="400" y="304"/>
                  </a:lnTo>
                  <a:lnTo>
                    <a:pt x="397" y="304"/>
                  </a:lnTo>
                  <a:lnTo>
                    <a:pt x="393" y="306"/>
                  </a:lnTo>
                  <a:lnTo>
                    <a:pt x="391" y="308"/>
                  </a:lnTo>
                  <a:lnTo>
                    <a:pt x="386" y="308"/>
                  </a:lnTo>
                  <a:lnTo>
                    <a:pt x="382" y="311"/>
                  </a:lnTo>
                  <a:lnTo>
                    <a:pt x="379" y="311"/>
                  </a:lnTo>
                  <a:lnTo>
                    <a:pt x="373" y="313"/>
                  </a:lnTo>
                  <a:lnTo>
                    <a:pt x="370" y="315"/>
                  </a:lnTo>
                  <a:lnTo>
                    <a:pt x="368" y="315"/>
                  </a:lnTo>
                  <a:lnTo>
                    <a:pt x="364" y="315"/>
                  </a:lnTo>
                  <a:lnTo>
                    <a:pt x="362" y="315"/>
                  </a:lnTo>
                  <a:lnTo>
                    <a:pt x="357" y="317"/>
                  </a:lnTo>
                  <a:lnTo>
                    <a:pt x="355" y="317"/>
                  </a:lnTo>
                  <a:lnTo>
                    <a:pt x="350" y="317"/>
                  </a:lnTo>
                  <a:lnTo>
                    <a:pt x="348" y="317"/>
                  </a:lnTo>
                  <a:lnTo>
                    <a:pt x="344" y="317"/>
                  </a:lnTo>
                  <a:lnTo>
                    <a:pt x="341" y="320"/>
                  </a:lnTo>
                  <a:lnTo>
                    <a:pt x="337" y="320"/>
                  </a:lnTo>
                  <a:lnTo>
                    <a:pt x="335" y="320"/>
                  </a:lnTo>
                  <a:lnTo>
                    <a:pt x="332" y="320"/>
                  </a:lnTo>
                  <a:lnTo>
                    <a:pt x="328" y="322"/>
                  </a:lnTo>
                  <a:lnTo>
                    <a:pt x="326" y="322"/>
                  </a:lnTo>
                  <a:lnTo>
                    <a:pt x="321" y="322"/>
                  </a:lnTo>
                  <a:lnTo>
                    <a:pt x="319" y="322"/>
                  </a:lnTo>
                  <a:lnTo>
                    <a:pt x="317" y="324"/>
                  </a:lnTo>
                  <a:lnTo>
                    <a:pt x="314" y="324"/>
                  </a:lnTo>
                  <a:lnTo>
                    <a:pt x="312" y="324"/>
                  </a:lnTo>
                  <a:lnTo>
                    <a:pt x="310" y="326"/>
                  </a:lnTo>
                  <a:lnTo>
                    <a:pt x="308" y="329"/>
                  </a:lnTo>
                  <a:lnTo>
                    <a:pt x="303" y="331"/>
                  </a:lnTo>
                  <a:lnTo>
                    <a:pt x="299" y="333"/>
                  </a:lnTo>
                  <a:lnTo>
                    <a:pt x="296" y="333"/>
                  </a:lnTo>
                  <a:lnTo>
                    <a:pt x="296" y="333"/>
                  </a:lnTo>
                  <a:lnTo>
                    <a:pt x="294" y="335"/>
                  </a:lnTo>
                  <a:lnTo>
                    <a:pt x="294" y="340"/>
                  </a:lnTo>
                  <a:lnTo>
                    <a:pt x="290" y="344"/>
                  </a:lnTo>
                  <a:lnTo>
                    <a:pt x="287" y="347"/>
                  </a:lnTo>
                  <a:lnTo>
                    <a:pt x="285" y="351"/>
                  </a:lnTo>
                  <a:lnTo>
                    <a:pt x="285" y="351"/>
                  </a:lnTo>
                  <a:lnTo>
                    <a:pt x="285" y="353"/>
                  </a:lnTo>
                  <a:lnTo>
                    <a:pt x="283" y="358"/>
                  </a:lnTo>
                  <a:lnTo>
                    <a:pt x="283" y="360"/>
                  </a:lnTo>
                  <a:lnTo>
                    <a:pt x="281" y="360"/>
                  </a:lnTo>
                  <a:lnTo>
                    <a:pt x="278" y="362"/>
                  </a:lnTo>
                  <a:lnTo>
                    <a:pt x="278" y="362"/>
                  </a:lnTo>
                  <a:lnTo>
                    <a:pt x="276" y="362"/>
                  </a:lnTo>
                  <a:lnTo>
                    <a:pt x="274" y="362"/>
                  </a:lnTo>
                  <a:lnTo>
                    <a:pt x="274" y="362"/>
                  </a:lnTo>
                  <a:lnTo>
                    <a:pt x="272" y="360"/>
                  </a:lnTo>
                  <a:lnTo>
                    <a:pt x="269" y="358"/>
                  </a:lnTo>
                  <a:lnTo>
                    <a:pt x="269" y="356"/>
                  </a:lnTo>
                  <a:lnTo>
                    <a:pt x="267" y="356"/>
                  </a:lnTo>
                  <a:lnTo>
                    <a:pt x="263" y="356"/>
                  </a:lnTo>
                  <a:lnTo>
                    <a:pt x="260" y="356"/>
                  </a:lnTo>
                  <a:lnTo>
                    <a:pt x="254" y="356"/>
                  </a:lnTo>
                  <a:lnTo>
                    <a:pt x="251" y="356"/>
                  </a:lnTo>
                  <a:lnTo>
                    <a:pt x="245" y="356"/>
                  </a:lnTo>
                  <a:lnTo>
                    <a:pt x="240" y="353"/>
                  </a:lnTo>
                  <a:lnTo>
                    <a:pt x="240" y="353"/>
                  </a:lnTo>
                  <a:lnTo>
                    <a:pt x="236" y="351"/>
                  </a:lnTo>
                  <a:lnTo>
                    <a:pt x="236" y="351"/>
                  </a:lnTo>
                  <a:lnTo>
                    <a:pt x="231" y="351"/>
                  </a:lnTo>
                  <a:lnTo>
                    <a:pt x="229" y="351"/>
                  </a:lnTo>
                  <a:lnTo>
                    <a:pt x="224" y="351"/>
                  </a:lnTo>
                  <a:lnTo>
                    <a:pt x="224" y="351"/>
                  </a:lnTo>
                  <a:lnTo>
                    <a:pt x="222" y="351"/>
                  </a:lnTo>
                  <a:lnTo>
                    <a:pt x="222" y="351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18" y="351"/>
                  </a:lnTo>
                  <a:lnTo>
                    <a:pt x="215" y="351"/>
                  </a:lnTo>
                  <a:lnTo>
                    <a:pt x="215" y="351"/>
                  </a:lnTo>
                  <a:lnTo>
                    <a:pt x="215" y="351"/>
                  </a:lnTo>
                  <a:lnTo>
                    <a:pt x="213" y="351"/>
                  </a:lnTo>
                  <a:lnTo>
                    <a:pt x="213" y="351"/>
                  </a:lnTo>
                  <a:lnTo>
                    <a:pt x="213" y="353"/>
                  </a:lnTo>
                  <a:lnTo>
                    <a:pt x="213" y="353"/>
                  </a:lnTo>
                  <a:lnTo>
                    <a:pt x="213" y="353"/>
                  </a:lnTo>
                  <a:lnTo>
                    <a:pt x="213" y="353"/>
                  </a:lnTo>
                  <a:lnTo>
                    <a:pt x="211" y="353"/>
                  </a:lnTo>
                  <a:lnTo>
                    <a:pt x="211" y="353"/>
                  </a:lnTo>
                  <a:lnTo>
                    <a:pt x="211" y="353"/>
                  </a:lnTo>
                  <a:lnTo>
                    <a:pt x="211" y="353"/>
                  </a:lnTo>
                  <a:lnTo>
                    <a:pt x="211" y="353"/>
                  </a:lnTo>
                  <a:lnTo>
                    <a:pt x="211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06" y="353"/>
                  </a:lnTo>
                  <a:lnTo>
                    <a:pt x="206" y="353"/>
                  </a:lnTo>
                  <a:lnTo>
                    <a:pt x="206" y="353"/>
                  </a:lnTo>
                  <a:lnTo>
                    <a:pt x="206" y="353"/>
                  </a:lnTo>
                  <a:lnTo>
                    <a:pt x="204" y="353"/>
                  </a:lnTo>
                  <a:lnTo>
                    <a:pt x="204" y="351"/>
                  </a:lnTo>
                  <a:lnTo>
                    <a:pt x="202" y="349"/>
                  </a:lnTo>
                  <a:lnTo>
                    <a:pt x="200" y="349"/>
                  </a:lnTo>
                  <a:lnTo>
                    <a:pt x="200" y="349"/>
                  </a:lnTo>
                  <a:lnTo>
                    <a:pt x="200" y="349"/>
                  </a:lnTo>
                  <a:lnTo>
                    <a:pt x="200" y="349"/>
                  </a:lnTo>
                  <a:lnTo>
                    <a:pt x="200" y="349"/>
                  </a:lnTo>
                  <a:lnTo>
                    <a:pt x="198" y="349"/>
                  </a:lnTo>
                  <a:lnTo>
                    <a:pt x="198" y="351"/>
                  </a:lnTo>
                  <a:lnTo>
                    <a:pt x="195" y="351"/>
                  </a:lnTo>
                  <a:lnTo>
                    <a:pt x="193" y="353"/>
                  </a:lnTo>
                  <a:lnTo>
                    <a:pt x="193" y="353"/>
                  </a:lnTo>
                  <a:lnTo>
                    <a:pt x="195" y="353"/>
                  </a:lnTo>
                  <a:lnTo>
                    <a:pt x="195" y="353"/>
                  </a:lnTo>
                  <a:lnTo>
                    <a:pt x="195" y="356"/>
                  </a:lnTo>
                  <a:lnTo>
                    <a:pt x="195" y="356"/>
                  </a:lnTo>
                  <a:lnTo>
                    <a:pt x="195" y="356"/>
                  </a:lnTo>
                  <a:lnTo>
                    <a:pt x="195" y="356"/>
                  </a:lnTo>
                  <a:lnTo>
                    <a:pt x="195" y="356"/>
                  </a:lnTo>
                  <a:lnTo>
                    <a:pt x="193" y="356"/>
                  </a:lnTo>
                  <a:lnTo>
                    <a:pt x="193" y="358"/>
                  </a:lnTo>
                  <a:lnTo>
                    <a:pt x="193" y="358"/>
                  </a:lnTo>
                  <a:lnTo>
                    <a:pt x="193" y="358"/>
                  </a:lnTo>
                  <a:lnTo>
                    <a:pt x="193" y="358"/>
                  </a:lnTo>
                  <a:lnTo>
                    <a:pt x="193" y="360"/>
                  </a:lnTo>
                  <a:lnTo>
                    <a:pt x="193" y="360"/>
                  </a:lnTo>
                  <a:lnTo>
                    <a:pt x="193" y="360"/>
                  </a:lnTo>
                  <a:lnTo>
                    <a:pt x="193" y="360"/>
                  </a:lnTo>
                  <a:lnTo>
                    <a:pt x="193" y="360"/>
                  </a:lnTo>
                  <a:lnTo>
                    <a:pt x="193" y="362"/>
                  </a:lnTo>
                  <a:lnTo>
                    <a:pt x="193" y="362"/>
                  </a:lnTo>
                  <a:lnTo>
                    <a:pt x="193" y="362"/>
                  </a:lnTo>
                  <a:lnTo>
                    <a:pt x="193" y="365"/>
                  </a:lnTo>
                  <a:lnTo>
                    <a:pt x="193" y="365"/>
                  </a:lnTo>
                  <a:lnTo>
                    <a:pt x="195" y="365"/>
                  </a:lnTo>
                  <a:lnTo>
                    <a:pt x="195" y="365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7"/>
                  </a:lnTo>
                  <a:lnTo>
                    <a:pt x="195" y="369"/>
                  </a:lnTo>
                  <a:lnTo>
                    <a:pt x="195" y="369"/>
                  </a:lnTo>
                  <a:lnTo>
                    <a:pt x="195" y="369"/>
                  </a:lnTo>
                  <a:lnTo>
                    <a:pt x="195" y="369"/>
                  </a:lnTo>
                  <a:lnTo>
                    <a:pt x="195" y="369"/>
                  </a:lnTo>
                  <a:lnTo>
                    <a:pt x="193" y="369"/>
                  </a:lnTo>
                  <a:lnTo>
                    <a:pt x="193" y="369"/>
                  </a:lnTo>
                  <a:lnTo>
                    <a:pt x="193" y="369"/>
                  </a:lnTo>
                  <a:lnTo>
                    <a:pt x="193" y="369"/>
                  </a:lnTo>
                  <a:lnTo>
                    <a:pt x="193" y="369"/>
                  </a:lnTo>
                  <a:lnTo>
                    <a:pt x="193" y="371"/>
                  </a:lnTo>
                  <a:lnTo>
                    <a:pt x="193" y="371"/>
                  </a:lnTo>
                  <a:lnTo>
                    <a:pt x="193" y="374"/>
                  </a:lnTo>
                  <a:lnTo>
                    <a:pt x="193" y="374"/>
                  </a:lnTo>
                  <a:lnTo>
                    <a:pt x="191" y="374"/>
                  </a:lnTo>
                  <a:lnTo>
                    <a:pt x="191" y="374"/>
                  </a:lnTo>
                  <a:lnTo>
                    <a:pt x="191" y="374"/>
                  </a:lnTo>
                  <a:lnTo>
                    <a:pt x="191" y="374"/>
                  </a:lnTo>
                  <a:lnTo>
                    <a:pt x="191" y="374"/>
                  </a:lnTo>
                  <a:lnTo>
                    <a:pt x="191" y="374"/>
                  </a:lnTo>
                  <a:lnTo>
                    <a:pt x="191" y="376"/>
                  </a:lnTo>
                  <a:lnTo>
                    <a:pt x="191" y="376"/>
                  </a:lnTo>
                  <a:lnTo>
                    <a:pt x="189" y="376"/>
                  </a:lnTo>
                  <a:lnTo>
                    <a:pt x="189" y="376"/>
                  </a:lnTo>
                  <a:lnTo>
                    <a:pt x="189" y="376"/>
                  </a:lnTo>
                  <a:lnTo>
                    <a:pt x="189" y="376"/>
                  </a:lnTo>
                  <a:lnTo>
                    <a:pt x="189" y="376"/>
                  </a:lnTo>
                  <a:lnTo>
                    <a:pt x="186" y="376"/>
                  </a:lnTo>
                  <a:lnTo>
                    <a:pt x="189" y="374"/>
                  </a:lnTo>
                  <a:lnTo>
                    <a:pt x="186" y="374"/>
                  </a:lnTo>
                  <a:lnTo>
                    <a:pt x="186" y="374"/>
                  </a:lnTo>
                  <a:lnTo>
                    <a:pt x="186" y="371"/>
                  </a:lnTo>
                  <a:lnTo>
                    <a:pt x="186" y="371"/>
                  </a:lnTo>
                  <a:lnTo>
                    <a:pt x="186" y="371"/>
                  </a:lnTo>
                  <a:lnTo>
                    <a:pt x="186" y="369"/>
                  </a:lnTo>
                  <a:lnTo>
                    <a:pt x="186" y="369"/>
                  </a:lnTo>
                  <a:lnTo>
                    <a:pt x="186" y="369"/>
                  </a:lnTo>
                  <a:lnTo>
                    <a:pt x="186" y="369"/>
                  </a:lnTo>
                  <a:lnTo>
                    <a:pt x="186" y="369"/>
                  </a:lnTo>
                  <a:lnTo>
                    <a:pt x="186" y="369"/>
                  </a:lnTo>
                  <a:lnTo>
                    <a:pt x="186" y="369"/>
                  </a:lnTo>
                  <a:lnTo>
                    <a:pt x="186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182" y="362"/>
                  </a:lnTo>
                  <a:lnTo>
                    <a:pt x="182" y="362"/>
                  </a:lnTo>
                  <a:lnTo>
                    <a:pt x="182" y="362"/>
                  </a:lnTo>
                  <a:lnTo>
                    <a:pt x="182" y="362"/>
                  </a:lnTo>
                  <a:lnTo>
                    <a:pt x="182" y="360"/>
                  </a:lnTo>
                  <a:lnTo>
                    <a:pt x="182" y="360"/>
                  </a:lnTo>
                  <a:lnTo>
                    <a:pt x="182" y="360"/>
                  </a:lnTo>
                  <a:lnTo>
                    <a:pt x="182" y="360"/>
                  </a:lnTo>
                  <a:lnTo>
                    <a:pt x="180" y="360"/>
                  </a:lnTo>
                  <a:lnTo>
                    <a:pt x="180" y="360"/>
                  </a:lnTo>
                  <a:lnTo>
                    <a:pt x="180" y="360"/>
                  </a:lnTo>
                  <a:lnTo>
                    <a:pt x="180" y="360"/>
                  </a:lnTo>
                  <a:lnTo>
                    <a:pt x="180" y="360"/>
                  </a:lnTo>
                  <a:lnTo>
                    <a:pt x="180" y="360"/>
                  </a:lnTo>
                  <a:lnTo>
                    <a:pt x="180" y="358"/>
                  </a:lnTo>
                  <a:lnTo>
                    <a:pt x="180" y="358"/>
                  </a:lnTo>
                  <a:lnTo>
                    <a:pt x="180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1"/>
                  </a:lnTo>
                  <a:lnTo>
                    <a:pt x="177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49"/>
                  </a:lnTo>
                  <a:lnTo>
                    <a:pt x="173" y="349"/>
                  </a:lnTo>
                  <a:lnTo>
                    <a:pt x="173" y="347"/>
                  </a:lnTo>
                  <a:lnTo>
                    <a:pt x="173" y="349"/>
                  </a:lnTo>
                  <a:lnTo>
                    <a:pt x="173" y="347"/>
                  </a:lnTo>
                  <a:lnTo>
                    <a:pt x="173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7"/>
                  </a:lnTo>
                  <a:lnTo>
                    <a:pt x="171" y="344"/>
                  </a:lnTo>
                  <a:lnTo>
                    <a:pt x="168" y="344"/>
                  </a:lnTo>
                  <a:lnTo>
                    <a:pt x="168" y="344"/>
                  </a:lnTo>
                  <a:lnTo>
                    <a:pt x="168" y="344"/>
                  </a:lnTo>
                  <a:lnTo>
                    <a:pt x="168" y="344"/>
                  </a:lnTo>
                  <a:lnTo>
                    <a:pt x="168" y="344"/>
                  </a:lnTo>
                  <a:lnTo>
                    <a:pt x="168" y="344"/>
                  </a:lnTo>
                  <a:lnTo>
                    <a:pt x="168" y="344"/>
                  </a:lnTo>
                  <a:lnTo>
                    <a:pt x="168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0"/>
                  </a:lnTo>
                  <a:lnTo>
                    <a:pt x="164" y="340"/>
                  </a:lnTo>
                  <a:lnTo>
                    <a:pt x="164" y="340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5"/>
                  </a:lnTo>
                  <a:lnTo>
                    <a:pt x="159" y="335"/>
                  </a:lnTo>
                  <a:lnTo>
                    <a:pt x="162" y="335"/>
                  </a:lnTo>
                  <a:lnTo>
                    <a:pt x="159" y="335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9" y="333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59" y="331"/>
                  </a:lnTo>
                  <a:lnTo>
                    <a:pt x="159" y="331"/>
                  </a:lnTo>
                  <a:lnTo>
                    <a:pt x="157" y="331"/>
                  </a:lnTo>
                  <a:lnTo>
                    <a:pt x="159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29"/>
                  </a:lnTo>
                  <a:lnTo>
                    <a:pt x="157" y="329"/>
                  </a:lnTo>
                  <a:lnTo>
                    <a:pt x="157" y="329"/>
                  </a:lnTo>
                  <a:lnTo>
                    <a:pt x="157" y="329"/>
                  </a:lnTo>
                  <a:lnTo>
                    <a:pt x="157" y="329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2"/>
                  </a:lnTo>
                  <a:lnTo>
                    <a:pt x="153" y="322"/>
                  </a:lnTo>
                  <a:lnTo>
                    <a:pt x="153" y="322"/>
                  </a:lnTo>
                  <a:lnTo>
                    <a:pt x="150" y="322"/>
                  </a:lnTo>
                  <a:lnTo>
                    <a:pt x="150" y="320"/>
                  </a:lnTo>
                  <a:lnTo>
                    <a:pt x="150" y="320"/>
                  </a:lnTo>
                  <a:lnTo>
                    <a:pt x="153" y="320"/>
                  </a:lnTo>
                  <a:lnTo>
                    <a:pt x="153" y="317"/>
                  </a:lnTo>
                  <a:lnTo>
                    <a:pt x="153" y="317"/>
                  </a:lnTo>
                  <a:lnTo>
                    <a:pt x="153" y="317"/>
                  </a:lnTo>
                  <a:lnTo>
                    <a:pt x="153" y="317"/>
                  </a:lnTo>
                  <a:lnTo>
                    <a:pt x="153" y="317"/>
                  </a:lnTo>
                  <a:lnTo>
                    <a:pt x="153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11"/>
                  </a:lnTo>
                  <a:lnTo>
                    <a:pt x="148" y="311"/>
                  </a:lnTo>
                  <a:lnTo>
                    <a:pt x="148" y="311"/>
                  </a:lnTo>
                  <a:lnTo>
                    <a:pt x="148" y="311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6" y="308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6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4"/>
                  </a:lnTo>
                  <a:lnTo>
                    <a:pt x="146" y="302"/>
                  </a:lnTo>
                  <a:lnTo>
                    <a:pt x="146" y="302"/>
                  </a:lnTo>
                  <a:lnTo>
                    <a:pt x="146" y="302"/>
                  </a:lnTo>
                  <a:lnTo>
                    <a:pt x="146" y="302"/>
                  </a:lnTo>
                  <a:lnTo>
                    <a:pt x="144" y="302"/>
                  </a:lnTo>
                  <a:lnTo>
                    <a:pt x="141" y="302"/>
                  </a:lnTo>
                  <a:lnTo>
                    <a:pt x="141" y="299"/>
                  </a:lnTo>
                  <a:lnTo>
                    <a:pt x="141" y="299"/>
                  </a:lnTo>
                  <a:lnTo>
                    <a:pt x="141" y="299"/>
                  </a:lnTo>
                  <a:lnTo>
                    <a:pt x="141" y="299"/>
                  </a:lnTo>
                  <a:lnTo>
                    <a:pt x="141" y="299"/>
                  </a:lnTo>
                  <a:lnTo>
                    <a:pt x="141" y="299"/>
                  </a:lnTo>
                  <a:lnTo>
                    <a:pt x="141" y="297"/>
                  </a:lnTo>
                  <a:lnTo>
                    <a:pt x="141" y="297"/>
                  </a:lnTo>
                  <a:lnTo>
                    <a:pt x="139" y="295"/>
                  </a:lnTo>
                  <a:lnTo>
                    <a:pt x="139" y="295"/>
                  </a:lnTo>
                  <a:lnTo>
                    <a:pt x="139" y="295"/>
                  </a:lnTo>
                  <a:lnTo>
                    <a:pt x="139" y="295"/>
                  </a:lnTo>
                  <a:lnTo>
                    <a:pt x="139" y="295"/>
                  </a:lnTo>
                  <a:lnTo>
                    <a:pt x="139" y="295"/>
                  </a:lnTo>
                  <a:lnTo>
                    <a:pt x="139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7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2" y="290"/>
                  </a:lnTo>
                  <a:lnTo>
                    <a:pt x="132" y="290"/>
                  </a:lnTo>
                  <a:lnTo>
                    <a:pt x="132" y="290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30" y="288"/>
                  </a:lnTo>
                  <a:lnTo>
                    <a:pt x="130" y="288"/>
                  </a:lnTo>
                  <a:lnTo>
                    <a:pt x="130" y="286"/>
                  </a:lnTo>
                  <a:lnTo>
                    <a:pt x="130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6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1" y="284"/>
                  </a:lnTo>
                  <a:lnTo>
                    <a:pt x="121" y="284"/>
                  </a:lnTo>
                  <a:lnTo>
                    <a:pt x="121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3" y="284"/>
                  </a:lnTo>
                  <a:lnTo>
                    <a:pt x="121" y="281"/>
                  </a:lnTo>
                  <a:lnTo>
                    <a:pt x="121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7" y="279"/>
                  </a:lnTo>
                  <a:lnTo>
                    <a:pt x="117" y="279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5"/>
                  </a:lnTo>
                  <a:lnTo>
                    <a:pt x="114" y="275"/>
                  </a:lnTo>
                  <a:lnTo>
                    <a:pt x="114" y="275"/>
                  </a:lnTo>
                  <a:lnTo>
                    <a:pt x="114" y="275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3"/>
                  </a:lnTo>
                  <a:lnTo>
                    <a:pt x="105" y="261"/>
                  </a:lnTo>
                  <a:lnTo>
                    <a:pt x="105" y="261"/>
                  </a:lnTo>
                  <a:lnTo>
                    <a:pt x="105" y="261"/>
                  </a:lnTo>
                  <a:lnTo>
                    <a:pt x="105" y="261"/>
                  </a:lnTo>
                  <a:lnTo>
                    <a:pt x="105" y="261"/>
                  </a:lnTo>
                  <a:lnTo>
                    <a:pt x="105" y="259"/>
                  </a:lnTo>
                  <a:lnTo>
                    <a:pt x="105" y="259"/>
                  </a:lnTo>
                  <a:lnTo>
                    <a:pt x="103" y="259"/>
                  </a:lnTo>
                  <a:lnTo>
                    <a:pt x="105" y="257"/>
                  </a:lnTo>
                  <a:lnTo>
                    <a:pt x="105" y="257"/>
                  </a:lnTo>
                  <a:lnTo>
                    <a:pt x="105" y="257"/>
                  </a:lnTo>
                  <a:lnTo>
                    <a:pt x="105" y="254"/>
                  </a:lnTo>
                  <a:lnTo>
                    <a:pt x="105" y="254"/>
                  </a:lnTo>
                  <a:lnTo>
                    <a:pt x="105" y="254"/>
                  </a:lnTo>
                  <a:lnTo>
                    <a:pt x="105" y="254"/>
                  </a:lnTo>
                  <a:lnTo>
                    <a:pt x="105" y="254"/>
                  </a:lnTo>
                  <a:lnTo>
                    <a:pt x="105" y="252"/>
                  </a:lnTo>
                  <a:lnTo>
                    <a:pt x="105" y="254"/>
                  </a:lnTo>
                  <a:lnTo>
                    <a:pt x="103" y="254"/>
                  </a:lnTo>
                  <a:lnTo>
                    <a:pt x="103" y="254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2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3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8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3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5"/>
                  </a:lnTo>
                  <a:lnTo>
                    <a:pt x="101" y="243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41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9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3" y="236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3" y="232"/>
                  </a:lnTo>
                  <a:lnTo>
                    <a:pt x="103" y="234"/>
                  </a:lnTo>
                  <a:lnTo>
                    <a:pt x="103" y="234"/>
                  </a:lnTo>
                  <a:lnTo>
                    <a:pt x="103" y="232"/>
                  </a:lnTo>
                  <a:lnTo>
                    <a:pt x="101" y="232"/>
                  </a:lnTo>
                  <a:lnTo>
                    <a:pt x="101" y="230"/>
                  </a:lnTo>
                  <a:lnTo>
                    <a:pt x="101" y="227"/>
                  </a:lnTo>
                  <a:lnTo>
                    <a:pt x="101" y="227"/>
                  </a:lnTo>
                  <a:lnTo>
                    <a:pt x="101" y="225"/>
                  </a:lnTo>
                  <a:lnTo>
                    <a:pt x="101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101" y="225"/>
                  </a:lnTo>
                  <a:lnTo>
                    <a:pt x="101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4" y="218"/>
                  </a:lnTo>
                  <a:lnTo>
                    <a:pt x="94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4" y="216"/>
                  </a:lnTo>
                  <a:lnTo>
                    <a:pt x="94" y="216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4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4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90" y="205"/>
                  </a:lnTo>
                  <a:lnTo>
                    <a:pt x="87" y="203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198"/>
                  </a:lnTo>
                  <a:lnTo>
                    <a:pt x="87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3" y="198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81" y="194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4"/>
                  </a:lnTo>
                  <a:lnTo>
                    <a:pt x="78" y="191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6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89"/>
                  </a:lnTo>
                  <a:lnTo>
                    <a:pt x="74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2" y="187"/>
                  </a:lnTo>
                  <a:lnTo>
                    <a:pt x="69" y="187"/>
                  </a:lnTo>
                  <a:lnTo>
                    <a:pt x="69" y="187"/>
                  </a:lnTo>
                  <a:lnTo>
                    <a:pt x="69" y="187"/>
                  </a:lnTo>
                  <a:lnTo>
                    <a:pt x="69" y="187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7" y="189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7" y="187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5" y="185"/>
                  </a:lnTo>
                  <a:lnTo>
                    <a:pt x="67" y="185"/>
                  </a:lnTo>
                  <a:lnTo>
                    <a:pt x="63" y="180"/>
                  </a:lnTo>
                  <a:lnTo>
                    <a:pt x="60" y="178"/>
                  </a:lnTo>
                  <a:lnTo>
                    <a:pt x="60" y="178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60" y="176"/>
                  </a:lnTo>
                  <a:lnTo>
                    <a:pt x="58" y="176"/>
                  </a:lnTo>
                  <a:lnTo>
                    <a:pt x="58" y="173"/>
                  </a:lnTo>
                  <a:lnTo>
                    <a:pt x="58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3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0" y="169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4"/>
                  </a:lnTo>
                  <a:lnTo>
                    <a:pt x="58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1" y="153"/>
                  </a:lnTo>
                  <a:lnTo>
                    <a:pt x="51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49"/>
                  </a:lnTo>
                  <a:lnTo>
                    <a:pt x="47" y="149"/>
                  </a:lnTo>
                  <a:lnTo>
                    <a:pt x="47" y="149"/>
                  </a:lnTo>
                  <a:lnTo>
                    <a:pt x="47" y="149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2" y="140"/>
                  </a:lnTo>
                  <a:lnTo>
                    <a:pt x="40" y="140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6" y="131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4"/>
                  </a:lnTo>
                  <a:lnTo>
                    <a:pt x="29" y="124"/>
                  </a:lnTo>
                  <a:lnTo>
                    <a:pt x="27" y="122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5" y="115"/>
                  </a:lnTo>
                  <a:lnTo>
                    <a:pt x="25" y="115"/>
                  </a:lnTo>
                  <a:lnTo>
                    <a:pt x="25" y="115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7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9" y="68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6" y="70"/>
                  </a:lnTo>
                  <a:lnTo>
                    <a:pt x="20" y="70"/>
                  </a:lnTo>
                  <a:lnTo>
                    <a:pt x="22" y="70"/>
                  </a:lnTo>
                  <a:lnTo>
                    <a:pt x="25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9" y="70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3" y="65"/>
                  </a:lnTo>
                  <a:lnTo>
                    <a:pt x="36" y="63"/>
                  </a:lnTo>
                  <a:lnTo>
                    <a:pt x="38" y="61"/>
                  </a:lnTo>
                  <a:lnTo>
                    <a:pt x="38" y="59"/>
                  </a:lnTo>
                  <a:lnTo>
                    <a:pt x="38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5" y="54"/>
                  </a:lnTo>
                  <a:lnTo>
                    <a:pt x="47" y="54"/>
                  </a:lnTo>
                  <a:lnTo>
                    <a:pt x="49" y="52"/>
                  </a:lnTo>
                  <a:lnTo>
                    <a:pt x="51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0"/>
                  </a:lnTo>
                  <a:lnTo>
                    <a:pt x="56" y="47"/>
                  </a:lnTo>
                  <a:lnTo>
                    <a:pt x="56" y="45"/>
                  </a:lnTo>
                  <a:lnTo>
                    <a:pt x="58" y="45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60" y="43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3" y="39"/>
                  </a:lnTo>
                  <a:lnTo>
                    <a:pt x="60" y="36"/>
                  </a:lnTo>
                  <a:lnTo>
                    <a:pt x="58" y="34"/>
                  </a:lnTo>
                  <a:lnTo>
                    <a:pt x="56" y="30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1" y="27"/>
                  </a:lnTo>
                  <a:lnTo>
                    <a:pt x="49" y="25"/>
                  </a:lnTo>
                  <a:lnTo>
                    <a:pt x="47" y="23"/>
                  </a:lnTo>
                  <a:lnTo>
                    <a:pt x="45" y="18"/>
                  </a:lnTo>
                  <a:lnTo>
                    <a:pt x="40" y="16"/>
                  </a:lnTo>
                  <a:lnTo>
                    <a:pt x="45" y="14"/>
                  </a:lnTo>
                  <a:lnTo>
                    <a:pt x="51" y="14"/>
                  </a:lnTo>
                  <a:lnTo>
                    <a:pt x="56" y="12"/>
                  </a:lnTo>
                  <a:lnTo>
                    <a:pt x="60" y="9"/>
                  </a:lnTo>
                  <a:lnTo>
                    <a:pt x="65" y="9"/>
                  </a:lnTo>
                  <a:lnTo>
                    <a:pt x="69" y="7"/>
                  </a:lnTo>
                  <a:lnTo>
                    <a:pt x="74" y="7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3" y="3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7" y="3"/>
                  </a:lnTo>
                  <a:lnTo>
                    <a:pt x="92" y="3"/>
                  </a:lnTo>
                  <a:lnTo>
                    <a:pt x="96" y="3"/>
                  </a:lnTo>
                  <a:lnTo>
                    <a:pt x="99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Freeform 507"/>
            <p:cNvSpPr>
              <a:spLocks/>
            </p:cNvSpPr>
            <p:nvPr/>
          </p:nvSpPr>
          <p:spPr bwMode="auto">
            <a:xfrm>
              <a:off x="6038694" y="2217441"/>
              <a:ext cx="3343" cy="3343"/>
            </a:xfrm>
            <a:custGeom>
              <a:avLst/>
              <a:gdLst>
                <a:gd name="T0" fmla="*/ 0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2 h 2"/>
                <a:gd name="T12" fmla="*/ 0 w 2"/>
                <a:gd name="T13" fmla="*/ 0 h 2"/>
                <a:gd name="T14" fmla="*/ 0 w 2"/>
                <a:gd name="T15" fmla="*/ 0 h 2"/>
                <a:gd name="T16" fmla="*/ 2 w 2"/>
                <a:gd name="T17" fmla="*/ 0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0 w 2"/>
                <a:gd name="T25" fmla="*/ 2 h 2"/>
                <a:gd name="T26" fmla="*/ 0 w 2"/>
                <a:gd name="T27" fmla="*/ 2 h 2"/>
                <a:gd name="T28" fmla="*/ 0 w 2"/>
                <a:gd name="T29" fmla="*/ 2 h 2"/>
                <a:gd name="T30" fmla="*/ 0 w 2"/>
                <a:gd name="T31" fmla="*/ 2 h 2"/>
                <a:gd name="T32" fmla="*/ 0 w 2"/>
                <a:gd name="T33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" name="Freeform 508"/>
            <p:cNvSpPr>
              <a:spLocks/>
            </p:cNvSpPr>
            <p:nvPr/>
          </p:nvSpPr>
          <p:spPr bwMode="auto">
            <a:xfrm>
              <a:off x="3508157" y="3435911"/>
              <a:ext cx="6686" cy="6686"/>
            </a:xfrm>
            <a:custGeom>
              <a:avLst/>
              <a:gdLst>
                <a:gd name="T0" fmla="*/ 2 w 4"/>
                <a:gd name="T1" fmla="*/ 4 h 4"/>
                <a:gd name="T2" fmla="*/ 2 w 4"/>
                <a:gd name="T3" fmla="*/ 4 h 4"/>
                <a:gd name="T4" fmla="*/ 2 w 4"/>
                <a:gd name="T5" fmla="*/ 4 h 4"/>
                <a:gd name="T6" fmla="*/ 0 w 4"/>
                <a:gd name="T7" fmla="*/ 4 h 4"/>
                <a:gd name="T8" fmla="*/ 0 w 4"/>
                <a:gd name="T9" fmla="*/ 4 h 4"/>
                <a:gd name="T10" fmla="*/ 0 w 4"/>
                <a:gd name="T11" fmla="*/ 2 h 4"/>
                <a:gd name="T12" fmla="*/ 0 w 4"/>
                <a:gd name="T13" fmla="*/ 2 h 4"/>
                <a:gd name="T14" fmla="*/ 0 w 4"/>
                <a:gd name="T15" fmla="*/ 2 h 4"/>
                <a:gd name="T16" fmla="*/ 0 w 4"/>
                <a:gd name="T17" fmla="*/ 2 h 4"/>
                <a:gd name="T18" fmla="*/ 2 w 4"/>
                <a:gd name="T19" fmla="*/ 2 h 4"/>
                <a:gd name="T20" fmla="*/ 2 w 4"/>
                <a:gd name="T21" fmla="*/ 2 h 4"/>
                <a:gd name="T22" fmla="*/ 2 w 4"/>
                <a:gd name="T23" fmla="*/ 0 h 4"/>
                <a:gd name="T24" fmla="*/ 2 w 4"/>
                <a:gd name="T25" fmla="*/ 0 h 4"/>
                <a:gd name="T26" fmla="*/ 2 w 4"/>
                <a:gd name="T27" fmla="*/ 0 h 4"/>
                <a:gd name="T28" fmla="*/ 2 w 4"/>
                <a:gd name="T29" fmla="*/ 0 h 4"/>
                <a:gd name="T30" fmla="*/ 2 w 4"/>
                <a:gd name="T31" fmla="*/ 0 h 4"/>
                <a:gd name="T32" fmla="*/ 4 w 4"/>
                <a:gd name="T33" fmla="*/ 0 h 4"/>
                <a:gd name="T34" fmla="*/ 4 w 4"/>
                <a:gd name="T35" fmla="*/ 0 h 4"/>
                <a:gd name="T36" fmla="*/ 4 w 4"/>
                <a:gd name="T37" fmla="*/ 0 h 4"/>
                <a:gd name="T38" fmla="*/ 4 w 4"/>
                <a:gd name="T39" fmla="*/ 0 h 4"/>
                <a:gd name="T40" fmla="*/ 4 w 4"/>
                <a:gd name="T41" fmla="*/ 2 h 4"/>
                <a:gd name="T42" fmla="*/ 4 w 4"/>
                <a:gd name="T43" fmla="*/ 2 h 4"/>
                <a:gd name="T44" fmla="*/ 4 w 4"/>
                <a:gd name="T45" fmla="*/ 4 h 4"/>
                <a:gd name="T46" fmla="*/ 2 w 4"/>
                <a:gd name="T4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" h="4"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" name="Freeform 509"/>
            <p:cNvSpPr>
              <a:spLocks noEditPoints="1"/>
            </p:cNvSpPr>
            <p:nvPr/>
          </p:nvSpPr>
          <p:spPr bwMode="auto">
            <a:xfrm>
              <a:off x="3890913" y="2097099"/>
              <a:ext cx="6686" cy="15042"/>
            </a:xfrm>
            <a:custGeom>
              <a:avLst/>
              <a:gdLst>
                <a:gd name="T0" fmla="*/ 2 w 4"/>
                <a:gd name="T1" fmla="*/ 9 h 9"/>
                <a:gd name="T2" fmla="*/ 2 w 4"/>
                <a:gd name="T3" fmla="*/ 7 h 9"/>
                <a:gd name="T4" fmla="*/ 2 w 4"/>
                <a:gd name="T5" fmla="*/ 7 h 9"/>
                <a:gd name="T6" fmla="*/ 2 w 4"/>
                <a:gd name="T7" fmla="*/ 7 h 9"/>
                <a:gd name="T8" fmla="*/ 4 w 4"/>
                <a:gd name="T9" fmla="*/ 7 h 9"/>
                <a:gd name="T10" fmla="*/ 2 w 4"/>
                <a:gd name="T11" fmla="*/ 7 h 9"/>
                <a:gd name="T12" fmla="*/ 2 w 4"/>
                <a:gd name="T13" fmla="*/ 7 h 9"/>
                <a:gd name="T14" fmla="*/ 2 w 4"/>
                <a:gd name="T15" fmla="*/ 7 h 9"/>
                <a:gd name="T16" fmla="*/ 2 w 4"/>
                <a:gd name="T17" fmla="*/ 9 h 9"/>
                <a:gd name="T18" fmla="*/ 2 w 4"/>
                <a:gd name="T19" fmla="*/ 3 h 9"/>
                <a:gd name="T20" fmla="*/ 2 w 4"/>
                <a:gd name="T21" fmla="*/ 3 h 9"/>
                <a:gd name="T22" fmla="*/ 2 w 4"/>
                <a:gd name="T23" fmla="*/ 3 h 9"/>
                <a:gd name="T24" fmla="*/ 2 w 4"/>
                <a:gd name="T25" fmla="*/ 3 h 9"/>
                <a:gd name="T26" fmla="*/ 0 w 4"/>
                <a:gd name="T27" fmla="*/ 3 h 9"/>
                <a:gd name="T28" fmla="*/ 0 w 4"/>
                <a:gd name="T29" fmla="*/ 3 h 9"/>
                <a:gd name="T30" fmla="*/ 0 w 4"/>
                <a:gd name="T31" fmla="*/ 3 h 9"/>
                <a:gd name="T32" fmla="*/ 2 w 4"/>
                <a:gd name="T33" fmla="*/ 3 h 9"/>
                <a:gd name="T34" fmla="*/ 2 w 4"/>
                <a:gd name="T35" fmla="*/ 3 h 9"/>
                <a:gd name="T36" fmla="*/ 2 w 4"/>
                <a:gd name="T37" fmla="*/ 3 h 9"/>
                <a:gd name="T38" fmla="*/ 2 w 4"/>
                <a:gd name="T39" fmla="*/ 3 h 9"/>
                <a:gd name="T40" fmla="*/ 0 w 4"/>
                <a:gd name="T41" fmla="*/ 5 h 9"/>
                <a:gd name="T42" fmla="*/ 2 w 4"/>
                <a:gd name="T43" fmla="*/ 5 h 9"/>
                <a:gd name="T44" fmla="*/ 2 w 4"/>
                <a:gd name="T45" fmla="*/ 5 h 9"/>
                <a:gd name="T46" fmla="*/ 0 w 4"/>
                <a:gd name="T47" fmla="*/ 7 h 9"/>
                <a:gd name="T48" fmla="*/ 0 w 4"/>
                <a:gd name="T49" fmla="*/ 7 h 9"/>
                <a:gd name="T50" fmla="*/ 0 w 4"/>
                <a:gd name="T51" fmla="*/ 7 h 9"/>
                <a:gd name="T52" fmla="*/ 0 w 4"/>
                <a:gd name="T53" fmla="*/ 7 h 9"/>
                <a:gd name="T54" fmla="*/ 0 w 4"/>
                <a:gd name="T55" fmla="*/ 7 h 9"/>
                <a:gd name="T56" fmla="*/ 0 w 4"/>
                <a:gd name="T57" fmla="*/ 5 h 9"/>
                <a:gd name="T58" fmla="*/ 0 w 4"/>
                <a:gd name="T59" fmla="*/ 3 h 9"/>
                <a:gd name="T60" fmla="*/ 0 w 4"/>
                <a:gd name="T61" fmla="*/ 0 h 9"/>
                <a:gd name="T62" fmla="*/ 0 w 4"/>
                <a:gd name="T63" fmla="*/ 0 h 9"/>
                <a:gd name="T64" fmla="*/ 0 w 4"/>
                <a:gd name="T65" fmla="*/ 0 h 9"/>
                <a:gd name="T66" fmla="*/ 2 w 4"/>
                <a:gd name="T67" fmla="*/ 0 h 9"/>
                <a:gd name="T68" fmla="*/ 2 w 4"/>
                <a:gd name="T69" fmla="*/ 0 h 9"/>
                <a:gd name="T70" fmla="*/ 2 w 4"/>
                <a:gd name="T71" fmla="*/ 0 h 9"/>
                <a:gd name="T72" fmla="*/ 2 w 4"/>
                <a:gd name="T73" fmla="*/ 0 h 9"/>
                <a:gd name="T74" fmla="*/ 2 w 4"/>
                <a:gd name="T75" fmla="*/ 0 h 9"/>
                <a:gd name="T76" fmla="*/ 2 w 4"/>
                <a:gd name="T77" fmla="*/ 3 h 9"/>
                <a:gd name="T78" fmla="*/ 2 w 4"/>
                <a:gd name="T79" fmla="*/ 3 h 9"/>
                <a:gd name="T80" fmla="*/ 2 w 4"/>
                <a:gd name="T81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" h="9">
                  <a:moveTo>
                    <a:pt x="2" y="9"/>
                  </a:move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9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" name="Freeform 510"/>
            <p:cNvSpPr>
              <a:spLocks/>
            </p:cNvSpPr>
            <p:nvPr/>
          </p:nvSpPr>
          <p:spPr bwMode="auto">
            <a:xfrm>
              <a:off x="3458014" y="3247039"/>
              <a:ext cx="5015" cy="5014"/>
            </a:xfrm>
            <a:custGeom>
              <a:avLst/>
              <a:gdLst>
                <a:gd name="T0" fmla="*/ 3 w 3"/>
                <a:gd name="T1" fmla="*/ 0 h 3"/>
                <a:gd name="T2" fmla="*/ 3 w 3"/>
                <a:gd name="T3" fmla="*/ 0 h 3"/>
                <a:gd name="T4" fmla="*/ 3 w 3"/>
                <a:gd name="T5" fmla="*/ 3 h 3"/>
                <a:gd name="T6" fmla="*/ 3 w 3"/>
                <a:gd name="T7" fmla="*/ 3 h 3"/>
                <a:gd name="T8" fmla="*/ 0 w 3"/>
                <a:gd name="T9" fmla="*/ 0 h 3"/>
                <a:gd name="T10" fmla="*/ 0 w 3"/>
                <a:gd name="T11" fmla="*/ 0 h 3"/>
                <a:gd name="T12" fmla="*/ 0 w 3"/>
                <a:gd name="T13" fmla="*/ 0 h 3"/>
                <a:gd name="T14" fmla="*/ 0 w 3"/>
                <a:gd name="T15" fmla="*/ 0 h 3"/>
                <a:gd name="T16" fmla="*/ 0 w 3"/>
                <a:gd name="T17" fmla="*/ 0 h 3"/>
                <a:gd name="T18" fmla="*/ 0 w 3"/>
                <a:gd name="T19" fmla="*/ 0 h 3"/>
                <a:gd name="T20" fmla="*/ 0 w 3"/>
                <a:gd name="T21" fmla="*/ 0 h 3"/>
                <a:gd name="T22" fmla="*/ 0 w 3"/>
                <a:gd name="T23" fmla="*/ 0 h 3"/>
                <a:gd name="T24" fmla="*/ 0 w 3"/>
                <a:gd name="T25" fmla="*/ 0 h 3"/>
                <a:gd name="T26" fmla="*/ 0 w 3"/>
                <a:gd name="T27" fmla="*/ 0 h 3"/>
                <a:gd name="T28" fmla="*/ 0 w 3"/>
                <a:gd name="T29" fmla="*/ 0 h 3"/>
                <a:gd name="T30" fmla="*/ 3 w 3"/>
                <a:gd name="T31" fmla="*/ 0 h 3"/>
                <a:gd name="T32" fmla="*/ 3 w 3"/>
                <a:gd name="T33" fmla="*/ 0 h 3"/>
                <a:gd name="T34" fmla="*/ 3 w 3"/>
                <a:gd name="T35" fmla="*/ 0 h 3"/>
                <a:gd name="T36" fmla="*/ 3 w 3"/>
                <a:gd name="T37" fmla="*/ 0 h 3"/>
                <a:gd name="T38" fmla="*/ 3 w 3"/>
                <a:gd name="T39" fmla="*/ 0 h 3"/>
                <a:gd name="T40" fmla="*/ 3 w 3"/>
                <a:gd name="T41" fmla="*/ 0 h 3"/>
                <a:gd name="T42" fmla="*/ 3 w 3"/>
                <a:gd name="T43" fmla="*/ 0 h 3"/>
                <a:gd name="T44" fmla="*/ 3 w 3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3" y="3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6" name="Freeform 511"/>
            <p:cNvSpPr>
              <a:spLocks/>
            </p:cNvSpPr>
            <p:nvPr/>
          </p:nvSpPr>
          <p:spPr bwMode="auto">
            <a:xfrm>
              <a:off x="3518185" y="3405825"/>
              <a:ext cx="5015" cy="15042"/>
            </a:xfrm>
            <a:custGeom>
              <a:avLst/>
              <a:gdLst>
                <a:gd name="T0" fmla="*/ 3 w 3"/>
                <a:gd name="T1" fmla="*/ 9 h 9"/>
                <a:gd name="T2" fmla="*/ 3 w 3"/>
                <a:gd name="T3" fmla="*/ 9 h 9"/>
                <a:gd name="T4" fmla="*/ 0 w 3"/>
                <a:gd name="T5" fmla="*/ 9 h 9"/>
                <a:gd name="T6" fmla="*/ 0 w 3"/>
                <a:gd name="T7" fmla="*/ 9 h 9"/>
                <a:gd name="T8" fmla="*/ 0 w 3"/>
                <a:gd name="T9" fmla="*/ 9 h 9"/>
                <a:gd name="T10" fmla="*/ 0 w 3"/>
                <a:gd name="T11" fmla="*/ 6 h 9"/>
                <a:gd name="T12" fmla="*/ 0 w 3"/>
                <a:gd name="T13" fmla="*/ 6 h 9"/>
                <a:gd name="T14" fmla="*/ 0 w 3"/>
                <a:gd name="T15" fmla="*/ 6 h 9"/>
                <a:gd name="T16" fmla="*/ 0 w 3"/>
                <a:gd name="T17" fmla="*/ 6 h 9"/>
                <a:gd name="T18" fmla="*/ 0 w 3"/>
                <a:gd name="T19" fmla="*/ 6 h 9"/>
                <a:gd name="T20" fmla="*/ 0 w 3"/>
                <a:gd name="T21" fmla="*/ 6 h 9"/>
                <a:gd name="T22" fmla="*/ 0 w 3"/>
                <a:gd name="T23" fmla="*/ 6 h 9"/>
                <a:gd name="T24" fmla="*/ 0 w 3"/>
                <a:gd name="T25" fmla="*/ 6 h 9"/>
                <a:gd name="T26" fmla="*/ 0 w 3"/>
                <a:gd name="T27" fmla="*/ 6 h 9"/>
                <a:gd name="T28" fmla="*/ 0 w 3"/>
                <a:gd name="T29" fmla="*/ 6 h 9"/>
                <a:gd name="T30" fmla="*/ 0 w 3"/>
                <a:gd name="T31" fmla="*/ 4 h 9"/>
                <a:gd name="T32" fmla="*/ 0 w 3"/>
                <a:gd name="T33" fmla="*/ 4 h 9"/>
                <a:gd name="T34" fmla="*/ 0 w 3"/>
                <a:gd name="T35" fmla="*/ 4 h 9"/>
                <a:gd name="T36" fmla="*/ 0 w 3"/>
                <a:gd name="T37" fmla="*/ 4 h 9"/>
                <a:gd name="T38" fmla="*/ 0 w 3"/>
                <a:gd name="T39" fmla="*/ 4 h 9"/>
                <a:gd name="T40" fmla="*/ 0 w 3"/>
                <a:gd name="T41" fmla="*/ 2 h 9"/>
                <a:gd name="T42" fmla="*/ 0 w 3"/>
                <a:gd name="T43" fmla="*/ 2 h 9"/>
                <a:gd name="T44" fmla="*/ 0 w 3"/>
                <a:gd name="T45" fmla="*/ 2 h 9"/>
                <a:gd name="T46" fmla="*/ 3 w 3"/>
                <a:gd name="T47" fmla="*/ 2 h 9"/>
                <a:gd name="T48" fmla="*/ 3 w 3"/>
                <a:gd name="T49" fmla="*/ 2 h 9"/>
                <a:gd name="T50" fmla="*/ 3 w 3"/>
                <a:gd name="T51" fmla="*/ 2 h 9"/>
                <a:gd name="T52" fmla="*/ 3 w 3"/>
                <a:gd name="T53" fmla="*/ 2 h 9"/>
                <a:gd name="T54" fmla="*/ 3 w 3"/>
                <a:gd name="T55" fmla="*/ 2 h 9"/>
                <a:gd name="T56" fmla="*/ 3 w 3"/>
                <a:gd name="T57" fmla="*/ 0 h 9"/>
                <a:gd name="T58" fmla="*/ 3 w 3"/>
                <a:gd name="T59" fmla="*/ 0 h 9"/>
                <a:gd name="T60" fmla="*/ 3 w 3"/>
                <a:gd name="T61" fmla="*/ 0 h 9"/>
                <a:gd name="T62" fmla="*/ 3 w 3"/>
                <a:gd name="T63" fmla="*/ 0 h 9"/>
                <a:gd name="T64" fmla="*/ 3 w 3"/>
                <a:gd name="T65" fmla="*/ 0 h 9"/>
                <a:gd name="T66" fmla="*/ 3 w 3"/>
                <a:gd name="T67" fmla="*/ 2 h 9"/>
                <a:gd name="T68" fmla="*/ 3 w 3"/>
                <a:gd name="T69" fmla="*/ 2 h 9"/>
                <a:gd name="T70" fmla="*/ 3 w 3"/>
                <a:gd name="T71" fmla="*/ 2 h 9"/>
                <a:gd name="T72" fmla="*/ 3 w 3"/>
                <a:gd name="T73" fmla="*/ 2 h 9"/>
                <a:gd name="T74" fmla="*/ 3 w 3"/>
                <a:gd name="T75" fmla="*/ 2 h 9"/>
                <a:gd name="T76" fmla="*/ 3 w 3"/>
                <a:gd name="T77" fmla="*/ 4 h 9"/>
                <a:gd name="T78" fmla="*/ 3 w 3"/>
                <a:gd name="T79" fmla="*/ 6 h 9"/>
                <a:gd name="T80" fmla="*/ 3 w 3"/>
                <a:gd name="T81" fmla="*/ 6 h 9"/>
                <a:gd name="T82" fmla="*/ 3 w 3"/>
                <a:gd name="T83" fmla="*/ 9 h 9"/>
                <a:gd name="T84" fmla="*/ 3 w 3"/>
                <a:gd name="T85" fmla="*/ 9 h 9"/>
                <a:gd name="T86" fmla="*/ 3 w 3"/>
                <a:gd name="T87" fmla="*/ 9 h 9"/>
                <a:gd name="T88" fmla="*/ 3 w 3"/>
                <a:gd name="T89" fmla="*/ 9 h 9"/>
                <a:gd name="T90" fmla="*/ 3 w 3"/>
                <a:gd name="T91" fmla="*/ 9 h 9"/>
                <a:gd name="T92" fmla="*/ 3 w 3"/>
                <a:gd name="T93" fmla="*/ 9 h 9"/>
                <a:gd name="T94" fmla="*/ 3 w 3"/>
                <a:gd name="T95" fmla="*/ 9 h 9"/>
                <a:gd name="T96" fmla="*/ 3 w 3"/>
                <a:gd name="T97" fmla="*/ 9 h 9"/>
                <a:gd name="T98" fmla="*/ 3 w 3"/>
                <a:gd name="T9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" h="9">
                  <a:moveTo>
                    <a:pt x="3" y="9"/>
                  </a:moveTo>
                  <a:lnTo>
                    <a:pt x="3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" name="Freeform 512"/>
            <p:cNvSpPr>
              <a:spLocks noEditPoints="1"/>
            </p:cNvSpPr>
            <p:nvPr/>
          </p:nvSpPr>
          <p:spPr bwMode="auto">
            <a:xfrm>
              <a:off x="3466371" y="3273782"/>
              <a:ext cx="11701" cy="11699"/>
            </a:xfrm>
            <a:custGeom>
              <a:avLst/>
              <a:gdLst>
                <a:gd name="T0" fmla="*/ 7 w 7"/>
                <a:gd name="T1" fmla="*/ 7 h 7"/>
                <a:gd name="T2" fmla="*/ 4 w 7"/>
                <a:gd name="T3" fmla="*/ 7 h 7"/>
                <a:gd name="T4" fmla="*/ 4 w 7"/>
                <a:gd name="T5" fmla="*/ 7 h 7"/>
                <a:gd name="T6" fmla="*/ 4 w 7"/>
                <a:gd name="T7" fmla="*/ 7 h 7"/>
                <a:gd name="T8" fmla="*/ 4 w 7"/>
                <a:gd name="T9" fmla="*/ 7 h 7"/>
                <a:gd name="T10" fmla="*/ 4 w 7"/>
                <a:gd name="T11" fmla="*/ 5 h 7"/>
                <a:gd name="T12" fmla="*/ 4 w 7"/>
                <a:gd name="T13" fmla="*/ 5 h 7"/>
                <a:gd name="T14" fmla="*/ 7 w 7"/>
                <a:gd name="T15" fmla="*/ 5 h 7"/>
                <a:gd name="T16" fmla="*/ 7 w 7"/>
                <a:gd name="T17" fmla="*/ 7 h 7"/>
                <a:gd name="T18" fmla="*/ 7 w 7"/>
                <a:gd name="T19" fmla="*/ 7 h 7"/>
                <a:gd name="T20" fmla="*/ 7 w 7"/>
                <a:gd name="T21" fmla="*/ 7 h 7"/>
                <a:gd name="T22" fmla="*/ 7 w 7"/>
                <a:gd name="T23" fmla="*/ 7 h 7"/>
                <a:gd name="T24" fmla="*/ 7 w 7"/>
                <a:gd name="T25" fmla="*/ 7 h 7"/>
                <a:gd name="T26" fmla="*/ 7 w 7"/>
                <a:gd name="T27" fmla="*/ 7 h 7"/>
                <a:gd name="T28" fmla="*/ 7 w 7"/>
                <a:gd name="T29" fmla="*/ 7 h 7"/>
                <a:gd name="T30" fmla="*/ 2 w 7"/>
                <a:gd name="T31" fmla="*/ 2 h 7"/>
                <a:gd name="T32" fmla="*/ 4 w 7"/>
                <a:gd name="T33" fmla="*/ 2 h 7"/>
                <a:gd name="T34" fmla="*/ 4 w 7"/>
                <a:gd name="T35" fmla="*/ 5 h 7"/>
                <a:gd name="T36" fmla="*/ 4 w 7"/>
                <a:gd name="T37" fmla="*/ 5 h 7"/>
                <a:gd name="T38" fmla="*/ 4 w 7"/>
                <a:gd name="T39" fmla="*/ 5 h 7"/>
                <a:gd name="T40" fmla="*/ 4 w 7"/>
                <a:gd name="T41" fmla="*/ 5 h 7"/>
                <a:gd name="T42" fmla="*/ 4 w 7"/>
                <a:gd name="T43" fmla="*/ 5 h 7"/>
                <a:gd name="T44" fmla="*/ 4 w 7"/>
                <a:gd name="T45" fmla="*/ 5 h 7"/>
                <a:gd name="T46" fmla="*/ 4 w 7"/>
                <a:gd name="T47" fmla="*/ 5 h 7"/>
                <a:gd name="T48" fmla="*/ 4 w 7"/>
                <a:gd name="T49" fmla="*/ 5 h 7"/>
                <a:gd name="T50" fmla="*/ 2 w 7"/>
                <a:gd name="T51" fmla="*/ 5 h 7"/>
                <a:gd name="T52" fmla="*/ 2 w 7"/>
                <a:gd name="T53" fmla="*/ 2 h 7"/>
                <a:gd name="T54" fmla="*/ 2 w 7"/>
                <a:gd name="T55" fmla="*/ 2 h 7"/>
                <a:gd name="T56" fmla="*/ 2 w 7"/>
                <a:gd name="T57" fmla="*/ 2 h 7"/>
                <a:gd name="T58" fmla="*/ 2 w 7"/>
                <a:gd name="T59" fmla="*/ 2 h 7"/>
                <a:gd name="T60" fmla="*/ 2 w 7"/>
                <a:gd name="T61" fmla="*/ 2 h 7"/>
                <a:gd name="T62" fmla="*/ 0 w 7"/>
                <a:gd name="T63" fmla="*/ 2 h 7"/>
                <a:gd name="T64" fmla="*/ 0 w 7"/>
                <a:gd name="T65" fmla="*/ 2 h 7"/>
                <a:gd name="T66" fmla="*/ 0 w 7"/>
                <a:gd name="T67" fmla="*/ 0 h 7"/>
                <a:gd name="T68" fmla="*/ 0 w 7"/>
                <a:gd name="T69" fmla="*/ 0 h 7"/>
                <a:gd name="T70" fmla="*/ 0 w 7"/>
                <a:gd name="T71" fmla="*/ 0 h 7"/>
                <a:gd name="T72" fmla="*/ 0 w 7"/>
                <a:gd name="T73" fmla="*/ 0 h 7"/>
                <a:gd name="T74" fmla="*/ 0 w 7"/>
                <a:gd name="T75" fmla="*/ 0 h 7"/>
                <a:gd name="T76" fmla="*/ 0 w 7"/>
                <a:gd name="T77" fmla="*/ 0 h 7"/>
                <a:gd name="T78" fmla="*/ 0 w 7"/>
                <a:gd name="T79" fmla="*/ 0 h 7"/>
                <a:gd name="T80" fmla="*/ 0 w 7"/>
                <a:gd name="T81" fmla="*/ 0 h 7"/>
                <a:gd name="T82" fmla="*/ 2 w 7"/>
                <a:gd name="T83" fmla="*/ 2 h 7"/>
                <a:gd name="T84" fmla="*/ 2 w 7"/>
                <a:gd name="T8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" h="7">
                  <a:moveTo>
                    <a:pt x="7" y="7"/>
                  </a:move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close/>
                  <a:moveTo>
                    <a:pt x="2" y="2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2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Freeform 513"/>
            <p:cNvSpPr>
              <a:spLocks/>
            </p:cNvSpPr>
            <p:nvPr/>
          </p:nvSpPr>
          <p:spPr bwMode="auto">
            <a:xfrm>
              <a:off x="6657122" y="4010881"/>
              <a:ext cx="71872" cy="66857"/>
            </a:xfrm>
            <a:custGeom>
              <a:avLst/>
              <a:gdLst>
                <a:gd name="T0" fmla="*/ 34 w 43"/>
                <a:gd name="T1" fmla="*/ 0 h 40"/>
                <a:gd name="T2" fmla="*/ 34 w 43"/>
                <a:gd name="T3" fmla="*/ 2 h 40"/>
                <a:gd name="T4" fmla="*/ 34 w 43"/>
                <a:gd name="T5" fmla="*/ 2 h 40"/>
                <a:gd name="T6" fmla="*/ 36 w 43"/>
                <a:gd name="T7" fmla="*/ 4 h 40"/>
                <a:gd name="T8" fmla="*/ 36 w 43"/>
                <a:gd name="T9" fmla="*/ 4 h 40"/>
                <a:gd name="T10" fmla="*/ 36 w 43"/>
                <a:gd name="T11" fmla="*/ 7 h 40"/>
                <a:gd name="T12" fmla="*/ 39 w 43"/>
                <a:gd name="T13" fmla="*/ 7 h 40"/>
                <a:gd name="T14" fmla="*/ 39 w 43"/>
                <a:gd name="T15" fmla="*/ 9 h 40"/>
                <a:gd name="T16" fmla="*/ 41 w 43"/>
                <a:gd name="T17" fmla="*/ 11 h 40"/>
                <a:gd name="T18" fmla="*/ 41 w 43"/>
                <a:gd name="T19" fmla="*/ 13 h 40"/>
                <a:gd name="T20" fmla="*/ 41 w 43"/>
                <a:gd name="T21" fmla="*/ 15 h 40"/>
                <a:gd name="T22" fmla="*/ 41 w 43"/>
                <a:gd name="T23" fmla="*/ 18 h 40"/>
                <a:gd name="T24" fmla="*/ 41 w 43"/>
                <a:gd name="T25" fmla="*/ 20 h 40"/>
                <a:gd name="T26" fmla="*/ 43 w 43"/>
                <a:gd name="T27" fmla="*/ 22 h 40"/>
                <a:gd name="T28" fmla="*/ 41 w 43"/>
                <a:gd name="T29" fmla="*/ 27 h 40"/>
                <a:gd name="T30" fmla="*/ 41 w 43"/>
                <a:gd name="T31" fmla="*/ 31 h 40"/>
                <a:gd name="T32" fmla="*/ 41 w 43"/>
                <a:gd name="T33" fmla="*/ 31 h 40"/>
                <a:gd name="T34" fmla="*/ 39 w 43"/>
                <a:gd name="T35" fmla="*/ 31 h 40"/>
                <a:gd name="T36" fmla="*/ 36 w 43"/>
                <a:gd name="T37" fmla="*/ 31 h 40"/>
                <a:gd name="T38" fmla="*/ 34 w 43"/>
                <a:gd name="T39" fmla="*/ 29 h 40"/>
                <a:gd name="T40" fmla="*/ 32 w 43"/>
                <a:gd name="T41" fmla="*/ 29 h 40"/>
                <a:gd name="T42" fmla="*/ 30 w 43"/>
                <a:gd name="T43" fmla="*/ 29 h 40"/>
                <a:gd name="T44" fmla="*/ 30 w 43"/>
                <a:gd name="T45" fmla="*/ 29 h 40"/>
                <a:gd name="T46" fmla="*/ 27 w 43"/>
                <a:gd name="T47" fmla="*/ 31 h 40"/>
                <a:gd name="T48" fmla="*/ 25 w 43"/>
                <a:gd name="T49" fmla="*/ 29 h 40"/>
                <a:gd name="T50" fmla="*/ 23 w 43"/>
                <a:gd name="T51" fmla="*/ 29 h 40"/>
                <a:gd name="T52" fmla="*/ 23 w 43"/>
                <a:gd name="T53" fmla="*/ 29 h 40"/>
                <a:gd name="T54" fmla="*/ 23 w 43"/>
                <a:gd name="T55" fmla="*/ 38 h 40"/>
                <a:gd name="T56" fmla="*/ 21 w 43"/>
                <a:gd name="T57" fmla="*/ 40 h 40"/>
                <a:gd name="T58" fmla="*/ 18 w 43"/>
                <a:gd name="T59" fmla="*/ 40 h 40"/>
                <a:gd name="T60" fmla="*/ 18 w 43"/>
                <a:gd name="T61" fmla="*/ 40 h 40"/>
                <a:gd name="T62" fmla="*/ 16 w 43"/>
                <a:gd name="T63" fmla="*/ 40 h 40"/>
                <a:gd name="T64" fmla="*/ 14 w 43"/>
                <a:gd name="T65" fmla="*/ 40 h 40"/>
                <a:gd name="T66" fmla="*/ 9 w 43"/>
                <a:gd name="T67" fmla="*/ 40 h 40"/>
                <a:gd name="T68" fmla="*/ 9 w 43"/>
                <a:gd name="T69" fmla="*/ 38 h 40"/>
                <a:gd name="T70" fmla="*/ 9 w 43"/>
                <a:gd name="T71" fmla="*/ 38 h 40"/>
                <a:gd name="T72" fmla="*/ 7 w 43"/>
                <a:gd name="T73" fmla="*/ 36 h 40"/>
                <a:gd name="T74" fmla="*/ 5 w 43"/>
                <a:gd name="T75" fmla="*/ 36 h 40"/>
                <a:gd name="T76" fmla="*/ 3 w 43"/>
                <a:gd name="T77" fmla="*/ 38 h 40"/>
                <a:gd name="T78" fmla="*/ 0 w 43"/>
                <a:gd name="T79" fmla="*/ 33 h 40"/>
                <a:gd name="T80" fmla="*/ 0 w 43"/>
                <a:gd name="T81" fmla="*/ 33 h 40"/>
                <a:gd name="T82" fmla="*/ 0 w 43"/>
                <a:gd name="T83" fmla="*/ 31 h 40"/>
                <a:gd name="T84" fmla="*/ 3 w 43"/>
                <a:gd name="T85" fmla="*/ 29 h 40"/>
                <a:gd name="T86" fmla="*/ 3 w 43"/>
                <a:gd name="T87" fmla="*/ 29 h 40"/>
                <a:gd name="T88" fmla="*/ 7 w 43"/>
                <a:gd name="T89" fmla="*/ 27 h 40"/>
                <a:gd name="T90" fmla="*/ 5 w 43"/>
                <a:gd name="T91" fmla="*/ 18 h 40"/>
                <a:gd name="T92" fmla="*/ 9 w 43"/>
                <a:gd name="T93" fmla="*/ 13 h 40"/>
                <a:gd name="T94" fmla="*/ 12 w 43"/>
                <a:gd name="T95" fmla="*/ 11 h 40"/>
                <a:gd name="T96" fmla="*/ 14 w 43"/>
                <a:gd name="T97" fmla="*/ 9 h 40"/>
                <a:gd name="T98" fmla="*/ 16 w 43"/>
                <a:gd name="T99" fmla="*/ 7 h 40"/>
                <a:gd name="T100" fmla="*/ 18 w 43"/>
                <a:gd name="T101" fmla="*/ 7 h 40"/>
                <a:gd name="T102" fmla="*/ 21 w 43"/>
                <a:gd name="T103" fmla="*/ 7 h 40"/>
                <a:gd name="T104" fmla="*/ 21 w 43"/>
                <a:gd name="T105" fmla="*/ 7 h 40"/>
                <a:gd name="T106" fmla="*/ 23 w 43"/>
                <a:gd name="T107" fmla="*/ 9 h 40"/>
                <a:gd name="T108" fmla="*/ 25 w 43"/>
                <a:gd name="T109" fmla="*/ 9 h 40"/>
                <a:gd name="T110" fmla="*/ 27 w 43"/>
                <a:gd name="T111" fmla="*/ 7 h 40"/>
                <a:gd name="T112" fmla="*/ 27 w 43"/>
                <a:gd name="T113" fmla="*/ 4 h 40"/>
                <a:gd name="T114" fmla="*/ 30 w 43"/>
                <a:gd name="T115" fmla="*/ 2 h 40"/>
                <a:gd name="T116" fmla="*/ 30 w 43"/>
                <a:gd name="T117" fmla="*/ 2 h 40"/>
                <a:gd name="T118" fmla="*/ 32 w 43"/>
                <a:gd name="T119" fmla="*/ 0 h 40"/>
                <a:gd name="T120" fmla="*/ 34 w 43"/>
                <a:gd name="T1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" h="40">
                  <a:moveTo>
                    <a:pt x="34" y="0"/>
                  </a:move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41" y="9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4"/>
                  </a:lnTo>
                  <a:lnTo>
                    <a:pt x="43" y="27"/>
                  </a:lnTo>
                  <a:lnTo>
                    <a:pt x="41" y="27"/>
                  </a:lnTo>
                  <a:lnTo>
                    <a:pt x="43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2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Freeform 514"/>
            <p:cNvSpPr>
              <a:spLocks noEditPoints="1"/>
            </p:cNvSpPr>
            <p:nvPr/>
          </p:nvSpPr>
          <p:spPr bwMode="auto">
            <a:xfrm>
              <a:off x="6367965" y="905373"/>
              <a:ext cx="4191934" cy="1425725"/>
            </a:xfrm>
            <a:custGeom>
              <a:avLst/>
              <a:gdLst>
                <a:gd name="T0" fmla="*/ 2395 w 2508"/>
                <a:gd name="T1" fmla="*/ 718 h 853"/>
                <a:gd name="T2" fmla="*/ 2132 w 2508"/>
                <a:gd name="T3" fmla="*/ 592 h 853"/>
                <a:gd name="T4" fmla="*/ 2204 w 2508"/>
                <a:gd name="T5" fmla="*/ 709 h 853"/>
                <a:gd name="T6" fmla="*/ 1991 w 2508"/>
                <a:gd name="T7" fmla="*/ 533 h 853"/>
                <a:gd name="T8" fmla="*/ 405 w 2508"/>
                <a:gd name="T9" fmla="*/ 248 h 853"/>
                <a:gd name="T10" fmla="*/ 450 w 2508"/>
                <a:gd name="T11" fmla="*/ 210 h 853"/>
                <a:gd name="T12" fmla="*/ 1303 w 2508"/>
                <a:gd name="T13" fmla="*/ 151 h 853"/>
                <a:gd name="T14" fmla="*/ 378 w 2508"/>
                <a:gd name="T15" fmla="*/ 198 h 853"/>
                <a:gd name="T16" fmla="*/ 596 w 2508"/>
                <a:gd name="T17" fmla="*/ 149 h 853"/>
                <a:gd name="T18" fmla="*/ 695 w 2508"/>
                <a:gd name="T19" fmla="*/ 122 h 853"/>
                <a:gd name="T20" fmla="*/ 1494 w 2508"/>
                <a:gd name="T21" fmla="*/ 106 h 853"/>
                <a:gd name="T22" fmla="*/ 901 w 2508"/>
                <a:gd name="T23" fmla="*/ 93 h 853"/>
                <a:gd name="T24" fmla="*/ 398 w 2508"/>
                <a:gd name="T25" fmla="*/ 124 h 853"/>
                <a:gd name="T26" fmla="*/ 355 w 2508"/>
                <a:gd name="T27" fmla="*/ 115 h 853"/>
                <a:gd name="T28" fmla="*/ 2065 w 2508"/>
                <a:gd name="T29" fmla="*/ 819 h 853"/>
                <a:gd name="T30" fmla="*/ 2016 w 2508"/>
                <a:gd name="T31" fmla="*/ 698 h 853"/>
                <a:gd name="T32" fmla="*/ 1755 w 2508"/>
                <a:gd name="T33" fmla="*/ 565 h 853"/>
                <a:gd name="T34" fmla="*/ 1524 w 2508"/>
                <a:gd name="T35" fmla="*/ 646 h 853"/>
                <a:gd name="T36" fmla="*/ 1182 w 2508"/>
                <a:gd name="T37" fmla="*/ 662 h 853"/>
                <a:gd name="T38" fmla="*/ 879 w 2508"/>
                <a:gd name="T39" fmla="*/ 563 h 853"/>
                <a:gd name="T40" fmla="*/ 674 w 2508"/>
                <a:gd name="T41" fmla="*/ 556 h 853"/>
                <a:gd name="T42" fmla="*/ 564 w 2508"/>
                <a:gd name="T43" fmla="*/ 628 h 853"/>
                <a:gd name="T44" fmla="*/ 486 w 2508"/>
                <a:gd name="T45" fmla="*/ 736 h 853"/>
                <a:gd name="T46" fmla="*/ 479 w 2508"/>
                <a:gd name="T47" fmla="*/ 817 h 853"/>
                <a:gd name="T48" fmla="*/ 275 w 2508"/>
                <a:gd name="T49" fmla="*/ 754 h 853"/>
                <a:gd name="T50" fmla="*/ 299 w 2508"/>
                <a:gd name="T51" fmla="*/ 673 h 853"/>
                <a:gd name="T52" fmla="*/ 140 w 2508"/>
                <a:gd name="T53" fmla="*/ 576 h 853"/>
                <a:gd name="T54" fmla="*/ 61 w 2508"/>
                <a:gd name="T55" fmla="*/ 421 h 853"/>
                <a:gd name="T56" fmla="*/ 48 w 2508"/>
                <a:gd name="T57" fmla="*/ 216 h 853"/>
                <a:gd name="T58" fmla="*/ 212 w 2508"/>
                <a:gd name="T59" fmla="*/ 270 h 853"/>
                <a:gd name="T60" fmla="*/ 124 w 2508"/>
                <a:gd name="T61" fmla="*/ 315 h 853"/>
                <a:gd name="T62" fmla="*/ 261 w 2508"/>
                <a:gd name="T63" fmla="*/ 291 h 853"/>
                <a:gd name="T64" fmla="*/ 382 w 2508"/>
                <a:gd name="T65" fmla="*/ 234 h 853"/>
                <a:gd name="T66" fmla="*/ 623 w 2508"/>
                <a:gd name="T67" fmla="*/ 246 h 853"/>
                <a:gd name="T68" fmla="*/ 672 w 2508"/>
                <a:gd name="T69" fmla="*/ 225 h 853"/>
                <a:gd name="T70" fmla="*/ 762 w 2508"/>
                <a:gd name="T71" fmla="*/ 255 h 853"/>
                <a:gd name="T72" fmla="*/ 713 w 2508"/>
                <a:gd name="T73" fmla="*/ 192 h 853"/>
                <a:gd name="T74" fmla="*/ 811 w 2508"/>
                <a:gd name="T75" fmla="*/ 192 h 853"/>
                <a:gd name="T76" fmla="*/ 787 w 2508"/>
                <a:gd name="T77" fmla="*/ 120 h 853"/>
                <a:gd name="T78" fmla="*/ 940 w 2508"/>
                <a:gd name="T79" fmla="*/ 93 h 853"/>
                <a:gd name="T80" fmla="*/ 1095 w 2508"/>
                <a:gd name="T81" fmla="*/ 84 h 853"/>
                <a:gd name="T82" fmla="*/ 1148 w 2508"/>
                <a:gd name="T83" fmla="*/ 144 h 853"/>
                <a:gd name="T84" fmla="*/ 1353 w 2508"/>
                <a:gd name="T85" fmla="*/ 142 h 853"/>
                <a:gd name="T86" fmla="*/ 1474 w 2508"/>
                <a:gd name="T87" fmla="*/ 180 h 853"/>
                <a:gd name="T88" fmla="*/ 1609 w 2508"/>
                <a:gd name="T89" fmla="*/ 165 h 853"/>
                <a:gd name="T90" fmla="*/ 1861 w 2508"/>
                <a:gd name="T91" fmla="*/ 196 h 853"/>
                <a:gd name="T92" fmla="*/ 2191 w 2508"/>
                <a:gd name="T93" fmla="*/ 216 h 853"/>
                <a:gd name="T94" fmla="*/ 2436 w 2508"/>
                <a:gd name="T95" fmla="*/ 331 h 853"/>
                <a:gd name="T96" fmla="*/ 2427 w 2508"/>
                <a:gd name="T97" fmla="*/ 396 h 853"/>
                <a:gd name="T98" fmla="*/ 2317 w 2508"/>
                <a:gd name="T99" fmla="*/ 423 h 853"/>
                <a:gd name="T100" fmla="*/ 2407 w 2508"/>
                <a:gd name="T101" fmla="*/ 567 h 853"/>
                <a:gd name="T102" fmla="*/ 2270 w 2508"/>
                <a:gd name="T103" fmla="*/ 466 h 853"/>
                <a:gd name="T104" fmla="*/ 2249 w 2508"/>
                <a:gd name="T105" fmla="*/ 387 h 853"/>
                <a:gd name="T106" fmla="*/ 2162 w 2508"/>
                <a:gd name="T107" fmla="*/ 428 h 853"/>
                <a:gd name="T108" fmla="*/ 2049 w 2508"/>
                <a:gd name="T109" fmla="*/ 434 h 853"/>
                <a:gd name="T110" fmla="*/ 1998 w 2508"/>
                <a:gd name="T111" fmla="*/ 558 h 853"/>
                <a:gd name="T112" fmla="*/ 2110 w 2508"/>
                <a:gd name="T113" fmla="*/ 619 h 853"/>
                <a:gd name="T114" fmla="*/ 2132 w 2508"/>
                <a:gd name="T115" fmla="*/ 799 h 853"/>
                <a:gd name="T116" fmla="*/ 915 w 2508"/>
                <a:gd name="T117" fmla="*/ 50 h 853"/>
                <a:gd name="T118" fmla="*/ 895 w 2508"/>
                <a:gd name="T119" fmla="*/ 48 h 853"/>
                <a:gd name="T120" fmla="*/ 328 w 2508"/>
                <a:gd name="T121" fmla="*/ 23 h 853"/>
                <a:gd name="T122" fmla="*/ 200 w 2508"/>
                <a:gd name="T123" fmla="*/ 23 h 853"/>
                <a:gd name="T124" fmla="*/ 760 w 2508"/>
                <a:gd name="T125" fmla="*/ 16 h 8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08" h="853">
                  <a:moveTo>
                    <a:pt x="2094" y="812"/>
                  </a:moveTo>
                  <a:lnTo>
                    <a:pt x="2094" y="812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4"/>
                  </a:lnTo>
                  <a:lnTo>
                    <a:pt x="2094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4" y="812"/>
                  </a:lnTo>
                  <a:lnTo>
                    <a:pt x="2094" y="812"/>
                  </a:lnTo>
                  <a:close/>
                  <a:moveTo>
                    <a:pt x="2079" y="808"/>
                  </a:moveTo>
                  <a:lnTo>
                    <a:pt x="2081" y="808"/>
                  </a:lnTo>
                  <a:lnTo>
                    <a:pt x="2081" y="808"/>
                  </a:lnTo>
                  <a:lnTo>
                    <a:pt x="2081" y="808"/>
                  </a:lnTo>
                  <a:lnTo>
                    <a:pt x="2081" y="810"/>
                  </a:lnTo>
                  <a:lnTo>
                    <a:pt x="2081" y="810"/>
                  </a:lnTo>
                  <a:lnTo>
                    <a:pt x="2081" y="810"/>
                  </a:lnTo>
                  <a:lnTo>
                    <a:pt x="2081" y="810"/>
                  </a:lnTo>
                  <a:lnTo>
                    <a:pt x="2081" y="810"/>
                  </a:lnTo>
                  <a:lnTo>
                    <a:pt x="2081" y="810"/>
                  </a:lnTo>
                  <a:lnTo>
                    <a:pt x="2079" y="810"/>
                  </a:lnTo>
                  <a:lnTo>
                    <a:pt x="2079" y="810"/>
                  </a:lnTo>
                  <a:lnTo>
                    <a:pt x="2079" y="810"/>
                  </a:lnTo>
                  <a:lnTo>
                    <a:pt x="2079" y="810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close/>
                  <a:moveTo>
                    <a:pt x="2353" y="790"/>
                  </a:moveTo>
                  <a:lnTo>
                    <a:pt x="2353" y="790"/>
                  </a:lnTo>
                  <a:lnTo>
                    <a:pt x="2353" y="790"/>
                  </a:lnTo>
                  <a:lnTo>
                    <a:pt x="2353" y="790"/>
                  </a:lnTo>
                  <a:lnTo>
                    <a:pt x="2353" y="790"/>
                  </a:lnTo>
                  <a:lnTo>
                    <a:pt x="2353" y="790"/>
                  </a:lnTo>
                  <a:lnTo>
                    <a:pt x="2355" y="790"/>
                  </a:lnTo>
                  <a:lnTo>
                    <a:pt x="2355" y="790"/>
                  </a:lnTo>
                  <a:lnTo>
                    <a:pt x="2355" y="790"/>
                  </a:lnTo>
                  <a:lnTo>
                    <a:pt x="2353" y="790"/>
                  </a:lnTo>
                  <a:lnTo>
                    <a:pt x="2353" y="790"/>
                  </a:lnTo>
                  <a:lnTo>
                    <a:pt x="2353" y="790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3" y="790"/>
                  </a:lnTo>
                  <a:lnTo>
                    <a:pt x="2353" y="790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3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50" y="792"/>
                  </a:lnTo>
                  <a:lnTo>
                    <a:pt x="2348" y="792"/>
                  </a:lnTo>
                  <a:lnTo>
                    <a:pt x="2348" y="792"/>
                  </a:lnTo>
                  <a:lnTo>
                    <a:pt x="2348" y="792"/>
                  </a:lnTo>
                  <a:lnTo>
                    <a:pt x="2348" y="790"/>
                  </a:lnTo>
                  <a:lnTo>
                    <a:pt x="2348" y="790"/>
                  </a:lnTo>
                  <a:lnTo>
                    <a:pt x="2348" y="790"/>
                  </a:lnTo>
                  <a:lnTo>
                    <a:pt x="2348" y="790"/>
                  </a:lnTo>
                  <a:lnTo>
                    <a:pt x="2348" y="790"/>
                  </a:lnTo>
                  <a:lnTo>
                    <a:pt x="2350" y="790"/>
                  </a:lnTo>
                  <a:lnTo>
                    <a:pt x="2350" y="790"/>
                  </a:lnTo>
                  <a:lnTo>
                    <a:pt x="2350" y="790"/>
                  </a:lnTo>
                  <a:lnTo>
                    <a:pt x="2350" y="790"/>
                  </a:lnTo>
                  <a:lnTo>
                    <a:pt x="2350" y="787"/>
                  </a:lnTo>
                  <a:lnTo>
                    <a:pt x="2353" y="787"/>
                  </a:lnTo>
                  <a:lnTo>
                    <a:pt x="2353" y="790"/>
                  </a:lnTo>
                  <a:close/>
                  <a:moveTo>
                    <a:pt x="2332" y="776"/>
                  </a:moveTo>
                  <a:lnTo>
                    <a:pt x="2332" y="776"/>
                  </a:lnTo>
                  <a:lnTo>
                    <a:pt x="2335" y="776"/>
                  </a:lnTo>
                  <a:lnTo>
                    <a:pt x="2337" y="774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7" y="776"/>
                  </a:lnTo>
                  <a:lnTo>
                    <a:pt x="2335" y="776"/>
                  </a:lnTo>
                  <a:lnTo>
                    <a:pt x="2335" y="776"/>
                  </a:lnTo>
                  <a:lnTo>
                    <a:pt x="2335" y="776"/>
                  </a:lnTo>
                  <a:lnTo>
                    <a:pt x="2335" y="776"/>
                  </a:lnTo>
                  <a:lnTo>
                    <a:pt x="2335" y="776"/>
                  </a:lnTo>
                  <a:lnTo>
                    <a:pt x="2335" y="778"/>
                  </a:lnTo>
                  <a:lnTo>
                    <a:pt x="2335" y="778"/>
                  </a:lnTo>
                  <a:lnTo>
                    <a:pt x="2335" y="778"/>
                  </a:lnTo>
                  <a:lnTo>
                    <a:pt x="2335" y="778"/>
                  </a:lnTo>
                  <a:lnTo>
                    <a:pt x="2335" y="778"/>
                  </a:lnTo>
                  <a:lnTo>
                    <a:pt x="2332" y="778"/>
                  </a:lnTo>
                  <a:lnTo>
                    <a:pt x="2332" y="778"/>
                  </a:lnTo>
                  <a:lnTo>
                    <a:pt x="2332" y="778"/>
                  </a:lnTo>
                  <a:lnTo>
                    <a:pt x="2332" y="778"/>
                  </a:lnTo>
                  <a:lnTo>
                    <a:pt x="2332" y="781"/>
                  </a:lnTo>
                  <a:lnTo>
                    <a:pt x="2332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1"/>
                  </a:lnTo>
                  <a:lnTo>
                    <a:pt x="2330" y="783"/>
                  </a:lnTo>
                  <a:lnTo>
                    <a:pt x="2330" y="783"/>
                  </a:lnTo>
                  <a:lnTo>
                    <a:pt x="2330" y="783"/>
                  </a:lnTo>
                  <a:lnTo>
                    <a:pt x="2330" y="783"/>
                  </a:lnTo>
                  <a:lnTo>
                    <a:pt x="2330" y="785"/>
                  </a:lnTo>
                  <a:lnTo>
                    <a:pt x="2330" y="785"/>
                  </a:lnTo>
                  <a:lnTo>
                    <a:pt x="2330" y="785"/>
                  </a:lnTo>
                  <a:lnTo>
                    <a:pt x="2330" y="785"/>
                  </a:lnTo>
                  <a:lnTo>
                    <a:pt x="2330" y="785"/>
                  </a:lnTo>
                  <a:lnTo>
                    <a:pt x="2330" y="785"/>
                  </a:lnTo>
                  <a:lnTo>
                    <a:pt x="2330" y="785"/>
                  </a:lnTo>
                  <a:lnTo>
                    <a:pt x="2330" y="787"/>
                  </a:lnTo>
                  <a:lnTo>
                    <a:pt x="2330" y="787"/>
                  </a:lnTo>
                  <a:lnTo>
                    <a:pt x="2330" y="787"/>
                  </a:lnTo>
                  <a:lnTo>
                    <a:pt x="2330" y="787"/>
                  </a:lnTo>
                  <a:lnTo>
                    <a:pt x="2330" y="787"/>
                  </a:lnTo>
                  <a:lnTo>
                    <a:pt x="2330" y="787"/>
                  </a:lnTo>
                  <a:lnTo>
                    <a:pt x="2328" y="787"/>
                  </a:lnTo>
                  <a:lnTo>
                    <a:pt x="2328" y="787"/>
                  </a:lnTo>
                  <a:lnTo>
                    <a:pt x="2328" y="790"/>
                  </a:lnTo>
                  <a:lnTo>
                    <a:pt x="2328" y="790"/>
                  </a:lnTo>
                  <a:lnTo>
                    <a:pt x="2328" y="790"/>
                  </a:lnTo>
                  <a:lnTo>
                    <a:pt x="2330" y="792"/>
                  </a:lnTo>
                  <a:lnTo>
                    <a:pt x="2330" y="794"/>
                  </a:lnTo>
                  <a:lnTo>
                    <a:pt x="2330" y="794"/>
                  </a:lnTo>
                  <a:lnTo>
                    <a:pt x="2330" y="794"/>
                  </a:lnTo>
                  <a:lnTo>
                    <a:pt x="2330" y="794"/>
                  </a:lnTo>
                  <a:lnTo>
                    <a:pt x="2330" y="794"/>
                  </a:lnTo>
                  <a:lnTo>
                    <a:pt x="2330" y="792"/>
                  </a:lnTo>
                  <a:lnTo>
                    <a:pt x="2330" y="792"/>
                  </a:lnTo>
                  <a:lnTo>
                    <a:pt x="2330" y="792"/>
                  </a:lnTo>
                  <a:lnTo>
                    <a:pt x="2330" y="792"/>
                  </a:lnTo>
                  <a:lnTo>
                    <a:pt x="2328" y="792"/>
                  </a:lnTo>
                  <a:lnTo>
                    <a:pt x="2328" y="792"/>
                  </a:lnTo>
                  <a:lnTo>
                    <a:pt x="2328" y="792"/>
                  </a:lnTo>
                  <a:lnTo>
                    <a:pt x="2326" y="792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90"/>
                  </a:lnTo>
                  <a:lnTo>
                    <a:pt x="2326" y="787"/>
                  </a:lnTo>
                  <a:lnTo>
                    <a:pt x="2326" y="787"/>
                  </a:lnTo>
                  <a:lnTo>
                    <a:pt x="2326" y="787"/>
                  </a:lnTo>
                  <a:lnTo>
                    <a:pt x="2326" y="787"/>
                  </a:lnTo>
                  <a:lnTo>
                    <a:pt x="2326" y="787"/>
                  </a:lnTo>
                  <a:lnTo>
                    <a:pt x="2328" y="785"/>
                  </a:lnTo>
                  <a:lnTo>
                    <a:pt x="2328" y="785"/>
                  </a:lnTo>
                  <a:lnTo>
                    <a:pt x="2328" y="785"/>
                  </a:lnTo>
                  <a:lnTo>
                    <a:pt x="2328" y="785"/>
                  </a:lnTo>
                  <a:lnTo>
                    <a:pt x="2328" y="785"/>
                  </a:lnTo>
                  <a:lnTo>
                    <a:pt x="2328" y="785"/>
                  </a:lnTo>
                  <a:lnTo>
                    <a:pt x="2328" y="783"/>
                  </a:lnTo>
                  <a:lnTo>
                    <a:pt x="2328" y="783"/>
                  </a:lnTo>
                  <a:lnTo>
                    <a:pt x="2328" y="783"/>
                  </a:lnTo>
                  <a:lnTo>
                    <a:pt x="2328" y="783"/>
                  </a:lnTo>
                  <a:lnTo>
                    <a:pt x="2328" y="783"/>
                  </a:lnTo>
                  <a:lnTo>
                    <a:pt x="2328" y="783"/>
                  </a:lnTo>
                  <a:lnTo>
                    <a:pt x="2328" y="781"/>
                  </a:lnTo>
                  <a:lnTo>
                    <a:pt x="2328" y="781"/>
                  </a:lnTo>
                  <a:lnTo>
                    <a:pt x="2328" y="781"/>
                  </a:lnTo>
                  <a:lnTo>
                    <a:pt x="2328" y="781"/>
                  </a:lnTo>
                  <a:lnTo>
                    <a:pt x="2328" y="781"/>
                  </a:lnTo>
                  <a:lnTo>
                    <a:pt x="2328" y="781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8"/>
                  </a:lnTo>
                  <a:lnTo>
                    <a:pt x="2328" y="776"/>
                  </a:lnTo>
                  <a:lnTo>
                    <a:pt x="2328" y="776"/>
                  </a:lnTo>
                  <a:lnTo>
                    <a:pt x="2328" y="776"/>
                  </a:lnTo>
                  <a:lnTo>
                    <a:pt x="2328" y="776"/>
                  </a:lnTo>
                  <a:lnTo>
                    <a:pt x="2328" y="774"/>
                  </a:lnTo>
                  <a:lnTo>
                    <a:pt x="2328" y="774"/>
                  </a:lnTo>
                  <a:lnTo>
                    <a:pt x="2328" y="774"/>
                  </a:lnTo>
                  <a:lnTo>
                    <a:pt x="2328" y="774"/>
                  </a:lnTo>
                  <a:lnTo>
                    <a:pt x="2328" y="774"/>
                  </a:lnTo>
                  <a:lnTo>
                    <a:pt x="2330" y="774"/>
                  </a:lnTo>
                  <a:lnTo>
                    <a:pt x="2330" y="774"/>
                  </a:lnTo>
                  <a:lnTo>
                    <a:pt x="2330" y="774"/>
                  </a:lnTo>
                  <a:lnTo>
                    <a:pt x="2332" y="776"/>
                  </a:lnTo>
                  <a:close/>
                  <a:moveTo>
                    <a:pt x="2364" y="754"/>
                  </a:moveTo>
                  <a:lnTo>
                    <a:pt x="2364" y="754"/>
                  </a:lnTo>
                  <a:lnTo>
                    <a:pt x="2364" y="756"/>
                  </a:lnTo>
                  <a:lnTo>
                    <a:pt x="2364" y="756"/>
                  </a:lnTo>
                  <a:lnTo>
                    <a:pt x="2362" y="754"/>
                  </a:lnTo>
                  <a:lnTo>
                    <a:pt x="2359" y="754"/>
                  </a:lnTo>
                  <a:lnTo>
                    <a:pt x="2359" y="756"/>
                  </a:lnTo>
                  <a:lnTo>
                    <a:pt x="2359" y="756"/>
                  </a:lnTo>
                  <a:lnTo>
                    <a:pt x="2359" y="756"/>
                  </a:lnTo>
                  <a:lnTo>
                    <a:pt x="2357" y="756"/>
                  </a:lnTo>
                  <a:lnTo>
                    <a:pt x="2355" y="756"/>
                  </a:lnTo>
                  <a:lnTo>
                    <a:pt x="2355" y="758"/>
                  </a:lnTo>
                  <a:lnTo>
                    <a:pt x="2355" y="758"/>
                  </a:lnTo>
                  <a:lnTo>
                    <a:pt x="2353" y="760"/>
                  </a:lnTo>
                  <a:lnTo>
                    <a:pt x="2353" y="760"/>
                  </a:lnTo>
                  <a:lnTo>
                    <a:pt x="2353" y="760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3" y="763"/>
                  </a:lnTo>
                  <a:lnTo>
                    <a:pt x="2350" y="763"/>
                  </a:lnTo>
                  <a:lnTo>
                    <a:pt x="2350" y="763"/>
                  </a:lnTo>
                  <a:lnTo>
                    <a:pt x="2350" y="763"/>
                  </a:lnTo>
                  <a:lnTo>
                    <a:pt x="2350" y="763"/>
                  </a:lnTo>
                  <a:lnTo>
                    <a:pt x="2350" y="763"/>
                  </a:lnTo>
                  <a:lnTo>
                    <a:pt x="2350" y="763"/>
                  </a:lnTo>
                  <a:lnTo>
                    <a:pt x="2348" y="763"/>
                  </a:lnTo>
                  <a:lnTo>
                    <a:pt x="2348" y="763"/>
                  </a:lnTo>
                  <a:lnTo>
                    <a:pt x="2348" y="763"/>
                  </a:lnTo>
                  <a:lnTo>
                    <a:pt x="2348" y="763"/>
                  </a:lnTo>
                  <a:lnTo>
                    <a:pt x="2348" y="763"/>
                  </a:lnTo>
                  <a:lnTo>
                    <a:pt x="2348" y="765"/>
                  </a:lnTo>
                  <a:lnTo>
                    <a:pt x="2348" y="765"/>
                  </a:lnTo>
                  <a:lnTo>
                    <a:pt x="2348" y="765"/>
                  </a:lnTo>
                  <a:lnTo>
                    <a:pt x="2348" y="765"/>
                  </a:lnTo>
                  <a:lnTo>
                    <a:pt x="2348" y="765"/>
                  </a:lnTo>
                  <a:lnTo>
                    <a:pt x="2348" y="765"/>
                  </a:lnTo>
                  <a:lnTo>
                    <a:pt x="2348" y="765"/>
                  </a:lnTo>
                  <a:lnTo>
                    <a:pt x="2348" y="767"/>
                  </a:lnTo>
                  <a:lnTo>
                    <a:pt x="2348" y="767"/>
                  </a:lnTo>
                  <a:lnTo>
                    <a:pt x="2348" y="769"/>
                  </a:lnTo>
                  <a:lnTo>
                    <a:pt x="2348" y="769"/>
                  </a:lnTo>
                  <a:lnTo>
                    <a:pt x="2346" y="769"/>
                  </a:lnTo>
                  <a:lnTo>
                    <a:pt x="2346" y="772"/>
                  </a:lnTo>
                  <a:lnTo>
                    <a:pt x="2348" y="772"/>
                  </a:lnTo>
                  <a:lnTo>
                    <a:pt x="2346" y="774"/>
                  </a:lnTo>
                  <a:lnTo>
                    <a:pt x="2346" y="774"/>
                  </a:lnTo>
                  <a:lnTo>
                    <a:pt x="2344" y="774"/>
                  </a:lnTo>
                  <a:lnTo>
                    <a:pt x="2344" y="774"/>
                  </a:lnTo>
                  <a:lnTo>
                    <a:pt x="2344" y="774"/>
                  </a:lnTo>
                  <a:lnTo>
                    <a:pt x="2344" y="774"/>
                  </a:lnTo>
                  <a:lnTo>
                    <a:pt x="2344" y="776"/>
                  </a:lnTo>
                  <a:lnTo>
                    <a:pt x="2344" y="776"/>
                  </a:lnTo>
                  <a:lnTo>
                    <a:pt x="2344" y="776"/>
                  </a:lnTo>
                  <a:lnTo>
                    <a:pt x="2344" y="776"/>
                  </a:lnTo>
                  <a:lnTo>
                    <a:pt x="2344" y="776"/>
                  </a:lnTo>
                  <a:lnTo>
                    <a:pt x="2341" y="776"/>
                  </a:lnTo>
                  <a:lnTo>
                    <a:pt x="2341" y="776"/>
                  </a:lnTo>
                  <a:lnTo>
                    <a:pt x="2341" y="774"/>
                  </a:lnTo>
                  <a:lnTo>
                    <a:pt x="2341" y="774"/>
                  </a:lnTo>
                  <a:lnTo>
                    <a:pt x="2341" y="774"/>
                  </a:lnTo>
                  <a:lnTo>
                    <a:pt x="2341" y="774"/>
                  </a:lnTo>
                  <a:lnTo>
                    <a:pt x="2341" y="774"/>
                  </a:lnTo>
                  <a:lnTo>
                    <a:pt x="2341" y="774"/>
                  </a:lnTo>
                  <a:lnTo>
                    <a:pt x="2341" y="774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4" y="772"/>
                  </a:lnTo>
                  <a:lnTo>
                    <a:pt x="2344" y="772"/>
                  </a:lnTo>
                  <a:lnTo>
                    <a:pt x="2344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1" y="772"/>
                  </a:lnTo>
                  <a:lnTo>
                    <a:pt x="2344" y="772"/>
                  </a:lnTo>
                  <a:lnTo>
                    <a:pt x="2344" y="772"/>
                  </a:lnTo>
                  <a:lnTo>
                    <a:pt x="2344" y="772"/>
                  </a:lnTo>
                  <a:lnTo>
                    <a:pt x="2344" y="772"/>
                  </a:lnTo>
                  <a:lnTo>
                    <a:pt x="2344" y="772"/>
                  </a:lnTo>
                  <a:lnTo>
                    <a:pt x="2344" y="769"/>
                  </a:lnTo>
                  <a:lnTo>
                    <a:pt x="2344" y="769"/>
                  </a:lnTo>
                  <a:lnTo>
                    <a:pt x="2344" y="769"/>
                  </a:lnTo>
                  <a:lnTo>
                    <a:pt x="2344" y="769"/>
                  </a:lnTo>
                  <a:lnTo>
                    <a:pt x="2341" y="767"/>
                  </a:lnTo>
                  <a:lnTo>
                    <a:pt x="2341" y="767"/>
                  </a:lnTo>
                  <a:lnTo>
                    <a:pt x="2341" y="767"/>
                  </a:lnTo>
                  <a:lnTo>
                    <a:pt x="2341" y="767"/>
                  </a:lnTo>
                  <a:lnTo>
                    <a:pt x="2341" y="767"/>
                  </a:lnTo>
                  <a:lnTo>
                    <a:pt x="2341" y="767"/>
                  </a:lnTo>
                  <a:lnTo>
                    <a:pt x="2344" y="767"/>
                  </a:lnTo>
                  <a:lnTo>
                    <a:pt x="2344" y="767"/>
                  </a:lnTo>
                  <a:lnTo>
                    <a:pt x="2344" y="767"/>
                  </a:lnTo>
                  <a:lnTo>
                    <a:pt x="2344" y="765"/>
                  </a:lnTo>
                  <a:lnTo>
                    <a:pt x="2344" y="765"/>
                  </a:lnTo>
                  <a:lnTo>
                    <a:pt x="2344" y="765"/>
                  </a:lnTo>
                  <a:lnTo>
                    <a:pt x="2344" y="763"/>
                  </a:lnTo>
                  <a:lnTo>
                    <a:pt x="2346" y="763"/>
                  </a:lnTo>
                  <a:lnTo>
                    <a:pt x="2346" y="763"/>
                  </a:lnTo>
                  <a:lnTo>
                    <a:pt x="2346" y="763"/>
                  </a:lnTo>
                  <a:lnTo>
                    <a:pt x="2344" y="763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4" y="760"/>
                  </a:lnTo>
                  <a:lnTo>
                    <a:pt x="2346" y="760"/>
                  </a:lnTo>
                  <a:lnTo>
                    <a:pt x="2346" y="760"/>
                  </a:lnTo>
                  <a:lnTo>
                    <a:pt x="2346" y="760"/>
                  </a:lnTo>
                  <a:lnTo>
                    <a:pt x="2346" y="760"/>
                  </a:lnTo>
                  <a:lnTo>
                    <a:pt x="2346" y="760"/>
                  </a:lnTo>
                  <a:lnTo>
                    <a:pt x="2346" y="758"/>
                  </a:lnTo>
                  <a:lnTo>
                    <a:pt x="2346" y="758"/>
                  </a:lnTo>
                  <a:lnTo>
                    <a:pt x="2346" y="758"/>
                  </a:lnTo>
                  <a:lnTo>
                    <a:pt x="2348" y="756"/>
                  </a:lnTo>
                  <a:lnTo>
                    <a:pt x="2348" y="756"/>
                  </a:lnTo>
                  <a:lnTo>
                    <a:pt x="2348" y="756"/>
                  </a:lnTo>
                  <a:lnTo>
                    <a:pt x="2348" y="756"/>
                  </a:lnTo>
                  <a:lnTo>
                    <a:pt x="2348" y="756"/>
                  </a:lnTo>
                  <a:lnTo>
                    <a:pt x="2348" y="756"/>
                  </a:lnTo>
                  <a:lnTo>
                    <a:pt x="2346" y="756"/>
                  </a:lnTo>
                  <a:lnTo>
                    <a:pt x="2346" y="754"/>
                  </a:lnTo>
                  <a:lnTo>
                    <a:pt x="2346" y="754"/>
                  </a:lnTo>
                  <a:lnTo>
                    <a:pt x="2346" y="754"/>
                  </a:lnTo>
                  <a:lnTo>
                    <a:pt x="2346" y="754"/>
                  </a:lnTo>
                  <a:lnTo>
                    <a:pt x="2346" y="754"/>
                  </a:lnTo>
                  <a:lnTo>
                    <a:pt x="2346" y="751"/>
                  </a:lnTo>
                  <a:lnTo>
                    <a:pt x="2346" y="751"/>
                  </a:lnTo>
                  <a:lnTo>
                    <a:pt x="2346" y="751"/>
                  </a:lnTo>
                  <a:lnTo>
                    <a:pt x="2346" y="751"/>
                  </a:lnTo>
                  <a:lnTo>
                    <a:pt x="2346" y="754"/>
                  </a:lnTo>
                  <a:lnTo>
                    <a:pt x="2348" y="754"/>
                  </a:lnTo>
                  <a:lnTo>
                    <a:pt x="2348" y="754"/>
                  </a:lnTo>
                  <a:lnTo>
                    <a:pt x="2348" y="754"/>
                  </a:lnTo>
                  <a:lnTo>
                    <a:pt x="2348" y="754"/>
                  </a:lnTo>
                  <a:lnTo>
                    <a:pt x="2348" y="756"/>
                  </a:lnTo>
                  <a:lnTo>
                    <a:pt x="2350" y="756"/>
                  </a:lnTo>
                  <a:lnTo>
                    <a:pt x="2350" y="756"/>
                  </a:lnTo>
                  <a:lnTo>
                    <a:pt x="2350" y="756"/>
                  </a:lnTo>
                  <a:lnTo>
                    <a:pt x="2350" y="756"/>
                  </a:lnTo>
                  <a:lnTo>
                    <a:pt x="2350" y="756"/>
                  </a:lnTo>
                  <a:lnTo>
                    <a:pt x="2350" y="756"/>
                  </a:lnTo>
                  <a:lnTo>
                    <a:pt x="2355" y="756"/>
                  </a:lnTo>
                  <a:lnTo>
                    <a:pt x="2357" y="756"/>
                  </a:lnTo>
                  <a:lnTo>
                    <a:pt x="2357" y="754"/>
                  </a:lnTo>
                  <a:lnTo>
                    <a:pt x="2357" y="754"/>
                  </a:lnTo>
                  <a:lnTo>
                    <a:pt x="2357" y="754"/>
                  </a:lnTo>
                  <a:lnTo>
                    <a:pt x="2357" y="754"/>
                  </a:lnTo>
                  <a:lnTo>
                    <a:pt x="2357" y="754"/>
                  </a:lnTo>
                  <a:lnTo>
                    <a:pt x="2357" y="754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7" y="751"/>
                  </a:lnTo>
                  <a:lnTo>
                    <a:pt x="2359" y="749"/>
                  </a:lnTo>
                  <a:lnTo>
                    <a:pt x="2359" y="749"/>
                  </a:lnTo>
                  <a:lnTo>
                    <a:pt x="2362" y="749"/>
                  </a:lnTo>
                  <a:lnTo>
                    <a:pt x="2362" y="751"/>
                  </a:lnTo>
                  <a:lnTo>
                    <a:pt x="2362" y="751"/>
                  </a:lnTo>
                  <a:lnTo>
                    <a:pt x="2362" y="751"/>
                  </a:lnTo>
                  <a:lnTo>
                    <a:pt x="2362" y="751"/>
                  </a:lnTo>
                  <a:lnTo>
                    <a:pt x="2362" y="751"/>
                  </a:lnTo>
                  <a:lnTo>
                    <a:pt x="2362" y="751"/>
                  </a:lnTo>
                  <a:lnTo>
                    <a:pt x="2362" y="754"/>
                  </a:lnTo>
                  <a:lnTo>
                    <a:pt x="2364" y="754"/>
                  </a:lnTo>
                  <a:lnTo>
                    <a:pt x="2364" y="754"/>
                  </a:lnTo>
                  <a:lnTo>
                    <a:pt x="2364" y="754"/>
                  </a:lnTo>
                  <a:close/>
                  <a:moveTo>
                    <a:pt x="2380" y="733"/>
                  </a:moveTo>
                  <a:lnTo>
                    <a:pt x="2382" y="733"/>
                  </a:lnTo>
                  <a:lnTo>
                    <a:pt x="2382" y="733"/>
                  </a:lnTo>
                  <a:lnTo>
                    <a:pt x="2382" y="733"/>
                  </a:lnTo>
                  <a:lnTo>
                    <a:pt x="2382" y="736"/>
                  </a:lnTo>
                  <a:lnTo>
                    <a:pt x="2382" y="736"/>
                  </a:lnTo>
                  <a:lnTo>
                    <a:pt x="2380" y="736"/>
                  </a:lnTo>
                  <a:lnTo>
                    <a:pt x="2380" y="738"/>
                  </a:lnTo>
                  <a:lnTo>
                    <a:pt x="2380" y="738"/>
                  </a:lnTo>
                  <a:lnTo>
                    <a:pt x="2380" y="738"/>
                  </a:lnTo>
                  <a:lnTo>
                    <a:pt x="2380" y="738"/>
                  </a:lnTo>
                  <a:lnTo>
                    <a:pt x="2380" y="738"/>
                  </a:lnTo>
                  <a:lnTo>
                    <a:pt x="2380" y="738"/>
                  </a:lnTo>
                  <a:lnTo>
                    <a:pt x="2380" y="740"/>
                  </a:lnTo>
                  <a:lnTo>
                    <a:pt x="2380" y="740"/>
                  </a:lnTo>
                  <a:lnTo>
                    <a:pt x="2380" y="740"/>
                  </a:lnTo>
                  <a:lnTo>
                    <a:pt x="2380" y="740"/>
                  </a:lnTo>
                  <a:lnTo>
                    <a:pt x="2380" y="740"/>
                  </a:lnTo>
                  <a:lnTo>
                    <a:pt x="2380" y="740"/>
                  </a:lnTo>
                  <a:lnTo>
                    <a:pt x="2380" y="742"/>
                  </a:lnTo>
                  <a:lnTo>
                    <a:pt x="2380" y="742"/>
                  </a:lnTo>
                  <a:lnTo>
                    <a:pt x="2380" y="742"/>
                  </a:lnTo>
                  <a:lnTo>
                    <a:pt x="2377" y="742"/>
                  </a:lnTo>
                  <a:lnTo>
                    <a:pt x="2377" y="742"/>
                  </a:lnTo>
                  <a:lnTo>
                    <a:pt x="2377" y="742"/>
                  </a:lnTo>
                  <a:lnTo>
                    <a:pt x="2377" y="742"/>
                  </a:lnTo>
                  <a:lnTo>
                    <a:pt x="2377" y="742"/>
                  </a:lnTo>
                  <a:lnTo>
                    <a:pt x="2377" y="745"/>
                  </a:lnTo>
                  <a:lnTo>
                    <a:pt x="2377" y="745"/>
                  </a:lnTo>
                  <a:lnTo>
                    <a:pt x="2375" y="745"/>
                  </a:lnTo>
                  <a:lnTo>
                    <a:pt x="2375" y="747"/>
                  </a:lnTo>
                  <a:lnTo>
                    <a:pt x="2375" y="747"/>
                  </a:lnTo>
                  <a:lnTo>
                    <a:pt x="2375" y="747"/>
                  </a:lnTo>
                  <a:lnTo>
                    <a:pt x="2375" y="747"/>
                  </a:lnTo>
                  <a:lnTo>
                    <a:pt x="2373" y="747"/>
                  </a:lnTo>
                  <a:lnTo>
                    <a:pt x="2373" y="747"/>
                  </a:lnTo>
                  <a:lnTo>
                    <a:pt x="2373" y="747"/>
                  </a:lnTo>
                  <a:lnTo>
                    <a:pt x="2373" y="747"/>
                  </a:lnTo>
                  <a:lnTo>
                    <a:pt x="2373" y="749"/>
                  </a:lnTo>
                  <a:lnTo>
                    <a:pt x="2373" y="749"/>
                  </a:lnTo>
                  <a:lnTo>
                    <a:pt x="2373" y="749"/>
                  </a:lnTo>
                  <a:lnTo>
                    <a:pt x="2373" y="749"/>
                  </a:lnTo>
                  <a:lnTo>
                    <a:pt x="2371" y="749"/>
                  </a:lnTo>
                  <a:lnTo>
                    <a:pt x="2371" y="749"/>
                  </a:lnTo>
                  <a:lnTo>
                    <a:pt x="2371" y="749"/>
                  </a:lnTo>
                  <a:lnTo>
                    <a:pt x="2373" y="747"/>
                  </a:lnTo>
                  <a:lnTo>
                    <a:pt x="2373" y="747"/>
                  </a:lnTo>
                  <a:lnTo>
                    <a:pt x="2371" y="747"/>
                  </a:lnTo>
                  <a:lnTo>
                    <a:pt x="2371" y="747"/>
                  </a:lnTo>
                  <a:lnTo>
                    <a:pt x="2371" y="747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5"/>
                  </a:lnTo>
                  <a:lnTo>
                    <a:pt x="2371" y="742"/>
                  </a:lnTo>
                  <a:lnTo>
                    <a:pt x="2371" y="742"/>
                  </a:lnTo>
                  <a:lnTo>
                    <a:pt x="2371" y="742"/>
                  </a:lnTo>
                  <a:lnTo>
                    <a:pt x="2373" y="742"/>
                  </a:lnTo>
                  <a:lnTo>
                    <a:pt x="2373" y="742"/>
                  </a:lnTo>
                  <a:lnTo>
                    <a:pt x="2373" y="740"/>
                  </a:lnTo>
                  <a:lnTo>
                    <a:pt x="2373" y="740"/>
                  </a:lnTo>
                  <a:lnTo>
                    <a:pt x="2373" y="738"/>
                  </a:lnTo>
                  <a:lnTo>
                    <a:pt x="2375" y="736"/>
                  </a:lnTo>
                  <a:lnTo>
                    <a:pt x="2375" y="736"/>
                  </a:lnTo>
                  <a:lnTo>
                    <a:pt x="2375" y="736"/>
                  </a:lnTo>
                  <a:lnTo>
                    <a:pt x="2375" y="736"/>
                  </a:lnTo>
                  <a:lnTo>
                    <a:pt x="2375" y="736"/>
                  </a:lnTo>
                  <a:lnTo>
                    <a:pt x="2377" y="736"/>
                  </a:lnTo>
                  <a:lnTo>
                    <a:pt x="2377" y="736"/>
                  </a:lnTo>
                  <a:lnTo>
                    <a:pt x="2377" y="736"/>
                  </a:lnTo>
                  <a:lnTo>
                    <a:pt x="2377" y="736"/>
                  </a:lnTo>
                  <a:lnTo>
                    <a:pt x="2375" y="736"/>
                  </a:lnTo>
                  <a:lnTo>
                    <a:pt x="2377" y="736"/>
                  </a:lnTo>
                  <a:lnTo>
                    <a:pt x="2377" y="736"/>
                  </a:lnTo>
                  <a:lnTo>
                    <a:pt x="2377" y="733"/>
                  </a:lnTo>
                  <a:lnTo>
                    <a:pt x="2377" y="733"/>
                  </a:lnTo>
                  <a:lnTo>
                    <a:pt x="2380" y="733"/>
                  </a:lnTo>
                  <a:close/>
                  <a:moveTo>
                    <a:pt x="2395" y="713"/>
                  </a:moveTo>
                  <a:lnTo>
                    <a:pt x="2395" y="713"/>
                  </a:lnTo>
                  <a:lnTo>
                    <a:pt x="2395" y="713"/>
                  </a:lnTo>
                  <a:lnTo>
                    <a:pt x="2395" y="713"/>
                  </a:lnTo>
                  <a:lnTo>
                    <a:pt x="2398" y="711"/>
                  </a:lnTo>
                  <a:lnTo>
                    <a:pt x="2398" y="711"/>
                  </a:lnTo>
                  <a:lnTo>
                    <a:pt x="2398" y="713"/>
                  </a:lnTo>
                  <a:lnTo>
                    <a:pt x="2398" y="713"/>
                  </a:lnTo>
                  <a:lnTo>
                    <a:pt x="2398" y="713"/>
                  </a:lnTo>
                  <a:lnTo>
                    <a:pt x="2398" y="716"/>
                  </a:lnTo>
                  <a:lnTo>
                    <a:pt x="2398" y="716"/>
                  </a:lnTo>
                  <a:lnTo>
                    <a:pt x="2398" y="716"/>
                  </a:lnTo>
                  <a:lnTo>
                    <a:pt x="2398" y="716"/>
                  </a:lnTo>
                  <a:lnTo>
                    <a:pt x="2398" y="716"/>
                  </a:lnTo>
                  <a:lnTo>
                    <a:pt x="2398" y="718"/>
                  </a:lnTo>
                  <a:lnTo>
                    <a:pt x="2398" y="718"/>
                  </a:lnTo>
                  <a:lnTo>
                    <a:pt x="2398" y="718"/>
                  </a:lnTo>
                  <a:lnTo>
                    <a:pt x="2398" y="718"/>
                  </a:lnTo>
                  <a:lnTo>
                    <a:pt x="2398" y="718"/>
                  </a:lnTo>
                  <a:lnTo>
                    <a:pt x="2395" y="718"/>
                  </a:lnTo>
                  <a:lnTo>
                    <a:pt x="2395" y="718"/>
                  </a:lnTo>
                  <a:lnTo>
                    <a:pt x="2395" y="720"/>
                  </a:lnTo>
                  <a:lnTo>
                    <a:pt x="2395" y="720"/>
                  </a:lnTo>
                  <a:lnTo>
                    <a:pt x="2395" y="720"/>
                  </a:lnTo>
                  <a:lnTo>
                    <a:pt x="2395" y="720"/>
                  </a:lnTo>
                  <a:lnTo>
                    <a:pt x="2395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3" y="720"/>
                  </a:lnTo>
                  <a:lnTo>
                    <a:pt x="2391" y="720"/>
                  </a:lnTo>
                  <a:lnTo>
                    <a:pt x="2393" y="718"/>
                  </a:lnTo>
                  <a:lnTo>
                    <a:pt x="2393" y="720"/>
                  </a:lnTo>
                  <a:lnTo>
                    <a:pt x="2395" y="718"/>
                  </a:lnTo>
                  <a:lnTo>
                    <a:pt x="2395" y="718"/>
                  </a:lnTo>
                  <a:lnTo>
                    <a:pt x="2395" y="718"/>
                  </a:lnTo>
                  <a:lnTo>
                    <a:pt x="2395" y="716"/>
                  </a:lnTo>
                  <a:lnTo>
                    <a:pt x="2395" y="713"/>
                  </a:lnTo>
                  <a:lnTo>
                    <a:pt x="2395" y="711"/>
                  </a:lnTo>
                  <a:lnTo>
                    <a:pt x="2395" y="711"/>
                  </a:lnTo>
                  <a:lnTo>
                    <a:pt x="2395" y="711"/>
                  </a:lnTo>
                  <a:lnTo>
                    <a:pt x="2395" y="711"/>
                  </a:lnTo>
                  <a:lnTo>
                    <a:pt x="2395" y="713"/>
                  </a:lnTo>
                  <a:close/>
                  <a:moveTo>
                    <a:pt x="2400" y="709"/>
                  </a:moveTo>
                  <a:lnTo>
                    <a:pt x="2398" y="709"/>
                  </a:lnTo>
                  <a:lnTo>
                    <a:pt x="2395" y="709"/>
                  </a:lnTo>
                  <a:lnTo>
                    <a:pt x="2395" y="709"/>
                  </a:lnTo>
                  <a:lnTo>
                    <a:pt x="2395" y="707"/>
                  </a:lnTo>
                  <a:lnTo>
                    <a:pt x="2395" y="707"/>
                  </a:lnTo>
                  <a:lnTo>
                    <a:pt x="2395" y="707"/>
                  </a:lnTo>
                  <a:lnTo>
                    <a:pt x="2395" y="707"/>
                  </a:lnTo>
                  <a:lnTo>
                    <a:pt x="2398" y="707"/>
                  </a:lnTo>
                  <a:lnTo>
                    <a:pt x="2398" y="707"/>
                  </a:lnTo>
                  <a:lnTo>
                    <a:pt x="2398" y="707"/>
                  </a:lnTo>
                  <a:lnTo>
                    <a:pt x="2400" y="709"/>
                  </a:lnTo>
                  <a:lnTo>
                    <a:pt x="2400" y="709"/>
                  </a:lnTo>
                  <a:close/>
                  <a:moveTo>
                    <a:pt x="2402" y="700"/>
                  </a:moveTo>
                  <a:lnTo>
                    <a:pt x="2402" y="700"/>
                  </a:lnTo>
                  <a:lnTo>
                    <a:pt x="2400" y="700"/>
                  </a:lnTo>
                  <a:lnTo>
                    <a:pt x="2400" y="700"/>
                  </a:lnTo>
                  <a:lnTo>
                    <a:pt x="2400" y="700"/>
                  </a:lnTo>
                  <a:lnTo>
                    <a:pt x="2400" y="700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0" y="698"/>
                  </a:lnTo>
                  <a:lnTo>
                    <a:pt x="2402" y="698"/>
                  </a:lnTo>
                  <a:lnTo>
                    <a:pt x="2402" y="698"/>
                  </a:lnTo>
                  <a:lnTo>
                    <a:pt x="2402" y="698"/>
                  </a:lnTo>
                  <a:lnTo>
                    <a:pt x="2402" y="698"/>
                  </a:lnTo>
                  <a:lnTo>
                    <a:pt x="2402" y="700"/>
                  </a:lnTo>
                  <a:lnTo>
                    <a:pt x="2402" y="700"/>
                  </a:lnTo>
                  <a:lnTo>
                    <a:pt x="2402" y="700"/>
                  </a:lnTo>
                  <a:lnTo>
                    <a:pt x="2402" y="700"/>
                  </a:lnTo>
                  <a:close/>
                  <a:moveTo>
                    <a:pt x="2400" y="691"/>
                  </a:moveTo>
                  <a:lnTo>
                    <a:pt x="2400" y="691"/>
                  </a:lnTo>
                  <a:lnTo>
                    <a:pt x="2400" y="691"/>
                  </a:lnTo>
                  <a:lnTo>
                    <a:pt x="2400" y="691"/>
                  </a:lnTo>
                  <a:lnTo>
                    <a:pt x="2398" y="691"/>
                  </a:lnTo>
                  <a:lnTo>
                    <a:pt x="2398" y="691"/>
                  </a:lnTo>
                  <a:lnTo>
                    <a:pt x="2398" y="691"/>
                  </a:lnTo>
                  <a:lnTo>
                    <a:pt x="2395" y="691"/>
                  </a:lnTo>
                  <a:lnTo>
                    <a:pt x="2395" y="689"/>
                  </a:lnTo>
                  <a:lnTo>
                    <a:pt x="2395" y="689"/>
                  </a:lnTo>
                  <a:lnTo>
                    <a:pt x="2398" y="689"/>
                  </a:lnTo>
                  <a:lnTo>
                    <a:pt x="2398" y="691"/>
                  </a:lnTo>
                  <a:lnTo>
                    <a:pt x="2398" y="691"/>
                  </a:lnTo>
                  <a:lnTo>
                    <a:pt x="2398" y="691"/>
                  </a:lnTo>
                  <a:lnTo>
                    <a:pt x="2400" y="691"/>
                  </a:lnTo>
                  <a:lnTo>
                    <a:pt x="2400" y="691"/>
                  </a:lnTo>
                  <a:lnTo>
                    <a:pt x="2400" y="691"/>
                  </a:lnTo>
                  <a:lnTo>
                    <a:pt x="2400" y="691"/>
                  </a:lnTo>
                  <a:close/>
                  <a:moveTo>
                    <a:pt x="2400" y="675"/>
                  </a:move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3"/>
                  </a:lnTo>
                  <a:lnTo>
                    <a:pt x="2400" y="673"/>
                  </a:lnTo>
                  <a:lnTo>
                    <a:pt x="2400" y="673"/>
                  </a:lnTo>
                  <a:lnTo>
                    <a:pt x="2400" y="673"/>
                  </a:lnTo>
                  <a:lnTo>
                    <a:pt x="2400" y="673"/>
                  </a:lnTo>
                  <a:lnTo>
                    <a:pt x="2400" y="673"/>
                  </a:lnTo>
                  <a:lnTo>
                    <a:pt x="2400" y="673"/>
                  </a:lnTo>
                  <a:lnTo>
                    <a:pt x="2400" y="671"/>
                  </a:lnTo>
                  <a:lnTo>
                    <a:pt x="2400" y="671"/>
                  </a:lnTo>
                  <a:lnTo>
                    <a:pt x="2400" y="671"/>
                  </a:lnTo>
                  <a:lnTo>
                    <a:pt x="2400" y="671"/>
                  </a:lnTo>
                  <a:lnTo>
                    <a:pt x="2402" y="671"/>
                  </a:lnTo>
                  <a:lnTo>
                    <a:pt x="2402" y="673"/>
                  </a:lnTo>
                  <a:lnTo>
                    <a:pt x="2402" y="673"/>
                  </a:lnTo>
                  <a:lnTo>
                    <a:pt x="2402" y="673"/>
                  </a:lnTo>
                  <a:lnTo>
                    <a:pt x="2400" y="673"/>
                  </a:lnTo>
                  <a:lnTo>
                    <a:pt x="2400" y="675"/>
                  </a:lnTo>
                  <a:lnTo>
                    <a:pt x="2400" y="675"/>
                  </a:lnTo>
                  <a:lnTo>
                    <a:pt x="2400" y="675"/>
                  </a:lnTo>
                  <a:close/>
                  <a:moveTo>
                    <a:pt x="2395" y="671"/>
                  </a:moveTo>
                  <a:lnTo>
                    <a:pt x="2395" y="671"/>
                  </a:lnTo>
                  <a:lnTo>
                    <a:pt x="2395" y="671"/>
                  </a:lnTo>
                  <a:lnTo>
                    <a:pt x="2395" y="671"/>
                  </a:lnTo>
                  <a:lnTo>
                    <a:pt x="2395" y="671"/>
                  </a:lnTo>
                  <a:lnTo>
                    <a:pt x="2395" y="671"/>
                  </a:lnTo>
                  <a:lnTo>
                    <a:pt x="2393" y="671"/>
                  </a:lnTo>
                  <a:lnTo>
                    <a:pt x="2393" y="671"/>
                  </a:lnTo>
                  <a:lnTo>
                    <a:pt x="2393" y="671"/>
                  </a:lnTo>
                  <a:lnTo>
                    <a:pt x="2393" y="671"/>
                  </a:lnTo>
                  <a:lnTo>
                    <a:pt x="2393" y="671"/>
                  </a:lnTo>
                  <a:lnTo>
                    <a:pt x="2395" y="671"/>
                  </a:lnTo>
                  <a:lnTo>
                    <a:pt x="2395" y="671"/>
                  </a:lnTo>
                  <a:lnTo>
                    <a:pt x="2395" y="671"/>
                  </a:lnTo>
                  <a:lnTo>
                    <a:pt x="2395" y="671"/>
                  </a:lnTo>
                  <a:lnTo>
                    <a:pt x="2395" y="671"/>
                  </a:lnTo>
                  <a:close/>
                  <a:moveTo>
                    <a:pt x="2402" y="666"/>
                  </a:moveTo>
                  <a:lnTo>
                    <a:pt x="2402" y="668"/>
                  </a:lnTo>
                  <a:lnTo>
                    <a:pt x="2402" y="666"/>
                  </a:lnTo>
                  <a:lnTo>
                    <a:pt x="2402" y="666"/>
                  </a:lnTo>
                  <a:lnTo>
                    <a:pt x="2400" y="666"/>
                  </a:lnTo>
                  <a:lnTo>
                    <a:pt x="2400" y="666"/>
                  </a:lnTo>
                  <a:lnTo>
                    <a:pt x="2400" y="666"/>
                  </a:lnTo>
                  <a:lnTo>
                    <a:pt x="2400" y="666"/>
                  </a:lnTo>
                  <a:lnTo>
                    <a:pt x="2400" y="666"/>
                  </a:lnTo>
                  <a:lnTo>
                    <a:pt x="2400" y="666"/>
                  </a:lnTo>
                  <a:lnTo>
                    <a:pt x="2402" y="666"/>
                  </a:lnTo>
                  <a:lnTo>
                    <a:pt x="2402" y="666"/>
                  </a:lnTo>
                  <a:lnTo>
                    <a:pt x="2402" y="666"/>
                  </a:lnTo>
                  <a:lnTo>
                    <a:pt x="2404" y="666"/>
                  </a:lnTo>
                  <a:lnTo>
                    <a:pt x="2404" y="666"/>
                  </a:lnTo>
                  <a:lnTo>
                    <a:pt x="2404" y="666"/>
                  </a:lnTo>
                  <a:lnTo>
                    <a:pt x="2402" y="666"/>
                  </a:lnTo>
                  <a:lnTo>
                    <a:pt x="2402" y="666"/>
                  </a:lnTo>
                  <a:close/>
                  <a:moveTo>
                    <a:pt x="2400" y="655"/>
                  </a:moveTo>
                  <a:lnTo>
                    <a:pt x="2400" y="655"/>
                  </a:lnTo>
                  <a:lnTo>
                    <a:pt x="2400" y="655"/>
                  </a:lnTo>
                  <a:lnTo>
                    <a:pt x="2400" y="655"/>
                  </a:lnTo>
                  <a:lnTo>
                    <a:pt x="2400" y="655"/>
                  </a:lnTo>
                  <a:lnTo>
                    <a:pt x="2400" y="657"/>
                  </a:lnTo>
                  <a:lnTo>
                    <a:pt x="2400" y="657"/>
                  </a:lnTo>
                  <a:lnTo>
                    <a:pt x="2400" y="657"/>
                  </a:lnTo>
                  <a:lnTo>
                    <a:pt x="2400" y="657"/>
                  </a:lnTo>
                  <a:lnTo>
                    <a:pt x="2400" y="657"/>
                  </a:lnTo>
                  <a:lnTo>
                    <a:pt x="2400" y="657"/>
                  </a:lnTo>
                  <a:lnTo>
                    <a:pt x="2400" y="659"/>
                  </a:lnTo>
                  <a:lnTo>
                    <a:pt x="2402" y="659"/>
                  </a:lnTo>
                  <a:lnTo>
                    <a:pt x="2402" y="659"/>
                  </a:lnTo>
                  <a:lnTo>
                    <a:pt x="2402" y="659"/>
                  </a:lnTo>
                  <a:lnTo>
                    <a:pt x="2402" y="659"/>
                  </a:lnTo>
                  <a:lnTo>
                    <a:pt x="2402" y="659"/>
                  </a:lnTo>
                  <a:lnTo>
                    <a:pt x="2402" y="659"/>
                  </a:lnTo>
                  <a:lnTo>
                    <a:pt x="2402" y="662"/>
                  </a:lnTo>
                  <a:lnTo>
                    <a:pt x="2402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2" y="662"/>
                  </a:lnTo>
                  <a:lnTo>
                    <a:pt x="2402" y="662"/>
                  </a:lnTo>
                  <a:lnTo>
                    <a:pt x="2402" y="662"/>
                  </a:lnTo>
                  <a:lnTo>
                    <a:pt x="2402" y="664"/>
                  </a:lnTo>
                  <a:lnTo>
                    <a:pt x="2402" y="664"/>
                  </a:lnTo>
                  <a:lnTo>
                    <a:pt x="2402" y="664"/>
                  </a:lnTo>
                  <a:lnTo>
                    <a:pt x="2402" y="664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62"/>
                  </a:lnTo>
                  <a:lnTo>
                    <a:pt x="2400" y="659"/>
                  </a:lnTo>
                  <a:lnTo>
                    <a:pt x="2398" y="659"/>
                  </a:lnTo>
                  <a:lnTo>
                    <a:pt x="2398" y="659"/>
                  </a:lnTo>
                  <a:lnTo>
                    <a:pt x="2400" y="659"/>
                  </a:lnTo>
                  <a:lnTo>
                    <a:pt x="2398" y="659"/>
                  </a:lnTo>
                  <a:lnTo>
                    <a:pt x="2398" y="657"/>
                  </a:lnTo>
                  <a:lnTo>
                    <a:pt x="2398" y="657"/>
                  </a:lnTo>
                  <a:lnTo>
                    <a:pt x="2398" y="657"/>
                  </a:lnTo>
                  <a:lnTo>
                    <a:pt x="2398" y="657"/>
                  </a:lnTo>
                  <a:lnTo>
                    <a:pt x="2398" y="657"/>
                  </a:lnTo>
                  <a:lnTo>
                    <a:pt x="2398" y="657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398" y="655"/>
                  </a:lnTo>
                  <a:lnTo>
                    <a:pt x="2400" y="655"/>
                  </a:lnTo>
                  <a:close/>
                  <a:moveTo>
                    <a:pt x="2389" y="653"/>
                  </a:moveTo>
                  <a:lnTo>
                    <a:pt x="2389" y="653"/>
                  </a:lnTo>
                  <a:lnTo>
                    <a:pt x="2389" y="653"/>
                  </a:lnTo>
                  <a:lnTo>
                    <a:pt x="2386" y="653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6" y="650"/>
                  </a:lnTo>
                  <a:lnTo>
                    <a:pt x="2389" y="650"/>
                  </a:lnTo>
                  <a:lnTo>
                    <a:pt x="2389" y="650"/>
                  </a:lnTo>
                  <a:lnTo>
                    <a:pt x="2389" y="650"/>
                  </a:lnTo>
                  <a:lnTo>
                    <a:pt x="2389" y="653"/>
                  </a:lnTo>
                  <a:close/>
                  <a:moveTo>
                    <a:pt x="2404" y="635"/>
                  </a:move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7"/>
                  </a:lnTo>
                  <a:lnTo>
                    <a:pt x="2404" y="639"/>
                  </a:lnTo>
                  <a:lnTo>
                    <a:pt x="2404" y="639"/>
                  </a:lnTo>
                  <a:lnTo>
                    <a:pt x="2404" y="639"/>
                  </a:lnTo>
                  <a:lnTo>
                    <a:pt x="2404" y="641"/>
                  </a:lnTo>
                  <a:lnTo>
                    <a:pt x="2404" y="641"/>
                  </a:lnTo>
                  <a:lnTo>
                    <a:pt x="2404" y="641"/>
                  </a:lnTo>
                  <a:lnTo>
                    <a:pt x="2404" y="641"/>
                  </a:lnTo>
                  <a:lnTo>
                    <a:pt x="2404" y="641"/>
                  </a:lnTo>
                  <a:lnTo>
                    <a:pt x="2404" y="641"/>
                  </a:lnTo>
                  <a:lnTo>
                    <a:pt x="2404" y="641"/>
                  </a:lnTo>
                  <a:lnTo>
                    <a:pt x="2402" y="641"/>
                  </a:lnTo>
                  <a:lnTo>
                    <a:pt x="2400" y="641"/>
                  </a:lnTo>
                  <a:lnTo>
                    <a:pt x="2400" y="644"/>
                  </a:lnTo>
                  <a:lnTo>
                    <a:pt x="2400" y="644"/>
                  </a:lnTo>
                  <a:lnTo>
                    <a:pt x="2402" y="646"/>
                  </a:lnTo>
                  <a:lnTo>
                    <a:pt x="2402" y="646"/>
                  </a:lnTo>
                  <a:lnTo>
                    <a:pt x="2402" y="646"/>
                  </a:lnTo>
                  <a:lnTo>
                    <a:pt x="2400" y="646"/>
                  </a:lnTo>
                  <a:lnTo>
                    <a:pt x="2400" y="646"/>
                  </a:lnTo>
                  <a:lnTo>
                    <a:pt x="2400" y="646"/>
                  </a:lnTo>
                  <a:lnTo>
                    <a:pt x="2400" y="646"/>
                  </a:lnTo>
                  <a:lnTo>
                    <a:pt x="2400" y="646"/>
                  </a:lnTo>
                  <a:lnTo>
                    <a:pt x="2398" y="644"/>
                  </a:lnTo>
                  <a:lnTo>
                    <a:pt x="2398" y="644"/>
                  </a:lnTo>
                  <a:lnTo>
                    <a:pt x="2398" y="646"/>
                  </a:lnTo>
                  <a:lnTo>
                    <a:pt x="2398" y="646"/>
                  </a:lnTo>
                  <a:lnTo>
                    <a:pt x="2398" y="644"/>
                  </a:lnTo>
                  <a:lnTo>
                    <a:pt x="2395" y="644"/>
                  </a:lnTo>
                  <a:lnTo>
                    <a:pt x="2395" y="644"/>
                  </a:lnTo>
                  <a:lnTo>
                    <a:pt x="2395" y="644"/>
                  </a:lnTo>
                  <a:lnTo>
                    <a:pt x="2395" y="644"/>
                  </a:lnTo>
                  <a:lnTo>
                    <a:pt x="2395" y="644"/>
                  </a:lnTo>
                  <a:lnTo>
                    <a:pt x="2395" y="644"/>
                  </a:lnTo>
                  <a:lnTo>
                    <a:pt x="2395" y="644"/>
                  </a:lnTo>
                  <a:lnTo>
                    <a:pt x="2395" y="641"/>
                  </a:lnTo>
                  <a:lnTo>
                    <a:pt x="2395" y="641"/>
                  </a:lnTo>
                  <a:lnTo>
                    <a:pt x="2395" y="641"/>
                  </a:lnTo>
                  <a:lnTo>
                    <a:pt x="2395" y="641"/>
                  </a:lnTo>
                  <a:lnTo>
                    <a:pt x="2393" y="641"/>
                  </a:lnTo>
                  <a:lnTo>
                    <a:pt x="2393" y="641"/>
                  </a:lnTo>
                  <a:lnTo>
                    <a:pt x="2393" y="639"/>
                  </a:lnTo>
                  <a:lnTo>
                    <a:pt x="2391" y="639"/>
                  </a:lnTo>
                  <a:lnTo>
                    <a:pt x="2391" y="639"/>
                  </a:lnTo>
                  <a:lnTo>
                    <a:pt x="2393" y="639"/>
                  </a:lnTo>
                  <a:lnTo>
                    <a:pt x="2393" y="639"/>
                  </a:lnTo>
                  <a:lnTo>
                    <a:pt x="2393" y="639"/>
                  </a:lnTo>
                  <a:lnTo>
                    <a:pt x="2395" y="639"/>
                  </a:lnTo>
                  <a:lnTo>
                    <a:pt x="2393" y="639"/>
                  </a:lnTo>
                  <a:lnTo>
                    <a:pt x="2395" y="637"/>
                  </a:lnTo>
                  <a:lnTo>
                    <a:pt x="2395" y="637"/>
                  </a:lnTo>
                  <a:lnTo>
                    <a:pt x="2395" y="637"/>
                  </a:lnTo>
                  <a:lnTo>
                    <a:pt x="2395" y="637"/>
                  </a:lnTo>
                  <a:lnTo>
                    <a:pt x="2395" y="637"/>
                  </a:lnTo>
                  <a:lnTo>
                    <a:pt x="2398" y="637"/>
                  </a:lnTo>
                  <a:lnTo>
                    <a:pt x="2395" y="637"/>
                  </a:lnTo>
                  <a:lnTo>
                    <a:pt x="2395" y="637"/>
                  </a:lnTo>
                  <a:lnTo>
                    <a:pt x="2398" y="637"/>
                  </a:lnTo>
                  <a:lnTo>
                    <a:pt x="2398" y="637"/>
                  </a:lnTo>
                  <a:lnTo>
                    <a:pt x="2398" y="637"/>
                  </a:lnTo>
                  <a:lnTo>
                    <a:pt x="2398" y="637"/>
                  </a:lnTo>
                  <a:lnTo>
                    <a:pt x="2398" y="637"/>
                  </a:lnTo>
                  <a:lnTo>
                    <a:pt x="2398" y="637"/>
                  </a:lnTo>
                  <a:lnTo>
                    <a:pt x="2398" y="635"/>
                  </a:lnTo>
                  <a:lnTo>
                    <a:pt x="2398" y="635"/>
                  </a:lnTo>
                  <a:lnTo>
                    <a:pt x="2398" y="635"/>
                  </a:lnTo>
                  <a:lnTo>
                    <a:pt x="2398" y="635"/>
                  </a:lnTo>
                  <a:lnTo>
                    <a:pt x="2398" y="635"/>
                  </a:lnTo>
                  <a:lnTo>
                    <a:pt x="2398" y="632"/>
                  </a:lnTo>
                  <a:lnTo>
                    <a:pt x="2398" y="632"/>
                  </a:lnTo>
                  <a:lnTo>
                    <a:pt x="2398" y="632"/>
                  </a:lnTo>
                  <a:lnTo>
                    <a:pt x="2398" y="630"/>
                  </a:lnTo>
                  <a:lnTo>
                    <a:pt x="2395" y="630"/>
                  </a:lnTo>
                  <a:lnTo>
                    <a:pt x="2395" y="630"/>
                  </a:lnTo>
                  <a:lnTo>
                    <a:pt x="2398" y="628"/>
                  </a:lnTo>
                  <a:lnTo>
                    <a:pt x="2398" y="628"/>
                  </a:lnTo>
                  <a:lnTo>
                    <a:pt x="2398" y="628"/>
                  </a:lnTo>
                  <a:lnTo>
                    <a:pt x="2398" y="628"/>
                  </a:lnTo>
                  <a:lnTo>
                    <a:pt x="2398" y="628"/>
                  </a:lnTo>
                  <a:lnTo>
                    <a:pt x="2400" y="628"/>
                  </a:lnTo>
                  <a:lnTo>
                    <a:pt x="2400" y="630"/>
                  </a:lnTo>
                  <a:lnTo>
                    <a:pt x="2400" y="630"/>
                  </a:lnTo>
                  <a:lnTo>
                    <a:pt x="2400" y="630"/>
                  </a:lnTo>
                  <a:lnTo>
                    <a:pt x="2402" y="630"/>
                  </a:lnTo>
                  <a:lnTo>
                    <a:pt x="2402" y="630"/>
                  </a:lnTo>
                  <a:lnTo>
                    <a:pt x="2402" y="632"/>
                  </a:lnTo>
                  <a:lnTo>
                    <a:pt x="2402" y="632"/>
                  </a:lnTo>
                  <a:lnTo>
                    <a:pt x="2402" y="632"/>
                  </a:lnTo>
                  <a:lnTo>
                    <a:pt x="2402" y="632"/>
                  </a:lnTo>
                  <a:lnTo>
                    <a:pt x="2402" y="632"/>
                  </a:lnTo>
                  <a:lnTo>
                    <a:pt x="2404" y="632"/>
                  </a:lnTo>
                  <a:lnTo>
                    <a:pt x="2404" y="632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lnTo>
                    <a:pt x="2404" y="635"/>
                  </a:lnTo>
                  <a:close/>
                  <a:moveTo>
                    <a:pt x="2407" y="632"/>
                  </a:moveTo>
                  <a:lnTo>
                    <a:pt x="2407" y="632"/>
                  </a:lnTo>
                  <a:lnTo>
                    <a:pt x="2407" y="632"/>
                  </a:lnTo>
                  <a:lnTo>
                    <a:pt x="2404" y="632"/>
                  </a:lnTo>
                  <a:lnTo>
                    <a:pt x="2404" y="632"/>
                  </a:lnTo>
                  <a:lnTo>
                    <a:pt x="2404" y="630"/>
                  </a:lnTo>
                  <a:lnTo>
                    <a:pt x="2404" y="630"/>
                  </a:lnTo>
                  <a:lnTo>
                    <a:pt x="2402" y="630"/>
                  </a:lnTo>
                  <a:lnTo>
                    <a:pt x="2402" y="630"/>
                  </a:lnTo>
                  <a:lnTo>
                    <a:pt x="2402" y="630"/>
                  </a:lnTo>
                  <a:lnTo>
                    <a:pt x="2400" y="630"/>
                  </a:lnTo>
                  <a:lnTo>
                    <a:pt x="2400" y="630"/>
                  </a:lnTo>
                  <a:lnTo>
                    <a:pt x="2400" y="628"/>
                  </a:lnTo>
                  <a:lnTo>
                    <a:pt x="2400" y="628"/>
                  </a:lnTo>
                  <a:lnTo>
                    <a:pt x="2400" y="628"/>
                  </a:lnTo>
                  <a:lnTo>
                    <a:pt x="2400" y="628"/>
                  </a:lnTo>
                  <a:lnTo>
                    <a:pt x="2402" y="628"/>
                  </a:lnTo>
                  <a:lnTo>
                    <a:pt x="2402" y="626"/>
                  </a:lnTo>
                  <a:lnTo>
                    <a:pt x="2402" y="626"/>
                  </a:lnTo>
                  <a:lnTo>
                    <a:pt x="2402" y="626"/>
                  </a:lnTo>
                  <a:lnTo>
                    <a:pt x="2402" y="626"/>
                  </a:lnTo>
                  <a:lnTo>
                    <a:pt x="2402" y="626"/>
                  </a:lnTo>
                  <a:lnTo>
                    <a:pt x="2404" y="626"/>
                  </a:lnTo>
                  <a:lnTo>
                    <a:pt x="2404" y="628"/>
                  </a:lnTo>
                  <a:lnTo>
                    <a:pt x="2404" y="628"/>
                  </a:lnTo>
                  <a:lnTo>
                    <a:pt x="2404" y="628"/>
                  </a:lnTo>
                  <a:lnTo>
                    <a:pt x="2404" y="628"/>
                  </a:lnTo>
                  <a:lnTo>
                    <a:pt x="2407" y="628"/>
                  </a:lnTo>
                  <a:lnTo>
                    <a:pt x="2407" y="628"/>
                  </a:lnTo>
                  <a:lnTo>
                    <a:pt x="2407" y="630"/>
                  </a:lnTo>
                  <a:lnTo>
                    <a:pt x="2407" y="630"/>
                  </a:lnTo>
                  <a:lnTo>
                    <a:pt x="2407" y="630"/>
                  </a:lnTo>
                  <a:lnTo>
                    <a:pt x="2407" y="630"/>
                  </a:lnTo>
                  <a:lnTo>
                    <a:pt x="2407" y="630"/>
                  </a:lnTo>
                  <a:lnTo>
                    <a:pt x="2407" y="630"/>
                  </a:lnTo>
                  <a:lnTo>
                    <a:pt x="2407" y="632"/>
                  </a:lnTo>
                  <a:close/>
                  <a:moveTo>
                    <a:pt x="2389" y="628"/>
                  </a:moveTo>
                  <a:lnTo>
                    <a:pt x="2389" y="628"/>
                  </a:lnTo>
                  <a:lnTo>
                    <a:pt x="2386" y="628"/>
                  </a:lnTo>
                  <a:lnTo>
                    <a:pt x="2386" y="628"/>
                  </a:lnTo>
                  <a:lnTo>
                    <a:pt x="2386" y="626"/>
                  </a:lnTo>
                  <a:lnTo>
                    <a:pt x="2384" y="626"/>
                  </a:lnTo>
                  <a:lnTo>
                    <a:pt x="2384" y="626"/>
                  </a:lnTo>
                  <a:lnTo>
                    <a:pt x="2384" y="626"/>
                  </a:lnTo>
                  <a:lnTo>
                    <a:pt x="2386" y="626"/>
                  </a:lnTo>
                  <a:lnTo>
                    <a:pt x="2389" y="626"/>
                  </a:lnTo>
                  <a:lnTo>
                    <a:pt x="2389" y="628"/>
                  </a:lnTo>
                  <a:lnTo>
                    <a:pt x="2389" y="628"/>
                  </a:lnTo>
                  <a:lnTo>
                    <a:pt x="2389" y="628"/>
                  </a:lnTo>
                  <a:close/>
                  <a:moveTo>
                    <a:pt x="2083" y="547"/>
                  </a:moveTo>
                  <a:lnTo>
                    <a:pt x="2083" y="549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close/>
                  <a:moveTo>
                    <a:pt x="2088" y="549"/>
                  </a:moveTo>
                  <a:lnTo>
                    <a:pt x="2090" y="549"/>
                  </a:lnTo>
                  <a:lnTo>
                    <a:pt x="2092" y="551"/>
                  </a:lnTo>
                  <a:lnTo>
                    <a:pt x="2094" y="551"/>
                  </a:lnTo>
                  <a:lnTo>
                    <a:pt x="2094" y="551"/>
                  </a:lnTo>
                  <a:lnTo>
                    <a:pt x="2097" y="554"/>
                  </a:lnTo>
                  <a:lnTo>
                    <a:pt x="2097" y="554"/>
                  </a:lnTo>
                  <a:lnTo>
                    <a:pt x="2097" y="554"/>
                  </a:lnTo>
                  <a:lnTo>
                    <a:pt x="2097" y="554"/>
                  </a:lnTo>
                  <a:lnTo>
                    <a:pt x="2097" y="556"/>
                  </a:lnTo>
                  <a:lnTo>
                    <a:pt x="2097" y="556"/>
                  </a:lnTo>
                  <a:lnTo>
                    <a:pt x="2097" y="556"/>
                  </a:lnTo>
                  <a:lnTo>
                    <a:pt x="2097" y="556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9" y="558"/>
                  </a:lnTo>
                  <a:lnTo>
                    <a:pt x="2099" y="558"/>
                  </a:lnTo>
                  <a:lnTo>
                    <a:pt x="2099" y="558"/>
                  </a:lnTo>
                  <a:lnTo>
                    <a:pt x="2099" y="558"/>
                  </a:lnTo>
                  <a:lnTo>
                    <a:pt x="2099" y="558"/>
                  </a:lnTo>
                  <a:lnTo>
                    <a:pt x="2101" y="558"/>
                  </a:lnTo>
                  <a:lnTo>
                    <a:pt x="2101" y="560"/>
                  </a:lnTo>
                  <a:lnTo>
                    <a:pt x="2103" y="560"/>
                  </a:lnTo>
                  <a:lnTo>
                    <a:pt x="2103" y="563"/>
                  </a:lnTo>
                  <a:lnTo>
                    <a:pt x="2101" y="560"/>
                  </a:lnTo>
                  <a:lnTo>
                    <a:pt x="2099" y="558"/>
                  </a:lnTo>
                  <a:lnTo>
                    <a:pt x="2099" y="558"/>
                  </a:lnTo>
                  <a:lnTo>
                    <a:pt x="2099" y="558"/>
                  </a:lnTo>
                  <a:lnTo>
                    <a:pt x="2099" y="560"/>
                  </a:lnTo>
                  <a:lnTo>
                    <a:pt x="2101" y="560"/>
                  </a:lnTo>
                  <a:lnTo>
                    <a:pt x="2101" y="560"/>
                  </a:lnTo>
                  <a:lnTo>
                    <a:pt x="2101" y="560"/>
                  </a:lnTo>
                  <a:lnTo>
                    <a:pt x="2103" y="563"/>
                  </a:lnTo>
                  <a:lnTo>
                    <a:pt x="2103" y="563"/>
                  </a:lnTo>
                  <a:lnTo>
                    <a:pt x="2103" y="563"/>
                  </a:lnTo>
                  <a:lnTo>
                    <a:pt x="2103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6" y="563"/>
                  </a:lnTo>
                  <a:lnTo>
                    <a:pt x="2108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6" y="565"/>
                  </a:lnTo>
                  <a:lnTo>
                    <a:pt x="2108" y="565"/>
                  </a:lnTo>
                  <a:lnTo>
                    <a:pt x="2108" y="565"/>
                  </a:lnTo>
                  <a:lnTo>
                    <a:pt x="2108" y="565"/>
                  </a:lnTo>
                  <a:lnTo>
                    <a:pt x="2108" y="565"/>
                  </a:lnTo>
                  <a:lnTo>
                    <a:pt x="2108" y="565"/>
                  </a:lnTo>
                  <a:lnTo>
                    <a:pt x="2108" y="565"/>
                  </a:lnTo>
                  <a:lnTo>
                    <a:pt x="2110" y="565"/>
                  </a:lnTo>
                  <a:lnTo>
                    <a:pt x="2110" y="565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0" y="567"/>
                  </a:lnTo>
                  <a:lnTo>
                    <a:pt x="2112" y="567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2" y="569"/>
                  </a:lnTo>
                  <a:lnTo>
                    <a:pt x="2115" y="569"/>
                  </a:lnTo>
                  <a:lnTo>
                    <a:pt x="2117" y="572"/>
                  </a:lnTo>
                  <a:lnTo>
                    <a:pt x="2117" y="572"/>
                  </a:lnTo>
                  <a:lnTo>
                    <a:pt x="2119" y="574"/>
                  </a:lnTo>
                  <a:lnTo>
                    <a:pt x="2119" y="574"/>
                  </a:lnTo>
                  <a:lnTo>
                    <a:pt x="2121" y="576"/>
                  </a:lnTo>
                  <a:lnTo>
                    <a:pt x="2121" y="576"/>
                  </a:lnTo>
                  <a:lnTo>
                    <a:pt x="2121" y="576"/>
                  </a:lnTo>
                  <a:lnTo>
                    <a:pt x="2123" y="576"/>
                  </a:lnTo>
                  <a:lnTo>
                    <a:pt x="2123" y="578"/>
                  </a:lnTo>
                  <a:lnTo>
                    <a:pt x="2123" y="578"/>
                  </a:lnTo>
                  <a:lnTo>
                    <a:pt x="2126" y="578"/>
                  </a:lnTo>
                  <a:lnTo>
                    <a:pt x="2126" y="581"/>
                  </a:lnTo>
                  <a:lnTo>
                    <a:pt x="2126" y="581"/>
                  </a:lnTo>
                  <a:lnTo>
                    <a:pt x="2126" y="581"/>
                  </a:lnTo>
                  <a:lnTo>
                    <a:pt x="2128" y="583"/>
                  </a:lnTo>
                  <a:lnTo>
                    <a:pt x="2128" y="583"/>
                  </a:lnTo>
                  <a:lnTo>
                    <a:pt x="2128" y="583"/>
                  </a:lnTo>
                  <a:lnTo>
                    <a:pt x="2130" y="585"/>
                  </a:lnTo>
                  <a:lnTo>
                    <a:pt x="2130" y="585"/>
                  </a:lnTo>
                  <a:lnTo>
                    <a:pt x="2130" y="587"/>
                  </a:lnTo>
                  <a:lnTo>
                    <a:pt x="2132" y="587"/>
                  </a:lnTo>
                  <a:lnTo>
                    <a:pt x="2132" y="590"/>
                  </a:lnTo>
                  <a:lnTo>
                    <a:pt x="2135" y="590"/>
                  </a:lnTo>
                  <a:lnTo>
                    <a:pt x="2135" y="590"/>
                  </a:lnTo>
                  <a:lnTo>
                    <a:pt x="2135" y="592"/>
                  </a:lnTo>
                  <a:lnTo>
                    <a:pt x="2135" y="592"/>
                  </a:lnTo>
                  <a:lnTo>
                    <a:pt x="2135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0" y="587"/>
                  </a:lnTo>
                  <a:lnTo>
                    <a:pt x="2132" y="590"/>
                  </a:lnTo>
                  <a:lnTo>
                    <a:pt x="2132" y="590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2" y="592"/>
                  </a:lnTo>
                  <a:lnTo>
                    <a:pt x="2135" y="592"/>
                  </a:lnTo>
                  <a:lnTo>
                    <a:pt x="2135" y="594"/>
                  </a:lnTo>
                  <a:lnTo>
                    <a:pt x="2135" y="594"/>
                  </a:lnTo>
                  <a:lnTo>
                    <a:pt x="2135" y="594"/>
                  </a:lnTo>
                  <a:lnTo>
                    <a:pt x="2135" y="594"/>
                  </a:lnTo>
                  <a:lnTo>
                    <a:pt x="2135" y="594"/>
                  </a:lnTo>
                  <a:lnTo>
                    <a:pt x="2135" y="594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6"/>
                  </a:lnTo>
                  <a:lnTo>
                    <a:pt x="2137" y="599"/>
                  </a:lnTo>
                  <a:lnTo>
                    <a:pt x="2137" y="599"/>
                  </a:lnTo>
                  <a:lnTo>
                    <a:pt x="2137" y="599"/>
                  </a:lnTo>
                  <a:lnTo>
                    <a:pt x="2137" y="599"/>
                  </a:lnTo>
                  <a:lnTo>
                    <a:pt x="2139" y="599"/>
                  </a:lnTo>
                  <a:lnTo>
                    <a:pt x="2139" y="599"/>
                  </a:lnTo>
                  <a:lnTo>
                    <a:pt x="2139" y="599"/>
                  </a:lnTo>
                  <a:lnTo>
                    <a:pt x="2139" y="599"/>
                  </a:lnTo>
                  <a:lnTo>
                    <a:pt x="2139" y="599"/>
                  </a:lnTo>
                  <a:lnTo>
                    <a:pt x="2139" y="601"/>
                  </a:lnTo>
                  <a:lnTo>
                    <a:pt x="2139" y="601"/>
                  </a:lnTo>
                  <a:lnTo>
                    <a:pt x="2141" y="601"/>
                  </a:lnTo>
                  <a:lnTo>
                    <a:pt x="2141" y="601"/>
                  </a:lnTo>
                  <a:lnTo>
                    <a:pt x="2139" y="601"/>
                  </a:lnTo>
                  <a:lnTo>
                    <a:pt x="2141" y="601"/>
                  </a:lnTo>
                  <a:lnTo>
                    <a:pt x="2141" y="601"/>
                  </a:lnTo>
                  <a:lnTo>
                    <a:pt x="2141" y="603"/>
                  </a:lnTo>
                  <a:lnTo>
                    <a:pt x="2141" y="603"/>
                  </a:lnTo>
                  <a:lnTo>
                    <a:pt x="2141" y="603"/>
                  </a:lnTo>
                  <a:lnTo>
                    <a:pt x="2141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4" y="603"/>
                  </a:lnTo>
                  <a:lnTo>
                    <a:pt x="2146" y="603"/>
                  </a:lnTo>
                  <a:lnTo>
                    <a:pt x="2148" y="605"/>
                  </a:lnTo>
                  <a:lnTo>
                    <a:pt x="2148" y="608"/>
                  </a:lnTo>
                  <a:lnTo>
                    <a:pt x="2148" y="608"/>
                  </a:lnTo>
                  <a:lnTo>
                    <a:pt x="2148" y="608"/>
                  </a:lnTo>
                  <a:lnTo>
                    <a:pt x="2148" y="608"/>
                  </a:lnTo>
                  <a:lnTo>
                    <a:pt x="2148" y="608"/>
                  </a:lnTo>
                  <a:lnTo>
                    <a:pt x="2148" y="610"/>
                  </a:lnTo>
                  <a:lnTo>
                    <a:pt x="2148" y="610"/>
                  </a:lnTo>
                  <a:lnTo>
                    <a:pt x="2148" y="610"/>
                  </a:lnTo>
                  <a:lnTo>
                    <a:pt x="2150" y="610"/>
                  </a:lnTo>
                  <a:lnTo>
                    <a:pt x="2150" y="610"/>
                  </a:lnTo>
                  <a:lnTo>
                    <a:pt x="2150" y="610"/>
                  </a:lnTo>
                  <a:lnTo>
                    <a:pt x="2150" y="610"/>
                  </a:lnTo>
                  <a:lnTo>
                    <a:pt x="2150" y="610"/>
                  </a:lnTo>
                  <a:lnTo>
                    <a:pt x="2150" y="612"/>
                  </a:lnTo>
                  <a:lnTo>
                    <a:pt x="2150" y="612"/>
                  </a:lnTo>
                  <a:lnTo>
                    <a:pt x="2150" y="612"/>
                  </a:lnTo>
                  <a:lnTo>
                    <a:pt x="2150" y="612"/>
                  </a:lnTo>
                  <a:lnTo>
                    <a:pt x="2153" y="612"/>
                  </a:lnTo>
                  <a:lnTo>
                    <a:pt x="2153" y="612"/>
                  </a:lnTo>
                  <a:lnTo>
                    <a:pt x="2153" y="612"/>
                  </a:lnTo>
                  <a:lnTo>
                    <a:pt x="2153" y="612"/>
                  </a:lnTo>
                  <a:lnTo>
                    <a:pt x="2153" y="610"/>
                  </a:lnTo>
                  <a:lnTo>
                    <a:pt x="2153" y="610"/>
                  </a:lnTo>
                  <a:lnTo>
                    <a:pt x="2150" y="610"/>
                  </a:lnTo>
                  <a:lnTo>
                    <a:pt x="2150" y="610"/>
                  </a:lnTo>
                  <a:lnTo>
                    <a:pt x="2150" y="610"/>
                  </a:lnTo>
                  <a:lnTo>
                    <a:pt x="2150" y="608"/>
                  </a:lnTo>
                  <a:lnTo>
                    <a:pt x="2150" y="608"/>
                  </a:lnTo>
                  <a:lnTo>
                    <a:pt x="2150" y="608"/>
                  </a:lnTo>
                  <a:lnTo>
                    <a:pt x="2150" y="610"/>
                  </a:lnTo>
                  <a:lnTo>
                    <a:pt x="2153" y="610"/>
                  </a:lnTo>
                  <a:lnTo>
                    <a:pt x="2153" y="610"/>
                  </a:lnTo>
                  <a:lnTo>
                    <a:pt x="2155" y="612"/>
                  </a:lnTo>
                  <a:lnTo>
                    <a:pt x="2155" y="612"/>
                  </a:lnTo>
                  <a:lnTo>
                    <a:pt x="2159" y="614"/>
                  </a:lnTo>
                  <a:lnTo>
                    <a:pt x="2157" y="614"/>
                  </a:lnTo>
                  <a:lnTo>
                    <a:pt x="2157" y="614"/>
                  </a:lnTo>
                  <a:lnTo>
                    <a:pt x="2157" y="614"/>
                  </a:lnTo>
                  <a:lnTo>
                    <a:pt x="2157" y="614"/>
                  </a:lnTo>
                  <a:lnTo>
                    <a:pt x="2157" y="614"/>
                  </a:lnTo>
                  <a:lnTo>
                    <a:pt x="2157" y="614"/>
                  </a:lnTo>
                  <a:lnTo>
                    <a:pt x="2157" y="617"/>
                  </a:lnTo>
                  <a:lnTo>
                    <a:pt x="2157" y="617"/>
                  </a:lnTo>
                  <a:lnTo>
                    <a:pt x="2157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62" y="617"/>
                  </a:lnTo>
                  <a:lnTo>
                    <a:pt x="2162" y="619"/>
                  </a:lnTo>
                  <a:lnTo>
                    <a:pt x="2162" y="619"/>
                  </a:lnTo>
                  <a:lnTo>
                    <a:pt x="2162" y="619"/>
                  </a:lnTo>
                  <a:lnTo>
                    <a:pt x="2162" y="619"/>
                  </a:lnTo>
                  <a:lnTo>
                    <a:pt x="2162" y="619"/>
                  </a:lnTo>
                  <a:lnTo>
                    <a:pt x="2162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59" y="617"/>
                  </a:lnTo>
                  <a:lnTo>
                    <a:pt x="2162" y="617"/>
                  </a:lnTo>
                  <a:lnTo>
                    <a:pt x="2166" y="623"/>
                  </a:lnTo>
                  <a:lnTo>
                    <a:pt x="2173" y="630"/>
                  </a:lnTo>
                  <a:lnTo>
                    <a:pt x="2177" y="632"/>
                  </a:lnTo>
                  <a:lnTo>
                    <a:pt x="2184" y="639"/>
                  </a:lnTo>
                  <a:lnTo>
                    <a:pt x="2184" y="639"/>
                  </a:lnTo>
                  <a:lnTo>
                    <a:pt x="2189" y="644"/>
                  </a:lnTo>
                  <a:lnTo>
                    <a:pt x="2193" y="646"/>
                  </a:lnTo>
                  <a:lnTo>
                    <a:pt x="2195" y="648"/>
                  </a:lnTo>
                  <a:lnTo>
                    <a:pt x="2198" y="650"/>
                  </a:lnTo>
                  <a:lnTo>
                    <a:pt x="2198" y="650"/>
                  </a:lnTo>
                  <a:lnTo>
                    <a:pt x="2200" y="650"/>
                  </a:lnTo>
                  <a:lnTo>
                    <a:pt x="2200" y="653"/>
                  </a:lnTo>
                  <a:lnTo>
                    <a:pt x="2202" y="655"/>
                  </a:lnTo>
                  <a:lnTo>
                    <a:pt x="2202" y="655"/>
                  </a:lnTo>
                  <a:lnTo>
                    <a:pt x="2202" y="655"/>
                  </a:lnTo>
                  <a:lnTo>
                    <a:pt x="2204" y="655"/>
                  </a:lnTo>
                  <a:lnTo>
                    <a:pt x="2207" y="657"/>
                  </a:lnTo>
                  <a:lnTo>
                    <a:pt x="2207" y="657"/>
                  </a:lnTo>
                  <a:lnTo>
                    <a:pt x="2207" y="659"/>
                  </a:lnTo>
                  <a:lnTo>
                    <a:pt x="2207" y="659"/>
                  </a:lnTo>
                  <a:lnTo>
                    <a:pt x="2211" y="664"/>
                  </a:lnTo>
                  <a:lnTo>
                    <a:pt x="2218" y="668"/>
                  </a:lnTo>
                  <a:lnTo>
                    <a:pt x="2218" y="668"/>
                  </a:lnTo>
                  <a:lnTo>
                    <a:pt x="2220" y="668"/>
                  </a:lnTo>
                  <a:lnTo>
                    <a:pt x="2225" y="673"/>
                  </a:lnTo>
                  <a:lnTo>
                    <a:pt x="2227" y="673"/>
                  </a:lnTo>
                  <a:lnTo>
                    <a:pt x="2227" y="673"/>
                  </a:lnTo>
                  <a:lnTo>
                    <a:pt x="2227" y="673"/>
                  </a:lnTo>
                  <a:lnTo>
                    <a:pt x="2227" y="673"/>
                  </a:lnTo>
                  <a:lnTo>
                    <a:pt x="2227" y="673"/>
                  </a:lnTo>
                  <a:lnTo>
                    <a:pt x="2227" y="673"/>
                  </a:lnTo>
                  <a:lnTo>
                    <a:pt x="2227" y="675"/>
                  </a:lnTo>
                  <a:lnTo>
                    <a:pt x="2229" y="675"/>
                  </a:lnTo>
                  <a:lnTo>
                    <a:pt x="2229" y="675"/>
                  </a:lnTo>
                  <a:lnTo>
                    <a:pt x="2229" y="675"/>
                  </a:lnTo>
                  <a:lnTo>
                    <a:pt x="2229" y="675"/>
                  </a:lnTo>
                  <a:lnTo>
                    <a:pt x="2229" y="677"/>
                  </a:lnTo>
                  <a:lnTo>
                    <a:pt x="2231" y="677"/>
                  </a:lnTo>
                  <a:lnTo>
                    <a:pt x="2231" y="677"/>
                  </a:lnTo>
                  <a:lnTo>
                    <a:pt x="2231" y="677"/>
                  </a:lnTo>
                  <a:lnTo>
                    <a:pt x="2231" y="677"/>
                  </a:lnTo>
                  <a:lnTo>
                    <a:pt x="2231" y="677"/>
                  </a:lnTo>
                  <a:lnTo>
                    <a:pt x="2229" y="677"/>
                  </a:lnTo>
                  <a:lnTo>
                    <a:pt x="2229" y="677"/>
                  </a:lnTo>
                  <a:lnTo>
                    <a:pt x="2229" y="675"/>
                  </a:lnTo>
                  <a:lnTo>
                    <a:pt x="2229" y="675"/>
                  </a:lnTo>
                  <a:lnTo>
                    <a:pt x="2227" y="675"/>
                  </a:lnTo>
                  <a:lnTo>
                    <a:pt x="2227" y="675"/>
                  </a:lnTo>
                  <a:lnTo>
                    <a:pt x="2227" y="673"/>
                  </a:lnTo>
                  <a:lnTo>
                    <a:pt x="2222" y="671"/>
                  </a:lnTo>
                  <a:lnTo>
                    <a:pt x="2220" y="671"/>
                  </a:lnTo>
                  <a:lnTo>
                    <a:pt x="2220" y="671"/>
                  </a:lnTo>
                  <a:lnTo>
                    <a:pt x="2220" y="668"/>
                  </a:lnTo>
                  <a:lnTo>
                    <a:pt x="2220" y="668"/>
                  </a:lnTo>
                  <a:lnTo>
                    <a:pt x="2218" y="668"/>
                  </a:lnTo>
                  <a:lnTo>
                    <a:pt x="2218" y="668"/>
                  </a:lnTo>
                  <a:lnTo>
                    <a:pt x="2218" y="668"/>
                  </a:lnTo>
                  <a:lnTo>
                    <a:pt x="2216" y="668"/>
                  </a:lnTo>
                  <a:lnTo>
                    <a:pt x="2216" y="668"/>
                  </a:lnTo>
                  <a:lnTo>
                    <a:pt x="2216" y="668"/>
                  </a:lnTo>
                  <a:lnTo>
                    <a:pt x="2216" y="668"/>
                  </a:lnTo>
                  <a:lnTo>
                    <a:pt x="2216" y="668"/>
                  </a:lnTo>
                  <a:lnTo>
                    <a:pt x="2216" y="666"/>
                  </a:lnTo>
                  <a:lnTo>
                    <a:pt x="2213" y="666"/>
                  </a:lnTo>
                  <a:lnTo>
                    <a:pt x="2213" y="666"/>
                  </a:lnTo>
                  <a:lnTo>
                    <a:pt x="2213" y="666"/>
                  </a:lnTo>
                  <a:lnTo>
                    <a:pt x="2209" y="664"/>
                  </a:lnTo>
                  <a:lnTo>
                    <a:pt x="2209" y="664"/>
                  </a:lnTo>
                  <a:lnTo>
                    <a:pt x="2207" y="664"/>
                  </a:lnTo>
                  <a:lnTo>
                    <a:pt x="2200" y="662"/>
                  </a:lnTo>
                  <a:lnTo>
                    <a:pt x="2200" y="662"/>
                  </a:lnTo>
                  <a:lnTo>
                    <a:pt x="2200" y="662"/>
                  </a:lnTo>
                  <a:lnTo>
                    <a:pt x="2200" y="662"/>
                  </a:lnTo>
                  <a:lnTo>
                    <a:pt x="2195" y="662"/>
                  </a:lnTo>
                  <a:lnTo>
                    <a:pt x="2195" y="662"/>
                  </a:lnTo>
                  <a:lnTo>
                    <a:pt x="2195" y="662"/>
                  </a:lnTo>
                  <a:lnTo>
                    <a:pt x="2195" y="659"/>
                  </a:lnTo>
                  <a:lnTo>
                    <a:pt x="2193" y="659"/>
                  </a:lnTo>
                  <a:lnTo>
                    <a:pt x="2193" y="659"/>
                  </a:lnTo>
                  <a:lnTo>
                    <a:pt x="2191" y="659"/>
                  </a:lnTo>
                  <a:lnTo>
                    <a:pt x="2191" y="659"/>
                  </a:lnTo>
                  <a:lnTo>
                    <a:pt x="2191" y="659"/>
                  </a:lnTo>
                  <a:lnTo>
                    <a:pt x="2191" y="662"/>
                  </a:lnTo>
                  <a:lnTo>
                    <a:pt x="2191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3" y="662"/>
                  </a:lnTo>
                  <a:lnTo>
                    <a:pt x="2198" y="662"/>
                  </a:lnTo>
                  <a:lnTo>
                    <a:pt x="2200" y="662"/>
                  </a:lnTo>
                  <a:lnTo>
                    <a:pt x="2200" y="662"/>
                  </a:lnTo>
                  <a:lnTo>
                    <a:pt x="2195" y="662"/>
                  </a:lnTo>
                  <a:lnTo>
                    <a:pt x="2191" y="664"/>
                  </a:lnTo>
                  <a:lnTo>
                    <a:pt x="2191" y="664"/>
                  </a:lnTo>
                  <a:lnTo>
                    <a:pt x="2191" y="664"/>
                  </a:lnTo>
                  <a:lnTo>
                    <a:pt x="2191" y="666"/>
                  </a:lnTo>
                  <a:lnTo>
                    <a:pt x="2191" y="666"/>
                  </a:lnTo>
                  <a:lnTo>
                    <a:pt x="2191" y="668"/>
                  </a:lnTo>
                  <a:lnTo>
                    <a:pt x="2191" y="668"/>
                  </a:lnTo>
                  <a:lnTo>
                    <a:pt x="2193" y="668"/>
                  </a:lnTo>
                  <a:lnTo>
                    <a:pt x="2193" y="671"/>
                  </a:lnTo>
                  <a:lnTo>
                    <a:pt x="2193" y="671"/>
                  </a:lnTo>
                  <a:lnTo>
                    <a:pt x="2195" y="673"/>
                  </a:lnTo>
                  <a:lnTo>
                    <a:pt x="2195" y="673"/>
                  </a:lnTo>
                  <a:lnTo>
                    <a:pt x="2195" y="675"/>
                  </a:lnTo>
                  <a:lnTo>
                    <a:pt x="2198" y="680"/>
                  </a:lnTo>
                  <a:lnTo>
                    <a:pt x="2198" y="682"/>
                  </a:lnTo>
                  <a:lnTo>
                    <a:pt x="2200" y="686"/>
                  </a:lnTo>
                  <a:lnTo>
                    <a:pt x="2200" y="689"/>
                  </a:lnTo>
                  <a:lnTo>
                    <a:pt x="2202" y="691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3"/>
                  </a:lnTo>
                  <a:lnTo>
                    <a:pt x="2202" y="695"/>
                  </a:lnTo>
                  <a:lnTo>
                    <a:pt x="2202" y="695"/>
                  </a:lnTo>
                  <a:lnTo>
                    <a:pt x="2204" y="695"/>
                  </a:lnTo>
                  <a:lnTo>
                    <a:pt x="2207" y="698"/>
                  </a:lnTo>
                  <a:lnTo>
                    <a:pt x="2209" y="700"/>
                  </a:lnTo>
                  <a:lnTo>
                    <a:pt x="2211" y="702"/>
                  </a:lnTo>
                  <a:lnTo>
                    <a:pt x="2216" y="704"/>
                  </a:lnTo>
                  <a:lnTo>
                    <a:pt x="2216" y="704"/>
                  </a:lnTo>
                  <a:lnTo>
                    <a:pt x="2213" y="704"/>
                  </a:lnTo>
                  <a:lnTo>
                    <a:pt x="2216" y="704"/>
                  </a:lnTo>
                  <a:lnTo>
                    <a:pt x="2216" y="707"/>
                  </a:lnTo>
                  <a:lnTo>
                    <a:pt x="2216" y="707"/>
                  </a:lnTo>
                  <a:lnTo>
                    <a:pt x="2216" y="707"/>
                  </a:lnTo>
                  <a:lnTo>
                    <a:pt x="2216" y="707"/>
                  </a:lnTo>
                  <a:lnTo>
                    <a:pt x="2216" y="707"/>
                  </a:lnTo>
                  <a:lnTo>
                    <a:pt x="2218" y="707"/>
                  </a:lnTo>
                  <a:lnTo>
                    <a:pt x="2220" y="707"/>
                  </a:lnTo>
                  <a:lnTo>
                    <a:pt x="2222" y="709"/>
                  </a:lnTo>
                  <a:lnTo>
                    <a:pt x="2225" y="711"/>
                  </a:lnTo>
                  <a:lnTo>
                    <a:pt x="2225" y="711"/>
                  </a:lnTo>
                  <a:lnTo>
                    <a:pt x="2225" y="711"/>
                  </a:lnTo>
                  <a:lnTo>
                    <a:pt x="2227" y="713"/>
                  </a:lnTo>
                  <a:lnTo>
                    <a:pt x="2227" y="713"/>
                  </a:lnTo>
                  <a:lnTo>
                    <a:pt x="2227" y="713"/>
                  </a:lnTo>
                  <a:lnTo>
                    <a:pt x="2229" y="716"/>
                  </a:lnTo>
                  <a:lnTo>
                    <a:pt x="2229" y="718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1" y="720"/>
                  </a:lnTo>
                  <a:lnTo>
                    <a:pt x="2231" y="718"/>
                  </a:lnTo>
                  <a:lnTo>
                    <a:pt x="2231" y="718"/>
                  </a:lnTo>
                  <a:lnTo>
                    <a:pt x="2234" y="718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1" y="720"/>
                  </a:lnTo>
                  <a:lnTo>
                    <a:pt x="2231" y="720"/>
                  </a:lnTo>
                  <a:lnTo>
                    <a:pt x="2231" y="720"/>
                  </a:lnTo>
                  <a:lnTo>
                    <a:pt x="2231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2"/>
                  </a:lnTo>
                  <a:lnTo>
                    <a:pt x="2236" y="722"/>
                  </a:lnTo>
                  <a:lnTo>
                    <a:pt x="2236" y="722"/>
                  </a:lnTo>
                  <a:lnTo>
                    <a:pt x="2236" y="722"/>
                  </a:lnTo>
                  <a:lnTo>
                    <a:pt x="2236" y="722"/>
                  </a:lnTo>
                  <a:lnTo>
                    <a:pt x="2236" y="722"/>
                  </a:lnTo>
                  <a:lnTo>
                    <a:pt x="2236" y="722"/>
                  </a:lnTo>
                  <a:lnTo>
                    <a:pt x="2236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40" y="722"/>
                  </a:lnTo>
                  <a:lnTo>
                    <a:pt x="2240" y="722"/>
                  </a:lnTo>
                  <a:lnTo>
                    <a:pt x="2240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38" y="722"/>
                  </a:lnTo>
                  <a:lnTo>
                    <a:pt x="2236" y="720"/>
                  </a:lnTo>
                  <a:lnTo>
                    <a:pt x="2236" y="720"/>
                  </a:lnTo>
                  <a:lnTo>
                    <a:pt x="2236" y="720"/>
                  </a:lnTo>
                  <a:lnTo>
                    <a:pt x="2236" y="720"/>
                  </a:lnTo>
                  <a:lnTo>
                    <a:pt x="2236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4" y="720"/>
                  </a:lnTo>
                  <a:lnTo>
                    <a:pt x="2236" y="720"/>
                  </a:lnTo>
                  <a:lnTo>
                    <a:pt x="2236" y="720"/>
                  </a:lnTo>
                  <a:lnTo>
                    <a:pt x="2238" y="720"/>
                  </a:lnTo>
                  <a:lnTo>
                    <a:pt x="2238" y="720"/>
                  </a:lnTo>
                  <a:lnTo>
                    <a:pt x="2238" y="720"/>
                  </a:lnTo>
                  <a:lnTo>
                    <a:pt x="2238" y="720"/>
                  </a:lnTo>
                  <a:lnTo>
                    <a:pt x="2238" y="720"/>
                  </a:lnTo>
                  <a:lnTo>
                    <a:pt x="2238" y="720"/>
                  </a:lnTo>
                  <a:lnTo>
                    <a:pt x="2240" y="720"/>
                  </a:lnTo>
                  <a:lnTo>
                    <a:pt x="2240" y="720"/>
                  </a:lnTo>
                  <a:lnTo>
                    <a:pt x="2240" y="722"/>
                  </a:lnTo>
                  <a:lnTo>
                    <a:pt x="2243" y="722"/>
                  </a:lnTo>
                  <a:lnTo>
                    <a:pt x="2243" y="724"/>
                  </a:lnTo>
                  <a:lnTo>
                    <a:pt x="2243" y="724"/>
                  </a:lnTo>
                  <a:lnTo>
                    <a:pt x="2245" y="724"/>
                  </a:lnTo>
                  <a:lnTo>
                    <a:pt x="2245" y="724"/>
                  </a:lnTo>
                  <a:lnTo>
                    <a:pt x="2245" y="724"/>
                  </a:lnTo>
                  <a:lnTo>
                    <a:pt x="2245" y="724"/>
                  </a:lnTo>
                  <a:lnTo>
                    <a:pt x="2245" y="724"/>
                  </a:lnTo>
                  <a:lnTo>
                    <a:pt x="2245" y="727"/>
                  </a:lnTo>
                  <a:lnTo>
                    <a:pt x="2245" y="727"/>
                  </a:lnTo>
                  <a:lnTo>
                    <a:pt x="2247" y="729"/>
                  </a:lnTo>
                  <a:lnTo>
                    <a:pt x="2247" y="729"/>
                  </a:lnTo>
                  <a:lnTo>
                    <a:pt x="2247" y="729"/>
                  </a:lnTo>
                  <a:lnTo>
                    <a:pt x="2247" y="729"/>
                  </a:lnTo>
                  <a:lnTo>
                    <a:pt x="2249" y="729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1"/>
                  </a:lnTo>
                  <a:lnTo>
                    <a:pt x="2249" y="733"/>
                  </a:lnTo>
                  <a:lnTo>
                    <a:pt x="2249" y="733"/>
                  </a:lnTo>
                  <a:lnTo>
                    <a:pt x="2249" y="733"/>
                  </a:lnTo>
                  <a:lnTo>
                    <a:pt x="2249" y="733"/>
                  </a:lnTo>
                  <a:lnTo>
                    <a:pt x="2249" y="733"/>
                  </a:lnTo>
                  <a:lnTo>
                    <a:pt x="2249" y="736"/>
                  </a:lnTo>
                  <a:lnTo>
                    <a:pt x="2252" y="736"/>
                  </a:lnTo>
                  <a:lnTo>
                    <a:pt x="2252" y="736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52" y="738"/>
                  </a:lnTo>
                  <a:lnTo>
                    <a:pt x="2249" y="738"/>
                  </a:lnTo>
                  <a:lnTo>
                    <a:pt x="2249" y="736"/>
                  </a:lnTo>
                  <a:lnTo>
                    <a:pt x="2249" y="736"/>
                  </a:lnTo>
                  <a:lnTo>
                    <a:pt x="2249" y="736"/>
                  </a:lnTo>
                  <a:lnTo>
                    <a:pt x="2249" y="736"/>
                  </a:lnTo>
                  <a:lnTo>
                    <a:pt x="2249" y="736"/>
                  </a:lnTo>
                  <a:lnTo>
                    <a:pt x="2249" y="736"/>
                  </a:lnTo>
                  <a:lnTo>
                    <a:pt x="2249" y="736"/>
                  </a:lnTo>
                  <a:lnTo>
                    <a:pt x="2249" y="733"/>
                  </a:lnTo>
                  <a:lnTo>
                    <a:pt x="2247" y="733"/>
                  </a:lnTo>
                  <a:lnTo>
                    <a:pt x="2245" y="731"/>
                  </a:lnTo>
                  <a:lnTo>
                    <a:pt x="2245" y="731"/>
                  </a:lnTo>
                  <a:lnTo>
                    <a:pt x="2243" y="729"/>
                  </a:lnTo>
                  <a:lnTo>
                    <a:pt x="2243" y="729"/>
                  </a:lnTo>
                  <a:lnTo>
                    <a:pt x="2243" y="729"/>
                  </a:lnTo>
                  <a:lnTo>
                    <a:pt x="2243" y="729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3" y="727"/>
                  </a:lnTo>
                  <a:lnTo>
                    <a:pt x="2240" y="727"/>
                  </a:lnTo>
                  <a:lnTo>
                    <a:pt x="2240" y="727"/>
                  </a:lnTo>
                  <a:lnTo>
                    <a:pt x="2240" y="727"/>
                  </a:lnTo>
                  <a:lnTo>
                    <a:pt x="2240" y="727"/>
                  </a:lnTo>
                  <a:lnTo>
                    <a:pt x="2240" y="727"/>
                  </a:lnTo>
                  <a:lnTo>
                    <a:pt x="2240" y="727"/>
                  </a:lnTo>
                  <a:lnTo>
                    <a:pt x="2238" y="727"/>
                  </a:lnTo>
                  <a:lnTo>
                    <a:pt x="2238" y="724"/>
                  </a:lnTo>
                  <a:lnTo>
                    <a:pt x="2238" y="724"/>
                  </a:lnTo>
                  <a:lnTo>
                    <a:pt x="2238" y="724"/>
                  </a:lnTo>
                  <a:lnTo>
                    <a:pt x="2236" y="724"/>
                  </a:lnTo>
                  <a:lnTo>
                    <a:pt x="2236" y="724"/>
                  </a:lnTo>
                  <a:lnTo>
                    <a:pt x="2234" y="724"/>
                  </a:lnTo>
                  <a:lnTo>
                    <a:pt x="2234" y="724"/>
                  </a:lnTo>
                  <a:lnTo>
                    <a:pt x="2231" y="724"/>
                  </a:lnTo>
                  <a:lnTo>
                    <a:pt x="2231" y="724"/>
                  </a:lnTo>
                  <a:lnTo>
                    <a:pt x="2231" y="724"/>
                  </a:lnTo>
                  <a:lnTo>
                    <a:pt x="2231" y="724"/>
                  </a:lnTo>
                  <a:lnTo>
                    <a:pt x="2229" y="724"/>
                  </a:lnTo>
                  <a:lnTo>
                    <a:pt x="2229" y="724"/>
                  </a:lnTo>
                  <a:lnTo>
                    <a:pt x="2227" y="722"/>
                  </a:lnTo>
                  <a:lnTo>
                    <a:pt x="2227" y="722"/>
                  </a:lnTo>
                  <a:lnTo>
                    <a:pt x="2227" y="722"/>
                  </a:lnTo>
                  <a:lnTo>
                    <a:pt x="2227" y="722"/>
                  </a:lnTo>
                  <a:lnTo>
                    <a:pt x="2227" y="722"/>
                  </a:lnTo>
                  <a:lnTo>
                    <a:pt x="2227" y="722"/>
                  </a:lnTo>
                  <a:lnTo>
                    <a:pt x="2227" y="722"/>
                  </a:lnTo>
                  <a:lnTo>
                    <a:pt x="2225" y="722"/>
                  </a:lnTo>
                  <a:lnTo>
                    <a:pt x="2225" y="722"/>
                  </a:lnTo>
                  <a:lnTo>
                    <a:pt x="2225" y="722"/>
                  </a:lnTo>
                  <a:lnTo>
                    <a:pt x="2222" y="724"/>
                  </a:lnTo>
                  <a:lnTo>
                    <a:pt x="2225" y="727"/>
                  </a:lnTo>
                  <a:lnTo>
                    <a:pt x="2225" y="729"/>
                  </a:lnTo>
                  <a:lnTo>
                    <a:pt x="2225" y="731"/>
                  </a:lnTo>
                  <a:lnTo>
                    <a:pt x="2225" y="731"/>
                  </a:lnTo>
                  <a:lnTo>
                    <a:pt x="2225" y="731"/>
                  </a:lnTo>
                  <a:lnTo>
                    <a:pt x="2227" y="733"/>
                  </a:lnTo>
                  <a:lnTo>
                    <a:pt x="2227" y="733"/>
                  </a:lnTo>
                  <a:lnTo>
                    <a:pt x="2227" y="736"/>
                  </a:lnTo>
                  <a:lnTo>
                    <a:pt x="2227" y="736"/>
                  </a:lnTo>
                  <a:lnTo>
                    <a:pt x="2227" y="736"/>
                  </a:lnTo>
                  <a:lnTo>
                    <a:pt x="2227" y="736"/>
                  </a:lnTo>
                  <a:lnTo>
                    <a:pt x="2227" y="736"/>
                  </a:lnTo>
                  <a:lnTo>
                    <a:pt x="2227" y="736"/>
                  </a:lnTo>
                  <a:lnTo>
                    <a:pt x="2227" y="738"/>
                  </a:lnTo>
                  <a:lnTo>
                    <a:pt x="2229" y="738"/>
                  </a:lnTo>
                  <a:lnTo>
                    <a:pt x="2229" y="738"/>
                  </a:lnTo>
                  <a:lnTo>
                    <a:pt x="2229" y="738"/>
                  </a:lnTo>
                  <a:lnTo>
                    <a:pt x="2229" y="738"/>
                  </a:lnTo>
                  <a:lnTo>
                    <a:pt x="2229" y="738"/>
                  </a:lnTo>
                  <a:lnTo>
                    <a:pt x="2227" y="738"/>
                  </a:lnTo>
                  <a:lnTo>
                    <a:pt x="2227" y="738"/>
                  </a:lnTo>
                  <a:lnTo>
                    <a:pt x="2229" y="740"/>
                  </a:lnTo>
                  <a:lnTo>
                    <a:pt x="2229" y="740"/>
                  </a:lnTo>
                  <a:lnTo>
                    <a:pt x="2229" y="740"/>
                  </a:lnTo>
                  <a:lnTo>
                    <a:pt x="2229" y="740"/>
                  </a:lnTo>
                  <a:lnTo>
                    <a:pt x="2227" y="740"/>
                  </a:lnTo>
                  <a:lnTo>
                    <a:pt x="2227" y="740"/>
                  </a:lnTo>
                  <a:lnTo>
                    <a:pt x="2225" y="740"/>
                  </a:lnTo>
                  <a:lnTo>
                    <a:pt x="2225" y="738"/>
                  </a:lnTo>
                  <a:lnTo>
                    <a:pt x="2222" y="738"/>
                  </a:lnTo>
                  <a:lnTo>
                    <a:pt x="2222" y="736"/>
                  </a:lnTo>
                  <a:lnTo>
                    <a:pt x="2218" y="731"/>
                  </a:lnTo>
                  <a:lnTo>
                    <a:pt x="2218" y="731"/>
                  </a:lnTo>
                  <a:lnTo>
                    <a:pt x="2216" y="729"/>
                  </a:lnTo>
                  <a:lnTo>
                    <a:pt x="2216" y="729"/>
                  </a:lnTo>
                  <a:lnTo>
                    <a:pt x="2213" y="727"/>
                  </a:lnTo>
                  <a:lnTo>
                    <a:pt x="2211" y="724"/>
                  </a:lnTo>
                  <a:lnTo>
                    <a:pt x="2211" y="724"/>
                  </a:lnTo>
                  <a:lnTo>
                    <a:pt x="2211" y="724"/>
                  </a:lnTo>
                  <a:lnTo>
                    <a:pt x="2211" y="724"/>
                  </a:lnTo>
                  <a:lnTo>
                    <a:pt x="2211" y="724"/>
                  </a:lnTo>
                  <a:lnTo>
                    <a:pt x="2211" y="722"/>
                  </a:lnTo>
                  <a:lnTo>
                    <a:pt x="2211" y="722"/>
                  </a:lnTo>
                  <a:lnTo>
                    <a:pt x="2209" y="713"/>
                  </a:lnTo>
                  <a:lnTo>
                    <a:pt x="2209" y="713"/>
                  </a:lnTo>
                  <a:lnTo>
                    <a:pt x="2209" y="713"/>
                  </a:lnTo>
                  <a:lnTo>
                    <a:pt x="2207" y="713"/>
                  </a:lnTo>
                  <a:lnTo>
                    <a:pt x="2207" y="711"/>
                  </a:lnTo>
                  <a:lnTo>
                    <a:pt x="2207" y="711"/>
                  </a:lnTo>
                  <a:lnTo>
                    <a:pt x="2204" y="711"/>
                  </a:lnTo>
                  <a:lnTo>
                    <a:pt x="2204" y="709"/>
                  </a:lnTo>
                  <a:lnTo>
                    <a:pt x="2202" y="709"/>
                  </a:lnTo>
                  <a:lnTo>
                    <a:pt x="2202" y="709"/>
                  </a:lnTo>
                  <a:lnTo>
                    <a:pt x="2202" y="707"/>
                  </a:lnTo>
                  <a:lnTo>
                    <a:pt x="2202" y="707"/>
                  </a:lnTo>
                  <a:lnTo>
                    <a:pt x="2202" y="707"/>
                  </a:lnTo>
                  <a:lnTo>
                    <a:pt x="2202" y="707"/>
                  </a:lnTo>
                  <a:lnTo>
                    <a:pt x="2202" y="707"/>
                  </a:lnTo>
                  <a:lnTo>
                    <a:pt x="2202" y="707"/>
                  </a:lnTo>
                  <a:lnTo>
                    <a:pt x="2200" y="704"/>
                  </a:lnTo>
                  <a:lnTo>
                    <a:pt x="2200" y="704"/>
                  </a:lnTo>
                  <a:lnTo>
                    <a:pt x="2198" y="702"/>
                  </a:lnTo>
                  <a:lnTo>
                    <a:pt x="2198" y="702"/>
                  </a:lnTo>
                  <a:lnTo>
                    <a:pt x="2198" y="700"/>
                  </a:lnTo>
                  <a:lnTo>
                    <a:pt x="2198" y="700"/>
                  </a:lnTo>
                  <a:lnTo>
                    <a:pt x="2198" y="700"/>
                  </a:lnTo>
                  <a:lnTo>
                    <a:pt x="2198" y="700"/>
                  </a:lnTo>
                  <a:lnTo>
                    <a:pt x="2198" y="700"/>
                  </a:lnTo>
                  <a:lnTo>
                    <a:pt x="2198" y="700"/>
                  </a:lnTo>
                  <a:lnTo>
                    <a:pt x="2198" y="698"/>
                  </a:lnTo>
                  <a:lnTo>
                    <a:pt x="2198" y="698"/>
                  </a:lnTo>
                  <a:lnTo>
                    <a:pt x="2198" y="698"/>
                  </a:lnTo>
                  <a:lnTo>
                    <a:pt x="2198" y="698"/>
                  </a:lnTo>
                  <a:lnTo>
                    <a:pt x="2195" y="695"/>
                  </a:lnTo>
                  <a:lnTo>
                    <a:pt x="2195" y="695"/>
                  </a:lnTo>
                  <a:lnTo>
                    <a:pt x="2195" y="695"/>
                  </a:lnTo>
                  <a:lnTo>
                    <a:pt x="2195" y="693"/>
                  </a:lnTo>
                  <a:lnTo>
                    <a:pt x="2195" y="693"/>
                  </a:lnTo>
                  <a:lnTo>
                    <a:pt x="2195" y="693"/>
                  </a:lnTo>
                  <a:lnTo>
                    <a:pt x="2193" y="691"/>
                  </a:lnTo>
                  <a:lnTo>
                    <a:pt x="2193" y="689"/>
                  </a:lnTo>
                  <a:lnTo>
                    <a:pt x="2193" y="689"/>
                  </a:lnTo>
                  <a:lnTo>
                    <a:pt x="2189" y="684"/>
                  </a:lnTo>
                  <a:lnTo>
                    <a:pt x="2189" y="684"/>
                  </a:lnTo>
                  <a:lnTo>
                    <a:pt x="2186" y="684"/>
                  </a:lnTo>
                  <a:lnTo>
                    <a:pt x="2180" y="677"/>
                  </a:lnTo>
                  <a:lnTo>
                    <a:pt x="2177" y="677"/>
                  </a:lnTo>
                  <a:lnTo>
                    <a:pt x="2177" y="675"/>
                  </a:lnTo>
                  <a:lnTo>
                    <a:pt x="2175" y="675"/>
                  </a:lnTo>
                  <a:lnTo>
                    <a:pt x="2175" y="673"/>
                  </a:lnTo>
                  <a:lnTo>
                    <a:pt x="2175" y="673"/>
                  </a:lnTo>
                  <a:lnTo>
                    <a:pt x="2177" y="673"/>
                  </a:lnTo>
                  <a:lnTo>
                    <a:pt x="2177" y="673"/>
                  </a:lnTo>
                  <a:lnTo>
                    <a:pt x="2175" y="673"/>
                  </a:lnTo>
                  <a:lnTo>
                    <a:pt x="2175" y="673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71"/>
                  </a:lnTo>
                  <a:lnTo>
                    <a:pt x="2175" y="668"/>
                  </a:lnTo>
                  <a:lnTo>
                    <a:pt x="2175" y="668"/>
                  </a:lnTo>
                  <a:lnTo>
                    <a:pt x="2175" y="668"/>
                  </a:lnTo>
                  <a:lnTo>
                    <a:pt x="2173" y="666"/>
                  </a:lnTo>
                  <a:lnTo>
                    <a:pt x="2173" y="666"/>
                  </a:lnTo>
                  <a:lnTo>
                    <a:pt x="2173" y="666"/>
                  </a:lnTo>
                  <a:lnTo>
                    <a:pt x="2173" y="664"/>
                  </a:lnTo>
                  <a:lnTo>
                    <a:pt x="2173" y="664"/>
                  </a:lnTo>
                  <a:lnTo>
                    <a:pt x="2173" y="664"/>
                  </a:lnTo>
                  <a:lnTo>
                    <a:pt x="2171" y="662"/>
                  </a:lnTo>
                  <a:lnTo>
                    <a:pt x="2168" y="659"/>
                  </a:lnTo>
                  <a:lnTo>
                    <a:pt x="2168" y="659"/>
                  </a:lnTo>
                  <a:lnTo>
                    <a:pt x="2168" y="659"/>
                  </a:lnTo>
                  <a:lnTo>
                    <a:pt x="2168" y="659"/>
                  </a:lnTo>
                  <a:lnTo>
                    <a:pt x="2168" y="657"/>
                  </a:lnTo>
                  <a:lnTo>
                    <a:pt x="2166" y="657"/>
                  </a:lnTo>
                  <a:lnTo>
                    <a:pt x="2166" y="655"/>
                  </a:lnTo>
                  <a:lnTo>
                    <a:pt x="2166" y="655"/>
                  </a:lnTo>
                  <a:lnTo>
                    <a:pt x="2166" y="653"/>
                  </a:lnTo>
                  <a:lnTo>
                    <a:pt x="2164" y="653"/>
                  </a:lnTo>
                  <a:lnTo>
                    <a:pt x="2164" y="650"/>
                  </a:lnTo>
                  <a:lnTo>
                    <a:pt x="2164" y="650"/>
                  </a:lnTo>
                  <a:lnTo>
                    <a:pt x="2162" y="650"/>
                  </a:lnTo>
                  <a:lnTo>
                    <a:pt x="2162" y="648"/>
                  </a:lnTo>
                  <a:lnTo>
                    <a:pt x="2162" y="648"/>
                  </a:lnTo>
                  <a:lnTo>
                    <a:pt x="2162" y="648"/>
                  </a:lnTo>
                  <a:lnTo>
                    <a:pt x="2162" y="648"/>
                  </a:lnTo>
                  <a:lnTo>
                    <a:pt x="2162" y="648"/>
                  </a:lnTo>
                  <a:lnTo>
                    <a:pt x="2162" y="648"/>
                  </a:lnTo>
                  <a:lnTo>
                    <a:pt x="2162" y="648"/>
                  </a:lnTo>
                  <a:lnTo>
                    <a:pt x="2159" y="648"/>
                  </a:lnTo>
                  <a:lnTo>
                    <a:pt x="2159" y="648"/>
                  </a:lnTo>
                  <a:lnTo>
                    <a:pt x="2159" y="646"/>
                  </a:lnTo>
                  <a:lnTo>
                    <a:pt x="2159" y="646"/>
                  </a:lnTo>
                  <a:lnTo>
                    <a:pt x="2159" y="646"/>
                  </a:lnTo>
                  <a:lnTo>
                    <a:pt x="2159" y="646"/>
                  </a:lnTo>
                  <a:lnTo>
                    <a:pt x="2159" y="646"/>
                  </a:lnTo>
                  <a:lnTo>
                    <a:pt x="2159" y="644"/>
                  </a:lnTo>
                  <a:lnTo>
                    <a:pt x="2155" y="641"/>
                  </a:lnTo>
                  <a:lnTo>
                    <a:pt x="2155" y="639"/>
                  </a:lnTo>
                  <a:lnTo>
                    <a:pt x="2155" y="639"/>
                  </a:lnTo>
                  <a:lnTo>
                    <a:pt x="2153" y="639"/>
                  </a:lnTo>
                  <a:lnTo>
                    <a:pt x="2153" y="639"/>
                  </a:lnTo>
                  <a:lnTo>
                    <a:pt x="2153" y="637"/>
                  </a:lnTo>
                  <a:lnTo>
                    <a:pt x="2153" y="637"/>
                  </a:lnTo>
                  <a:lnTo>
                    <a:pt x="2150" y="637"/>
                  </a:lnTo>
                  <a:lnTo>
                    <a:pt x="2150" y="637"/>
                  </a:lnTo>
                  <a:lnTo>
                    <a:pt x="2148" y="635"/>
                  </a:lnTo>
                  <a:lnTo>
                    <a:pt x="2148" y="632"/>
                  </a:lnTo>
                  <a:lnTo>
                    <a:pt x="2148" y="632"/>
                  </a:lnTo>
                  <a:lnTo>
                    <a:pt x="2148" y="632"/>
                  </a:lnTo>
                  <a:lnTo>
                    <a:pt x="2146" y="632"/>
                  </a:lnTo>
                  <a:lnTo>
                    <a:pt x="2146" y="632"/>
                  </a:lnTo>
                  <a:lnTo>
                    <a:pt x="2146" y="630"/>
                  </a:lnTo>
                  <a:lnTo>
                    <a:pt x="2146" y="630"/>
                  </a:lnTo>
                  <a:lnTo>
                    <a:pt x="2144" y="628"/>
                  </a:lnTo>
                  <a:lnTo>
                    <a:pt x="2144" y="628"/>
                  </a:lnTo>
                  <a:lnTo>
                    <a:pt x="2144" y="628"/>
                  </a:lnTo>
                  <a:lnTo>
                    <a:pt x="2144" y="628"/>
                  </a:lnTo>
                  <a:lnTo>
                    <a:pt x="2144" y="628"/>
                  </a:lnTo>
                  <a:lnTo>
                    <a:pt x="2144" y="628"/>
                  </a:lnTo>
                  <a:lnTo>
                    <a:pt x="2144" y="626"/>
                  </a:lnTo>
                  <a:lnTo>
                    <a:pt x="2144" y="626"/>
                  </a:lnTo>
                  <a:lnTo>
                    <a:pt x="2144" y="626"/>
                  </a:lnTo>
                  <a:lnTo>
                    <a:pt x="2144" y="626"/>
                  </a:lnTo>
                  <a:lnTo>
                    <a:pt x="2144" y="626"/>
                  </a:lnTo>
                  <a:lnTo>
                    <a:pt x="2144" y="623"/>
                  </a:lnTo>
                  <a:lnTo>
                    <a:pt x="2144" y="623"/>
                  </a:lnTo>
                  <a:lnTo>
                    <a:pt x="2141" y="623"/>
                  </a:lnTo>
                  <a:lnTo>
                    <a:pt x="2141" y="621"/>
                  </a:lnTo>
                  <a:lnTo>
                    <a:pt x="2141" y="621"/>
                  </a:lnTo>
                  <a:lnTo>
                    <a:pt x="2141" y="619"/>
                  </a:lnTo>
                  <a:lnTo>
                    <a:pt x="2139" y="619"/>
                  </a:lnTo>
                  <a:lnTo>
                    <a:pt x="2137" y="617"/>
                  </a:lnTo>
                  <a:lnTo>
                    <a:pt x="2137" y="617"/>
                  </a:lnTo>
                  <a:lnTo>
                    <a:pt x="2137" y="617"/>
                  </a:lnTo>
                  <a:lnTo>
                    <a:pt x="2137" y="617"/>
                  </a:lnTo>
                  <a:lnTo>
                    <a:pt x="2137" y="617"/>
                  </a:lnTo>
                  <a:lnTo>
                    <a:pt x="2135" y="617"/>
                  </a:lnTo>
                  <a:lnTo>
                    <a:pt x="2135" y="617"/>
                  </a:lnTo>
                  <a:lnTo>
                    <a:pt x="2135" y="617"/>
                  </a:lnTo>
                  <a:lnTo>
                    <a:pt x="2135" y="617"/>
                  </a:lnTo>
                  <a:lnTo>
                    <a:pt x="2135" y="614"/>
                  </a:lnTo>
                  <a:lnTo>
                    <a:pt x="2132" y="614"/>
                  </a:lnTo>
                  <a:lnTo>
                    <a:pt x="2132" y="614"/>
                  </a:lnTo>
                  <a:lnTo>
                    <a:pt x="2132" y="612"/>
                  </a:lnTo>
                  <a:lnTo>
                    <a:pt x="2130" y="612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6" y="610"/>
                  </a:lnTo>
                  <a:lnTo>
                    <a:pt x="2123" y="610"/>
                  </a:lnTo>
                  <a:lnTo>
                    <a:pt x="2123" y="608"/>
                  </a:lnTo>
                  <a:lnTo>
                    <a:pt x="2121" y="608"/>
                  </a:lnTo>
                  <a:lnTo>
                    <a:pt x="2119" y="605"/>
                  </a:lnTo>
                  <a:lnTo>
                    <a:pt x="2119" y="605"/>
                  </a:lnTo>
                  <a:lnTo>
                    <a:pt x="2119" y="605"/>
                  </a:lnTo>
                  <a:lnTo>
                    <a:pt x="2121" y="605"/>
                  </a:lnTo>
                  <a:lnTo>
                    <a:pt x="2121" y="608"/>
                  </a:lnTo>
                  <a:lnTo>
                    <a:pt x="2121" y="608"/>
                  </a:lnTo>
                  <a:lnTo>
                    <a:pt x="2121" y="605"/>
                  </a:lnTo>
                  <a:lnTo>
                    <a:pt x="2121" y="605"/>
                  </a:lnTo>
                  <a:lnTo>
                    <a:pt x="2121" y="605"/>
                  </a:lnTo>
                  <a:lnTo>
                    <a:pt x="2121" y="605"/>
                  </a:lnTo>
                  <a:lnTo>
                    <a:pt x="2121" y="605"/>
                  </a:lnTo>
                  <a:lnTo>
                    <a:pt x="2119" y="605"/>
                  </a:lnTo>
                  <a:lnTo>
                    <a:pt x="2119" y="603"/>
                  </a:lnTo>
                  <a:lnTo>
                    <a:pt x="2117" y="603"/>
                  </a:lnTo>
                  <a:lnTo>
                    <a:pt x="2115" y="603"/>
                  </a:lnTo>
                  <a:lnTo>
                    <a:pt x="2115" y="603"/>
                  </a:lnTo>
                  <a:lnTo>
                    <a:pt x="2115" y="601"/>
                  </a:lnTo>
                  <a:lnTo>
                    <a:pt x="2112" y="599"/>
                  </a:lnTo>
                  <a:lnTo>
                    <a:pt x="2112" y="599"/>
                  </a:lnTo>
                  <a:lnTo>
                    <a:pt x="2112" y="599"/>
                  </a:lnTo>
                  <a:lnTo>
                    <a:pt x="2112" y="599"/>
                  </a:lnTo>
                  <a:lnTo>
                    <a:pt x="2110" y="599"/>
                  </a:lnTo>
                  <a:lnTo>
                    <a:pt x="2110" y="599"/>
                  </a:lnTo>
                  <a:lnTo>
                    <a:pt x="2110" y="596"/>
                  </a:lnTo>
                  <a:lnTo>
                    <a:pt x="2110" y="596"/>
                  </a:lnTo>
                  <a:lnTo>
                    <a:pt x="2110" y="596"/>
                  </a:lnTo>
                  <a:lnTo>
                    <a:pt x="2110" y="596"/>
                  </a:lnTo>
                  <a:lnTo>
                    <a:pt x="2110" y="594"/>
                  </a:lnTo>
                  <a:lnTo>
                    <a:pt x="2108" y="594"/>
                  </a:lnTo>
                  <a:lnTo>
                    <a:pt x="2108" y="594"/>
                  </a:lnTo>
                  <a:lnTo>
                    <a:pt x="2108" y="594"/>
                  </a:lnTo>
                  <a:lnTo>
                    <a:pt x="2108" y="594"/>
                  </a:lnTo>
                  <a:lnTo>
                    <a:pt x="2108" y="592"/>
                  </a:lnTo>
                  <a:lnTo>
                    <a:pt x="2106" y="592"/>
                  </a:lnTo>
                  <a:lnTo>
                    <a:pt x="2106" y="592"/>
                  </a:lnTo>
                  <a:lnTo>
                    <a:pt x="2106" y="592"/>
                  </a:lnTo>
                  <a:lnTo>
                    <a:pt x="2106" y="592"/>
                  </a:lnTo>
                  <a:lnTo>
                    <a:pt x="2106" y="592"/>
                  </a:lnTo>
                  <a:lnTo>
                    <a:pt x="2106" y="590"/>
                  </a:lnTo>
                  <a:lnTo>
                    <a:pt x="2106" y="590"/>
                  </a:lnTo>
                  <a:lnTo>
                    <a:pt x="2106" y="590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6" y="587"/>
                  </a:lnTo>
                  <a:lnTo>
                    <a:pt x="2103" y="587"/>
                  </a:lnTo>
                  <a:lnTo>
                    <a:pt x="2103" y="587"/>
                  </a:lnTo>
                  <a:lnTo>
                    <a:pt x="2103" y="585"/>
                  </a:lnTo>
                  <a:lnTo>
                    <a:pt x="2103" y="585"/>
                  </a:lnTo>
                  <a:lnTo>
                    <a:pt x="2101" y="583"/>
                  </a:lnTo>
                  <a:lnTo>
                    <a:pt x="2101" y="583"/>
                  </a:lnTo>
                  <a:lnTo>
                    <a:pt x="2101" y="583"/>
                  </a:lnTo>
                  <a:lnTo>
                    <a:pt x="2101" y="581"/>
                  </a:lnTo>
                  <a:lnTo>
                    <a:pt x="2101" y="581"/>
                  </a:lnTo>
                  <a:lnTo>
                    <a:pt x="2101" y="581"/>
                  </a:lnTo>
                  <a:lnTo>
                    <a:pt x="2101" y="581"/>
                  </a:lnTo>
                  <a:lnTo>
                    <a:pt x="2101" y="581"/>
                  </a:lnTo>
                  <a:lnTo>
                    <a:pt x="2099" y="581"/>
                  </a:lnTo>
                  <a:lnTo>
                    <a:pt x="2099" y="581"/>
                  </a:lnTo>
                  <a:lnTo>
                    <a:pt x="2099" y="581"/>
                  </a:lnTo>
                  <a:lnTo>
                    <a:pt x="2099" y="578"/>
                  </a:lnTo>
                  <a:lnTo>
                    <a:pt x="2099" y="578"/>
                  </a:lnTo>
                  <a:lnTo>
                    <a:pt x="2099" y="578"/>
                  </a:lnTo>
                  <a:lnTo>
                    <a:pt x="2099" y="578"/>
                  </a:lnTo>
                  <a:lnTo>
                    <a:pt x="2099" y="578"/>
                  </a:lnTo>
                  <a:lnTo>
                    <a:pt x="2099" y="578"/>
                  </a:lnTo>
                  <a:lnTo>
                    <a:pt x="2099" y="576"/>
                  </a:lnTo>
                  <a:lnTo>
                    <a:pt x="2097" y="576"/>
                  </a:lnTo>
                  <a:lnTo>
                    <a:pt x="2097" y="576"/>
                  </a:lnTo>
                  <a:lnTo>
                    <a:pt x="2097" y="576"/>
                  </a:lnTo>
                  <a:lnTo>
                    <a:pt x="2097" y="576"/>
                  </a:lnTo>
                  <a:lnTo>
                    <a:pt x="2097" y="576"/>
                  </a:lnTo>
                  <a:lnTo>
                    <a:pt x="2097" y="576"/>
                  </a:lnTo>
                  <a:lnTo>
                    <a:pt x="2094" y="574"/>
                  </a:lnTo>
                  <a:lnTo>
                    <a:pt x="2094" y="574"/>
                  </a:lnTo>
                  <a:lnTo>
                    <a:pt x="2094" y="574"/>
                  </a:lnTo>
                  <a:lnTo>
                    <a:pt x="2094" y="574"/>
                  </a:lnTo>
                  <a:lnTo>
                    <a:pt x="2092" y="574"/>
                  </a:lnTo>
                  <a:lnTo>
                    <a:pt x="2092" y="574"/>
                  </a:lnTo>
                  <a:lnTo>
                    <a:pt x="2092" y="574"/>
                  </a:lnTo>
                  <a:lnTo>
                    <a:pt x="2092" y="572"/>
                  </a:lnTo>
                  <a:lnTo>
                    <a:pt x="2092" y="572"/>
                  </a:lnTo>
                  <a:lnTo>
                    <a:pt x="2090" y="572"/>
                  </a:lnTo>
                  <a:lnTo>
                    <a:pt x="2090" y="572"/>
                  </a:lnTo>
                  <a:lnTo>
                    <a:pt x="2090" y="572"/>
                  </a:lnTo>
                  <a:lnTo>
                    <a:pt x="2090" y="569"/>
                  </a:lnTo>
                  <a:lnTo>
                    <a:pt x="2090" y="569"/>
                  </a:lnTo>
                  <a:lnTo>
                    <a:pt x="2090" y="569"/>
                  </a:lnTo>
                  <a:lnTo>
                    <a:pt x="2090" y="569"/>
                  </a:lnTo>
                  <a:lnTo>
                    <a:pt x="2090" y="569"/>
                  </a:lnTo>
                  <a:lnTo>
                    <a:pt x="2088" y="569"/>
                  </a:lnTo>
                  <a:lnTo>
                    <a:pt x="2088" y="569"/>
                  </a:lnTo>
                  <a:lnTo>
                    <a:pt x="2090" y="567"/>
                  </a:lnTo>
                  <a:lnTo>
                    <a:pt x="2090" y="567"/>
                  </a:lnTo>
                  <a:lnTo>
                    <a:pt x="2090" y="567"/>
                  </a:lnTo>
                  <a:lnTo>
                    <a:pt x="2090" y="567"/>
                  </a:lnTo>
                  <a:lnTo>
                    <a:pt x="2092" y="567"/>
                  </a:lnTo>
                  <a:lnTo>
                    <a:pt x="2094" y="565"/>
                  </a:lnTo>
                  <a:lnTo>
                    <a:pt x="2094" y="565"/>
                  </a:lnTo>
                  <a:lnTo>
                    <a:pt x="2094" y="565"/>
                  </a:lnTo>
                  <a:lnTo>
                    <a:pt x="2094" y="567"/>
                  </a:lnTo>
                  <a:lnTo>
                    <a:pt x="2094" y="567"/>
                  </a:lnTo>
                  <a:lnTo>
                    <a:pt x="2094" y="567"/>
                  </a:lnTo>
                  <a:lnTo>
                    <a:pt x="2094" y="567"/>
                  </a:lnTo>
                  <a:lnTo>
                    <a:pt x="2094" y="567"/>
                  </a:lnTo>
                  <a:lnTo>
                    <a:pt x="2094" y="567"/>
                  </a:lnTo>
                  <a:lnTo>
                    <a:pt x="2094" y="567"/>
                  </a:lnTo>
                  <a:lnTo>
                    <a:pt x="2097" y="567"/>
                  </a:lnTo>
                  <a:lnTo>
                    <a:pt x="2097" y="567"/>
                  </a:lnTo>
                  <a:lnTo>
                    <a:pt x="2097" y="569"/>
                  </a:lnTo>
                  <a:lnTo>
                    <a:pt x="2097" y="569"/>
                  </a:lnTo>
                  <a:lnTo>
                    <a:pt x="2097" y="569"/>
                  </a:lnTo>
                  <a:lnTo>
                    <a:pt x="2099" y="569"/>
                  </a:lnTo>
                  <a:lnTo>
                    <a:pt x="2099" y="569"/>
                  </a:lnTo>
                  <a:lnTo>
                    <a:pt x="2099" y="569"/>
                  </a:lnTo>
                  <a:lnTo>
                    <a:pt x="2099" y="569"/>
                  </a:lnTo>
                  <a:lnTo>
                    <a:pt x="2099" y="569"/>
                  </a:lnTo>
                  <a:lnTo>
                    <a:pt x="2101" y="569"/>
                  </a:lnTo>
                  <a:lnTo>
                    <a:pt x="2101" y="567"/>
                  </a:lnTo>
                  <a:lnTo>
                    <a:pt x="2101" y="567"/>
                  </a:lnTo>
                  <a:lnTo>
                    <a:pt x="2099" y="567"/>
                  </a:lnTo>
                  <a:lnTo>
                    <a:pt x="2099" y="567"/>
                  </a:lnTo>
                  <a:lnTo>
                    <a:pt x="2101" y="565"/>
                  </a:lnTo>
                  <a:lnTo>
                    <a:pt x="2101" y="565"/>
                  </a:lnTo>
                  <a:lnTo>
                    <a:pt x="2101" y="565"/>
                  </a:lnTo>
                  <a:lnTo>
                    <a:pt x="2101" y="565"/>
                  </a:lnTo>
                  <a:lnTo>
                    <a:pt x="2101" y="565"/>
                  </a:lnTo>
                  <a:lnTo>
                    <a:pt x="2101" y="565"/>
                  </a:lnTo>
                  <a:lnTo>
                    <a:pt x="2099" y="565"/>
                  </a:lnTo>
                  <a:lnTo>
                    <a:pt x="2099" y="565"/>
                  </a:lnTo>
                  <a:lnTo>
                    <a:pt x="2099" y="565"/>
                  </a:lnTo>
                  <a:lnTo>
                    <a:pt x="2099" y="565"/>
                  </a:lnTo>
                  <a:lnTo>
                    <a:pt x="2099" y="565"/>
                  </a:lnTo>
                  <a:lnTo>
                    <a:pt x="2097" y="565"/>
                  </a:lnTo>
                  <a:lnTo>
                    <a:pt x="2097" y="565"/>
                  </a:lnTo>
                  <a:lnTo>
                    <a:pt x="2097" y="565"/>
                  </a:lnTo>
                  <a:lnTo>
                    <a:pt x="2097" y="565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4" y="563"/>
                  </a:lnTo>
                  <a:lnTo>
                    <a:pt x="2094" y="563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9" y="563"/>
                  </a:lnTo>
                  <a:lnTo>
                    <a:pt x="2099" y="563"/>
                  </a:lnTo>
                  <a:lnTo>
                    <a:pt x="2099" y="563"/>
                  </a:lnTo>
                  <a:lnTo>
                    <a:pt x="2099" y="563"/>
                  </a:lnTo>
                  <a:lnTo>
                    <a:pt x="2099" y="563"/>
                  </a:lnTo>
                  <a:lnTo>
                    <a:pt x="2099" y="560"/>
                  </a:lnTo>
                  <a:lnTo>
                    <a:pt x="2099" y="560"/>
                  </a:lnTo>
                  <a:lnTo>
                    <a:pt x="2099" y="560"/>
                  </a:lnTo>
                  <a:lnTo>
                    <a:pt x="2099" y="560"/>
                  </a:lnTo>
                  <a:lnTo>
                    <a:pt x="2099" y="560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58"/>
                  </a:lnTo>
                  <a:lnTo>
                    <a:pt x="2097" y="560"/>
                  </a:lnTo>
                  <a:lnTo>
                    <a:pt x="2097" y="560"/>
                  </a:lnTo>
                  <a:lnTo>
                    <a:pt x="2097" y="560"/>
                  </a:lnTo>
                  <a:lnTo>
                    <a:pt x="2097" y="563"/>
                  </a:lnTo>
                  <a:lnTo>
                    <a:pt x="2097" y="563"/>
                  </a:lnTo>
                  <a:lnTo>
                    <a:pt x="2097" y="560"/>
                  </a:lnTo>
                  <a:lnTo>
                    <a:pt x="2097" y="560"/>
                  </a:lnTo>
                  <a:lnTo>
                    <a:pt x="2097" y="560"/>
                  </a:lnTo>
                  <a:lnTo>
                    <a:pt x="2094" y="558"/>
                  </a:lnTo>
                  <a:lnTo>
                    <a:pt x="2094" y="558"/>
                  </a:lnTo>
                  <a:lnTo>
                    <a:pt x="2094" y="556"/>
                  </a:lnTo>
                  <a:lnTo>
                    <a:pt x="2092" y="556"/>
                  </a:lnTo>
                  <a:lnTo>
                    <a:pt x="2092" y="556"/>
                  </a:lnTo>
                  <a:lnTo>
                    <a:pt x="2090" y="554"/>
                  </a:lnTo>
                  <a:lnTo>
                    <a:pt x="2088" y="554"/>
                  </a:lnTo>
                  <a:lnTo>
                    <a:pt x="2085" y="551"/>
                  </a:lnTo>
                  <a:lnTo>
                    <a:pt x="2083" y="551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1" y="549"/>
                  </a:lnTo>
                  <a:lnTo>
                    <a:pt x="2081" y="549"/>
                  </a:lnTo>
                  <a:lnTo>
                    <a:pt x="2079" y="549"/>
                  </a:lnTo>
                  <a:lnTo>
                    <a:pt x="2079" y="547"/>
                  </a:lnTo>
                  <a:lnTo>
                    <a:pt x="2079" y="547"/>
                  </a:lnTo>
                  <a:lnTo>
                    <a:pt x="2081" y="549"/>
                  </a:lnTo>
                  <a:lnTo>
                    <a:pt x="2081" y="549"/>
                  </a:lnTo>
                  <a:lnTo>
                    <a:pt x="2081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5" y="549"/>
                  </a:lnTo>
                  <a:lnTo>
                    <a:pt x="2085" y="549"/>
                  </a:lnTo>
                  <a:lnTo>
                    <a:pt x="2083" y="549"/>
                  </a:lnTo>
                  <a:lnTo>
                    <a:pt x="2083" y="549"/>
                  </a:lnTo>
                  <a:lnTo>
                    <a:pt x="2085" y="549"/>
                  </a:lnTo>
                  <a:lnTo>
                    <a:pt x="2085" y="549"/>
                  </a:lnTo>
                  <a:lnTo>
                    <a:pt x="2085" y="549"/>
                  </a:lnTo>
                  <a:lnTo>
                    <a:pt x="2085" y="549"/>
                  </a:lnTo>
                  <a:lnTo>
                    <a:pt x="2085" y="549"/>
                  </a:lnTo>
                  <a:lnTo>
                    <a:pt x="2085" y="549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7"/>
                  </a:lnTo>
                  <a:lnTo>
                    <a:pt x="2083" y="545"/>
                  </a:lnTo>
                  <a:lnTo>
                    <a:pt x="2083" y="545"/>
                  </a:lnTo>
                  <a:lnTo>
                    <a:pt x="2083" y="545"/>
                  </a:lnTo>
                  <a:lnTo>
                    <a:pt x="2083" y="545"/>
                  </a:lnTo>
                  <a:lnTo>
                    <a:pt x="2083" y="545"/>
                  </a:lnTo>
                  <a:lnTo>
                    <a:pt x="2083" y="545"/>
                  </a:lnTo>
                  <a:lnTo>
                    <a:pt x="2085" y="545"/>
                  </a:lnTo>
                  <a:lnTo>
                    <a:pt x="2085" y="547"/>
                  </a:lnTo>
                  <a:lnTo>
                    <a:pt x="2085" y="547"/>
                  </a:lnTo>
                  <a:lnTo>
                    <a:pt x="2085" y="547"/>
                  </a:lnTo>
                  <a:lnTo>
                    <a:pt x="2085" y="547"/>
                  </a:lnTo>
                  <a:lnTo>
                    <a:pt x="2088" y="547"/>
                  </a:lnTo>
                  <a:lnTo>
                    <a:pt x="2088" y="547"/>
                  </a:lnTo>
                  <a:lnTo>
                    <a:pt x="2088" y="549"/>
                  </a:lnTo>
                  <a:close/>
                  <a:moveTo>
                    <a:pt x="1998" y="545"/>
                  </a:moveTo>
                  <a:lnTo>
                    <a:pt x="1998" y="547"/>
                  </a:lnTo>
                  <a:lnTo>
                    <a:pt x="1998" y="547"/>
                  </a:lnTo>
                  <a:lnTo>
                    <a:pt x="1998" y="547"/>
                  </a:lnTo>
                  <a:lnTo>
                    <a:pt x="1995" y="547"/>
                  </a:lnTo>
                  <a:lnTo>
                    <a:pt x="1995" y="547"/>
                  </a:lnTo>
                  <a:lnTo>
                    <a:pt x="1995" y="547"/>
                  </a:lnTo>
                  <a:lnTo>
                    <a:pt x="1995" y="547"/>
                  </a:lnTo>
                  <a:lnTo>
                    <a:pt x="1995" y="547"/>
                  </a:lnTo>
                  <a:lnTo>
                    <a:pt x="1995" y="547"/>
                  </a:lnTo>
                  <a:lnTo>
                    <a:pt x="1998" y="545"/>
                  </a:lnTo>
                  <a:lnTo>
                    <a:pt x="1998" y="545"/>
                  </a:lnTo>
                  <a:lnTo>
                    <a:pt x="1995" y="545"/>
                  </a:lnTo>
                  <a:lnTo>
                    <a:pt x="1995" y="545"/>
                  </a:lnTo>
                  <a:lnTo>
                    <a:pt x="1995" y="542"/>
                  </a:lnTo>
                  <a:lnTo>
                    <a:pt x="1998" y="542"/>
                  </a:lnTo>
                  <a:lnTo>
                    <a:pt x="1998" y="542"/>
                  </a:lnTo>
                  <a:lnTo>
                    <a:pt x="1998" y="545"/>
                  </a:lnTo>
                  <a:lnTo>
                    <a:pt x="1998" y="545"/>
                  </a:lnTo>
                  <a:lnTo>
                    <a:pt x="1998" y="545"/>
                  </a:lnTo>
                  <a:lnTo>
                    <a:pt x="1998" y="545"/>
                  </a:lnTo>
                  <a:lnTo>
                    <a:pt x="1998" y="545"/>
                  </a:lnTo>
                  <a:lnTo>
                    <a:pt x="1998" y="545"/>
                  </a:lnTo>
                  <a:lnTo>
                    <a:pt x="1998" y="545"/>
                  </a:lnTo>
                  <a:close/>
                  <a:moveTo>
                    <a:pt x="1993" y="545"/>
                  </a:moveTo>
                  <a:lnTo>
                    <a:pt x="1995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7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1" y="545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1" y="542"/>
                  </a:lnTo>
                  <a:lnTo>
                    <a:pt x="1993" y="542"/>
                  </a:lnTo>
                  <a:lnTo>
                    <a:pt x="1993" y="542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lnTo>
                    <a:pt x="1993" y="545"/>
                  </a:lnTo>
                  <a:close/>
                  <a:moveTo>
                    <a:pt x="1973" y="531"/>
                  </a:moveTo>
                  <a:lnTo>
                    <a:pt x="1973" y="531"/>
                  </a:lnTo>
                  <a:lnTo>
                    <a:pt x="1973" y="531"/>
                  </a:lnTo>
                  <a:lnTo>
                    <a:pt x="1973" y="531"/>
                  </a:lnTo>
                  <a:lnTo>
                    <a:pt x="1973" y="531"/>
                  </a:lnTo>
                  <a:lnTo>
                    <a:pt x="1973" y="533"/>
                  </a:lnTo>
                  <a:lnTo>
                    <a:pt x="1973" y="533"/>
                  </a:lnTo>
                  <a:lnTo>
                    <a:pt x="1973" y="533"/>
                  </a:lnTo>
                  <a:lnTo>
                    <a:pt x="1973" y="533"/>
                  </a:lnTo>
                  <a:lnTo>
                    <a:pt x="1973" y="533"/>
                  </a:lnTo>
                  <a:lnTo>
                    <a:pt x="1973" y="533"/>
                  </a:lnTo>
                  <a:lnTo>
                    <a:pt x="1971" y="533"/>
                  </a:lnTo>
                  <a:lnTo>
                    <a:pt x="1971" y="533"/>
                  </a:lnTo>
                  <a:lnTo>
                    <a:pt x="1971" y="533"/>
                  </a:lnTo>
                  <a:lnTo>
                    <a:pt x="1971" y="533"/>
                  </a:lnTo>
                  <a:lnTo>
                    <a:pt x="1971" y="533"/>
                  </a:lnTo>
                  <a:lnTo>
                    <a:pt x="1971" y="533"/>
                  </a:lnTo>
                  <a:lnTo>
                    <a:pt x="1971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3"/>
                  </a:lnTo>
                  <a:lnTo>
                    <a:pt x="1968" y="536"/>
                  </a:lnTo>
                  <a:lnTo>
                    <a:pt x="1968" y="536"/>
                  </a:lnTo>
                  <a:lnTo>
                    <a:pt x="1968" y="536"/>
                  </a:lnTo>
                  <a:lnTo>
                    <a:pt x="1968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3"/>
                  </a:lnTo>
                  <a:lnTo>
                    <a:pt x="1966" y="531"/>
                  </a:lnTo>
                  <a:lnTo>
                    <a:pt x="1966" y="531"/>
                  </a:lnTo>
                  <a:lnTo>
                    <a:pt x="1968" y="531"/>
                  </a:lnTo>
                  <a:lnTo>
                    <a:pt x="1968" y="531"/>
                  </a:lnTo>
                  <a:lnTo>
                    <a:pt x="1968" y="531"/>
                  </a:lnTo>
                  <a:lnTo>
                    <a:pt x="1971" y="529"/>
                  </a:lnTo>
                  <a:lnTo>
                    <a:pt x="1971" y="531"/>
                  </a:lnTo>
                  <a:lnTo>
                    <a:pt x="1971" y="529"/>
                  </a:lnTo>
                  <a:lnTo>
                    <a:pt x="1971" y="529"/>
                  </a:lnTo>
                  <a:lnTo>
                    <a:pt x="1971" y="529"/>
                  </a:lnTo>
                  <a:lnTo>
                    <a:pt x="1971" y="529"/>
                  </a:lnTo>
                  <a:lnTo>
                    <a:pt x="1973" y="529"/>
                  </a:lnTo>
                  <a:lnTo>
                    <a:pt x="1973" y="531"/>
                  </a:lnTo>
                  <a:close/>
                  <a:moveTo>
                    <a:pt x="1982" y="529"/>
                  </a:moveTo>
                  <a:lnTo>
                    <a:pt x="1984" y="529"/>
                  </a:lnTo>
                  <a:lnTo>
                    <a:pt x="1984" y="529"/>
                  </a:lnTo>
                  <a:lnTo>
                    <a:pt x="1984" y="529"/>
                  </a:lnTo>
                  <a:lnTo>
                    <a:pt x="1984" y="529"/>
                  </a:lnTo>
                  <a:lnTo>
                    <a:pt x="1984" y="529"/>
                  </a:lnTo>
                  <a:lnTo>
                    <a:pt x="1984" y="529"/>
                  </a:lnTo>
                  <a:lnTo>
                    <a:pt x="1986" y="529"/>
                  </a:lnTo>
                  <a:lnTo>
                    <a:pt x="1986" y="529"/>
                  </a:lnTo>
                  <a:lnTo>
                    <a:pt x="1986" y="529"/>
                  </a:lnTo>
                  <a:lnTo>
                    <a:pt x="1986" y="531"/>
                  </a:lnTo>
                  <a:lnTo>
                    <a:pt x="1986" y="531"/>
                  </a:lnTo>
                  <a:lnTo>
                    <a:pt x="1986" y="531"/>
                  </a:lnTo>
                  <a:lnTo>
                    <a:pt x="1989" y="531"/>
                  </a:lnTo>
                  <a:lnTo>
                    <a:pt x="1989" y="531"/>
                  </a:lnTo>
                  <a:lnTo>
                    <a:pt x="1989" y="531"/>
                  </a:lnTo>
                  <a:lnTo>
                    <a:pt x="1991" y="531"/>
                  </a:lnTo>
                  <a:lnTo>
                    <a:pt x="1991" y="531"/>
                  </a:lnTo>
                  <a:lnTo>
                    <a:pt x="1991" y="531"/>
                  </a:lnTo>
                  <a:lnTo>
                    <a:pt x="1991" y="531"/>
                  </a:lnTo>
                  <a:lnTo>
                    <a:pt x="1991" y="531"/>
                  </a:lnTo>
                  <a:lnTo>
                    <a:pt x="1991" y="533"/>
                  </a:lnTo>
                  <a:lnTo>
                    <a:pt x="1991" y="533"/>
                  </a:lnTo>
                  <a:lnTo>
                    <a:pt x="1991" y="533"/>
                  </a:lnTo>
                  <a:lnTo>
                    <a:pt x="1991" y="533"/>
                  </a:lnTo>
                  <a:lnTo>
                    <a:pt x="1991" y="533"/>
                  </a:lnTo>
                  <a:lnTo>
                    <a:pt x="1991" y="536"/>
                  </a:lnTo>
                  <a:lnTo>
                    <a:pt x="1991" y="536"/>
                  </a:lnTo>
                  <a:lnTo>
                    <a:pt x="1991" y="536"/>
                  </a:lnTo>
                  <a:lnTo>
                    <a:pt x="1991" y="536"/>
                  </a:lnTo>
                  <a:lnTo>
                    <a:pt x="1991" y="536"/>
                  </a:lnTo>
                  <a:lnTo>
                    <a:pt x="1993" y="536"/>
                  </a:lnTo>
                  <a:lnTo>
                    <a:pt x="1993" y="538"/>
                  </a:lnTo>
                  <a:lnTo>
                    <a:pt x="1991" y="538"/>
                  </a:lnTo>
                  <a:lnTo>
                    <a:pt x="1991" y="538"/>
                  </a:lnTo>
                  <a:lnTo>
                    <a:pt x="1991" y="538"/>
                  </a:lnTo>
                  <a:lnTo>
                    <a:pt x="1991" y="538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91" y="540"/>
                  </a:lnTo>
                  <a:lnTo>
                    <a:pt x="1989" y="540"/>
                  </a:lnTo>
                  <a:lnTo>
                    <a:pt x="1989" y="540"/>
                  </a:lnTo>
                  <a:lnTo>
                    <a:pt x="1986" y="538"/>
                  </a:lnTo>
                  <a:lnTo>
                    <a:pt x="1986" y="538"/>
                  </a:lnTo>
                  <a:lnTo>
                    <a:pt x="1986" y="538"/>
                  </a:lnTo>
                  <a:lnTo>
                    <a:pt x="1984" y="538"/>
                  </a:lnTo>
                  <a:lnTo>
                    <a:pt x="1984" y="538"/>
                  </a:lnTo>
                  <a:lnTo>
                    <a:pt x="1984" y="536"/>
                  </a:lnTo>
                  <a:lnTo>
                    <a:pt x="1984" y="536"/>
                  </a:lnTo>
                  <a:lnTo>
                    <a:pt x="1982" y="536"/>
                  </a:lnTo>
                  <a:lnTo>
                    <a:pt x="1982" y="536"/>
                  </a:lnTo>
                  <a:lnTo>
                    <a:pt x="1982" y="536"/>
                  </a:lnTo>
                  <a:lnTo>
                    <a:pt x="1982" y="536"/>
                  </a:lnTo>
                  <a:lnTo>
                    <a:pt x="1980" y="538"/>
                  </a:lnTo>
                  <a:lnTo>
                    <a:pt x="1980" y="538"/>
                  </a:lnTo>
                  <a:lnTo>
                    <a:pt x="1980" y="538"/>
                  </a:lnTo>
                  <a:lnTo>
                    <a:pt x="1980" y="536"/>
                  </a:lnTo>
                  <a:lnTo>
                    <a:pt x="1980" y="536"/>
                  </a:lnTo>
                  <a:lnTo>
                    <a:pt x="1980" y="536"/>
                  </a:lnTo>
                  <a:lnTo>
                    <a:pt x="1977" y="536"/>
                  </a:lnTo>
                  <a:lnTo>
                    <a:pt x="1977" y="536"/>
                  </a:lnTo>
                  <a:lnTo>
                    <a:pt x="1977" y="533"/>
                  </a:lnTo>
                  <a:lnTo>
                    <a:pt x="1977" y="533"/>
                  </a:lnTo>
                  <a:lnTo>
                    <a:pt x="1977" y="533"/>
                  </a:lnTo>
                  <a:lnTo>
                    <a:pt x="1977" y="533"/>
                  </a:lnTo>
                  <a:lnTo>
                    <a:pt x="1977" y="533"/>
                  </a:lnTo>
                  <a:lnTo>
                    <a:pt x="1977" y="531"/>
                  </a:lnTo>
                  <a:lnTo>
                    <a:pt x="1977" y="531"/>
                  </a:lnTo>
                  <a:lnTo>
                    <a:pt x="1977" y="531"/>
                  </a:lnTo>
                  <a:lnTo>
                    <a:pt x="1977" y="531"/>
                  </a:lnTo>
                  <a:lnTo>
                    <a:pt x="1977" y="531"/>
                  </a:lnTo>
                  <a:lnTo>
                    <a:pt x="1977" y="531"/>
                  </a:lnTo>
                  <a:lnTo>
                    <a:pt x="1977" y="529"/>
                  </a:lnTo>
                  <a:lnTo>
                    <a:pt x="1977" y="529"/>
                  </a:lnTo>
                  <a:lnTo>
                    <a:pt x="1977" y="529"/>
                  </a:lnTo>
                  <a:lnTo>
                    <a:pt x="1977" y="529"/>
                  </a:lnTo>
                  <a:lnTo>
                    <a:pt x="1977" y="529"/>
                  </a:lnTo>
                  <a:lnTo>
                    <a:pt x="1977" y="527"/>
                  </a:lnTo>
                  <a:lnTo>
                    <a:pt x="1977" y="529"/>
                  </a:lnTo>
                  <a:lnTo>
                    <a:pt x="1980" y="529"/>
                  </a:lnTo>
                  <a:lnTo>
                    <a:pt x="1980" y="529"/>
                  </a:lnTo>
                  <a:lnTo>
                    <a:pt x="1980" y="529"/>
                  </a:lnTo>
                  <a:lnTo>
                    <a:pt x="1982" y="529"/>
                  </a:lnTo>
                  <a:lnTo>
                    <a:pt x="1982" y="529"/>
                  </a:lnTo>
                  <a:lnTo>
                    <a:pt x="1982" y="529"/>
                  </a:lnTo>
                  <a:close/>
                  <a:moveTo>
                    <a:pt x="2117" y="443"/>
                  </a:moveTo>
                  <a:lnTo>
                    <a:pt x="2117" y="443"/>
                  </a:lnTo>
                  <a:lnTo>
                    <a:pt x="2115" y="443"/>
                  </a:lnTo>
                  <a:lnTo>
                    <a:pt x="2115" y="443"/>
                  </a:lnTo>
                  <a:lnTo>
                    <a:pt x="2115" y="441"/>
                  </a:lnTo>
                  <a:lnTo>
                    <a:pt x="2115" y="441"/>
                  </a:lnTo>
                  <a:lnTo>
                    <a:pt x="2115" y="441"/>
                  </a:lnTo>
                  <a:lnTo>
                    <a:pt x="2115" y="441"/>
                  </a:lnTo>
                  <a:lnTo>
                    <a:pt x="2117" y="441"/>
                  </a:lnTo>
                  <a:lnTo>
                    <a:pt x="2117" y="441"/>
                  </a:lnTo>
                  <a:lnTo>
                    <a:pt x="2117" y="441"/>
                  </a:lnTo>
                  <a:lnTo>
                    <a:pt x="2117" y="441"/>
                  </a:lnTo>
                  <a:lnTo>
                    <a:pt x="2117" y="441"/>
                  </a:lnTo>
                  <a:lnTo>
                    <a:pt x="2115" y="439"/>
                  </a:lnTo>
                  <a:lnTo>
                    <a:pt x="2117" y="439"/>
                  </a:lnTo>
                  <a:lnTo>
                    <a:pt x="2117" y="441"/>
                  </a:lnTo>
                  <a:lnTo>
                    <a:pt x="2117" y="441"/>
                  </a:lnTo>
                  <a:lnTo>
                    <a:pt x="2119" y="441"/>
                  </a:lnTo>
                  <a:lnTo>
                    <a:pt x="2119" y="441"/>
                  </a:lnTo>
                  <a:lnTo>
                    <a:pt x="2119" y="441"/>
                  </a:lnTo>
                  <a:lnTo>
                    <a:pt x="2119" y="441"/>
                  </a:lnTo>
                  <a:lnTo>
                    <a:pt x="2119" y="441"/>
                  </a:lnTo>
                  <a:lnTo>
                    <a:pt x="2119" y="443"/>
                  </a:lnTo>
                  <a:lnTo>
                    <a:pt x="2119" y="443"/>
                  </a:lnTo>
                  <a:lnTo>
                    <a:pt x="2117" y="443"/>
                  </a:lnTo>
                  <a:close/>
                  <a:moveTo>
                    <a:pt x="2350" y="439"/>
                  </a:moveTo>
                  <a:lnTo>
                    <a:pt x="2350" y="439"/>
                  </a:lnTo>
                  <a:lnTo>
                    <a:pt x="2350" y="439"/>
                  </a:lnTo>
                  <a:lnTo>
                    <a:pt x="2350" y="439"/>
                  </a:lnTo>
                  <a:lnTo>
                    <a:pt x="2350" y="439"/>
                  </a:lnTo>
                  <a:lnTo>
                    <a:pt x="2350" y="439"/>
                  </a:lnTo>
                  <a:lnTo>
                    <a:pt x="2353" y="439"/>
                  </a:lnTo>
                  <a:lnTo>
                    <a:pt x="2353" y="441"/>
                  </a:lnTo>
                  <a:lnTo>
                    <a:pt x="2353" y="441"/>
                  </a:lnTo>
                  <a:lnTo>
                    <a:pt x="2355" y="441"/>
                  </a:lnTo>
                  <a:lnTo>
                    <a:pt x="2355" y="441"/>
                  </a:lnTo>
                  <a:lnTo>
                    <a:pt x="2357" y="441"/>
                  </a:lnTo>
                  <a:lnTo>
                    <a:pt x="2357" y="443"/>
                  </a:lnTo>
                  <a:lnTo>
                    <a:pt x="2357" y="443"/>
                  </a:lnTo>
                  <a:lnTo>
                    <a:pt x="2357" y="443"/>
                  </a:lnTo>
                  <a:lnTo>
                    <a:pt x="2357" y="443"/>
                  </a:lnTo>
                  <a:lnTo>
                    <a:pt x="2357" y="443"/>
                  </a:lnTo>
                  <a:lnTo>
                    <a:pt x="2359" y="446"/>
                  </a:lnTo>
                  <a:lnTo>
                    <a:pt x="2359" y="446"/>
                  </a:lnTo>
                  <a:lnTo>
                    <a:pt x="2359" y="446"/>
                  </a:lnTo>
                  <a:lnTo>
                    <a:pt x="2359" y="446"/>
                  </a:lnTo>
                  <a:lnTo>
                    <a:pt x="2359" y="446"/>
                  </a:lnTo>
                  <a:lnTo>
                    <a:pt x="2359" y="446"/>
                  </a:lnTo>
                  <a:lnTo>
                    <a:pt x="2357" y="446"/>
                  </a:lnTo>
                  <a:lnTo>
                    <a:pt x="2355" y="446"/>
                  </a:lnTo>
                  <a:lnTo>
                    <a:pt x="2355" y="446"/>
                  </a:lnTo>
                  <a:lnTo>
                    <a:pt x="2355" y="446"/>
                  </a:lnTo>
                  <a:lnTo>
                    <a:pt x="2355" y="446"/>
                  </a:lnTo>
                  <a:lnTo>
                    <a:pt x="2355" y="448"/>
                  </a:lnTo>
                  <a:lnTo>
                    <a:pt x="2355" y="448"/>
                  </a:lnTo>
                  <a:lnTo>
                    <a:pt x="2355" y="448"/>
                  </a:lnTo>
                  <a:lnTo>
                    <a:pt x="2355" y="448"/>
                  </a:lnTo>
                  <a:lnTo>
                    <a:pt x="2355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3" y="448"/>
                  </a:lnTo>
                  <a:lnTo>
                    <a:pt x="2350" y="448"/>
                  </a:lnTo>
                  <a:lnTo>
                    <a:pt x="2350" y="448"/>
                  </a:lnTo>
                  <a:lnTo>
                    <a:pt x="2350" y="450"/>
                  </a:lnTo>
                  <a:lnTo>
                    <a:pt x="2350" y="450"/>
                  </a:lnTo>
                  <a:lnTo>
                    <a:pt x="2350" y="450"/>
                  </a:lnTo>
                  <a:lnTo>
                    <a:pt x="2350" y="450"/>
                  </a:lnTo>
                  <a:lnTo>
                    <a:pt x="2350" y="450"/>
                  </a:lnTo>
                  <a:lnTo>
                    <a:pt x="2350" y="450"/>
                  </a:lnTo>
                  <a:lnTo>
                    <a:pt x="2348" y="452"/>
                  </a:lnTo>
                  <a:lnTo>
                    <a:pt x="2350" y="455"/>
                  </a:lnTo>
                  <a:lnTo>
                    <a:pt x="2350" y="455"/>
                  </a:lnTo>
                  <a:lnTo>
                    <a:pt x="2350" y="455"/>
                  </a:lnTo>
                  <a:lnTo>
                    <a:pt x="2350" y="455"/>
                  </a:lnTo>
                  <a:lnTo>
                    <a:pt x="2348" y="455"/>
                  </a:lnTo>
                  <a:lnTo>
                    <a:pt x="2348" y="452"/>
                  </a:lnTo>
                  <a:lnTo>
                    <a:pt x="2346" y="452"/>
                  </a:lnTo>
                  <a:lnTo>
                    <a:pt x="2346" y="452"/>
                  </a:lnTo>
                  <a:lnTo>
                    <a:pt x="2348" y="452"/>
                  </a:lnTo>
                  <a:lnTo>
                    <a:pt x="2348" y="452"/>
                  </a:lnTo>
                  <a:lnTo>
                    <a:pt x="2348" y="450"/>
                  </a:lnTo>
                  <a:lnTo>
                    <a:pt x="2346" y="450"/>
                  </a:lnTo>
                  <a:lnTo>
                    <a:pt x="2346" y="450"/>
                  </a:lnTo>
                  <a:lnTo>
                    <a:pt x="2346" y="448"/>
                  </a:lnTo>
                  <a:lnTo>
                    <a:pt x="2346" y="448"/>
                  </a:lnTo>
                  <a:lnTo>
                    <a:pt x="2346" y="448"/>
                  </a:lnTo>
                  <a:lnTo>
                    <a:pt x="2346" y="448"/>
                  </a:lnTo>
                  <a:lnTo>
                    <a:pt x="2346" y="446"/>
                  </a:lnTo>
                  <a:lnTo>
                    <a:pt x="2344" y="446"/>
                  </a:lnTo>
                  <a:lnTo>
                    <a:pt x="2344" y="446"/>
                  </a:lnTo>
                  <a:lnTo>
                    <a:pt x="2344" y="446"/>
                  </a:lnTo>
                  <a:lnTo>
                    <a:pt x="2344" y="443"/>
                  </a:lnTo>
                  <a:lnTo>
                    <a:pt x="2344" y="443"/>
                  </a:lnTo>
                  <a:lnTo>
                    <a:pt x="2344" y="443"/>
                  </a:lnTo>
                  <a:lnTo>
                    <a:pt x="2344" y="443"/>
                  </a:lnTo>
                  <a:lnTo>
                    <a:pt x="2344" y="443"/>
                  </a:lnTo>
                  <a:lnTo>
                    <a:pt x="2341" y="443"/>
                  </a:lnTo>
                  <a:lnTo>
                    <a:pt x="2341" y="443"/>
                  </a:lnTo>
                  <a:lnTo>
                    <a:pt x="2341" y="443"/>
                  </a:lnTo>
                  <a:lnTo>
                    <a:pt x="2341" y="443"/>
                  </a:lnTo>
                  <a:lnTo>
                    <a:pt x="2339" y="443"/>
                  </a:lnTo>
                  <a:lnTo>
                    <a:pt x="2339" y="443"/>
                  </a:lnTo>
                  <a:lnTo>
                    <a:pt x="2339" y="443"/>
                  </a:lnTo>
                  <a:lnTo>
                    <a:pt x="2339" y="443"/>
                  </a:lnTo>
                  <a:lnTo>
                    <a:pt x="2341" y="443"/>
                  </a:lnTo>
                  <a:lnTo>
                    <a:pt x="2344" y="443"/>
                  </a:lnTo>
                  <a:lnTo>
                    <a:pt x="2348" y="441"/>
                  </a:lnTo>
                  <a:lnTo>
                    <a:pt x="2348" y="441"/>
                  </a:lnTo>
                  <a:lnTo>
                    <a:pt x="2348" y="439"/>
                  </a:lnTo>
                  <a:lnTo>
                    <a:pt x="2348" y="439"/>
                  </a:lnTo>
                  <a:lnTo>
                    <a:pt x="2348" y="439"/>
                  </a:lnTo>
                  <a:lnTo>
                    <a:pt x="2348" y="439"/>
                  </a:lnTo>
                  <a:lnTo>
                    <a:pt x="2348" y="439"/>
                  </a:lnTo>
                  <a:lnTo>
                    <a:pt x="2350" y="439"/>
                  </a:lnTo>
                  <a:lnTo>
                    <a:pt x="2350" y="439"/>
                  </a:lnTo>
                  <a:close/>
                  <a:moveTo>
                    <a:pt x="45" y="407"/>
                  </a:moveTo>
                  <a:lnTo>
                    <a:pt x="45" y="410"/>
                  </a:lnTo>
                  <a:lnTo>
                    <a:pt x="43" y="410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close/>
                  <a:moveTo>
                    <a:pt x="146" y="329"/>
                  </a:moveTo>
                  <a:lnTo>
                    <a:pt x="144" y="329"/>
                  </a:lnTo>
                  <a:lnTo>
                    <a:pt x="144" y="329"/>
                  </a:lnTo>
                  <a:lnTo>
                    <a:pt x="144" y="327"/>
                  </a:lnTo>
                  <a:lnTo>
                    <a:pt x="144" y="327"/>
                  </a:lnTo>
                  <a:lnTo>
                    <a:pt x="142" y="327"/>
                  </a:lnTo>
                  <a:lnTo>
                    <a:pt x="142" y="327"/>
                  </a:lnTo>
                  <a:lnTo>
                    <a:pt x="144" y="327"/>
                  </a:lnTo>
                  <a:lnTo>
                    <a:pt x="144" y="327"/>
                  </a:lnTo>
                  <a:lnTo>
                    <a:pt x="144" y="327"/>
                  </a:lnTo>
                  <a:lnTo>
                    <a:pt x="144" y="327"/>
                  </a:lnTo>
                  <a:lnTo>
                    <a:pt x="146" y="327"/>
                  </a:lnTo>
                  <a:lnTo>
                    <a:pt x="146" y="329"/>
                  </a:lnTo>
                  <a:lnTo>
                    <a:pt x="146" y="329"/>
                  </a:lnTo>
                  <a:lnTo>
                    <a:pt x="146" y="329"/>
                  </a:lnTo>
                  <a:close/>
                  <a:moveTo>
                    <a:pt x="209" y="320"/>
                  </a:moveTo>
                  <a:lnTo>
                    <a:pt x="209" y="320"/>
                  </a:lnTo>
                  <a:lnTo>
                    <a:pt x="209" y="320"/>
                  </a:lnTo>
                  <a:lnTo>
                    <a:pt x="212" y="320"/>
                  </a:lnTo>
                  <a:lnTo>
                    <a:pt x="212" y="320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4" y="322"/>
                  </a:lnTo>
                  <a:lnTo>
                    <a:pt x="214" y="322"/>
                  </a:lnTo>
                  <a:lnTo>
                    <a:pt x="214" y="322"/>
                  </a:lnTo>
                  <a:lnTo>
                    <a:pt x="216" y="322"/>
                  </a:lnTo>
                  <a:lnTo>
                    <a:pt x="216" y="322"/>
                  </a:lnTo>
                  <a:lnTo>
                    <a:pt x="216" y="322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4" y="324"/>
                  </a:lnTo>
                  <a:lnTo>
                    <a:pt x="212" y="324"/>
                  </a:lnTo>
                  <a:lnTo>
                    <a:pt x="212" y="322"/>
                  </a:lnTo>
                  <a:lnTo>
                    <a:pt x="209" y="322"/>
                  </a:lnTo>
                  <a:lnTo>
                    <a:pt x="209" y="322"/>
                  </a:lnTo>
                  <a:lnTo>
                    <a:pt x="209" y="322"/>
                  </a:lnTo>
                  <a:lnTo>
                    <a:pt x="209" y="322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0"/>
                  </a:lnTo>
                  <a:lnTo>
                    <a:pt x="205" y="320"/>
                  </a:lnTo>
                  <a:lnTo>
                    <a:pt x="207" y="320"/>
                  </a:lnTo>
                  <a:lnTo>
                    <a:pt x="207" y="320"/>
                  </a:lnTo>
                  <a:lnTo>
                    <a:pt x="207" y="320"/>
                  </a:lnTo>
                  <a:lnTo>
                    <a:pt x="209" y="320"/>
                  </a:lnTo>
                  <a:close/>
                  <a:moveTo>
                    <a:pt x="214" y="322"/>
                  </a:moveTo>
                  <a:lnTo>
                    <a:pt x="214" y="322"/>
                  </a:lnTo>
                  <a:lnTo>
                    <a:pt x="214" y="322"/>
                  </a:lnTo>
                  <a:lnTo>
                    <a:pt x="214" y="322"/>
                  </a:lnTo>
                  <a:lnTo>
                    <a:pt x="212" y="322"/>
                  </a:lnTo>
                  <a:lnTo>
                    <a:pt x="212" y="320"/>
                  </a:lnTo>
                  <a:lnTo>
                    <a:pt x="212" y="320"/>
                  </a:lnTo>
                  <a:lnTo>
                    <a:pt x="209" y="320"/>
                  </a:lnTo>
                  <a:lnTo>
                    <a:pt x="209" y="320"/>
                  </a:lnTo>
                  <a:lnTo>
                    <a:pt x="209" y="320"/>
                  </a:lnTo>
                  <a:lnTo>
                    <a:pt x="207" y="320"/>
                  </a:lnTo>
                  <a:lnTo>
                    <a:pt x="207" y="320"/>
                  </a:lnTo>
                  <a:lnTo>
                    <a:pt x="209" y="320"/>
                  </a:lnTo>
                  <a:lnTo>
                    <a:pt x="212" y="320"/>
                  </a:lnTo>
                  <a:lnTo>
                    <a:pt x="212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2"/>
                  </a:lnTo>
                  <a:lnTo>
                    <a:pt x="214" y="322"/>
                  </a:lnTo>
                  <a:lnTo>
                    <a:pt x="214" y="322"/>
                  </a:lnTo>
                  <a:lnTo>
                    <a:pt x="214" y="322"/>
                  </a:lnTo>
                  <a:close/>
                  <a:moveTo>
                    <a:pt x="140" y="313"/>
                  </a:move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0" y="313"/>
                  </a:lnTo>
                  <a:close/>
                  <a:moveTo>
                    <a:pt x="140" y="311"/>
                  </a:move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4" y="311"/>
                  </a:lnTo>
                  <a:lnTo>
                    <a:pt x="144" y="311"/>
                  </a:lnTo>
                  <a:lnTo>
                    <a:pt x="144" y="311"/>
                  </a:lnTo>
                  <a:lnTo>
                    <a:pt x="144" y="311"/>
                  </a:lnTo>
                  <a:lnTo>
                    <a:pt x="144" y="311"/>
                  </a:lnTo>
                  <a:lnTo>
                    <a:pt x="144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close/>
                  <a:moveTo>
                    <a:pt x="137" y="311"/>
                  </a:move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3"/>
                  </a:lnTo>
                  <a:lnTo>
                    <a:pt x="140" y="315"/>
                  </a:lnTo>
                  <a:lnTo>
                    <a:pt x="140" y="315"/>
                  </a:lnTo>
                  <a:lnTo>
                    <a:pt x="140" y="315"/>
                  </a:lnTo>
                  <a:lnTo>
                    <a:pt x="140" y="315"/>
                  </a:lnTo>
                  <a:lnTo>
                    <a:pt x="140" y="315"/>
                  </a:lnTo>
                  <a:lnTo>
                    <a:pt x="140" y="315"/>
                  </a:lnTo>
                  <a:lnTo>
                    <a:pt x="137" y="315"/>
                  </a:lnTo>
                  <a:lnTo>
                    <a:pt x="137" y="315"/>
                  </a:lnTo>
                  <a:lnTo>
                    <a:pt x="137" y="315"/>
                  </a:lnTo>
                  <a:lnTo>
                    <a:pt x="137" y="315"/>
                  </a:lnTo>
                  <a:lnTo>
                    <a:pt x="137" y="315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7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5" y="313"/>
                  </a:lnTo>
                  <a:lnTo>
                    <a:pt x="133" y="313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5" y="311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5" y="311"/>
                  </a:lnTo>
                  <a:lnTo>
                    <a:pt x="137" y="311"/>
                  </a:lnTo>
                  <a:lnTo>
                    <a:pt x="137" y="311"/>
                  </a:lnTo>
                  <a:lnTo>
                    <a:pt x="137" y="311"/>
                  </a:lnTo>
                  <a:lnTo>
                    <a:pt x="137" y="311"/>
                  </a:lnTo>
                  <a:close/>
                  <a:moveTo>
                    <a:pt x="236" y="279"/>
                  </a:moveTo>
                  <a:lnTo>
                    <a:pt x="236" y="279"/>
                  </a:lnTo>
                  <a:lnTo>
                    <a:pt x="236" y="279"/>
                  </a:lnTo>
                  <a:lnTo>
                    <a:pt x="232" y="279"/>
                  </a:lnTo>
                  <a:lnTo>
                    <a:pt x="232" y="277"/>
                  </a:lnTo>
                  <a:lnTo>
                    <a:pt x="232" y="277"/>
                  </a:lnTo>
                  <a:lnTo>
                    <a:pt x="232" y="277"/>
                  </a:lnTo>
                  <a:lnTo>
                    <a:pt x="234" y="277"/>
                  </a:lnTo>
                  <a:lnTo>
                    <a:pt x="234" y="277"/>
                  </a:lnTo>
                  <a:lnTo>
                    <a:pt x="234" y="277"/>
                  </a:lnTo>
                  <a:lnTo>
                    <a:pt x="236" y="279"/>
                  </a:lnTo>
                  <a:lnTo>
                    <a:pt x="236" y="279"/>
                  </a:lnTo>
                  <a:lnTo>
                    <a:pt x="236" y="279"/>
                  </a:lnTo>
                  <a:lnTo>
                    <a:pt x="236" y="279"/>
                  </a:lnTo>
                  <a:lnTo>
                    <a:pt x="236" y="279"/>
                  </a:lnTo>
                  <a:lnTo>
                    <a:pt x="236" y="279"/>
                  </a:lnTo>
                  <a:lnTo>
                    <a:pt x="236" y="279"/>
                  </a:lnTo>
                  <a:close/>
                  <a:moveTo>
                    <a:pt x="652" y="277"/>
                  </a:moveTo>
                  <a:lnTo>
                    <a:pt x="652" y="277"/>
                  </a:lnTo>
                  <a:lnTo>
                    <a:pt x="654" y="277"/>
                  </a:lnTo>
                  <a:lnTo>
                    <a:pt x="654" y="277"/>
                  </a:lnTo>
                  <a:lnTo>
                    <a:pt x="656" y="277"/>
                  </a:lnTo>
                  <a:lnTo>
                    <a:pt x="656" y="279"/>
                  </a:lnTo>
                  <a:lnTo>
                    <a:pt x="656" y="279"/>
                  </a:lnTo>
                  <a:lnTo>
                    <a:pt x="659" y="279"/>
                  </a:lnTo>
                  <a:lnTo>
                    <a:pt x="659" y="279"/>
                  </a:lnTo>
                  <a:lnTo>
                    <a:pt x="659" y="279"/>
                  </a:lnTo>
                  <a:lnTo>
                    <a:pt x="659" y="279"/>
                  </a:lnTo>
                  <a:lnTo>
                    <a:pt x="656" y="279"/>
                  </a:lnTo>
                  <a:lnTo>
                    <a:pt x="656" y="279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9" y="277"/>
                  </a:lnTo>
                  <a:lnTo>
                    <a:pt x="659" y="277"/>
                  </a:lnTo>
                  <a:lnTo>
                    <a:pt x="659" y="277"/>
                  </a:lnTo>
                  <a:lnTo>
                    <a:pt x="661" y="277"/>
                  </a:lnTo>
                  <a:lnTo>
                    <a:pt x="661" y="279"/>
                  </a:lnTo>
                  <a:lnTo>
                    <a:pt x="661" y="279"/>
                  </a:lnTo>
                  <a:lnTo>
                    <a:pt x="661" y="279"/>
                  </a:lnTo>
                  <a:lnTo>
                    <a:pt x="661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5" y="282"/>
                  </a:lnTo>
                  <a:lnTo>
                    <a:pt x="665" y="282"/>
                  </a:lnTo>
                  <a:lnTo>
                    <a:pt x="665" y="282"/>
                  </a:lnTo>
                  <a:lnTo>
                    <a:pt x="665" y="282"/>
                  </a:lnTo>
                  <a:lnTo>
                    <a:pt x="665" y="282"/>
                  </a:lnTo>
                  <a:lnTo>
                    <a:pt x="665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2"/>
                  </a:lnTo>
                  <a:lnTo>
                    <a:pt x="668" y="284"/>
                  </a:lnTo>
                  <a:lnTo>
                    <a:pt x="668" y="284"/>
                  </a:lnTo>
                  <a:lnTo>
                    <a:pt x="668" y="284"/>
                  </a:lnTo>
                  <a:lnTo>
                    <a:pt x="668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3" y="284"/>
                  </a:lnTo>
                  <a:lnTo>
                    <a:pt x="663" y="284"/>
                  </a:lnTo>
                  <a:lnTo>
                    <a:pt x="663" y="284"/>
                  </a:lnTo>
                  <a:lnTo>
                    <a:pt x="659" y="282"/>
                  </a:lnTo>
                  <a:lnTo>
                    <a:pt x="659" y="282"/>
                  </a:lnTo>
                  <a:lnTo>
                    <a:pt x="659" y="282"/>
                  </a:lnTo>
                  <a:lnTo>
                    <a:pt x="659" y="282"/>
                  </a:lnTo>
                  <a:lnTo>
                    <a:pt x="659" y="282"/>
                  </a:lnTo>
                  <a:lnTo>
                    <a:pt x="659" y="282"/>
                  </a:lnTo>
                  <a:lnTo>
                    <a:pt x="659" y="282"/>
                  </a:lnTo>
                  <a:lnTo>
                    <a:pt x="659" y="279"/>
                  </a:lnTo>
                  <a:lnTo>
                    <a:pt x="659" y="279"/>
                  </a:lnTo>
                  <a:lnTo>
                    <a:pt x="656" y="279"/>
                  </a:lnTo>
                  <a:lnTo>
                    <a:pt x="654" y="277"/>
                  </a:lnTo>
                  <a:lnTo>
                    <a:pt x="654" y="277"/>
                  </a:lnTo>
                  <a:lnTo>
                    <a:pt x="654" y="277"/>
                  </a:lnTo>
                  <a:lnTo>
                    <a:pt x="652" y="277"/>
                  </a:lnTo>
                  <a:lnTo>
                    <a:pt x="652" y="277"/>
                  </a:lnTo>
                  <a:lnTo>
                    <a:pt x="652" y="277"/>
                  </a:lnTo>
                  <a:lnTo>
                    <a:pt x="652" y="279"/>
                  </a:lnTo>
                  <a:lnTo>
                    <a:pt x="652" y="277"/>
                  </a:lnTo>
                  <a:lnTo>
                    <a:pt x="650" y="277"/>
                  </a:lnTo>
                  <a:lnTo>
                    <a:pt x="650" y="277"/>
                  </a:lnTo>
                  <a:lnTo>
                    <a:pt x="650" y="277"/>
                  </a:lnTo>
                  <a:lnTo>
                    <a:pt x="650" y="277"/>
                  </a:lnTo>
                  <a:lnTo>
                    <a:pt x="652" y="277"/>
                  </a:lnTo>
                  <a:close/>
                  <a:moveTo>
                    <a:pt x="72" y="270"/>
                  </a:move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close/>
                  <a:moveTo>
                    <a:pt x="403" y="246"/>
                  </a:move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5" y="246"/>
                  </a:lnTo>
                  <a:lnTo>
                    <a:pt x="405" y="246"/>
                  </a:lnTo>
                  <a:lnTo>
                    <a:pt x="405" y="248"/>
                  </a:lnTo>
                  <a:lnTo>
                    <a:pt x="405" y="248"/>
                  </a:lnTo>
                  <a:lnTo>
                    <a:pt x="405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lnTo>
                    <a:pt x="403" y="246"/>
                  </a:lnTo>
                  <a:close/>
                  <a:moveTo>
                    <a:pt x="398" y="246"/>
                  </a:moveTo>
                  <a:lnTo>
                    <a:pt x="398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8" y="246"/>
                  </a:lnTo>
                  <a:lnTo>
                    <a:pt x="398" y="246"/>
                  </a:lnTo>
                  <a:lnTo>
                    <a:pt x="398" y="246"/>
                  </a:lnTo>
                  <a:lnTo>
                    <a:pt x="398" y="246"/>
                  </a:lnTo>
                  <a:close/>
                  <a:moveTo>
                    <a:pt x="353" y="243"/>
                  </a:moveTo>
                  <a:lnTo>
                    <a:pt x="353" y="243"/>
                  </a:lnTo>
                  <a:lnTo>
                    <a:pt x="351" y="243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53" y="243"/>
                  </a:lnTo>
                  <a:lnTo>
                    <a:pt x="355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53" y="243"/>
                  </a:lnTo>
                  <a:close/>
                  <a:moveTo>
                    <a:pt x="470" y="230"/>
                  </a:moveTo>
                  <a:lnTo>
                    <a:pt x="470" y="230"/>
                  </a:lnTo>
                  <a:lnTo>
                    <a:pt x="470" y="230"/>
                  </a:lnTo>
                  <a:lnTo>
                    <a:pt x="470" y="230"/>
                  </a:lnTo>
                  <a:lnTo>
                    <a:pt x="470" y="230"/>
                  </a:lnTo>
                  <a:lnTo>
                    <a:pt x="470" y="230"/>
                  </a:lnTo>
                  <a:lnTo>
                    <a:pt x="470" y="230"/>
                  </a:lnTo>
                  <a:lnTo>
                    <a:pt x="468" y="228"/>
                  </a:lnTo>
                  <a:lnTo>
                    <a:pt x="468" y="228"/>
                  </a:lnTo>
                  <a:lnTo>
                    <a:pt x="468" y="228"/>
                  </a:lnTo>
                  <a:lnTo>
                    <a:pt x="468" y="228"/>
                  </a:lnTo>
                  <a:lnTo>
                    <a:pt x="461" y="225"/>
                  </a:lnTo>
                  <a:lnTo>
                    <a:pt x="461" y="225"/>
                  </a:lnTo>
                  <a:lnTo>
                    <a:pt x="461" y="225"/>
                  </a:lnTo>
                  <a:lnTo>
                    <a:pt x="461" y="225"/>
                  </a:lnTo>
                  <a:lnTo>
                    <a:pt x="468" y="228"/>
                  </a:lnTo>
                  <a:lnTo>
                    <a:pt x="470" y="228"/>
                  </a:lnTo>
                  <a:lnTo>
                    <a:pt x="470" y="228"/>
                  </a:lnTo>
                  <a:lnTo>
                    <a:pt x="470" y="228"/>
                  </a:lnTo>
                  <a:lnTo>
                    <a:pt x="468" y="228"/>
                  </a:lnTo>
                  <a:lnTo>
                    <a:pt x="470" y="228"/>
                  </a:lnTo>
                  <a:lnTo>
                    <a:pt x="470" y="228"/>
                  </a:lnTo>
                  <a:lnTo>
                    <a:pt x="470" y="230"/>
                  </a:lnTo>
                  <a:lnTo>
                    <a:pt x="470" y="230"/>
                  </a:lnTo>
                  <a:lnTo>
                    <a:pt x="470" y="230"/>
                  </a:lnTo>
                  <a:close/>
                  <a:moveTo>
                    <a:pt x="90" y="225"/>
                  </a:moveTo>
                  <a:lnTo>
                    <a:pt x="90" y="225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6" y="223"/>
                  </a:lnTo>
                  <a:lnTo>
                    <a:pt x="88" y="223"/>
                  </a:lnTo>
                  <a:lnTo>
                    <a:pt x="90" y="225"/>
                  </a:lnTo>
                  <a:close/>
                  <a:moveTo>
                    <a:pt x="589" y="223"/>
                  </a:moveTo>
                  <a:lnTo>
                    <a:pt x="589" y="223"/>
                  </a:lnTo>
                  <a:lnTo>
                    <a:pt x="589" y="223"/>
                  </a:lnTo>
                  <a:lnTo>
                    <a:pt x="589" y="223"/>
                  </a:lnTo>
                  <a:lnTo>
                    <a:pt x="589" y="223"/>
                  </a:lnTo>
                  <a:lnTo>
                    <a:pt x="591" y="223"/>
                  </a:lnTo>
                  <a:lnTo>
                    <a:pt x="589" y="223"/>
                  </a:lnTo>
                  <a:lnTo>
                    <a:pt x="589" y="225"/>
                  </a:lnTo>
                  <a:lnTo>
                    <a:pt x="589" y="225"/>
                  </a:lnTo>
                  <a:lnTo>
                    <a:pt x="589" y="225"/>
                  </a:lnTo>
                  <a:lnTo>
                    <a:pt x="589" y="225"/>
                  </a:lnTo>
                  <a:lnTo>
                    <a:pt x="587" y="225"/>
                  </a:lnTo>
                  <a:lnTo>
                    <a:pt x="587" y="225"/>
                  </a:lnTo>
                  <a:lnTo>
                    <a:pt x="587" y="225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9" y="223"/>
                  </a:lnTo>
                  <a:lnTo>
                    <a:pt x="589" y="223"/>
                  </a:lnTo>
                  <a:close/>
                  <a:moveTo>
                    <a:pt x="333" y="228"/>
                  </a:moveTo>
                  <a:lnTo>
                    <a:pt x="335" y="230"/>
                  </a:lnTo>
                  <a:lnTo>
                    <a:pt x="335" y="230"/>
                  </a:lnTo>
                  <a:lnTo>
                    <a:pt x="335" y="232"/>
                  </a:lnTo>
                  <a:lnTo>
                    <a:pt x="333" y="232"/>
                  </a:lnTo>
                  <a:lnTo>
                    <a:pt x="333" y="232"/>
                  </a:lnTo>
                  <a:lnTo>
                    <a:pt x="333" y="232"/>
                  </a:lnTo>
                  <a:lnTo>
                    <a:pt x="333" y="232"/>
                  </a:lnTo>
                  <a:lnTo>
                    <a:pt x="333" y="232"/>
                  </a:lnTo>
                  <a:lnTo>
                    <a:pt x="333" y="232"/>
                  </a:lnTo>
                  <a:lnTo>
                    <a:pt x="333" y="232"/>
                  </a:lnTo>
                  <a:lnTo>
                    <a:pt x="333" y="230"/>
                  </a:lnTo>
                  <a:lnTo>
                    <a:pt x="333" y="230"/>
                  </a:lnTo>
                  <a:lnTo>
                    <a:pt x="333" y="230"/>
                  </a:lnTo>
                  <a:lnTo>
                    <a:pt x="333" y="230"/>
                  </a:lnTo>
                  <a:lnTo>
                    <a:pt x="333" y="230"/>
                  </a:lnTo>
                  <a:lnTo>
                    <a:pt x="331" y="230"/>
                  </a:lnTo>
                  <a:lnTo>
                    <a:pt x="331" y="230"/>
                  </a:lnTo>
                  <a:lnTo>
                    <a:pt x="331" y="230"/>
                  </a:lnTo>
                  <a:lnTo>
                    <a:pt x="328" y="230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4"/>
                  </a:lnTo>
                  <a:lnTo>
                    <a:pt x="326" y="234"/>
                  </a:lnTo>
                  <a:lnTo>
                    <a:pt x="326" y="234"/>
                  </a:lnTo>
                  <a:lnTo>
                    <a:pt x="326" y="234"/>
                  </a:lnTo>
                  <a:lnTo>
                    <a:pt x="326" y="237"/>
                  </a:lnTo>
                  <a:lnTo>
                    <a:pt x="324" y="237"/>
                  </a:lnTo>
                  <a:lnTo>
                    <a:pt x="322" y="237"/>
                  </a:lnTo>
                  <a:lnTo>
                    <a:pt x="322" y="237"/>
                  </a:lnTo>
                  <a:lnTo>
                    <a:pt x="322" y="237"/>
                  </a:lnTo>
                  <a:lnTo>
                    <a:pt x="322" y="237"/>
                  </a:lnTo>
                  <a:lnTo>
                    <a:pt x="315" y="239"/>
                  </a:lnTo>
                  <a:lnTo>
                    <a:pt x="315" y="239"/>
                  </a:lnTo>
                  <a:lnTo>
                    <a:pt x="315" y="237"/>
                  </a:lnTo>
                  <a:lnTo>
                    <a:pt x="315" y="237"/>
                  </a:lnTo>
                  <a:lnTo>
                    <a:pt x="315" y="237"/>
                  </a:lnTo>
                  <a:lnTo>
                    <a:pt x="313" y="237"/>
                  </a:lnTo>
                  <a:lnTo>
                    <a:pt x="313" y="237"/>
                  </a:lnTo>
                  <a:lnTo>
                    <a:pt x="313" y="237"/>
                  </a:lnTo>
                  <a:lnTo>
                    <a:pt x="313" y="237"/>
                  </a:lnTo>
                  <a:lnTo>
                    <a:pt x="313" y="237"/>
                  </a:lnTo>
                  <a:lnTo>
                    <a:pt x="313" y="239"/>
                  </a:lnTo>
                  <a:lnTo>
                    <a:pt x="310" y="237"/>
                  </a:lnTo>
                  <a:lnTo>
                    <a:pt x="310" y="237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06" y="237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6" y="234"/>
                  </a:lnTo>
                  <a:lnTo>
                    <a:pt x="304" y="234"/>
                  </a:lnTo>
                  <a:lnTo>
                    <a:pt x="304" y="234"/>
                  </a:lnTo>
                  <a:lnTo>
                    <a:pt x="304" y="234"/>
                  </a:lnTo>
                  <a:lnTo>
                    <a:pt x="304" y="234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2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30"/>
                  </a:lnTo>
                  <a:lnTo>
                    <a:pt x="304" y="228"/>
                  </a:lnTo>
                  <a:lnTo>
                    <a:pt x="301" y="228"/>
                  </a:lnTo>
                  <a:lnTo>
                    <a:pt x="301" y="228"/>
                  </a:lnTo>
                  <a:lnTo>
                    <a:pt x="301" y="228"/>
                  </a:lnTo>
                  <a:lnTo>
                    <a:pt x="304" y="225"/>
                  </a:lnTo>
                  <a:lnTo>
                    <a:pt x="304" y="225"/>
                  </a:lnTo>
                  <a:lnTo>
                    <a:pt x="304" y="225"/>
                  </a:lnTo>
                  <a:lnTo>
                    <a:pt x="304" y="225"/>
                  </a:lnTo>
                  <a:lnTo>
                    <a:pt x="304" y="225"/>
                  </a:lnTo>
                  <a:lnTo>
                    <a:pt x="306" y="223"/>
                  </a:lnTo>
                  <a:lnTo>
                    <a:pt x="308" y="223"/>
                  </a:lnTo>
                  <a:lnTo>
                    <a:pt x="310" y="223"/>
                  </a:lnTo>
                  <a:lnTo>
                    <a:pt x="313" y="221"/>
                  </a:lnTo>
                  <a:lnTo>
                    <a:pt x="315" y="223"/>
                  </a:lnTo>
                  <a:lnTo>
                    <a:pt x="322" y="225"/>
                  </a:lnTo>
                  <a:lnTo>
                    <a:pt x="328" y="225"/>
                  </a:lnTo>
                  <a:lnTo>
                    <a:pt x="331" y="228"/>
                  </a:lnTo>
                  <a:lnTo>
                    <a:pt x="333" y="228"/>
                  </a:lnTo>
                  <a:lnTo>
                    <a:pt x="333" y="228"/>
                  </a:lnTo>
                  <a:close/>
                  <a:moveTo>
                    <a:pt x="2018" y="221"/>
                  </a:moveTo>
                  <a:lnTo>
                    <a:pt x="2018" y="223"/>
                  </a:lnTo>
                  <a:lnTo>
                    <a:pt x="2018" y="223"/>
                  </a:lnTo>
                  <a:lnTo>
                    <a:pt x="2018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5"/>
                  </a:lnTo>
                  <a:lnTo>
                    <a:pt x="2020" y="225"/>
                  </a:lnTo>
                  <a:lnTo>
                    <a:pt x="2022" y="225"/>
                  </a:lnTo>
                  <a:lnTo>
                    <a:pt x="2022" y="225"/>
                  </a:lnTo>
                  <a:lnTo>
                    <a:pt x="2022" y="225"/>
                  </a:lnTo>
                  <a:lnTo>
                    <a:pt x="2022" y="225"/>
                  </a:lnTo>
                  <a:lnTo>
                    <a:pt x="2025" y="225"/>
                  </a:lnTo>
                  <a:lnTo>
                    <a:pt x="2025" y="228"/>
                  </a:lnTo>
                  <a:lnTo>
                    <a:pt x="2025" y="228"/>
                  </a:lnTo>
                  <a:lnTo>
                    <a:pt x="2025" y="228"/>
                  </a:lnTo>
                  <a:lnTo>
                    <a:pt x="2027" y="228"/>
                  </a:lnTo>
                  <a:lnTo>
                    <a:pt x="2027" y="228"/>
                  </a:lnTo>
                  <a:lnTo>
                    <a:pt x="2027" y="228"/>
                  </a:lnTo>
                  <a:lnTo>
                    <a:pt x="2027" y="230"/>
                  </a:lnTo>
                  <a:lnTo>
                    <a:pt x="2029" y="230"/>
                  </a:lnTo>
                  <a:lnTo>
                    <a:pt x="2029" y="230"/>
                  </a:lnTo>
                  <a:lnTo>
                    <a:pt x="2031" y="230"/>
                  </a:lnTo>
                  <a:lnTo>
                    <a:pt x="2034" y="232"/>
                  </a:lnTo>
                  <a:lnTo>
                    <a:pt x="2036" y="232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4" y="232"/>
                  </a:lnTo>
                  <a:lnTo>
                    <a:pt x="2034" y="232"/>
                  </a:lnTo>
                  <a:lnTo>
                    <a:pt x="2034" y="232"/>
                  </a:lnTo>
                  <a:lnTo>
                    <a:pt x="2031" y="232"/>
                  </a:lnTo>
                  <a:lnTo>
                    <a:pt x="2029" y="232"/>
                  </a:lnTo>
                  <a:lnTo>
                    <a:pt x="2027" y="230"/>
                  </a:lnTo>
                  <a:lnTo>
                    <a:pt x="2027" y="230"/>
                  </a:lnTo>
                  <a:lnTo>
                    <a:pt x="2027" y="230"/>
                  </a:lnTo>
                  <a:lnTo>
                    <a:pt x="2027" y="230"/>
                  </a:lnTo>
                  <a:lnTo>
                    <a:pt x="2025" y="230"/>
                  </a:lnTo>
                  <a:lnTo>
                    <a:pt x="2025" y="230"/>
                  </a:lnTo>
                  <a:lnTo>
                    <a:pt x="2025" y="230"/>
                  </a:lnTo>
                  <a:lnTo>
                    <a:pt x="2025" y="230"/>
                  </a:lnTo>
                  <a:lnTo>
                    <a:pt x="2025" y="230"/>
                  </a:lnTo>
                  <a:lnTo>
                    <a:pt x="2025" y="230"/>
                  </a:lnTo>
                  <a:lnTo>
                    <a:pt x="2025" y="230"/>
                  </a:lnTo>
                  <a:lnTo>
                    <a:pt x="2022" y="228"/>
                  </a:lnTo>
                  <a:lnTo>
                    <a:pt x="2022" y="228"/>
                  </a:lnTo>
                  <a:lnTo>
                    <a:pt x="2022" y="228"/>
                  </a:lnTo>
                  <a:lnTo>
                    <a:pt x="2022" y="228"/>
                  </a:lnTo>
                  <a:lnTo>
                    <a:pt x="2022" y="228"/>
                  </a:lnTo>
                  <a:lnTo>
                    <a:pt x="2022" y="228"/>
                  </a:lnTo>
                  <a:lnTo>
                    <a:pt x="2020" y="228"/>
                  </a:lnTo>
                  <a:lnTo>
                    <a:pt x="2020" y="225"/>
                  </a:lnTo>
                  <a:lnTo>
                    <a:pt x="2020" y="225"/>
                  </a:lnTo>
                  <a:lnTo>
                    <a:pt x="2018" y="225"/>
                  </a:lnTo>
                  <a:lnTo>
                    <a:pt x="2018" y="225"/>
                  </a:lnTo>
                  <a:lnTo>
                    <a:pt x="2016" y="223"/>
                  </a:lnTo>
                  <a:lnTo>
                    <a:pt x="2016" y="223"/>
                  </a:lnTo>
                  <a:lnTo>
                    <a:pt x="2016" y="223"/>
                  </a:lnTo>
                  <a:lnTo>
                    <a:pt x="2016" y="223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8" y="221"/>
                  </a:lnTo>
                  <a:close/>
                  <a:moveTo>
                    <a:pt x="589" y="223"/>
                  </a:moveTo>
                  <a:lnTo>
                    <a:pt x="589" y="223"/>
                  </a:lnTo>
                  <a:lnTo>
                    <a:pt x="587" y="223"/>
                  </a:lnTo>
                  <a:lnTo>
                    <a:pt x="587" y="223"/>
                  </a:lnTo>
                  <a:lnTo>
                    <a:pt x="585" y="223"/>
                  </a:lnTo>
                  <a:lnTo>
                    <a:pt x="585" y="223"/>
                  </a:lnTo>
                  <a:lnTo>
                    <a:pt x="587" y="221"/>
                  </a:lnTo>
                  <a:lnTo>
                    <a:pt x="587" y="221"/>
                  </a:lnTo>
                  <a:lnTo>
                    <a:pt x="589" y="221"/>
                  </a:lnTo>
                  <a:lnTo>
                    <a:pt x="589" y="221"/>
                  </a:lnTo>
                  <a:lnTo>
                    <a:pt x="589" y="221"/>
                  </a:lnTo>
                  <a:lnTo>
                    <a:pt x="589" y="221"/>
                  </a:lnTo>
                  <a:lnTo>
                    <a:pt x="589" y="221"/>
                  </a:lnTo>
                  <a:lnTo>
                    <a:pt x="589" y="221"/>
                  </a:lnTo>
                  <a:lnTo>
                    <a:pt x="589" y="223"/>
                  </a:lnTo>
                  <a:lnTo>
                    <a:pt x="589" y="223"/>
                  </a:lnTo>
                  <a:lnTo>
                    <a:pt x="589" y="223"/>
                  </a:lnTo>
                  <a:lnTo>
                    <a:pt x="589" y="223"/>
                  </a:lnTo>
                  <a:lnTo>
                    <a:pt x="589" y="223"/>
                  </a:lnTo>
                  <a:close/>
                  <a:moveTo>
                    <a:pt x="2020" y="223"/>
                  </a:move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20" y="223"/>
                  </a:lnTo>
                  <a:lnTo>
                    <a:pt x="2018" y="223"/>
                  </a:lnTo>
                  <a:lnTo>
                    <a:pt x="2018" y="221"/>
                  </a:lnTo>
                  <a:lnTo>
                    <a:pt x="2018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21"/>
                  </a:lnTo>
                  <a:lnTo>
                    <a:pt x="2016" y="219"/>
                  </a:lnTo>
                  <a:lnTo>
                    <a:pt x="2016" y="219"/>
                  </a:lnTo>
                  <a:lnTo>
                    <a:pt x="2016" y="219"/>
                  </a:lnTo>
                  <a:lnTo>
                    <a:pt x="2016" y="219"/>
                  </a:lnTo>
                  <a:lnTo>
                    <a:pt x="2018" y="219"/>
                  </a:lnTo>
                  <a:lnTo>
                    <a:pt x="2018" y="221"/>
                  </a:lnTo>
                  <a:lnTo>
                    <a:pt x="2020" y="221"/>
                  </a:lnTo>
                  <a:lnTo>
                    <a:pt x="2020" y="221"/>
                  </a:lnTo>
                  <a:lnTo>
                    <a:pt x="2020" y="221"/>
                  </a:lnTo>
                  <a:lnTo>
                    <a:pt x="2020" y="221"/>
                  </a:lnTo>
                  <a:lnTo>
                    <a:pt x="2020" y="221"/>
                  </a:lnTo>
                  <a:lnTo>
                    <a:pt x="2020" y="221"/>
                  </a:lnTo>
                  <a:lnTo>
                    <a:pt x="2020" y="221"/>
                  </a:lnTo>
                  <a:lnTo>
                    <a:pt x="2022" y="221"/>
                  </a:lnTo>
                  <a:lnTo>
                    <a:pt x="2022" y="223"/>
                  </a:lnTo>
                  <a:lnTo>
                    <a:pt x="2022" y="223"/>
                  </a:lnTo>
                  <a:lnTo>
                    <a:pt x="2022" y="223"/>
                  </a:lnTo>
                  <a:lnTo>
                    <a:pt x="2022" y="223"/>
                  </a:lnTo>
                  <a:lnTo>
                    <a:pt x="2022" y="223"/>
                  </a:lnTo>
                  <a:lnTo>
                    <a:pt x="2022" y="223"/>
                  </a:lnTo>
                  <a:lnTo>
                    <a:pt x="2020" y="223"/>
                  </a:lnTo>
                  <a:close/>
                  <a:moveTo>
                    <a:pt x="2132" y="216"/>
                  </a:moveTo>
                  <a:lnTo>
                    <a:pt x="2132" y="216"/>
                  </a:lnTo>
                  <a:lnTo>
                    <a:pt x="2130" y="216"/>
                  </a:lnTo>
                  <a:lnTo>
                    <a:pt x="2130" y="216"/>
                  </a:lnTo>
                  <a:lnTo>
                    <a:pt x="2130" y="216"/>
                  </a:lnTo>
                  <a:lnTo>
                    <a:pt x="2130" y="216"/>
                  </a:lnTo>
                  <a:lnTo>
                    <a:pt x="2132" y="216"/>
                  </a:lnTo>
                  <a:lnTo>
                    <a:pt x="2132" y="219"/>
                  </a:lnTo>
                  <a:lnTo>
                    <a:pt x="2132" y="219"/>
                  </a:lnTo>
                  <a:lnTo>
                    <a:pt x="2132" y="219"/>
                  </a:lnTo>
                  <a:lnTo>
                    <a:pt x="2135" y="219"/>
                  </a:lnTo>
                  <a:lnTo>
                    <a:pt x="2135" y="219"/>
                  </a:lnTo>
                  <a:lnTo>
                    <a:pt x="2135" y="221"/>
                  </a:lnTo>
                  <a:lnTo>
                    <a:pt x="2135" y="221"/>
                  </a:lnTo>
                  <a:lnTo>
                    <a:pt x="2135" y="221"/>
                  </a:lnTo>
                  <a:lnTo>
                    <a:pt x="2135" y="221"/>
                  </a:lnTo>
                  <a:lnTo>
                    <a:pt x="2132" y="221"/>
                  </a:lnTo>
                  <a:lnTo>
                    <a:pt x="2130" y="221"/>
                  </a:lnTo>
                  <a:lnTo>
                    <a:pt x="2117" y="219"/>
                  </a:lnTo>
                  <a:lnTo>
                    <a:pt x="2115" y="219"/>
                  </a:lnTo>
                  <a:lnTo>
                    <a:pt x="2112" y="216"/>
                  </a:lnTo>
                  <a:lnTo>
                    <a:pt x="2112" y="216"/>
                  </a:lnTo>
                  <a:lnTo>
                    <a:pt x="2110" y="216"/>
                  </a:lnTo>
                  <a:lnTo>
                    <a:pt x="2108" y="216"/>
                  </a:lnTo>
                  <a:lnTo>
                    <a:pt x="2106" y="216"/>
                  </a:lnTo>
                  <a:lnTo>
                    <a:pt x="2106" y="216"/>
                  </a:lnTo>
                  <a:lnTo>
                    <a:pt x="2106" y="214"/>
                  </a:lnTo>
                  <a:lnTo>
                    <a:pt x="2106" y="214"/>
                  </a:lnTo>
                  <a:lnTo>
                    <a:pt x="2106" y="214"/>
                  </a:lnTo>
                  <a:lnTo>
                    <a:pt x="2108" y="212"/>
                  </a:lnTo>
                  <a:lnTo>
                    <a:pt x="2108" y="212"/>
                  </a:lnTo>
                  <a:lnTo>
                    <a:pt x="2108" y="212"/>
                  </a:lnTo>
                  <a:lnTo>
                    <a:pt x="2108" y="212"/>
                  </a:lnTo>
                  <a:lnTo>
                    <a:pt x="2108" y="212"/>
                  </a:lnTo>
                  <a:lnTo>
                    <a:pt x="2115" y="212"/>
                  </a:lnTo>
                  <a:lnTo>
                    <a:pt x="2115" y="212"/>
                  </a:lnTo>
                  <a:lnTo>
                    <a:pt x="2117" y="214"/>
                  </a:lnTo>
                  <a:lnTo>
                    <a:pt x="2119" y="214"/>
                  </a:lnTo>
                  <a:lnTo>
                    <a:pt x="2126" y="214"/>
                  </a:lnTo>
                  <a:lnTo>
                    <a:pt x="2126" y="214"/>
                  </a:lnTo>
                  <a:lnTo>
                    <a:pt x="2128" y="214"/>
                  </a:lnTo>
                  <a:lnTo>
                    <a:pt x="2130" y="214"/>
                  </a:lnTo>
                  <a:lnTo>
                    <a:pt x="2130" y="216"/>
                  </a:lnTo>
                  <a:lnTo>
                    <a:pt x="2130" y="216"/>
                  </a:lnTo>
                  <a:lnTo>
                    <a:pt x="2130" y="216"/>
                  </a:lnTo>
                  <a:lnTo>
                    <a:pt x="2132" y="216"/>
                  </a:lnTo>
                  <a:lnTo>
                    <a:pt x="2132" y="216"/>
                  </a:lnTo>
                  <a:lnTo>
                    <a:pt x="2132" y="216"/>
                  </a:lnTo>
                  <a:lnTo>
                    <a:pt x="2132" y="216"/>
                  </a:lnTo>
                  <a:lnTo>
                    <a:pt x="2132" y="216"/>
                  </a:lnTo>
                  <a:lnTo>
                    <a:pt x="2132" y="216"/>
                  </a:lnTo>
                  <a:close/>
                  <a:moveTo>
                    <a:pt x="459" y="205"/>
                  </a:moveTo>
                  <a:lnTo>
                    <a:pt x="461" y="207"/>
                  </a:lnTo>
                  <a:lnTo>
                    <a:pt x="461" y="207"/>
                  </a:lnTo>
                  <a:lnTo>
                    <a:pt x="463" y="207"/>
                  </a:lnTo>
                  <a:lnTo>
                    <a:pt x="463" y="207"/>
                  </a:lnTo>
                  <a:lnTo>
                    <a:pt x="463" y="207"/>
                  </a:lnTo>
                  <a:lnTo>
                    <a:pt x="463" y="207"/>
                  </a:lnTo>
                  <a:lnTo>
                    <a:pt x="463" y="207"/>
                  </a:lnTo>
                  <a:lnTo>
                    <a:pt x="463" y="207"/>
                  </a:lnTo>
                  <a:lnTo>
                    <a:pt x="466" y="207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68" y="210"/>
                  </a:lnTo>
                  <a:lnTo>
                    <a:pt x="470" y="210"/>
                  </a:lnTo>
                  <a:lnTo>
                    <a:pt x="470" y="210"/>
                  </a:lnTo>
                  <a:lnTo>
                    <a:pt x="472" y="210"/>
                  </a:lnTo>
                  <a:lnTo>
                    <a:pt x="472" y="210"/>
                  </a:lnTo>
                  <a:lnTo>
                    <a:pt x="472" y="210"/>
                  </a:lnTo>
                  <a:lnTo>
                    <a:pt x="472" y="210"/>
                  </a:lnTo>
                  <a:lnTo>
                    <a:pt x="472" y="212"/>
                  </a:lnTo>
                  <a:lnTo>
                    <a:pt x="474" y="212"/>
                  </a:lnTo>
                  <a:lnTo>
                    <a:pt x="479" y="212"/>
                  </a:lnTo>
                  <a:lnTo>
                    <a:pt x="479" y="214"/>
                  </a:lnTo>
                  <a:lnTo>
                    <a:pt x="479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81" y="214"/>
                  </a:lnTo>
                  <a:lnTo>
                    <a:pt x="481" y="214"/>
                  </a:lnTo>
                  <a:lnTo>
                    <a:pt x="481" y="214"/>
                  </a:lnTo>
                  <a:lnTo>
                    <a:pt x="481" y="214"/>
                  </a:lnTo>
                  <a:lnTo>
                    <a:pt x="481" y="214"/>
                  </a:lnTo>
                  <a:lnTo>
                    <a:pt x="481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6"/>
                  </a:lnTo>
                  <a:lnTo>
                    <a:pt x="483" y="219"/>
                  </a:lnTo>
                  <a:lnTo>
                    <a:pt x="483" y="219"/>
                  </a:lnTo>
                  <a:lnTo>
                    <a:pt x="481" y="219"/>
                  </a:lnTo>
                  <a:lnTo>
                    <a:pt x="481" y="219"/>
                  </a:lnTo>
                  <a:lnTo>
                    <a:pt x="481" y="219"/>
                  </a:lnTo>
                  <a:lnTo>
                    <a:pt x="481" y="219"/>
                  </a:lnTo>
                  <a:lnTo>
                    <a:pt x="479" y="219"/>
                  </a:lnTo>
                  <a:lnTo>
                    <a:pt x="477" y="219"/>
                  </a:lnTo>
                  <a:lnTo>
                    <a:pt x="477" y="219"/>
                  </a:lnTo>
                  <a:lnTo>
                    <a:pt x="477" y="219"/>
                  </a:lnTo>
                  <a:lnTo>
                    <a:pt x="477" y="219"/>
                  </a:lnTo>
                  <a:lnTo>
                    <a:pt x="474" y="219"/>
                  </a:lnTo>
                  <a:lnTo>
                    <a:pt x="474" y="219"/>
                  </a:lnTo>
                  <a:lnTo>
                    <a:pt x="477" y="219"/>
                  </a:lnTo>
                  <a:lnTo>
                    <a:pt x="474" y="219"/>
                  </a:lnTo>
                  <a:lnTo>
                    <a:pt x="474" y="219"/>
                  </a:lnTo>
                  <a:lnTo>
                    <a:pt x="474" y="219"/>
                  </a:lnTo>
                  <a:lnTo>
                    <a:pt x="474" y="219"/>
                  </a:lnTo>
                  <a:lnTo>
                    <a:pt x="474" y="219"/>
                  </a:lnTo>
                  <a:lnTo>
                    <a:pt x="472" y="219"/>
                  </a:lnTo>
                  <a:lnTo>
                    <a:pt x="470" y="219"/>
                  </a:lnTo>
                  <a:lnTo>
                    <a:pt x="470" y="219"/>
                  </a:lnTo>
                  <a:lnTo>
                    <a:pt x="470" y="216"/>
                  </a:lnTo>
                  <a:lnTo>
                    <a:pt x="470" y="216"/>
                  </a:lnTo>
                  <a:lnTo>
                    <a:pt x="468" y="216"/>
                  </a:lnTo>
                  <a:lnTo>
                    <a:pt x="468" y="216"/>
                  </a:lnTo>
                  <a:lnTo>
                    <a:pt x="470" y="216"/>
                  </a:lnTo>
                  <a:lnTo>
                    <a:pt x="470" y="216"/>
                  </a:lnTo>
                  <a:lnTo>
                    <a:pt x="470" y="216"/>
                  </a:lnTo>
                  <a:lnTo>
                    <a:pt x="470" y="216"/>
                  </a:lnTo>
                  <a:lnTo>
                    <a:pt x="470" y="216"/>
                  </a:lnTo>
                  <a:lnTo>
                    <a:pt x="468" y="214"/>
                  </a:lnTo>
                  <a:lnTo>
                    <a:pt x="466" y="214"/>
                  </a:lnTo>
                  <a:lnTo>
                    <a:pt x="466" y="214"/>
                  </a:lnTo>
                  <a:lnTo>
                    <a:pt x="466" y="214"/>
                  </a:lnTo>
                  <a:lnTo>
                    <a:pt x="463" y="214"/>
                  </a:lnTo>
                  <a:lnTo>
                    <a:pt x="463" y="214"/>
                  </a:lnTo>
                  <a:lnTo>
                    <a:pt x="463" y="214"/>
                  </a:lnTo>
                  <a:lnTo>
                    <a:pt x="461" y="214"/>
                  </a:lnTo>
                  <a:lnTo>
                    <a:pt x="461" y="214"/>
                  </a:lnTo>
                  <a:lnTo>
                    <a:pt x="461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61" y="214"/>
                  </a:lnTo>
                  <a:lnTo>
                    <a:pt x="461" y="214"/>
                  </a:lnTo>
                  <a:lnTo>
                    <a:pt x="461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9" y="214"/>
                  </a:lnTo>
                  <a:lnTo>
                    <a:pt x="457" y="214"/>
                  </a:lnTo>
                  <a:lnTo>
                    <a:pt x="454" y="212"/>
                  </a:lnTo>
                  <a:lnTo>
                    <a:pt x="450" y="212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50" y="210"/>
                  </a:lnTo>
                  <a:lnTo>
                    <a:pt x="448" y="210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45" y="207"/>
                  </a:lnTo>
                  <a:lnTo>
                    <a:pt x="448" y="207"/>
                  </a:lnTo>
                  <a:lnTo>
                    <a:pt x="448" y="207"/>
                  </a:lnTo>
                  <a:lnTo>
                    <a:pt x="452" y="207"/>
                  </a:lnTo>
                  <a:lnTo>
                    <a:pt x="452" y="207"/>
                  </a:lnTo>
                  <a:lnTo>
                    <a:pt x="452" y="207"/>
                  </a:lnTo>
                  <a:lnTo>
                    <a:pt x="452" y="207"/>
                  </a:lnTo>
                  <a:lnTo>
                    <a:pt x="452" y="207"/>
                  </a:lnTo>
                  <a:lnTo>
                    <a:pt x="450" y="207"/>
                  </a:lnTo>
                  <a:lnTo>
                    <a:pt x="450" y="207"/>
                  </a:lnTo>
                  <a:lnTo>
                    <a:pt x="450" y="207"/>
                  </a:lnTo>
                  <a:lnTo>
                    <a:pt x="448" y="205"/>
                  </a:lnTo>
                  <a:lnTo>
                    <a:pt x="448" y="205"/>
                  </a:lnTo>
                  <a:lnTo>
                    <a:pt x="448" y="205"/>
                  </a:lnTo>
                  <a:lnTo>
                    <a:pt x="448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5"/>
                  </a:lnTo>
                  <a:lnTo>
                    <a:pt x="450" y="203"/>
                  </a:lnTo>
                  <a:lnTo>
                    <a:pt x="450" y="203"/>
                  </a:lnTo>
                  <a:lnTo>
                    <a:pt x="450" y="203"/>
                  </a:lnTo>
                  <a:lnTo>
                    <a:pt x="452" y="203"/>
                  </a:lnTo>
                  <a:lnTo>
                    <a:pt x="452" y="203"/>
                  </a:lnTo>
                  <a:lnTo>
                    <a:pt x="452" y="203"/>
                  </a:lnTo>
                  <a:lnTo>
                    <a:pt x="452" y="203"/>
                  </a:lnTo>
                  <a:lnTo>
                    <a:pt x="454" y="203"/>
                  </a:lnTo>
                  <a:lnTo>
                    <a:pt x="454" y="203"/>
                  </a:lnTo>
                  <a:lnTo>
                    <a:pt x="454" y="203"/>
                  </a:lnTo>
                  <a:lnTo>
                    <a:pt x="454" y="203"/>
                  </a:lnTo>
                  <a:lnTo>
                    <a:pt x="454" y="203"/>
                  </a:lnTo>
                  <a:lnTo>
                    <a:pt x="459" y="205"/>
                  </a:lnTo>
                  <a:lnTo>
                    <a:pt x="459" y="205"/>
                  </a:lnTo>
                  <a:close/>
                  <a:moveTo>
                    <a:pt x="571" y="205"/>
                  </a:moveTo>
                  <a:lnTo>
                    <a:pt x="571" y="205"/>
                  </a:lnTo>
                  <a:lnTo>
                    <a:pt x="571" y="205"/>
                  </a:lnTo>
                  <a:lnTo>
                    <a:pt x="571" y="205"/>
                  </a:lnTo>
                  <a:lnTo>
                    <a:pt x="567" y="203"/>
                  </a:lnTo>
                  <a:lnTo>
                    <a:pt x="567" y="203"/>
                  </a:lnTo>
                  <a:lnTo>
                    <a:pt x="567" y="203"/>
                  </a:lnTo>
                  <a:lnTo>
                    <a:pt x="567" y="203"/>
                  </a:lnTo>
                  <a:lnTo>
                    <a:pt x="567" y="201"/>
                  </a:lnTo>
                  <a:lnTo>
                    <a:pt x="567" y="201"/>
                  </a:lnTo>
                  <a:lnTo>
                    <a:pt x="567" y="203"/>
                  </a:lnTo>
                  <a:lnTo>
                    <a:pt x="567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69" y="203"/>
                  </a:lnTo>
                  <a:lnTo>
                    <a:pt x="571" y="205"/>
                  </a:lnTo>
                  <a:lnTo>
                    <a:pt x="571" y="205"/>
                  </a:lnTo>
                  <a:lnTo>
                    <a:pt x="571" y="205"/>
                  </a:lnTo>
                  <a:lnTo>
                    <a:pt x="571" y="205"/>
                  </a:lnTo>
                  <a:close/>
                  <a:moveTo>
                    <a:pt x="423" y="201"/>
                  </a:move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5" y="201"/>
                  </a:lnTo>
                  <a:lnTo>
                    <a:pt x="425" y="203"/>
                  </a:lnTo>
                  <a:lnTo>
                    <a:pt x="425" y="203"/>
                  </a:lnTo>
                  <a:lnTo>
                    <a:pt x="425" y="203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3"/>
                  </a:lnTo>
                  <a:lnTo>
                    <a:pt x="425" y="203"/>
                  </a:lnTo>
                  <a:lnTo>
                    <a:pt x="425" y="203"/>
                  </a:lnTo>
                  <a:lnTo>
                    <a:pt x="423" y="203"/>
                  </a:lnTo>
                  <a:lnTo>
                    <a:pt x="421" y="203"/>
                  </a:lnTo>
                  <a:lnTo>
                    <a:pt x="421" y="201"/>
                  </a:lnTo>
                  <a:lnTo>
                    <a:pt x="421" y="201"/>
                  </a:lnTo>
                  <a:lnTo>
                    <a:pt x="421" y="201"/>
                  </a:lnTo>
                  <a:lnTo>
                    <a:pt x="421" y="201"/>
                  </a:lnTo>
                  <a:lnTo>
                    <a:pt x="421" y="201"/>
                  </a:lnTo>
                  <a:lnTo>
                    <a:pt x="421" y="201"/>
                  </a:lnTo>
                  <a:lnTo>
                    <a:pt x="418" y="201"/>
                  </a:lnTo>
                  <a:lnTo>
                    <a:pt x="421" y="201"/>
                  </a:lnTo>
                  <a:lnTo>
                    <a:pt x="423" y="201"/>
                  </a:lnTo>
                  <a:lnTo>
                    <a:pt x="423" y="201"/>
                  </a:lnTo>
                  <a:close/>
                  <a:moveTo>
                    <a:pt x="567" y="203"/>
                  </a:moveTo>
                  <a:lnTo>
                    <a:pt x="567" y="203"/>
                  </a:lnTo>
                  <a:lnTo>
                    <a:pt x="567" y="203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2" y="201"/>
                  </a:lnTo>
                  <a:lnTo>
                    <a:pt x="562" y="201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0" y="198"/>
                  </a:lnTo>
                  <a:lnTo>
                    <a:pt x="560" y="198"/>
                  </a:lnTo>
                  <a:lnTo>
                    <a:pt x="560" y="198"/>
                  </a:lnTo>
                  <a:lnTo>
                    <a:pt x="560" y="196"/>
                  </a:lnTo>
                  <a:lnTo>
                    <a:pt x="560" y="196"/>
                  </a:lnTo>
                  <a:lnTo>
                    <a:pt x="560" y="196"/>
                  </a:lnTo>
                  <a:lnTo>
                    <a:pt x="560" y="196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2" y="198"/>
                  </a:lnTo>
                  <a:lnTo>
                    <a:pt x="564" y="198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4" y="201"/>
                  </a:lnTo>
                  <a:lnTo>
                    <a:pt x="567" y="203"/>
                  </a:lnTo>
                  <a:lnTo>
                    <a:pt x="567" y="203"/>
                  </a:lnTo>
                  <a:close/>
                  <a:moveTo>
                    <a:pt x="560" y="196"/>
                  </a:moveTo>
                  <a:lnTo>
                    <a:pt x="560" y="196"/>
                  </a:lnTo>
                  <a:lnTo>
                    <a:pt x="560" y="196"/>
                  </a:lnTo>
                  <a:lnTo>
                    <a:pt x="560" y="196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2"/>
                  </a:lnTo>
                  <a:lnTo>
                    <a:pt x="560" y="192"/>
                  </a:lnTo>
                  <a:lnTo>
                    <a:pt x="560" y="192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0" y="196"/>
                  </a:lnTo>
                  <a:close/>
                  <a:moveTo>
                    <a:pt x="349" y="185"/>
                  </a:move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7"/>
                  </a:lnTo>
                  <a:lnTo>
                    <a:pt x="353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5" y="187"/>
                  </a:lnTo>
                  <a:lnTo>
                    <a:pt x="355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3" y="187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3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1" y="187"/>
                  </a:lnTo>
                  <a:lnTo>
                    <a:pt x="351" y="187"/>
                  </a:lnTo>
                  <a:lnTo>
                    <a:pt x="355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5" y="187"/>
                  </a:lnTo>
                  <a:lnTo>
                    <a:pt x="355" y="187"/>
                  </a:lnTo>
                  <a:lnTo>
                    <a:pt x="355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7"/>
                  </a:lnTo>
                  <a:lnTo>
                    <a:pt x="358" y="189"/>
                  </a:lnTo>
                  <a:lnTo>
                    <a:pt x="360" y="189"/>
                  </a:lnTo>
                  <a:lnTo>
                    <a:pt x="358" y="189"/>
                  </a:lnTo>
                  <a:lnTo>
                    <a:pt x="358" y="189"/>
                  </a:lnTo>
                  <a:lnTo>
                    <a:pt x="360" y="189"/>
                  </a:lnTo>
                  <a:lnTo>
                    <a:pt x="360" y="189"/>
                  </a:lnTo>
                  <a:lnTo>
                    <a:pt x="360" y="189"/>
                  </a:lnTo>
                  <a:lnTo>
                    <a:pt x="358" y="189"/>
                  </a:lnTo>
                  <a:lnTo>
                    <a:pt x="358" y="189"/>
                  </a:lnTo>
                  <a:lnTo>
                    <a:pt x="358" y="189"/>
                  </a:lnTo>
                  <a:lnTo>
                    <a:pt x="360" y="189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60" y="192"/>
                  </a:lnTo>
                  <a:lnTo>
                    <a:pt x="360" y="192"/>
                  </a:lnTo>
                  <a:lnTo>
                    <a:pt x="360" y="194"/>
                  </a:lnTo>
                  <a:lnTo>
                    <a:pt x="360" y="194"/>
                  </a:lnTo>
                  <a:lnTo>
                    <a:pt x="358" y="194"/>
                  </a:lnTo>
                  <a:lnTo>
                    <a:pt x="358" y="194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8" y="192"/>
                  </a:lnTo>
                  <a:lnTo>
                    <a:pt x="355" y="192"/>
                  </a:lnTo>
                  <a:lnTo>
                    <a:pt x="355" y="192"/>
                  </a:lnTo>
                  <a:lnTo>
                    <a:pt x="353" y="192"/>
                  </a:lnTo>
                  <a:lnTo>
                    <a:pt x="353" y="192"/>
                  </a:lnTo>
                  <a:lnTo>
                    <a:pt x="353" y="189"/>
                  </a:lnTo>
                  <a:lnTo>
                    <a:pt x="353" y="189"/>
                  </a:lnTo>
                  <a:lnTo>
                    <a:pt x="353" y="189"/>
                  </a:lnTo>
                  <a:lnTo>
                    <a:pt x="353" y="189"/>
                  </a:lnTo>
                  <a:lnTo>
                    <a:pt x="353" y="189"/>
                  </a:lnTo>
                  <a:lnTo>
                    <a:pt x="353" y="189"/>
                  </a:lnTo>
                  <a:lnTo>
                    <a:pt x="351" y="189"/>
                  </a:lnTo>
                  <a:lnTo>
                    <a:pt x="351" y="189"/>
                  </a:lnTo>
                  <a:lnTo>
                    <a:pt x="351" y="189"/>
                  </a:lnTo>
                  <a:lnTo>
                    <a:pt x="351" y="187"/>
                  </a:lnTo>
                  <a:lnTo>
                    <a:pt x="349" y="187"/>
                  </a:lnTo>
                  <a:lnTo>
                    <a:pt x="349" y="187"/>
                  </a:lnTo>
                  <a:lnTo>
                    <a:pt x="349" y="187"/>
                  </a:lnTo>
                  <a:lnTo>
                    <a:pt x="346" y="187"/>
                  </a:lnTo>
                  <a:lnTo>
                    <a:pt x="346" y="187"/>
                  </a:lnTo>
                  <a:lnTo>
                    <a:pt x="344" y="187"/>
                  </a:lnTo>
                  <a:lnTo>
                    <a:pt x="344" y="187"/>
                  </a:lnTo>
                  <a:lnTo>
                    <a:pt x="342" y="187"/>
                  </a:lnTo>
                  <a:lnTo>
                    <a:pt x="342" y="187"/>
                  </a:lnTo>
                  <a:lnTo>
                    <a:pt x="342" y="185"/>
                  </a:lnTo>
                  <a:lnTo>
                    <a:pt x="344" y="185"/>
                  </a:lnTo>
                  <a:lnTo>
                    <a:pt x="344" y="185"/>
                  </a:lnTo>
                  <a:lnTo>
                    <a:pt x="344" y="185"/>
                  </a:lnTo>
                  <a:lnTo>
                    <a:pt x="344" y="185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6" y="185"/>
                  </a:lnTo>
                  <a:lnTo>
                    <a:pt x="349" y="185"/>
                  </a:lnTo>
                  <a:lnTo>
                    <a:pt x="349" y="185"/>
                  </a:lnTo>
                  <a:lnTo>
                    <a:pt x="349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49" y="185"/>
                  </a:lnTo>
                  <a:lnTo>
                    <a:pt x="349" y="185"/>
                  </a:lnTo>
                  <a:lnTo>
                    <a:pt x="349" y="185"/>
                  </a:lnTo>
                  <a:lnTo>
                    <a:pt x="349" y="185"/>
                  </a:lnTo>
                  <a:lnTo>
                    <a:pt x="349" y="185"/>
                  </a:lnTo>
                  <a:close/>
                  <a:moveTo>
                    <a:pt x="1609" y="180"/>
                  </a:moveTo>
                  <a:lnTo>
                    <a:pt x="1609" y="183"/>
                  </a:lnTo>
                  <a:lnTo>
                    <a:pt x="1609" y="183"/>
                  </a:lnTo>
                  <a:lnTo>
                    <a:pt x="1611" y="183"/>
                  </a:lnTo>
                  <a:lnTo>
                    <a:pt x="1611" y="183"/>
                  </a:lnTo>
                  <a:lnTo>
                    <a:pt x="1611" y="183"/>
                  </a:lnTo>
                  <a:lnTo>
                    <a:pt x="1611" y="185"/>
                  </a:lnTo>
                  <a:lnTo>
                    <a:pt x="1611" y="185"/>
                  </a:lnTo>
                  <a:lnTo>
                    <a:pt x="1611" y="185"/>
                  </a:lnTo>
                  <a:lnTo>
                    <a:pt x="1609" y="185"/>
                  </a:lnTo>
                  <a:lnTo>
                    <a:pt x="1607" y="183"/>
                  </a:lnTo>
                  <a:lnTo>
                    <a:pt x="1605" y="183"/>
                  </a:lnTo>
                  <a:lnTo>
                    <a:pt x="1605" y="183"/>
                  </a:lnTo>
                  <a:lnTo>
                    <a:pt x="1602" y="183"/>
                  </a:lnTo>
                  <a:lnTo>
                    <a:pt x="1602" y="183"/>
                  </a:lnTo>
                  <a:lnTo>
                    <a:pt x="1602" y="183"/>
                  </a:lnTo>
                  <a:lnTo>
                    <a:pt x="1602" y="183"/>
                  </a:lnTo>
                  <a:lnTo>
                    <a:pt x="1602" y="183"/>
                  </a:lnTo>
                  <a:lnTo>
                    <a:pt x="1605" y="183"/>
                  </a:lnTo>
                  <a:lnTo>
                    <a:pt x="1605" y="183"/>
                  </a:lnTo>
                  <a:lnTo>
                    <a:pt x="1605" y="183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598" y="183"/>
                  </a:lnTo>
                  <a:lnTo>
                    <a:pt x="1598" y="183"/>
                  </a:lnTo>
                  <a:lnTo>
                    <a:pt x="1598" y="183"/>
                  </a:lnTo>
                  <a:lnTo>
                    <a:pt x="1598" y="183"/>
                  </a:lnTo>
                  <a:lnTo>
                    <a:pt x="1600" y="180"/>
                  </a:lnTo>
                  <a:lnTo>
                    <a:pt x="1602" y="180"/>
                  </a:lnTo>
                  <a:lnTo>
                    <a:pt x="1605" y="180"/>
                  </a:lnTo>
                  <a:lnTo>
                    <a:pt x="1605" y="180"/>
                  </a:lnTo>
                  <a:lnTo>
                    <a:pt x="1605" y="180"/>
                  </a:lnTo>
                  <a:lnTo>
                    <a:pt x="1607" y="180"/>
                  </a:lnTo>
                  <a:lnTo>
                    <a:pt x="1609" y="180"/>
                  </a:lnTo>
                  <a:lnTo>
                    <a:pt x="1609" y="180"/>
                  </a:lnTo>
                  <a:close/>
                  <a:moveTo>
                    <a:pt x="708" y="167"/>
                  </a:moveTo>
                  <a:lnTo>
                    <a:pt x="706" y="167"/>
                  </a:lnTo>
                  <a:lnTo>
                    <a:pt x="699" y="167"/>
                  </a:lnTo>
                  <a:lnTo>
                    <a:pt x="699" y="167"/>
                  </a:lnTo>
                  <a:lnTo>
                    <a:pt x="695" y="167"/>
                  </a:lnTo>
                  <a:lnTo>
                    <a:pt x="695" y="167"/>
                  </a:lnTo>
                  <a:lnTo>
                    <a:pt x="695" y="167"/>
                  </a:lnTo>
                  <a:lnTo>
                    <a:pt x="695" y="167"/>
                  </a:lnTo>
                  <a:lnTo>
                    <a:pt x="695" y="167"/>
                  </a:lnTo>
                  <a:lnTo>
                    <a:pt x="695" y="167"/>
                  </a:lnTo>
                  <a:lnTo>
                    <a:pt x="697" y="165"/>
                  </a:lnTo>
                  <a:lnTo>
                    <a:pt x="697" y="165"/>
                  </a:lnTo>
                  <a:lnTo>
                    <a:pt x="697" y="165"/>
                  </a:lnTo>
                  <a:lnTo>
                    <a:pt x="697" y="162"/>
                  </a:lnTo>
                  <a:lnTo>
                    <a:pt x="697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4" y="160"/>
                  </a:lnTo>
                  <a:lnTo>
                    <a:pt x="708" y="162"/>
                  </a:lnTo>
                  <a:lnTo>
                    <a:pt x="708" y="162"/>
                  </a:lnTo>
                  <a:lnTo>
                    <a:pt x="710" y="162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5"/>
                  </a:lnTo>
                  <a:lnTo>
                    <a:pt x="715" y="165"/>
                  </a:lnTo>
                  <a:lnTo>
                    <a:pt x="713" y="165"/>
                  </a:lnTo>
                  <a:lnTo>
                    <a:pt x="713" y="165"/>
                  </a:lnTo>
                  <a:lnTo>
                    <a:pt x="710" y="165"/>
                  </a:lnTo>
                  <a:lnTo>
                    <a:pt x="710" y="165"/>
                  </a:lnTo>
                  <a:lnTo>
                    <a:pt x="710" y="167"/>
                  </a:lnTo>
                  <a:lnTo>
                    <a:pt x="708" y="167"/>
                  </a:lnTo>
                  <a:lnTo>
                    <a:pt x="708" y="167"/>
                  </a:lnTo>
                  <a:close/>
                  <a:moveTo>
                    <a:pt x="1450" y="160"/>
                  </a:moveTo>
                  <a:lnTo>
                    <a:pt x="1452" y="160"/>
                  </a:lnTo>
                  <a:lnTo>
                    <a:pt x="1452" y="162"/>
                  </a:lnTo>
                  <a:lnTo>
                    <a:pt x="1452" y="162"/>
                  </a:lnTo>
                  <a:lnTo>
                    <a:pt x="1452" y="162"/>
                  </a:lnTo>
                  <a:lnTo>
                    <a:pt x="1452" y="162"/>
                  </a:lnTo>
                  <a:lnTo>
                    <a:pt x="1452" y="162"/>
                  </a:lnTo>
                  <a:lnTo>
                    <a:pt x="1450" y="162"/>
                  </a:lnTo>
                  <a:lnTo>
                    <a:pt x="1450" y="162"/>
                  </a:lnTo>
                  <a:lnTo>
                    <a:pt x="1450" y="162"/>
                  </a:lnTo>
                  <a:lnTo>
                    <a:pt x="1452" y="162"/>
                  </a:lnTo>
                  <a:lnTo>
                    <a:pt x="1450" y="162"/>
                  </a:lnTo>
                  <a:lnTo>
                    <a:pt x="1450" y="162"/>
                  </a:lnTo>
                  <a:lnTo>
                    <a:pt x="1447" y="162"/>
                  </a:lnTo>
                  <a:lnTo>
                    <a:pt x="1445" y="162"/>
                  </a:lnTo>
                  <a:lnTo>
                    <a:pt x="1445" y="162"/>
                  </a:lnTo>
                  <a:lnTo>
                    <a:pt x="1443" y="162"/>
                  </a:lnTo>
                  <a:lnTo>
                    <a:pt x="1438" y="160"/>
                  </a:lnTo>
                  <a:lnTo>
                    <a:pt x="1438" y="160"/>
                  </a:lnTo>
                  <a:lnTo>
                    <a:pt x="1438" y="160"/>
                  </a:lnTo>
                  <a:lnTo>
                    <a:pt x="1445" y="160"/>
                  </a:lnTo>
                  <a:lnTo>
                    <a:pt x="1450" y="160"/>
                  </a:lnTo>
                  <a:lnTo>
                    <a:pt x="1450" y="160"/>
                  </a:lnTo>
                  <a:lnTo>
                    <a:pt x="1450" y="160"/>
                  </a:lnTo>
                  <a:close/>
                  <a:moveTo>
                    <a:pt x="1452" y="158"/>
                  </a:moveTo>
                  <a:lnTo>
                    <a:pt x="1450" y="158"/>
                  </a:lnTo>
                  <a:lnTo>
                    <a:pt x="1447" y="158"/>
                  </a:lnTo>
                  <a:lnTo>
                    <a:pt x="1438" y="158"/>
                  </a:lnTo>
                  <a:lnTo>
                    <a:pt x="1436" y="158"/>
                  </a:lnTo>
                  <a:lnTo>
                    <a:pt x="1436" y="158"/>
                  </a:lnTo>
                  <a:lnTo>
                    <a:pt x="1436" y="156"/>
                  </a:lnTo>
                  <a:lnTo>
                    <a:pt x="1436" y="156"/>
                  </a:lnTo>
                  <a:lnTo>
                    <a:pt x="1436" y="156"/>
                  </a:lnTo>
                  <a:lnTo>
                    <a:pt x="1436" y="156"/>
                  </a:lnTo>
                  <a:lnTo>
                    <a:pt x="1447" y="156"/>
                  </a:lnTo>
                  <a:lnTo>
                    <a:pt x="1452" y="158"/>
                  </a:lnTo>
                  <a:lnTo>
                    <a:pt x="1452" y="158"/>
                  </a:lnTo>
                  <a:lnTo>
                    <a:pt x="1452" y="158"/>
                  </a:lnTo>
                  <a:close/>
                  <a:moveTo>
                    <a:pt x="724" y="156"/>
                  </a:moveTo>
                  <a:lnTo>
                    <a:pt x="726" y="156"/>
                  </a:lnTo>
                  <a:lnTo>
                    <a:pt x="724" y="156"/>
                  </a:lnTo>
                  <a:lnTo>
                    <a:pt x="724" y="156"/>
                  </a:lnTo>
                  <a:lnTo>
                    <a:pt x="724" y="156"/>
                  </a:lnTo>
                  <a:lnTo>
                    <a:pt x="724" y="156"/>
                  </a:lnTo>
                  <a:lnTo>
                    <a:pt x="724" y="156"/>
                  </a:lnTo>
                  <a:lnTo>
                    <a:pt x="724" y="156"/>
                  </a:lnTo>
                  <a:lnTo>
                    <a:pt x="726" y="156"/>
                  </a:lnTo>
                  <a:lnTo>
                    <a:pt x="726" y="156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6" y="158"/>
                  </a:lnTo>
                  <a:lnTo>
                    <a:pt x="728" y="158"/>
                  </a:lnTo>
                  <a:lnTo>
                    <a:pt x="728" y="158"/>
                  </a:lnTo>
                  <a:lnTo>
                    <a:pt x="728" y="160"/>
                  </a:lnTo>
                  <a:lnTo>
                    <a:pt x="726" y="160"/>
                  </a:lnTo>
                  <a:lnTo>
                    <a:pt x="719" y="158"/>
                  </a:lnTo>
                  <a:lnTo>
                    <a:pt x="717" y="158"/>
                  </a:lnTo>
                  <a:lnTo>
                    <a:pt x="717" y="158"/>
                  </a:lnTo>
                  <a:lnTo>
                    <a:pt x="715" y="158"/>
                  </a:lnTo>
                  <a:lnTo>
                    <a:pt x="715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6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8"/>
                  </a:lnTo>
                  <a:lnTo>
                    <a:pt x="713" y="156"/>
                  </a:lnTo>
                  <a:lnTo>
                    <a:pt x="713" y="156"/>
                  </a:lnTo>
                  <a:lnTo>
                    <a:pt x="713" y="156"/>
                  </a:lnTo>
                  <a:lnTo>
                    <a:pt x="713" y="156"/>
                  </a:lnTo>
                  <a:lnTo>
                    <a:pt x="717" y="151"/>
                  </a:lnTo>
                  <a:lnTo>
                    <a:pt x="717" y="151"/>
                  </a:lnTo>
                  <a:lnTo>
                    <a:pt x="717" y="151"/>
                  </a:lnTo>
                  <a:lnTo>
                    <a:pt x="717" y="151"/>
                  </a:lnTo>
                  <a:lnTo>
                    <a:pt x="719" y="153"/>
                  </a:lnTo>
                  <a:lnTo>
                    <a:pt x="719" y="153"/>
                  </a:lnTo>
                  <a:lnTo>
                    <a:pt x="722" y="153"/>
                  </a:lnTo>
                  <a:lnTo>
                    <a:pt x="722" y="153"/>
                  </a:lnTo>
                  <a:lnTo>
                    <a:pt x="722" y="153"/>
                  </a:lnTo>
                  <a:lnTo>
                    <a:pt x="722" y="153"/>
                  </a:lnTo>
                  <a:lnTo>
                    <a:pt x="722" y="153"/>
                  </a:lnTo>
                  <a:lnTo>
                    <a:pt x="722" y="153"/>
                  </a:lnTo>
                  <a:lnTo>
                    <a:pt x="722" y="156"/>
                  </a:lnTo>
                  <a:lnTo>
                    <a:pt x="724" y="156"/>
                  </a:lnTo>
                  <a:close/>
                  <a:moveTo>
                    <a:pt x="654" y="151"/>
                  </a:moveTo>
                  <a:lnTo>
                    <a:pt x="656" y="153"/>
                  </a:lnTo>
                  <a:lnTo>
                    <a:pt x="656" y="153"/>
                  </a:lnTo>
                  <a:lnTo>
                    <a:pt x="654" y="153"/>
                  </a:lnTo>
                  <a:lnTo>
                    <a:pt x="654" y="151"/>
                  </a:lnTo>
                  <a:lnTo>
                    <a:pt x="652" y="151"/>
                  </a:lnTo>
                  <a:lnTo>
                    <a:pt x="652" y="151"/>
                  </a:lnTo>
                  <a:lnTo>
                    <a:pt x="652" y="153"/>
                  </a:lnTo>
                  <a:lnTo>
                    <a:pt x="652" y="153"/>
                  </a:lnTo>
                  <a:lnTo>
                    <a:pt x="652" y="153"/>
                  </a:lnTo>
                  <a:lnTo>
                    <a:pt x="652" y="153"/>
                  </a:lnTo>
                  <a:lnTo>
                    <a:pt x="652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2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47" y="156"/>
                  </a:lnTo>
                  <a:lnTo>
                    <a:pt x="647" y="156"/>
                  </a:lnTo>
                  <a:lnTo>
                    <a:pt x="647" y="156"/>
                  </a:lnTo>
                  <a:lnTo>
                    <a:pt x="645" y="153"/>
                  </a:lnTo>
                  <a:lnTo>
                    <a:pt x="645" y="153"/>
                  </a:lnTo>
                  <a:lnTo>
                    <a:pt x="645" y="153"/>
                  </a:lnTo>
                  <a:lnTo>
                    <a:pt x="643" y="153"/>
                  </a:lnTo>
                  <a:lnTo>
                    <a:pt x="643" y="151"/>
                  </a:lnTo>
                  <a:lnTo>
                    <a:pt x="643" y="151"/>
                  </a:lnTo>
                  <a:lnTo>
                    <a:pt x="645" y="151"/>
                  </a:lnTo>
                  <a:lnTo>
                    <a:pt x="647" y="151"/>
                  </a:lnTo>
                  <a:lnTo>
                    <a:pt x="652" y="151"/>
                  </a:lnTo>
                  <a:lnTo>
                    <a:pt x="654" y="151"/>
                  </a:lnTo>
                  <a:close/>
                  <a:moveTo>
                    <a:pt x="1308" y="153"/>
                  </a:moveTo>
                  <a:lnTo>
                    <a:pt x="1308" y="153"/>
                  </a:lnTo>
                  <a:lnTo>
                    <a:pt x="1308" y="153"/>
                  </a:lnTo>
                  <a:lnTo>
                    <a:pt x="1306" y="153"/>
                  </a:lnTo>
                  <a:lnTo>
                    <a:pt x="1306" y="153"/>
                  </a:lnTo>
                  <a:lnTo>
                    <a:pt x="1306" y="151"/>
                  </a:lnTo>
                  <a:lnTo>
                    <a:pt x="1303" y="151"/>
                  </a:lnTo>
                  <a:lnTo>
                    <a:pt x="1303" y="151"/>
                  </a:lnTo>
                  <a:lnTo>
                    <a:pt x="1303" y="151"/>
                  </a:lnTo>
                  <a:lnTo>
                    <a:pt x="1306" y="151"/>
                  </a:lnTo>
                  <a:lnTo>
                    <a:pt x="1308" y="151"/>
                  </a:lnTo>
                  <a:lnTo>
                    <a:pt x="1312" y="151"/>
                  </a:lnTo>
                  <a:lnTo>
                    <a:pt x="1312" y="151"/>
                  </a:lnTo>
                  <a:lnTo>
                    <a:pt x="1312" y="151"/>
                  </a:lnTo>
                  <a:lnTo>
                    <a:pt x="1312" y="153"/>
                  </a:lnTo>
                  <a:lnTo>
                    <a:pt x="1312" y="153"/>
                  </a:lnTo>
                  <a:lnTo>
                    <a:pt x="1315" y="153"/>
                  </a:lnTo>
                  <a:lnTo>
                    <a:pt x="1315" y="153"/>
                  </a:lnTo>
                  <a:lnTo>
                    <a:pt x="1308" y="153"/>
                  </a:lnTo>
                  <a:lnTo>
                    <a:pt x="1308" y="153"/>
                  </a:lnTo>
                  <a:close/>
                  <a:moveTo>
                    <a:pt x="672" y="149"/>
                  </a:moveTo>
                  <a:lnTo>
                    <a:pt x="677" y="151"/>
                  </a:lnTo>
                  <a:lnTo>
                    <a:pt x="679" y="151"/>
                  </a:lnTo>
                  <a:lnTo>
                    <a:pt x="679" y="151"/>
                  </a:lnTo>
                  <a:lnTo>
                    <a:pt x="679" y="151"/>
                  </a:lnTo>
                  <a:lnTo>
                    <a:pt x="681" y="151"/>
                  </a:lnTo>
                  <a:lnTo>
                    <a:pt x="681" y="151"/>
                  </a:lnTo>
                  <a:lnTo>
                    <a:pt x="681" y="151"/>
                  </a:lnTo>
                  <a:lnTo>
                    <a:pt x="681" y="151"/>
                  </a:lnTo>
                  <a:lnTo>
                    <a:pt x="679" y="151"/>
                  </a:lnTo>
                  <a:lnTo>
                    <a:pt x="679" y="151"/>
                  </a:lnTo>
                  <a:lnTo>
                    <a:pt x="674" y="151"/>
                  </a:lnTo>
                  <a:lnTo>
                    <a:pt x="672" y="151"/>
                  </a:lnTo>
                  <a:lnTo>
                    <a:pt x="672" y="151"/>
                  </a:lnTo>
                  <a:lnTo>
                    <a:pt x="670" y="149"/>
                  </a:lnTo>
                  <a:lnTo>
                    <a:pt x="670" y="149"/>
                  </a:lnTo>
                  <a:lnTo>
                    <a:pt x="672" y="149"/>
                  </a:lnTo>
                  <a:close/>
                  <a:moveTo>
                    <a:pt x="600" y="147"/>
                  </a:moveTo>
                  <a:lnTo>
                    <a:pt x="600" y="147"/>
                  </a:lnTo>
                  <a:lnTo>
                    <a:pt x="600" y="147"/>
                  </a:lnTo>
                  <a:lnTo>
                    <a:pt x="598" y="147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598" y="147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0" y="147"/>
                  </a:lnTo>
                  <a:close/>
                  <a:moveTo>
                    <a:pt x="367" y="147"/>
                  </a:moveTo>
                  <a:lnTo>
                    <a:pt x="371" y="147"/>
                  </a:lnTo>
                  <a:lnTo>
                    <a:pt x="373" y="147"/>
                  </a:lnTo>
                  <a:lnTo>
                    <a:pt x="376" y="149"/>
                  </a:lnTo>
                  <a:lnTo>
                    <a:pt x="376" y="149"/>
                  </a:lnTo>
                  <a:lnTo>
                    <a:pt x="376" y="149"/>
                  </a:lnTo>
                  <a:lnTo>
                    <a:pt x="376" y="149"/>
                  </a:lnTo>
                  <a:lnTo>
                    <a:pt x="376" y="149"/>
                  </a:lnTo>
                  <a:lnTo>
                    <a:pt x="385" y="149"/>
                  </a:lnTo>
                  <a:lnTo>
                    <a:pt x="385" y="149"/>
                  </a:lnTo>
                  <a:lnTo>
                    <a:pt x="385" y="149"/>
                  </a:lnTo>
                  <a:lnTo>
                    <a:pt x="387" y="149"/>
                  </a:lnTo>
                  <a:lnTo>
                    <a:pt x="387" y="151"/>
                  </a:lnTo>
                  <a:lnTo>
                    <a:pt x="387" y="151"/>
                  </a:lnTo>
                  <a:lnTo>
                    <a:pt x="387" y="151"/>
                  </a:lnTo>
                  <a:lnTo>
                    <a:pt x="389" y="151"/>
                  </a:lnTo>
                  <a:lnTo>
                    <a:pt x="387" y="151"/>
                  </a:lnTo>
                  <a:lnTo>
                    <a:pt x="378" y="153"/>
                  </a:lnTo>
                  <a:lnTo>
                    <a:pt x="378" y="153"/>
                  </a:lnTo>
                  <a:lnTo>
                    <a:pt x="387" y="153"/>
                  </a:lnTo>
                  <a:lnTo>
                    <a:pt x="387" y="153"/>
                  </a:lnTo>
                  <a:lnTo>
                    <a:pt x="387" y="153"/>
                  </a:lnTo>
                  <a:lnTo>
                    <a:pt x="387" y="153"/>
                  </a:lnTo>
                  <a:lnTo>
                    <a:pt x="387" y="153"/>
                  </a:lnTo>
                  <a:lnTo>
                    <a:pt x="385" y="153"/>
                  </a:lnTo>
                  <a:lnTo>
                    <a:pt x="380" y="153"/>
                  </a:lnTo>
                  <a:lnTo>
                    <a:pt x="380" y="153"/>
                  </a:lnTo>
                  <a:lnTo>
                    <a:pt x="376" y="153"/>
                  </a:lnTo>
                  <a:lnTo>
                    <a:pt x="376" y="156"/>
                  </a:lnTo>
                  <a:lnTo>
                    <a:pt x="376" y="156"/>
                  </a:lnTo>
                  <a:lnTo>
                    <a:pt x="378" y="156"/>
                  </a:lnTo>
                  <a:lnTo>
                    <a:pt x="378" y="156"/>
                  </a:lnTo>
                  <a:lnTo>
                    <a:pt x="378" y="156"/>
                  </a:lnTo>
                  <a:lnTo>
                    <a:pt x="382" y="156"/>
                  </a:lnTo>
                  <a:lnTo>
                    <a:pt x="382" y="153"/>
                  </a:lnTo>
                  <a:lnTo>
                    <a:pt x="385" y="153"/>
                  </a:lnTo>
                  <a:lnTo>
                    <a:pt x="385" y="153"/>
                  </a:lnTo>
                  <a:lnTo>
                    <a:pt x="385" y="156"/>
                  </a:lnTo>
                  <a:lnTo>
                    <a:pt x="385" y="156"/>
                  </a:lnTo>
                  <a:lnTo>
                    <a:pt x="385" y="156"/>
                  </a:lnTo>
                  <a:lnTo>
                    <a:pt x="387" y="156"/>
                  </a:lnTo>
                  <a:lnTo>
                    <a:pt x="387" y="156"/>
                  </a:lnTo>
                  <a:lnTo>
                    <a:pt x="387" y="156"/>
                  </a:lnTo>
                  <a:lnTo>
                    <a:pt x="387" y="158"/>
                  </a:lnTo>
                  <a:lnTo>
                    <a:pt x="387" y="158"/>
                  </a:lnTo>
                  <a:lnTo>
                    <a:pt x="387" y="158"/>
                  </a:lnTo>
                  <a:lnTo>
                    <a:pt x="385" y="158"/>
                  </a:lnTo>
                  <a:lnTo>
                    <a:pt x="385" y="158"/>
                  </a:lnTo>
                  <a:lnTo>
                    <a:pt x="385" y="158"/>
                  </a:lnTo>
                  <a:lnTo>
                    <a:pt x="385" y="158"/>
                  </a:lnTo>
                  <a:lnTo>
                    <a:pt x="382" y="158"/>
                  </a:lnTo>
                  <a:lnTo>
                    <a:pt x="380" y="158"/>
                  </a:lnTo>
                  <a:lnTo>
                    <a:pt x="378" y="158"/>
                  </a:lnTo>
                  <a:lnTo>
                    <a:pt x="376" y="158"/>
                  </a:lnTo>
                  <a:lnTo>
                    <a:pt x="376" y="158"/>
                  </a:lnTo>
                  <a:lnTo>
                    <a:pt x="376" y="158"/>
                  </a:lnTo>
                  <a:lnTo>
                    <a:pt x="378" y="158"/>
                  </a:lnTo>
                  <a:lnTo>
                    <a:pt x="380" y="158"/>
                  </a:lnTo>
                  <a:lnTo>
                    <a:pt x="380" y="158"/>
                  </a:lnTo>
                  <a:lnTo>
                    <a:pt x="382" y="158"/>
                  </a:lnTo>
                  <a:lnTo>
                    <a:pt x="385" y="160"/>
                  </a:lnTo>
                  <a:lnTo>
                    <a:pt x="380" y="160"/>
                  </a:lnTo>
                  <a:lnTo>
                    <a:pt x="380" y="160"/>
                  </a:lnTo>
                  <a:lnTo>
                    <a:pt x="378" y="160"/>
                  </a:lnTo>
                  <a:lnTo>
                    <a:pt x="380" y="160"/>
                  </a:lnTo>
                  <a:lnTo>
                    <a:pt x="380" y="160"/>
                  </a:lnTo>
                  <a:lnTo>
                    <a:pt x="380" y="160"/>
                  </a:lnTo>
                  <a:lnTo>
                    <a:pt x="380" y="160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78" y="162"/>
                  </a:lnTo>
                  <a:lnTo>
                    <a:pt x="378" y="162"/>
                  </a:lnTo>
                  <a:lnTo>
                    <a:pt x="376" y="162"/>
                  </a:lnTo>
                  <a:lnTo>
                    <a:pt x="378" y="162"/>
                  </a:lnTo>
                  <a:lnTo>
                    <a:pt x="378" y="162"/>
                  </a:lnTo>
                  <a:lnTo>
                    <a:pt x="378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2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78" y="165"/>
                  </a:lnTo>
                  <a:lnTo>
                    <a:pt x="378" y="165"/>
                  </a:lnTo>
                  <a:lnTo>
                    <a:pt x="378" y="165"/>
                  </a:lnTo>
                  <a:lnTo>
                    <a:pt x="378" y="165"/>
                  </a:lnTo>
                  <a:lnTo>
                    <a:pt x="373" y="165"/>
                  </a:lnTo>
                  <a:lnTo>
                    <a:pt x="373" y="165"/>
                  </a:lnTo>
                  <a:lnTo>
                    <a:pt x="378" y="165"/>
                  </a:lnTo>
                  <a:lnTo>
                    <a:pt x="378" y="165"/>
                  </a:lnTo>
                  <a:lnTo>
                    <a:pt x="378" y="165"/>
                  </a:lnTo>
                  <a:lnTo>
                    <a:pt x="378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5"/>
                  </a:lnTo>
                  <a:lnTo>
                    <a:pt x="380" y="167"/>
                  </a:lnTo>
                  <a:lnTo>
                    <a:pt x="380" y="167"/>
                  </a:lnTo>
                  <a:lnTo>
                    <a:pt x="380" y="167"/>
                  </a:lnTo>
                  <a:lnTo>
                    <a:pt x="380" y="167"/>
                  </a:lnTo>
                  <a:lnTo>
                    <a:pt x="380" y="167"/>
                  </a:lnTo>
                  <a:lnTo>
                    <a:pt x="380" y="167"/>
                  </a:lnTo>
                  <a:lnTo>
                    <a:pt x="382" y="169"/>
                  </a:lnTo>
                  <a:lnTo>
                    <a:pt x="382" y="169"/>
                  </a:lnTo>
                  <a:lnTo>
                    <a:pt x="382" y="169"/>
                  </a:lnTo>
                  <a:lnTo>
                    <a:pt x="382" y="169"/>
                  </a:lnTo>
                  <a:lnTo>
                    <a:pt x="385" y="169"/>
                  </a:lnTo>
                  <a:lnTo>
                    <a:pt x="382" y="169"/>
                  </a:lnTo>
                  <a:lnTo>
                    <a:pt x="382" y="169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1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0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0" y="174"/>
                  </a:lnTo>
                  <a:lnTo>
                    <a:pt x="380" y="174"/>
                  </a:lnTo>
                  <a:lnTo>
                    <a:pt x="385" y="174"/>
                  </a:lnTo>
                  <a:lnTo>
                    <a:pt x="385" y="174"/>
                  </a:lnTo>
                  <a:lnTo>
                    <a:pt x="385" y="174"/>
                  </a:lnTo>
                  <a:lnTo>
                    <a:pt x="385" y="176"/>
                  </a:lnTo>
                  <a:lnTo>
                    <a:pt x="385" y="176"/>
                  </a:lnTo>
                  <a:lnTo>
                    <a:pt x="387" y="176"/>
                  </a:lnTo>
                  <a:lnTo>
                    <a:pt x="387" y="176"/>
                  </a:lnTo>
                  <a:lnTo>
                    <a:pt x="387" y="176"/>
                  </a:lnTo>
                  <a:lnTo>
                    <a:pt x="387" y="176"/>
                  </a:lnTo>
                  <a:lnTo>
                    <a:pt x="387" y="176"/>
                  </a:lnTo>
                  <a:lnTo>
                    <a:pt x="387" y="176"/>
                  </a:lnTo>
                  <a:lnTo>
                    <a:pt x="387" y="176"/>
                  </a:lnTo>
                  <a:lnTo>
                    <a:pt x="387" y="178"/>
                  </a:lnTo>
                  <a:lnTo>
                    <a:pt x="387" y="178"/>
                  </a:lnTo>
                  <a:lnTo>
                    <a:pt x="389" y="178"/>
                  </a:lnTo>
                  <a:lnTo>
                    <a:pt x="391" y="180"/>
                  </a:lnTo>
                  <a:lnTo>
                    <a:pt x="394" y="183"/>
                  </a:lnTo>
                  <a:lnTo>
                    <a:pt x="394" y="183"/>
                  </a:lnTo>
                  <a:lnTo>
                    <a:pt x="394" y="183"/>
                  </a:lnTo>
                  <a:lnTo>
                    <a:pt x="396" y="183"/>
                  </a:lnTo>
                  <a:lnTo>
                    <a:pt x="396" y="185"/>
                  </a:lnTo>
                  <a:lnTo>
                    <a:pt x="398" y="185"/>
                  </a:lnTo>
                  <a:lnTo>
                    <a:pt x="398" y="185"/>
                  </a:lnTo>
                  <a:lnTo>
                    <a:pt x="398" y="185"/>
                  </a:lnTo>
                  <a:lnTo>
                    <a:pt x="400" y="187"/>
                  </a:lnTo>
                  <a:lnTo>
                    <a:pt x="400" y="187"/>
                  </a:lnTo>
                  <a:lnTo>
                    <a:pt x="400" y="187"/>
                  </a:lnTo>
                  <a:lnTo>
                    <a:pt x="400" y="187"/>
                  </a:lnTo>
                  <a:lnTo>
                    <a:pt x="409" y="192"/>
                  </a:lnTo>
                  <a:lnTo>
                    <a:pt x="412" y="192"/>
                  </a:lnTo>
                  <a:lnTo>
                    <a:pt x="414" y="194"/>
                  </a:lnTo>
                  <a:lnTo>
                    <a:pt x="416" y="194"/>
                  </a:lnTo>
                  <a:lnTo>
                    <a:pt x="416" y="194"/>
                  </a:lnTo>
                  <a:lnTo>
                    <a:pt x="416" y="194"/>
                  </a:lnTo>
                  <a:lnTo>
                    <a:pt x="416" y="194"/>
                  </a:lnTo>
                  <a:lnTo>
                    <a:pt x="418" y="194"/>
                  </a:lnTo>
                  <a:lnTo>
                    <a:pt x="418" y="194"/>
                  </a:lnTo>
                  <a:lnTo>
                    <a:pt x="418" y="196"/>
                  </a:lnTo>
                  <a:lnTo>
                    <a:pt x="421" y="196"/>
                  </a:lnTo>
                  <a:lnTo>
                    <a:pt x="421" y="196"/>
                  </a:lnTo>
                  <a:lnTo>
                    <a:pt x="423" y="196"/>
                  </a:lnTo>
                  <a:lnTo>
                    <a:pt x="423" y="196"/>
                  </a:lnTo>
                  <a:lnTo>
                    <a:pt x="423" y="196"/>
                  </a:lnTo>
                  <a:lnTo>
                    <a:pt x="425" y="196"/>
                  </a:lnTo>
                  <a:lnTo>
                    <a:pt x="427" y="196"/>
                  </a:lnTo>
                  <a:lnTo>
                    <a:pt x="430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30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198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5" y="201"/>
                  </a:lnTo>
                  <a:lnTo>
                    <a:pt x="423" y="198"/>
                  </a:lnTo>
                  <a:lnTo>
                    <a:pt x="421" y="198"/>
                  </a:lnTo>
                  <a:lnTo>
                    <a:pt x="421" y="198"/>
                  </a:lnTo>
                  <a:lnTo>
                    <a:pt x="421" y="198"/>
                  </a:lnTo>
                  <a:lnTo>
                    <a:pt x="421" y="198"/>
                  </a:lnTo>
                  <a:lnTo>
                    <a:pt x="421" y="198"/>
                  </a:lnTo>
                  <a:lnTo>
                    <a:pt x="418" y="198"/>
                  </a:lnTo>
                  <a:lnTo>
                    <a:pt x="418" y="198"/>
                  </a:lnTo>
                  <a:lnTo>
                    <a:pt x="416" y="198"/>
                  </a:lnTo>
                  <a:lnTo>
                    <a:pt x="416" y="198"/>
                  </a:lnTo>
                  <a:lnTo>
                    <a:pt x="416" y="198"/>
                  </a:lnTo>
                  <a:lnTo>
                    <a:pt x="416" y="198"/>
                  </a:lnTo>
                  <a:lnTo>
                    <a:pt x="418" y="198"/>
                  </a:lnTo>
                  <a:lnTo>
                    <a:pt x="418" y="198"/>
                  </a:lnTo>
                  <a:lnTo>
                    <a:pt x="418" y="198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3" y="201"/>
                  </a:lnTo>
                  <a:lnTo>
                    <a:pt x="425" y="201"/>
                  </a:lnTo>
                  <a:lnTo>
                    <a:pt x="425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27" y="201"/>
                  </a:lnTo>
                  <a:lnTo>
                    <a:pt x="416" y="201"/>
                  </a:lnTo>
                  <a:lnTo>
                    <a:pt x="416" y="198"/>
                  </a:lnTo>
                  <a:lnTo>
                    <a:pt x="414" y="198"/>
                  </a:lnTo>
                  <a:lnTo>
                    <a:pt x="416" y="198"/>
                  </a:lnTo>
                  <a:lnTo>
                    <a:pt x="416" y="198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4" y="201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4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09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2" y="198"/>
                  </a:lnTo>
                  <a:lnTo>
                    <a:pt x="414" y="198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6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6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4" y="201"/>
                  </a:lnTo>
                  <a:lnTo>
                    <a:pt x="412" y="201"/>
                  </a:lnTo>
                  <a:lnTo>
                    <a:pt x="412" y="201"/>
                  </a:lnTo>
                  <a:lnTo>
                    <a:pt x="409" y="198"/>
                  </a:lnTo>
                  <a:lnTo>
                    <a:pt x="407" y="198"/>
                  </a:lnTo>
                  <a:lnTo>
                    <a:pt x="407" y="198"/>
                  </a:lnTo>
                  <a:lnTo>
                    <a:pt x="409" y="201"/>
                  </a:lnTo>
                  <a:lnTo>
                    <a:pt x="409" y="201"/>
                  </a:lnTo>
                  <a:lnTo>
                    <a:pt x="409" y="201"/>
                  </a:lnTo>
                  <a:lnTo>
                    <a:pt x="409" y="201"/>
                  </a:lnTo>
                  <a:lnTo>
                    <a:pt x="407" y="201"/>
                  </a:lnTo>
                  <a:lnTo>
                    <a:pt x="405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3" y="198"/>
                  </a:lnTo>
                  <a:lnTo>
                    <a:pt x="405" y="198"/>
                  </a:lnTo>
                  <a:lnTo>
                    <a:pt x="407" y="201"/>
                  </a:lnTo>
                  <a:lnTo>
                    <a:pt x="407" y="201"/>
                  </a:lnTo>
                  <a:lnTo>
                    <a:pt x="407" y="201"/>
                  </a:lnTo>
                  <a:lnTo>
                    <a:pt x="407" y="201"/>
                  </a:lnTo>
                  <a:lnTo>
                    <a:pt x="407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5" y="201"/>
                  </a:lnTo>
                  <a:lnTo>
                    <a:pt x="403" y="201"/>
                  </a:lnTo>
                  <a:lnTo>
                    <a:pt x="403" y="201"/>
                  </a:lnTo>
                  <a:lnTo>
                    <a:pt x="403" y="201"/>
                  </a:lnTo>
                  <a:lnTo>
                    <a:pt x="400" y="201"/>
                  </a:lnTo>
                  <a:lnTo>
                    <a:pt x="400" y="198"/>
                  </a:lnTo>
                  <a:lnTo>
                    <a:pt x="400" y="201"/>
                  </a:lnTo>
                  <a:lnTo>
                    <a:pt x="400" y="201"/>
                  </a:lnTo>
                  <a:lnTo>
                    <a:pt x="403" y="201"/>
                  </a:lnTo>
                  <a:lnTo>
                    <a:pt x="403" y="201"/>
                  </a:lnTo>
                  <a:lnTo>
                    <a:pt x="403" y="198"/>
                  </a:lnTo>
                  <a:lnTo>
                    <a:pt x="403" y="201"/>
                  </a:lnTo>
                  <a:lnTo>
                    <a:pt x="403" y="201"/>
                  </a:lnTo>
                  <a:lnTo>
                    <a:pt x="403" y="201"/>
                  </a:lnTo>
                  <a:lnTo>
                    <a:pt x="403" y="198"/>
                  </a:lnTo>
                  <a:lnTo>
                    <a:pt x="403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403" y="198"/>
                  </a:lnTo>
                  <a:lnTo>
                    <a:pt x="403" y="198"/>
                  </a:lnTo>
                  <a:lnTo>
                    <a:pt x="400" y="198"/>
                  </a:lnTo>
                  <a:lnTo>
                    <a:pt x="400" y="198"/>
                  </a:lnTo>
                  <a:lnTo>
                    <a:pt x="398" y="198"/>
                  </a:lnTo>
                  <a:lnTo>
                    <a:pt x="398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8" y="198"/>
                  </a:lnTo>
                  <a:lnTo>
                    <a:pt x="398" y="198"/>
                  </a:lnTo>
                  <a:lnTo>
                    <a:pt x="398" y="198"/>
                  </a:lnTo>
                  <a:lnTo>
                    <a:pt x="398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6" y="198"/>
                  </a:lnTo>
                  <a:lnTo>
                    <a:pt x="394" y="198"/>
                  </a:lnTo>
                  <a:lnTo>
                    <a:pt x="394" y="198"/>
                  </a:lnTo>
                  <a:lnTo>
                    <a:pt x="394" y="198"/>
                  </a:lnTo>
                  <a:lnTo>
                    <a:pt x="394" y="198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6" y="201"/>
                  </a:lnTo>
                  <a:lnTo>
                    <a:pt x="394" y="201"/>
                  </a:lnTo>
                  <a:lnTo>
                    <a:pt x="394" y="201"/>
                  </a:lnTo>
                  <a:lnTo>
                    <a:pt x="391" y="201"/>
                  </a:lnTo>
                  <a:lnTo>
                    <a:pt x="391" y="201"/>
                  </a:lnTo>
                  <a:lnTo>
                    <a:pt x="391" y="201"/>
                  </a:lnTo>
                  <a:lnTo>
                    <a:pt x="391" y="201"/>
                  </a:lnTo>
                  <a:lnTo>
                    <a:pt x="391" y="201"/>
                  </a:lnTo>
                  <a:lnTo>
                    <a:pt x="391" y="201"/>
                  </a:lnTo>
                  <a:lnTo>
                    <a:pt x="389" y="201"/>
                  </a:lnTo>
                  <a:lnTo>
                    <a:pt x="389" y="201"/>
                  </a:lnTo>
                  <a:lnTo>
                    <a:pt x="389" y="201"/>
                  </a:lnTo>
                  <a:lnTo>
                    <a:pt x="389" y="198"/>
                  </a:lnTo>
                  <a:lnTo>
                    <a:pt x="389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5" y="198"/>
                  </a:lnTo>
                  <a:lnTo>
                    <a:pt x="385" y="196"/>
                  </a:lnTo>
                  <a:lnTo>
                    <a:pt x="385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6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7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5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2" y="198"/>
                  </a:lnTo>
                  <a:lnTo>
                    <a:pt x="380" y="196"/>
                  </a:lnTo>
                  <a:lnTo>
                    <a:pt x="380" y="196"/>
                  </a:lnTo>
                  <a:lnTo>
                    <a:pt x="378" y="196"/>
                  </a:lnTo>
                  <a:lnTo>
                    <a:pt x="378" y="196"/>
                  </a:lnTo>
                  <a:lnTo>
                    <a:pt x="380" y="198"/>
                  </a:lnTo>
                  <a:lnTo>
                    <a:pt x="380" y="198"/>
                  </a:lnTo>
                  <a:lnTo>
                    <a:pt x="380" y="198"/>
                  </a:lnTo>
                  <a:lnTo>
                    <a:pt x="378" y="198"/>
                  </a:lnTo>
                  <a:lnTo>
                    <a:pt x="378" y="198"/>
                  </a:lnTo>
                  <a:lnTo>
                    <a:pt x="378" y="198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6" y="198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3" y="196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71" y="196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4" y="196"/>
                  </a:lnTo>
                  <a:lnTo>
                    <a:pt x="364" y="196"/>
                  </a:lnTo>
                  <a:lnTo>
                    <a:pt x="364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6"/>
                  </a:lnTo>
                  <a:lnTo>
                    <a:pt x="367" y="194"/>
                  </a:lnTo>
                  <a:lnTo>
                    <a:pt x="367" y="194"/>
                  </a:lnTo>
                  <a:lnTo>
                    <a:pt x="367" y="194"/>
                  </a:lnTo>
                  <a:lnTo>
                    <a:pt x="367" y="194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9" y="196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69" y="194"/>
                  </a:lnTo>
                  <a:lnTo>
                    <a:pt x="367" y="192"/>
                  </a:lnTo>
                  <a:lnTo>
                    <a:pt x="364" y="192"/>
                  </a:lnTo>
                  <a:lnTo>
                    <a:pt x="364" y="192"/>
                  </a:lnTo>
                  <a:lnTo>
                    <a:pt x="364" y="192"/>
                  </a:lnTo>
                  <a:lnTo>
                    <a:pt x="364" y="192"/>
                  </a:lnTo>
                  <a:lnTo>
                    <a:pt x="364" y="192"/>
                  </a:lnTo>
                  <a:lnTo>
                    <a:pt x="364" y="192"/>
                  </a:lnTo>
                  <a:lnTo>
                    <a:pt x="367" y="192"/>
                  </a:lnTo>
                  <a:lnTo>
                    <a:pt x="367" y="192"/>
                  </a:lnTo>
                  <a:lnTo>
                    <a:pt x="367" y="192"/>
                  </a:lnTo>
                  <a:lnTo>
                    <a:pt x="367" y="192"/>
                  </a:lnTo>
                  <a:lnTo>
                    <a:pt x="367" y="192"/>
                  </a:lnTo>
                  <a:lnTo>
                    <a:pt x="369" y="192"/>
                  </a:lnTo>
                  <a:lnTo>
                    <a:pt x="369" y="192"/>
                  </a:lnTo>
                  <a:lnTo>
                    <a:pt x="369" y="192"/>
                  </a:lnTo>
                  <a:lnTo>
                    <a:pt x="371" y="192"/>
                  </a:lnTo>
                  <a:lnTo>
                    <a:pt x="371" y="192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3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92"/>
                  </a:lnTo>
                  <a:lnTo>
                    <a:pt x="371" y="189"/>
                  </a:lnTo>
                  <a:lnTo>
                    <a:pt x="373" y="192"/>
                  </a:lnTo>
                  <a:lnTo>
                    <a:pt x="376" y="189"/>
                  </a:lnTo>
                  <a:lnTo>
                    <a:pt x="376" y="189"/>
                  </a:lnTo>
                  <a:lnTo>
                    <a:pt x="376" y="189"/>
                  </a:lnTo>
                  <a:lnTo>
                    <a:pt x="373" y="189"/>
                  </a:lnTo>
                  <a:lnTo>
                    <a:pt x="373" y="189"/>
                  </a:lnTo>
                  <a:lnTo>
                    <a:pt x="373" y="189"/>
                  </a:lnTo>
                  <a:lnTo>
                    <a:pt x="373" y="189"/>
                  </a:lnTo>
                  <a:lnTo>
                    <a:pt x="373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73" y="189"/>
                  </a:lnTo>
                  <a:lnTo>
                    <a:pt x="373" y="189"/>
                  </a:lnTo>
                  <a:lnTo>
                    <a:pt x="373" y="189"/>
                  </a:lnTo>
                  <a:lnTo>
                    <a:pt x="371" y="187"/>
                  </a:lnTo>
                  <a:lnTo>
                    <a:pt x="371" y="187"/>
                  </a:lnTo>
                  <a:lnTo>
                    <a:pt x="371" y="187"/>
                  </a:lnTo>
                  <a:lnTo>
                    <a:pt x="371" y="187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7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9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7" y="189"/>
                  </a:lnTo>
                  <a:lnTo>
                    <a:pt x="364" y="189"/>
                  </a:lnTo>
                  <a:lnTo>
                    <a:pt x="364" y="189"/>
                  </a:lnTo>
                  <a:lnTo>
                    <a:pt x="364" y="189"/>
                  </a:lnTo>
                  <a:lnTo>
                    <a:pt x="364" y="189"/>
                  </a:lnTo>
                  <a:lnTo>
                    <a:pt x="364" y="189"/>
                  </a:lnTo>
                  <a:lnTo>
                    <a:pt x="362" y="187"/>
                  </a:lnTo>
                  <a:lnTo>
                    <a:pt x="362" y="187"/>
                  </a:lnTo>
                  <a:lnTo>
                    <a:pt x="362" y="187"/>
                  </a:lnTo>
                  <a:lnTo>
                    <a:pt x="364" y="187"/>
                  </a:lnTo>
                  <a:lnTo>
                    <a:pt x="364" y="187"/>
                  </a:lnTo>
                  <a:lnTo>
                    <a:pt x="364" y="187"/>
                  </a:lnTo>
                  <a:lnTo>
                    <a:pt x="364" y="185"/>
                  </a:lnTo>
                  <a:lnTo>
                    <a:pt x="364" y="185"/>
                  </a:lnTo>
                  <a:lnTo>
                    <a:pt x="364" y="185"/>
                  </a:lnTo>
                  <a:lnTo>
                    <a:pt x="364" y="185"/>
                  </a:lnTo>
                  <a:lnTo>
                    <a:pt x="367" y="185"/>
                  </a:lnTo>
                  <a:lnTo>
                    <a:pt x="367" y="185"/>
                  </a:lnTo>
                  <a:lnTo>
                    <a:pt x="367" y="183"/>
                  </a:lnTo>
                  <a:lnTo>
                    <a:pt x="367" y="183"/>
                  </a:lnTo>
                  <a:lnTo>
                    <a:pt x="367" y="183"/>
                  </a:lnTo>
                  <a:lnTo>
                    <a:pt x="367" y="183"/>
                  </a:lnTo>
                  <a:lnTo>
                    <a:pt x="367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7"/>
                  </a:lnTo>
                  <a:lnTo>
                    <a:pt x="362" y="187"/>
                  </a:lnTo>
                  <a:lnTo>
                    <a:pt x="360" y="187"/>
                  </a:lnTo>
                  <a:lnTo>
                    <a:pt x="360" y="187"/>
                  </a:lnTo>
                  <a:lnTo>
                    <a:pt x="360" y="185"/>
                  </a:lnTo>
                  <a:lnTo>
                    <a:pt x="360" y="185"/>
                  </a:lnTo>
                  <a:lnTo>
                    <a:pt x="360" y="185"/>
                  </a:lnTo>
                  <a:lnTo>
                    <a:pt x="358" y="185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58" y="183"/>
                  </a:lnTo>
                  <a:lnTo>
                    <a:pt x="360" y="183"/>
                  </a:lnTo>
                  <a:lnTo>
                    <a:pt x="358" y="180"/>
                  </a:lnTo>
                  <a:lnTo>
                    <a:pt x="358" y="180"/>
                  </a:lnTo>
                  <a:lnTo>
                    <a:pt x="355" y="183"/>
                  </a:lnTo>
                  <a:lnTo>
                    <a:pt x="355" y="183"/>
                  </a:lnTo>
                  <a:lnTo>
                    <a:pt x="355" y="183"/>
                  </a:lnTo>
                  <a:lnTo>
                    <a:pt x="355" y="185"/>
                  </a:lnTo>
                  <a:lnTo>
                    <a:pt x="355" y="185"/>
                  </a:lnTo>
                  <a:lnTo>
                    <a:pt x="355" y="185"/>
                  </a:lnTo>
                  <a:lnTo>
                    <a:pt x="355" y="185"/>
                  </a:lnTo>
                  <a:lnTo>
                    <a:pt x="355" y="183"/>
                  </a:lnTo>
                  <a:lnTo>
                    <a:pt x="355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3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3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3"/>
                  </a:lnTo>
                  <a:lnTo>
                    <a:pt x="351" y="185"/>
                  </a:lnTo>
                  <a:lnTo>
                    <a:pt x="351" y="185"/>
                  </a:lnTo>
                  <a:lnTo>
                    <a:pt x="349" y="185"/>
                  </a:lnTo>
                  <a:lnTo>
                    <a:pt x="349" y="183"/>
                  </a:lnTo>
                  <a:lnTo>
                    <a:pt x="349" y="183"/>
                  </a:lnTo>
                  <a:lnTo>
                    <a:pt x="349" y="183"/>
                  </a:lnTo>
                  <a:lnTo>
                    <a:pt x="349" y="183"/>
                  </a:lnTo>
                  <a:lnTo>
                    <a:pt x="346" y="183"/>
                  </a:lnTo>
                  <a:lnTo>
                    <a:pt x="346" y="183"/>
                  </a:lnTo>
                  <a:lnTo>
                    <a:pt x="346" y="183"/>
                  </a:lnTo>
                  <a:lnTo>
                    <a:pt x="346" y="183"/>
                  </a:lnTo>
                  <a:lnTo>
                    <a:pt x="346" y="183"/>
                  </a:lnTo>
                  <a:lnTo>
                    <a:pt x="346" y="183"/>
                  </a:lnTo>
                  <a:lnTo>
                    <a:pt x="346" y="180"/>
                  </a:lnTo>
                  <a:lnTo>
                    <a:pt x="346" y="180"/>
                  </a:lnTo>
                  <a:lnTo>
                    <a:pt x="344" y="180"/>
                  </a:lnTo>
                  <a:lnTo>
                    <a:pt x="344" y="180"/>
                  </a:lnTo>
                  <a:lnTo>
                    <a:pt x="344" y="180"/>
                  </a:lnTo>
                  <a:lnTo>
                    <a:pt x="344" y="180"/>
                  </a:lnTo>
                  <a:lnTo>
                    <a:pt x="344" y="180"/>
                  </a:lnTo>
                  <a:lnTo>
                    <a:pt x="344" y="183"/>
                  </a:lnTo>
                  <a:lnTo>
                    <a:pt x="344" y="183"/>
                  </a:lnTo>
                  <a:lnTo>
                    <a:pt x="344" y="183"/>
                  </a:lnTo>
                  <a:lnTo>
                    <a:pt x="342" y="183"/>
                  </a:lnTo>
                  <a:lnTo>
                    <a:pt x="344" y="183"/>
                  </a:lnTo>
                  <a:lnTo>
                    <a:pt x="344" y="183"/>
                  </a:lnTo>
                  <a:lnTo>
                    <a:pt x="344" y="183"/>
                  </a:lnTo>
                  <a:lnTo>
                    <a:pt x="344" y="183"/>
                  </a:lnTo>
                  <a:lnTo>
                    <a:pt x="344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2" y="180"/>
                  </a:lnTo>
                  <a:lnTo>
                    <a:pt x="342" y="180"/>
                  </a:lnTo>
                  <a:lnTo>
                    <a:pt x="340" y="180"/>
                  </a:lnTo>
                  <a:lnTo>
                    <a:pt x="340" y="183"/>
                  </a:lnTo>
                  <a:lnTo>
                    <a:pt x="340" y="183"/>
                  </a:lnTo>
                  <a:lnTo>
                    <a:pt x="340" y="183"/>
                  </a:lnTo>
                  <a:lnTo>
                    <a:pt x="340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2" y="183"/>
                  </a:lnTo>
                  <a:lnTo>
                    <a:pt x="340" y="183"/>
                  </a:lnTo>
                  <a:lnTo>
                    <a:pt x="340" y="183"/>
                  </a:lnTo>
                  <a:lnTo>
                    <a:pt x="337" y="183"/>
                  </a:lnTo>
                  <a:lnTo>
                    <a:pt x="337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5" y="183"/>
                  </a:lnTo>
                  <a:lnTo>
                    <a:pt x="333" y="183"/>
                  </a:lnTo>
                  <a:lnTo>
                    <a:pt x="333" y="183"/>
                  </a:lnTo>
                  <a:lnTo>
                    <a:pt x="331" y="183"/>
                  </a:lnTo>
                  <a:lnTo>
                    <a:pt x="331" y="183"/>
                  </a:lnTo>
                  <a:lnTo>
                    <a:pt x="331" y="183"/>
                  </a:lnTo>
                  <a:lnTo>
                    <a:pt x="331" y="180"/>
                  </a:lnTo>
                  <a:lnTo>
                    <a:pt x="331" y="180"/>
                  </a:lnTo>
                  <a:lnTo>
                    <a:pt x="331" y="180"/>
                  </a:lnTo>
                  <a:lnTo>
                    <a:pt x="331" y="180"/>
                  </a:lnTo>
                  <a:lnTo>
                    <a:pt x="331" y="180"/>
                  </a:lnTo>
                  <a:lnTo>
                    <a:pt x="331" y="180"/>
                  </a:lnTo>
                  <a:lnTo>
                    <a:pt x="328" y="180"/>
                  </a:lnTo>
                  <a:lnTo>
                    <a:pt x="328" y="178"/>
                  </a:lnTo>
                  <a:lnTo>
                    <a:pt x="328" y="178"/>
                  </a:lnTo>
                  <a:lnTo>
                    <a:pt x="328" y="178"/>
                  </a:lnTo>
                  <a:lnTo>
                    <a:pt x="328" y="178"/>
                  </a:lnTo>
                  <a:lnTo>
                    <a:pt x="328" y="178"/>
                  </a:lnTo>
                  <a:lnTo>
                    <a:pt x="328" y="178"/>
                  </a:lnTo>
                  <a:lnTo>
                    <a:pt x="326" y="178"/>
                  </a:lnTo>
                  <a:lnTo>
                    <a:pt x="326" y="178"/>
                  </a:lnTo>
                  <a:lnTo>
                    <a:pt x="326" y="178"/>
                  </a:lnTo>
                  <a:lnTo>
                    <a:pt x="326" y="178"/>
                  </a:lnTo>
                  <a:lnTo>
                    <a:pt x="326" y="178"/>
                  </a:lnTo>
                  <a:lnTo>
                    <a:pt x="326" y="176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6" y="174"/>
                  </a:lnTo>
                  <a:lnTo>
                    <a:pt x="326" y="171"/>
                  </a:lnTo>
                  <a:lnTo>
                    <a:pt x="326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8" y="169"/>
                  </a:lnTo>
                  <a:lnTo>
                    <a:pt x="328" y="169"/>
                  </a:lnTo>
                  <a:lnTo>
                    <a:pt x="331" y="171"/>
                  </a:lnTo>
                  <a:lnTo>
                    <a:pt x="331" y="171"/>
                  </a:lnTo>
                  <a:lnTo>
                    <a:pt x="331" y="171"/>
                  </a:lnTo>
                  <a:lnTo>
                    <a:pt x="333" y="171"/>
                  </a:lnTo>
                  <a:lnTo>
                    <a:pt x="333" y="171"/>
                  </a:lnTo>
                  <a:lnTo>
                    <a:pt x="333" y="171"/>
                  </a:lnTo>
                  <a:lnTo>
                    <a:pt x="333" y="171"/>
                  </a:lnTo>
                  <a:lnTo>
                    <a:pt x="333" y="171"/>
                  </a:lnTo>
                  <a:lnTo>
                    <a:pt x="333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40" y="169"/>
                  </a:lnTo>
                  <a:lnTo>
                    <a:pt x="340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7"/>
                  </a:lnTo>
                  <a:lnTo>
                    <a:pt x="337" y="167"/>
                  </a:lnTo>
                  <a:lnTo>
                    <a:pt x="335" y="167"/>
                  </a:lnTo>
                  <a:lnTo>
                    <a:pt x="335" y="167"/>
                  </a:lnTo>
                  <a:lnTo>
                    <a:pt x="337" y="167"/>
                  </a:lnTo>
                  <a:lnTo>
                    <a:pt x="337" y="167"/>
                  </a:lnTo>
                  <a:lnTo>
                    <a:pt x="337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37" y="167"/>
                  </a:lnTo>
                  <a:lnTo>
                    <a:pt x="337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7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37" y="165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40" y="165"/>
                  </a:lnTo>
                  <a:lnTo>
                    <a:pt x="337" y="165"/>
                  </a:lnTo>
                  <a:lnTo>
                    <a:pt x="337" y="165"/>
                  </a:lnTo>
                  <a:lnTo>
                    <a:pt x="337" y="165"/>
                  </a:lnTo>
                  <a:lnTo>
                    <a:pt x="337" y="162"/>
                  </a:lnTo>
                  <a:lnTo>
                    <a:pt x="337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0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4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37" y="162"/>
                  </a:lnTo>
                  <a:lnTo>
                    <a:pt x="337" y="162"/>
                  </a:lnTo>
                  <a:lnTo>
                    <a:pt x="337" y="162"/>
                  </a:lnTo>
                  <a:lnTo>
                    <a:pt x="337" y="162"/>
                  </a:lnTo>
                  <a:lnTo>
                    <a:pt x="340" y="162"/>
                  </a:lnTo>
                  <a:lnTo>
                    <a:pt x="340" y="162"/>
                  </a:lnTo>
                  <a:lnTo>
                    <a:pt x="340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40" y="160"/>
                  </a:lnTo>
                  <a:lnTo>
                    <a:pt x="342" y="160"/>
                  </a:lnTo>
                  <a:lnTo>
                    <a:pt x="342" y="160"/>
                  </a:lnTo>
                  <a:lnTo>
                    <a:pt x="344" y="160"/>
                  </a:lnTo>
                  <a:lnTo>
                    <a:pt x="344" y="160"/>
                  </a:lnTo>
                  <a:lnTo>
                    <a:pt x="342" y="160"/>
                  </a:lnTo>
                  <a:lnTo>
                    <a:pt x="342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5" y="160"/>
                  </a:lnTo>
                  <a:lnTo>
                    <a:pt x="335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58"/>
                  </a:lnTo>
                  <a:lnTo>
                    <a:pt x="331" y="158"/>
                  </a:lnTo>
                  <a:lnTo>
                    <a:pt x="333" y="158"/>
                  </a:lnTo>
                  <a:lnTo>
                    <a:pt x="333" y="158"/>
                  </a:lnTo>
                  <a:lnTo>
                    <a:pt x="333" y="158"/>
                  </a:lnTo>
                  <a:lnTo>
                    <a:pt x="333" y="158"/>
                  </a:lnTo>
                  <a:lnTo>
                    <a:pt x="333" y="158"/>
                  </a:lnTo>
                  <a:lnTo>
                    <a:pt x="333" y="158"/>
                  </a:lnTo>
                  <a:lnTo>
                    <a:pt x="333" y="158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40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4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37" y="151"/>
                  </a:lnTo>
                  <a:lnTo>
                    <a:pt x="340" y="151"/>
                  </a:lnTo>
                  <a:lnTo>
                    <a:pt x="340" y="151"/>
                  </a:lnTo>
                  <a:lnTo>
                    <a:pt x="340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37" y="151"/>
                  </a:lnTo>
                  <a:lnTo>
                    <a:pt x="340" y="151"/>
                  </a:lnTo>
                  <a:lnTo>
                    <a:pt x="340" y="149"/>
                  </a:lnTo>
                  <a:lnTo>
                    <a:pt x="340" y="149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2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6" y="149"/>
                  </a:lnTo>
                  <a:lnTo>
                    <a:pt x="346" y="149"/>
                  </a:lnTo>
                  <a:lnTo>
                    <a:pt x="351" y="149"/>
                  </a:lnTo>
                  <a:lnTo>
                    <a:pt x="353" y="149"/>
                  </a:lnTo>
                  <a:lnTo>
                    <a:pt x="353" y="149"/>
                  </a:lnTo>
                  <a:lnTo>
                    <a:pt x="355" y="149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58" y="147"/>
                  </a:lnTo>
                  <a:lnTo>
                    <a:pt x="358" y="147"/>
                  </a:lnTo>
                  <a:lnTo>
                    <a:pt x="360" y="147"/>
                  </a:lnTo>
                  <a:lnTo>
                    <a:pt x="360" y="147"/>
                  </a:lnTo>
                  <a:lnTo>
                    <a:pt x="360" y="147"/>
                  </a:lnTo>
                  <a:lnTo>
                    <a:pt x="362" y="147"/>
                  </a:lnTo>
                  <a:lnTo>
                    <a:pt x="364" y="147"/>
                  </a:lnTo>
                  <a:lnTo>
                    <a:pt x="367" y="147"/>
                  </a:lnTo>
                  <a:close/>
                  <a:moveTo>
                    <a:pt x="591" y="144"/>
                  </a:moveTo>
                  <a:lnTo>
                    <a:pt x="596" y="144"/>
                  </a:lnTo>
                  <a:lnTo>
                    <a:pt x="598" y="144"/>
                  </a:lnTo>
                  <a:lnTo>
                    <a:pt x="596" y="144"/>
                  </a:lnTo>
                  <a:lnTo>
                    <a:pt x="596" y="144"/>
                  </a:lnTo>
                  <a:lnTo>
                    <a:pt x="596" y="144"/>
                  </a:lnTo>
                  <a:lnTo>
                    <a:pt x="596" y="144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7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596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598" y="149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7" y="149"/>
                  </a:lnTo>
                  <a:lnTo>
                    <a:pt x="607" y="149"/>
                  </a:lnTo>
                  <a:lnTo>
                    <a:pt x="607" y="151"/>
                  </a:lnTo>
                  <a:lnTo>
                    <a:pt x="607" y="151"/>
                  </a:lnTo>
                  <a:lnTo>
                    <a:pt x="607" y="151"/>
                  </a:lnTo>
                  <a:lnTo>
                    <a:pt x="603" y="151"/>
                  </a:lnTo>
                  <a:lnTo>
                    <a:pt x="603" y="151"/>
                  </a:lnTo>
                  <a:lnTo>
                    <a:pt x="603" y="151"/>
                  </a:lnTo>
                  <a:lnTo>
                    <a:pt x="603" y="151"/>
                  </a:lnTo>
                  <a:lnTo>
                    <a:pt x="600" y="151"/>
                  </a:lnTo>
                  <a:lnTo>
                    <a:pt x="594" y="151"/>
                  </a:lnTo>
                  <a:lnTo>
                    <a:pt x="591" y="153"/>
                  </a:lnTo>
                  <a:lnTo>
                    <a:pt x="589" y="153"/>
                  </a:lnTo>
                  <a:lnTo>
                    <a:pt x="587" y="153"/>
                  </a:lnTo>
                  <a:lnTo>
                    <a:pt x="587" y="153"/>
                  </a:lnTo>
                  <a:lnTo>
                    <a:pt x="585" y="151"/>
                  </a:lnTo>
                  <a:lnTo>
                    <a:pt x="585" y="151"/>
                  </a:lnTo>
                  <a:lnTo>
                    <a:pt x="585" y="151"/>
                  </a:lnTo>
                  <a:lnTo>
                    <a:pt x="585" y="151"/>
                  </a:lnTo>
                  <a:lnTo>
                    <a:pt x="585" y="153"/>
                  </a:lnTo>
                  <a:lnTo>
                    <a:pt x="585" y="153"/>
                  </a:lnTo>
                  <a:lnTo>
                    <a:pt x="585" y="153"/>
                  </a:lnTo>
                  <a:lnTo>
                    <a:pt x="585" y="153"/>
                  </a:lnTo>
                  <a:lnTo>
                    <a:pt x="585" y="153"/>
                  </a:lnTo>
                  <a:lnTo>
                    <a:pt x="587" y="153"/>
                  </a:lnTo>
                  <a:lnTo>
                    <a:pt x="587" y="153"/>
                  </a:lnTo>
                  <a:lnTo>
                    <a:pt x="585" y="153"/>
                  </a:lnTo>
                  <a:lnTo>
                    <a:pt x="585" y="153"/>
                  </a:lnTo>
                  <a:lnTo>
                    <a:pt x="585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0" y="149"/>
                  </a:lnTo>
                  <a:lnTo>
                    <a:pt x="580" y="147"/>
                  </a:lnTo>
                  <a:lnTo>
                    <a:pt x="580" y="147"/>
                  </a:lnTo>
                  <a:lnTo>
                    <a:pt x="580" y="147"/>
                  </a:lnTo>
                  <a:lnTo>
                    <a:pt x="578" y="147"/>
                  </a:lnTo>
                  <a:lnTo>
                    <a:pt x="580" y="147"/>
                  </a:lnTo>
                  <a:lnTo>
                    <a:pt x="585" y="144"/>
                  </a:lnTo>
                  <a:lnTo>
                    <a:pt x="585" y="144"/>
                  </a:lnTo>
                  <a:lnTo>
                    <a:pt x="587" y="144"/>
                  </a:lnTo>
                  <a:lnTo>
                    <a:pt x="587" y="144"/>
                  </a:lnTo>
                  <a:lnTo>
                    <a:pt x="587" y="144"/>
                  </a:lnTo>
                  <a:lnTo>
                    <a:pt x="591" y="144"/>
                  </a:lnTo>
                  <a:close/>
                  <a:moveTo>
                    <a:pt x="1409" y="144"/>
                  </a:moveTo>
                  <a:lnTo>
                    <a:pt x="1416" y="144"/>
                  </a:lnTo>
                  <a:lnTo>
                    <a:pt x="1416" y="144"/>
                  </a:lnTo>
                  <a:lnTo>
                    <a:pt x="1416" y="144"/>
                  </a:lnTo>
                  <a:lnTo>
                    <a:pt x="1414" y="144"/>
                  </a:lnTo>
                  <a:lnTo>
                    <a:pt x="1411" y="144"/>
                  </a:lnTo>
                  <a:lnTo>
                    <a:pt x="1409" y="144"/>
                  </a:lnTo>
                  <a:lnTo>
                    <a:pt x="1409" y="144"/>
                  </a:lnTo>
                  <a:lnTo>
                    <a:pt x="1407" y="144"/>
                  </a:lnTo>
                  <a:lnTo>
                    <a:pt x="1407" y="144"/>
                  </a:lnTo>
                  <a:lnTo>
                    <a:pt x="1407" y="144"/>
                  </a:lnTo>
                  <a:lnTo>
                    <a:pt x="1407" y="144"/>
                  </a:lnTo>
                  <a:lnTo>
                    <a:pt x="1409" y="144"/>
                  </a:lnTo>
                  <a:close/>
                  <a:moveTo>
                    <a:pt x="670" y="144"/>
                  </a:moveTo>
                  <a:lnTo>
                    <a:pt x="672" y="144"/>
                  </a:lnTo>
                  <a:lnTo>
                    <a:pt x="677" y="144"/>
                  </a:lnTo>
                  <a:lnTo>
                    <a:pt x="677" y="144"/>
                  </a:lnTo>
                  <a:lnTo>
                    <a:pt x="677" y="147"/>
                  </a:lnTo>
                  <a:lnTo>
                    <a:pt x="677" y="144"/>
                  </a:lnTo>
                  <a:lnTo>
                    <a:pt x="674" y="144"/>
                  </a:lnTo>
                  <a:lnTo>
                    <a:pt x="672" y="144"/>
                  </a:lnTo>
                  <a:lnTo>
                    <a:pt x="668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5" y="142"/>
                  </a:lnTo>
                  <a:lnTo>
                    <a:pt x="668" y="142"/>
                  </a:lnTo>
                  <a:lnTo>
                    <a:pt x="670" y="144"/>
                  </a:lnTo>
                  <a:close/>
                  <a:moveTo>
                    <a:pt x="663" y="144"/>
                  </a:moveTo>
                  <a:lnTo>
                    <a:pt x="663" y="144"/>
                  </a:lnTo>
                  <a:lnTo>
                    <a:pt x="663" y="144"/>
                  </a:lnTo>
                  <a:lnTo>
                    <a:pt x="663" y="144"/>
                  </a:lnTo>
                  <a:lnTo>
                    <a:pt x="663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9" y="144"/>
                  </a:lnTo>
                  <a:lnTo>
                    <a:pt x="656" y="144"/>
                  </a:lnTo>
                  <a:lnTo>
                    <a:pt x="656" y="144"/>
                  </a:lnTo>
                  <a:lnTo>
                    <a:pt x="656" y="144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7"/>
                  </a:lnTo>
                  <a:lnTo>
                    <a:pt x="656" y="144"/>
                  </a:lnTo>
                  <a:lnTo>
                    <a:pt x="656" y="144"/>
                  </a:lnTo>
                  <a:lnTo>
                    <a:pt x="656" y="144"/>
                  </a:lnTo>
                  <a:lnTo>
                    <a:pt x="659" y="144"/>
                  </a:lnTo>
                  <a:lnTo>
                    <a:pt x="663" y="142"/>
                  </a:lnTo>
                  <a:lnTo>
                    <a:pt x="665" y="142"/>
                  </a:lnTo>
                  <a:lnTo>
                    <a:pt x="665" y="144"/>
                  </a:lnTo>
                  <a:lnTo>
                    <a:pt x="663" y="144"/>
                  </a:lnTo>
                  <a:lnTo>
                    <a:pt x="663" y="144"/>
                  </a:lnTo>
                  <a:lnTo>
                    <a:pt x="663" y="144"/>
                  </a:lnTo>
                  <a:lnTo>
                    <a:pt x="663" y="144"/>
                  </a:lnTo>
                  <a:close/>
                  <a:moveTo>
                    <a:pt x="818" y="142"/>
                  </a:moveTo>
                  <a:lnTo>
                    <a:pt x="814" y="142"/>
                  </a:lnTo>
                  <a:lnTo>
                    <a:pt x="814" y="142"/>
                  </a:lnTo>
                  <a:lnTo>
                    <a:pt x="814" y="142"/>
                  </a:lnTo>
                  <a:lnTo>
                    <a:pt x="814" y="142"/>
                  </a:lnTo>
                  <a:lnTo>
                    <a:pt x="814" y="142"/>
                  </a:lnTo>
                  <a:lnTo>
                    <a:pt x="816" y="142"/>
                  </a:lnTo>
                  <a:lnTo>
                    <a:pt x="818" y="140"/>
                  </a:lnTo>
                  <a:lnTo>
                    <a:pt x="818" y="140"/>
                  </a:lnTo>
                  <a:lnTo>
                    <a:pt x="818" y="140"/>
                  </a:lnTo>
                  <a:lnTo>
                    <a:pt x="818" y="140"/>
                  </a:lnTo>
                  <a:lnTo>
                    <a:pt x="818" y="142"/>
                  </a:lnTo>
                  <a:lnTo>
                    <a:pt x="818" y="142"/>
                  </a:lnTo>
                  <a:lnTo>
                    <a:pt x="818" y="142"/>
                  </a:lnTo>
                  <a:lnTo>
                    <a:pt x="818" y="142"/>
                  </a:lnTo>
                  <a:lnTo>
                    <a:pt x="818" y="142"/>
                  </a:lnTo>
                  <a:lnTo>
                    <a:pt x="818" y="142"/>
                  </a:lnTo>
                  <a:lnTo>
                    <a:pt x="818" y="142"/>
                  </a:lnTo>
                  <a:close/>
                  <a:moveTo>
                    <a:pt x="1611" y="138"/>
                  </a:moveTo>
                  <a:lnTo>
                    <a:pt x="1616" y="138"/>
                  </a:lnTo>
                  <a:lnTo>
                    <a:pt x="1618" y="138"/>
                  </a:lnTo>
                  <a:lnTo>
                    <a:pt x="1625" y="140"/>
                  </a:lnTo>
                  <a:lnTo>
                    <a:pt x="1625" y="140"/>
                  </a:lnTo>
                  <a:lnTo>
                    <a:pt x="1627" y="140"/>
                  </a:lnTo>
                  <a:lnTo>
                    <a:pt x="1627" y="142"/>
                  </a:lnTo>
                  <a:lnTo>
                    <a:pt x="1629" y="142"/>
                  </a:lnTo>
                  <a:lnTo>
                    <a:pt x="1631" y="142"/>
                  </a:lnTo>
                  <a:lnTo>
                    <a:pt x="1636" y="144"/>
                  </a:lnTo>
                  <a:lnTo>
                    <a:pt x="1638" y="144"/>
                  </a:lnTo>
                  <a:lnTo>
                    <a:pt x="1640" y="144"/>
                  </a:lnTo>
                  <a:lnTo>
                    <a:pt x="1643" y="144"/>
                  </a:lnTo>
                  <a:lnTo>
                    <a:pt x="1640" y="147"/>
                  </a:lnTo>
                  <a:lnTo>
                    <a:pt x="1640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3" y="147"/>
                  </a:lnTo>
                  <a:lnTo>
                    <a:pt x="1645" y="147"/>
                  </a:lnTo>
                  <a:lnTo>
                    <a:pt x="1645" y="147"/>
                  </a:lnTo>
                  <a:lnTo>
                    <a:pt x="1645" y="149"/>
                  </a:lnTo>
                  <a:lnTo>
                    <a:pt x="1647" y="149"/>
                  </a:lnTo>
                  <a:lnTo>
                    <a:pt x="1647" y="149"/>
                  </a:lnTo>
                  <a:lnTo>
                    <a:pt x="1647" y="149"/>
                  </a:lnTo>
                  <a:lnTo>
                    <a:pt x="1645" y="149"/>
                  </a:lnTo>
                  <a:lnTo>
                    <a:pt x="1645" y="149"/>
                  </a:lnTo>
                  <a:lnTo>
                    <a:pt x="1643" y="149"/>
                  </a:lnTo>
                  <a:lnTo>
                    <a:pt x="1634" y="149"/>
                  </a:lnTo>
                  <a:lnTo>
                    <a:pt x="1631" y="149"/>
                  </a:lnTo>
                  <a:lnTo>
                    <a:pt x="1629" y="149"/>
                  </a:lnTo>
                  <a:lnTo>
                    <a:pt x="1627" y="149"/>
                  </a:lnTo>
                  <a:lnTo>
                    <a:pt x="1620" y="149"/>
                  </a:lnTo>
                  <a:lnTo>
                    <a:pt x="1618" y="149"/>
                  </a:lnTo>
                  <a:lnTo>
                    <a:pt x="1618" y="149"/>
                  </a:lnTo>
                  <a:lnTo>
                    <a:pt x="1618" y="149"/>
                  </a:lnTo>
                  <a:lnTo>
                    <a:pt x="1614" y="147"/>
                  </a:lnTo>
                  <a:lnTo>
                    <a:pt x="1602" y="144"/>
                  </a:lnTo>
                  <a:lnTo>
                    <a:pt x="1598" y="144"/>
                  </a:lnTo>
                  <a:lnTo>
                    <a:pt x="1596" y="147"/>
                  </a:lnTo>
                  <a:lnTo>
                    <a:pt x="1593" y="147"/>
                  </a:lnTo>
                  <a:lnTo>
                    <a:pt x="1593" y="147"/>
                  </a:lnTo>
                  <a:lnTo>
                    <a:pt x="1589" y="147"/>
                  </a:lnTo>
                  <a:lnTo>
                    <a:pt x="1589" y="147"/>
                  </a:lnTo>
                  <a:lnTo>
                    <a:pt x="1589" y="147"/>
                  </a:lnTo>
                  <a:lnTo>
                    <a:pt x="1587" y="147"/>
                  </a:lnTo>
                  <a:lnTo>
                    <a:pt x="1587" y="147"/>
                  </a:lnTo>
                  <a:lnTo>
                    <a:pt x="1587" y="144"/>
                  </a:lnTo>
                  <a:lnTo>
                    <a:pt x="1593" y="144"/>
                  </a:lnTo>
                  <a:lnTo>
                    <a:pt x="1593" y="144"/>
                  </a:lnTo>
                  <a:lnTo>
                    <a:pt x="1593" y="144"/>
                  </a:lnTo>
                  <a:lnTo>
                    <a:pt x="1596" y="142"/>
                  </a:lnTo>
                  <a:lnTo>
                    <a:pt x="1596" y="142"/>
                  </a:lnTo>
                  <a:lnTo>
                    <a:pt x="1596" y="142"/>
                  </a:lnTo>
                  <a:lnTo>
                    <a:pt x="1596" y="142"/>
                  </a:lnTo>
                  <a:lnTo>
                    <a:pt x="1596" y="142"/>
                  </a:lnTo>
                  <a:lnTo>
                    <a:pt x="1596" y="140"/>
                  </a:lnTo>
                  <a:lnTo>
                    <a:pt x="1596" y="140"/>
                  </a:lnTo>
                  <a:lnTo>
                    <a:pt x="1593" y="140"/>
                  </a:lnTo>
                  <a:lnTo>
                    <a:pt x="1593" y="140"/>
                  </a:lnTo>
                  <a:lnTo>
                    <a:pt x="1593" y="138"/>
                  </a:lnTo>
                  <a:lnTo>
                    <a:pt x="1593" y="138"/>
                  </a:lnTo>
                  <a:lnTo>
                    <a:pt x="1596" y="138"/>
                  </a:lnTo>
                  <a:lnTo>
                    <a:pt x="1596" y="138"/>
                  </a:lnTo>
                  <a:lnTo>
                    <a:pt x="1596" y="138"/>
                  </a:lnTo>
                  <a:lnTo>
                    <a:pt x="1596" y="138"/>
                  </a:lnTo>
                  <a:lnTo>
                    <a:pt x="1596" y="138"/>
                  </a:lnTo>
                  <a:lnTo>
                    <a:pt x="1596" y="138"/>
                  </a:lnTo>
                  <a:lnTo>
                    <a:pt x="1598" y="138"/>
                  </a:lnTo>
                  <a:lnTo>
                    <a:pt x="1600" y="138"/>
                  </a:lnTo>
                  <a:lnTo>
                    <a:pt x="1607" y="135"/>
                  </a:lnTo>
                  <a:lnTo>
                    <a:pt x="1611" y="138"/>
                  </a:lnTo>
                  <a:close/>
                  <a:moveTo>
                    <a:pt x="1355" y="135"/>
                  </a:moveTo>
                  <a:lnTo>
                    <a:pt x="1357" y="135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3" y="138"/>
                  </a:lnTo>
                  <a:lnTo>
                    <a:pt x="1353" y="138"/>
                  </a:lnTo>
                  <a:lnTo>
                    <a:pt x="1353" y="138"/>
                  </a:lnTo>
                  <a:lnTo>
                    <a:pt x="1353" y="138"/>
                  </a:lnTo>
                  <a:lnTo>
                    <a:pt x="1353" y="138"/>
                  </a:lnTo>
                  <a:lnTo>
                    <a:pt x="1353" y="138"/>
                  </a:lnTo>
                  <a:lnTo>
                    <a:pt x="1353" y="138"/>
                  </a:lnTo>
                  <a:lnTo>
                    <a:pt x="1353" y="135"/>
                  </a:lnTo>
                  <a:lnTo>
                    <a:pt x="1353" y="135"/>
                  </a:lnTo>
                  <a:lnTo>
                    <a:pt x="1353" y="135"/>
                  </a:lnTo>
                  <a:lnTo>
                    <a:pt x="1353" y="135"/>
                  </a:lnTo>
                  <a:lnTo>
                    <a:pt x="1353" y="135"/>
                  </a:lnTo>
                  <a:lnTo>
                    <a:pt x="1353" y="135"/>
                  </a:lnTo>
                  <a:lnTo>
                    <a:pt x="1355" y="135"/>
                  </a:lnTo>
                  <a:lnTo>
                    <a:pt x="1355" y="135"/>
                  </a:lnTo>
                  <a:lnTo>
                    <a:pt x="1355" y="135"/>
                  </a:lnTo>
                  <a:lnTo>
                    <a:pt x="1355" y="135"/>
                  </a:lnTo>
                  <a:close/>
                  <a:moveTo>
                    <a:pt x="778" y="135"/>
                  </a:moveTo>
                  <a:lnTo>
                    <a:pt x="776" y="135"/>
                  </a:lnTo>
                  <a:lnTo>
                    <a:pt x="778" y="135"/>
                  </a:lnTo>
                  <a:lnTo>
                    <a:pt x="778" y="135"/>
                  </a:lnTo>
                  <a:lnTo>
                    <a:pt x="778" y="135"/>
                  </a:lnTo>
                  <a:lnTo>
                    <a:pt x="778" y="135"/>
                  </a:lnTo>
                  <a:lnTo>
                    <a:pt x="776" y="135"/>
                  </a:lnTo>
                  <a:lnTo>
                    <a:pt x="776" y="135"/>
                  </a:lnTo>
                  <a:lnTo>
                    <a:pt x="771" y="135"/>
                  </a:lnTo>
                  <a:lnTo>
                    <a:pt x="771" y="135"/>
                  </a:lnTo>
                  <a:lnTo>
                    <a:pt x="771" y="135"/>
                  </a:lnTo>
                  <a:lnTo>
                    <a:pt x="771" y="135"/>
                  </a:lnTo>
                  <a:lnTo>
                    <a:pt x="771" y="135"/>
                  </a:lnTo>
                  <a:lnTo>
                    <a:pt x="771" y="135"/>
                  </a:lnTo>
                  <a:lnTo>
                    <a:pt x="771" y="133"/>
                  </a:lnTo>
                  <a:lnTo>
                    <a:pt x="771" y="133"/>
                  </a:lnTo>
                  <a:lnTo>
                    <a:pt x="773" y="135"/>
                  </a:lnTo>
                  <a:lnTo>
                    <a:pt x="776" y="135"/>
                  </a:lnTo>
                  <a:lnTo>
                    <a:pt x="778" y="133"/>
                  </a:lnTo>
                  <a:lnTo>
                    <a:pt x="778" y="133"/>
                  </a:lnTo>
                  <a:lnTo>
                    <a:pt x="778" y="133"/>
                  </a:lnTo>
                  <a:lnTo>
                    <a:pt x="778" y="135"/>
                  </a:lnTo>
                  <a:lnTo>
                    <a:pt x="778" y="135"/>
                  </a:lnTo>
                  <a:lnTo>
                    <a:pt x="778" y="135"/>
                  </a:lnTo>
                  <a:close/>
                  <a:moveTo>
                    <a:pt x="764" y="133"/>
                  </a:moveTo>
                  <a:lnTo>
                    <a:pt x="764" y="133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2" y="133"/>
                  </a:lnTo>
                  <a:lnTo>
                    <a:pt x="762" y="133"/>
                  </a:lnTo>
                  <a:lnTo>
                    <a:pt x="762" y="133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2" y="133"/>
                  </a:lnTo>
                  <a:lnTo>
                    <a:pt x="758" y="133"/>
                  </a:lnTo>
                  <a:lnTo>
                    <a:pt x="753" y="133"/>
                  </a:lnTo>
                  <a:lnTo>
                    <a:pt x="753" y="133"/>
                  </a:lnTo>
                  <a:lnTo>
                    <a:pt x="753" y="133"/>
                  </a:lnTo>
                  <a:lnTo>
                    <a:pt x="753" y="133"/>
                  </a:lnTo>
                  <a:lnTo>
                    <a:pt x="755" y="133"/>
                  </a:lnTo>
                  <a:lnTo>
                    <a:pt x="755" y="133"/>
                  </a:lnTo>
                  <a:lnTo>
                    <a:pt x="758" y="131"/>
                  </a:lnTo>
                  <a:lnTo>
                    <a:pt x="762" y="133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4" y="133"/>
                  </a:lnTo>
                  <a:close/>
                  <a:moveTo>
                    <a:pt x="751" y="133"/>
                  </a:moveTo>
                  <a:lnTo>
                    <a:pt x="751" y="133"/>
                  </a:lnTo>
                  <a:lnTo>
                    <a:pt x="751" y="133"/>
                  </a:lnTo>
                  <a:lnTo>
                    <a:pt x="751" y="133"/>
                  </a:lnTo>
                  <a:lnTo>
                    <a:pt x="746" y="133"/>
                  </a:lnTo>
                  <a:lnTo>
                    <a:pt x="746" y="133"/>
                  </a:lnTo>
                  <a:lnTo>
                    <a:pt x="746" y="133"/>
                  </a:lnTo>
                  <a:lnTo>
                    <a:pt x="746" y="133"/>
                  </a:lnTo>
                  <a:lnTo>
                    <a:pt x="746" y="133"/>
                  </a:lnTo>
                  <a:lnTo>
                    <a:pt x="746" y="133"/>
                  </a:lnTo>
                  <a:lnTo>
                    <a:pt x="746" y="133"/>
                  </a:lnTo>
                  <a:lnTo>
                    <a:pt x="746" y="131"/>
                  </a:lnTo>
                  <a:lnTo>
                    <a:pt x="746" y="131"/>
                  </a:lnTo>
                  <a:lnTo>
                    <a:pt x="749" y="131"/>
                  </a:lnTo>
                  <a:lnTo>
                    <a:pt x="753" y="133"/>
                  </a:lnTo>
                  <a:lnTo>
                    <a:pt x="753" y="133"/>
                  </a:lnTo>
                  <a:lnTo>
                    <a:pt x="751" y="133"/>
                  </a:lnTo>
                  <a:close/>
                  <a:moveTo>
                    <a:pt x="1587" y="135"/>
                  </a:moveTo>
                  <a:lnTo>
                    <a:pt x="1584" y="138"/>
                  </a:lnTo>
                  <a:lnTo>
                    <a:pt x="1582" y="135"/>
                  </a:lnTo>
                  <a:lnTo>
                    <a:pt x="1575" y="133"/>
                  </a:lnTo>
                  <a:lnTo>
                    <a:pt x="1575" y="133"/>
                  </a:lnTo>
                  <a:lnTo>
                    <a:pt x="1575" y="133"/>
                  </a:lnTo>
                  <a:lnTo>
                    <a:pt x="1573" y="133"/>
                  </a:lnTo>
                  <a:lnTo>
                    <a:pt x="1571" y="131"/>
                  </a:lnTo>
                  <a:lnTo>
                    <a:pt x="1571" y="131"/>
                  </a:lnTo>
                  <a:lnTo>
                    <a:pt x="1571" y="131"/>
                  </a:lnTo>
                  <a:lnTo>
                    <a:pt x="1573" y="129"/>
                  </a:lnTo>
                  <a:lnTo>
                    <a:pt x="1580" y="129"/>
                  </a:lnTo>
                  <a:lnTo>
                    <a:pt x="1582" y="131"/>
                  </a:lnTo>
                  <a:lnTo>
                    <a:pt x="1584" y="131"/>
                  </a:lnTo>
                  <a:lnTo>
                    <a:pt x="1587" y="131"/>
                  </a:lnTo>
                  <a:lnTo>
                    <a:pt x="1587" y="131"/>
                  </a:lnTo>
                  <a:lnTo>
                    <a:pt x="1587" y="131"/>
                  </a:lnTo>
                  <a:lnTo>
                    <a:pt x="1587" y="131"/>
                  </a:lnTo>
                  <a:lnTo>
                    <a:pt x="1587" y="133"/>
                  </a:lnTo>
                  <a:lnTo>
                    <a:pt x="1587" y="133"/>
                  </a:lnTo>
                  <a:lnTo>
                    <a:pt x="1587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3"/>
                  </a:lnTo>
                  <a:lnTo>
                    <a:pt x="1589" y="135"/>
                  </a:lnTo>
                  <a:lnTo>
                    <a:pt x="1591" y="135"/>
                  </a:lnTo>
                  <a:lnTo>
                    <a:pt x="1591" y="135"/>
                  </a:lnTo>
                  <a:lnTo>
                    <a:pt x="1591" y="135"/>
                  </a:lnTo>
                  <a:lnTo>
                    <a:pt x="1589" y="135"/>
                  </a:lnTo>
                  <a:lnTo>
                    <a:pt x="1589" y="135"/>
                  </a:lnTo>
                  <a:lnTo>
                    <a:pt x="1587" y="135"/>
                  </a:lnTo>
                  <a:lnTo>
                    <a:pt x="1587" y="135"/>
                  </a:lnTo>
                  <a:lnTo>
                    <a:pt x="1587" y="135"/>
                  </a:lnTo>
                  <a:lnTo>
                    <a:pt x="1587" y="135"/>
                  </a:lnTo>
                  <a:lnTo>
                    <a:pt x="1587" y="135"/>
                  </a:lnTo>
                  <a:lnTo>
                    <a:pt x="1587" y="135"/>
                  </a:lnTo>
                  <a:lnTo>
                    <a:pt x="1587" y="135"/>
                  </a:lnTo>
                  <a:close/>
                  <a:moveTo>
                    <a:pt x="778" y="126"/>
                  </a:moveTo>
                  <a:lnTo>
                    <a:pt x="778" y="126"/>
                  </a:lnTo>
                  <a:lnTo>
                    <a:pt x="776" y="126"/>
                  </a:lnTo>
                  <a:lnTo>
                    <a:pt x="773" y="126"/>
                  </a:lnTo>
                  <a:lnTo>
                    <a:pt x="773" y="126"/>
                  </a:lnTo>
                  <a:lnTo>
                    <a:pt x="771" y="126"/>
                  </a:lnTo>
                  <a:lnTo>
                    <a:pt x="776" y="126"/>
                  </a:lnTo>
                  <a:lnTo>
                    <a:pt x="776" y="126"/>
                  </a:lnTo>
                  <a:lnTo>
                    <a:pt x="771" y="126"/>
                  </a:lnTo>
                  <a:lnTo>
                    <a:pt x="771" y="126"/>
                  </a:lnTo>
                  <a:lnTo>
                    <a:pt x="771" y="126"/>
                  </a:lnTo>
                  <a:lnTo>
                    <a:pt x="771" y="126"/>
                  </a:lnTo>
                  <a:lnTo>
                    <a:pt x="771" y="126"/>
                  </a:lnTo>
                  <a:lnTo>
                    <a:pt x="776" y="126"/>
                  </a:lnTo>
                  <a:lnTo>
                    <a:pt x="776" y="126"/>
                  </a:lnTo>
                  <a:lnTo>
                    <a:pt x="778" y="126"/>
                  </a:lnTo>
                  <a:lnTo>
                    <a:pt x="778" y="126"/>
                  </a:lnTo>
                  <a:close/>
                  <a:moveTo>
                    <a:pt x="1184" y="129"/>
                  </a:moveTo>
                  <a:lnTo>
                    <a:pt x="1184" y="129"/>
                  </a:lnTo>
                  <a:lnTo>
                    <a:pt x="1184" y="129"/>
                  </a:lnTo>
                  <a:lnTo>
                    <a:pt x="1184" y="129"/>
                  </a:lnTo>
                  <a:lnTo>
                    <a:pt x="1187" y="129"/>
                  </a:lnTo>
                  <a:lnTo>
                    <a:pt x="1184" y="131"/>
                  </a:lnTo>
                  <a:lnTo>
                    <a:pt x="1184" y="131"/>
                  </a:lnTo>
                  <a:lnTo>
                    <a:pt x="1187" y="131"/>
                  </a:lnTo>
                  <a:lnTo>
                    <a:pt x="1184" y="131"/>
                  </a:lnTo>
                  <a:lnTo>
                    <a:pt x="1184" y="131"/>
                  </a:lnTo>
                  <a:lnTo>
                    <a:pt x="1182" y="131"/>
                  </a:lnTo>
                  <a:lnTo>
                    <a:pt x="1182" y="131"/>
                  </a:lnTo>
                  <a:lnTo>
                    <a:pt x="1184" y="131"/>
                  </a:lnTo>
                  <a:lnTo>
                    <a:pt x="1184" y="133"/>
                  </a:lnTo>
                  <a:lnTo>
                    <a:pt x="1182" y="133"/>
                  </a:lnTo>
                  <a:lnTo>
                    <a:pt x="1180" y="133"/>
                  </a:lnTo>
                  <a:lnTo>
                    <a:pt x="1180" y="133"/>
                  </a:lnTo>
                  <a:lnTo>
                    <a:pt x="1178" y="133"/>
                  </a:lnTo>
                  <a:lnTo>
                    <a:pt x="1173" y="133"/>
                  </a:lnTo>
                  <a:lnTo>
                    <a:pt x="1171" y="131"/>
                  </a:lnTo>
                  <a:lnTo>
                    <a:pt x="1171" y="131"/>
                  </a:lnTo>
                  <a:lnTo>
                    <a:pt x="1169" y="131"/>
                  </a:lnTo>
                  <a:lnTo>
                    <a:pt x="1162" y="131"/>
                  </a:lnTo>
                  <a:lnTo>
                    <a:pt x="1160" y="129"/>
                  </a:lnTo>
                  <a:lnTo>
                    <a:pt x="1160" y="129"/>
                  </a:lnTo>
                  <a:lnTo>
                    <a:pt x="1157" y="129"/>
                  </a:lnTo>
                  <a:lnTo>
                    <a:pt x="1160" y="129"/>
                  </a:lnTo>
                  <a:lnTo>
                    <a:pt x="1160" y="129"/>
                  </a:lnTo>
                  <a:lnTo>
                    <a:pt x="1162" y="129"/>
                  </a:lnTo>
                  <a:lnTo>
                    <a:pt x="1164" y="129"/>
                  </a:lnTo>
                  <a:lnTo>
                    <a:pt x="1164" y="129"/>
                  </a:lnTo>
                  <a:lnTo>
                    <a:pt x="1164" y="129"/>
                  </a:lnTo>
                  <a:lnTo>
                    <a:pt x="1164" y="129"/>
                  </a:lnTo>
                  <a:lnTo>
                    <a:pt x="1164" y="126"/>
                  </a:lnTo>
                  <a:lnTo>
                    <a:pt x="1164" y="126"/>
                  </a:lnTo>
                  <a:lnTo>
                    <a:pt x="1164" y="126"/>
                  </a:lnTo>
                  <a:lnTo>
                    <a:pt x="1164" y="126"/>
                  </a:lnTo>
                  <a:lnTo>
                    <a:pt x="1164" y="126"/>
                  </a:lnTo>
                  <a:lnTo>
                    <a:pt x="1164" y="126"/>
                  </a:lnTo>
                  <a:lnTo>
                    <a:pt x="1164" y="126"/>
                  </a:lnTo>
                  <a:lnTo>
                    <a:pt x="1162" y="126"/>
                  </a:lnTo>
                  <a:lnTo>
                    <a:pt x="1162" y="124"/>
                  </a:lnTo>
                  <a:lnTo>
                    <a:pt x="1162" y="124"/>
                  </a:lnTo>
                  <a:lnTo>
                    <a:pt x="1169" y="124"/>
                  </a:lnTo>
                  <a:lnTo>
                    <a:pt x="1173" y="126"/>
                  </a:lnTo>
                  <a:lnTo>
                    <a:pt x="1178" y="126"/>
                  </a:lnTo>
                  <a:lnTo>
                    <a:pt x="1182" y="126"/>
                  </a:lnTo>
                  <a:lnTo>
                    <a:pt x="1182" y="126"/>
                  </a:lnTo>
                  <a:lnTo>
                    <a:pt x="1184" y="126"/>
                  </a:lnTo>
                  <a:lnTo>
                    <a:pt x="1184" y="126"/>
                  </a:lnTo>
                  <a:lnTo>
                    <a:pt x="1184" y="126"/>
                  </a:lnTo>
                  <a:lnTo>
                    <a:pt x="1184" y="126"/>
                  </a:lnTo>
                  <a:lnTo>
                    <a:pt x="1184" y="126"/>
                  </a:lnTo>
                  <a:lnTo>
                    <a:pt x="1184" y="126"/>
                  </a:lnTo>
                  <a:lnTo>
                    <a:pt x="1184" y="129"/>
                  </a:lnTo>
                  <a:lnTo>
                    <a:pt x="1184" y="129"/>
                  </a:lnTo>
                  <a:close/>
                  <a:moveTo>
                    <a:pt x="785" y="126"/>
                  </a:moveTo>
                  <a:lnTo>
                    <a:pt x="787" y="126"/>
                  </a:lnTo>
                  <a:lnTo>
                    <a:pt x="782" y="126"/>
                  </a:lnTo>
                  <a:lnTo>
                    <a:pt x="782" y="126"/>
                  </a:lnTo>
                  <a:lnTo>
                    <a:pt x="780" y="126"/>
                  </a:lnTo>
                  <a:lnTo>
                    <a:pt x="780" y="124"/>
                  </a:lnTo>
                  <a:lnTo>
                    <a:pt x="780" y="124"/>
                  </a:lnTo>
                  <a:lnTo>
                    <a:pt x="780" y="124"/>
                  </a:lnTo>
                  <a:lnTo>
                    <a:pt x="780" y="124"/>
                  </a:lnTo>
                  <a:lnTo>
                    <a:pt x="785" y="124"/>
                  </a:lnTo>
                  <a:lnTo>
                    <a:pt x="785" y="124"/>
                  </a:lnTo>
                  <a:lnTo>
                    <a:pt x="787" y="124"/>
                  </a:lnTo>
                  <a:lnTo>
                    <a:pt x="787" y="124"/>
                  </a:lnTo>
                  <a:lnTo>
                    <a:pt x="787" y="124"/>
                  </a:lnTo>
                  <a:lnTo>
                    <a:pt x="785" y="126"/>
                  </a:lnTo>
                  <a:close/>
                  <a:moveTo>
                    <a:pt x="791" y="124"/>
                  </a:moveTo>
                  <a:lnTo>
                    <a:pt x="791" y="124"/>
                  </a:lnTo>
                  <a:lnTo>
                    <a:pt x="794" y="124"/>
                  </a:lnTo>
                  <a:lnTo>
                    <a:pt x="794" y="124"/>
                  </a:lnTo>
                  <a:lnTo>
                    <a:pt x="796" y="124"/>
                  </a:lnTo>
                  <a:lnTo>
                    <a:pt x="794" y="126"/>
                  </a:lnTo>
                  <a:lnTo>
                    <a:pt x="794" y="126"/>
                  </a:lnTo>
                  <a:lnTo>
                    <a:pt x="794" y="126"/>
                  </a:lnTo>
                  <a:lnTo>
                    <a:pt x="794" y="124"/>
                  </a:lnTo>
                  <a:lnTo>
                    <a:pt x="794" y="124"/>
                  </a:lnTo>
                  <a:lnTo>
                    <a:pt x="791" y="124"/>
                  </a:lnTo>
                  <a:lnTo>
                    <a:pt x="791" y="124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94" y="126"/>
                  </a:lnTo>
                  <a:lnTo>
                    <a:pt x="794" y="126"/>
                  </a:lnTo>
                  <a:lnTo>
                    <a:pt x="794" y="126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91" y="126"/>
                  </a:lnTo>
                  <a:lnTo>
                    <a:pt x="789" y="126"/>
                  </a:lnTo>
                  <a:lnTo>
                    <a:pt x="787" y="126"/>
                  </a:lnTo>
                  <a:lnTo>
                    <a:pt x="787" y="126"/>
                  </a:lnTo>
                  <a:lnTo>
                    <a:pt x="789" y="126"/>
                  </a:lnTo>
                  <a:lnTo>
                    <a:pt x="789" y="124"/>
                  </a:lnTo>
                  <a:lnTo>
                    <a:pt x="789" y="124"/>
                  </a:lnTo>
                  <a:lnTo>
                    <a:pt x="789" y="124"/>
                  </a:lnTo>
                  <a:lnTo>
                    <a:pt x="789" y="124"/>
                  </a:lnTo>
                  <a:lnTo>
                    <a:pt x="789" y="124"/>
                  </a:lnTo>
                  <a:lnTo>
                    <a:pt x="789" y="124"/>
                  </a:lnTo>
                  <a:lnTo>
                    <a:pt x="789" y="124"/>
                  </a:lnTo>
                  <a:lnTo>
                    <a:pt x="791" y="124"/>
                  </a:lnTo>
                  <a:close/>
                  <a:moveTo>
                    <a:pt x="699" y="124"/>
                  </a:moveTo>
                  <a:lnTo>
                    <a:pt x="699" y="124"/>
                  </a:lnTo>
                  <a:lnTo>
                    <a:pt x="699" y="124"/>
                  </a:lnTo>
                  <a:lnTo>
                    <a:pt x="699" y="124"/>
                  </a:lnTo>
                  <a:lnTo>
                    <a:pt x="699" y="124"/>
                  </a:lnTo>
                  <a:lnTo>
                    <a:pt x="699" y="124"/>
                  </a:lnTo>
                  <a:lnTo>
                    <a:pt x="695" y="124"/>
                  </a:lnTo>
                  <a:lnTo>
                    <a:pt x="692" y="124"/>
                  </a:lnTo>
                  <a:lnTo>
                    <a:pt x="692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5" y="122"/>
                  </a:lnTo>
                  <a:lnTo>
                    <a:pt x="695" y="122"/>
                  </a:lnTo>
                  <a:lnTo>
                    <a:pt x="695" y="122"/>
                  </a:lnTo>
                  <a:lnTo>
                    <a:pt x="695" y="122"/>
                  </a:lnTo>
                  <a:lnTo>
                    <a:pt x="695" y="122"/>
                  </a:lnTo>
                  <a:lnTo>
                    <a:pt x="695" y="124"/>
                  </a:lnTo>
                  <a:lnTo>
                    <a:pt x="699" y="124"/>
                  </a:lnTo>
                  <a:lnTo>
                    <a:pt x="699" y="124"/>
                  </a:lnTo>
                  <a:lnTo>
                    <a:pt x="699" y="124"/>
                  </a:lnTo>
                  <a:lnTo>
                    <a:pt x="699" y="124"/>
                  </a:lnTo>
                  <a:close/>
                  <a:moveTo>
                    <a:pt x="780" y="120"/>
                  </a:moveTo>
                  <a:lnTo>
                    <a:pt x="780" y="120"/>
                  </a:lnTo>
                  <a:lnTo>
                    <a:pt x="782" y="120"/>
                  </a:lnTo>
                  <a:lnTo>
                    <a:pt x="782" y="120"/>
                  </a:lnTo>
                  <a:lnTo>
                    <a:pt x="782" y="120"/>
                  </a:lnTo>
                  <a:lnTo>
                    <a:pt x="782" y="120"/>
                  </a:lnTo>
                  <a:lnTo>
                    <a:pt x="782" y="120"/>
                  </a:lnTo>
                  <a:lnTo>
                    <a:pt x="785" y="122"/>
                  </a:lnTo>
                  <a:lnTo>
                    <a:pt x="785" y="122"/>
                  </a:lnTo>
                  <a:lnTo>
                    <a:pt x="785" y="122"/>
                  </a:lnTo>
                  <a:lnTo>
                    <a:pt x="785" y="122"/>
                  </a:lnTo>
                  <a:lnTo>
                    <a:pt x="782" y="122"/>
                  </a:lnTo>
                  <a:lnTo>
                    <a:pt x="782" y="122"/>
                  </a:lnTo>
                  <a:lnTo>
                    <a:pt x="780" y="122"/>
                  </a:lnTo>
                  <a:lnTo>
                    <a:pt x="780" y="122"/>
                  </a:lnTo>
                  <a:lnTo>
                    <a:pt x="780" y="122"/>
                  </a:lnTo>
                  <a:lnTo>
                    <a:pt x="778" y="120"/>
                  </a:lnTo>
                  <a:lnTo>
                    <a:pt x="778" y="122"/>
                  </a:lnTo>
                  <a:lnTo>
                    <a:pt x="776" y="122"/>
                  </a:lnTo>
                  <a:lnTo>
                    <a:pt x="776" y="120"/>
                  </a:lnTo>
                  <a:lnTo>
                    <a:pt x="776" y="120"/>
                  </a:lnTo>
                  <a:lnTo>
                    <a:pt x="778" y="120"/>
                  </a:lnTo>
                  <a:lnTo>
                    <a:pt x="778" y="120"/>
                  </a:lnTo>
                  <a:lnTo>
                    <a:pt x="780" y="120"/>
                  </a:lnTo>
                  <a:lnTo>
                    <a:pt x="780" y="120"/>
                  </a:lnTo>
                  <a:lnTo>
                    <a:pt x="780" y="120"/>
                  </a:lnTo>
                  <a:close/>
                  <a:moveTo>
                    <a:pt x="1553" y="120"/>
                  </a:moveTo>
                  <a:lnTo>
                    <a:pt x="1553" y="120"/>
                  </a:lnTo>
                  <a:lnTo>
                    <a:pt x="1553" y="120"/>
                  </a:lnTo>
                  <a:lnTo>
                    <a:pt x="1553" y="120"/>
                  </a:lnTo>
                  <a:close/>
                  <a:moveTo>
                    <a:pt x="800" y="117"/>
                  </a:moveTo>
                  <a:lnTo>
                    <a:pt x="800" y="117"/>
                  </a:lnTo>
                  <a:lnTo>
                    <a:pt x="800" y="117"/>
                  </a:lnTo>
                  <a:lnTo>
                    <a:pt x="800" y="117"/>
                  </a:lnTo>
                  <a:lnTo>
                    <a:pt x="800" y="117"/>
                  </a:lnTo>
                  <a:lnTo>
                    <a:pt x="800" y="117"/>
                  </a:lnTo>
                  <a:lnTo>
                    <a:pt x="798" y="117"/>
                  </a:lnTo>
                  <a:lnTo>
                    <a:pt x="798" y="117"/>
                  </a:lnTo>
                  <a:lnTo>
                    <a:pt x="798" y="117"/>
                  </a:lnTo>
                  <a:lnTo>
                    <a:pt x="796" y="117"/>
                  </a:lnTo>
                  <a:lnTo>
                    <a:pt x="796" y="117"/>
                  </a:lnTo>
                  <a:lnTo>
                    <a:pt x="796" y="117"/>
                  </a:lnTo>
                  <a:lnTo>
                    <a:pt x="796" y="117"/>
                  </a:lnTo>
                  <a:lnTo>
                    <a:pt x="796" y="117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800" y="120"/>
                  </a:lnTo>
                  <a:lnTo>
                    <a:pt x="800" y="120"/>
                  </a:lnTo>
                  <a:lnTo>
                    <a:pt x="798" y="120"/>
                  </a:lnTo>
                  <a:lnTo>
                    <a:pt x="796" y="120"/>
                  </a:lnTo>
                  <a:lnTo>
                    <a:pt x="794" y="120"/>
                  </a:lnTo>
                  <a:lnTo>
                    <a:pt x="794" y="120"/>
                  </a:lnTo>
                  <a:lnTo>
                    <a:pt x="794" y="120"/>
                  </a:lnTo>
                  <a:lnTo>
                    <a:pt x="794" y="120"/>
                  </a:lnTo>
                  <a:lnTo>
                    <a:pt x="791" y="120"/>
                  </a:lnTo>
                  <a:lnTo>
                    <a:pt x="791" y="120"/>
                  </a:lnTo>
                  <a:lnTo>
                    <a:pt x="791" y="120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89" y="117"/>
                  </a:lnTo>
                  <a:lnTo>
                    <a:pt x="794" y="117"/>
                  </a:lnTo>
                  <a:lnTo>
                    <a:pt x="794" y="117"/>
                  </a:lnTo>
                  <a:lnTo>
                    <a:pt x="794" y="117"/>
                  </a:lnTo>
                  <a:lnTo>
                    <a:pt x="794" y="117"/>
                  </a:lnTo>
                  <a:lnTo>
                    <a:pt x="791" y="117"/>
                  </a:lnTo>
                  <a:lnTo>
                    <a:pt x="791" y="117"/>
                  </a:lnTo>
                  <a:lnTo>
                    <a:pt x="791" y="117"/>
                  </a:lnTo>
                  <a:lnTo>
                    <a:pt x="791" y="117"/>
                  </a:lnTo>
                  <a:lnTo>
                    <a:pt x="791" y="115"/>
                  </a:lnTo>
                  <a:lnTo>
                    <a:pt x="794" y="117"/>
                  </a:lnTo>
                  <a:lnTo>
                    <a:pt x="794" y="117"/>
                  </a:lnTo>
                  <a:lnTo>
                    <a:pt x="794" y="117"/>
                  </a:lnTo>
                  <a:lnTo>
                    <a:pt x="794" y="117"/>
                  </a:lnTo>
                  <a:lnTo>
                    <a:pt x="796" y="115"/>
                  </a:lnTo>
                  <a:lnTo>
                    <a:pt x="798" y="115"/>
                  </a:lnTo>
                  <a:lnTo>
                    <a:pt x="800" y="117"/>
                  </a:lnTo>
                  <a:close/>
                  <a:moveTo>
                    <a:pt x="722" y="108"/>
                  </a:moveTo>
                  <a:lnTo>
                    <a:pt x="722" y="108"/>
                  </a:lnTo>
                  <a:lnTo>
                    <a:pt x="722" y="108"/>
                  </a:lnTo>
                  <a:lnTo>
                    <a:pt x="722" y="108"/>
                  </a:lnTo>
                  <a:lnTo>
                    <a:pt x="719" y="108"/>
                  </a:lnTo>
                  <a:lnTo>
                    <a:pt x="722" y="108"/>
                  </a:lnTo>
                  <a:lnTo>
                    <a:pt x="722" y="108"/>
                  </a:lnTo>
                  <a:lnTo>
                    <a:pt x="722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6" y="111"/>
                  </a:lnTo>
                  <a:lnTo>
                    <a:pt x="726" y="111"/>
                  </a:lnTo>
                  <a:lnTo>
                    <a:pt x="724" y="111"/>
                  </a:lnTo>
                  <a:lnTo>
                    <a:pt x="722" y="111"/>
                  </a:lnTo>
                  <a:lnTo>
                    <a:pt x="722" y="111"/>
                  </a:lnTo>
                  <a:lnTo>
                    <a:pt x="722" y="111"/>
                  </a:lnTo>
                  <a:lnTo>
                    <a:pt x="722" y="111"/>
                  </a:lnTo>
                  <a:lnTo>
                    <a:pt x="722" y="111"/>
                  </a:lnTo>
                  <a:lnTo>
                    <a:pt x="724" y="111"/>
                  </a:lnTo>
                  <a:lnTo>
                    <a:pt x="722" y="111"/>
                  </a:lnTo>
                  <a:lnTo>
                    <a:pt x="724" y="111"/>
                  </a:lnTo>
                  <a:lnTo>
                    <a:pt x="724" y="111"/>
                  </a:lnTo>
                  <a:lnTo>
                    <a:pt x="724" y="111"/>
                  </a:lnTo>
                  <a:lnTo>
                    <a:pt x="724" y="111"/>
                  </a:lnTo>
                  <a:lnTo>
                    <a:pt x="724" y="111"/>
                  </a:lnTo>
                  <a:lnTo>
                    <a:pt x="724" y="111"/>
                  </a:lnTo>
                  <a:lnTo>
                    <a:pt x="724" y="111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4" y="113"/>
                  </a:lnTo>
                  <a:lnTo>
                    <a:pt x="722" y="113"/>
                  </a:lnTo>
                  <a:lnTo>
                    <a:pt x="722" y="113"/>
                  </a:lnTo>
                  <a:lnTo>
                    <a:pt x="722" y="111"/>
                  </a:lnTo>
                  <a:lnTo>
                    <a:pt x="722" y="111"/>
                  </a:lnTo>
                  <a:lnTo>
                    <a:pt x="722" y="111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7" y="111"/>
                  </a:lnTo>
                  <a:lnTo>
                    <a:pt x="717" y="111"/>
                  </a:lnTo>
                  <a:lnTo>
                    <a:pt x="717" y="111"/>
                  </a:lnTo>
                  <a:lnTo>
                    <a:pt x="717" y="111"/>
                  </a:lnTo>
                  <a:lnTo>
                    <a:pt x="719" y="111"/>
                  </a:lnTo>
                  <a:lnTo>
                    <a:pt x="717" y="111"/>
                  </a:lnTo>
                  <a:lnTo>
                    <a:pt x="717" y="111"/>
                  </a:lnTo>
                  <a:lnTo>
                    <a:pt x="715" y="111"/>
                  </a:lnTo>
                  <a:lnTo>
                    <a:pt x="715" y="111"/>
                  </a:lnTo>
                  <a:lnTo>
                    <a:pt x="715" y="111"/>
                  </a:lnTo>
                  <a:lnTo>
                    <a:pt x="715" y="111"/>
                  </a:lnTo>
                  <a:lnTo>
                    <a:pt x="715" y="111"/>
                  </a:lnTo>
                  <a:lnTo>
                    <a:pt x="715" y="108"/>
                  </a:lnTo>
                  <a:lnTo>
                    <a:pt x="715" y="108"/>
                  </a:lnTo>
                  <a:lnTo>
                    <a:pt x="715" y="108"/>
                  </a:lnTo>
                  <a:lnTo>
                    <a:pt x="715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7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7" y="106"/>
                  </a:lnTo>
                  <a:lnTo>
                    <a:pt x="717" y="106"/>
                  </a:lnTo>
                  <a:lnTo>
                    <a:pt x="717" y="106"/>
                  </a:lnTo>
                  <a:lnTo>
                    <a:pt x="717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8"/>
                  </a:lnTo>
                  <a:close/>
                  <a:moveTo>
                    <a:pt x="1627" y="106"/>
                  </a:moveTo>
                  <a:lnTo>
                    <a:pt x="1627" y="106"/>
                  </a:lnTo>
                  <a:lnTo>
                    <a:pt x="1627" y="106"/>
                  </a:lnTo>
                  <a:lnTo>
                    <a:pt x="1627" y="108"/>
                  </a:lnTo>
                  <a:lnTo>
                    <a:pt x="1627" y="108"/>
                  </a:lnTo>
                  <a:lnTo>
                    <a:pt x="1627" y="108"/>
                  </a:lnTo>
                  <a:lnTo>
                    <a:pt x="1629" y="108"/>
                  </a:lnTo>
                  <a:lnTo>
                    <a:pt x="1629" y="108"/>
                  </a:lnTo>
                  <a:lnTo>
                    <a:pt x="1629" y="108"/>
                  </a:lnTo>
                  <a:lnTo>
                    <a:pt x="1629" y="108"/>
                  </a:lnTo>
                  <a:lnTo>
                    <a:pt x="1631" y="108"/>
                  </a:lnTo>
                  <a:lnTo>
                    <a:pt x="1631" y="108"/>
                  </a:lnTo>
                  <a:lnTo>
                    <a:pt x="1634" y="108"/>
                  </a:lnTo>
                  <a:lnTo>
                    <a:pt x="1638" y="111"/>
                  </a:lnTo>
                  <a:lnTo>
                    <a:pt x="1638" y="111"/>
                  </a:lnTo>
                  <a:lnTo>
                    <a:pt x="1640" y="111"/>
                  </a:lnTo>
                  <a:lnTo>
                    <a:pt x="1640" y="111"/>
                  </a:lnTo>
                  <a:lnTo>
                    <a:pt x="1640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40" y="108"/>
                  </a:lnTo>
                  <a:lnTo>
                    <a:pt x="1638" y="108"/>
                  </a:lnTo>
                  <a:lnTo>
                    <a:pt x="1638" y="108"/>
                  </a:lnTo>
                  <a:lnTo>
                    <a:pt x="1643" y="108"/>
                  </a:lnTo>
                  <a:lnTo>
                    <a:pt x="1645" y="108"/>
                  </a:lnTo>
                  <a:lnTo>
                    <a:pt x="1654" y="108"/>
                  </a:lnTo>
                  <a:lnTo>
                    <a:pt x="1656" y="108"/>
                  </a:lnTo>
                  <a:lnTo>
                    <a:pt x="1656" y="108"/>
                  </a:lnTo>
                  <a:lnTo>
                    <a:pt x="1658" y="111"/>
                  </a:lnTo>
                  <a:lnTo>
                    <a:pt x="1658" y="111"/>
                  </a:lnTo>
                  <a:lnTo>
                    <a:pt x="1658" y="111"/>
                  </a:lnTo>
                  <a:lnTo>
                    <a:pt x="1658" y="111"/>
                  </a:lnTo>
                  <a:lnTo>
                    <a:pt x="1658" y="111"/>
                  </a:lnTo>
                  <a:lnTo>
                    <a:pt x="1658" y="111"/>
                  </a:lnTo>
                  <a:lnTo>
                    <a:pt x="1661" y="111"/>
                  </a:lnTo>
                  <a:lnTo>
                    <a:pt x="1661" y="113"/>
                  </a:lnTo>
                  <a:lnTo>
                    <a:pt x="1663" y="113"/>
                  </a:lnTo>
                  <a:lnTo>
                    <a:pt x="1663" y="113"/>
                  </a:lnTo>
                  <a:lnTo>
                    <a:pt x="1663" y="113"/>
                  </a:lnTo>
                  <a:lnTo>
                    <a:pt x="1663" y="113"/>
                  </a:lnTo>
                  <a:lnTo>
                    <a:pt x="1665" y="113"/>
                  </a:lnTo>
                  <a:lnTo>
                    <a:pt x="1667" y="113"/>
                  </a:lnTo>
                  <a:lnTo>
                    <a:pt x="1667" y="111"/>
                  </a:lnTo>
                  <a:lnTo>
                    <a:pt x="1667" y="111"/>
                  </a:lnTo>
                  <a:lnTo>
                    <a:pt x="1683" y="113"/>
                  </a:lnTo>
                  <a:lnTo>
                    <a:pt x="1685" y="113"/>
                  </a:lnTo>
                  <a:lnTo>
                    <a:pt x="1685" y="113"/>
                  </a:lnTo>
                  <a:lnTo>
                    <a:pt x="1685" y="113"/>
                  </a:lnTo>
                  <a:lnTo>
                    <a:pt x="1688" y="113"/>
                  </a:lnTo>
                  <a:lnTo>
                    <a:pt x="1688" y="113"/>
                  </a:lnTo>
                  <a:lnTo>
                    <a:pt x="1688" y="113"/>
                  </a:lnTo>
                  <a:lnTo>
                    <a:pt x="1688" y="113"/>
                  </a:lnTo>
                  <a:lnTo>
                    <a:pt x="1688" y="113"/>
                  </a:lnTo>
                  <a:lnTo>
                    <a:pt x="1688" y="113"/>
                  </a:lnTo>
                  <a:lnTo>
                    <a:pt x="1690" y="113"/>
                  </a:lnTo>
                  <a:lnTo>
                    <a:pt x="1692" y="113"/>
                  </a:lnTo>
                  <a:lnTo>
                    <a:pt x="1692" y="113"/>
                  </a:lnTo>
                  <a:lnTo>
                    <a:pt x="1692" y="115"/>
                  </a:lnTo>
                  <a:lnTo>
                    <a:pt x="1692" y="115"/>
                  </a:lnTo>
                  <a:lnTo>
                    <a:pt x="1692" y="115"/>
                  </a:lnTo>
                  <a:lnTo>
                    <a:pt x="1694" y="115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4" y="113"/>
                  </a:lnTo>
                  <a:lnTo>
                    <a:pt x="1697" y="113"/>
                  </a:lnTo>
                  <a:lnTo>
                    <a:pt x="1697" y="113"/>
                  </a:lnTo>
                  <a:lnTo>
                    <a:pt x="1697" y="113"/>
                  </a:lnTo>
                  <a:lnTo>
                    <a:pt x="1699" y="113"/>
                  </a:lnTo>
                  <a:lnTo>
                    <a:pt x="1697" y="113"/>
                  </a:lnTo>
                  <a:lnTo>
                    <a:pt x="1697" y="113"/>
                  </a:lnTo>
                  <a:lnTo>
                    <a:pt x="1697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5"/>
                  </a:lnTo>
                  <a:lnTo>
                    <a:pt x="1699" y="117"/>
                  </a:lnTo>
                  <a:lnTo>
                    <a:pt x="1701" y="117"/>
                  </a:lnTo>
                  <a:lnTo>
                    <a:pt x="1701" y="117"/>
                  </a:lnTo>
                  <a:lnTo>
                    <a:pt x="1701" y="117"/>
                  </a:lnTo>
                  <a:lnTo>
                    <a:pt x="1701" y="117"/>
                  </a:lnTo>
                  <a:lnTo>
                    <a:pt x="1692" y="120"/>
                  </a:lnTo>
                  <a:lnTo>
                    <a:pt x="1692" y="120"/>
                  </a:lnTo>
                  <a:lnTo>
                    <a:pt x="1692" y="120"/>
                  </a:lnTo>
                  <a:lnTo>
                    <a:pt x="1692" y="120"/>
                  </a:lnTo>
                  <a:lnTo>
                    <a:pt x="1685" y="120"/>
                  </a:lnTo>
                  <a:lnTo>
                    <a:pt x="1685" y="120"/>
                  </a:lnTo>
                  <a:lnTo>
                    <a:pt x="1670" y="120"/>
                  </a:lnTo>
                  <a:lnTo>
                    <a:pt x="1663" y="117"/>
                  </a:lnTo>
                  <a:lnTo>
                    <a:pt x="1661" y="117"/>
                  </a:lnTo>
                  <a:lnTo>
                    <a:pt x="1661" y="117"/>
                  </a:lnTo>
                  <a:lnTo>
                    <a:pt x="1658" y="117"/>
                  </a:lnTo>
                  <a:lnTo>
                    <a:pt x="1658" y="117"/>
                  </a:lnTo>
                  <a:lnTo>
                    <a:pt x="1658" y="117"/>
                  </a:lnTo>
                  <a:lnTo>
                    <a:pt x="1654" y="117"/>
                  </a:lnTo>
                  <a:lnTo>
                    <a:pt x="1652" y="117"/>
                  </a:lnTo>
                  <a:lnTo>
                    <a:pt x="1647" y="115"/>
                  </a:lnTo>
                  <a:lnTo>
                    <a:pt x="1645" y="115"/>
                  </a:lnTo>
                  <a:lnTo>
                    <a:pt x="1638" y="113"/>
                  </a:lnTo>
                  <a:lnTo>
                    <a:pt x="1629" y="113"/>
                  </a:lnTo>
                  <a:lnTo>
                    <a:pt x="1627" y="113"/>
                  </a:lnTo>
                  <a:lnTo>
                    <a:pt x="1627" y="113"/>
                  </a:lnTo>
                  <a:lnTo>
                    <a:pt x="1627" y="113"/>
                  </a:lnTo>
                  <a:lnTo>
                    <a:pt x="1627" y="111"/>
                  </a:lnTo>
                  <a:lnTo>
                    <a:pt x="1627" y="111"/>
                  </a:lnTo>
                  <a:lnTo>
                    <a:pt x="1627" y="111"/>
                  </a:lnTo>
                  <a:lnTo>
                    <a:pt x="1627" y="111"/>
                  </a:lnTo>
                  <a:lnTo>
                    <a:pt x="1627" y="111"/>
                  </a:lnTo>
                  <a:lnTo>
                    <a:pt x="1625" y="111"/>
                  </a:lnTo>
                  <a:lnTo>
                    <a:pt x="1625" y="111"/>
                  </a:lnTo>
                  <a:lnTo>
                    <a:pt x="1625" y="108"/>
                  </a:lnTo>
                  <a:lnTo>
                    <a:pt x="1622" y="108"/>
                  </a:lnTo>
                  <a:lnTo>
                    <a:pt x="1622" y="108"/>
                  </a:lnTo>
                  <a:lnTo>
                    <a:pt x="1622" y="108"/>
                  </a:lnTo>
                  <a:lnTo>
                    <a:pt x="1625" y="108"/>
                  </a:lnTo>
                  <a:lnTo>
                    <a:pt x="1625" y="108"/>
                  </a:lnTo>
                  <a:lnTo>
                    <a:pt x="1625" y="108"/>
                  </a:lnTo>
                  <a:lnTo>
                    <a:pt x="1625" y="108"/>
                  </a:lnTo>
                  <a:lnTo>
                    <a:pt x="1625" y="108"/>
                  </a:lnTo>
                  <a:lnTo>
                    <a:pt x="1622" y="108"/>
                  </a:lnTo>
                  <a:lnTo>
                    <a:pt x="1622" y="108"/>
                  </a:lnTo>
                  <a:lnTo>
                    <a:pt x="1622" y="108"/>
                  </a:lnTo>
                  <a:lnTo>
                    <a:pt x="1622" y="108"/>
                  </a:lnTo>
                  <a:lnTo>
                    <a:pt x="1625" y="108"/>
                  </a:lnTo>
                  <a:lnTo>
                    <a:pt x="1625" y="108"/>
                  </a:lnTo>
                  <a:lnTo>
                    <a:pt x="1622" y="106"/>
                  </a:lnTo>
                  <a:lnTo>
                    <a:pt x="1622" y="106"/>
                  </a:lnTo>
                  <a:lnTo>
                    <a:pt x="1622" y="106"/>
                  </a:lnTo>
                  <a:lnTo>
                    <a:pt x="1620" y="106"/>
                  </a:lnTo>
                  <a:lnTo>
                    <a:pt x="1620" y="106"/>
                  </a:lnTo>
                  <a:lnTo>
                    <a:pt x="1620" y="106"/>
                  </a:lnTo>
                  <a:lnTo>
                    <a:pt x="1622" y="106"/>
                  </a:lnTo>
                  <a:lnTo>
                    <a:pt x="1625" y="106"/>
                  </a:lnTo>
                  <a:lnTo>
                    <a:pt x="1625" y="106"/>
                  </a:lnTo>
                  <a:lnTo>
                    <a:pt x="1627" y="106"/>
                  </a:lnTo>
                  <a:lnTo>
                    <a:pt x="1627" y="106"/>
                  </a:lnTo>
                  <a:lnTo>
                    <a:pt x="1627" y="106"/>
                  </a:lnTo>
                  <a:lnTo>
                    <a:pt x="1629" y="106"/>
                  </a:lnTo>
                  <a:lnTo>
                    <a:pt x="1627" y="106"/>
                  </a:lnTo>
                  <a:close/>
                  <a:moveTo>
                    <a:pt x="1488" y="104"/>
                  </a:move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6"/>
                  </a:lnTo>
                  <a:lnTo>
                    <a:pt x="1490" y="106"/>
                  </a:lnTo>
                  <a:lnTo>
                    <a:pt x="1490" y="106"/>
                  </a:lnTo>
                  <a:lnTo>
                    <a:pt x="1490" y="106"/>
                  </a:lnTo>
                  <a:lnTo>
                    <a:pt x="1490" y="106"/>
                  </a:lnTo>
                  <a:lnTo>
                    <a:pt x="1488" y="106"/>
                  </a:lnTo>
                  <a:lnTo>
                    <a:pt x="1488" y="106"/>
                  </a:lnTo>
                  <a:lnTo>
                    <a:pt x="1488" y="106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close/>
                  <a:moveTo>
                    <a:pt x="1488" y="104"/>
                  </a:move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close/>
                  <a:moveTo>
                    <a:pt x="394" y="99"/>
                  </a:moveTo>
                  <a:lnTo>
                    <a:pt x="394" y="99"/>
                  </a:lnTo>
                  <a:lnTo>
                    <a:pt x="391" y="99"/>
                  </a:lnTo>
                  <a:lnTo>
                    <a:pt x="391" y="99"/>
                  </a:lnTo>
                  <a:lnTo>
                    <a:pt x="391" y="99"/>
                  </a:lnTo>
                  <a:lnTo>
                    <a:pt x="389" y="99"/>
                  </a:lnTo>
                  <a:lnTo>
                    <a:pt x="389" y="99"/>
                  </a:lnTo>
                  <a:lnTo>
                    <a:pt x="387" y="99"/>
                  </a:lnTo>
                  <a:lnTo>
                    <a:pt x="387" y="99"/>
                  </a:lnTo>
                  <a:lnTo>
                    <a:pt x="387" y="99"/>
                  </a:lnTo>
                  <a:lnTo>
                    <a:pt x="387" y="99"/>
                  </a:lnTo>
                  <a:lnTo>
                    <a:pt x="389" y="99"/>
                  </a:lnTo>
                  <a:lnTo>
                    <a:pt x="391" y="99"/>
                  </a:lnTo>
                  <a:lnTo>
                    <a:pt x="391" y="99"/>
                  </a:lnTo>
                  <a:lnTo>
                    <a:pt x="391" y="97"/>
                  </a:lnTo>
                  <a:lnTo>
                    <a:pt x="391" y="97"/>
                  </a:lnTo>
                  <a:lnTo>
                    <a:pt x="394" y="97"/>
                  </a:lnTo>
                  <a:lnTo>
                    <a:pt x="394" y="97"/>
                  </a:lnTo>
                  <a:lnTo>
                    <a:pt x="394" y="99"/>
                  </a:lnTo>
                  <a:lnTo>
                    <a:pt x="394" y="99"/>
                  </a:lnTo>
                  <a:close/>
                  <a:moveTo>
                    <a:pt x="1490" y="97"/>
                  </a:moveTo>
                  <a:lnTo>
                    <a:pt x="1488" y="97"/>
                  </a:lnTo>
                  <a:lnTo>
                    <a:pt x="1488" y="97"/>
                  </a:lnTo>
                  <a:lnTo>
                    <a:pt x="1488" y="97"/>
                  </a:lnTo>
                  <a:lnTo>
                    <a:pt x="1490" y="97"/>
                  </a:lnTo>
                  <a:close/>
                  <a:moveTo>
                    <a:pt x="1490" y="97"/>
                  </a:move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close/>
                  <a:moveTo>
                    <a:pt x="919" y="97"/>
                  </a:moveTo>
                  <a:lnTo>
                    <a:pt x="917" y="97"/>
                  </a:lnTo>
                  <a:lnTo>
                    <a:pt x="915" y="97"/>
                  </a:lnTo>
                  <a:lnTo>
                    <a:pt x="915" y="97"/>
                  </a:lnTo>
                  <a:lnTo>
                    <a:pt x="915" y="97"/>
                  </a:lnTo>
                  <a:lnTo>
                    <a:pt x="919" y="97"/>
                  </a:lnTo>
                  <a:lnTo>
                    <a:pt x="922" y="97"/>
                  </a:lnTo>
                  <a:lnTo>
                    <a:pt x="922" y="95"/>
                  </a:lnTo>
                  <a:lnTo>
                    <a:pt x="922" y="95"/>
                  </a:lnTo>
                  <a:lnTo>
                    <a:pt x="922" y="97"/>
                  </a:lnTo>
                  <a:lnTo>
                    <a:pt x="922" y="97"/>
                  </a:lnTo>
                  <a:lnTo>
                    <a:pt x="919" y="97"/>
                  </a:lnTo>
                  <a:close/>
                  <a:moveTo>
                    <a:pt x="890" y="95"/>
                  </a:moveTo>
                  <a:lnTo>
                    <a:pt x="890" y="95"/>
                  </a:lnTo>
                  <a:lnTo>
                    <a:pt x="890" y="95"/>
                  </a:lnTo>
                  <a:lnTo>
                    <a:pt x="888" y="95"/>
                  </a:lnTo>
                  <a:lnTo>
                    <a:pt x="888" y="95"/>
                  </a:lnTo>
                  <a:lnTo>
                    <a:pt x="888" y="95"/>
                  </a:lnTo>
                  <a:lnTo>
                    <a:pt x="888" y="95"/>
                  </a:lnTo>
                  <a:lnTo>
                    <a:pt x="888" y="95"/>
                  </a:lnTo>
                  <a:lnTo>
                    <a:pt x="888" y="93"/>
                  </a:lnTo>
                  <a:lnTo>
                    <a:pt x="890" y="95"/>
                  </a:lnTo>
                  <a:lnTo>
                    <a:pt x="890" y="95"/>
                  </a:lnTo>
                  <a:lnTo>
                    <a:pt x="890" y="95"/>
                  </a:lnTo>
                  <a:lnTo>
                    <a:pt x="890" y="95"/>
                  </a:lnTo>
                  <a:lnTo>
                    <a:pt x="890" y="95"/>
                  </a:lnTo>
                  <a:close/>
                  <a:moveTo>
                    <a:pt x="1553" y="120"/>
                  </a:moveTo>
                  <a:lnTo>
                    <a:pt x="1551" y="120"/>
                  </a:lnTo>
                  <a:lnTo>
                    <a:pt x="1551" y="117"/>
                  </a:lnTo>
                  <a:lnTo>
                    <a:pt x="1551" y="117"/>
                  </a:lnTo>
                  <a:lnTo>
                    <a:pt x="1551" y="117"/>
                  </a:lnTo>
                  <a:lnTo>
                    <a:pt x="1548" y="117"/>
                  </a:lnTo>
                  <a:lnTo>
                    <a:pt x="1548" y="117"/>
                  </a:lnTo>
                  <a:lnTo>
                    <a:pt x="1548" y="117"/>
                  </a:lnTo>
                  <a:lnTo>
                    <a:pt x="1548" y="117"/>
                  </a:lnTo>
                  <a:lnTo>
                    <a:pt x="1546" y="117"/>
                  </a:lnTo>
                  <a:lnTo>
                    <a:pt x="1546" y="117"/>
                  </a:lnTo>
                  <a:lnTo>
                    <a:pt x="1546" y="117"/>
                  </a:lnTo>
                  <a:lnTo>
                    <a:pt x="1544" y="117"/>
                  </a:lnTo>
                  <a:lnTo>
                    <a:pt x="1544" y="117"/>
                  </a:lnTo>
                  <a:lnTo>
                    <a:pt x="1544" y="117"/>
                  </a:lnTo>
                  <a:lnTo>
                    <a:pt x="1544" y="117"/>
                  </a:lnTo>
                  <a:lnTo>
                    <a:pt x="1542" y="117"/>
                  </a:lnTo>
                  <a:lnTo>
                    <a:pt x="1542" y="117"/>
                  </a:lnTo>
                  <a:lnTo>
                    <a:pt x="1542" y="117"/>
                  </a:lnTo>
                  <a:lnTo>
                    <a:pt x="1544" y="117"/>
                  </a:lnTo>
                  <a:lnTo>
                    <a:pt x="1544" y="117"/>
                  </a:lnTo>
                  <a:lnTo>
                    <a:pt x="1544" y="117"/>
                  </a:lnTo>
                  <a:lnTo>
                    <a:pt x="1544" y="120"/>
                  </a:lnTo>
                  <a:lnTo>
                    <a:pt x="1546" y="120"/>
                  </a:lnTo>
                  <a:lnTo>
                    <a:pt x="1546" y="117"/>
                  </a:lnTo>
                  <a:lnTo>
                    <a:pt x="1546" y="117"/>
                  </a:lnTo>
                  <a:lnTo>
                    <a:pt x="1546" y="117"/>
                  </a:lnTo>
                  <a:lnTo>
                    <a:pt x="1546" y="117"/>
                  </a:lnTo>
                  <a:lnTo>
                    <a:pt x="1546" y="120"/>
                  </a:lnTo>
                  <a:lnTo>
                    <a:pt x="1546" y="120"/>
                  </a:lnTo>
                  <a:lnTo>
                    <a:pt x="1546" y="120"/>
                  </a:lnTo>
                  <a:lnTo>
                    <a:pt x="1546" y="120"/>
                  </a:lnTo>
                  <a:lnTo>
                    <a:pt x="1546" y="120"/>
                  </a:lnTo>
                  <a:lnTo>
                    <a:pt x="1546" y="120"/>
                  </a:lnTo>
                  <a:lnTo>
                    <a:pt x="1546" y="120"/>
                  </a:lnTo>
                  <a:lnTo>
                    <a:pt x="1546" y="122"/>
                  </a:lnTo>
                  <a:lnTo>
                    <a:pt x="1546" y="122"/>
                  </a:lnTo>
                  <a:lnTo>
                    <a:pt x="1544" y="122"/>
                  </a:lnTo>
                  <a:lnTo>
                    <a:pt x="1544" y="122"/>
                  </a:lnTo>
                  <a:lnTo>
                    <a:pt x="1539" y="122"/>
                  </a:lnTo>
                  <a:lnTo>
                    <a:pt x="1528" y="120"/>
                  </a:lnTo>
                  <a:lnTo>
                    <a:pt x="1526" y="120"/>
                  </a:lnTo>
                  <a:lnTo>
                    <a:pt x="1526" y="120"/>
                  </a:lnTo>
                  <a:lnTo>
                    <a:pt x="1521" y="120"/>
                  </a:lnTo>
                  <a:lnTo>
                    <a:pt x="1521" y="120"/>
                  </a:lnTo>
                  <a:lnTo>
                    <a:pt x="1521" y="117"/>
                  </a:lnTo>
                  <a:lnTo>
                    <a:pt x="1519" y="117"/>
                  </a:lnTo>
                  <a:lnTo>
                    <a:pt x="1519" y="117"/>
                  </a:lnTo>
                  <a:lnTo>
                    <a:pt x="1519" y="117"/>
                  </a:lnTo>
                  <a:lnTo>
                    <a:pt x="1517" y="117"/>
                  </a:lnTo>
                  <a:lnTo>
                    <a:pt x="1517" y="117"/>
                  </a:lnTo>
                  <a:lnTo>
                    <a:pt x="1517" y="117"/>
                  </a:lnTo>
                  <a:lnTo>
                    <a:pt x="1515" y="115"/>
                  </a:lnTo>
                  <a:lnTo>
                    <a:pt x="1510" y="115"/>
                  </a:lnTo>
                  <a:lnTo>
                    <a:pt x="1503" y="113"/>
                  </a:lnTo>
                  <a:lnTo>
                    <a:pt x="1503" y="113"/>
                  </a:lnTo>
                  <a:lnTo>
                    <a:pt x="1501" y="113"/>
                  </a:lnTo>
                  <a:lnTo>
                    <a:pt x="1501" y="113"/>
                  </a:lnTo>
                  <a:lnTo>
                    <a:pt x="1499" y="113"/>
                  </a:lnTo>
                  <a:lnTo>
                    <a:pt x="1497" y="111"/>
                  </a:lnTo>
                  <a:lnTo>
                    <a:pt x="1497" y="111"/>
                  </a:lnTo>
                  <a:lnTo>
                    <a:pt x="1497" y="111"/>
                  </a:lnTo>
                  <a:lnTo>
                    <a:pt x="1494" y="111"/>
                  </a:lnTo>
                  <a:lnTo>
                    <a:pt x="1494" y="111"/>
                  </a:lnTo>
                  <a:lnTo>
                    <a:pt x="1494" y="111"/>
                  </a:lnTo>
                  <a:lnTo>
                    <a:pt x="1494" y="111"/>
                  </a:lnTo>
                  <a:lnTo>
                    <a:pt x="1492" y="108"/>
                  </a:lnTo>
                  <a:lnTo>
                    <a:pt x="1494" y="108"/>
                  </a:lnTo>
                  <a:lnTo>
                    <a:pt x="1494" y="108"/>
                  </a:lnTo>
                  <a:lnTo>
                    <a:pt x="1497" y="111"/>
                  </a:lnTo>
                  <a:lnTo>
                    <a:pt x="1499" y="111"/>
                  </a:lnTo>
                  <a:lnTo>
                    <a:pt x="1499" y="111"/>
                  </a:lnTo>
                  <a:lnTo>
                    <a:pt x="1501" y="111"/>
                  </a:lnTo>
                  <a:lnTo>
                    <a:pt x="1501" y="108"/>
                  </a:lnTo>
                  <a:lnTo>
                    <a:pt x="1501" y="108"/>
                  </a:lnTo>
                  <a:lnTo>
                    <a:pt x="1501" y="108"/>
                  </a:lnTo>
                  <a:lnTo>
                    <a:pt x="1499" y="108"/>
                  </a:lnTo>
                  <a:lnTo>
                    <a:pt x="1499" y="108"/>
                  </a:lnTo>
                  <a:lnTo>
                    <a:pt x="1499" y="108"/>
                  </a:lnTo>
                  <a:lnTo>
                    <a:pt x="1497" y="108"/>
                  </a:lnTo>
                  <a:lnTo>
                    <a:pt x="1497" y="108"/>
                  </a:lnTo>
                  <a:lnTo>
                    <a:pt x="1497" y="108"/>
                  </a:lnTo>
                  <a:lnTo>
                    <a:pt x="1497" y="108"/>
                  </a:lnTo>
                  <a:lnTo>
                    <a:pt x="1494" y="108"/>
                  </a:lnTo>
                  <a:lnTo>
                    <a:pt x="1494" y="108"/>
                  </a:lnTo>
                  <a:lnTo>
                    <a:pt x="1494" y="108"/>
                  </a:lnTo>
                  <a:lnTo>
                    <a:pt x="1494" y="108"/>
                  </a:lnTo>
                  <a:lnTo>
                    <a:pt x="1494" y="108"/>
                  </a:lnTo>
                  <a:lnTo>
                    <a:pt x="1497" y="108"/>
                  </a:lnTo>
                  <a:lnTo>
                    <a:pt x="1494" y="106"/>
                  </a:lnTo>
                  <a:lnTo>
                    <a:pt x="1494" y="106"/>
                  </a:lnTo>
                  <a:lnTo>
                    <a:pt x="1494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6"/>
                  </a:lnTo>
                  <a:lnTo>
                    <a:pt x="1492" y="104"/>
                  </a:lnTo>
                  <a:lnTo>
                    <a:pt x="1492" y="104"/>
                  </a:lnTo>
                  <a:lnTo>
                    <a:pt x="1490" y="104"/>
                  </a:lnTo>
                  <a:lnTo>
                    <a:pt x="1490" y="104"/>
                  </a:lnTo>
                  <a:lnTo>
                    <a:pt x="1490" y="104"/>
                  </a:lnTo>
                  <a:lnTo>
                    <a:pt x="1490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8" y="104"/>
                  </a:lnTo>
                  <a:lnTo>
                    <a:pt x="1485" y="104"/>
                  </a:lnTo>
                  <a:lnTo>
                    <a:pt x="1485" y="102"/>
                  </a:lnTo>
                  <a:lnTo>
                    <a:pt x="1485" y="102"/>
                  </a:lnTo>
                  <a:lnTo>
                    <a:pt x="1485" y="102"/>
                  </a:lnTo>
                  <a:lnTo>
                    <a:pt x="1485" y="102"/>
                  </a:lnTo>
                  <a:lnTo>
                    <a:pt x="1485" y="102"/>
                  </a:lnTo>
                  <a:lnTo>
                    <a:pt x="1485" y="102"/>
                  </a:lnTo>
                  <a:lnTo>
                    <a:pt x="1488" y="102"/>
                  </a:lnTo>
                  <a:lnTo>
                    <a:pt x="1490" y="102"/>
                  </a:lnTo>
                  <a:lnTo>
                    <a:pt x="1492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4" y="102"/>
                  </a:lnTo>
                  <a:lnTo>
                    <a:pt x="1492" y="102"/>
                  </a:lnTo>
                  <a:lnTo>
                    <a:pt x="1490" y="102"/>
                  </a:lnTo>
                  <a:lnTo>
                    <a:pt x="1490" y="102"/>
                  </a:lnTo>
                  <a:lnTo>
                    <a:pt x="1488" y="102"/>
                  </a:lnTo>
                  <a:lnTo>
                    <a:pt x="1488" y="99"/>
                  </a:lnTo>
                  <a:lnTo>
                    <a:pt x="1485" y="99"/>
                  </a:lnTo>
                  <a:lnTo>
                    <a:pt x="1485" y="99"/>
                  </a:lnTo>
                  <a:lnTo>
                    <a:pt x="1485" y="99"/>
                  </a:lnTo>
                  <a:lnTo>
                    <a:pt x="1483" y="99"/>
                  </a:lnTo>
                  <a:lnTo>
                    <a:pt x="1483" y="99"/>
                  </a:lnTo>
                  <a:lnTo>
                    <a:pt x="1485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7"/>
                  </a:lnTo>
                  <a:lnTo>
                    <a:pt x="1490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4" y="97"/>
                  </a:lnTo>
                  <a:lnTo>
                    <a:pt x="1494" y="97"/>
                  </a:lnTo>
                  <a:lnTo>
                    <a:pt x="1494" y="97"/>
                  </a:lnTo>
                  <a:lnTo>
                    <a:pt x="1494" y="97"/>
                  </a:lnTo>
                  <a:lnTo>
                    <a:pt x="1494" y="97"/>
                  </a:lnTo>
                  <a:lnTo>
                    <a:pt x="1494" y="97"/>
                  </a:lnTo>
                  <a:lnTo>
                    <a:pt x="1494" y="95"/>
                  </a:lnTo>
                  <a:lnTo>
                    <a:pt x="1494" y="95"/>
                  </a:lnTo>
                  <a:lnTo>
                    <a:pt x="1494" y="95"/>
                  </a:lnTo>
                  <a:lnTo>
                    <a:pt x="1494" y="95"/>
                  </a:lnTo>
                  <a:lnTo>
                    <a:pt x="1494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2" y="95"/>
                  </a:lnTo>
                  <a:lnTo>
                    <a:pt x="1499" y="93"/>
                  </a:lnTo>
                  <a:lnTo>
                    <a:pt x="1499" y="93"/>
                  </a:lnTo>
                  <a:lnTo>
                    <a:pt x="1497" y="95"/>
                  </a:lnTo>
                  <a:lnTo>
                    <a:pt x="1497" y="95"/>
                  </a:lnTo>
                  <a:lnTo>
                    <a:pt x="1497" y="95"/>
                  </a:lnTo>
                  <a:lnTo>
                    <a:pt x="1499" y="95"/>
                  </a:lnTo>
                  <a:lnTo>
                    <a:pt x="1499" y="95"/>
                  </a:lnTo>
                  <a:lnTo>
                    <a:pt x="1499" y="95"/>
                  </a:lnTo>
                  <a:lnTo>
                    <a:pt x="1499" y="95"/>
                  </a:lnTo>
                  <a:lnTo>
                    <a:pt x="1499" y="95"/>
                  </a:lnTo>
                  <a:lnTo>
                    <a:pt x="1499" y="95"/>
                  </a:lnTo>
                  <a:lnTo>
                    <a:pt x="1501" y="95"/>
                  </a:lnTo>
                  <a:lnTo>
                    <a:pt x="1503" y="97"/>
                  </a:lnTo>
                  <a:lnTo>
                    <a:pt x="1512" y="97"/>
                  </a:lnTo>
                  <a:lnTo>
                    <a:pt x="1515" y="97"/>
                  </a:lnTo>
                  <a:lnTo>
                    <a:pt x="1517" y="97"/>
                  </a:lnTo>
                  <a:lnTo>
                    <a:pt x="1517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19" y="99"/>
                  </a:lnTo>
                  <a:lnTo>
                    <a:pt x="1521" y="99"/>
                  </a:lnTo>
                  <a:lnTo>
                    <a:pt x="1521" y="99"/>
                  </a:lnTo>
                  <a:lnTo>
                    <a:pt x="1521" y="102"/>
                  </a:lnTo>
                  <a:lnTo>
                    <a:pt x="1524" y="102"/>
                  </a:lnTo>
                  <a:lnTo>
                    <a:pt x="1526" y="102"/>
                  </a:lnTo>
                  <a:lnTo>
                    <a:pt x="1528" y="102"/>
                  </a:lnTo>
                  <a:lnTo>
                    <a:pt x="1528" y="102"/>
                  </a:lnTo>
                  <a:lnTo>
                    <a:pt x="1528" y="102"/>
                  </a:lnTo>
                  <a:lnTo>
                    <a:pt x="1530" y="102"/>
                  </a:lnTo>
                  <a:lnTo>
                    <a:pt x="1533" y="102"/>
                  </a:lnTo>
                  <a:lnTo>
                    <a:pt x="1533" y="102"/>
                  </a:lnTo>
                  <a:lnTo>
                    <a:pt x="1533" y="102"/>
                  </a:lnTo>
                  <a:lnTo>
                    <a:pt x="1533" y="104"/>
                  </a:lnTo>
                  <a:lnTo>
                    <a:pt x="1533" y="104"/>
                  </a:lnTo>
                  <a:lnTo>
                    <a:pt x="1533" y="104"/>
                  </a:lnTo>
                  <a:lnTo>
                    <a:pt x="1535" y="104"/>
                  </a:lnTo>
                  <a:lnTo>
                    <a:pt x="1535" y="104"/>
                  </a:lnTo>
                  <a:lnTo>
                    <a:pt x="1535" y="104"/>
                  </a:lnTo>
                  <a:lnTo>
                    <a:pt x="1535" y="104"/>
                  </a:lnTo>
                  <a:lnTo>
                    <a:pt x="1535" y="104"/>
                  </a:lnTo>
                  <a:lnTo>
                    <a:pt x="1535" y="104"/>
                  </a:lnTo>
                  <a:lnTo>
                    <a:pt x="1535" y="104"/>
                  </a:lnTo>
                  <a:lnTo>
                    <a:pt x="1539" y="104"/>
                  </a:lnTo>
                  <a:lnTo>
                    <a:pt x="1539" y="104"/>
                  </a:lnTo>
                  <a:lnTo>
                    <a:pt x="1542" y="104"/>
                  </a:lnTo>
                  <a:lnTo>
                    <a:pt x="1544" y="104"/>
                  </a:lnTo>
                  <a:lnTo>
                    <a:pt x="1544" y="104"/>
                  </a:lnTo>
                  <a:lnTo>
                    <a:pt x="1544" y="104"/>
                  </a:lnTo>
                  <a:lnTo>
                    <a:pt x="1544" y="104"/>
                  </a:lnTo>
                  <a:lnTo>
                    <a:pt x="1542" y="104"/>
                  </a:lnTo>
                  <a:lnTo>
                    <a:pt x="1542" y="104"/>
                  </a:lnTo>
                  <a:lnTo>
                    <a:pt x="1542" y="104"/>
                  </a:lnTo>
                  <a:lnTo>
                    <a:pt x="1542" y="104"/>
                  </a:lnTo>
                  <a:lnTo>
                    <a:pt x="1542" y="104"/>
                  </a:lnTo>
                  <a:lnTo>
                    <a:pt x="1542" y="104"/>
                  </a:lnTo>
                  <a:lnTo>
                    <a:pt x="1539" y="102"/>
                  </a:lnTo>
                  <a:lnTo>
                    <a:pt x="1537" y="102"/>
                  </a:lnTo>
                  <a:lnTo>
                    <a:pt x="1537" y="102"/>
                  </a:lnTo>
                  <a:lnTo>
                    <a:pt x="1535" y="102"/>
                  </a:lnTo>
                  <a:lnTo>
                    <a:pt x="1535" y="99"/>
                  </a:lnTo>
                  <a:lnTo>
                    <a:pt x="1533" y="99"/>
                  </a:lnTo>
                  <a:lnTo>
                    <a:pt x="1533" y="99"/>
                  </a:lnTo>
                  <a:lnTo>
                    <a:pt x="1533" y="99"/>
                  </a:lnTo>
                  <a:lnTo>
                    <a:pt x="1533" y="99"/>
                  </a:lnTo>
                  <a:lnTo>
                    <a:pt x="1533" y="97"/>
                  </a:lnTo>
                  <a:lnTo>
                    <a:pt x="1530" y="97"/>
                  </a:lnTo>
                  <a:lnTo>
                    <a:pt x="1530" y="97"/>
                  </a:lnTo>
                  <a:lnTo>
                    <a:pt x="1530" y="97"/>
                  </a:lnTo>
                  <a:lnTo>
                    <a:pt x="1530" y="97"/>
                  </a:lnTo>
                  <a:lnTo>
                    <a:pt x="1533" y="97"/>
                  </a:lnTo>
                  <a:lnTo>
                    <a:pt x="1535" y="97"/>
                  </a:lnTo>
                  <a:lnTo>
                    <a:pt x="1539" y="97"/>
                  </a:lnTo>
                  <a:lnTo>
                    <a:pt x="1542" y="97"/>
                  </a:lnTo>
                  <a:lnTo>
                    <a:pt x="1539" y="97"/>
                  </a:lnTo>
                  <a:lnTo>
                    <a:pt x="1537" y="97"/>
                  </a:lnTo>
                  <a:lnTo>
                    <a:pt x="1537" y="97"/>
                  </a:lnTo>
                  <a:lnTo>
                    <a:pt x="1535" y="95"/>
                  </a:lnTo>
                  <a:lnTo>
                    <a:pt x="1535" y="95"/>
                  </a:lnTo>
                  <a:lnTo>
                    <a:pt x="1535" y="95"/>
                  </a:lnTo>
                  <a:lnTo>
                    <a:pt x="1535" y="95"/>
                  </a:lnTo>
                  <a:lnTo>
                    <a:pt x="1535" y="95"/>
                  </a:lnTo>
                  <a:lnTo>
                    <a:pt x="1535" y="95"/>
                  </a:lnTo>
                  <a:lnTo>
                    <a:pt x="1533" y="95"/>
                  </a:lnTo>
                  <a:lnTo>
                    <a:pt x="1533" y="95"/>
                  </a:lnTo>
                  <a:lnTo>
                    <a:pt x="1533" y="95"/>
                  </a:lnTo>
                  <a:lnTo>
                    <a:pt x="1533" y="95"/>
                  </a:lnTo>
                  <a:lnTo>
                    <a:pt x="1530" y="95"/>
                  </a:lnTo>
                  <a:lnTo>
                    <a:pt x="1533" y="95"/>
                  </a:lnTo>
                  <a:lnTo>
                    <a:pt x="1537" y="95"/>
                  </a:lnTo>
                  <a:lnTo>
                    <a:pt x="1539" y="95"/>
                  </a:lnTo>
                  <a:lnTo>
                    <a:pt x="1544" y="97"/>
                  </a:lnTo>
                  <a:lnTo>
                    <a:pt x="1548" y="97"/>
                  </a:lnTo>
                  <a:lnTo>
                    <a:pt x="1555" y="99"/>
                  </a:lnTo>
                  <a:lnTo>
                    <a:pt x="1557" y="99"/>
                  </a:lnTo>
                  <a:lnTo>
                    <a:pt x="1557" y="99"/>
                  </a:lnTo>
                  <a:lnTo>
                    <a:pt x="1557" y="99"/>
                  </a:lnTo>
                  <a:lnTo>
                    <a:pt x="1564" y="102"/>
                  </a:lnTo>
                  <a:lnTo>
                    <a:pt x="1566" y="102"/>
                  </a:lnTo>
                  <a:lnTo>
                    <a:pt x="1571" y="102"/>
                  </a:lnTo>
                  <a:lnTo>
                    <a:pt x="1571" y="102"/>
                  </a:lnTo>
                  <a:lnTo>
                    <a:pt x="1571" y="102"/>
                  </a:lnTo>
                  <a:lnTo>
                    <a:pt x="1571" y="102"/>
                  </a:lnTo>
                  <a:lnTo>
                    <a:pt x="1573" y="99"/>
                  </a:lnTo>
                  <a:lnTo>
                    <a:pt x="1573" y="99"/>
                  </a:lnTo>
                  <a:lnTo>
                    <a:pt x="1575" y="102"/>
                  </a:lnTo>
                  <a:lnTo>
                    <a:pt x="1575" y="102"/>
                  </a:lnTo>
                  <a:lnTo>
                    <a:pt x="1578" y="102"/>
                  </a:lnTo>
                  <a:lnTo>
                    <a:pt x="1578" y="102"/>
                  </a:lnTo>
                  <a:lnTo>
                    <a:pt x="1578" y="102"/>
                  </a:lnTo>
                  <a:lnTo>
                    <a:pt x="1578" y="102"/>
                  </a:lnTo>
                  <a:lnTo>
                    <a:pt x="1578" y="102"/>
                  </a:lnTo>
                  <a:lnTo>
                    <a:pt x="1578" y="102"/>
                  </a:lnTo>
                  <a:lnTo>
                    <a:pt x="1584" y="102"/>
                  </a:lnTo>
                  <a:lnTo>
                    <a:pt x="1589" y="102"/>
                  </a:lnTo>
                  <a:lnTo>
                    <a:pt x="1591" y="104"/>
                  </a:lnTo>
                  <a:lnTo>
                    <a:pt x="1593" y="104"/>
                  </a:lnTo>
                  <a:lnTo>
                    <a:pt x="1593" y="104"/>
                  </a:lnTo>
                  <a:lnTo>
                    <a:pt x="1593" y="104"/>
                  </a:lnTo>
                  <a:lnTo>
                    <a:pt x="1596" y="104"/>
                  </a:lnTo>
                  <a:lnTo>
                    <a:pt x="1596" y="104"/>
                  </a:lnTo>
                  <a:lnTo>
                    <a:pt x="1602" y="104"/>
                  </a:lnTo>
                  <a:lnTo>
                    <a:pt x="1605" y="106"/>
                  </a:lnTo>
                  <a:lnTo>
                    <a:pt x="1607" y="106"/>
                  </a:lnTo>
                  <a:lnTo>
                    <a:pt x="1609" y="106"/>
                  </a:lnTo>
                  <a:lnTo>
                    <a:pt x="1609" y="106"/>
                  </a:lnTo>
                  <a:lnTo>
                    <a:pt x="1609" y="106"/>
                  </a:lnTo>
                  <a:lnTo>
                    <a:pt x="1607" y="106"/>
                  </a:lnTo>
                  <a:lnTo>
                    <a:pt x="1605" y="106"/>
                  </a:lnTo>
                  <a:lnTo>
                    <a:pt x="1605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08"/>
                  </a:lnTo>
                  <a:lnTo>
                    <a:pt x="1602" y="111"/>
                  </a:lnTo>
                  <a:lnTo>
                    <a:pt x="1605" y="111"/>
                  </a:lnTo>
                  <a:lnTo>
                    <a:pt x="1605" y="111"/>
                  </a:lnTo>
                  <a:lnTo>
                    <a:pt x="1605" y="111"/>
                  </a:lnTo>
                  <a:lnTo>
                    <a:pt x="1609" y="111"/>
                  </a:lnTo>
                  <a:lnTo>
                    <a:pt x="1609" y="111"/>
                  </a:lnTo>
                  <a:lnTo>
                    <a:pt x="1609" y="111"/>
                  </a:lnTo>
                  <a:lnTo>
                    <a:pt x="1607" y="111"/>
                  </a:lnTo>
                  <a:lnTo>
                    <a:pt x="1607" y="111"/>
                  </a:lnTo>
                  <a:lnTo>
                    <a:pt x="1607" y="113"/>
                  </a:lnTo>
                  <a:lnTo>
                    <a:pt x="1609" y="113"/>
                  </a:lnTo>
                  <a:lnTo>
                    <a:pt x="1609" y="113"/>
                  </a:lnTo>
                  <a:lnTo>
                    <a:pt x="1609" y="113"/>
                  </a:lnTo>
                  <a:lnTo>
                    <a:pt x="1609" y="113"/>
                  </a:lnTo>
                  <a:lnTo>
                    <a:pt x="1609" y="113"/>
                  </a:lnTo>
                  <a:lnTo>
                    <a:pt x="1609" y="115"/>
                  </a:lnTo>
                  <a:lnTo>
                    <a:pt x="1609" y="115"/>
                  </a:lnTo>
                  <a:lnTo>
                    <a:pt x="1609" y="115"/>
                  </a:lnTo>
                  <a:lnTo>
                    <a:pt x="1607" y="115"/>
                  </a:lnTo>
                  <a:lnTo>
                    <a:pt x="1605" y="115"/>
                  </a:lnTo>
                  <a:lnTo>
                    <a:pt x="1605" y="115"/>
                  </a:lnTo>
                  <a:lnTo>
                    <a:pt x="1602" y="115"/>
                  </a:lnTo>
                  <a:lnTo>
                    <a:pt x="1602" y="115"/>
                  </a:lnTo>
                  <a:lnTo>
                    <a:pt x="1600" y="115"/>
                  </a:lnTo>
                  <a:lnTo>
                    <a:pt x="1598" y="115"/>
                  </a:lnTo>
                  <a:lnTo>
                    <a:pt x="1598" y="115"/>
                  </a:lnTo>
                  <a:lnTo>
                    <a:pt x="1596" y="115"/>
                  </a:lnTo>
                  <a:lnTo>
                    <a:pt x="1593" y="115"/>
                  </a:lnTo>
                  <a:lnTo>
                    <a:pt x="1593" y="115"/>
                  </a:lnTo>
                  <a:lnTo>
                    <a:pt x="1591" y="115"/>
                  </a:lnTo>
                  <a:lnTo>
                    <a:pt x="1589" y="115"/>
                  </a:lnTo>
                  <a:lnTo>
                    <a:pt x="1587" y="113"/>
                  </a:lnTo>
                  <a:lnTo>
                    <a:pt x="1587" y="113"/>
                  </a:lnTo>
                  <a:lnTo>
                    <a:pt x="1587" y="113"/>
                  </a:lnTo>
                  <a:lnTo>
                    <a:pt x="1584" y="113"/>
                  </a:lnTo>
                  <a:lnTo>
                    <a:pt x="1584" y="113"/>
                  </a:lnTo>
                  <a:lnTo>
                    <a:pt x="1584" y="113"/>
                  </a:lnTo>
                  <a:lnTo>
                    <a:pt x="1584" y="113"/>
                  </a:lnTo>
                  <a:lnTo>
                    <a:pt x="1584" y="113"/>
                  </a:lnTo>
                  <a:lnTo>
                    <a:pt x="1584" y="113"/>
                  </a:lnTo>
                  <a:lnTo>
                    <a:pt x="1582" y="113"/>
                  </a:lnTo>
                  <a:lnTo>
                    <a:pt x="1582" y="113"/>
                  </a:lnTo>
                  <a:lnTo>
                    <a:pt x="1582" y="113"/>
                  </a:lnTo>
                  <a:lnTo>
                    <a:pt x="1582" y="113"/>
                  </a:lnTo>
                  <a:lnTo>
                    <a:pt x="1580" y="113"/>
                  </a:lnTo>
                  <a:lnTo>
                    <a:pt x="1580" y="113"/>
                  </a:lnTo>
                  <a:lnTo>
                    <a:pt x="1580" y="111"/>
                  </a:lnTo>
                  <a:lnTo>
                    <a:pt x="1578" y="111"/>
                  </a:lnTo>
                  <a:lnTo>
                    <a:pt x="1578" y="111"/>
                  </a:lnTo>
                  <a:lnTo>
                    <a:pt x="1578" y="111"/>
                  </a:lnTo>
                  <a:lnTo>
                    <a:pt x="1575" y="111"/>
                  </a:lnTo>
                  <a:lnTo>
                    <a:pt x="1575" y="111"/>
                  </a:lnTo>
                  <a:lnTo>
                    <a:pt x="1575" y="111"/>
                  </a:lnTo>
                  <a:lnTo>
                    <a:pt x="1573" y="111"/>
                  </a:lnTo>
                  <a:lnTo>
                    <a:pt x="1573" y="108"/>
                  </a:lnTo>
                  <a:lnTo>
                    <a:pt x="1571" y="108"/>
                  </a:lnTo>
                  <a:lnTo>
                    <a:pt x="1571" y="108"/>
                  </a:lnTo>
                  <a:lnTo>
                    <a:pt x="1571" y="108"/>
                  </a:lnTo>
                  <a:lnTo>
                    <a:pt x="1571" y="108"/>
                  </a:lnTo>
                  <a:lnTo>
                    <a:pt x="1571" y="108"/>
                  </a:lnTo>
                  <a:lnTo>
                    <a:pt x="1571" y="108"/>
                  </a:lnTo>
                  <a:lnTo>
                    <a:pt x="1571" y="108"/>
                  </a:lnTo>
                  <a:lnTo>
                    <a:pt x="1569" y="108"/>
                  </a:lnTo>
                  <a:lnTo>
                    <a:pt x="1569" y="108"/>
                  </a:lnTo>
                  <a:lnTo>
                    <a:pt x="1571" y="106"/>
                  </a:lnTo>
                  <a:lnTo>
                    <a:pt x="1571" y="106"/>
                  </a:lnTo>
                  <a:lnTo>
                    <a:pt x="1571" y="106"/>
                  </a:lnTo>
                  <a:lnTo>
                    <a:pt x="1571" y="106"/>
                  </a:lnTo>
                  <a:lnTo>
                    <a:pt x="1571" y="106"/>
                  </a:lnTo>
                  <a:lnTo>
                    <a:pt x="1571" y="106"/>
                  </a:lnTo>
                  <a:lnTo>
                    <a:pt x="1571" y="106"/>
                  </a:lnTo>
                  <a:lnTo>
                    <a:pt x="1573" y="106"/>
                  </a:lnTo>
                  <a:lnTo>
                    <a:pt x="1573" y="104"/>
                  </a:lnTo>
                  <a:lnTo>
                    <a:pt x="1571" y="104"/>
                  </a:lnTo>
                  <a:lnTo>
                    <a:pt x="1569" y="104"/>
                  </a:lnTo>
                  <a:lnTo>
                    <a:pt x="1566" y="104"/>
                  </a:lnTo>
                  <a:lnTo>
                    <a:pt x="1564" y="104"/>
                  </a:lnTo>
                  <a:lnTo>
                    <a:pt x="1564" y="104"/>
                  </a:lnTo>
                  <a:lnTo>
                    <a:pt x="1564" y="104"/>
                  </a:lnTo>
                  <a:lnTo>
                    <a:pt x="1564" y="102"/>
                  </a:lnTo>
                  <a:lnTo>
                    <a:pt x="1564" y="102"/>
                  </a:lnTo>
                  <a:lnTo>
                    <a:pt x="1564" y="102"/>
                  </a:lnTo>
                  <a:lnTo>
                    <a:pt x="1562" y="104"/>
                  </a:lnTo>
                  <a:lnTo>
                    <a:pt x="1560" y="104"/>
                  </a:lnTo>
                  <a:lnTo>
                    <a:pt x="1560" y="104"/>
                  </a:lnTo>
                  <a:lnTo>
                    <a:pt x="1560" y="104"/>
                  </a:lnTo>
                  <a:lnTo>
                    <a:pt x="1560" y="104"/>
                  </a:lnTo>
                  <a:lnTo>
                    <a:pt x="1562" y="104"/>
                  </a:lnTo>
                  <a:lnTo>
                    <a:pt x="1562" y="104"/>
                  </a:lnTo>
                  <a:lnTo>
                    <a:pt x="1562" y="104"/>
                  </a:lnTo>
                  <a:lnTo>
                    <a:pt x="1562" y="104"/>
                  </a:lnTo>
                  <a:lnTo>
                    <a:pt x="1557" y="104"/>
                  </a:lnTo>
                  <a:lnTo>
                    <a:pt x="1557" y="104"/>
                  </a:lnTo>
                  <a:lnTo>
                    <a:pt x="1557" y="104"/>
                  </a:lnTo>
                  <a:lnTo>
                    <a:pt x="1560" y="104"/>
                  </a:lnTo>
                  <a:lnTo>
                    <a:pt x="1560" y="104"/>
                  </a:lnTo>
                  <a:lnTo>
                    <a:pt x="1560" y="104"/>
                  </a:lnTo>
                  <a:lnTo>
                    <a:pt x="1560" y="104"/>
                  </a:lnTo>
                  <a:lnTo>
                    <a:pt x="1557" y="104"/>
                  </a:lnTo>
                  <a:lnTo>
                    <a:pt x="1557" y="104"/>
                  </a:lnTo>
                  <a:lnTo>
                    <a:pt x="1560" y="104"/>
                  </a:lnTo>
                  <a:lnTo>
                    <a:pt x="1560" y="106"/>
                  </a:lnTo>
                  <a:lnTo>
                    <a:pt x="1560" y="106"/>
                  </a:lnTo>
                  <a:lnTo>
                    <a:pt x="1560" y="106"/>
                  </a:lnTo>
                  <a:lnTo>
                    <a:pt x="1562" y="106"/>
                  </a:lnTo>
                  <a:lnTo>
                    <a:pt x="1562" y="106"/>
                  </a:lnTo>
                  <a:lnTo>
                    <a:pt x="1562" y="106"/>
                  </a:lnTo>
                  <a:lnTo>
                    <a:pt x="1562" y="106"/>
                  </a:lnTo>
                  <a:lnTo>
                    <a:pt x="1564" y="108"/>
                  </a:lnTo>
                  <a:lnTo>
                    <a:pt x="1566" y="108"/>
                  </a:lnTo>
                  <a:lnTo>
                    <a:pt x="1566" y="108"/>
                  </a:lnTo>
                  <a:lnTo>
                    <a:pt x="1566" y="108"/>
                  </a:lnTo>
                  <a:lnTo>
                    <a:pt x="1569" y="111"/>
                  </a:lnTo>
                  <a:lnTo>
                    <a:pt x="1573" y="111"/>
                  </a:lnTo>
                  <a:lnTo>
                    <a:pt x="1575" y="111"/>
                  </a:lnTo>
                  <a:lnTo>
                    <a:pt x="1575" y="111"/>
                  </a:lnTo>
                  <a:lnTo>
                    <a:pt x="1575" y="113"/>
                  </a:lnTo>
                  <a:lnTo>
                    <a:pt x="1575" y="113"/>
                  </a:lnTo>
                  <a:lnTo>
                    <a:pt x="1575" y="113"/>
                  </a:lnTo>
                  <a:lnTo>
                    <a:pt x="1578" y="113"/>
                  </a:lnTo>
                  <a:lnTo>
                    <a:pt x="1580" y="113"/>
                  </a:lnTo>
                  <a:lnTo>
                    <a:pt x="1582" y="113"/>
                  </a:lnTo>
                  <a:lnTo>
                    <a:pt x="1582" y="113"/>
                  </a:lnTo>
                  <a:lnTo>
                    <a:pt x="1582" y="115"/>
                  </a:lnTo>
                  <a:lnTo>
                    <a:pt x="1582" y="115"/>
                  </a:lnTo>
                  <a:lnTo>
                    <a:pt x="1587" y="115"/>
                  </a:lnTo>
                  <a:lnTo>
                    <a:pt x="1589" y="115"/>
                  </a:lnTo>
                  <a:lnTo>
                    <a:pt x="1593" y="115"/>
                  </a:lnTo>
                  <a:lnTo>
                    <a:pt x="1596" y="115"/>
                  </a:lnTo>
                  <a:lnTo>
                    <a:pt x="1598" y="115"/>
                  </a:lnTo>
                  <a:lnTo>
                    <a:pt x="1598" y="115"/>
                  </a:lnTo>
                  <a:lnTo>
                    <a:pt x="1600" y="117"/>
                  </a:lnTo>
                  <a:lnTo>
                    <a:pt x="1602" y="117"/>
                  </a:lnTo>
                  <a:lnTo>
                    <a:pt x="1602" y="117"/>
                  </a:lnTo>
                  <a:lnTo>
                    <a:pt x="1602" y="117"/>
                  </a:lnTo>
                  <a:lnTo>
                    <a:pt x="1600" y="117"/>
                  </a:lnTo>
                  <a:lnTo>
                    <a:pt x="1593" y="117"/>
                  </a:lnTo>
                  <a:lnTo>
                    <a:pt x="1591" y="117"/>
                  </a:lnTo>
                  <a:lnTo>
                    <a:pt x="1591" y="117"/>
                  </a:lnTo>
                  <a:lnTo>
                    <a:pt x="1591" y="117"/>
                  </a:lnTo>
                  <a:lnTo>
                    <a:pt x="1591" y="117"/>
                  </a:lnTo>
                  <a:lnTo>
                    <a:pt x="1591" y="117"/>
                  </a:lnTo>
                  <a:lnTo>
                    <a:pt x="1589" y="117"/>
                  </a:lnTo>
                  <a:lnTo>
                    <a:pt x="1589" y="117"/>
                  </a:lnTo>
                  <a:lnTo>
                    <a:pt x="1589" y="117"/>
                  </a:lnTo>
                  <a:lnTo>
                    <a:pt x="1589" y="117"/>
                  </a:lnTo>
                  <a:lnTo>
                    <a:pt x="1589" y="120"/>
                  </a:lnTo>
                  <a:lnTo>
                    <a:pt x="1589" y="120"/>
                  </a:lnTo>
                  <a:lnTo>
                    <a:pt x="1591" y="120"/>
                  </a:lnTo>
                  <a:lnTo>
                    <a:pt x="1591" y="120"/>
                  </a:lnTo>
                  <a:lnTo>
                    <a:pt x="1589" y="120"/>
                  </a:lnTo>
                  <a:lnTo>
                    <a:pt x="1587" y="120"/>
                  </a:lnTo>
                  <a:lnTo>
                    <a:pt x="1578" y="117"/>
                  </a:lnTo>
                  <a:lnTo>
                    <a:pt x="1578" y="117"/>
                  </a:lnTo>
                  <a:lnTo>
                    <a:pt x="1578" y="117"/>
                  </a:lnTo>
                  <a:lnTo>
                    <a:pt x="1578" y="117"/>
                  </a:lnTo>
                  <a:lnTo>
                    <a:pt x="1578" y="117"/>
                  </a:lnTo>
                  <a:lnTo>
                    <a:pt x="1580" y="117"/>
                  </a:lnTo>
                  <a:lnTo>
                    <a:pt x="1582" y="117"/>
                  </a:lnTo>
                  <a:lnTo>
                    <a:pt x="1582" y="117"/>
                  </a:lnTo>
                  <a:lnTo>
                    <a:pt x="1582" y="117"/>
                  </a:lnTo>
                  <a:lnTo>
                    <a:pt x="1582" y="117"/>
                  </a:lnTo>
                  <a:lnTo>
                    <a:pt x="1582" y="117"/>
                  </a:lnTo>
                  <a:lnTo>
                    <a:pt x="1580" y="117"/>
                  </a:lnTo>
                  <a:lnTo>
                    <a:pt x="1580" y="115"/>
                  </a:lnTo>
                  <a:lnTo>
                    <a:pt x="1578" y="115"/>
                  </a:lnTo>
                  <a:lnTo>
                    <a:pt x="1573" y="115"/>
                  </a:lnTo>
                  <a:lnTo>
                    <a:pt x="1573" y="117"/>
                  </a:lnTo>
                  <a:lnTo>
                    <a:pt x="1569" y="117"/>
                  </a:lnTo>
                  <a:lnTo>
                    <a:pt x="1566" y="117"/>
                  </a:lnTo>
                  <a:lnTo>
                    <a:pt x="1560" y="117"/>
                  </a:lnTo>
                  <a:lnTo>
                    <a:pt x="1560" y="117"/>
                  </a:lnTo>
                  <a:lnTo>
                    <a:pt x="1557" y="120"/>
                  </a:lnTo>
                  <a:lnTo>
                    <a:pt x="1553" y="120"/>
                  </a:lnTo>
                  <a:close/>
                  <a:moveTo>
                    <a:pt x="886" y="93"/>
                  </a:moveTo>
                  <a:lnTo>
                    <a:pt x="886" y="93"/>
                  </a:lnTo>
                  <a:lnTo>
                    <a:pt x="883" y="93"/>
                  </a:lnTo>
                  <a:lnTo>
                    <a:pt x="886" y="93"/>
                  </a:lnTo>
                  <a:lnTo>
                    <a:pt x="886" y="95"/>
                  </a:lnTo>
                  <a:lnTo>
                    <a:pt x="886" y="95"/>
                  </a:lnTo>
                  <a:lnTo>
                    <a:pt x="886" y="95"/>
                  </a:lnTo>
                  <a:lnTo>
                    <a:pt x="886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79" y="95"/>
                  </a:lnTo>
                  <a:lnTo>
                    <a:pt x="879" y="95"/>
                  </a:lnTo>
                  <a:lnTo>
                    <a:pt x="879" y="93"/>
                  </a:lnTo>
                  <a:lnTo>
                    <a:pt x="879" y="93"/>
                  </a:lnTo>
                  <a:lnTo>
                    <a:pt x="883" y="95"/>
                  </a:lnTo>
                  <a:lnTo>
                    <a:pt x="883" y="95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3" y="93"/>
                  </a:lnTo>
                  <a:lnTo>
                    <a:pt x="886" y="93"/>
                  </a:lnTo>
                  <a:lnTo>
                    <a:pt x="886" y="93"/>
                  </a:lnTo>
                  <a:lnTo>
                    <a:pt x="886" y="93"/>
                  </a:lnTo>
                  <a:lnTo>
                    <a:pt x="886" y="93"/>
                  </a:lnTo>
                  <a:close/>
                  <a:moveTo>
                    <a:pt x="904" y="93"/>
                  </a:move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08" y="93"/>
                  </a:lnTo>
                  <a:lnTo>
                    <a:pt x="908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3"/>
                  </a:lnTo>
                  <a:lnTo>
                    <a:pt x="906" y="93"/>
                  </a:lnTo>
                  <a:lnTo>
                    <a:pt x="906" y="93"/>
                  </a:lnTo>
                  <a:lnTo>
                    <a:pt x="906" y="93"/>
                  </a:lnTo>
                  <a:lnTo>
                    <a:pt x="906" y="93"/>
                  </a:lnTo>
                  <a:lnTo>
                    <a:pt x="906" y="93"/>
                  </a:lnTo>
                  <a:lnTo>
                    <a:pt x="906" y="93"/>
                  </a:lnTo>
                  <a:lnTo>
                    <a:pt x="906" y="93"/>
                  </a:lnTo>
                  <a:lnTo>
                    <a:pt x="906" y="95"/>
                  </a:lnTo>
                  <a:lnTo>
                    <a:pt x="906" y="95"/>
                  </a:lnTo>
                  <a:lnTo>
                    <a:pt x="906" y="95"/>
                  </a:lnTo>
                  <a:lnTo>
                    <a:pt x="904" y="95"/>
                  </a:lnTo>
                  <a:lnTo>
                    <a:pt x="904" y="95"/>
                  </a:lnTo>
                  <a:lnTo>
                    <a:pt x="906" y="95"/>
                  </a:lnTo>
                  <a:lnTo>
                    <a:pt x="906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6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8" y="95"/>
                  </a:lnTo>
                  <a:lnTo>
                    <a:pt x="904" y="95"/>
                  </a:lnTo>
                  <a:lnTo>
                    <a:pt x="901" y="95"/>
                  </a:lnTo>
                  <a:lnTo>
                    <a:pt x="897" y="95"/>
                  </a:lnTo>
                  <a:lnTo>
                    <a:pt x="897" y="95"/>
                  </a:lnTo>
                  <a:lnTo>
                    <a:pt x="897" y="95"/>
                  </a:lnTo>
                  <a:lnTo>
                    <a:pt x="892" y="95"/>
                  </a:lnTo>
                  <a:lnTo>
                    <a:pt x="890" y="95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0" y="93"/>
                  </a:lnTo>
                  <a:lnTo>
                    <a:pt x="892" y="93"/>
                  </a:lnTo>
                  <a:lnTo>
                    <a:pt x="892" y="93"/>
                  </a:lnTo>
                  <a:lnTo>
                    <a:pt x="895" y="93"/>
                  </a:lnTo>
                  <a:lnTo>
                    <a:pt x="895" y="93"/>
                  </a:lnTo>
                  <a:lnTo>
                    <a:pt x="895" y="93"/>
                  </a:lnTo>
                  <a:lnTo>
                    <a:pt x="895" y="93"/>
                  </a:lnTo>
                  <a:lnTo>
                    <a:pt x="895" y="93"/>
                  </a:lnTo>
                  <a:lnTo>
                    <a:pt x="897" y="93"/>
                  </a:lnTo>
                  <a:lnTo>
                    <a:pt x="897" y="93"/>
                  </a:lnTo>
                  <a:lnTo>
                    <a:pt x="897" y="93"/>
                  </a:lnTo>
                  <a:lnTo>
                    <a:pt x="897" y="93"/>
                  </a:lnTo>
                  <a:lnTo>
                    <a:pt x="899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1" y="93"/>
                  </a:lnTo>
                  <a:lnTo>
                    <a:pt x="904" y="93"/>
                  </a:lnTo>
                  <a:close/>
                  <a:moveTo>
                    <a:pt x="908" y="93"/>
                  </a:move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8" y="93"/>
                  </a:lnTo>
                  <a:lnTo>
                    <a:pt x="906" y="93"/>
                  </a:lnTo>
                  <a:lnTo>
                    <a:pt x="904" y="93"/>
                  </a:lnTo>
                  <a:lnTo>
                    <a:pt x="904" y="93"/>
                  </a:lnTo>
                  <a:lnTo>
                    <a:pt x="906" y="93"/>
                  </a:lnTo>
                  <a:lnTo>
                    <a:pt x="908" y="93"/>
                  </a:lnTo>
                  <a:close/>
                  <a:moveTo>
                    <a:pt x="910" y="90"/>
                  </a:move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5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5"/>
                  </a:lnTo>
                  <a:lnTo>
                    <a:pt x="913" y="95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3" y="93"/>
                  </a:lnTo>
                  <a:lnTo>
                    <a:pt x="915" y="93"/>
                  </a:lnTo>
                  <a:lnTo>
                    <a:pt x="915" y="93"/>
                  </a:lnTo>
                  <a:lnTo>
                    <a:pt x="915" y="93"/>
                  </a:lnTo>
                  <a:lnTo>
                    <a:pt x="913" y="95"/>
                  </a:lnTo>
                  <a:lnTo>
                    <a:pt x="913" y="95"/>
                  </a:lnTo>
                  <a:lnTo>
                    <a:pt x="913" y="95"/>
                  </a:lnTo>
                  <a:lnTo>
                    <a:pt x="913" y="95"/>
                  </a:lnTo>
                  <a:lnTo>
                    <a:pt x="913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10" y="95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3"/>
                  </a:lnTo>
                  <a:lnTo>
                    <a:pt x="910" y="90"/>
                  </a:lnTo>
                  <a:lnTo>
                    <a:pt x="910" y="90"/>
                  </a:lnTo>
                  <a:close/>
                  <a:moveTo>
                    <a:pt x="1122" y="86"/>
                  </a:moveTo>
                  <a:lnTo>
                    <a:pt x="1122" y="86"/>
                  </a:lnTo>
                  <a:lnTo>
                    <a:pt x="1122" y="86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6" y="88"/>
                  </a:lnTo>
                  <a:lnTo>
                    <a:pt x="1126" y="88"/>
                  </a:lnTo>
                  <a:lnTo>
                    <a:pt x="1126" y="88"/>
                  </a:lnTo>
                  <a:lnTo>
                    <a:pt x="1126" y="88"/>
                  </a:lnTo>
                  <a:lnTo>
                    <a:pt x="1126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6" y="88"/>
                  </a:lnTo>
                  <a:lnTo>
                    <a:pt x="1126" y="90"/>
                  </a:lnTo>
                  <a:lnTo>
                    <a:pt x="1126" y="90"/>
                  </a:lnTo>
                  <a:lnTo>
                    <a:pt x="1126" y="90"/>
                  </a:lnTo>
                  <a:lnTo>
                    <a:pt x="1126" y="90"/>
                  </a:lnTo>
                  <a:lnTo>
                    <a:pt x="1124" y="90"/>
                  </a:lnTo>
                  <a:lnTo>
                    <a:pt x="1124" y="90"/>
                  </a:lnTo>
                  <a:lnTo>
                    <a:pt x="1122" y="88"/>
                  </a:lnTo>
                  <a:lnTo>
                    <a:pt x="1122" y="88"/>
                  </a:lnTo>
                  <a:lnTo>
                    <a:pt x="1119" y="88"/>
                  </a:lnTo>
                  <a:lnTo>
                    <a:pt x="1119" y="88"/>
                  </a:lnTo>
                  <a:lnTo>
                    <a:pt x="1117" y="88"/>
                  </a:lnTo>
                  <a:lnTo>
                    <a:pt x="1117" y="88"/>
                  </a:lnTo>
                  <a:lnTo>
                    <a:pt x="1117" y="88"/>
                  </a:lnTo>
                  <a:lnTo>
                    <a:pt x="1115" y="88"/>
                  </a:lnTo>
                  <a:lnTo>
                    <a:pt x="1115" y="88"/>
                  </a:lnTo>
                  <a:lnTo>
                    <a:pt x="1113" y="86"/>
                  </a:lnTo>
                  <a:lnTo>
                    <a:pt x="1113" y="86"/>
                  </a:lnTo>
                  <a:lnTo>
                    <a:pt x="1115" y="86"/>
                  </a:lnTo>
                  <a:lnTo>
                    <a:pt x="1115" y="86"/>
                  </a:lnTo>
                  <a:lnTo>
                    <a:pt x="1115" y="86"/>
                  </a:lnTo>
                  <a:lnTo>
                    <a:pt x="1113" y="86"/>
                  </a:lnTo>
                  <a:lnTo>
                    <a:pt x="1113" y="86"/>
                  </a:lnTo>
                  <a:lnTo>
                    <a:pt x="1113" y="86"/>
                  </a:lnTo>
                  <a:lnTo>
                    <a:pt x="1113" y="86"/>
                  </a:lnTo>
                  <a:lnTo>
                    <a:pt x="1115" y="86"/>
                  </a:lnTo>
                  <a:lnTo>
                    <a:pt x="1117" y="86"/>
                  </a:lnTo>
                  <a:lnTo>
                    <a:pt x="1117" y="86"/>
                  </a:lnTo>
                  <a:lnTo>
                    <a:pt x="1117" y="86"/>
                  </a:lnTo>
                  <a:lnTo>
                    <a:pt x="1117" y="86"/>
                  </a:lnTo>
                  <a:lnTo>
                    <a:pt x="1117" y="86"/>
                  </a:lnTo>
                  <a:lnTo>
                    <a:pt x="1117" y="86"/>
                  </a:lnTo>
                  <a:lnTo>
                    <a:pt x="1117" y="86"/>
                  </a:lnTo>
                  <a:lnTo>
                    <a:pt x="1119" y="86"/>
                  </a:lnTo>
                  <a:lnTo>
                    <a:pt x="1119" y="86"/>
                  </a:lnTo>
                  <a:lnTo>
                    <a:pt x="1119" y="86"/>
                  </a:lnTo>
                  <a:lnTo>
                    <a:pt x="1122" y="86"/>
                  </a:lnTo>
                  <a:lnTo>
                    <a:pt x="1122" y="86"/>
                  </a:lnTo>
                  <a:close/>
                  <a:moveTo>
                    <a:pt x="897" y="86"/>
                  </a:moveTo>
                  <a:lnTo>
                    <a:pt x="897" y="86"/>
                  </a:lnTo>
                  <a:lnTo>
                    <a:pt x="897" y="86"/>
                  </a:lnTo>
                  <a:lnTo>
                    <a:pt x="897" y="86"/>
                  </a:lnTo>
                  <a:lnTo>
                    <a:pt x="897" y="86"/>
                  </a:lnTo>
                  <a:lnTo>
                    <a:pt x="897" y="86"/>
                  </a:lnTo>
                  <a:lnTo>
                    <a:pt x="897" y="86"/>
                  </a:lnTo>
                  <a:lnTo>
                    <a:pt x="897" y="86"/>
                  </a:lnTo>
                  <a:lnTo>
                    <a:pt x="895" y="86"/>
                  </a:lnTo>
                  <a:lnTo>
                    <a:pt x="895" y="86"/>
                  </a:lnTo>
                  <a:lnTo>
                    <a:pt x="892" y="86"/>
                  </a:lnTo>
                  <a:lnTo>
                    <a:pt x="892" y="86"/>
                  </a:lnTo>
                  <a:lnTo>
                    <a:pt x="892" y="86"/>
                  </a:lnTo>
                  <a:lnTo>
                    <a:pt x="892" y="86"/>
                  </a:lnTo>
                  <a:lnTo>
                    <a:pt x="890" y="86"/>
                  </a:lnTo>
                  <a:lnTo>
                    <a:pt x="890" y="86"/>
                  </a:lnTo>
                  <a:lnTo>
                    <a:pt x="890" y="86"/>
                  </a:lnTo>
                  <a:lnTo>
                    <a:pt x="890" y="86"/>
                  </a:lnTo>
                  <a:lnTo>
                    <a:pt x="890" y="86"/>
                  </a:lnTo>
                  <a:lnTo>
                    <a:pt x="890" y="86"/>
                  </a:lnTo>
                  <a:lnTo>
                    <a:pt x="890" y="86"/>
                  </a:lnTo>
                  <a:lnTo>
                    <a:pt x="892" y="86"/>
                  </a:lnTo>
                  <a:lnTo>
                    <a:pt x="892" y="86"/>
                  </a:lnTo>
                  <a:lnTo>
                    <a:pt x="895" y="86"/>
                  </a:lnTo>
                  <a:lnTo>
                    <a:pt x="895" y="86"/>
                  </a:lnTo>
                  <a:lnTo>
                    <a:pt x="895" y="86"/>
                  </a:lnTo>
                  <a:lnTo>
                    <a:pt x="895" y="86"/>
                  </a:lnTo>
                  <a:lnTo>
                    <a:pt x="895" y="86"/>
                  </a:lnTo>
                  <a:lnTo>
                    <a:pt x="897" y="86"/>
                  </a:lnTo>
                  <a:lnTo>
                    <a:pt x="897" y="86"/>
                  </a:lnTo>
                  <a:lnTo>
                    <a:pt x="897" y="86"/>
                  </a:lnTo>
                  <a:close/>
                  <a:moveTo>
                    <a:pt x="886" y="86"/>
                  </a:moveTo>
                  <a:lnTo>
                    <a:pt x="886" y="86"/>
                  </a:lnTo>
                  <a:lnTo>
                    <a:pt x="886" y="86"/>
                  </a:lnTo>
                  <a:lnTo>
                    <a:pt x="888" y="86"/>
                  </a:lnTo>
                  <a:lnTo>
                    <a:pt x="888" y="86"/>
                  </a:lnTo>
                  <a:lnTo>
                    <a:pt x="888" y="86"/>
                  </a:lnTo>
                  <a:lnTo>
                    <a:pt x="888" y="86"/>
                  </a:lnTo>
                  <a:lnTo>
                    <a:pt x="888" y="86"/>
                  </a:lnTo>
                  <a:lnTo>
                    <a:pt x="888" y="86"/>
                  </a:lnTo>
                  <a:lnTo>
                    <a:pt x="888" y="86"/>
                  </a:lnTo>
                  <a:lnTo>
                    <a:pt x="886" y="86"/>
                  </a:lnTo>
                  <a:lnTo>
                    <a:pt x="886" y="86"/>
                  </a:lnTo>
                  <a:lnTo>
                    <a:pt x="883" y="86"/>
                  </a:lnTo>
                  <a:lnTo>
                    <a:pt x="883" y="86"/>
                  </a:lnTo>
                  <a:lnTo>
                    <a:pt x="883" y="86"/>
                  </a:lnTo>
                  <a:lnTo>
                    <a:pt x="883" y="86"/>
                  </a:lnTo>
                  <a:lnTo>
                    <a:pt x="883" y="86"/>
                  </a:lnTo>
                  <a:lnTo>
                    <a:pt x="883" y="86"/>
                  </a:lnTo>
                  <a:lnTo>
                    <a:pt x="886" y="86"/>
                  </a:lnTo>
                  <a:lnTo>
                    <a:pt x="886" y="86"/>
                  </a:lnTo>
                  <a:close/>
                  <a:moveTo>
                    <a:pt x="879" y="86"/>
                  </a:moveTo>
                  <a:lnTo>
                    <a:pt x="879" y="86"/>
                  </a:lnTo>
                  <a:lnTo>
                    <a:pt x="879" y="86"/>
                  </a:lnTo>
                  <a:lnTo>
                    <a:pt x="879" y="86"/>
                  </a:lnTo>
                  <a:lnTo>
                    <a:pt x="881" y="86"/>
                  </a:lnTo>
                  <a:lnTo>
                    <a:pt x="881" y="86"/>
                  </a:lnTo>
                  <a:lnTo>
                    <a:pt x="881" y="86"/>
                  </a:lnTo>
                  <a:lnTo>
                    <a:pt x="883" y="86"/>
                  </a:lnTo>
                  <a:lnTo>
                    <a:pt x="883" y="86"/>
                  </a:lnTo>
                  <a:lnTo>
                    <a:pt x="881" y="86"/>
                  </a:lnTo>
                  <a:lnTo>
                    <a:pt x="879" y="86"/>
                  </a:lnTo>
                  <a:lnTo>
                    <a:pt x="877" y="86"/>
                  </a:lnTo>
                  <a:lnTo>
                    <a:pt x="877" y="86"/>
                  </a:lnTo>
                  <a:lnTo>
                    <a:pt x="877" y="86"/>
                  </a:lnTo>
                  <a:lnTo>
                    <a:pt x="877" y="86"/>
                  </a:lnTo>
                  <a:lnTo>
                    <a:pt x="877" y="86"/>
                  </a:lnTo>
                  <a:lnTo>
                    <a:pt x="877" y="86"/>
                  </a:lnTo>
                  <a:lnTo>
                    <a:pt x="879" y="86"/>
                  </a:lnTo>
                  <a:lnTo>
                    <a:pt x="879" y="86"/>
                  </a:lnTo>
                  <a:lnTo>
                    <a:pt x="879" y="86"/>
                  </a:lnTo>
                  <a:lnTo>
                    <a:pt x="879" y="86"/>
                  </a:lnTo>
                  <a:lnTo>
                    <a:pt x="879" y="86"/>
                  </a:lnTo>
                  <a:lnTo>
                    <a:pt x="879" y="86"/>
                  </a:lnTo>
                  <a:close/>
                  <a:moveTo>
                    <a:pt x="915" y="88"/>
                  </a:moveTo>
                  <a:lnTo>
                    <a:pt x="915" y="88"/>
                  </a:lnTo>
                  <a:lnTo>
                    <a:pt x="915" y="88"/>
                  </a:lnTo>
                  <a:lnTo>
                    <a:pt x="913" y="86"/>
                  </a:lnTo>
                  <a:lnTo>
                    <a:pt x="913" y="86"/>
                  </a:lnTo>
                  <a:lnTo>
                    <a:pt x="910" y="86"/>
                  </a:lnTo>
                  <a:lnTo>
                    <a:pt x="913" y="86"/>
                  </a:lnTo>
                  <a:lnTo>
                    <a:pt x="913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08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0" y="86"/>
                  </a:lnTo>
                  <a:lnTo>
                    <a:pt x="913" y="86"/>
                  </a:lnTo>
                  <a:lnTo>
                    <a:pt x="913" y="86"/>
                  </a:lnTo>
                  <a:lnTo>
                    <a:pt x="913" y="86"/>
                  </a:lnTo>
                  <a:lnTo>
                    <a:pt x="915" y="86"/>
                  </a:lnTo>
                  <a:lnTo>
                    <a:pt x="915" y="86"/>
                  </a:lnTo>
                  <a:lnTo>
                    <a:pt x="915" y="88"/>
                  </a:lnTo>
                  <a:close/>
                  <a:moveTo>
                    <a:pt x="504" y="81"/>
                  </a:moveTo>
                  <a:lnTo>
                    <a:pt x="506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10" y="81"/>
                  </a:lnTo>
                  <a:lnTo>
                    <a:pt x="510" y="81"/>
                  </a:lnTo>
                  <a:lnTo>
                    <a:pt x="510" y="81"/>
                  </a:lnTo>
                  <a:lnTo>
                    <a:pt x="510" y="81"/>
                  </a:lnTo>
                  <a:lnTo>
                    <a:pt x="513" y="81"/>
                  </a:lnTo>
                  <a:lnTo>
                    <a:pt x="513" y="81"/>
                  </a:lnTo>
                  <a:lnTo>
                    <a:pt x="513" y="81"/>
                  </a:lnTo>
                  <a:lnTo>
                    <a:pt x="513" y="81"/>
                  </a:lnTo>
                  <a:lnTo>
                    <a:pt x="513" y="81"/>
                  </a:lnTo>
                  <a:lnTo>
                    <a:pt x="513" y="84"/>
                  </a:lnTo>
                  <a:lnTo>
                    <a:pt x="513" y="84"/>
                  </a:lnTo>
                  <a:lnTo>
                    <a:pt x="515" y="84"/>
                  </a:lnTo>
                  <a:lnTo>
                    <a:pt x="515" y="84"/>
                  </a:lnTo>
                  <a:lnTo>
                    <a:pt x="517" y="84"/>
                  </a:lnTo>
                  <a:lnTo>
                    <a:pt x="517" y="84"/>
                  </a:lnTo>
                  <a:lnTo>
                    <a:pt x="517" y="84"/>
                  </a:lnTo>
                  <a:lnTo>
                    <a:pt x="517" y="84"/>
                  </a:lnTo>
                  <a:lnTo>
                    <a:pt x="517" y="86"/>
                  </a:lnTo>
                  <a:lnTo>
                    <a:pt x="519" y="86"/>
                  </a:lnTo>
                  <a:lnTo>
                    <a:pt x="519" y="86"/>
                  </a:lnTo>
                  <a:lnTo>
                    <a:pt x="517" y="86"/>
                  </a:lnTo>
                  <a:lnTo>
                    <a:pt x="517" y="86"/>
                  </a:lnTo>
                  <a:lnTo>
                    <a:pt x="517" y="86"/>
                  </a:lnTo>
                  <a:lnTo>
                    <a:pt x="517" y="86"/>
                  </a:lnTo>
                  <a:lnTo>
                    <a:pt x="517" y="86"/>
                  </a:lnTo>
                  <a:lnTo>
                    <a:pt x="517" y="88"/>
                  </a:lnTo>
                  <a:lnTo>
                    <a:pt x="519" y="88"/>
                  </a:lnTo>
                  <a:lnTo>
                    <a:pt x="519" y="88"/>
                  </a:lnTo>
                  <a:lnTo>
                    <a:pt x="519" y="88"/>
                  </a:lnTo>
                  <a:lnTo>
                    <a:pt x="517" y="88"/>
                  </a:lnTo>
                  <a:lnTo>
                    <a:pt x="517" y="90"/>
                  </a:lnTo>
                  <a:lnTo>
                    <a:pt x="517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5" y="90"/>
                  </a:lnTo>
                  <a:lnTo>
                    <a:pt x="513" y="93"/>
                  </a:lnTo>
                  <a:lnTo>
                    <a:pt x="513" y="93"/>
                  </a:lnTo>
                  <a:lnTo>
                    <a:pt x="513" y="93"/>
                  </a:lnTo>
                  <a:lnTo>
                    <a:pt x="513" y="93"/>
                  </a:lnTo>
                  <a:lnTo>
                    <a:pt x="515" y="93"/>
                  </a:lnTo>
                  <a:lnTo>
                    <a:pt x="515" y="93"/>
                  </a:lnTo>
                  <a:lnTo>
                    <a:pt x="515" y="93"/>
                  </a:lnTo>
                  <a:lnTo>
                    <a:pt x="510" y="93"/>
                  </a:lnTo>
                  <a:lnTo>
                    <a:pt x="506" y="95"/>
                  </a:lnTo>
                  <a:lnTo>
                    <a:pt x="506" y="95"/>
                  </a:lnTo>
                  <a:lnTo>
                    <a:pt x="504" y="95"/>
                  </a:lnTo>
                  <a:lnTo>
                    <a:pt x="501" y="95"/>
                  </a:lnTo>
                  <a:lnTo>
                    <a:pt x="499" y="97"/>
                  </a:lnTo>
                  <a:lnTo>
                    <a:pt x="497" y="97"/>
                  </a:lnTo>
                  <a:lnTo>
                    <a:pt x="495" y="97"/>
                  </a:lnTo>
                  <a:lnTo>
                    <a:pt x="495" y="97"/>
                  </a:lnTo>
                  <a:lnTo>
                    <a:pt x="495" y="97"/>
                  </a:lnTo>
                  <a:lnTo>
                    <a:pt x="492" y="97"/>
                  </a:lnTo>
                  <a:lnTo>
                    <a:pt x="490" y="97"/>
                  </a:lnTo>
                  <a:lnTo>
                    <a:pt x="490" y="97"/>
                  </a:lnTo>
                  <a:lnTo>
                    <a:pt x="490" y="99"/>
                  </a:lnTo>
                  <a:lnTo>
                    <a:pt x="479" y="99"/>
                  </a:lnTo>
                  <a:lnTo>
                    <a:pt x="477" y="102"/>
                  </a:lnTo>
                  <a:lnTo>
                    <a:pt x="477" y="102"/>
                  </a:lnTo>
                  <a:lnTo>
                    <a:pt x="477" y="102"/>
                  </a:lnTo>
                  <a:lnTo>
                    <a:pt x="474" y="102"/>
                  </a:lnTo>
                  <a:lnTo>
                    <a:pt x="468" y="104"/>
                  </a:lnTo>
                  <a:lnTo>
                    <a:pt x="463" y="104"/>
                  </a:lnTo>
                  <a:lnTo>
                    <a:pt x="463" y="104"/>
                  </a:lnTo>
                  <a:lnTo>
                    <a:pt x="463" y="104"/>
                  </a:lnTo>
                  <a:lnTo>
                    <a:pt x="461" y="104"/>
                  </a:lnTo>
                  <a:lnTo>
                    <a:pt x="461" y="104"/>
                  </a:lnTo>
                  <a:lnTo>
                    <a:pt x="461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9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7" y="104"/>
                  </a:lnTo>
                  <a:lnTo>
                    <a:pt x="454" y="106"/>
                  </a:lnTo>
                  <a:lnTo>
                    <a:pt x="454" y="106"/>
                  </a:lnTo>
                  <a:lnTo>
                    <a:pt x="452" y="106"/>
                  </a:lnTo>
                  <a:lnTo>
                    <a:pt x="452" y="106"/>
                  </a:lnTo>
                  <a:lnTo>
                    <a:pt x="452" y="106"/>
                  </a:lnTo>
                  <a:lnTo>
                    <a:pt x="448" y="106"/>
                  </a:lnTo>
                  <a:lnTo>
                    <a:pt x="445" y="106"/>
                  </a:lnTo>
                  <a:lnTo>
                    <a:pt x="443" y="108"/>
                  </a:lnTo>
                  <a:lnTo>
                    <a:pt x="441" y="108"/>
                  </a:lnTo>
                  <a:lnTo>
                    <a:pt x="441" y="108"/>
                  </a:lnTo>
                  <a:lnTo>
                    <a:pt x="441" y="108"/>
                  </a:lnTo>
                  <a:lnTo>
                    <a:pt x="439" y="108"/>
                  </a:lnTo>
                  <a:lnTo>
                    <a:pt x="439" y="108"/>
                  </a:lnTo>
                  <a:lnTo>
                    <a:pt x="439" y="108"/>
                  </a:lnTo>
                  <a:lnTo>
                    <a:pt x="439" y="108"/>
                  </a:lnTo>
                  <a:lnTo>
                    <a:pt x="439" y="108"/>
                  </a:lnTo>
                  <a:lnTo>
                    <a:pt x="436" y="108"/>
                  </a:lnTo>
                  <a:lnTo>
                    <a:pt x="436" y="108"/>
                  </a:lnTo>
                  <a:lnTo>
                    <a:pt x="436" y="108"/>
                  </a:lnTo>
                  <a:lnTo>
                    <a:pt x="436" y="108"/>
                  </a:lnTo>
                  <a:lnTo>
                    <a:pt x="434" y="108"/>
                  </a:lnTo>
                  <a:lnTo>
                    <a:pt x="436" y="108"/>
                  </a:lnTo>
                  <a:lnTo>
                    <a:pt x="436" y="111"/>
                  </a:lnTo>
                  <a:lnTo>
                    <a:pt x="434" y="111"/>
                  </a:lnTo>
                  <a:lnTo>
                    <a:pt x="436" y="111"/>
                  </a:lnTo>
                  <a:lnTo>
                    <a:pt x="436" y="111"/>
                  </a:lnTo>
                  <a:lnTo>
                    <a:pt x="436" y="111"/>
                  </a:lnTo>
                  <a:lnTo>
                    <a:pt x="436" y="111"/>
                  </a:lnTo>
                  <a:lnTo>
                    <a:pt x="434" y="111"/>
                  </a:lnTo>
                  <a:lnTo>
                    <a:pt x="436" y="111"/>
                  </a:lnTo>
                  <a:lnTo>
                    <a:pt x="436" y="111"/>
                  </a:lnTo>
                  <a:lnTo>
                    <a:pt x="436" y="111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11"/>
                  </a:lnTo>
                  <a:lnTo>
                    <a:pt x="434" y="113"/>
                  </a:lnTo>
                  <a:lnTo>
                    <a:pt x="434" y="113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2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0" y="113"/>
                  </a:lnTo>
                  <a:lnTo>
                    <a:pt x="427" y="113"/>
                  </a:lnTo>
                  <a:lnTo>
                    <a:pt x="427" y="113"/>
                  </a:lnTo>
                  <a:lnTo>
                    <a:pt x="425" y="113"/>
                  </a:lnTo>
                  <a:lnTo>
                    <a:pt x="425" y="113"/>
                  </a:lnTo>
                  <a:lnTo>
                    <a:pt x="425" y="113"/>
                  </a:lnTo>
                  <a:lnTo>
                    <a:pt x="425" y="113"/>
                  </a:lnTo>
                  <a:lnTo>
                    <a:pt x="425" y="113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5" y="115"/>
                  </a:lnTo>
                  <a:lnTo>
                    <a:pt x="423" y="115"/>
                  </a:lnTo>
                  <a:lnTo>
                    <a:pt x="423" y="115"/>
                  </a:lnTo>
                  <a:lnTo>
                    <a:pt x="423" y="115"/>
                  </a:lnTo>
                  <a:lnTo>
                    <a:pt x="423" y="115"/>
                  </a:lnTo>
                  <a:lnTo>
                    <a:pt x="423" y="115"/>
                  </a:lnTo>
                  <a:lnTo>
                    <a:pt x="423" y="115"/>
                  </a:lnTo>
                  <a:lnTo>
                    <a:pt x="423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23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3" y="115"/>
                  </a:lnTo>
                  <a:lnTo>
                    <a:pt x="423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18" y="115"/>
                  </a:lnTo>
                  <a:lnTo>
                    <a:pt x="418" y="115"/>
                  </a:lnTo>
                  <a:lnTo>
                    <a:pt x="421" y="115"/>
                  </a:lnTo>
                  <a:lnTo>
                    <a:pt x="418" y="115"/>
                  </a:lnTo>
                  <a:lnTo>
                    <a:pt x="418" y="115"/>
                  </a:lnTo>
                  <a:lnTo>
                    <a:pt x="414" y="115"/>
                  </a:lnTo>
                  <a:lnTo>
                    <a:pt x="416" y="115"/>
                  </a:lnTo>
                  <a:lnTo>
                    <a:pt x="416" y="117"/>
                  </a:lnTo>
                  <a:lnTo>
                    <a:pt x="425" y="117"/>
                  </a:lnTo>
                  <a:lnTo>
                    <a:pt x="427" y="117"/>
                  </a:lnTo>
                  <a:lnTo>
                    <a:pt x="427" y="117"/>
                  </a:lnTo>
                  <a:lnTo>
                    <a:pt x="425" y="117"/>
                  </a:lnTo>
                  <a:lnTo>
                    <a:pt x="425" y="120"/>
                  </a:lnTo>
                  <a:lnTo>
                    <a:pt x="423" y="120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1" y="120"/>
                  </a:lnTo>
                  <a:lnTo>
                    <a:pt x="423" y="120"/>
                  </a:lnTo>
                  <a:lnTo>
                    <a:pt x="423" y="120"/>
                  </a:lnTo>
                  <a:lnTo>
                    <a:pt x="423" y="120"/>
                  </a:lnTo>
                  <a:lnTo>
                    <a:pt x="423" y="120"/>
                  </a:lnTo>
                  <a:lnTo>
                    <a:pt x="423" y="120"/>
                  </a:lnTo>
                  <a:lnTo>
                    <a:pt x="423" y="120"/>
                  </a:lnTo>
                  <a:lnTo>
                    <a:pt x="423" y="120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4" y="120"/>
                  </a:lnTo>
                  <a:lnTo>
                    <a:pt x="414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4" y="120"/>
                  </a:lnTo>
                  <a:lnTo>
                    <a:pt x="414" y="122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6" y="122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8" y="122"/>
                  </a:lnTo>
                  <a:lnTo>
                    <a:pt x="418" y="124"/>
                  </a:lnTo>
                  <a:lnTo>
                    <a:pt x="418" y="124"/>
                  </a:lnTo>
                  <a:lnTo>
                    <a:pt x="418" y="124"/>
                  </a:lnTo>
                  <a:lnTo>
                    <a:pt x="418" y="124"/>
                  </a:lnTo>
                  <a:lnTo>
                    <a:pt x="418" y="124"/>
                  </a:lnTo>
                  <a:lnTo>
                    <a:pt x="416" y="124"/>
                  </a:lnTo>
                  <a:lnTo>
                    <a:pt x="416" y="124"/>
                  </a:lnTo>
                  <a:lnTo>
                    <a:pt x="414" y="124"/>
                  </a:lnTo>
                  <a:lnTo>
                    <a:pt x="412" y="122"/>
                  </a:lnTo>
                  <a:lnTo>
                    <a:pt x="412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9" y="122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7" y="126"/>
                  </a:lnTo>
                  <a:lnTo>
                    <a:pt x="405" y="126"/>
                  </a:lnTo>
                  <a:lnTo>
                    <a:pt x="405" y="126"/>
                  </a:lnTo>
                  <a:lnTo>
                    <a:pt x="405" y="126"/>
                  </a:lnTo>
                  <a:lnTo>
                    <a:pt x="405" y="126"/>
                  </a:lnTo>
                  <a:lnTo>
                    <a:pt x="403" y="126"/>
                  </a:lnTo>
                  <a:lnTo>
                    <a:pt x="396" y="124"/>
                  </a:lnTo>
                  <a:lnTo>
                    <a:pt x="396" y="124"/>
                  </a:lnTo>
                  <a:lnTo>
                    <a:pt x="396" y="124"/>
                  </a:lnTo>
                  <a:lnTo>
                    <a:pt x="396" y="124"/>
                  </a:lnTo>
                  <a:lnTo>
                    <a:pt x="396" y="124"/>
                  </a:lnTo>
                  <a:lnTo>
                    <a:pt x="398" y="124"/>
                  </a:lnTo>
                  <a:lnTo>
                    <a:pt x="400" y="124"/>
                  </a:lnTo>
                  <a:lnTo>
                    <a:pt x="400" y="124"/>
                  </a:lnTo>
                  <a:lnTo>
                    <a:pt x="400" y="126"/>
                  </a:lnTo>
                  <a:lnTo>
                    <a:pt x="400" y="126"/>
                  </a:lnTo>
                  <a:lnTo>
                    <a:pt x="400" y="126"/>
                  </a:lnTo>
                  <a:lnTo>
                    <a:pt x="403" y="126"/>
                  </a:lnTo>
                  <a:lnTo>
                    <a:pt x="403" y="126"/>
                  </a:lnTo>
                  <a:lnTo>
                    <a:pt x="403" y="126"/>
                  </a:lnTo>
                  <a:lnTo>
                    <a:pt x="405" y="129"/>
                  </a:lnTo>
                  <a:lnTo>
                    <a:pt x="405" y="129"/>
                  </a:lnTo>
                  <a:lnTo>
                    <a:pt x="405" y="129"/>
                  </a:lnTo>
                  <a:lnTo>
                    <a:pt x="405" y="129"/>
                  </a:lnTo>
                  <a:lnTo>
                    <a:pt x="405" y="129"/>
                  </a:lnTo>
                  <a:lnTo>
                    <a:pt x="407" y="129"/>
                  </a:lnTo>
                  <a:lnTo>
                    <a:pt x="405" y="129"/>
                  </a:lnTo>
                  <a:lnTo>
                    <a:pt x="407" y="129"/>
                  </a:lnTo>
                  <a:lnTo>
                    <a:pt x="407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7" y="131"/>
                  </a:lnTo>
                  <a:lnTo>
                    <a:pt x="407" y="131"/>
                  </a:lnTo>
                  <a:lnTo>
                    <a:pt x="407" y="131"/>
                  </a:lnTo>
                  <a:lnTo>
                    <a:pt x="407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5" y="131"/>
                  </a:lnTo>
                  <a:lnTo>
                    <a:pt x="403" y="131"/>
                  </a:lnTo>
                  <a:lnTo>
                    <a:pt x="403" y="131"/>
                  </a:lnTo>
                  <a:lnTo>
                    <a:pt x="403" y="131"/>
                  </a:lnTo>
                  <a:lnTo>
                    <a:pt x="403" y="131"/>
                  </a:lnTo>
                  <a:lnTo>
                    <a:pt x="403" y="131"/>
                  </a:lnTo>
                  <a:lnTo>
                    <a:pt x="403" y="131"/>
                  </a:lnTo>
                  <a:lnTo>
                    <a:pt x="400" y="131"/>
                  </a:lnTo>
                  <a:lnTo>
                    <a:pt x="400" y="131"/>
                  </a:lnTo>
                  <a:lnTo>
                    <a:pt x="400" y="131"/>
                  </a:lnTo>
                  <a:lnTo>
                    <a:pt x="400" y="131"/>
                  </a:lnTo>
                  <a:lnTo>
                    <a:pt x="400" y="131"/>
                  </a:lnTo>
                  <a:lnTo>
                    <a:pt x="403" y="131"/>
                  </a:lnTo>
                  <a:lnTo>
                    <a:pt x="403" y="133"/>
                  </a:lnTo>
                  <a:lnTo>
                    <a:pt x="405" y="133"/>
                  </a:lnTo>
                  <a:lnTo>
                    <a:pt x="405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3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3" y="135"/>
                  </a:lnTo>
                  <a:lnTo>
                    <a:pt x="403" y="135"/>
                  </a:lnTo>
                  <a:lnTo>
                    <a:pt x="403" y="135"/>
                  </a:lnTo>
                  <a:lnTo>
                    <a:pt x="403" y="135"/>
                  </a:lnTo>
                  <a:lnTo>
                    <a:pt x="403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398" y="135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1" y="133"/>
                  </a:lnTo>
                  <a:lnTo>
                    <a:pt x="391" y="131"/>
                  </a:lnTo>
                  <a:lnTo>
                    <a:pt x="389" y="131"/>
                  </a:lnTo>
                  <a:lnTo>
                    <a:pt x="389" y="131"/>
                  </a:lnTo>
                  <a:lnTo>
                    <a:pt x="389" y="131"/>
                  </a:lnTo>
                  <a:lnTo>
                    <a:pt x="389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89" y="133"/>
                  </a:lnTo>
                  <a:lnTo>
                    <a:pt x="387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94" y="135"/>
                  </a:lnTo>
                  <a:lnTo>
                    <a:pt x="398" y="135"/>
                  </a:lnTo>
                  <a:lnTo>
                    <a:pt x="398" y="135"/>
                  </a:lnTo>
                  <a:lnTo>
                    <a:pt x="398" y="138"/>
                  </a:lnTo>
                  <a:lnTo>
                    <a:pt x="398" y="138"/>
                  </a:lnTo>
                  <a:lnTo>
                    <a:pt x="398" y="138"/>
                  </a:lnTo>
                  <a:lnTo>
                    <a:pt x="398" y="138"/>
                  </a:lnTo>
                  <a:lnTo>
                    <a:pt x="398" y="138"/>
                  </a:lnTo>
                  <a:lnTo>
                    <a:pt x="398" y="138"/>
                  </a:lnTo>
                  <a:lnTo>
                    <a:pt x="398" y="138"/>
                  </a:lnTo>
                  <a:lnTo>
                    <a:pt x="400" y="138"/>
                  </a:lnTo>
                  <a:lnTo>
                    <a:pt x="400" y="138"/>
                  </a:lnTo>
                  <a:lnTo>
                    <a:pt x="400" y="138"/>
                  </a:lnTo>
                  <a:lnTo>
                    <a:pt x="400" y="138"/>
                  </a:lnTo>
                  <a:lnTo>
                    <a:pt x="400" y="138"/>
                  </a:lnTo>
                  <a:lnTo>
                    <a:pt x="400" y="138"/>
                  </a:lnTo>
                  <a:lnTo>
                    <a:pt x="400" y="138"/>
                  </a:lnTo>
                  <a:lnTo>
                    <a:pt x="398" y="140"/>
                  </a:lnTo>
                  <a:lnTo>
                    <a:pt x="398" y="140"/>
                  </a:lnTo>
                  <a:lnTo>
                    <a:pt x="398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4" y="138"/>
                  </a:lnTo>
                  <a:lnTo>
                    <a:pt x="394" y="138"/>
                  </a:lnTo>
                  <a:lnTo>
                    <a:pt x="391" y="138"/>
                  </a:lnTo>
                  <a:lnTo>
                    <a:pt x="380" y="138"/>
                  </a:lnTo>
                  <a:lnTo>
                    <a:pt x="380" y="138"/>
                  </a:lnTo>
                  <a:lnTo>
                    <a:pt x="385" y="138"/>
                  </a:lnTo>
                  <a:lnTo>
                    <a:pt x="387" y="138"/>
                  </a:lnTo>
                  <a:lnTo>
                    <a:pt x="389" y="138"/>
                  </a:lnTo>
                  <a:lnTo>
                    <a:pt x="389" y="138"/>
                  </a:lnTo>
                  <a:lnTo>
                    <a:pt x="391" y="138"/>
                  </a:lnTo>
                  <a:lnTo>
                    <a:pt x="391" y="138"/>
                  </a:lnTo>
                  <a:lnTo>
                    <a:pt x="391" y="138"/>
                  </a:lnTo>
                  <a:lnTo>
                    <a:pt x="394" y="140"/>
                  </a:lnTo>
                  <a:lnTo>
                    <a:pt x="394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6" y="140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8" y="142"/>
                  </a:lnTo>
                  <a:lnTo>
                    <a:pt x="394" y="142"/>
                  </a:lnTo>
                  <a:lnTo>
                    <a:pt x="394" y="142"/>
                  </a:lnTo>
                  <a:lnTo>
                    <a:pt x="394" y="144"/>
                  </a:lnTo>
                  <a:lnTo>
                    <a:pt x="389" y="142"/>
                  </a:lnTo>
                  <a:lnTo>
                    <a:pt x="385" y="140"/>
                  </a:lnTo>
                  <a:lnTo>
                    <a:pt x="385" y="140"/>
                  </a:lnTo>
                  <a:lnTo>
                    <a:pt x="385" y="140"/>
                  </a:lnTo>
                  <a:lnTo>
                    <a:pt x="385" y="142"/>
                  </a:lnTo>
                  <a:lnTo>
                    <a:pt x="385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5" y="142"/>
                  </a:lnTo>
                  <a:lnTo>
                    <a:pt x="387" y="142"/>
                  </a:lnTo>
                  <a:lnTo>
                    <a:pt x="387" y="142"/>
                  </a:lnTo>
                  <a:lnTo>
                    <a:pt x="389" y="142"/>
                  </a:lnTo>
                  <a:lnTo>
                    <a:pt x="391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4"/>
                  </a:lnTo>
                  <a:lnTo>
                    <a:pt x="394" y="147"/>
                  </a:lnTo>
                  <a:lnTo>
                    <a:pt x="391" y="147"/>
                  </a:lnTo>
                  <a:lnTo>
                    <a:pt x="391" y="149"/>
                  </a:lnTo>
                  <a:lnTo>
                    <a:pt x="391" y="149"/>
                  </a:lnTo>
                  <a:lnTo>
                    <a:pt x="391" y="149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7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9" y="149"/>
                  </a:lnTo>
                  <a:lnTo>
                    <a:pt x="387" y="149"/>
                  </a:lnTo>
                  <a:lnTo>
                    <a:pt x="387" y="149"/>
                  </a:lnTo>
                  <a:lnTo>
                    <a:pt x="380" y="149"/>
                  </a:lnTo>
                  <a:lnTo>
                    <a:pt x="380" y="149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6" y="147"/>
                  </a:lnTo>
                  <a:lnTo>
                    <a:pt x="376" y="144"/>
                  </a:lnTo>
                  <a:lnTo>
                    <a:pt x="376" y="147"/>
                  </a:lnTo>
                  <a:lnTo>
                    <a:pt x="376" y="147"/>
                  </a:lnTo>
                  <a:lnTo>
                    <a:pt x="376" y="147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8" y="147"/>
                  </a:lnTo>
                  <a:lnTo>
                    <a:pt x="378" y="149"/>
                  </a:lnTo>
                  <a:lnTo>
                    <a:pt x="376" y="149"/>
                  </a:lnTo>
                  <a:lnTo>
                    <a:pt x="376" y="149"/>
                  </a:lnTo>
                  <a:lnTo>
                    <a:pt x="376" y="147"/>
                  </a:lnTo>
                  <a:lnTo>
                    <a:pt x="373" y="147"/>
                  </a:lnTo>
                  <a:lnTo>
                    <a:pt x="369" y="147"/>
                  </a:lnTo>
                  <a:lnTo>
                    <a:pt x="362" y="144"/>
                  </a:lnTo>
                  <a:lnTo>
                    <a:pt x="360" y="144"/>
                  </a:lnTo>
                  <a:lnTo>
                    <a:pt x="360" y="147"/>
                  </a:lnTo>
                  <a:lnTo>
                    <a:pt x="35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53" y="147"/>
                  </a:lnTo>
                  <a:lnTo>
                    <a:pt x="353" y="147"/>
                  </a:lnTo>
                  <a:lnTo>
                    <a:pt x="349" y="147"/>
                  </a:lnTo>
                  <a:lnTo>
                    <a:pt x="349" y="147"/>
                  </a:lnTo>
                  <a:lnTo>
                    <a:pt x="349" y="147"/>
                  </a:lnTo>
                  <a:lnTo>
                    <a:pt x="351" y="147"/>
                  </a:lnTo>
                  <a:lnTo>
                    <a:pt x="351" y="147"/>
                  </a:lnTo>
                  <a:lnTo>
                    <a:pt x="351" y="147"/>
                  </a:lnTo>
                  <a:lnTo>
                    <a:pt x="351" y="147"/>
                  </a:lnTo>
                  <a:lnTo>
                    <a:pt x="351" y="144"/>
                  </a:lnTo>
                  <a:lnTo>
                    <a:pt x="351" y="144"/>
                  </a:lnTo>
                  <a:lnTo>
                    <a:pt x="351" y="144"/>
                  </a:lnTo>
                  <a:lnTo>
                    <a:pt x="353" y="144"/>
                  </a:lnTo>
                  <a:lnTo>
                    <a:pt x="353" y="144"/>
                  </a:lnTo>
                  <a:lnTo>
                    <a:pt x="351" y="144"/>
                  </a:lnTo>
                  <a:lnTo>
                    <a:pt x="351" y="144"/>
                  </a:lnTo>
                  <a:lnTo>
                    <a:pt x="349" y="144"/>
                  </a:lnTo>
                  <a:lnTo>
                    <a:pt x="349" y="144"/>
                  </a:lnTo>
                  <a:lnTo>
                    <a:pt x="353" y="142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8" y="142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8" y="140"/>
                  </a:lnTo>
                  <a:lnTo>
                    <a:pt x="355" y="140"/>
                  </a:lnTo>
                  <a:lnTo>
                    <a:pt x="355" y="140"/>
                  </a:lnTo>
                  <a:lnTo>
                    <a:pt x="355" y="140"/>
                  </a:lnTo>
                  <a:lnTo>
                    <a:pt x="353" y="140"/>
                  </a:lnTo>
                  <a:lnTo>
                    <a:pt x="353" y="140"/>
                  </a:lnTo>
                  <a:lnTo>
                    <a:pt x="351" y="140"/>
                  </a:lnTo>
                  <a:lnTo>
                    <a:pt x="351" y="140"/>
                  </a:lnTo>
                  <a:lnTo>
                    <a:pt x="351" y="142"/>
                  </a:lnTo>
                  <a:lnTo>
                    <a:pt x="351" y="142"/>
                  </a:lnTo>
                  <a:lnTo>
                    <a:pt x="351" y="142"/>
                  </a:lnTo>
                  <a:lnTo>
                    <a:pt x="351" y="142"/>
                  </a:lnTo>
                  <a:lnTo>
                    <a:pt x="349" y="142"/>
                  </a:lnTo>
                  <a:lnTo>
                    <a:pt x="349" y="142"/>
                  </a:lnTo>
                  <a:lnTo>
                    <a:pt x="351" y="142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2" y="140"/>
                  </a:lnTo>
                  <a:lnTo>
                    <a:pt x="342" y="140"/>
                  </a:lnTo>
                  <a:lnTo>
                    <a:pt x="340" y="140"/>
                  </a:lnTo>
                  <a:lnTo>
                    <a:pt x="340" y="140"/>
                  </a:lnTo>
                  <a:lnTo>
                    <a:pt x="340" y="140"/>
                  </a:lnTo>
                  <a:lnTo>
                    <a:pt x="340" y="140"/>
                  </a:lnTo>
                  <a:lnTo>
                    <a:pt x="340" y="140"/>
                  </a:lnTo>
                  <a:lnTo>
                    <a:pt x="340" y="140"/>
                  </a:lnTo>
                  <a:lnTo>
                    <a:pt x="340" y="138"/>
                  </a:lnTo>
                  <a:lnTo>
                    <a:pt x="340" y="138"/>
                  </a:lnTo>
                  <a:lnTo>
                    <a:pt x="340" y="138"/>
                  </a:lnTo>
                  <a:lnTo>
                    <a:pt x="340" y="140"/>
                  </a:lnTo>
                  <a:lnTo>
                    <a:pt x="340" y="140"/>
                  </a:lnTo>
                  <a:lnTo>
                    <a:pt x="342" y="140"/>
                  </a:lnTo>
                  <a:lnTo>
                    <a:pt x="342" y="140"/>
                  </a:lnTo>
                  <a:lnTo>
                    <a:pt x="344" y="138"/>
                  </a:lnTo>
                  <a:lnTo>
                    <a:pt x="344" y="138"/>
                  </a:lnTo>
                  <a:lnTo>
                    <a:pt x="344" y="138"/>
                  </a:lnTo>
                  <a:lnTo>
                    <a:pt x="344" y="138"/>
                  </a:lnTo>
                  <a:lnTo>
                    <a:pt x="344" y="138"/>
                  </a:lnTo>
                  <a:lnTo>
                    <a:pt x="346" y="135"/>
                  </a:lnTo>
                  <a:lnTo>
                    <a:pt x="346" y="135"/>
                  </a:lnTo>
                  <a:lnTo>
                    <a:pt x="349" y="135"/>
                  </a:lnTo>
                  <a:lnTo>
                    <a:pt x="351" y="135"/>
                  </a:lnTo>
                  <a:lnTo>
                    <a:pt x="353" y="135"/>
                  </a:lnTo>
                  <a:lnTo>
                    <a:pt x="353" y="135"/>
                  </a:lnTo>
                  <a:lnTo>
                    <a:pt x="353" y="135"/>
                  </a:lnTo>
                  <a:lnTo>
                    <a:pt x="353" y="135"/>
                  </a:lnTo>
                  <a:lnTo>
                    <a:pt x="353" y="135"/>
                  </a:lnTo>
                  <a:lnTo>
                    <a:pt x="351" y="135"/>
                  </a:lnTo>
                  <a:lnTo>
                    <a:pt x="351" y="135"/>
                  </a:lnTo>
                  <a:lnTo>
                    <a:pt x="351" y="135"/>
                  </a:lnTo>
                  <a:lnTo>
                    <a:pt x="351" y="135"/>
                  </a:lnTo>
                  <a:lnTo>
                    <a:pt x="351" y="135"/>
                  </a:lnTo>
                  <a:lnTo>
                    <a:pt x="351" y="135"/>
                  </a:lnTo>
                  <a:lnTo>
                    <a:pt x="351" y="133"/>
                  </a:lnTo>
                  <a:lnTo>
                    <a:pt x="351" y="133"/>
                  </a:lnTo>
                  <a:lnTo>
                    <a:pt x="351" y="133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8" y="131"/>
                  </a:lnTo>
                  <a:lnTo>
                    <a:pt x="358" y="131"/>
                  </a:lnTo>
                  <a:lnTo>
                    <a:pt x="358" y="131"/>
                  </a:lnTo>
                  <a:lnTo>
                    <a:pt x="360" y="133"/>
                  </a:lnTo>
                  <a:lnTo>
                    <a:pt x="362" y="133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4" y="133"/>
                  </a:lnTo>
                  <a:lnTo>
                    <a:pt x="364" y="131"/>
                  </a:lnTo>
                  <a:lnTo>
                    <a:pt x="362" y="131"/>
                  </a:lnTo>
                  <a:lnTo>
                    <a:pt x="362" y="131"/>
                  </a:lnTo>
                  <a:lnTo>
                    <a:pt x="358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5" y="131"/>
                  </a:lnTo>
                  <a:lnTo>
                    <a:pt x="353" y="131"/>
                  </a:lnTo>
                  <a:lnTo>
                    <a:pt x="355" y="129"/>
                  </a:lnTo>
                  <a:lnTo>
                    <a:pt x="355" y="131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8" y="129"/>
                  </a:lnTo>
                  <a:lnTo>
                    <a:pt x="358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8" y="129"/>
                  </a:lnTo>
                  <a:lnTo>
                    <a:pt x="358" y="129"/>
                  </a:lnTo>
                  <a:lnTo>
                    <a:pt x="360" y="129"/>
                  </a:lnTo>
                  <a:lnTo>
                    <a:pt x="360" y="129"/>
                  </a:lnTo>
                  <a:lnTo>
                    <a:pt x="362" y="129"/>
                  </a:lnTo>
                  <a:lnTo>
                    <a:pt x="362" y="129"/>
                  </a:lnTo>
                  <a:lnTo>
                    <a:pt x="362" y="129"/>
                  </a:lnTo>
                  <a:lnTo>
                    <a:pt x="362" y="131"/>
                  </a:lnTo>
                  <a:lnTo>
                    <a:pt x="364" y="129"/>
                  </a:lnTo>
                  <a:lnTo>
                    <a:pt x="364" y="129"/>
                  </a:lnTo>
                  <a:lnTo>
                    <a:pt x="362" y="129"/>
                  </a:lnTo>
                  <a:lnTo>
                    <a:pt x="362" y="129"/>
                  </a:lnTo>
                  <a:lnTo>
                    <a:pt x="362" y="129"/>
                  </a:lnTo>
                  <a:lnTo>
                    <a:pt x="362" y="129"/>
                  </a:lnTo>
                  <a:lnTo>
                    <a:pt x="362" y="129"/>
                  </a:lnTo>
                  <a:lnTo>
                    <a:pt x="360" y="129"/>
                  </a:lnTo>
                  <a:lnTo>
                    <a:pt x="360" y="129"/>
                  </a:lnTo>
                  <a:lnTo>
                    <a:pt x="360" y="129"/>
                  </a:lnTo>
                  <a:lnTo>
                    <a:pt x="358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9"/>
                  </a:lnTo>
                  <a:lnTo>
                    <a:pt x="355" y="126"/>
                  </a:lnTo>
                  <a:lnTo>
                    <a:pt x="358" y="126"/>
                  </a:lnTo>
                  <a:lnTo>
                    <a:pt x="358" y="126"/>
                  </a:lnTo>
                  <a:lnTo>
                    <a:pt x="360" y="126"/>
                  </a:lnTo>
                  <a:lnTo>
                    <a:pt x="360" y="126"/>
                  </a:lnTo>
                  <a:lnTo>
                    <a:pt x="364" y="126"/>
                  </a:lnTo>
                  <a:lnTo>
                    <a:pt x="364" y="126"/>
                  </a:lnTo>
                  <a:lnTo>
                    <a:pt x="364" y="126"/>
                  </a:lnTo>
                  <a:lnTo>
                    <a:pt x="367" y="126"/>
                  </a:lnTo>
                  <a:lnTo>
                    <a:pt x="367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7" y="126"/>
                  </a:lnTo>
                  <a:lnTo>
                    <a:pt x="364" y="126"/>
                  </a:lnTo>
                  <a:lnTo>
                    <a:pt x="364" y="126"/>
                  </a:lnTo>
                  <a:lnTo>
                    <a:pt x="364" y="126"/>
                  </a:lnTo>
                  <a:lnTo>
                    <a:pt x="364" y="124"/>
                  </a:lnTo>
                  <a:lnTo>
                    <a:pt x="367" y="124"/>
                  </a:lnTo>
                  <a:lnTo>
                    <a:pt x="364" y="124"/>
                  </a:lnTo>
                  <a:lnTo>
                    <a:pt x="362" y="124"/>
                  </a:lnTo>
                  <a:lnTo>
                    <a:pt x="362" y="124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60" y="124"/>
                  </a:lnTo>
                  <a:lnTo>
                    <a:pt x="358" y="124"/>
                  </a:lnTo>
                  <a:lnTo>
                    <a:pt x="358" y="124"/>
                  </a:lnTo>
                  <a:lnTo>
                    <a:pt x="358" y="124"/>
                  </a:lnTo>
                  <a:lnTo>
                    <a:pt x="358" y="124"/>
                  </a:lnTo>
                  <a:lnTo>
                    <a:pt x="358" y="124"/>
                  </a:lnTo>
                  <a:lnTo>
                    <a:pt x="355" y="122"/>
                  </a:lnTo>
                  <a:lnTo>
                    <a:pt x="355" y="122"/>
                  </a:lnTo>
                  <a:lnTo>
                    <a:pt x="355" y="122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60" y="122"/>
                  </a:lnTo>
                  <a:lnTo>
                    <a:pt x="360" y="122"/>
                  </a:lnTo>
                  <a:lnTo>
                    <a:pt x="360" y="122"/>
                  </a:lnTo>
                  <a:lnTo>
                    <a:pt x="360" y="122"/>
                  </a:lnTo>
                  <a:lnTo>
                    <a:pt x="362" y="122"/>
                  </a:lnTo>
                  <a:lnTo>
                    <a:pt x="367" y="122"/>
                  </a:lnTo>
                  <a:lnTo>
                    <a:pt x="369" y="122"/>
                  </a:lnTo>
                  <a:lnTo>
                    <a:pt x="369" y="122"/>
                  </a:lnTo>
                  <a:lnTo>
                    <a:pt x="369" y="122"/>
                  </a:lnTo>
                  <a:lnTo>
                    <a:pt x="371" y="122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6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3" y="122"/>
                  </a:lnTo>
                  <a:lnTo>
                    <a:pt x="371" y="122"/>
                  </a:lnTo>
                  <a:lnTo>
                    <a:pt x="371" y="122"/>
                  </a:lnTo>
                  <a:lnTo>
                    <a:pt x="371" y="122"/>
                  </a:lnTo>
                  <a:lnTo>
                    <a:pt x="371" y="122"/>
                  </a:lnTo>
                  <a:lnTo>
                    <a:pt x="369" y="122"/>
                  </a:lnTo>
                  <a:lnTo>
                    <a:pt x="369" y="122"/>
                  </a:lnTo>
                  <a:lnTo>
                    <a:pt x="369" y="122"/>
                  </a:lnTo>
                  <a:lnTo>
                    <a:pt x="369" y="120"/>
                  </a:lnTo>
                  <a:lnTo>
                    <a:pt x="369" y="122"/>
                  </a:lnTo>
                  <a:lnTo>
                    <a:pt x="369" y="122"/>
                  </a:lnTo>
                  <a:lnTo>
                    <a:pt x="369" y="122"/>
                  </a:lnTo>
                  <a:lnTo>
                    <a:pt x="369" y="120"/>
                  </a:lnTo>
                  <a:lnTo>
                    <a:pt x="369" y="120"/>
                  </a:lnTo>
                  <a:lnTo>
                    <a:pt x="369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58" y="120"/>
                  </a:lnTo>
                  <a:lnTo>
                    <a:pt x="358" y="120"/>
                  </a:lnTo>
                  <a:lnTo>
                    <a:pt x="358" y="120"/>
                  </a:lnTo>
                  <a:lnTo>
                    <a:pt x="360" y="120"/>
                  </a:lnTo>
                  <a:lnTo>
                    <a:pt x="367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9" y="117"/>
                  </a:lnTo>
                  <a:lnTo>
                    <a:pt x="367" y="117"/>
                  </a:lnTo>
                  <a:lnTo>
                    <a:pt x="367" y="117"/>
                  </a:lnTo>
                  <a:lnTo>
                    <a:pt x="367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7"/>
                  </a:lnTo>
                  <a:lnTo>
                    <a:pt x="364" y="115"/>
                  </a:lnTo>
                  <a:lnTo>
                    <a:pt x="364" y="115"/>
                  </a:lnTo>
                  <a:lnTo>
                    <a:pt x="367" y="115"/>
                  </a:lnTo>
                  <a:lnTo>
                    <a:pt x="364" y="115"/>
                  </a:lnTo>
                  <a:lnTo>
                    <a:pt x="364" y="115"/>
                  </a:lnTo>
                  <a:lnTo>
                    <a:pt x="364" y="115"/>
                  </a:lnTo>
                  <a:lnTo>
                    <a:pt x="364" y="115"/>
                  </a:lnTo>
                  <a:lnTo>
                    <a:pt x="364" y="115"/>
                  </a:lnTo>
                  <a:lnTo>
                    <a:pt x="362" y="115"/>
                  </a:lnTo>
                  <a:lnTo>
                    <a:pt x="360" y="115"/>
                  </a:lnTo>
                  <a:lnTo>
                    <a:pt x="358" y="117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8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58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4" y="113"/>
                  </a:lnTo>
                  <a:lnTo>
                    <a:pt x="364" y="115"/>
                  </a:lnTo>
                  <a:lnTo>
                    <a:pt x="364" y="115"/>
                  </a:lnTo>
                  <a:lnTo>
                    <a:pt x="367" y="115"/>
                  </a:lnTo>
                  <a:lnTo>
                    <a:pt x="367" y="115"/>
                  </a:lnTo>
                  <a:lnTo>
                    <a:pt x="369" y="113"/>
                  </a:lnTo>
                  <a:lnTo>
                    <a:pt x="369" y="113"/>
                  </a:lnTo>
                  <a:lnTo>
                    <a:pt x="369" y="113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7" y="111"/>
                  </a:lnTo>
                  <a:lnTo>
                    <a:pt x="367" y="111"/>
                  </a:lnTo>
                  <a:lnTo>
                    <a:pt x="367" y="111"/>
                  </a:lnTo>
                  <a:lnTo>
                    <a:pt x="367" y="111"/>
                  </a:lnTo>
                  <a:lnTo>
                    <a:pt x="369" y="108"/>
                  </a:lnTo>
                  <a:lnTo>
                    <a:pt x="369" y="108"/>
                  </a:lnTo>
                  <a:lnTo>
                    <a:pt x="371" y="108"/>
                  </a:lnTo>
                  <a:lnTo>
                    <a:pt x="376" y="108"/>
                  </a:lnTo>
                  <a:lnTo>
                    <a:pt x="376" y="111"/>
                  </a:lnTo>
                  <a:lnTo>
                    <a:pt x="376" y="111"/>
                  </a:lnTo>
                  <a:lnTo>
                    <a:pt x="376" y="111"/>
                  </a:lnTo>
                  <a:lnTo>
                    <a:pt x="378" y="111"/>
                  </a:lnTo>
                  <a:lnTo>
                    <a:pt x="380" y="111"/>
                  </a:lnTo>
                  <a:lnTo>
                    <a:pt x="380" y="111"/>
                  </a:lnTo>
                  <a:lnTo>
                    <a:pt x="380" y="111"/>
                  </a:lnTo>
                  <a:lnTo>
                    <a:pt x="380" y="111"/>
                  </a:lnTo>
                  <a:lnTo>
                    <a:pt x="380" y="111"/>
                  </a:lnTo>
                  <a:lnTo>
                    <a:pt x="380" y="111"/>
                  </a:lnTo>
                  <a:lnTo>
                    <a:pt x="380" y="111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8" y="108"/>
                  </a:lnTo>
                  <a:lnTo>
                    <a:pt x="376" y="108"/>
                  </a:lnTo>
                  <a:lnTo>
                    <a:pt x="376" y="108"/>
                  </a:lnTo>
                  <a:lnTo>
                    <a:pt x="376" y="108"/>
                  </a:lnTo>
                  <a:lnTo>
                    <a:pt x="376" y="108"/>
                  </a:lnTo>
                  <a:lnTo>
                    <a:pt x="376" y="108"/>
                  </a:lnTo>
                  <a:lnTo>
                    <a:pt x="373" y="106"/>
                  </a:lnTo>
                  <a:lnTo>
                    <a:pt x="376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4"/>
                  </a:lnTo>
                  <a:lnTo>
                    <a:pt x="382" y="104"/>
                  </a:lnTo>
                  <a:lnTo>
                    <a:pt x="380" y="104"/>
                  </a:lnTo>
                  <a:lnTo>
                    <a:pt x="378" y="104"/>
                  </a:lnTo>
                  <a:lnTo>
                    <a:pt x="378" y="104"/>
                  </a:lnTo>
                  <a:lnTo>
                    <a:pt x="380" y="104"/>
                  </a:lnTo>
                  <a:lnTo>
                    <a:pt x="380" y="104"/>
                  </a:lnTo>
                  <a:lnTo>
                    <a:pt x="382" y="104"/>
                  </a:lnTo>
                  <a:lnTo>
                    <a:pt x="382" y="104"/>
                  </a:lnTo>
                  <a:lnTo>
                    <a:pt x="385" y="104"/>
                  </a:lnTo>
                  <a:lnTo>
                    <a:pt x="385" y="104"/>
                  </a:lnTo>
                  <a:lnTo>
                    <a:pt x="387" y="104"/>
                  </a:lnTo>
                  <a:lnTo>
                    <a:pt x="387" y="102"/>
                  </a:lnTo>
                  <a:lnTo>
                    <a:pt x="387" y="102"/>
                  </a:lnTo>
                  <a:lnTo>
                    <a:pt x="387" y="102"/>
                  </a:lnTo>
                  <a:lnTo>
                    <a:pt x="387" y="102"/>
                  </a:lnTo>
                  <a:lnTo>
                    <a:pt x="389" y="102"/>
                  </a:lnTo>
                  <a:lnTo>
                    <a:pt x="387" y="102"/>
                  </a:lnTo>
                  <a:lnTo>
                    <a:pt x="387" y="102"/>
                  </a:lnTo>
                  <a:lnTo>
                    <a:pt x="387" y="102"/>
                  </a:lnTo>
                  <a:lnTo>
                    <a:pt x="389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396" y="99"/>
                  </a:lnTo>
                  <a:lnTo>
                    <a:pt x="400" y="99"/>
                  </a:lnTo>
                  <a:lnTo>
                    <a:pt x="400" y="99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3" y="97"/>
                  </a:lnTo>
                  <a:lnTo>
                    <a:pt x="405" y="97"/>
                  </a:lnTo>
                  <a:lnTo>
                    <a:pt x="407" y="97"/>
                  </a:lnTo>
                  <a:lnTo>
                    <a:pt x="407" y="97"/>
                  </a:lnTo>
                  <a:lnTo>
                    <a:pt x="407" y="97"/>
                  </a:lnTo>
                  <a:lnTo>
                    <a:pt x="407" y="97"/>
                  </a:lnTo>
                  <a:lnTo>
                    <a:pt x="407" y="97"/>
                  </a:lnTo>
                  <a:lnTo>
                    <a:pt x="405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5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2" y="97"/>
                  </a:lnTo>
                  <a:lnTo>
                    <a:pt x="409" y="97"/>
                  </a:lnTo>
                  <a:lnTo>
                    <a:pt x="409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2" y="97"/>
                  </a:lnTo>
                  <a:lnTo>
                    <a:pt x="414" y="97"/>
                  </a:lnTo>
                  <a:lnTo>
                    <a:pt x="414" y="97"/>
                  </a:lnTo>
                  <a:lnTo>
                    <a:pt x="414" y="97"/>
                  </a:lnTo>
                  <a:lnTo>
                    <a:pt x="414" y="97"/>
                  </a:lnTo>
                  <a:lnTo>
                    <a:pt x="414" y="97"/>
                  </a:lnTo>
                  <a:lnTo>
                    <a:pt x="414" y="97"/>
                  </a:lnTo>
                  <a:lnTo>
                    <a:pt x="414" y="97"/>
                  </a:lnTo>
                  <a:lnTo>
                    <a:pt x="416" y="97"/>
                  </a:lnTo>
                  <a:lnTo>
                    <a:pt x="418" y="97"/>
                  </a:lnTo>
                  <a:lnTo>
                    <a:pt x="418" y="97"/>
                  </a:lnTo>
                  <a:lnTo>
                    <a:pt x="418" y="95"/>
                  </a:lnTo>
                  <a:lnTo>
                    <a:pt x="418" y="95"/>
                  </a:lnTo>
                  <a:lnTo>
                    <a:pt x="418" y="95"/>
                  </a:lnTo>
                  <a:lnTo>
                    <a:pt x="416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4" y="95"/>
                  </a:lnTo>
                  <a:lnTo>
                    <a:pt x="414" y="93"/>
                  </a:lnTo>
                  <a:lnTo>
                    <a:pt x="414" y="93"/>
                  </a:lnTo>
                  <a:lnTo>
                    <a:pt x="414" y="93"/>
                  </a:lnTo>
                  <a:lnTo>
                    <a:pt x="414" y="93"/>
                  </a:lnTo>
                  <a:lnTo>
                    <a:pt x="414" y="93"/>
                  </a:lnTo>
                  <a:lnTo>
                    <a:pt x="416" y="93"/>
                  </a:lnTo>
                  <a:lnTo>
                    <a:pt x="421" y="93"/>
                  </a:lnTo>
                  <a:lnTo>
                    <a:pt x="421" y="93"/>
                  </a:lnTo>
                  <a:lnTo>
                    <a:pt x="421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3" y="93"/>
                  </a:lnTo>
                  <a:lnTo>
                    <a:pt x="425" y="93"/>
                  </a:lnTo>
                  <a:lnTo>
                    <a:pt x="427" y="93"/>
                  </a:lnTo>
                  <a:lnTo>
                    <a:pt x="427" y="93"/>
                  </a:lnTo>
                  <a:lnTo>
                    <a:pt x="430" y="93"/>
                  </a:lnTo>
                  <a:lnTo>
                    <a:pt x="432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34" y="93"/>
                  </a:lnTo>
                  <a:lnTo>
                    <a:pt x="434" y="95"/>
                  </a:lnTo>
                  <a:lnTo>
                    <a:pt x="434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6" y="95"/>
                  </a:lnTo>
                  <a:lnTo>
                    <a:pt x="439" y="95"/>
                  </a:lnTo>
                  <a:lnTo>
                    <a:pt x="436" y="93"/>
                  </a:lnTo>
                  <a:lnTo>
                    <a:pt x="436" y="93"/>
                  </a:lnTo>
                  <a:lnTo>
                    <a:pt x="439" y="93"/>
                  </a:lnTo>
                  <a:lnTo>
                    <a:pt x="439" y="93"/>
                  </a:lnTo>
                  <a:lnTo>
                    <a:pt x="439" y="93"/>
                  </a:lnTo>
                  <a:lnTo>
                    <a:pt x="441" y="93"/>
                  </a:lnTo>
                  <a:lnTo>
                    <a:pt x="441" y="93"/>
                  </a:lnTo>
                  <a:lnTo>
                    <a:pt x="441" y="93"/>
                  </a:lnTo>
                  <a:lnTo>
                    <a:pt x="441" y="93"/>
                  </a:lnTo>
                  <a:lnTo>
                    <a:pt x="441" y="95"/>
                  </a:lnTo>
                  <a:lnTo>
                    <a:pt x="441" y="95"/>
                  </a:lnTo>
                  <a:lnTo>
                    <a:pt x="445" y="93"/>
                  </a:lnTo>
                  <a:lnTo>
                    <a:pt x="445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50" y="93"/>
                  </a:lnTo>
                  <a:lnTo>
                    <a:pt x="450" y="93"/>
                  </a:lnTo>
                  <a:lnTo>
                    <a:pt x="450" y="93"/>
                  </a:lnTo>
                  <a:lnTo>
                    <a:pt x="450" y="90"/>
                  </a:lnTo>
                  <a:lnTo>
                    <a:pt x="450" y="90"/>
                  </a:lnTo>
                  <a:lnTo>
                    <a:pt x="452" y="93"/>
                  </a:lnTo>
                  <a:lnTo>
                    <a:pt x="454" y="90"/>
                  </a:lnTo>
                  <a:lnTo>
                    <a:pt x="454" y="90"/>
                  </a:lnTo>
                  <a:lnTo>
                    <a:pt x="454" y="90"/>
                  </a:lnTo>
                  <a:lnTo>
                    <a:pt x="454" y="90"/>
                  </a:lnTo>
                  <a:lnTo>
                    <a:pt x="454" y="93"/>
                  </a:lnTo>
                  <a:lnTo>
                    <a:pt x="454" y="93"/>
                  </a:lnTo>
                  <a:lnTo>
                    <a:pt x="457" y="93"/>
                  </a:lnTo>
                  <a:lnTo>
                    <a:pt x="457" y="93"/>
                  </a:lnTo>
                  <a:lnTo>
                    <a:pt x="457" y="93"/>
                  </a:lnTo>
                  <a:lnTo>
                    <a:pt x="459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1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90"/>
                  </a:lnTo>
                  <a:lnTo>
                    <a:pt x="463" y="88"/>
                  </a:lnTo>
                  <a:lnTo>
                    <a:pt x="466" y="88"/>
                  </a:lnTo>
                  <a:lnTo>
                    <a:pt x="466" y="88"/>
                  </a:lnTo>
                  <a:lnTo>
                    <a:pt x="468" y="88"/>
                  </a:lnTo>
                  <a:lnTo>
                    <a:pt x="468" y="88"/>
                  </a:lnTo>
                  <a:lnTo>
                    <a:pt x="468" y="90"/>
                  </a:lnTo>
                  <a:lnTo>
                    <a:pt x="468" y="90"/>
                  </a:lnTo>
                  <a:lnTo>
                    <a:pt x="468" y="88"/>
                  </a:lnTo>
                  <a:lnTo>
                    <a:pt x="470" y="88"/>
                  </a:lnTo>
                  <a:lnTo>
                    <a:pt x="470" y="88"/>
                  </a:lnTo>
                  <a:lnTo>
                    <a:pt x="470" y="88"/>
                  </a:lnTo>
                  <a:lnTo>
                    <a:pt x="470" y="88"/>
                  </a:lnTo>
                  <a:lnTo>
                    <a:pt x="470" y="88"/>
                  </a:lnTo>
                  <a:lnTo>
                    <a:pt x="472" y="88"/>
                  </a:lnTo>
                  <a:lnTo>
                    <a:pt x="474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9" y="88"/>
                  </a:lnTo>
                  <a:lnTo>
                    <a:pt x="477" y="88"/>
                  </a:lnTo>
                  <a:lnTo>
                    <a:pt x="477" y="86"/>
                  </a:lnTo>
                  <a:lnTo>
                    <a:pt x="477" y="86"/>
                  </a:lnTo>
                  <a:lnTo>
                    <a:pt x="477" y="86"/>
                  </a:lnTo>
                  <a:lnTo>
                    <a:pt x="477" y="86"/>
                  </a:lnTo>
                  <a:lnTo>
                    <a:pt x="474" y="86"/>
                  </a:lnTo>
                  <a:lnTo>
                    <a:pt x="474" y="86"/>
                  </a:lnTo>
                  <a:lnTo>
                    <a:pt x="474" y="86"/>
                  </a:lnTo>
                  <a:lnTo>
                    <a:pt x="474" y="86"/>
                  </a:lnTo>
                  <a:lnTo>
                    <a:pt x="474" y="86"/>
                  </a:lnTo>
                  <a:lnTo>
                    <a:pt x="474" y="84"/>
                  </a:lnTo>
                  <a:lnTo>
                    <a:pt x="477" y="84"/>
                  </a:lnTo>
                  <a:lnTo>
                    <a:pt x="479" y="84"/>
                  </a:lnTo>
                  <a:lnTo>
                    <a:pt x="479" y="84"/>
                  </a:lnTo>
                  <a:lnTo>
                    <a:pt x="479" y="84"/>
                  </a:lnTo>
                  <a:lnTo>
                    <a:pt x="479" y="84"/>
                  </a:lnTo>
                  <a:lnTo>
                    <a:pt x="481" y="84"/>
                  </a:lnTo>
                  <a:lnTo>
                    <a:pt x="481" y="84"/>
                  </a:lnTo>
                  <a:lnTo>
                    <a:pt x="481" y="84"/>
                  </a:lnTo>
                  <a:lnTo>
                    <a:pt x="481" y="84"/>
                  </a:lnTo>
                  <a:lnTo>
                    <a:pt x="481" y="84"/>
                  </a:lnTo>
                  <a:lnTo>
                    <a:pt x="481" y="84"/>
                  </a:lnTo>
                  <a:lnTo>
                    <a:pt x="481" y="81"/>
                  </a:lnTo>
                  <a:lnTo>
                    <a:pt x="483" y="81"/>
                  </a:lnTo>
                  <a:lnTo>
                    <a:pt x="483" y="81"/>
                  </a:lnTo>
                  <a:lnTo>
                    <a:pt x="483" y="81"/>
                  </a:lnTo>
                  <a:lnTo>
                    <a:pt x="483" y="81"/>
                  </a:lnTo>
                  <a:lnTo>
                    <a:pt x="483" y="81"/>
                  </a:lnTo>
                  <a:lnTo>
                    <a:pt x="483" y="81"/>
                  </a:lnTo>
                  <a:lnTo>
                    <a:pt x="486" y="81"/>
                  </a:lnTo>
                  <a:lnTo>
                    <a:pt x="486" y="81"/>
                  </a:lnTo>
                  <a:lnTo>
                    <a:pt x="486" y="81"/>
                  </a:lnTo>
                  <a:lnTo>
                    <a:pt x="490" y="81"/>
                  </a:lnTo>
                  <a:lnTo>
                    <a:pt x="492" y="79"/>
                  </a:lnTo>
                  <a:lnTo>
                    <a:pt x="492" y="79"/>
                  </a:lnTo>
                  <a:lnTo>
                    <a:pt x="492" y="79"/>
                  </a:lnTo>
                  <a:lnTo>
                    <a:pt x="495" y="79"/>
                  </a:lnTo>
                  <a:lnTo>
                    <a:pt x="501" y="79"/>
                  </a:lnTo>
                  <a:lnTo>
                    <a:pt x="504" y="81"/>
                  </a:lnTo>
                  <a:close/>
                  <a:moveTo>
                    <a:pt x="890" y="79"/>
                  </a:moveTo>
                  <a:lnTo>
                    <a:pt x="890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8" y="79"/>
                  </a:lnTo>
                  <a:lnTo>
                    <a:pt x="886" y="79"/>
                  </a:lnTo>
                  <a:lnTo>
                    <a:pt x="886" y="79"/>
                  </a:lnTo>
                  <a:lnTo>
                    <a:pt x="886" y="79"/>
                  </a:lnTo>
                  <a:lnTo>
                    <a:pt x="881" y="81"/>
                  </a:lnTo>
                  <a:lnTo>
                    <a:pt x="881" y="81"/>
                  </a:lnTo>
                  <a:lnTo>
                    <a:pt x="881" y="81"/>
                  </a:lnTo>
                  <a:lnTo>
                    <a:pt x="881" y="81"/>
                  </a:lnTo>
                  <a:lnTo>
                    <a:pt x="881" y="79"/>
                  </a:lnTo>
                  <a:lnTo>
                    <a:pt x="881" y="79"/>
                  </a:lnTo>
                  <a:lnTo>
                    <a:pt x="883" y="79"/>
                  </a:lnTo>
                  <a:lnTo>
                    <a:pt x="883" y="79"/>
                  </a:lnTo>
                  <a:lnTo>
                    <a:pt x="883" y="79"/>
                  </a:lnTo>
                  <a:lnTo>
                    <a:pt x="883" y="79"/>
                  </a:lnTo>
                  <a:lnTo>
                    <a:pt x="881" y="79"/>
                  </a:lnTo>
                  <a:lnTo>
                    <a:pt x="874" y="79"/>
                  </a:lnTo>
                  <a:lnTo>
                    <a:pt x="874" y="79"/>
                  </a:lnTo>
                  <a:lnTo>
                    <a:pt x="874" y="79"/>
                  </a:lnTo>
                  <a:lnTo>
                    <a:pt x="874" y="79"/>
                  </a:lnTo>
                  <a:lnTo>
                    <a:pt x="874" y="79"/>
                  </a:lnTo>
                  <a:lnTo>
                    <a:pt x="877" y="79"/>
                  </a:lnTo>
                  <a:lnTo>
                    <a:pt x="877" y="79"/>
                  </a:lnTo>
                  <a:lnTo>
                    <a:pt x="879" y="79"/>
                  </a:lnTo>
                  <a:lnTo>
                    <a:pt x="886" y="77"/>
                  </a:lnTo>
                  <a:lnTo>
                    <a:pt x="886" y="77"/>
                  </a:lnTo>
                  <a:lnTo>
                    <a:pt x="888" y="77"/>
                  </a:lnTo>
                  <a:lnTo>
                    <a:pt x="888" y="77"/>
                  </a:lnTo>
                  <a:lnTo>
                    <a:pt x="888" y="77"/>
                  </a:lnTo>
                  <a:lnTo>
                    <a:pt x="890" y="77"/>
                  </a:lnTo>
                  <a:lnTo>
                    <a:pt x="890" y="77"/>
                  </a:lnTo>
                  <a:lnTo>
                    <a:pt x="890" y="79"/>
                  </a:lnTo>
                  <a:close/>
                  <a:moveTo>
                    <a:pt x="2076" y="801"/>
                  </a:moveTo>
                  <a:lnTo>
                    <a:pt x="2076" y="801"/>
                  </a:lnTo>
                  <a:lnTo>
                    <a:pt x="2076" y="801"/>
                  </a:lnTo>
                  <a:lnTo>
                    <a:pt x="2076" y="801"/>
                  </a:lnTo>
                  <a:lnTo>
                    <a:pt x="2076" y="801"/>
                  </a:lnTo>
                  <a:lnTo>
                    <a:pt x="2076" y="801"/>
                  </a:lnTo>
                  <a:lnTo>
                    <a:pt x="2076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1"/>
                  </a:lnTo>
                  <a:lnTo>
                    <a:pt x="2074" y="803"/>
                  </a:lnTo>
                  <a:lnTo>
                    <a:pt x="2074" y="803"/>
                  </a:lnTo>
                  <a:lnTo>
                    <a:pt x="2074" y="803"/>
                  </a:lnTo>
                  <a:lnTo>
                    <a:pt x="2074" y="803"/>
                  </a:lnTo>
                  <a:lnTo>
                    <a:pt x="2074" y="803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6" y="805"/>
                  </a:lnTo>
                  <a:lnTo>
                    <a:pt x="2076" y="805"/>
                  </a:lnTo>
                  <a:lnTo>
                    <a:pt x="2076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5"/>
                  </a:lnTo>
                  <a:lnTo>
                    <a:pt x="2074" y="808"/>
                  </a:lnTo>
                  <a:lnTo>
                    <a:pt x="2074" y="808"/>
                  </a:lnTo>
                  <a:lnTo>
                    <a:pt x="2074" y="808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4" y="810"/>
                  </a:lnTo>
                  <a:lnTo>
                    <a:pt x="2072" y="810"/>
                  </a:lnTo>
                  <a:lnTo>
                    <a:pt x="2072" y="810"/>
                  </a:lnTo>
                  <a:lnTo>
                    <a:pt x="2072" y="810"/>
                  </a:lnTo>
                  <a:lnTo>
                    <a:pt x="2072" y="810"/>
                  </a:lnTo>
                  <a:lnTo>
                    <a:pt x="2072" y="810"/>
                  </a:lnTo>
                  <a:lnTo>
                    <a:pt x="2072" y="812"/>
                  </a:lnTo>
                  <a:lnTo>
                    <a:pt x="2072" y="812"/>
                  </a:lnTo>
                  <a:lnTo>
                    <a:pt x="2072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2"/>
                  </a:lnTo>
                  <a:lnTo>
                    <a:pt x="2074" y="814"/>
                  </a:lnTo>
                  <a:lnTo>
                    <a:pt x="2074" y="814"/>
                  </a:lnTo>
                  <a:lnTo>
                    <a:pt x="2074" y="814"/>
                  </a:lnTo>
                  <a:lnTo>
                    <a:pt x="2074" y="814"/>
                  </a:lnTo>
                  <a:lnTo>
                    <a:pt x="2074" y="814"/>
                  </a:lnTo>
                  <a:lnTo>
                    <a:pt x="2072" y="814"/>
                  </a:lnTo>
                  <a:lnTo>
                    <a:pt x="2072" y="814"/>
                  </a:lnTo>
                  <a:lnTo>
                    <a:pt x="2072" y="814"/>
                  </a:lnTo>
                  <a:lnTo>
                    <a:pt x="2072" y="814"/>
                  </a:lnTo>
                  <a:lnTo>
                    <a:pt x="2072" y="817"/>
                  </a:lnTo>
                  <a:lnTo>
                    <a:pt x="2072" y="817"/>
                  </a:lnTo>
                  <a:lnTo>
                    <a:pt x="2072" y="817"/>
                  </a:lnTo>
                  <a:lnTo>
                    <a:pt x="2074" y="817"/>
                  </a:lnTo>
                  <a:lnTo>
                    <a:pt x="2074" y="817"/>
                  </a:lnTo>
                  <a:lnTo>
                    <a:pt x="2074" y="817"/>
                  </a:lnTo>
                  <a:lnTo>
                    <a:pt x="2074" y="817"/>
                  </a:lnTo>
                  <a:lnTo>
                    <a:pt x="2074" y="817"/>
                  </a:lnTo>
                  <a:lnTo>
                    <a:pt x="2074" y="817"/>
                  </a:lnTo>
                  <a:lnTo>
                    <a:pt x="2074" y="817"/>
                  </a:lnTo>
                  <a:lnTo>
                    <a:pt x="2072" y="817"/>
                  </a:lnTo>
                  <a:lnTo>
                    <a:pt x="2072" y="817"/>
                  </a:lnTo>
                  <a:lnTo>
                    <a:pt x="2072" y="817"/>
                  </a:lnTo>
                  <a:lnTo>
                    <a:pt x="2072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2" y="819"/>
                  </a:lnTo>
                  <a:lnTo>
                    <a:pt x="2072" y="819"/>
                  </a:lnTo>
                  <a:lnTo>
                    <a:pt x="2072" y="819"/>
                  </a:lnTo>
                  <a:lnTo>
                    <a:pt x="2072" y="819"/>
                  </a:lnTo>
                  <a:lnTo>
                    <a:pt x="2074" y="819"/>
                  </a:lnTo>
                  <a:lnTo>
                    <a:pt x="2074" y="819"/>
                  </a:lnTo>
                  <a:lnTo>
                    <a:pt x="2072" y="819"/>
                  </a:lnTo>
                  <a:lnTo>
                    <a:pt x="2072" y="819"/>
                  </a:lnTo>
                  <a:lnTo>
                    <a:pt x="2072" y="817"/>
                  </a:lnTo>
                  <a:lnTo>
                    <a:pt x="2070" y="817"/>
                  </a:lnTo>
                  <a:lnTo>
                    <a:pt x="2070" y="817"/>
                  </a:lnTo>
                  <a:lnTo>
                    <a:pt x="2070" y="817"/>
                  </a:lnTo>
                  <a:lnTo>
                    <a:pt x="2072" y="819"/>
                  </a:lnTo>
                  <a:lnTo>
                    <a:pt x="2070" y="817"/>
                  </a:lnTo>
                  <a:lnTo>
                    <a:pt x="2070" y="817"/>
                  </a:lnTo>
                  <a:lnTo>
                    <a:pt x="2070" y="817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7" y="817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7" y="817"/>
                  </a:lnTo>
                  <a:lnTo>
                    <a:pt x="2067" y="817"/>
                  </a:lnTo>
                  <a:lnTo>
                    <a:pt x="2067" y="817"/>
                  </a:lnTo>
                  <a:lnTo>
                    <a:pt x="2067" y="817"/>
                  </a:lnTo>
                  <a:lnTo>
                    <a:pt x="2067" y="817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5" y="817"/>
                  </a:lnTo>
                  <a:lnTo>
                    <a:pt x="2063" y="817"/>
                  </a:lnTo>
                  <a:lnTo>
                    <a:pt x="2063" y="817"/>
                  </a:lnTo>
                  <a:lnTo>
                    <a:pt x="2063" y="817"/>
                  </a:lnTo>
                  <a:lnTo>
                    <a:pt x="2063" y="817"/>
                  </a:lnTo>
                  <a:lnTo>
                    <a:pt x="2063" y="817"/>
                  </a:lnTo>
                  <a:lnTo>
                    <a:pt x="2063" y="817"/>
                  </a:lnTo>
                  <a:lnTo>
                    <a:pt x="2063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5" y="819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7" y="819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1"/>
                  </a:lnTo>
                  <a:lnTo>
                    <a:pt x="2067" y="823"/>
                  </a:lnTo>
                  <a:lnTo>
                    <a:pt x="2067" y="823"/>
                  </a:lnTo>
                  <a:lnTo>
                    <a:pt x="2067" y="823"/>
                  </a:lnTo>
                  <a:lnTo>
                    <a:pt x="2067" y="826"/>
                  </a:lnTo>
                  <a:lnTo>
                    <a:pt x="2067" y="826"/>
                  </a:lnTo>
                  <a:lnTo>
                    <a:pt x="2067" y="826"/>
                  </a:lnTo>
                  <a:lnTo>
                    <a:pt x="2067" y="826"/>
                  </a:lnTo>
                  <a:lnTo>
                    <a:pt x="2067" y="826"/>
                  </a:lnTo>
                  <a:lnTo>
                    <a:pt x="2065" y="823"/>
                  </a:lnTo>
                  <a:lnTo>
                    <a:pt x="2065" y="823"/>
                  </a:lnTo>
                  <a:lnTo>
                    <a:pt x="2065" y="823"/>
                  </a:lnTo>
                  <a:lnTo>
                    <a:pt x="2065" y="823"/>
                  </a:lnTo>
                  <a:lnTo>
                    <a:pt x="2065" y="823"/>
                  </a:lnTo>
                  <a:lnTo>
                    <a:pt x="2063" y="823"/>
                  </a:lnTo>
                  <a:lnTo>
                    <a:pt x="2063" y="821"/>
                  </a:lnTo>
                  <a:lnTo>
                    <a:pt x="2063" y="821"/>
                  </a:lnTo>
                  <a:lnTo>
                    <a:pt x="2063" y="821"/>
                  </a:lnTo>
                  <a:lnTo>
                    <a:pt x="2063" y="821"/>
                  </a:lnTo>
                  <a:lnTo>
                    <a:pt x="2063" y="821"/>
                  </a:lnTo>
                  <a:lnTo>
                    <a:pt x="2063" y="821"/>
                  </a:lnTo>
                  <a:lnTo>
                    <a:pt x="2063" y="821"/>
                  </a:lnTo>
                  <a:lnTo>
                    <a:pt x="2061" y="821"/>
                  </a:lnTo>
                  <a:lnTo>
                    <a:pt x="2061" y="819"/>
                  </a:lnTo>
                  <a:lnTo>
                    <a:pt x="2063" y="819"/>
                  </a:lnTo>
                  <a:lnTo>
                    <a:pt x="2061" y="819"/>
                  </a:lnTo>
                  <a:lnTo>
                    <a:pt x="2061" y="819"/>
                  </a:lnTo>
                  <a:lnTo>
                    <a:pt x="2061" y="817"/>
                  </a:lnTo>
                  <a:lnTo>
                    <a:pt x="2058" y="817"/>
                  </a:lnTo>
                  <a:lnTo>
                    <a:pt x="2058" y="817"/>
                  </a:lnTo>
                  <a:lnTo>
                    <a:pt x="2058" y="817"/>
                  </a:lnTo>
                  <a:lnTo>
                    <a:pt x="2058" y="817"/>
                  </a:lnTo>
                  <a:lnTo>
                    <a:pt x="2056" y="817"/>
                  </a:lnTo>
                  <a:lnTo>
                    <a:pt x="2056" y="817"/>
                  </a:lnTo>
                  <a:lnTo>
                    <a:pt x="2056" y="814"/>
                  </a:lnTo>
                  <a:lnTo>
                    <a:pt x="2056" y="814"/>
                  </a:lnTo>
                  <a:lnTo>
                    <a:pt x="2058" y="814"/>
                  </a:lnTo>
                  <a:lnTo>
                    <a:pt x="2058" y="812"/>
                  </a:lnTo>
                  <a:lnTo>
                    <a:pt x="2061" y="812"/>
                  </a:lnTo>
                  <a:lnTo>
                    <a:pt x="2061" y="814"/>
                  </a:lnTo>
                  <a:lnTo>
                    <a:pt x="2061" y="812"/>
                  </a:lnTo>
                  <a:lnTo>
                    <a:pt x="2061" y="812"/>
                  </a:lnTo>
                  <a:lnTo>
                    <a:pt x="2061" y="812"/>
                  </a:lnTo>
                  <a:lnTo>
                    <a:pt x="2061" y="812"/>
                  </a:lnTo>
                  <a:lnTo>
                    <a:pt x="2063" y="812"/>
                  </a:lnTo>
                  <a:lnTo>
                    <a:pt x="2063" y="812"/>
                  </a:lnTo>
                  <a:lnTo>
                    <a:pt x="2065" y="812"/>
                  </a:lnTo>
                  <a:lnTo>
                    <a:pt x="2065" y="812"/>
                  </a:lnTo>
                  <a:lnTo>
                    <a:pt x="2065" y="812"/>
                  </a:lnTo>
                  <a:lnTo>
                    <a:pt x="2065" y="812"/>
                  </a:lnTo>
                  <a:lnTo>
                    <a:pt x="2065" y="812"/>
                  </a:lnTo>
                  <a:lnTo>
                    <a:pt x="2065" y="812"/>
                  </a:lnTo>
                  <a:lnTo>
                    <a:pt x="2067" y="812"/>
                  </a:lnTo>
                  <a:lnTo>
                    <a:pt x="2067" y="812"/>
                  </a:lnTo>
                  <a:lnTo>
                    <a:pt x="2067" y="810"/>
                  </a:lnTo>
                  <a:lnTo>
                    <a:pt x="2065" y="810"/>
                  </a:lnTo>
                  <a:lnTo>
                    <a:pt x="2065" y="810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8"/>
                  </a:lnTo>
                  <a:lnTo>
                    <a:pt x="2065" y="805"/>
                  </a:lnTo>
                  <a:lnTo>
                    <a:pt x="2065" y="805"/>
                  </a:lnTo>
                  <a:lnTo>
                    <a:pt x="2065" y="805"/>
                  </a:lnTo>
                  <a:lnTo>
                    <a:pt x="2065" y="805"/>
                  </a:lnTo>
                  <a:lnTo>
                    <a:pt x="2065" y="805"/>
                  </a:lnTo>
                  <a:lnTo>
                    <a:pt x="2063" y="805"/>
                  </a:lnTo>
                  <a:lnTo>
                    <a:pt x="2063" y="803"/>
                  </a:lnTo>
                  <a:lnTo>
                    <a:pt x="2065" y="803"/>
                  </a:lnTo>
                  <a:lnTo>
                    <a:pt x="2065" y="803"/>
                  </a:lnTo>
                  <a:lnTo>
                    <a:pt x="2065" y="803"/>
                  </a:lnTo>
                  <a:lnTo>
                    <a:pt x="2065" y="803"/>
                  </a:lnTo>
                  <a:lnTo>
                    <a:pt x="2063" y="801"/>
                  </a:lnTo>
                  <a:lnTo>
                    <a:pt x="2063" y="801"/>
                  </a:lnTo>
                  <a:lnTo>
                    <a:pt x="2063" y="801"/>
                  </a:lnTo>
                  <a:lnTo>
                    <a:pt x="2063" y="801"/>
                  </a:lnTo>
                  <a:lnTo>
                    <a:pt x="2063" y="801"/>
                  </a:lnTo>
                  <a:lnTo>
                    <a:pt x="2063" y="801"/>
                  </a:lnTo>
                  <a:lnTo>
                    <a:pt x="2063" y="799"/>
                  </a:lnTo>
                  <a:lnTo>
                    <a:pt x="2063" y="799"/>
                  </a:lnTo>
                  <a:lnTo>
                    <a:pt x="2063" y="799"/>
                  </a:lnTo>
                  <a:lnTo>
                    <a:pt x="2058" y="796"/>
                  </a:lnTo>
                  <a:lnTo>
                    <a:pt x="2058" y="796"/>
                  </a:lnTo>
                  <a:lnTo>
                    <a:pt x="2058" y="796"/>
                  </a:lnTo>
                  <a:lnTo>
                    <a:pt x="2058" y="796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8" y="794"/>
                  </a:lnTo>
                  <a:lnTo>
                    <a:pt x="2056" y="792"/>
                  </a:lnTo>
                  <a:lnTo>
                    <a:pt x="2056" y="792"/>
                  </a:lnTo>
                  <a:lnTo>
                    <a:pt x="2056" y="792"/>
                  </a:lnTo>
                  <a:lnTo>
                    <a:pt x="2056" y="792"/>
                  </a:lnTo>
                  <a:lnTo>
                    <a:pt x="2056" y="790"/>
                  </a:lnTo>
                  <a:lnTo>
                    <a:pt x="2056" y="790"/>
                  </a:lnTo>
                  <a:lnTo>
                    <a:pt x="2054" y="790"/>
                  </a:lnTo>
                  <a:lnTo>
                    <a:pt x="2054" y="787"/>
                  </a:lnTo>
                  <a:lnTo>
                    <a:pt x="2054" y="787"/>
                  </a:lnTo>
                  <a:lnTo>
                    <a:pt x="2054" y="787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54" y="785"/>
                  </a:lnTo>
                  <a:lnTo>
                    <a:pt x="2040" y="769"/>
                  </a:lnTo>
                  <a:lnTo>
                    <a:pt x="2038" y="767"/>
                  </a:lnTo>
                  <a:lnTo>
                    <a:pt x="2038" y="767"/>
                  </a:lnTo>
                  <a:lnTo>
                    <a:pt x="2038" y="767"/>
                  </a:lnTo>
                  <a:lnTo>
                    <a:pt x="2036" y="767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6" y="765"/>
                  </a:lnTo>
                  <a:lnTo>
                    <a:pt x="2038" y="765"/>
                  </a:lnTo>
                  <a:lnTo>
                    <a:pt x="2038" y="765"/>
                  </a:lnTo>
                  <a:lnTo>
                    <a:pt x="2038" y="765"/>
                  </a:lnTo>
                  <a:lnTo>
                    <a:pt x="2038" y="765"/>
                  </a:lnTo>
                  <a:lnTo>
                    <a:pt x="2038" y="765"/>
                  </a:lnTo>
                  <a:lnTo>
                    <a:pt x="2038" y="765"/>
                  </a:lnTo>
                  <a:lnTo>
                    <a:pt x="2040" y="765"/>
                  </a:lnTo>
                  <a:lnTo>
                    <a:pt x="2040" y="765"/>
                  </a:lnTo>
                  <a:lnTo>
                    <a:pt x="2040" y="763"/>
                  </a:lnTo>
                  <a:lnTo>
                    <a:pt x="2040" y="763"/>
                  </a:lnTo>
                  <a:lnTo>
                    <a:pt x="2040" y="763"/>
                  </a:lnTo>
                  <a:lnTo>
                    <a:pt x="2040" y="763"/>
                  </a:lnTo>
                  <a:lnTo>
                    <a:pt x="2043" y="763"/>
                  </a:lnTo>
                  <a:lnTo>
                    <a:pt x="2043" y="763"/>
                  </a:lnTo>
                  <a:lnTo>
                    <a:pt x="2043" y="763"/>
                  </a:lnTo>
                  <a:lnTo>
                    <a:pt x="2043" y="763"/>
                  </a:lnTo>
                  <a:lnTo>
                    <a:pt x="2043" y="763"/>
                  </a:lnTo>
                  <a:lnTo>
                    <a:pt x="2043" y="763"/>
                  </a:lnTo>
                  <a:lnTo>
                    <a:pt x="2045" y="760"/>
                  </a:lnTo>
                  <a:lnTo>
                    <a:pt x="2045" y="760"/>
                  </a:lnTo>
                  <a:lnTo>
                    <a:pt x="2045" y="758"/>
                  </a:lnTo>
                  <a:lnTo>
                    <a:pt x="2043" y="758"/>
                  </a:lnTo>
                  <a:lnTo>
                    <a:pt x="2043" y="758"/>
                  </a:lnTo>
                  <a:lnTo>
                    <a:pt x="2043" y="758"/>
                  </a:lnTo>
                  <a:lnTo>
                    <a:pt x="2043" y="758"/>
                  </a:lnTo>
                  <a:lnTo>
                    <a:pt x="2043" y="758"/>
                  </a:lnTo>
                  <a:lnTo>
                    <a:pt x="2043" y="758"/>
                  </a:lnTo>
                  <a:lnTo>
                    <a:pt x="2045" y="758"/>
                  </a:lnTo>
                  <a:lnTo>
                    <a:pt x="2045" y="758"/>
                  </a:lnTo>
                  <a:lnTo>
                    <a:pt x="2045" y="756"/>
                  </a:lnTo>
                  <a:lnTo>
                    <a:pt x="2045" y="754"/>
                  </a:lnTo>
                  <a:lnTo>
                    <a:pt x="2045" y="754"/>
                  </a:lnTo>
                  <a:lnTo>
                    <a:pt x="2045" y="754"/>
                  </a:lnTo>
                  <a:lnTo>
                    <a:pt x="2047" y="756"/>
                  </a:lnTo>
                  <a:lnTo>
                    <a:pt x="2047" y="756"/>
                  </a:lnTo>
                  <a:lnTo>
                    <a:pt x="2047" y="756"/>
                  </a:lnTo>
                  <a:lnTo>
                    <a:pt x="2047" y="756"/>
                  </a:lnTo>
                  <a:lnTo>
                    <a:pt x="2047" y="756"/>
                  </a:lnTo>
                  <a:lnTo>
                    <a:pt x="2049" y="756"/>
                  </a:lnTo>
                  <a:lnTo>
                    <a:pt x="2049" y="756"/>
                  </a:lnTo>
                  <a:lnTo>
                    <a:pt x="2049" y="756"/>
                  </a:lnTo>
                  <a:lnTo>
                    <a:pt x="2067" y="760"/>
                  </a:lnTo>
                  <a:lnTo>
                    <a:pt x="2070" y="760"/>
                  </a:lnTo>
                  <a:lnTo>
                    <a:pt x="2070" y="760"/>
                  </a:lnTo>
                  <a:lnTo>
                    <a:pt x="2072" y="760"/>
                  </a:lnTo>
                  <a:lnTo>
                    <a:pt x="2072" y="760"/>
                  </a:lnTo>
                  <a:lnTo>
                    <a:pt x="2072" y="760"/>
                  </a:lnTo>
                  <a:lnTo>
                    <a:pt x="2072" y="760"/>
                  </a:lnTo>
                  <a:lnTo>
                    <a:pt x="2072" y="760"/>
                  </a:lnTo>
                  <a:lnTo>
                    <a:pt x="2072" y="760"/>
                  </a:lnTo>
                  <a:lnTo>
                    <a:pt x="2072" y="758"/>
                  </a:lnTo>
                  <a:lnTo>
                    <a:pt x="2072" y="758"/>
                  </a:lnTo>
                  <a:lnTo>
                    <a:pt x="2072" y="758"/>
                  </a:lnTo>
                  <a:lnTo>
                    <a:pt x="2072" y="758"/>
                  </a:lnTo>
                  <a:lnTo>
                    <a:pt x="2072" y="758"/>
                  </a:lnTo>
                  <a:lnTo>
                    <a:pt x="2070" y="758"/>
                  </a:lnTo>
                  <a:lnTo>
                    <a:pt x="2070" y="756"/>
                  </a:lnTo>
                  <a:lnTo>
                    <a:pt x="2070" y="756"/>
                  </a:lnTo>
                  <a:lnTo>
                    <a:pt x="2070" y="756"/>
                  </a:lnTo>
                  <a:lnTo>
                    <a:pt x="2067" y="754"/>
                  </a:lnTo>
                  <a:lnTo>
                    <a:pt x="2067" y="754"/>
                  </a:lnTo>
                  <a:lnTo>
                    <a:pt x="2067" y="751"/>
                  </a:lnTo>
                  <a:lnTo>
                    <a:pt x="2067" y="751"/>
                  </a:lnTo>
                  <a:lnTo>
                    <a:pt x="2067" y="751"/>
                  </a:lnTo>
                  <a:lnTo>
                    <a:pt x="2067" y="751"/>
                  </a:lnTo>
                  <a:lnTo>
                    <a:pt x="2067" y="749"/>
                  </a:lnTo>
                  <a:lnTo>
                    <a:pt x="2070" y="749"/>
                  </a:lnTo>
                  <a:lnTo>
                    <a:pt x="2070" y="749"/>
                  </a:lnTo>
                  <a:lnTo>
                    <a:pt x="2070" y="749"/>
                  </a:lnTo>
                  <a:lnTo>
                    <a:pt x="2070" y="749"/>
                  </a:lnTo>
                  <a:lnTo>
                    <a:pt x="2070" y="749"/>
                  </a:lnTo>
                  <a:lnTo>
                    <a:pt x="2070" y="749"/>
                  </a:lnTo>
                  <a:lnTo>
                    <a:pt x="2072" y="749"/>
                  </a:lnTo>
                  <a:lnTo>
                    <a:pt x="2072" y="749"/>
                  </a:lnTo>
                  <a:lnTo>
                    <a:pt x="2070" y="749"/>
                  </a:lnTo>
                  <a:lnTo>
                    <a:pt x="2070" y="747"/>
                  </a:lnTo>
                  <a:lnTo>
                    <a:pt x="2072" y="747"/>
                  </a:lnTo>
                  <a:lnTo>
                    <a:pt x="2072" y="747"/>
                  </a:lnTo>
                  <a:lnTo>
                    <a:pt x="2072" y="747"/>
                  </a:lnTo>
                  <a:lnTo>
                    <a:pt x="2072" y="747"/>
                  </a:lnTo>
                  <a:lnTo>
                    <a:pt x="2072" y="747"/>
                  </a:lnTo>
                  <a:lnTo>
                    <a:pt x="2070" y="747"/>
                  </a:lnTo>
                  <a:lnTo>
                    <a:pt x="2072" y="747"/>
                  </a:lnTo>
                  <a:lnTo>
                    <a:pt x="2072" y="747"/>
                  </a:lnTo>
                  <a:lnTo>
                    <a:pt x="2070" y="747"/>
                  </a:lnTo>
                  <a:lnTo>
                    <a:pt x="2070" y="747"/>
                  </a:lnTo>
                  <a:lnTo>
                    <a:pt x="2070" y="747"/>
                  </a:lnTo>
                  <a:lnTo>
                    <a:pt x="2070" y="745"/>
                  </a:lnTo>
                  <a:lnTo>
                    <a:pt x="2070" y="745"/>
                  </a:lnTo>
                  <a:lnTo>
                    <a:pt x="2070" y="745"/>
                  </a:lnTo>
                  <a:lnTo>
                    <a:pt x="2070" y="745"/>
                  </a:lnTo>
                  <a:lnTo>
                    <a:pt x="2070" y="745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67" y="742"/>
                  </a:lnTo>
                  <a:lnTo>
                    <a:pt x="2067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67" y="742"/>
                  </a:lnTo>
                  <a:lnTo>
                    <a:pt x="2067" y="742"/>
                  </a:lnTo>
                  <a:lnTo>
                    <a:pt x="2067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2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40"/>
                  </a:lnTo>
                  <a:lnTo>
                    <a:pt x="2070" y="738"/>
                  </a:lnTo>
                  <a:lnTo>
                    <a:pt x="2070" y="738"/>
                  </a:lnTo>
                  <a:lnTo>
                    <a:pt x="2070" y="738"/>
                  </a:lnTo>
                  <a:lnTo>
                    <a:pt x="2067" y="736"/>
                  </a:lnTo>
                  <a:lnTo>
                    <a:pt x="2067" y="736"/>
                  </a:lnTo>
                  <a:lnTo>
                    <a:pt x="2067" y="736"/>
                  </a:lnTo>
                  <a:lnTo>
                    <a:pt x="2067" y="736"/>
                  </a:lnTo>
                  <a:lnTo>
                    <a:pt x="2067" y="736"/>
                  </a:lnTo>
                  <a:lnTo>
                    <a:pt x="2067" y="736"/>
                  </a:lnTo>
                  <a:lnTo>
                    <a:pt x="2067" y="733"/>
                  </a:lnTo>
                  <a:lnTo>
                    <a:pt x="2067" y="733"/>
                  </a:lnTo>
                  <a:lnTo>
                    <a:pt x="2067" y="733"/>
                  </a:lnTo>
                  <a:lnTo>
                    <a:pt x="2067" y="733"/>
                  </a:lnTo>
                  <a:lnTo>
                    <a:pt x="2067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3"/>
                  </a:lnTo>
                  <a:lnTo>
                    <a:pt x="2070" y="731"/>
                  </a:lnTo>
                  <a:lnTo>
                    <a:pt x="2070" y="731"/>
                  </a:lnTo>
                  <a:lnTo>
                    <a:pt x="2070" y="731"/>
                  </a:lnTo>
                  <a:lnTo>
                    <a:pt x="2070" y="731"/>
                  </a:lnTo>
                  <a:lnTo>
                    <a:pt x="2070" y="731"/>
                  </a:lnTo>
                  <a:lnTo>
                    <a:pt x="2067" y="731"/>
                  </a:lnTo>
                  <a:lnTo>
                    <a:pt x="2067" y="731"/>
                  </a:lnTo>
                  <a:lnTo>
                    <a:pt x="2067" y="731"/>
                  </a:lnTo>
                  <a:lnTo>
                    <a:pt x="2067" y="731"/>
                  </a:lnTo>
                  <a:lnTo>
                    <a:pt x="2067" y="731"/>
                  </a:lnTo>
                  <a:lnTo>
                    <a:pt x="2067" y="731"/>
                  </a:lnTo>
                  <a:lnTo>
                    <a:pt x="2067" y="729"/>
                  </a:lnTo>
                  <a:lnTo>
                    <a:pt x="2067" y="729"/>
                  </a:lnTo>
                  <a:lnTo>
                    <a:pt x="2067" y="729"/>
                  </a:lnTo>
                  <a:lnTo>
                    <a:pt x="2067" y="729"/>
                  </a:lnTo>
                  <a:lnTo>
                    <a:pt x="2065" y="729"/>
                  </a:lnTo>
                  <a:lnTo>
                    <a:pt x="2065" y="729"/>
                  </a:lnTo>
                  <a:lnTo>
                    <a:pt x="2065" y="729"/>
                  </a:lnTo>
                  <a:lnTo>
                    <a:pt x="2065" y="729"/>
                  </a:lnTo>
                  <a:lnTo>
                    <a:pt x="2065" y="727"/>
                  </a:lnTo>
                  <a:lnTo>
                    <a:pt x="2065" y="727"/>
                  </a:lnTo>
                  <a:lnTo>
                    <a:pt x="2065" y="727"/>
                  </a:lnTo>
                  <a:lnTo>
                    <a:pt x="2065" y="727"/>
                  </a:lnTo>
                  <a:lnTo>
                    <a:pt x="2065" y="727"/>
                  </a:lnTo>
                  <a:lnTo>
                    <a:pt x="2065" y="724"/>
                  </a:lnTo>
                  <a:lnTo>
                    <a:pt x="2065" y="724"/>
                  </a:lnTo>
                  <a:lnTo>
                    <a:pt x="2065" y="724"/>
                  </a:lnTo>
                  <a:lnTo>
                    <a:pt x="2065" y="724"/>
                  </a:lnTo>
                  <a:lnTo>
                    <a:pt x="2065" y="724"/>
                  </a:lnTo>
                  <a:lnTo>
                    <a:pt x="2065" y="722"/>
                  </a:lnTo>
                  <a:lnTo>
                    <a:pt x="2065" y="722"/>
                  </a:lnTo>
                  <a:lnTo>
                    <a:pt x="2065" y="722"/>
                  </a:lnTo>
                  <a:lnTo>
                    <a:pt x="2065" y="720"/>
                  </a:lnTo>
                  <a:lnTo>
                    <a:pt x="2063" y="720"/>
                  </a:lnTo>
                  <a:lnTo>
                    <a:pt x="2063" y="720"/>
                  </a:lnTo>
                  <a:lnTo>
                    <a:pt x="2063" y="720"/>
                  </a:lnTo>
                  <a:lnTo>
                    <a:pt x="2063" y="720"/>
                  </a:lnTo>
                  <a:lnTo>
                    <a:pt x="2063" y="718"/>
                  </a:lnTo>
                  <a:lnTo>
                    <a:pt x="2063" y="718"/>
                  </a:lnTo>
                  <a:lnTo>
                    <a:pt x="2061" y="716"/>
                  </a:lnTo>
                  <a:lnTo>
                    <a:pt x="2061" y="716"/>
                  </a:lnTo>
                  <a:lnTo>
                    <a:pt x="2061" y="716"/>
                  </a:lnTo>
                  <a:lnTo>
                    <a:pt x="2061" y="716"/>
                  </a:lnTo>
                  <a:lnTo>
                    <a:pt x="2061" y="716"/>
                  </a:lnTo>
                  <a:lnTo>
                    <a:pt x="2061" y="713"/>
                  </a:lnTo>
                  <a:lnTo>
                    <a:pt x="2061" y="713"/>
                  </a:lnTo>
                  <a:lnTo>
                    <a:pt x="2061" y="713"/>
                  </a:lnTo>
                  <a:lnTo>
                    <a:pt x="2063" y="713"/>
                  </a:lnTo>
                  <a:lnTo>
                    <a:pt x="2063" y="713"/>
                  </a:lnTo>
                  <a:lnTo>
                    <a:pt x="2063" y="713"/>
                  </a:lnTo>
                  <a:lnTo>
                    <a:pt x="2061" y="713"/>
                  </a:lnTo>
                  <a:lnTo>
                    <a:pt x="2061" y="711"/>
                  </a:lnTo>
                  <a:lnTo>
                    <a:pt x="2061" y="711"/>
                  </a:lnTo>
                  <a:lnTo>
                    <a:pt x="2061" y="711"/>
                  </a:lnTo>
                  <a:lnTo>
                    <a:pt x="2061" y="711"/>
                  </a:lnTo>
                  <a:lnTo>
                    <a:pt x="2061" y="711"/>
                  </a:lnTo>
                  <a:lnTo>
                    <a:pt x="2061" y="711"/>
                  </a:lnTo>
                  <a:lnTo>
                    <a:pt x="2058" y="711"/>
                  </a:lnTo>
                  <a:lnTo>
                    <a:pt x="2058" y="711"/>
                  </a:lnTo>
                  <a:lnTo>
                    <a:pt x="2058" y="709"/>
                  </a:lnTo>
                  <a:lnTo>
                    <a:pt x="2058" y="709"/>
                  </a:lnTo>
                  <a:lnTo>
                    <a:pt x="2058" y="709"/>
                  </a:lnTo>
                  <a:lnTo>
                    <a:pt x="2058" y="709"/>
                  </a:lnTo>
                  <a:lnTo>
                    <a:pt x="2058" y="709"/>
                  </a:lnTo>
                  <a:lnTo>
                    <a:pt x="2058" y="709"/>
                  </a:lnTo>
                  <a:lnTo>
                    <a:pt x="2058" y="707"/>
                  </a:lnTo>
                  <a:lnTo>
                    <a:pt x="2058" y="707"/>
                  </a:lnTo>
                  <a:lnTo>
                    <a:pt x="2058" y="707"/>
                  </a:lnTo>
                  <a:lnTo>
                    <a:pt x="2058" y="707"/>
                  </a:lnTo>
                  <a:lnTo>
                    <a:pt x="2058" y="707"/>
                  </a:lnTo>
                  <a:lnTo>
                    <a:pt x="2058" y="707"/>
                  </a:lnTo>
                  <a:lnTo>
                    <a:pt x="2061" y="707"/>
                  </a:lnTo>
                  <a:lnTo>
                    <a:pt x="2061" y="707"/>
                  </a:lnTo>
                  <a:lnTo>
                    <a:pt x="2061" y="707"/>
                  </a:lnTo>
                  <a:lnTo>
                    <a:pt x="2061" y="704"/>
                  </a:lnTo>
                  <a:lnTo>
                    <a:pt x="2061" y="704"/>
                  </a:lnTo>
                  <a:lnTo>
                    <a:pt x="2061" y="707"/>
                  </a:lnTo>
                  <a:lnTo>
                    <a:pt x="2063" y="707"/>
                  </a:lnTo>
                  <a:lnTo>
                    <a:pt x="2063" y="707"/>
                  </a:lnTo>
                  <a:lnTo>
                    <a:pt x="2063" y="704"/>
                  </a:lnTo>
                  <a:lnTo>
                    <a:pt x="2063" y="704"/>
                  </a:lnTo>
                  <a:lnTo>
                    <a:pt x="2063" y="704"/>
                  </a:lnTo>
                  <a:lnTo>
                    <a:pt x="2063" y="704"/>
                  </a:lnTo>
                  <a:lnTo>
                    <a:pt x="2063" y="704"/>
                  </a:lnTo>
                  <a:lnTo>
                    <a:pt x="2063" y="702"/>
                  </a:lnTo>
                  <a:lnTo>
                    <a:pt x="2063" y="702"/>
                  </a:lnTo>
                  <a:lnTo>
                    <a:pt x="2063" y="702"/>
                  </a:lnTo>
                  <a:lnTo>
                    <a:pt x="2063" y="702"/>
                  </a:lnTo>
                  <a:lnTo>
                    <a:pt x="2063" y="702"/>
                  </a:lnTo>
                  <a:lnTo>
                    <a:pt x="2063" y="700"/>
                  </a:lnTo>
                  <a:lnTo>
                    <a:pt x="2063" y="700"/>
                  </a:lnTo>
                  <a:lnTo>
                    <a:pt x="2063" y="700"/>
                  </a:lnTo>
                  <a:lnTo>
                    <a:pt x="2063" y="700"/>
                  </a:lnTo>
                  <a:lnTo>
                    <a:pt x="2063" y="700"/>
                  </a:lnTo>
                  <a:lnTo>
                    <a:pt x="2063" y="700"/>
                  </a:lnTo>
                  <a:lnTo>
                    <a:pt x="2063" y="698"/>
                  </a:lnTo>
                  <a:lnTo>
                    <a:pt x="2061" y="698"/>
                  </a:lnTo>
                  <a:lnTo>
                    <a:pt x="2058" y="695"/>
                  </a:lnTo>
                  <a:lnTo>
                    <a:pt x="2058" y="695"/>
                  </a:lnTo>
                  <a:lnTo>
                    <a:pt x="2058" y="695"/>
                  </a:lnTo>
                  <a:lnTo>
                    <a:pt x="2058" y="695"/>
                  </a:lnTo>
                  <a:lnTo>
                    <a:pt x="2058" y="695"/>
                  </a:lnTo>
                  <a:lnTo>
                    <a:pt x="2056" y="695"/>
                  </a:lnTo>
                  <a:lnTo>
                    <a:pt x="2056" y="695"/>
                  </a:lnTo>
                  <a:lnTo>
                    <a:pt x="2056" y="693"/>
                  </a:lnTo>
                  <a:lnTo>
                    <a:pt x="2056" y="693"/>
                  </a:lnTo>
                  <a:lnTo>
                    <a:pt x="2054" y="693"/>
                  </a:lnTo>
                  <a:lnTo>
                    <a:pt x="2054" y="693"/>
                  </a:lnTo>
                  <a:lnTo>
                    <a:pt x="2054" y="691"/>
                  </a:lnTo>
                  <a:lnTo>
                    <a:pt x="2054" y="691"/>
                  </a:lnTo>
                  <a:lnTo>
                    <a:pt x="2054" y="691"/>
                  </a:lnTo>
                  <a:lnTo>
                    <a:pt x="2054" y="691"/>
                  </a:lnTo>
                  <a:lnTo>
                    <a:pt x="2054" y="689"/>
                  </a:lnTo>
                  <a:lnTo>
                    <a:pt x="2054" y="686"/>
                  </a:lnTo>
                  <a:lnTo>
                    <a:pt x="2054" y="686"/>
                  </a:lnTo>
                  <a:lnTo>
                    <a:pt x="2054" y="686"/>
                  </a:lnTo>
                  <a:lnTo>
                    <a:pt x="2052" y="686"/>
                  </a:lnTo>
                  <a:lnTo>
                    <a:pt x="2052" y="686"/>
                  </a:lnTo>
                  <a:lnTo>
                    <a:pt x="2052" y="686"/>
                  </a:lnTo>
                  <a:lnTo>
                    <a:pt x="2049" y="684"/>
                  </a:lnTo>
                  <a:lnTo>
                    <a:pt x="2047" y="684"/>
                  </a:lnTo>
                  <a:lnTo>
                    <a:pt x="2047" y="684"/>
                  </a:lnTo>
                  <a:lnTo>
                    <a:pt x="2047" y="684"/>
                  </a:lnTo>
                  <a:lnTo>
                    <a:pt x="2047" y="684"/>
                  </a:lnTo>
                  <a:lnTo>
                    <a:pt x="2047" y="684"/>
                  </a:lnTo>
                  <a:lnTo>
                    <a:pt x="2047" y="684"/>
                  </a:lnTo>
                  <a:lnTo>
                    <a:pt x="2045" y="684"/>
                  </a:lnTo>
                  <a:lnTo>
                    <a:pt x="2045" y="684"/>
                  </a:lnTo>
                  <a:lnTo>
                    <a:pt x="2045" y="684"/>
                  </a:lnTo>
                  <a:lnTo>
                    <a:pt x="2043" y="684"/>
                  </a:lnTo>
                  <a:lnTo>
                    <a:pt x="2040" y="684"/>
                  </a:lnTo>
                  <a:lnTo>
                    <a:pt x="2040" y="684"/>
                  </a:lnTo>
                  <a:lnTo>
                    <a:pt x="2040" y="684"/>
                  </a:lnTo>
                  <a:lnTo>
                    <a:pt x="2038" y="684"/>
                  </a:lnTo>
                  <a:lnTo>
                    <a:pt x="2038" y="686"/>
                  </a:lnTo>
                  <a:lnTo>
                    <a:pt x="2038" y="686"/>
                  </a:lnTo>
                  <a:lnTo>
                    <a:pt x="2038" y="686"/>
                  </a:lnTo>
                  <a:lnTo>
                    <a:pt x="2038" y="686"/>
                  </a:lnTo>
                  <a:lnTo>
                    <a:pt x="2036" y="686"/>
                  </a:lnTo>
                  <a:lnTo>
                    <a:pt x="2036" y="686"/>
                  </a:lnTo>
                  <a:lnTo>
                    <a:pt x="2036" y="686"/>
                  </a:lnTo>
                  <a:lnTo>
                    <a:pt x="2036" y="686"/>
                  </a:lnTo>
                  <a:lnTo>
                    <a:pt x="2036" y="686"/>
                  </a:lnTo>
                  <a:lnTo>
                    <a:pt x="2034" y="686"/>
                  </a:lnTo>
                  <a:lnTo>
                    <a:pt x="2034" y="686"/>
                  </a:lnTo>
                  <a:lnTo>
                    <a:pt x="2036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89"/>
                  </a:lnTo>
                  <a:lnTo>
                    <a:pt x="2034" y="691"/>
                  </a:lnTo>
                  <a:lnTo>
                    <a:pt x="2034" y="691"/>
                  </a:lnTo>
                  <a:lnTo>
                    <a:pt x="2034" y="691"/>
                  </a:lnTo>
                  <a:lnTo>
                    <a:pt x="2031" y="691"/>
                  </a:lnTo>
                  <a:lnTo>
                    <a:pt x="2031" y="691"/>
                  </a:lnTo>
                  <a:lnTo>
                    <a:pt x="2031" y="691"/>
                  </a:lnTo>
                  <a:lnTo>
                    <a:pt x="2031" y="691"/>
                  </a:lnTo>
                  <a:lnTo>
                    <a:pt x="2031" y="691"/>
                  </a:lnTo>
                  <a:lnTo>
                    <a:pt x="2029" y="691"/>
                  </a:lnTo>
                  <a:lnTo>
                    <a:pt x="2029" y="691"/>
                  </a:lnTo>
                  <a:lnTo>
                    <a:pt x="2029" y="691"/>
                  </a:lnTo>
                  <a:lnTo>
                    <a:pt x="2029" y="689"/>
                  </a:lnTo>
                  <a:lnTo>
                    <a:pt x="2029" y="689"/>
                  </a:lnTo>
                  <a:lnTo>
                    <a:pt x="2027" y="689"/>
                  </a:lnTo>
                  <a:lnTo>
                    <a:pt x="2027" y="689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5" y="691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2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3"/>
                  </a:lnTo>
                  <a:lnTo>
                    <a:pt x="2020" y="695"/>
                  </a:lnTo>
                  <a:lnTo>
                    <a:pt x="2020" y="695"/>
                  </a:lnTo>
                  <a:lnTo>
                    <a:pt x="2020" y="695"/>
                  </a:lnTo>
                  <a:lnTo>
                    <a:pt x="2020" y="695"/>
                  </a:lnTo>
                  <a:lnTo>
                    <a:pt x="2020" y="695"/>
                  </a:lnTo>
                  <a:lnTo>
                    <a:pt x="2020" y="695"/>
                  </a:lnTo>
                  <a:lnTo>
                    <a:pt x="2020" y="695"/>
                  </a:lnTo>
                  <a:lnTo>
                    <a:pt x="2020" y="698"/>
                  </a:lnTo>
                  <a:lnTo>
                    <a:pt x="2020" y="698"/>
                  </a:lnTo>
                  <a:lnTo>
                    <a:pt x="2020" y="698"/>
                  </a:lnTo>
                  <a:lnTo>
                    <a:pt x="2020" y="698"/>
                  </a:lnTo>
                  <a:lnTo>
                    <a:pt x="2022" y="698"/>
                  </a:lnTo>
                  <a:lnTo>
                    <a:pt x="2022" y="698"/>
                  </a:lnTo>
                  <a:lnTo>
                    <a:pt x="2022" y="698"/>
                  </a:lnTo>
                  <a:lnTo>
                    <a:pt x="2022" y="698"/>
                  </a:lnTo>
                  <a:lnTo>
                    <a:pt x="2022" y="700"/>
                  </a:lnTo>
                  <a:lnTo>
                    <a:pt x="2022" y="700"/>
                  </a:lnTo>
                  <a:lnTo>
                    <a:pt x="2022" y="700"/>
                  </a:lnTo>
                  <a:lnTo>
                    <a:pt x="2020" y="700"/>
                  </a:lnTo>
                  <a:lnTo>
                    <a:pt x="2020" y="700"/>
                  </a:lnTo>
                  <a:lnTo>
                    <a:pt x="2020" y="700"/>
                  </a:lnTo>
                  <a:lnTo>
                    <a:pt x="2018" y="698"/>
                  </a:lnTo>
                  <a:lnTo>
                    <a:pt x="2018" y="698"/>
                  </a:lnTo>
                  <a:lnTo>
                    <a:pt x="2018" y="698"/>
                  </a:lnTo>
                  <a:lnTo>
                    <a:pt x="2016" y="698"/>
                  </a:lnTo>
                  <a:lnTo>
                    <a:pt x="2016" y="700"/>
                  </a:lnTo>
                  <a:lnTo>
                    <a:pt x="2016" y="700"/>
                  </a:lnTo>
                  <a:lnTo>
                    <a:pt x="2016" y="700"/>
                  </a:lnTo>
                  <a:lnTo>
                    <a:pt x="2016" y="700"/>
                  </a:lnTo>
                  <a:lnTo>
                    <a:pt x="2013" y="700"/>
                  </a:lnTo>
                  <a:lnTo>
                    <a:pt x="2013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11" y="700"/>
                  </a:lnTo>
                  <a:lnTo>
                    <a:pt x="2009" y="700"/>
                  </a:lnTo>
                  <a:lnTo>
                    <a:pt x="2009" y="700"/>
                  </a:lnTo>
                  <a:lnTo>
                    <a:pt x="2009" y="700"/>
                  </a:lnTo>
                  <a:lnTo>
                    <a:pt x="2009" y="700"/>
                  </a:lnTo>
                  <a:lnTo>
                    <a:pt x="2009" y="700"/>
                  </a:lnTo>
                  <a:lnTo>
                    <a:pt x="2007" y="700"/>
                  </a:lnTo>
                  <a:lnTo>
                    <a:pt x="2007" y="700"/>
                  </a:lnTo>
                  <a:lnTo>
                    <a:pt x="2004" y="700"/>
                  </a:lnTo>
                  <a:lnTo>
                    <a:pt x="2004" y="700"/>
                  </a:lnTo>
                  <a:lnTo>
                    <a:pt x="2004" y="700"/>
                  </a:lnTo>
                  <a:lnTo>
                    <a:pt x="2004" y="700"/>
                  </a:lnTo>
                  <a:lnTo>
                    <a:pt x="2004" y="700"/>
                  </a:lnTo>
                  <a:lnTo>
                    <a:pt x="2004" y="700"/>
                  </a:lnTo>
                  <a:lnTo>
                    <a:pt x="2004" y="700"/>
                  </a:lnTo>
                  <a:lnTo>
                    <a:pt x="2002" y="700"/>
                  </a:lnTo>
                  <a:lnTo>
                    <a:pt x="2002" y="700"/>
                  </a:lnTo>
                  <a:lnTo>
                    <a:pt x="2002" y="698"/>
                  </a:lnTo>
                  <a:lnTo>
                    <a:pt x="2000" y="698"/>
                  </a:lnTo>
                  <a:lnTo>
                    <a:pt x="2000" y="698"/>
                  </a:lnTo>
                  <a:lnTo>
                    <a:pt x="1998" y="700"/>
                  </a:lnTo>
                  <a:lnTo>
                    <a:pt x="1995" y="700"/>
                  </a:lnTo>
                  <a:lnTo>
                    <a:pt x="1995" y="700"/>
                  </a:lnTo>
                  <a:lnTo>
                    <a:pt x="1995" y="700"/>
                  </a:lnTo>
                  <a:lnTo>
                    <a:pt x="1995" y="700"/>
                  </a:lnTo>
                  <a:lnTo>
                    <a:pt x="1993" y="700"/>
                  </a:lnTo>
                  <a:lnTo>
                    <a:pt x="1993" y="700"/>
                  </a:lnTo>
                  <a:lnTo>
                    <a:pt x="1993" y="700"/>
                  </a:lnTo>
                  <a:lnTo>
                    <a:pt x="1993" y="700"/>
                  </a:lnTo>
                  <a:lnTo>
                    <a:pt x="1991" y="700"/>
                  </a:lnTo>
                  <a:lnTo>
                    <a:pt x="1991" y="698"/>
                  </a:lnTo>
                  <a:lnTo>
                    <a:pt x="1991" y="698"/>
                  </a:lnTo>
                  <a:lnTo>
                    <a:pt x="1991" y="698"/>
                  </a:lnTo>
                  <a:lnTo>
                    <a:pt x="1989" y="695"/>
                  </a:lnTo>
                  <a:lnTo>
                    <a:pt x="1986" y="693"/>
                  </a:lnTo>
                  <a:lnTo>
                    <a:pt x="1982" y="691"/>
                  </a:lnTo>
                  <a:lnTo>
                    <a:pt x="1982" y="691"/>
                  </a:lnTo>
                  <a:lnTo>
                    <a:pt x="1982" y="691"/>
                  </a:lnTo>
                  <a:lnTo>
                    <a:pt x="1980" y="691"/>
                  </a:lnTo>
                  <a:lnTo>
                    <a:pt x="1980" y="689"/>
                  </a:lnTo>
                  <a:lnTo>
                    <a:pt x="1980" y="689"/>
                  </a:lnTo>
                  <a:lnTo>
                    <a:pt x="1980" y="689"/>
                  </a:lnTo>
                  <a:lnTo>
                    <a:pt x="1980" y="689"/>
                  </a:lnTo>
                  <a:lnTo>
                    <a:pt x="1980" y="689"/>
                  </a:lnTo>
                  <a:lnTo>
                    <a:pt x="1982" y="689"/>
                  </a:lnTo>
                  <a:lnTo>
                    <a:pt x="1980" y="686"/>
                  </a:lnTo>
                  <a:lnTo>
                    <a:pt x="1980" y="686"/>
                  </a:lnTo>
                  <a:lnTo>
                    <a:pt x="1980" y="686"/>
                  </a:lnTo>
                  <a:lnTo>
                    <a:pt x="1980" y="686"/>
                  </a:lnTo>
                  <a:lnTo>
                    <a:pt x="1980" y="686"/>
                  </a:lnTo>
                  <a:lnTo>
                    <a:pt x="1980" y="684"/>
                  </a:lnTo>
                  <a:lnTo>
                    <a:pt x="1980" y="684"/>
                  </a:lnTo>
                  <a:lnTo>
                    <a:pt x="1980" y="684"/>
                  </a:lnTo>
                  <a:lnTo>
                    <a:pt x="1980" y="684"/>
                  </a:lnTo>
                  <a:lnTo>
                    <a:pt x="1980" y="684"/>
                  </a:lnTo>
                  <a:lnTo>
                    <a:pt x="1980" y="684"/>
                  </a:lnTo>
                  <a:lnTo>
                    <a:pt x="1977" y="684"/>
                  </a:lnTo>
                  <a:lnTo>
                    <a:pt x="1977" y="684"/>
                  </a:lnTo>
                  <a:lnTo>
                    <a:pt x="1977" y="682"/>
                  </a:lnTo>
                  <a:lnTo>
                    <a:pt x="1977" y="682"/>
                  </a:lnTo>
                  <a:lnTo>
                    <a:pt x="1977" y="682"/>
                  </a:lnTo>
                  <a:lnTo>
                    <a:pt x="1977" y="682"/>
                  </a:lnTo>
                  <a:lnTo>
                    <a:pt x="1975" y="682"/>
                  </a:lnTo>
                  <a:lnTo>
                    <a:pt x="1975" y="682"/>
                  </a:lnTo>
                  <a:lnTo>
                    <a:pt x="1975" y="682"/>
                  </a:lnTo>
                  <a:lnTo>
                    <a:pt x="1975" y="682"/>
                  </a:lnTo>
                  <a:lnTo>
                    <a:pt x="1973" y="682"/>
                  </a:lnTo>
                  <a:lnTo>
                    <a:pt x="1973" y="682"/>
                  </a:lnTo>
                  <a:lnTo>
                    <a:pt x="1973" y="680"/>
                  </a:lnTo>
                  <a:lnTo>
                    <a:pt x="1973" y="680"/>
                  </a:lnTo>
                  <a:lnTo>
                    <a:pt x="1973" y="680"/>
                  </a:lnTo>
                  <a:lnTo>
                    <a:pt x="1973" y="680"/>
                  </a:lnTo>
                  <a:lnTo>
                    <a:pt x="1973" y="680"/>
                  </a:lnTo>
                  <a:lnTo>
                    <a:pt x="1973" y="680"/>
                  </a:lnTo>
                  <a:lnTo>
                    <a:pt x="1971" y="680"/>
                  </a:lnTo>
                  <a:lnTo>
                    <a:pt x="1971" y="680"/>
                  </a:lnTo>
                  <a:lnTo>
                    <a:pt x="1971" y="680"/>
                  </a:lnTo>
                  <a:lnTo>
                    <a:pt x="1971" y="677"/>
                  </a:lnTo>
                  <a:lnTo>
                    <a:pt x="1971" y="677"/>
                  </a:lnTo>
                  <a:lnTo>
                    <a:pt x="1968" y="673"/>
                  </a:lnTo>
                  <a:lnTo>
                    <a:pt x="1968" y="673"/>
                  </a:lnTo>
                  <a:lnTo>
                    <a:pt x="1968" y="673"/>
                  </a:lnTo>
                  <a:lnTo>
                    <a:pt x="1968" y="673"/>
                  </a:lnTo>
                  <a:lnTo>
                    <a:pt x="1968" y="673"/>
                  </a:lnTo>
                  <a:lnTo>
                    <a:pt x="1968" y="673"/>
                  </a:lnTo>
                  <a:lnTo>
                    <a:pt x="1966" y="673"/>
                  </a:lnTo>
                  <a:lnTo>
                    <a:pt x="1966" y="673"/>
                  </a:lnTo>
                  <a:lnTo>
                    <a:pt x="1966" y="673"/>
                  </a:lnTo>
                  <a:lnTo>
                    <a:pt x="1966" y="673"/>
                  </a:lnTo>
                  <a:lnTo>
                    <a:pt x="1964" y="673"/>
                  </a:lnTo>
                  <a:lnTo>
                    <a:pt x="1964" y="671"/>
                  </a:lnTo>
                  <a:lnTo>
                    <a:pt x="1964" y="671"/>
                  </a:lnTo>
                  <a:lnTo>
                    <a:pt x="1964" y="671"/>
                  </a:lnTo>
                  <a:lnTo>
                    <a:pt x="1962" y="673"/>
                  </a:lnTo>
                  <a:lnTo>
                    <a:pt x="1962" y="673"/>
                  </a:lnTo>
                  <a:lnTo>
                    <a:pt x="1962" y="673"/>
                  </a:lnTo>
                  <a:lnTo>
                    <a:pt x="1959" y="673"/>
                  </a:lnTo>
                  <a:lnTo>
                    <a:pt x="1955" y="671"/>
                  </a:lnTo>
                  <a:lnTo>
                    <a:pt x="1955" y="668"/>
                  </a:lnTo>
                  <a:lnTo>
                    <a:pt x="1953" y="668"/>
                  </a:lnTo>
                  <a:lnTo>
                    <a:pt x="1953" y="668"/>
                  </a:lnTo>
                  <a:lnTo>
                    <a:pt x="1953" y="668"/>
                  </a:lnTo>
                  <a:lnTo>
                    <a:pt x="1951" y="668"/>
                  </a:lnTo>
                  <a:lnTo>
                    <a:pt x="1951" y="668"/>
                  </a:lnTo>
                  <a:lnTo>
                    <a:pt x="1951" y="666"/>
                  </a:lnTo>
                  <a:lnTo>
                    <a:pt x="1951" y="666"/>
                  </a:lnTo>
                  <a:lnTo>
                    <a:pt x="1951" y="666"/>
                  </a:lnTo>
                  <a:lnTo>
                    <a:pt x="1948" y="666"/>
                  </a:lnTo>
                  <a:lnTo>
                    <a:pt x="1948" y="666"/>
                  </a:lnTo>
                  <a:lnTo>
                    <a:pt x="1948" y="666"/>
                  </a:lnTo>
                  <a:lnTo>
                    <a:pt x="1948" y="666"/>
                  </a:lnTo>
                  <a:lnTo>
                    <a:pt x="1946" y="664"/>
                  </a:lnTo>
                  <a:lnTo>
                    <a:pt x="1946" y="664"/>
                  </a:lnTo>
                  <a:lnTo>
                    <a:pt x="1946" y="664"/>
                  </a:lnTo>
                  <a:lnTo>
                    <a:pt x="1946" y="664"/>
                  </a:lnTo>
                  <a:lnTo>
                    <a:pt x="1944" y="664"/>
                  </a:lnTo>
                  <a:lnTo>
                    <a:pt x="1944" y="664"/>
                  </a:lnTo>
                  <a:lnTo>
                    <a:pt x="1944" y="664"/>
                  </a:lnTo>
                  <a:lnTo>
                    <a:pt x="1942" y="664"/>
                  </a:lnTo>
                  <a:lnTo>
                    <a:pt x="1942" y="662"/>
                  </a:lnTo>
                  <a:lnTo>
                    <a:pt x="1942" y="662"/>
                  </a:lnTo>
                  <a:lnTo>
                    <a:pt x="1939" y="662"/>
                  </a:lnTo>
                  <a:lnTo>
                    <a:pt x="1939" y="662"/>
                  </a:lnTo>
                  <a:lnTo>
                    <a:pt x="1939" y="659"/>
                  </a:lnTo>
                  <a:lnTo>
                    <a:pt x="1939" y="659"/>
                  </a:lnTo>
                  <a:lnTo>
                    <a:pt x="1939" y="659"/>
                  </a:lnTo>
                  <a:lnTo>
                    <a:pt x="1937" y="659"/>
                  </a:lnTo>
                  <a:lnTo>
                    <a:pt x="1937" y="659"/>
                  </a:lnTo>
                  <a:lnTo>
                    <a:pt x="1937" y="659"/>
                  </a:lnTo>
                  <a:lnTo>
                    <a:pt x="1937" y="659"/>
                  </a:lnTo>
                  <a:lnTo>
                    <a:pt x="1937" y="659"/>
                  </a:lnTo>
                  <a:lnTo>
                    <a:pt x="1937" y="662"/>
                  </a:lnTo>
                  <a:lnTo>
                    <a:pt x="1937" y="662"/>
                  </a:lnTo>
                  <a:lnTo>
                    <a:pt x="1937" y="662"/>
                  </a:lnTo>
                  <a:lnTo>
                    <a:pt x="1937" y="662"/>
                  </a:lnTo>
                  <a:lnTo>
                    <a:pt x="1935" y="662"/>
                  </a:lnTo>
                  <a:lnTo>
                    <a:pt x="1935" y="659"/>
                  </a:lnTo>
                  <a:lnTo>
                    <a:pt x="1933" y="659"/>
                  </a:lnTo>
                  <a:lnTo>
                    <a:pt x="1933" y="659"/>
                  </a:lnTo>
                  <a:lnTo>
                    <a:pt x="1933" y="659"/>
                  </a:lnTo>
                  <a:lnTo>
                    <a:pt x="1933" y="662"/>
                  </a:lnTo>
                  <a:lnTo>
                    <a:pt x="1933" y="662"/>
                  </a:lnTo>
                  <a:lnTo>
                    <a:pt x="1933" y="662"/>
                  </a:lnTo>
                  <a:lnTo>
                    <a:pt x="1930" y="662"/>
                  </a:lnTo>
                  <a:lnTo>
                    <a:pt x="1930" y="659"/>
                  </a:lnTo>
                  <a:lnTo>
                    <a:pt x="1930" y="659"/>
                  </a:lnTo>
                  <a:lnTo>
                    <a:pt x="1928" y="659"/>
                  </a:lnTo>
                  <a:lnTo>
                    <a:pt x="1928" y="659"/>
                  </a:lnTo>
                  <a:lnTo>
                    <a:pt x="1926" y="659"/>
                  </a:lnTo>
                  <a:lnTo>
                    <a:pt x="1926" y="657"/>
                  </a:lnTo>
                  <a:lnTo>
                    <a:pt x="1926" y="657"/>
                  </a:lnTo>
                  <a:lnTo>
                    <a:pt x="1926" y="659"/>
                  </a:lnTo>
                  <a:lnTo>
                    <a:pt x="1924" y="659"/>
                  </a:lnTo>
                  <a:lnTo>
                    <a:pt x="1924" y="659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7"/>
                  </a:lnTo>
                  <a:lnTo>
                    <a:pt x="1924" y="655"/>
                  </a:lnTo>
                  <a:lnTo>
                    <a:pt x="1924" y="655"/>
                  </a:lnTo>
                  <a:lnTo>
                    <a:pt x="1921" y="655"/>
                  </a:lnTo>
                  <a:lnTo>
                    <a:pt x="1921" y="655"/>
                  </a:lnTo>
                  <a:lnTo>
                    <a:pt x="1921" y="655"/>
                  </a:lnTo>
                  <a:lnTo>
                    <a:pt x="1919" y="655"/>
                  </a:lnTo>
                  <a:lnTo>
                    <a:pt x="1919" y="655"/>
                  </a:lnTo>
                  <a:lnTo>
                    <a:pt x="1919" y="655"/>
                  </a:lnTo>
                  <a:lnTo>
                    <a:pt x="1919" y="655"/>
                  </a:lnTo>
                  <a:lnTo>
                    <a:pt x="1919" y="655"/>
                  </a:lnTo>
                  <a:lnTo>
                    <a:pt x="1915" y="655"/>
                  </a:lnTo>
                  <a:lnTo>
                    <a:pt x="1915" y="655"/>
                  </a:lnTo>
                  <a:lnTo>
                    <a:pt x="1915" y="657"/>
                  </a:lnTo>
                  <a:lnTo>
                    <a:pt x="1915" y="657"/>
                  </a:lnTo>
                  <a:lnTo>
                    <a:pt x="1915" y="657"/>
                  </a:lnTo>
                  <a:lnTo>
                    <a:pt x="1915" y="657"/>
                  </a:lnTo>
                  <a:lnTo>
                    <a:pt x="1915" y="657"/>
                  </a:lnTo>
                  <a:lnTo>
                    <a:pt x="1912" y="657"/>
                  </a:lnTo>
                  <a:lnTo>
                    <a:pt x="1912" y="657"/>
                  </a:lnTo>
                  <a:lnTo>
                    <a:pt x="1912" y="657"/>
                  </a:lnTo>
                  <a:lnTo>
                    <a:pt x="1910" y="657"/>
                  </a:lnTo>
                  <a:lnTo>
                    <a:pt x="1910" y="657"/>
                  </a:lnTo>
                  <a:lnTo>
                    <a:pt x="1910" y="657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8" y="655"/>
                  </a:lnTo>
                  <a:lnTo>
                    <a:pt x="1906" y="655"/>
                  </a:lnTo>
                  <a:lnTo>
                    <a:pt x="1906" y="655"/>
                  </a:lnTo>
                  <a:lnTo>
                    <a:pt x="1906" y="655"/>
                  </a:lnTo>
                  <a:lnTo>
                    <a:pt x="1903" y="655"/>
                  </a:lnTo>
                  <a:lnTo>
                    <a:pt x="1903" y="655"/>
                  </a:lnTo>
                  <a:lnTo>
                    <a:pt x="1903" y="655"/>
                  </a:lnTo>
                  <a:lnTo>
                    <a:pt x="1901" y="655"/>
                  </a:lnTo>
                  <a:lnTo>
                    <a:pt x="1901" y="655"/>
                  </a:lnTo>
                  <a:lnTo>
                    <a:pt x="1901" y="653"/>
                  </a:lnTo>
                  <a:lnTo>
                    <a:pt x="1901" y="653"/>
                  </a:lnTo>
                  <a:lnTo>
                    <a:pt x="1901" y="653"/>
                  </a:lnTo>
                  <a:lnTo>
                    <a:pt x="1899" y="653"/>
                  </a:lnTo>
                  <a:lnTo>
                    <a:pt x="1899" y="650"/>
                  </a:lnTo>
                  <a:lnTo>
                    <a:pt x="1897" y="650"/>
                  </a:lnTo>
                  <a:lnTo>
                    <a:pt x="1894" y="650"/>
                  </a:lnTo>
                  <a:lnTo>
                    <a:pt x="1894" y="650"/>
                  </a:lnTo>
                  <a:lnTo>
                    <a:pt x="1894" y="648"/>
                  </a:lnTo>
                  <a:lnTo>
                    <a:pt x="1894" y="648"/>
                  </a:lnTo>
                  <a:lnTo>
                    <a:pt x="1894" y="648"/>
                  </a:lnTo>
                  <a:lnTo>
                    <a:pt x="1894" y="648"/>
                  </a:lnTo>
                  <a:lnTo>
                    <a:pt x="1894" y="648"/>
                  </a:lnTo>
                  <a:lnTo>
                    <a:pt x="1892" y="646"/>
                  </a:lnTo>
                  <a:lnTo>
                    <a:pt x="1892" y="646"/>
                  </a:lnTo>
                  <a:lnTo>
                    <a:pt x="1892" y="644"/>
                  </a:lnTo>
                  <a:lnTo>
                    <a:pt x="1892" y="644"/>
                  </a:lnTo>
                  <a:lnTo>
                    <a:pt x="1892" y="644"/>
                  </a:lnTo>
                  <a:lnTo>
                    <a:pt x="1892" y="641"/>
                  </a:lnTo>
                  <a:lnTo>
                    <a:pt x="1892" y="641"/>
                  </a:lnTo>
                  <a:lnTo>
                    <a:pt x="1890" y="641"/>
                  </a:lnTo>
                  <a:lnTo>
                    <a:pt x="1890" y="641"/>
                  </a:lnTo>
                  <a:lnTo>
                    <a:pt x="1885" y="639"/>
                  </a:lnTo>
                  <a:lnTo>
                    <a:pt x="1885" y="639"/>
                  </a:lnTo>
                  <a:lnTo>
                    <a:pt x="1883" y="639"/>
                  </a:lnTo>
                  <a:lnTo>
                    <a:pt x="1883" y="639"/>
                  </a:lnTo>
                  <a:lnTo>
                    <a:pt x="1883" y="637"/>
                  </a:lnTo>
                  <a:lnTo>
                    <a:pt x="1883" y="637"/>
                  </a:lnTo>
                  <a:lnTo>
                    <a:pt x="1883" y="637"/>
                  </a:lnTo>
                  <a:lnTo>
                    <a:pt x="1883" y="637"/>
                  </a:lnTo>
                  <a:lnTo>
                    <a:pt x="1883" y="637"/>
                  </a:lnTo>
                  <a:lnTo>
                    <a:pt x="1883" y="637"/>
                  </a:lnTo>
                  <a:lnTo>
                    <a:pt x="1883" y="637"/>
                  </a:lnTo>
                  <a:lnTo>
                    <a:pt x="1881" y="635"/>
                  </a:lnTo>
                  <a:lnTo>
                    <a:pt x="1881" y="635"/>
                  </a:lnTo>
                  <a:lnTo>
                    <a:pt x="1881" y="635"/>
                  </a:lnTo>
                  <a:lnTo>
                    <a:pt x="1881" y="635"/>
                  </a:lnTo>
                  <a:lnTo>
                    <a:pt x="1881" y="635"/>
                  </a:lnTo>
                  <a:lnTo>
                    <a:pt x="1881" y="635"/>
                  </a:lnTo>
                  <a:lnTo>
                    <a:pt x="1881" y="635"/>
                  </a:lnTo>
                  <a:lnTo>
                    <a:pt x="1881" y="632"/>
                  </a:lnTo>
                  <a:lnTo>
                    <a:pt x="1881" y="632"/>
                  </a:lnTo>
                  <a:lnTo>
                    <a:pt x="1881" y="632"/>
                  </a:lnTo>
                  <a:lnTo>
                    <a:pt x="1879" y="632"/>
                  </a:lnTo>
                  <a:lnTo>
                    <a:pt x="1879" y="632"/>
                  </a:lnTo>
                  <a:lnTo>
                    <a:pt x="1879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30"/>
                  </a:lnTo>
                  <a:lnTo>
                    <a:pt x="1876" y="628"/>
                  </a:lnTo>
                  <a:lnTo>
                    <a:pt x="1876" y="628"/>
                  </a:lnTo>
                  <a:lnTo>
                    <a:pt x="1874" y="628"/>
                  </a:lnTo>
                  <a:lnTo>
                    <a:pt x="1874" y="628"/>
                  </a:lnTo>
                  <a:lnTo>
                    <a:pt x="1872" y="626"/>
                  </a:lnTo>
                  <a:lnTo>
                    <a:pt x="1870" y="626"/>
                  </a:lnTo>
                  <a:lnTo>
                    <a:pt x="1867" y="623"/>
                  </a:lnTo>
                  <a:lnTo>
                    <a:pt x="1867" y="623"/>
                  </a:lnTo>
                  <a:lnTo>
                    <a:pt x="1865" y="623"/>
                  </a:lnTo>
                  <a:lnTo>
                    <a:pt x="1865" y="621"/>
                  </a:lnTo>
                  <a:lnTo>
                    <a:pt x="1865" y="621"/>
                  </a:lnTo>
                  <a:lnTo>
                    <a:pt x="1863" y="621"/>
                  </a:lnTo>
                  <a:lnTo>
                    <a:pt x="1863" y="621"/>
                  </a:lnTo>
                  <a:lnTo>
                    <a:pt x="1863" y="619"/>
                  </a:lnTo>
                  <a:lnTo>
                    <a:pt x="1863" y="619"/>
                  </a:lnTo>
                  <a:lnTo>
                    <a:pt x="1861" y="619"/>
                  </a:lnTo>
                  <a:lnTo>
                    <a:pt x="1861" y="619"/>
                  </a:lnTo>
                  <a:lnTo>
                    <a:pt x="1861" y="619"/>
                  </a:lnTo>
                  <a:lnTo>
                    <a:pt x="1861" y="619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61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7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8" y="614"/>
                  </a:lnTo>
                  <a:lnTo>
                    <a:pt x="1856" y="614"/>
                  </a:lnTo>
                  <a:lnTo>
                    <a:pt x="1856" y="614"/>
                  </a:lnTo>
                  <a:lnTo>
                    <a:pt x="1856" y="612"/>
                  </a:lnTo>
                  <a:lnTo>
                    <a:pt x="1856" y="612"/>
                  </a:lnTo>
                  <a:lnTo>
                    <a:pt x="1856" y="612"/>
                  </a:lnTo>
                  <a:lnTo>
                    <a:pt x="1854" y="612"/>
                  </a:lnTo>
                  <a:lnTo>
                    <a:pt x="1854" y="610"/>
                  </a:lnTo>
                  <a:lnTo>
                    <a:pt x="1854" y="610"/>
                  </a:lnTo>
                  <a:lnTo>
                    <a:pt x="1852" y="610"/>
                  </a:lnTo>
                  <a:lnTo>
                    <a:pt x="1852" y="610"/>
                  </a:lnTo>
                  <a:lnTo>
                    <a:pt x="1852" y="610"/>
                  </a:lnTo>
                  <a:lnTo>
                    <a:pt x="1852" y="610"/>
                  </a:lnTo>
                  <a:lnTo>
                    <a:pt x="1852" y="608"/>
                  </a:lnTo>
                  <a:lnTo>
                    <a:pt x="1852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9" y="608"/>
                  </a:lnTo>
                  <a:lnTo>
                    <a:pt x="1847" y="605"/>
                  </a:lnTo>
                  <a:lnTo>
                    <a:pt x="1847" y="605"/>
                  </a:lnTo>
                  <a:lnTo>
                    <a:pt x="1840" y="601"/>
                  </a:lnTo>
                  <a:lnTo>
                    <a:pt x="1840" y="601"/>
                  </a:lnTo>
                  <a:lnTo>
                    <a:pt x="1840" y="601"/>
                  </a:lnTo>
                  <a:lnTo>
                    <a:pt x="1840" y="599"/>
                  </a:lnTo>
                  <a:lnTo>
                    <a:pt x="1840" y="599"/>
                  </a:lnTo>
                  <a:lnTo>
                    <a:pt x="1840" y="599"/>
                  </a:lnTo>
                  <a:lnTo>
                    <a:pt x="1840" y="599"/>
                  </a:lnTo>
                  <a:lnTo>
                    <a:pt x="1840" y="599"/>
                  </a:lnTo>
                  <a:lnTo>
                    <a:pt x="1840" y="599"/>
                  </a:lnTo>
                  <a:lnTo>
                    <a:pt x="1840" y="596"/>
                  </a:lnTo>
                  <a:lnTo>
                    <a:pt x="1838" y="596"/>
                  </a:lnTo>
                  <a:lnTo>
                    <a:pt x="1838" y="596"/>
                  </a:lnTo>
                  <a:lnTo>
                    <a:pt x="1836" y="596"/>
                  </a:lnTo>
                  <a:lnTo>
                    <a:pt x="1834" y="596"/>
                  </a:lnTo>
                  <a:lnTo>
                    <a:pt x="1834" y="596"/>
                  </a:lnTo>
                  <a:lnTo>
                    <a:pt x="1834" y="596"/>
                  </a:lnTo>
                  <a:lnTo>
                    <a:pt x="1834" y="596"/>
                  </a:lnTo>
                  <a:lnTo>
                    <a:pt x="1834" y="594"/>
                  </a:lnTo>
                  <a:lnTo>
                    <a:pt x="1834" y="594"/>
                  </a:lnTo>
                  <a:lnTo>
                    <a:pt x="1834" y="594"/>
                  </a:lnTo>
                  <a:lnTo>
                    <a:pt x="1834" y="594"/>
                  </a:lnTo>
                  <a:lnTo>
                    <a:pt x="1834" y="594"/>
                  </a:lnTo>
                  <a:lnTo>
                    <a:pt x="1831" y="594"/>
                  </a:lnTo>
                  <a:lnTo>
                    <a:pt x="1831" y="592"/>
                  </a:lnTo>
                  <a:lnTo>
                    <a:pt x="1831" y="592"/>
                  </a:lnTo>
                  <a:lnTo>
                    <a:pt x="1831" y="592"/>
                  </a:lnTo>
                  <a:lnTo>
                    <a:pt x="1829" y="590"/>
                  </a:lnTo>
                  <a:lnTo>
                    <a:pt x="1829" y="590"/>
                  </a:lnTo>
                  <a:lnTo>
                    <a:pt x="1829" y="590"/>
                  </a:lnTo>
                  <a:lnTo>
                    <a:pt x="1829" y="590"/>
                  </a:lnTo>
                  <a:lnTo>
                    <a:pt x="1829" y="590"/>
                  </a:lnTo>
                  <a:lnTo>
                    <a:pt x="1827" y="590"/>
                  </a:lnTo>
                  <a:lnTo>
                    <a:pt x="1827" y="590"/>
                  </a:lnTo>
                  <a:lnTo>
                    <a:pt x="1827" y="590"/>
                  </a:lnTo>
                  <a:lnTo>
                    <a:pt x="1827" y="590"/>
                  </a:lnTo>
                  <a:lnTo>
                    <a:pt x="1827" y="587"/>
                  </a:lnTo>
                  <a:lnTo>
                    <a:pt x="1825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2" y="587"/>
                  </a:lnTo>
                  <a:lnTo>
                    <a:pt x="1820" y="587"/>
                  </a:lnTo>
                  <a:lnTo>
                    <a:pt x="1820" y="585"/>
                  </a:lnTo>
                  <a:lnTo>
                    <a:pt x="1820" y="585"/>
                  </a:lnTo>
                  <a:lnTo>
                    <a:pt x="1820" y="585"/>
                  </a:lnTo>
                  <a:lnTo>
                    <a:pt x="1820" y="585"/>
                  </a:lnTo>
                  <a:lnTo>
                    <a:pt x="1820" y="585"/>
                  </a:lnTo>
                  <a:lnTo>
                    <a:pt x="1820" y="585"/>
                  </a:lnTo>
                  <a:lnTo>
                    <a:pt x="1820" y="585"/>
                  </a:lnTo>
                  <a:lnTo>
                    <a:pt x="1820" y="583"/>
                  </a:lnTo>
                  <a:lnTo>
                    <a:pt x="1820" y="583"/>
                  </a:lnTo>
                  <a:lnTo>
                    <a:pt x="1820" y="583"/>
                  </a:lnTo>
                  <a:lnTo>
                    <a:pt x="1820" y="583"/>
                  </a:lnTo>
                  <a:lnTo>
                    <a:pt x="1820" y="583"/>
                  </a:lnTo>
                  <a:lnTo>
                    <a:pt x="1820" y="583"/>
                  </a:lnTo>
                  <a:lnTo>
                    <a:pt x="1818" y="583"/>
                  </a:lnTo>
                  <a:lnTo>
                    <a:pt x="1818" y="583"/>
                  </a:lnTo>
                  <a:lnTo>
                    <a:pt x="1818" y="583"/>
                  </a:lnTo>
                  <a:lnTo>
                    <a:pt x="1818" y="583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3" y="581"/>
                  </a:lnTo>
                  <a:lnTo>
                    <a:pt x="1811" y="581"/>
                  </a:lnTo>
                  <a:lnTo>
                    <a:pt x="1811" y="581"/>
                  </a:lnTo>
                  <a:lnTo>
                    <a:pt x="1811" y="581"/>
                  </a:lnTo>
                  <a:lnTo>
                    <a:pt x="1809" y="581"/>
                  </a:lnTo>
                  <a:lnTo>
                    <a:pt x="1809" y="581"/>
                  </a:lnTo>
                  <a:lnTo>
                    <a:pt x="1809" y="578"/>
                  </a:lnTo>
                  <a:lnTo>
                    <a:pt x="1809" y="578"/>
                  </a:lnTo>
                  <a:lnTo>
                    <a:pt x="1809" y="578"/>
                  </a:lnTo>
                  <a:lnTo>
                    <a:pt x="1811" y="578"/>
                  </a:lnTo>
                  <a:lnTo>
                    <a:pt x="1811" y="578"/>
                  </a:lnTo>
                  <a:lnTo>
                    <a:pt x="1811" y="578"/>
                  </a:lnTo>
                  <a:lnTo>
                    <a:pt x="1809" y="578"/>
                  </a:lnTo>
                  <a:lnTo>
                    <a:pt x="1809" y="578"/>
                  </a:lnTo>
                  <a:lnTo>
                    <a:pt x="1807" y="576"/>
                  </a:lnTo>
                  <a:lnTo>
                    <a:pt x="1807" y="576"/>
                  </a:lnTo>
                  <a:lnTo>
                    <a:pt x="1807" y="576"/>
                  </a:lnTo>
                  <a:lnTo>
                    <a:pt x="1807" y="576"/>
                  </a:lnTo>
                  <a:lnTo>
                    <a:pt x="1804" y="576"/>
                  </a:lnTo>
                  <a:lnTo>
                    <a:pt x="1804" y="576"/>
                  </a:lnTo>
                  <a:lnTo>
                    <a:pt x="1804" y="576"/>
                  </a:lnTo>
                  <a:lnTo>
                    <a:pt x="1802" y="576"/>
                  </a:lnTo>
                  <a:lnTo>
                    <a:pt x="1802" y="576"/>
                  </a:lnTo>
                  <a:lnTo>
                    <a:pt x="1795" y="574"/>
                  </a:lnTo>
                  <a:lnTo>
                    <a:pt x="1793" y="572"/>
                  </a:lnTo>
                  <a:lnTo>
                    <a:pt x="1793" y="572"/>
                  </a:lnTo>
                  <a:lnTo>
                    <a:pt x="1791" y="574"/>
                  </a:lnTo>
                  <a:lnTo>
                    <a:pt x="1791" y="574"/>
                  </a:lnTo>
                  <a:lnTo>
                    <a:pt x="1791" y="574"/>
                  </a:lnTo>
                  <a:lnTo>
                    <a:pt x="1791" y="574"/>
                  </a:lnTo>
                  <a:lnTo>
                    <a:pt x="1793" y="574"/>
                  </a:lnTo>
                  <a:lnTo>
                    <a:pt x="1793" y="574"/>
                  </a:lnTo>
                  <a:lnTo>
                    <a:pt x="1793" y="576"/>
                  </a:lnTo>
                  <a:lnTo>
                    <a:pt x="1791" y="574"/>
                  </a:lnTo>
                  <a:lnTo>
                    <a:pt x="1791" y="574"/>
                  </a:lnTo>
                  <a:lnTo>
                    <a:pt x="1791" y="574"/>
                  </a:lnTo>
                  <a:lnTo>
                    <a:pt x="1789" y="574"/>
                  </a:lnTo>
                  <a:lnTo>
                    <a:pt x="1789" y="574"/>
                  </a:lnTo>
                  <a:lnTo>
                    <a:pt x="1789" y="574"/>
                  </a:lnTo>
                  <a:lnTo>
                    <a:pt x="1789" y="574"/>
                  </a:lnTo>
                  <a:lnTo>
                    <a:pt x="1789" y="574"/>
                  </a:lnTo>
                  <a:lnTo>
                    <a:pt x="1789" y="574"/>
                  </a:lnTo>
                  <a:lnTo>
                    <a:pt x="1786" y="574"/>
                  </a:lnTo>
                  <a:lnTo>
                    <a:pt x="1786" y="574"/>
                  </a:lnTo>
                  <a:lnTo>
                    <a:pt x="1786" y="572"/>
                  </a:lnTo>
                  <a:lnTo>
                    <a:pt x="1786" y="572"/>
                  </a:lnTo>
                  <a:lnTo>
                    <a:pt x="1784" y="572"/>
                  </a:lnTo>
                  <a:lnTo>
                    <a:pt x="1784" y="572"/>
                  </a:lnTo>
                  <a:lnTo>
                    <a:pt x="1782" y="572"/>
                  </a:lnTo>
                  <a:lnTo>
                    <a:pt x="1782" y="572"/>
                  </a:lnTo>
                  <a:lnTo>
                    <a:pt x="1782" y="572"/>
                  </a:lnTo>
                  <a:lnTo>
                    <a:pt x="1780" y="572"/>
                  </a:lnTo>
                  <a:lnTo>
                    <a:pt x="1780" y="572"/>
                  </a:lnTo>
                  <a:lnTo>
                    <a:pt x="1780" y="572"/>
                  </a:lnTo>
                  <a:lnTo>
                    <a:pt x="1780" y="569"/>
                  </a:lnTo>
                  <a:lnTo>
                    <a:pt x="1778" y="569"/>
                  </a:lnTo>
                  <a:lnTo>
                    <a:pt x="1778" y="569"/>
                  </a:lnTo>
                  <a:lnTo>
                    <a:pt x="1778" y="569"/>
                  </a:lnTo>
                  <a:lnTo>
                    <a:pt x="1778" y="569"/>
                  </a:lnTo>
                  <a:lnTo>
                    <a:pt x="1775" y="569"/>
                  </a:lnTo>
                  <a:lnTo>
                    <a:pt x="1775" y="569"/>
                  </a:lnTo>
                  <a:lnTo>
                    <a:pt x="1775" y="569"/>
                  </a:lnTo>
                  <a:lnTo>
                    <a:pt x="1775" y="569"/>
                  </a:lnTo>
                  <a:lnTo>
                    <a:pt x="1775" y="569"/>
                  </a:lnTo>
                  <a:lnTo>
                    <a:pt x="1775" y="569"/>
                  </a:lnTo>
                  <a:lnTo>
                    <a:pt x="1773" y="569"/>
                  </a:lnTo>
                  <a:lnTo>
                    <a:pt x="1773" y="569"/>
                  </a:lnTo>
                  <a:lnTo>
                    <a:pt x="1773" y="569"/>
                  </a:lnTo>
                  <a:lnTo>
                    <a:pt x="1773" y="569"/>
                  </a:lnTo>
                  <a:lnTo>
                    <a:pt x="1771" y="567"/>
                  </a:lnTo>
                  <a:lnTo>
                    <a:pt x="1771" y="567"/>
                  </a:lnTo>
                  <a:lnTo>
                    <a:pt x="1771" y="567"/>
                  </a:lnTo>
                  <a:lnTo>
                    <a:pt x="1771" y="567"/>
                  </a:lnTo>
                  <a:lnTo>
                    <a:pt x="1769" y="567"/>
                  </a:lnTo>
                  <a:lnTo>
                    <a:pt x="1766" y="567"/>
                  </a:lnTo>
                  <a:lnTo>
                    <a:pt x="1764" y="567"/>
                  </a:lnTo>
                  <a:lnTo>
                    <a:pt x="1764" y="565"/>
                  </a:lnTo>
                  <a:lnTo>
                    <a:pt x="1764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2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60" y="565"/>
                  </a:lnTo>
                  <a:lnTo>
                    <a:pt x="1757" y="565"/>
                  </a:lnTo>
                  <a:lnTo>
                    <a:pt x="1757" y="565"/>
                  </a:lnTo>
                  <a:lnTo>
                    <a:pt x="1757" y="565"/>
                  </a:lnTo>
                  <a:lnTo>
                    <a:pt x="1757" y="565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5" y="565"/>
                  </a:lnTo>
                  <a:lnTo>
                    <a:pt x="1753" y="565"/>
                  </a:lnTo>
                  <a:lnTo>
                    <a:pt x="1751" y="567"/>
                  </a:lnTo>
                  <a:lnTo>
                    <a:pt x="1744" y="567"/>
                  </a:lnTo>
                  <a:lnTo>
                    <a:pt x="1744" y="567"/>
                  </a:lnTo>
                  <a:lnTo>
                    <a:pt x="1742" y="567"/>
                  </a:lnTo>
                  <a:lnTo>
                    <a:pt x="1742" y="567"/>
                  </a:lnTo>
                  <a:lnTo>
                    <a:pt x="1742" y="567"/>
                  </a:lnTo>
                  <a:lnTo>
                    <a:pt x="1742" y="567"/>
                  </a:lnTo>
                  <a:lnTo>
                    <a:pt x="1739" y="567"/>
                  </a:lnTo>
                  <a:lnTo>
                    <a:pt x="1739" y="567"/>
                  </a:lnTo>
                  <a:lnTo>
                    <a:pt x="1739" y="567"/>
                  </a:lnTo>
                  <a:lnTo>
                    <a:pt x="1737" y="567"/>
                  </a:lnTo>
                  <a:lnTo>
                    <a:pt x="1737" y="567"/>
                  </a:lnTo>
                  <a:lnTo>
                    <a:pt x="1737" y="567"/>
                  </a:lnTo>
                  <a:lnTo>
                    <a:pt x="1737" y="567"/>
                  </a:lnTo>
                  <a:lnTo>
                    <a:pt x="1733" y="567"/>
                  </a:lnTo>
                  <a:lnTo>
                    <a:pt x="1730" y="569"/>
                  </a:lnTo>
                  <a:lnTo>
                    <a:pt x="1728" y="569"/>
                  </a:lnTo>
                  <a:lnTo>
                    <a:pt x="1728" y="569"/>
                  </a:lnTo>
                  <a:lnTo>
                    <a:pt x="1726" y="569"/>
                  </a:lnTo>
                  <a:lnTo>
                    <a:pt x="1726" y="569"/>
                  </a:lnTo>
                  <a:lnTo>
                    <a:pt x="1726" y="569"/>
                  </a:lnTo>
                  <a:lnTo>
                    <a:pt x="1726" y="569"/>
                  </a:lnTo>
                  <a:lnTo>
                    <a:pt x="1726" y="572"/>
                  </a:lnTo>
                  <a:lnTo>
                    <a:pt x="1726" y="572"/>
                  </a:lnTo>
                  <a:lnTo>
                    <a:pt x="1724" y="572"/>
                  </a:lnTo>
                  <a:lnTo>
                    <a:pt x="1724" y="572"/>
                  </a:lnTo>
                  <a:lnTo>
                    <a:pt x="1721" y="572"/>
                  </a:lnTo>
                  <a:lnTo>
                    <a:pt x="1719" y="572"/>
                  </a:lnTo>
                  <a:lnTo>
                    <a:pt x="1717" y="572"/>
                  </a:lnTo>
                  <a:lnTo>
                    <a:pt x="1717" y="572"/>
                  </a:lnTo>
                  <a:lnTo>
                    <a:pt x="1717" y="572"/>
                  </a:lnTo>
                  <a:lnTo>
                    <a:pt x="1719" y="572"/>
                  </a:lnTo>
                  <a:lnTo>
                    <a:pt x="1717" y="574"/>
                  </a:lnTo>
                  <a:lnTo>
                    <a:pt x="1717" y="574"/>
                  </a:lnTo>
                  <a:lnTo>
                    <a:pt x="1717" y="574"/>
                  </a:lnTo>
                  <a:lnTo>
                    <a:pt x="1717" y="576"/>
                  </a:lnTo>
                  <a:lnTo>
                    <a:pt x="1717" y="576"/>
                  </a:lnTo>
                  <a:lnTo>
                    <a:pt x="1715" y="578"/>
                  </a:lnTo>
                  <a:lnTo>
                    <a:pt x="1715" y="578"/>
                  </a:lnTo>
                  <a:lnTo>
                    <a:pt x="1715" y="578"/>
                  </a:lnTo>
                  <a:lnTo>
                    <a:pt x="1715" y="578"/>
                  </a:lnTo>
                  <a:lnTo>
                    <a:pt x="1715" y="578"/>
                  </a:lnTo>
                  <a:lnTo>
                    <a:pt x="1715" y="578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5" y="581"/>
                  </a:lnTo>
                  <a:lnTo>
                    <a:pt x="1712" y="583"/>
                  </a:lnTo>
                  <a:lnTo>
                    <a:pt x="1712" y="583"/>
                  </a:lnTo>
                  <a:lnTo>
                    <a:pt x="1712" y="583"/>
                  </a:lnTo>
                  <a:lnTo>
                    <a:pt x="1712" y="583"/>
                  </a:lnTo>
                  <a:lnTo>
                    <a:pt x="1712" y="583"/>
                  </a:lnTo>
                  <a:lnTo>
                    <a:pt x="1712" y="585"/>
                  </a:lnTo>
                  <a:lnTo>
                    <a:pt x="1712" y="585"/>
                  </a:lnTo>
                  <a:lnTo>
                    <a:pt x="1715" y="585"/>
                  </a:lnTo>
                  <a:lnTo>
                    <a:pt x="1715" y="585"/>
                  </a:lnTo>
                  <a:lnTo>
                    <a:pt x="1715" y="585"/>
                  </a:lnTo>
                  <a:lnTo>
                    <a:pt x="1715" y="585"/>
                  </a:lnTo>
                  <a:lnTo>
                    <a:pt x="1715" y="585"/>
                  </a:lnTo>
                  <a:lnTo>
                    <a:pt x="1715" y="587"/>
                  </a:lnTo>
                  <a:lnTo>
                    <a:pt x="1715" y="587"/>
                  </a:lnTo>
                  <a:lnTo>
                    <a:pt x="1717" y="587"/>
                  </a:lnTo>
                  <a:lnTo>
                    <a:pt x="1717" y="587"/>
                  </a:lnTo>
                  <a:lnTo>
                    <a:pt x="1717" y="587"/>
                  </a:lnTo>
                  <a:lnTo>
                    <a:pt x="1719" y="587"/>
                  </a:lnTo>
                  <a:lnTo>
                    <a:pt x="1719" y="587"/>
                  </a:lnTo>
                  <a:lnTo>
                    <a:pt x="1721" y="585"/>
                  </a:lnTo>
                  <a:lnTo>
                    <a:pt x="1721" y="585"/>
                  </a:lnTo>
                  <a:lnTo>
                    <a:pt x="1721" y="585"/>
                  </a:lnTo>
                  <a:lnTo>
                    <a:pt x="1721" y="585"/>
                  </a:lnTo>
                  <a:lnTo>
                    <a:pt x="1721" y="585"/>
                  </a:lnTo>
                  <a:lnTo>
                    <a:pt x="1724" y="585"/>
                  </a:lnTo>
                  <a:lnTo>
                    <a:pt x="1724" y="587"/>
                  </a:lnTo>
                  <a:lnTo>
                    <a:pt x="1726" y="587"/>
                  </a:lnTo>
                  <a:lnTo>
                    <a:pt x="1726" y="587"/>
                  </a:lnTo>
                  <a:lnTo>
                    <a:pt x="1728" y="587"/>
                  </a:lnTo>
                  <a:lnTo>
                    <a:pt x="1728" y="587"/>
                  </a:lnTo>
                  <a:lnTo>
                    <a:pt x="1728" y="587"/>
                  </a:lnTo>
                  <a:lnTo>
                    <a:pt x="1728" y="590"/>
                  </a:lnTo>
                  <a:lnTo>
                    <a:pt x="1728" y="590"/>
                  </a:lnTo>
                  <a:lnTo>
                    <a:pt x="1728" y="590"/>
                  </a:lnTo>
                  <a:lnTo>
                    <a:pt x="1728" y="590"/>
                  </a:lnTo>
                  <a:lnTo>
                    <a:pt x="1728" y="590"/>
                  </a:lnTo>
                  <a:lnTo>
                    <a:pt x="1728" y="590"/>
                  </a:lnTo>
                  <a:lnTo>
                    <a:pt x="1728" y="590"/>
                  </a:lnTo>
                  <a:lnTo>
                    <a:pt x="1728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2"/>
                  </a:lnTo>
                  <a:lnTo>
                    <a:pt x="1730" y="594"/>
                  </a:lnTo>
                  <a:lnTo>
                    <a:pt x="1733" y="594"/>
                  </a:lnTo>
                  <a:lnTo>
                    <a:pt x="1733" y="594"/>
                  </a:lnTo>
                  <a:lnTo>
                    <a:pt x="1735" y="594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5" y="596"/>
                  </a:lnTo>
                  <a:lnTo>
                    <a:pt x="1737" y="599"/>
                  </a:lnTo>
                  <a:lnTo>
                    <a:pt x="1735" y="599"/>
                  </a:lnTo>
                  <a:lnTo>
                    <a:pt x="1737" y="599"/>
                  </a:lnTo>
                  <a:lnTo>
                    <a:pt x="1737" y="599"/>
                  </a:lnTo>
                  <a:lnTo>
                    <a:pt x="1735" y="599"/>
                  </a:lnTo>
                  <a:lnTo>
                    <a:pt x="1735" y="599"/>
                  </a:lnTo>
                  <a:lnTo>
                    <a:pt x="1735" y="599"/>
                  </a:lnTo>
                  <a:lnTo>
                    <a:pt x="1735" y="599"/>
                  </a:lnTo>
                  <a:lnTo>
                    <a:pt x="1735" y="599"/>
                  </a:lnTo>
                  <a:lnTo>
                    <a:pt x="1737" y="599"/>
                  </a:lnTo>
                  <a:lnTo>
                    <a:pt x="1737" y="601"/>
                  </a:lnTo>
                  <a:lnTo>
                    <a:pt x="1737" y="601"/>
                  </a:lnTo>
                  <a:lnTo>
                    <a:pt x="1737" y="601"/>
                  </a:lnTo>
                  <a:lnTo>
                    <a:pt x="1737" y="601"/>
                  </a:lnTo>
                  <a:lnTo>
                    <a:pt x="1737" y="601"/>
                  </a:lnTo>
                  <a:lnTo>
                    <a:pt x="1737" y="601"/>
                  </a:lnTo>
                  <a:lnTo>
                    <a:pt x="1737" y="603"/>
                  </a:lnTo>
                  <a:lnTo>
                    <a:pt x="1737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3"/>
                  </a:lnTo>
                  <a:lnTo>
                    <a:pt x="1735" y="605"/>
                  </a:lnTo>
                  <a:lnTo>
                    <a:pt x="1733" y="605"/>
                  </a:lnTo>
                  <a:lnTo>
                    <a:pt x="1733" y="608"/>
                  </a:lnTo>
                  <a:lnTo>
                    <a:pt x="1733" y="608"/>
                  </a:lnTo>
                  <a:lnTo>
                    <a:pt x="1733" y="608"/>
                  </a:lnTo>
                  <a:lnTo>
                    <a:pt x="1733" y="608"/>
                  </a:lnTo>
                  <a:lnTo>
                    <a:pt x="1730" y="608"/>
                  </a:lnTo>
                  <a:lnTo>
                    <a:pt x="1730" y="608"/>
                  </a:lnTo>
                  <a:lnTo>
                    <a:pt x="1730" y="608"/>
                  </a:lnTo>
                  <a:lnTo>
                    <a:pt x="1730" y="610"/>
                  </a:lnTo>
                  <a:lnTo>
                    <a:pt x="1733" y="610"/>
                  </a:lnTo>
                  <a:lnTo>
                    <a:pt x="1733" y="610"/>
                  </a:lnTo>
                  <a:lnTo>
                    <a:pt x="1733" y="610"/>
                  </a:lnTo>
                  <a:lnTo>
                    <a:pt x="1733" y="610"/>
                  </a:lnTo>
                  <a:lnTo>
                    <a:pt x="1733" y="612"/>
                  </a:lnTo>
                  <a:lnTo>
                    <a:pt x="1733" y="612"/>
                  </a:lnTo>
                  <a:lnTo>
                    <a:pt x="1733" y="612"/>
                  </a:lnTo>
                  <a:lnTo>
                    <a:pt x="1733" y="612"/>
                  </a:lnTo>
                  <a:lnTo>
                    <a:pt x="1733" y="612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4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7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3" y="619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1"/>
                  </a:lnTo>
                  <a:lnTo>
                    <a:pt x="1735" y="623"/>
                  </a:lnTo>
                  <a:lnTo>
                    <a:pt x="1733" y="623"/>
                  </a:lnTo>
                  <a:lnTo>
                    <a:pt x="1733" y="623"/>
                  </a:lnTo>
                  <a:lnTo>
                    <a:pt x="1733" y="623"/>
                  </a:lnTo>
                  <a:lnTo>
                    <a:pt x="1733" y="626"/>
                  </a:lnTo>
                  <a:lnTo>
                    <a:pt x="1733" y="626"/>
                  </a:lnTo>
                  <a:lnTo>
                    <a:pt x="1733" y="626"/>
                  </a:lnTo>
                  <a:lnTo>
                    <a:pt x="1733" y="626"/>
                  </a:lnTo>
                  <a:lnTo>
                    <a:pt x="1733" y="628"/>
                  </a:lnTo>
                  <a:lnTo>
                    <a:pt x="1735" y="628"/>
                  </a:lnTo>
                  <a:lnTo>
                    <a:pt x="1735" y="628"/>
                  </a:lnTo>
                  <a:lnTo>
                    <a:pt x="1735" y="628"/>
                  </a:lnTo>
                  <a:lnTo>
                    <a:pt x="1735" y="630"/>
                  </a:lnTo>
                  <a:lnTo>
                    <a:pt x="1735" y="630"/>
                  </a:lnTo>
                  <a:lnTo>
                    <a:pt x="1735" y="630"/>
                  </a:lnTo>
                  <a:lnTo>
                    <a:pt x="1735" y="630"/>
                  </a:lnTo>
                  <a:lnTo>
                    <a:pt x="1735" y="630"/>
                  </a:lnTo>
                  <a:lnTo>
                    <a:pt x="1735" y="630"/>
                  </a:lnTo>
                  <a:lnTo>
                    <a:pt x="1735" y="630"/>
                  </a:lnTo>
                  <a:lnTo>
                    <a:pt x="1735" y="632"/>
                  </a:lnTo>
                  <a:lnTo>
                    <a:pt x="1735" y="632"/>
                  </a:lnTo>
                  <a:lnTo>
                    <a:pt x="1735" y="632"/>
                  </a:lnTo>
                  <a:lnTo>
                    <a:pt x="1735" y="632"/>
                  </a:lnTo>
                  <a:lnTo>
                    <a:pt x="1735" y="632"/>
                  </a:lnTo>
                  <a:lnTo>
                    <a:pt x="1735" y="632"/>
                  </a:lnTo>
                  <a:lnTo>
                    <a:pt x="1735" y="632"/>
                  </a:lnTo>
                  <a:lnTo>
                    <a:pt x="1733" y="632"/>
                  </a:lnTo>
                  <a:lnTo>
                    <a:pt x="1733" y="632"/>
                  </a:lnTo>
                  <a:lnTo>
                    <a:pt x="1733" y="632"/>
                  </a:lnTo>
                  <a:lnTo>
                    <a:pt x="1735" y="632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5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5" y="637"/>
                  </a:lnTo>
                  <a:lnTo>
                    <a:pt x="1737" y="637"/>
                  </a:lnTo>
                  <a:lnTo>
                    <a:pt x="1737" y="637"/>
                  </a:lnTo>
                  <a:lnTo>
                    <a:pt x="1737" y="639"/>
                  </a:lnTo>
                  <a:lnTo>
                    <a:pt x="1737" y="639"/>
                  </a:lnTo>
                  <a:lnTo>
                    <a:pt x="1737" y="637"/>
                  </a:lnTo>
                  <a:lnTo>
                    <a:pt x="1737" y="637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39"/>
                  </a:lnTo>
                  <a:lnTo>
                    <a:pt x="1739" y="641"/>
                  </a:lnTo>
                  <a:lnTo>
                    <a:pt x="1739" y="641"/>
                  </a:lnTo>
                  <a:lnTo>
                    <a:pt x="1742" y="641"/>
                  </a:lnTo>
                  <a:lnTo>
                    <a:pt x="1742" y="641"/>
                  </a:lnTo>
                  <a:lnTo>
                    <a:pt x="1742" y="641"/>
                  </a:lnTo>
                  <a:lnTo>
                    <a:pt x="1742" y="644"/>
                  </a:lnTo>
                  <a:lnTo>
                    <a:pt x="1742" y="644"/>
                  </a:lnTo>
                  <a:lnTo>
                    <a:pt x="1742" y="644"/>
                  </a:lnTo>
                  <a:lnTo>
                    <a:pt x="1742" y="644"/>
                  </a:lnTo>
                  <a:lnTo>
                    <a:pt x="1742" y="644"/>
                  </a:lnTo>
                  <a:lnTo>
                    <a:pt x="1742" y="646"/>
                  </a:lnTo>
                  <a:lnTo>
                    <a:pt x="1742" y="646"/>
                  </a:lnTo>
                  <a:lnTo>
                    <a:pt x="1742" y="646"/>
                  </a:lnTo>
                  <a:lnTo>
                    <a:pt x="1742" y="646"/>
                  </a:lnTo>
                  <a:lnTo>
                    <a:pt x="1739" y="646"/>
                  </a:lnTo>
                  <a:lnTo>
                    <a:pt x="1737" y="646"/>
                  </a:lnTo>
                  <a:lnTo>
                    <a:pt x="1737" y="646"/>
                  </a:lnTo>
                  <a:lnTo>
                    <a:pt x="1737" y="646"/>
                  </a:lnTo>
                  <a:lnTo>
                    <a:pt x="1737" y="646"/>
                  </a:lnTo>
                  <a:lnTo>
                    <a:pt x="1737" y="646"/>
                  </a:lnTo>
                  <a:lnTo>
                    <a:pt x="1737" y="646"/>
                  </a:lnTo>
                  <a:lnTo>
                    <a:pt x="1737" y="646"/>
                  </a:lnTo>
                  <a:lnTo>
                    <a:pt x="1735" y="646"/>
                  </a:lnTo>
                  <a:lnTo>
                    <a:pt x="1735" y="646"/>
                  </a:lnTo>
                  <a:lnTo>
                    <a:pt x="1733" y="648"/>
                  </a:lnTo>
                  <a:lnTo>
                    <a:pt x="1733" y="648"/>
                  </a:lnTo>
                  <a:lnTo>
                    <a:pt x="1733" y="646"/>
                  </a:lnTo>
                  <a:lnTo>
                    <a:pt x="1733" y="648"/>
                  </a:lnTo>
                  <a:lnTo>
                    <a:pt x="1730" y="648"/>
                  </a:lnTo>
                  <a:lnTo>
                    <a:pt x="1730" y="648"/>
                  </a:lnTo>
                  <a:lnTo>
                    <a:pt x="1730" y="648"/>
                  </a:lnTo>
                  <a:lnTo>
                    <a:pt x="1730" y="648"/>
                  </a:lnTo>
                  <a:lnTo>
                    <a:pt x="1730" y="648"/>
                  </a:lnTo>
                  <a:lnTo>
                    <a:pt x="1730" y="648"/>
                  </a:lnTo>
                  <a:lnTo>
                    <a:pt x="1730" y="648"/>
                  </a:lnTo>
                  <a:lnTo>
                    <a:pt x="1730" y="650"/>
                  </a:lnTo>
                  <a:lnTo>
                    <a:pt x="1730" y="650"/>
                  </a:lnTo>
                  <a:lnTo>
                    <a:pt x="1730" y="650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3"/>
                  </a:lnTo>
                  <a:lnTo>
                    <a:pt x="1728" y="653"/>
                  </a:lnTo>
                  <a:lnTo>
                    <a:pt x="1728" y="653"/>
                  </a:lnTo>
                  <a:lnTo>
                    <a:pt x="1728" y="653"/>
                  </a:lnTo>
                  <a:lnTo>
                    <a:pt x="1728" y="653"/>
                  </a:lnTo>
                  <a:lnTo>
                    <a:pt x="1728" y="653"/>
                  </a:lnTo>
                  <a:lnTo>
                    <a:pt x="1726" y="655"/>
                  </a:lnTo>
                  <a:lnTo>
                    <a:pt x="1726" y="655"/>
                  </a:lnTo>
                  <a:lnTo>
                    <a:pt x="1726" y="655"/>
                  </a:lnTo>
                  <a:lnTo>
                    <a:pt x="1726" y="655"/>
                  </a:lnTo>
                  <a:lnTo>
                    <a:pt x="1726" y="655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4" y="657"/>
                  </a:lnTo>
                  <a:lnTo>
                    <a:pt x="1721" y="657"/>
                  </a:lnTo>
                  <a:lnTo>
                    <a:pt x="1721" y="657"/>
                  </a:lnTo>
                  <a:lnTo>
                    <a:pt x="1721" y="657"/>
                  </a:lnTo>
                  <a:lnTo>
                    <a:pt x="1715" y="655"/>
                  </a:lnTo>
                  <a:lnTo>
                    <a:pt x="1710" y="655"/>
                  </a:lnTo>
                  <a:lnTo>
                    <a:pt x="1708" y="653"/>
                  </a:lnTo>
                  <a:lnTo>
                    <a:pt x="1699" y="650"/>
                  </a:lnTo>
                  <a:lnTo>
                    <a:pt x="1699" y="650"/>
                  </a:lnTo>
                  <a:lnTo>
                    <a:pt x="1697" y="648"/>
                  </a:lnTo>
                  <a:lnTo>
                    <a:pt x="1694" y="648"/>
                  </a:lnTo>
                  <a:lnTo>
                    <a:pt x="1694" y="648"/>
                  </a:lnTo>
                  <a:lnTo>
                    <a:pt x="1688" y="646"/>
                  </a:lnTo>
                  <a:lnTo>
                    <a:pt x="1685" y="646"/>
                  </a:lnTo>
                  <a:lnTo>
                    <a:pt x="1685" y="646"/>
                  </a:lnTo>
                  <a:lnTo>
                    <a:pt x="1683" y="646"/>
                  </a:lnTo>
                  <a:lnTo>
                    <a:pt x="1681" y="648"/>
                  </a:lnTo>
                  <a:lnTo>
                    <a:pt x="1679" y="648"/>
                  </a:lnTo>
                  <a:lnTo>
                    <a:pt x="1679" y="648"/>
                  </a:lnTo>
                  <a:lnTo>
                    <a:pt x="1676" y="648"/>
                  </a:lnTo>
                  <a:lnTo>
                    <a:pt x="1676" y="648"/>
                  </a:lnTo>
                  <a:lnTo>
                    <a:pt x="1674" y="648"/>
                  </a:lnTo>
                  <a:lnTo>
                    <a:pt x="1674" y="648"/>
                  </a:lnTo>
                  <a:lnTo>
                    <a:pt x="1674" y="648"/>
                  </a:lnTo>
                  <a:lnTo>
                    <a:pt x="1672" y="648"/>
                  </a:lnTo>
                  <a:lnTo>
                    <a:pt x="1670" y="646"/>
                  </a:lnTo>
                  <a:lnTo>
                    <a:pt x="1665" y="644"/>
                  </a:lnTo>
                  <a:lnTo>
                    <a:pt x="1663" y="644"/>
                  </a:lnTo>
                  <a:lnTo>
                    <a:pt x="1663" y="644"/>
                  </a:lnTo>
                  <a:lnTo>
                    <a:pt x="1663" y="644"/>
                  </a:lnTo>
                  <a:lnTo>
                    <a:pt x="1663" y="644"/>
                  </a:lnTo>
                  <a:lnTo>
                    <a:pt x="1656" y="641"/>
                  </a:lnTo>
                  <a:lnTo>
                    <a:pt x="1654" y="639"/>
                  </a:lnTo>
                  <a:lnTo>
                    <a:pt x="1652" y="641"/>
                  </a:lnTo>
                  <a:lnTo>
                    <a:pt x="1649" y="641"/>
                  </a:lnTo>
                  <a:lnTo>
                    <a:pt x="1647" y="639"/>
                  </a:lnTo>
                  <a:lnTo>
                    <a:pt x="1647" y="639"/>
                  </a:lnTo>
                  <a:lnTo>
                    <a:pt x="1647" y="639"/>
                  </a:lnTo>
                  <a:lnTo>
                    <a:pt x="1645" y="641"/>
                  </a:lnTo>
                  <a:lnTo>
                    <a:pt x="1645" y="641"/>
                  </a:lnTo>
                  <a:lnTo>
                    <a:pt x="1645" y="641"/>
                  </a:lnTo>
                  <a:lnTo>
                    <a:pt x="1643" y="641"/>
                  </a:lnTo>
                  <a:lnTo>
                    <a:pt x="1643" y="641"/>
                  </a:lnTo>
                  <a:lnTo>
                    <a:pt x="1643" y="644"/>
                  </a:lnTo>
                  <a:lnTo>
                    <a:pt x="1643" y="644"/>
                  </a:lnTo>
                  <a:lnTo>
                    <a:pt x="1643" y="644"/>
                  </a:lnTo>
                  <a:lnTo>
                    <a:pt x="1640" y="644"/>
                  </a:lnTo>
                  <a:lnTo>
                    <a:pt x="1640" y="644"/>
                  </a:lnTo>
                  <a:lnTo>
                    <a:pt x="1638" y="646"/>
                  </a:lnTo>
                  <a:lnTo>
                    <a:pt x="1638" y="646"/>
                  </a:lnTo>
                  <a:lnTo>
                    <a:pt x="1638" y="646"/>
                  </a:lnTo>
                  <a:lnTo>
                    <a:pt x="1636" y="646"/>
                  </a:lnTo>
                  <a:lnTo>
                    <a:pt x="1636" y="648"/>
                  </a:lnTo>
                  <a:lnTo>
                    <a:pt x="1636" y="648"/>
                  </a:lnTo>
                  <a:lnTo>
                    <a:pt x="1634" y="650"/>
                  </a:lnTo>
                  <a:lnTo>
                    <a:pt x="1634" y="650"/>
                  </a:lnTo>
                  <a:lnTo>
                    <a:pt x="1634" y="650"/>
                  </a:lnTo>
                  <a:lnTo>
                    <a:pt x="1634" y="653"/>
                  </a:lnTo>
                  <a:lnTo>
                    <a:pt x="1634" y="653"/>
                  </a:lnTo>
                  <a:lnTo>
                    <a:pt x="1634" y="655"/>
                  </a:lnTo>
                  <a:lnTo>
                    <a:pt x="1634" y="655"/>
                  </a:lnTo>
                  <a:lnTo>
                    <a:pt x="1634" y="655"/>
                  </a:lnTo>
                  <a:lnTo>
                    <a:pt x="1634" y="655"/>
                  </a:lnTo>
                  <a:lnTo>
                    <a:pt x="1634" y="655"/>
                  </a:lnTo>
                  <a:lnTo>
                    <a:pt x="1634" y="655"/>
                  </a:lnTo>
                  <a:lnTo>
                    <a:pt x="1634" y="655"/>
                  </a:lnTo>
                  <a:lnTo>
                    <a:pt x="1634" y="657"/>
                  </a:lnTo>
                  <a:lnTo>
                    <a:pt x="1631" y="657"/>
                  </a:lnTo>
                  <a:lnTo>
                    <a:pt x="1631" y="657"/>
                  </a:lnTo>
                  <a:lnTo>
                    <a:pt x="1629" y="657"/>
                  </a:lnTo>
                  <a:lnTo>
                    <a:pt x="1629" y="657"/>
                  </a:lnTo>
                  <a:lnTo>
                    <a:pt x="1629" y="657"/>
                  </a:lnTo>
                  <a:lnTo>
                    <a:pt x="1627" y="657"/>
                  </a:lnTo>
                  <a:lnTo>
                    <a:pt x="1625" y="657"/>
                  </a:lnTo>
                  <a:lnTo>
                    <a:pt x="1625" y="657"/>
                  </a:lnTo>
                  <a:lnTo>
                    <a:pt x="1618" y="659"/>
                  </a:lnTo>
                  <a:lnTo>
                    <a:pt x="1611" y="659"/>
                  </a:lnTo>
                  <a:lnTo>
                    <a:pt x="1611" y="659"/>
                  </a:lnTo>
                  <a:lnTo>
                    <a:pt x="1609" y="662"/>
                  </a:lnTo>
                  <a:lnTo>
                    <a:pt x="1609" y="662"/>
                  </a:lnTo>
                  <a:lnTo>
                    <a:pt x="1609" y="662"/>
                  </a:lnTo>
                  <a:lnTo>
                    <a:pt x="1609" y="662"/>
                  </a:lnTo>
                  <a:lnTo>
                    <a:pt x="1607" y="662"/>
                  </a:lnTo>
                  <a:lnTo>
                    <a:pt x="1607" y="662"/>
                  </a:lnTo>
                  <a:lnTo>
                    <a:pt x="1607" y="662"/>
                  </a:lnTo>
                  <a:lnTo>
                    <a:pt x="1607" y="662"/>
                  </a:lnTo>
                  <a:lnTo>
                    <a:pt x="1607" y="662"/>
                  </a:lnTo>
                  <a:lnTo>
                    <a:pt x="1607" y="662"/>
                  </a:lnTo>
                  <a:lnTo>
                    <a:pt x="1605" y="662"/>
                  </a:lnTo>
                  <a:lnTo>
                    <a:pt x="1602" y="664"/>
                  </a:lnTo>
                  <a:lnTo>
                    <a:pt x="1600" y="666"/>
                  </a:lnTo>
                  <a:lnTo>
                    <a:pt x="1598" y="666"/>
                  </a:lnTo>
                  <a:lnTo>
                    <a:pt x="1598" y="666"/>
                  </a:lnTo>
                  <a:lnTo>
                    <a:pt x="1598" y="666"/>
                  </a:lnTo>
                  <a:lnTo>
                    <a:pt x="1596" y="666"/>
                  </a:lnTo>
                  <a:lnTo>
                    <a:pt x="1593" y="664"/>
                  </a:lnTo>
                  <a:lnTo>
                    <a:pt x="1593" y="664"/>
                  </a:lnTo>
                  <a:lnTo>
                    <a:pt x="1591" y="664"/>
                  </a:lnTo>
                  <a:lnTo>
                    <a:pt x="1591" y="664"/>
                  </a:lnTo>
                  <a:lnTo>
                    <a:pt x="1591" y="664"/>
                  </a:lnTo>
                  <a:lnTo>
                    <a:pt x="1591" y="664"/>
                  </a:lnTo>
                  <a:lnTo>
                    <a:pt x="1591" y="664"/>
                  </a:lnTo>
                  <a:lnTo>
                    <a:pt x="1589" y="664"/>
                  </a:lnTo>
                  <a:lnTo>
                    <a:pt x="1589" y="666"/>
                  </a:lnTo>
                  <a:lnTo>
                    <a:pt x="1589" y="666"/>
                  </a:lnTo>
                  <a:lnTo>
                    <a:pt x="1589" y="666"/>
                  </a:lnTo>
                  <a:lnTo>
                    <a:pt x="1582" y="664"/>
                  </a:lnTo>
                  <a:lnTo>
                    <a:pt x="1580" y="664"/>
                  </a:lnTo>
                  <a:lnTo>
                    <a:pt x="1580" y="664"/>
                  </a:lnTo>
                  <a:lnTo>
                    <a:pt x="1580" y="664"/>
                  </a:lnTo>
                  <a:lnTo>
                    <a:pt x="1578" y="664"/>
                  </a:lnTo>
                  <a:lnTo>
                    <a:pt x="1575" y="664"/>
                  </a:lnTo>
                  <a:lnTo>
                    <a:pt x="1573" y="664"/>
                  </a:lnTo>
                  <a:lnTo>
                    <a:pt x="1573" y="664"/>
                  </a:lnTo>
                  <a:lnTo>
                    <a:pt x="1573" y="662"/>
                  </a:lnTo>
                  <a:lnTo>
                    <a:pt x="1573" y="662"/>
                  </a:lnTo>
                  <a:lnTo>
                    <a:pt x="1573" y="662"/>
                  </a:lnTo>
                  <a:lnTo>
                    <a:pt x="1573" y="662"/>
                  </a:lnTo>
                  <a:lnTo>
                    <a:pt x="1573" y="662"/>
                  </a:lnTo>
                  <a:lnTo>
                    <a:pt x="1571" y="662"/>
                  </a:lnTo>
                  <a:lnTo>
                    <a:pt x="1571" y="662"/>
                  </a:lnTo>
                  <a:lnTo>
                    <a:pt x="1571" y="662"/>
                  </a:lnTo>
                  <a:lnTo>
                    <a:pt x="1569" y="662"/>
                  </a:lnTo>
                  <a:lnTo>
                    <a:pt x="1566" y="662"/>
                  </a:lnTo>
                  <a:lnTo>
                    <a:pt x="1564" y="662"/>
                  </a:lnTo>
                  <a:lnTo>
                    <a:pt x="1564" y="662"/>
                  </a:lnTo>
                  <a:lnTo>
                    <a:pt x="1562" y="662"/>
                  </a:lnTo>
                  <a:lnTo>
                    <a:pt x="1562" y="662"/>
                  </a:lnTo>
                  <a:lnTo>
                    <a:pt x="1560" y="662"/>
                  </a:lnTo>
                  <a:lnTo>
                    <a:pt x="1557" y="662"/>
                  </a:lnTo>
                  <a:lnTo>
                    <a:pt x="1555" y="662"/>
                  </a:lnTo>
                  <a:lnTo>
                    <a:pt x="1555" y="662"/>
                  </a:lnTo>
                  <a:lnTo>
                    <a:pt x="1551" y="659"/>
                  </a:lnTo>
                  <a:lnTo>
                    <a:pt x="1548" y="657"/>
                  </a:lnTo>
                  <a:lnTo>
                    <a:pt x="1548" y="657"/>
                  </a:lnTo>
                  <a:lnTo>
                    <a:pt x="1548" y="657"/>
                  </a:lnTo>
                  <a:lnTo>
                    <a:pt x="1548" y="657"/>
                  </a:lnTo>
                  <a:lnTo>
                    <a:pt x="1548" y="657"/>
                  </a:lnTo>
                  <a:lnTo>
                    <a:pt x="1546" y="657"/>
                  </a:lnTo>
                  <a:lnTo>
                    <a:pt x="1546" y="657"/>
                  </a:lnTo>
                  <a:lnTo>
                    <a:pt x="1544" y="657"/>
                  </a:lnTo>
                  <a:lnTo>
                    <a:pt x="1544" y="655"/>
                  </a:lnTo>
                  <a:lnTo>
                    <a:pt x="1542" y="655"/>
                  </a:lnTo>
                  <a:lnTo>
                    <a:pt x="1542" y="655"/>
                  </a:lnTo>
                  <a:lnTo>
                    <a:pt x="1542" y="655"/>
                  </a:lnTo>
                  <a:lnTo>
                    <a:pt x="1542" y="655"/>
                  </a:lnTo>
                  <a:lnTo>
                    <a:pt x="1542" y="653"/>
                  </a:lnTo>
                  <a:lnTo>
                    <a:pt x="1542" y="655"/>
                  </a:lnTo>
                  <a:lnTo>
                    <a:pt x="1539" y="653"/>
                  </a:lnTo>
                  <a:lnTo>
                    <a:pt x="1539" y="653"/>
                  </a:lnTo>
                  <a:lnTo>
                    <a:pt x="1539" y="653"/>
                  </a:lnTo>
                  <a:lnTo>
                    <a:pt x="1539" y="653"/>
                  </a:lnTo>
                  <a:lnTo>
                    <a:pt x="1539" y="653"/>
                  </a:lnTo>
                  <a:lnTo>
                    <a:pt x="1539" y="653"/>
                  </a:lnTo>
                  <a:lnTo>
                    <a:pt x="1539" y="650"/>
                  </a:lnTo>
                  <a:lnTo>
                    <a:pt x="1537" y="650"/>
                  </a:lnTo>
                  <a:lnTo>
                    <a:pt x="1537" y="650"/>
                  </a:lnTo>
                  <a:lnTo>
                    <a:pt x="1537" y="648"/>
                  </a:lnTo>
                  <a:lnTo>
                    <a:pt x="1537" y="648"/>
                  </a:lnTo>
                  <a:lnTo>
                    <a:pt x="1537" y="648"/>
                  </a:lnTo>
                  <a:lnTo>
                    <a:pt x="1537" y="648"/>
                  </a:lnTo>
                  <a:lnTo>
                    <a:pt x="1537" y="648"/>
                  </a:lnTo>
                  <a:lnTo>
                    <a:pt x="1535" y="648"/>
                  </a:lnTo>
                  <a:lnTo>
                    <a:pt x="1535" y="648"/>
                  </a:lnTo>
                  <a:lnTo>
                    <a:pt x="1535" y="648"/>
                  </a:lnTo>
                  <a:lnTo>
                    <a:pt x="1535" y="648"/>
                  </a:lnTo>
                  <a:lnTo>
                    <a:pt x="1533" y="648"/>
                  </a:lnTo>
                  <a:lnTo>
                    <a:pt x="1533" y="646"/>
                  </a:lnTo>
                  <a:lnTo>
                    <a:pt x="1533" y="646"/>
                  </a:lnTo>
                  <a:lnTo>
                    <a:pt x="1526" y="646"/>
                  </a:lnTo>
                  <a:lnTo>
                    <a:pt x="1524" y="646"/>
                  </a:lnTo>
                  <a:lnTo>
                    <a:pt x="1524" y="646"/>
                  </a:lnTo>
                  <a:lnTo>
                    <a:pt x="1524" y="646"/>
                  </a:lnTo>
                  <a:lnTo>
                    <a:pt x="1524" y="646"/>
                  </a:lnTo>
                  <a:lnTo>
                    <a:pt x="1521" y="646"/>
                  </a:lnTo>
                  <a:lnTo>
                    <a:pt x="1521" y="646"/>
                  </a:lnTo>
                  <a:lnTo>
                    <a:pt x="1519" y="646"/>
                  </a:lnTo>
                  <a:lnTo>
                    <a:pt x="1519" y="644"/>
                  </a:lnTo>
                  <a:lnTo>
                    <a:pt x="1519" y="644"/>
                  </a:lnTo>
                  <a:lnTo>
                    <a:pt x="1519" y="644"/>
                  </a:lnTo>
                  <a:lnTo>
                    <a:pt x="1519" y="644"/>
                  </a:lnTo>
                  <a:lnTo>
                    <a:pt x="1517" y="644"/>
                  </a:lnTo>
                  <a:lnTo>
                    <a:pt x="1517" y="644"/>
                  </a:lnTo>
                  <a:lnTo>
                    <a:pt x="1517" y="644"/>
                  </a:lnTo>
                  <a:lnTo>
                    <a:pt x="1517" y="644"/>
                  </a:lnTo>
                  <a:lnTo>
                    <a:pt x="1517" y="641"/>
                  </a:lnTo>
                  <a:lnTo>
                    <a:pt x="1515" y="641"/>
                  </a:lnTo>
                  <a:lnTo>
                    <a:pt x="1515" y="641"/>
                  </a:lnTo>
                  <a:lnTo>
                    <a:pt x="1515" y="641"/>
                  </a:lnTo>
                  <a:lnTo>
                    <a:pt x="1510" y="639"/>
                  </a:lnTo>
                  <a:lnTo>
                    <a:pt x="1510" y="639"/>
                  </a:lnTo>
                  <a:lnTo>
                    <a:pt x="1508" y="639"/>
                  </a:lnTo>
                  <a:lnTo>
                    <a:pt x="1506" y="639"/>
                  </a:lnTo>
                  <a:lnTo>
                    <a:pt x="1503" y="639"/>
                  </a:lnTo>
                  <a:lnTo>
                    <a:pt x="1501" y="639"/>
                  </a:lnTo>
                  <a:lnTo>
                    <a:pt x="1501" y="639"/>
                  </a:lnTo>
                  <a:lnTo>
                    <a:pt x="1499" y="639"/>
                  </a:lnTo>
                  <a:lnTo>
                    <a:pt x="1499" y="639"/>
                  </a:lnTo>
                  <a:lnTo>
                    <a:pt x="1499" y="639"/>
                  </a:lnTo>
                  <a:lnTo>
                    <a:pt x="1497" y="639"/>
                  </a:lnTo>
                  <a:lnTo>
                    <a:pt x="1497" y="639"/>
                  </a:lnTo>
                  <a:lnTo>
                    <a:pt x="1497" y="637"/>
                  </a:lnTo>
                  <a:lnTo>
                    <a:pt x="1497" y="637"/>
                  </a:lnTo>
                  <a:lnTo>
                    <a:pt x="1497" y="637"/>
                  </a:lnTo>
                  <a:lnTo>
                    <a:pt x="1497" y="637"/>
                  </a:lnTo>
                  <a:lnTo>
                    <a:pt x="1494" y="637"/>
                  </a:lnTo>
                  <a:lnTo>
                    <a:pt x="1494" y="637"/>
                  </a:lnTo>
                  <a:lnTo>
                    <a:pt x="1492" y="637"/>
                  </a:lnTo>
                  <a:lnTo>
                    <a:pt x="1492" y="637"/>
                  </a:lnTo>
                  <a:lnTo>
                    <a:pt x="1490" y="637"/>
                  </a:lnTo>
                  <a:lnTo>
                    <a:pt x="1490" y="637"/>
                  </a:lnTo>
                  <a:lnTo>
                    <a:pt x="1488" y="637"/>
                  </a:lnTo>
                  <a:lnTo>
                    <a:pt x="1481" y="635"/>
                  </a:lnTo>
                  <a:lnTo>
                    <a:pt x="1481" y="635"/>
                  </a:lnTo>
                  <a:lnTo>
                    <a:pt x="1481" y="635"/>
                  </a:lnTo>
                  <a:lnTo>
                    <a:pt x="1479" y="637"/>
                  </a:lnTo>
                  <a:lnTo>
                    <a:pt x="1479" y="637"/>
                  </a:lnTo>
                  <a:lnTo>
                    <a:pt x="1479" y="637"/>
                  </a:lnTo>
                  <a:lnTo>
                    <a:pt x="1479" y="637"/>
                  </a:lnTo>
                  <a:lnTo>
                    <a:pt x="1476" y="637"/>
                  </a:lnTo>
                  <a:lnTo>
                    <a:pt x="1474" y="637"/>
                  </a:lnTo>
                  <a:lnTo>
                    <a:pt x="1474" y="637"/>
                  </a:lnTo>
                  <a:lnTo>
                    <a:pt x="1474" y="637"/>
                  </a:lnTo>
                  <a:lnTo>
                    <a:pt x="1474" y="637"/>
                  </a:lnTo>
                  <a:lnTo>
                    <a:pt x="1472" y="637"/>
                  </a:lnTo>
                  <a:lnTo>
                    <a:pt x="1472" y="637"/>
                  </a:lnTo>
                  <a:lnTo>
                    <a:pt x="1472" y="639"/>
                  </a:lnTo>
                  <a:lnTo>
                    <a:pt x="1470" y="639"/>
                  </a:lnTo>
                  <a:lnTo>
                    <a:pt x="1470" y="639"/>
                  </a:lnTo>
                  <a:lnTo>
                    <a:pt x="1467" y="639"/>
                  </a:lnTo>
                  <a:lnTo>
                    <a:pt x="1467" y="639"/>
                  </a:lnTo>
                  <a:lnTo>
                    <a:pt x="1467" y="639"/>
                  </a:lnTo>
                  <a:lnTo>
                    <a:pt x="1465" y="639"/>
                  </a:lnTo>
                  <a:lnTo>
                    <a:pt x="1465" y="641"/>
                  </a:lnTo>
                  <a:lnTo>
                    <a:pt x="1465" y="641"/>
                  </a:lnTo>
                  <a:lnTo>
                    <a:pt x="1465" y="641"/>
                  </a:lnTo>
                  <a:lnTo>
                    <a:pt x="1463" y="644"/>
                  </a:lnTo>
                  <a:lnTo>
                    <a:pt x="1463" y="644"/>
                  </a:lnTo>
                  <a:lnTo>
                    <a:pt x="1461" y="644"/>
                  </a:lnTo>
                  <a:lnTo>
                    <a:pt x="1458" y="641"/>
                  </a:lnTo>
                  <a:lnTo>
                    <a:pt x="1458" y="641"/>
                  </a:lnTo>
                  <a:lnTo>
                    <a:pt x="1456" y="644"/>
                  </a:lnTo>
                  <a:lnTo>
                    <a:pt x="1454" y="644"/>
                  </a:lnTo>
                  <a:lnTo>
                    <a:pt x="1454" y="641"/>
                  </a:lnTo>
                  <a:lnTo>
                    <a:pt x="1452" y="641"/>
                  </a:lnTo>
                  <a:lnTo>
                    <a:pt x="1452" y="641"/>
                  </a:lnTo>
                  <a:lnTo>
                    <a:pt x="1450" y="641"/>
                  </a:lnTo>
                  <a:lnTo>
                    <a:pt x="1450" y="641"/>
                  </a:lnTo>
                  <a:lnTo>
                    <a:pt x="1447" y="641"/>
                  </a:lnTo>
                  <a:lnTo>
                    <a:pt x="1447" y="641"/>
                  </a:lnTo>
                  <a:lnTo>
                    <a:pt x="1447" y="641"/>
                  </a:lnTo>
                  <a:lnTo>
                    <a:pt x="1445" y="639"/>
                  </a:lnTo>
                  <a:lnTo>
                    <a:pt x="1443" y="639"/>
                  </a:lnTo>
                  <a:lnTo>
                    <a:pt x="1441" y="639"/>
                  </a:lnTo>
                  <a:lnTo>
                    <a:pt x="1441" y="639"/>
                  </a:lnTo>
                  <a:lnTo>
                    <a:pt x="1438" y="639"/>
                  </a:lnTo>
                  <a:lnTo>
                    <a:pt x="1436" y="637"/>
                  </a:lnTo>
                  <a:lnTo>
                    <a:pt x="1434" y="637"/>
                  </a:lnTo>
                  <a:lnTo>
                    <a:pt x="1432" y="637"/>
                  </a:lnTo>
                  <a:lnTo>
                    <a:pt x="1429" y="635"/>
                  </a:lnTo>
                  <a:lnTo>
                    <a:pt x="1429" y="635"/>
                  </a:lnTo>
                  <a:lnTo>
                    <a:pt x="1427" y="635"/>
                  </a:lnTo>
                  <a:lnTo>
                    <a:pt x="1427" y="632"/>
                  </a:lnTo>
                  <a:lnTo>
                    <a:pt x="1425" y="632"/>
                  </a:lnTo>
                  <a:lnTo>
                    <a:pt x="1425" y="632"/>
                  </a:lnTo>
                  <a:lnTo>
                    <a:pt x="1425" y="632"/>
                  </a:lnTo>
                  <a:lnTo>
                    <a:pt x="1425" y="630"/>
                  </a:lnTo>
                  <a:lnTo>
                    <a:pt x="1425" y="630"/>
                  </a:lnTo>
                  <a:lnTo>
                    <a:pt x="1425" y="630"/>
                  </a:lnTo>
                  <a:lnTo>
                    <a:pt x="1425" y="630"/>
                  </a:lnTo>
                  <a:lnTo>
                    <a:pt x="1423" y="628"/>
                  </a:lnTo>
                  <a:lnTo>
                    <a:pt x="1423" y="628"/>
                  </a:lnTo>
                  <a:lnTo>
                    <a:pt x="1420" y="628"/>
                  </a:lnTo>
                  <a:lnTo>
                    <a:pt x="1420" y="628"/>
                  </a:lnTo>
                  <a:lnTo>
                    <a:pt x="1420" y="626"/>
                  </a:lnTo>
                  <a:lnTo>
                    <a:pt x="1420" y="626"/>
                  </a:lnTo>
                  <a:lnTo>
                    <a:pt x="1420" y="626"/>
                  </a:lnTo>
                  <a:lnTo>
                    <a:pt x="1418" y="623"/>
                  </a:lnTo>
                  <a:lnTo>
                    <a:pt x="1418" y="623"/>
                  </a:lnTo>
                  <a:lnTo>
                    <a:pt x="1418" y="623"/>
                  </a:lnTo>
                  <a:lnTo>
                    <a:pt x="1418" y="623"/>
                  </a:lnTo>
                  <a:lnTo>
                    <a:pt x="1418" y="623"/>
                  </a:lnTo>
                  <a:lnTo>
                    <a:pt x="1418" y="623"/>
                  </a:lnTo>
                  <a:lnTo>
                    <a:pt x="1416" y="621"/>
                  </a:lnTo>
                  <a:lnTo>
                    <a:pt x="1416" y="621"/>
                  </a:lnTo>
                  <a:lnTo>
                    <a:pt x="1416" y="619"/>
                  </a:lnTo>
                  <a:lnTo>
                    <a:pt x="1414" y="619"/>
                  </a:lnTo>
                  <a:lnTo>
                    <a:pt x="1414" y="619"/>
                  </a:lnTo>
                  <a:lnTo>
                    <a:pt x="1414" y="619"/>
                  </a:lnTo>
                  <a:lnTo>
                    <a:pt x="1414" y="619"/>
                  </a:lnTo>
                  <a:lnTo>
                    <a:pt x="1414" y="617"/>
                  </a:lnTo>
                  <a:lnTo>
                    <a:pt x="1414" y="617"/>
                  </a:lnTo>
                  <a:lnTo>
                    <a:pt x="1414" y="617"/>
                  </a:lnTo>
                  <a:lnTo>
                    <a:pt x="1414" y="617"/>
                  </a:lnTo>
                  <a:lnTo>
                    <a:pt x="1414" y="617"/>
                  </a:lnTo>
                  <a:lnTo>
                    <a:pt x="1411" y="614"/>
                  </a:lnTo>
                  <a:lnTo>
                    <a:pt x="1411" y="614"/>
                  </a:lnTo>
                  <a:lnTo>
                    <a:pt x="1409" y="614"/>
                  </a:lnTo>
                  <a:lnTo>
                    <a:pt x="1409" y="614"/>
                  </a:lnTo>
                  <a:lnTo>
                    <a:pt x="1407" y="614"/>
                  </a:lnTo>
                  <a:lnTo>
                    <a:pt x="1407" y="614"/>
                  </a:lnTo>
                  <a:lnTo>
                    <a:pt x="1407" y="614"/>
                  </a:lnTo>
                  <a:lnTo>
                    <a:pt x="1405" y="614"/>
                  </a:lnTo>
                  <a:lnTo>
                    <a:pt x="1405" y="614"/>
                  </a:lnTo>
                  <a:lnTo>
                    <a:pt x="1402" y="612"/>
                  </a:lnTo>
                  <a:lnTo>
                    <a:pt x="1402" y="612"/>
                  </a:lnTo>
                  <a:lnTo>
                    <a:pt x="1402" y="612"/>
                  </a:lnTo>
                  <a:lnTo>
                    <a:pt x="1402" y="612"/>
                  </a:lnTo>
                  <a:lnTo>
                    <a:pt x="1400" y="612"/>
                  </a:lnTo>
                  <a:lnTo>
                    <a:pt x="1400" y="612"/>
                  </a:lnTo>
                  <a:lnTo>
                    <a:pt x="1398" y="612"/>
                  </a:lnTo>
                  <a:lnTo>
                    <a:pt x="1398" y="612"/>
                  </a:lnTo>
                  <a:lnTo>
                    <a:pt x="1396" y="612"/>
                  </a:lnTo>
                  <a:lnTo>
                    <a:pt x="1396" y="612"/>
                  </a:lnTo>
                  <a:lnTo>
                    <a:pt x="1393" y="612"/>
                  </a:lnTo>
                  <a:lnTo>
                    <a:pt x="1393" y="612"/>
                  </a:lnTo>
                  <a:lnTo>
                    <a:pt x="1393" y="612"/>
                  </a:lnTo>
                  <a:lnTo>
                    <a:pt x="1391" y="612"/>
                  </a:lnTo>
                  <a:lnTo>
                    <a:pt x="1391" y="610"/>
                  </a:lnTo>
                  <a:lnTo>
                    <a:pt x="1389" y="610"/>
                  </a:lnTo>
                  <a:lnTo>
                    <a:pt x="1380" y="608"/>
                  </a:lnTo>
                  <a:lnTo>
                    <a:pt x="1378" y="608"/>
                  </a:lnTo>
                  <a:lnTo>
                    <a:pt x="1378" y="605"/>
                  </a:lnTo>
                  <a:lnTo>
                    <a:pt x="1371" y="605"/>
                  </a:lnTo>
                  <a:lnTo>
                    <a:pt x="1369" y="605"/>
                  </a:lnTo>
                  <a:lnTo>
                    <a:pt x="1369" y="605"/>
                  </a:lnTo>
                  <a:lnTo>
                    <a:pt x="1366" y="605"/>
                  </a:lnTo>
                  <a:lnTo>
                    <a:pt x="1364" y="605"/>
                  </a:lnTo>
                  <a:lnTo>
                    <a:pt x="1362" y="603"/>
                  </a:lnTo>
                  <a:lnTo>
                    <a:pt x="1360" y="603"/>
                  </a:lnTo>
                  <a:lnTo>
                    <a:pt x="1360" y="603"/>
                  </a:lnTo>
                  <a:lnTo>
                    <a:pt x="1357" y="603"/>
                  </a:lnTo>
                  <a:lnTo>
                    <a:pt x="1353" y="601"/>
                  </a:lnTo>
                  <a:lnTo>
                    <a:pt x="1353" y="601"/>
                  </a:lnTo>
                  <a:lnTo>
                    <a:pt x="1353" y="601"/>
                  </a:lnTo>
                  <a:lnTo>
                    <a:pt x="1351" y="601"/>
                  </a:lnTo>
                  <a:lnTo>
                    <a:pt x="1351" y="601"/>
                  </a:lnTo>
                  <a:lnTo>
                    <a:pt x="1351" y="601"/>
                  </a:lnTo>
                  <a:lnTo>
                    <a:pt x="1346" y="599"/>
                  </a:lnTo>
                  <a:lnTo>
                    <a:pt x="1346" y="599"/>
                  </a:lnTo>
                  <a:lnTo>
                    <a:pt x="1344" y="599"/>
                  </a:lnTo>
                  <a:lnTo>
                    <a:pt x="1344" y="599"/>
                  </a:lnTo>
                  <a:lnTo>
                    <a:pt x="1344" y="596"/>
                  </a:lnTo>
                  <a:lnTo>
                    <a:pt x="1342" y="596"/>
                  </a:lnTo>
                  <a:lnTo>
                    <a:pt x="1342" y="599"/>
                  </a:lnTo>
                  <a:lnTo>
                    <a:pt x="1342" y="599"/>
                  </a:lnTo>
                  <a:lnTo>
                    <a:pt x="1344" y="599"/>
                  </a:lnTo>
                  <a:lnTo>
                    <a:pt x="1344" y="599"/>
                  </a:lnTo>
                  <a:lnTo>
                    <a:pt x="1344" y="599"/>
                  </a:lnTo>
                  <a:lnTo>
                    <a:pt x="1344" y="601"/>
                  </a:lnTo>
                  <a:lnTo>
                    <a:pt x="1344" y="601"/>
                  </a:lnTo>
                  <a:lnTo>
                    <a:pt x="1344" y="601"/>
                  </a:lnTo>
                  <a:lnTo>
                    <a:pt x="1344" y="603"/>
                  </a:lnTo>
                  <a:lnTo>
                    <a:pt x="1344" y="603"/>
                  </a:lnTo>
                  <a:lnTo>
                    <a:pt x="1344" y="605"/>
                  </a:lnTo>
                  <a:lnTo>
                    <a:pt x="1342" y="605"/>
                  </a:lnTo>
                  <a:lnTo>
                    <a:pt x="1339" y="605"/>
                  </a:lnTo>
                  <a:lnTo>
                    <a:pt x="1337" y="608"/>
                  </a:lnTo>
                  <a:lnTo>
                    <a:pt x="1337" y="608"/>
                  </a:lnTo>
                  <a:lnTo>
                    <a:pt x="1337" y="608"/>
                  </a:lnTo>
                  <a:lnTo>
                    <a:pt x="1337" y="610"/>
                  </a:lnTo>
                  <a:lnTo>
                    <a:pt x="1337" y="610"/>
                  </a:lnTo>
                  <a:lnTo>
                    <a:pt x="1339" y="610"/>
                  </a:lnTo>
                  <a:lnTo>
                    <a:pt x="1339" y="612"/>
                  </a:lnTo>
                  <a:lnTo>
                    <a:pt x="1339" y="612"/>
                  </a:lnTo>
                  <a:lnTo>
                    <a:pt x="1339" y="612"/>
                  </a:lnTo>
                  <a:lnTo>
                    <a:pt x="1337" y="612"/>
                  </a:lnTo>
                  <a:lnTo>
                    <a:pt x="1337" y="612"/>
                  </a:lnTo>
                  <a:lnTo>
                    <a:pt x="1337" y="612"/>
                  </a:lnTo>
                  <a:lnTo>
                    <a:pt x="1337" y="612"/>
                  </a:lnTo>
                  <a:lnTo>
                    <a:pt x="1337" y="612"/>
                  </a:lnTo>
                  <a:lnTo>
                    <a:pt x="1337" y="612"/>
                  </a:lnTo>
                  <a:lnTo>
                    <a:pt x="1337" y="614"/>
                  </a:lnTo>
                  <a:lnTo>
                    <a:pt x="1337" y="614"/>
                  </a:lnTo>
                  <a:lnTo>
                    <a:pt x="1337" y="614"/>
                  </a:lnTo>
                  <a:lnTo>
                    <a:pt x="1337" y="617"/>
                  </a:lnTo>
                  <a:lnTo>
                    <a:pt x="1337" y="617"/>
                  </a:lnTo>
                  <a:lnTo>
                    <a:pt x="1337" y="617"/>
                  </a:lnTo>
                  <a:lnTo>
                    <a:pt x="1337" y="617"/>
                  </a:lnTo>
                  <a:lnTo>
                    <a:pt x="1337" y="617"/>
                  </a:lnTo>
                  <a:lnTo>
                    <a:pt x="1337" y="619"/>
                  </a:lnTo>
                  <a:lnTo>
                    <a:pt x="1337" y="619"/>
                  </a:lnTo>
                  <a:lnTo>
                    <a:pt x="1337" y="619"/>
                  </a:lnTo>
                  <a:lnTo>
                    <a:pt x="1337" y="621"/>
                  </a:lnTo>
                  <a:lnTo>
                    <a:pt x="1337" y="621"/>
                  </a:lnTo>
                  <a:lnTo>
                    <a:pt x="1337" y="623"/>
                  </a:lnTo>
                  <a:lnTo>
                    <a:pt x="1339" y="623"/>
                  </a:lnTo>
                  <a:lnTo>
                    <a:pt x="1339" y="623"/>
                  </a:lnTo>
                  <a:lnTo>
                    <a:pt x="1339" y="626"/>
                  </a:lnTo>
                  <a:lnTo>
                    <a:pt x="1342" y="626"/>
                  </a:lnTo>
                  <a:lnTo>
                    <a:pt x="1342" y="626"/>
                  </a:lnTo>
                  <a:lnTo>
                    <a:pt x="1342" y="626"/>
                  </a:lnTo>
                  <a:lnTo>
                    <a:pt x="1342" y="626"/>
                  </a:lnTo>
                  <a:lnTo>
                    <a:pt x="1344" y="626"/>
                  </a:lnTo>
                  <a:lnTo>
                    <a:pt x="1344" y="628"/>
                  </a:lnTo>
                  <a:lnTo>
                    <a:pt x="1344" y="628"/>
                  </a:lnTo>
                  <a:lnTo>
                    <a:pt x="1344" y="628"/>
                  </a:lnTo>
                  <a:lnTo>
                    <a:pt x="1344" y="630"/>
                  </a:lnTo>
                  <a:lnTo>
                    <a:pt x="1346" y="630"/>
                  </a:lnTo>
                  <a:lnTo>
                    <a:pt x="1346" y="632"/>
                  </a:lnTo>
                  <a:lnTo>
                    <a:pt x="1348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3" y="632"/>
                  </a:lnTo>
                  <a:lnTo>
                    <a:pt x="1353" y="635"/>
                  </a:lnTo>
                  <a:lnTo>
                    <a:pt x="1353" y="635"/>
                  </a:lnTo>
                  <a:lnTo>
                    <a:pt x="1353" y="635"/>
                  </a:lnTo>
                  <a:lnTo>
                    <a:pt x="1353" y="635"/>
                  </a:lnTo>
                  <a:lnTo>
                    <a:pt x="1353" y="635"/>
                  </a:lnTo>
                  <a:lnTo>
                    <a:pt x="1353" y="635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44"/>
                  </a:lnTo>
                  <a:lnTo>
                    <a:pt x="1355" y="646"/>
                  </a:lnTo>
                  <a:lnTo>
                    <a:pt x="1353" y="646"/>
                  </a:lnTo>
                  <a:lnTo>
                    <a:pt x="1353" y="648"/>
                  </a:lnTo>
                  <a:lnTo>
                    <a:pt x="1353" y="648"/>
                  </a:lnTo>
                  <a:lnTo>
                    <a:pt x="1353" y="648"/>
                  </a:lnTo>
                  <a:lnTo>
                    <a:pt x="1353" y="648"/>
                  </a:lnTo>
                  <a:lnTo>
                    <a:pt x="1351" y="646"/>
                  </a:lnTo>
                  <a:lnTo>
                    <a:pt x="1351" y="646"/>
                  </a:lnTo>
                  <a:lnTo>
                    <a:pt x="1351" y="646"/>
                  </a:lnTo>
                  <a:lnTo>
                    <a:pt x="1348" y="648"/>
                  </a:lnTo>
                  <a:lnTo>
                    <a:pt x="1348" y="648"/>
                  </a:lnTo>
                  <a:lnTo>
                    <a:pt x="1348" y="648"/>
                  </a:lnTo>
                  <a:lnTo>
                    <a:pt x="1348" y="648"/>
                  </a:lnTo>
                  <a:lnTo>
                    <a:pt x="1348" y="648"/>
                  </a:lnTo>
                  <a:lnTo>
                    <a:pt x="1348" y="650"/>
                  </a:lnTo>
                  <a:lnTo>
                    <a:pt x="1348" y="650"/>
                  </a:lnTo>
                  <a:lnTo>
                    <a:pt x="1348" y="650"/>
                  </a:lnTo>
                  <a:lnTo>
                    <a:pt x="1346" y="653"/>
                  </a:lnTo>
                  <a:lnTo>
                    <a:pt x="1346" y="653"/>
                  </a:lnTo>
                  <a:lnTo>
                    <a:pt x="1344" y="653"/>
                  </a:lnTo>
                  <a:lnTo>
                    <a:pt x="1344" y="653"/>
                  </a:lnTo>
                  <a:lnTo>
                    <a:pt x="1344" y="653"/>
                  </a:lnTo>
                  <a:lnTo>
                    <a:pt x="1342" y="653"/>
                  </a:lnTo>
                  <a:lnTo>
                    <a:pt x="1342" y="650"/>
                  </a:lnTo>
                  <a:lnTo>
                    <a:pt x="1342" y="650"/>
                  </a:lnTo>
                  <a:lnTo>
                    <a:pt x="1339" y="650"/>
                  </a:lnTo>
                  <a:lnTo>
                    <a:pt x="1339" y="650"/>
                  </a:lnTo>
                  <a:lnTo>
                    <a:pt x="1339" y="650"/>
                  </a:lnTo>
                  <a:lnTo>
                    <a:pt x="1337" y="648"/>
                  </a:lnTo>
                  <a:lnTo>
                    <a:pt x="1337" y="648"/>
                  </a:lnTo>
                  <a:lnTo>
                    <a:pt x="1333" y="648"/>
                  </a:lnTo>
                  <a:lnTo>
                    <a:pt x="1330" y="648"/>
                  </a:lnTo>
                  <a:lnTo>
                    <a:pt x="1330" y="648"/>
                  </a:lnTo>
                  <a:lnTo>
                    <a:pt x="1330" y="648"/>
                  </a:lnTo>
                  <a:lnTo>
                    <a:pt x="1330" y="648"/>
                  </a:lnTo>
                  <a:lnTo>
                    <a:pt x="1330" y="648"/>
                  </a:lnTo>
                  <a:lnTo>
                    <a:pt x="1330" y="648"/>
                  </a:lnTo>
                  <a:lnTo>
                    <a:pt x="1328" y="648"/>
                  </a:lnTo>
                  <a:lnTo>
                    <a:pt x="1328" y="648"/>
                  </a:lnTo>
                  <a:lnTo>
                    <a:pt x="1328" y="648"/>
                  </a:lnTo>
                  <a:lnTo>
                    <a:pt x="1328" y="648"/>
                  </a:lnTo>
                  <a:lnTo>
                    <a:pt x="1328" y="648"/>
                  </a:lnTo>
                  <a:lnTo>
                    <a:pt x="1326" y="648"/>
                  </a:lnTo>
                  <a:lnTo>
                    <a:pt x="1326" y="648"/>
                  </a:lnTo>
                  <a:lnTo>
                    <a:pt x="1326" y="648"/>
                  </a:lnTo>
                  <a:lnTo>
                    <a:pt x="1326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9" y="646"/>
                  </a:lnTo>
                  <a:lnTo>
                    <a:pt x="1317" y="646"/>
                  </a:lnTo>
                  <a:lnTo>
                    <a:pt x="1317" y="648"/>
                  </a:lnTo>
                  <a:lnTo>
                    <a:pt x="1317" y="648"/>
                  </a:lnTo>
                  <a:lnTo>
                    <a:pt x="1317" y="648"/>
                  </a:lnTo>
                  <a:lnTo>
                    <a:pt x="1317" y="646"/>
                  </a:lnTo>
                  <a:lnTo>
                    <a:pt x="1317" y="646"/>
                  </a:lnTo>
                  <a:lnTo>
                    <a:pt x="1317" y="646"/>
                  </a:lnTo>
                  <a:lnTo>
                    <a:pt x="1315" y="646"/>
                  </a:lnTo>
                  <a:lnTo>
                    <a:pt x="1315" y="646"/>
                  </a:lnTo>
                  <a:lnTo>
                    <a:pt x="1315" y="646"/>
                  </a:lnTo>
                  <a:lnTo>
                    <a:pt x="1312" y="646"/>
                  </a:lnTo>
                  <a:lnTo>
                    <a:pt x="1312" y="648"/>
                  </a:lnTo>
                  <a:lnTo>
                    <a:pt x="1312" y="648"/>
                  </a:lnTo>
                  <a:lnTo>
                    <a:pt x="1310" y="648"/>
                  </a:lnTo>
                  <a:lnTo>
                    <a:pt x="1310" y="648"/>
                  </a:lnTo>
                  <a:lnTo>
                    <a:pt x="1310" y="648"/>
                  </a:lnTo>
                  <a:lnTo>
                    <a:pt x="1310" y="648"/>
                  </a:lnTo>
                  <a:lnTo>
                    <a:pt x="1310" y="648"/>
                  </a:lnTo>
                  <a:lnTo>
                    <a:pt x="1310" y="648"/>
                  </a:lnTo>
                  <a:lnTo>
                    <a:pt x="1310" y="648"/>
                  </a:lnTo>
                  <a:lnTo>
                    <a:pt x="1308" y="648"/>
                  </a:lnTo>
                  <a:lnTo>
                    <a:pt x="1308" y="648"/>
                  </a:lnTo>
                  <a:lnTo>
                    <a:pt x="1306" y="648"/>
                  </a:lnTo>
                  <a:lnTo>
                    <a:pt x="1301" y="648"/>
                  </a:lnTo>
                  <a:lnTo>
                    <a:pt x="1301" y="646"/>
                  </a:lnTo>
                  <a:lnTo>
                    <a:pt x="1301" y="646"/>
                  </a:lnTo>
                  <a:lnTo>
                    <a:pt x="1299" y="646"/>
                  </a:lnTo>
                  <a:lnTo>
                    <a:pt x="1299" y="646"/>
                  </a:lnTo>
                  <a:lnTo>
                    <a:pt x="1299" y="646"/>
                  </a:lnTo>
                  <a:lnTo>
                    <a:pt x="1297" y="646"/>
                  </a:lnTo>
                  <a:lnTo>
                    <a:pt x="1294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4"/>
                  </a:lnTo>
                  <a:lnTo>
                    <a:pt x="1290" y="644"/>
                  </a:lnTo>
                  <a:lnTo>
                    <a:pt x="1290" y="644"/>
                  </a:lnTo>
                  <a:lnTo>
                    <a:pt x="1290" y="644"/>
                  </a:lnTo>
                  <a:lnTo>
                    <a:pt x="1290" y="644"/>
                  </a:lnTo>
                  <a:lnTo>
                    <a:pt x="1288" y="644"/>
                  </a:lnTo>
                  <a:lnTo>
                    <a:pt x="1288" y="644"/>
                  </a:lnTo>
                  <a:lnTo>
                    <a:pt x="1288" y="641"/>
                  </a:lnTo>
                  <a:lnTo>
                    <a:pt x="1286" y="641"/>
                  </a:lnTo>
                  <a:lnTo>
                    <a:pt x="1286" y="641"/>
                  </a:lnTo>
                  <a:lnTo>
                    <a:pt x="1286" y="641"/>
                  </a:lnTo>
                  <a:lnTo>
                    <a:pt x="1286" y="641"/>
                  </a:lnTo>
                  <a:lnTo>
                    <a:pt x="1283" y="639"/>
                  </a:lnTo>
                  <a:lnTo>
                    <a:pt x="1283" y="637"/>
                  </a:lnTo>
                  <a:lnTo>
                    <a:pt x="1281" y="637"/>
                  </a:lnTo>
                  <a:lnTo>
                    <a:pt x="1281" y="635"/>
                  </a:lnTo>
                  <a:lnTo>
                    <a:pt x="1281" y="635"/>
                  </a:lnTo>
                  <a:lnTo>
                    <a:pt x="1279" y="635"/>
                  </a:lnTo>
                  <a:lnTo>
                    <a:pt x="1279" y="632"/>
                  </a:lnTo>
                  <a:lnTo>
                    <a:pt x="1279" y="632"/>
                  </a:lnTo>
                  <a:lnTo>
                    <a:pt x="1265" y="632"/>
                  </a:lnTo>
                  <a:lnTo>
                    <a:pt x="1263" y="632"/>
                  </a:lnTo>
                  <a:lnTo>
                    <a:pt x="1259" y="632"/>
                  </a:lnTo>
                  <a:lnTo>
                    <a:pt x="1259" y="632"/>
                  </a:lnTo>
                  <a:lnTo>
                    <a:pt x="1259" y="632"/>
                  </a:lnTo>
                  <a:lnTo>
                    <a:pt x="1256" y="632"/>
                  </a:lnTo>
                  <a:lnTo>
                    <a:pt x="1256" y="632"/>
                  </a:lnTo>
                  <a:lnTo>
                    <a:pt x="1256" y="632"/>
                  </a:lnTo>
                  <a:lnTo>
                    <a:pt x="1256" y="632"/>
                  </a:lnTo>
                  <a:lnTo>
                    <a:pt x="1254" y="630"/>
                  </a:lnTo>
                  <a:lnTo>
                    <a:pt x="1254" y="630"/>
                  </a:lnTo>
                  <a:lnTo>
                    <a:pt x="1254" y="630"/>
                  </a:lnTo>
                  <a:lnTo>
                    <a:pt x="1254" y="628"/>
                  </a:lnTo>
                  <a:lnTo>
                    <a:pt x="1252" y="628"/>
                  </a:lnTo>
                  <a:lnTo>
                    <a:pt x="1252" y="628"/>
                  </a:lnTo>
                  <a:lnTo>
                    <a:pt x="1250" y="628"/>
                  </a:lnTo>
                  <a:lnTo>
                    <a:pt x="1250" y="628"/>
                  </a:lnTo>
                  <a:lnTo>
                    <a:pt x="1250" y="628"/>
                  </a:lnTo>
                  <a:lnTo>
                    <a:pt x="1250" y="630"/>
                  </a:lnTo>
                  <a:lnTo>
                    <a:pt x="1250" y="630"/>
                  </a:lnTo>
                  <a:lnTo>
                    <a:pt x="1250" y="630"/>
                  </a:lnTo>
                  <a:lnTo>
                    <a:pt x="1250" y="630"/>
                  </a:lnTo>
                  <a:lnTo>
                    <a:pt x="1250" y="630"/>
                  </a:lnTo>
                  <a:lnTo>
                    <a:pt x="1250" y="630"/>
                  </a:lnTo>
                  <a:lnTo>
                    <a:pt x="1247" y="630"/>
                  </a:lnTo>
                  <a:lnTo>
                    <a:pt x="1245" y="630"/>
                  </a:lnTo>
                  <a:lnTo>
                    <a:pt x="1245" y="628"/>
                  </a:lnTo>
                  <a:lnTo>
                    <a:pt x="1245" y="628"/>
                  </a:lnTo>
                  <a:lnTo>
                    <a:pt x="1243" y="628"/>
                  </a:lnTo>
                  <a:lnTo>
                    <a:pt x="1243" y="628"/>
                  </a:lnTo>
                  <a:lnTo>
                    <a:pt x="1243" y="626"/>
                  </a:lnTo>
                  <a:lnTo>
                    <a:pt x="1241" y="626"/>
                  </a:lnTo>
                  <a:lnTo>
                    <a:pt x="1241" y="626"/>
                  </a:lnTo>
                  <a:lnTo>
                    <a:pt x="1241" y="626"/>
                  </a:lnTo>
                  <a:lnTo>
                    <a:pt x="1241" y="626"/>
                  </a:lnTo>
                  <a:lnTo>
                    <a:pt x="1241" y="626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28"/>
                  </a:lnTo>
                  <a:lnTo>
                    <a:pt x="1241" y="630"/>
                  </a:lnTo>
                  <a:lnTo>
                    <a:pt x="1241" y="630"/>
                  </a:lnTo>
                  <a:lnTo>
                    <a:pt x="1238" y="630"/>
                  </a:lnTo>
                  <a:lnTo>
                    <a:pt x="1234" y="630"/>
                  </a:lnTo>
                  <a:lnTo>
                    <a:pt x="1234" y="630"/>
                  </a:lnTo>
                  <a:lnTo>
                    <a:pt x="1232" y="630"/>
                  </a:lnTo>
                  <a:lnTo>
                    <a:pt x="1232" y="630"/>
                  </a:lnTo>
                  <a:lnTo>
                    <a:pt x="1232" y="632"/>
                  </a:lnTo>
                  <a:lnTo>
                    <a:pt x="1232" y="632"/>
                  </a:lnTo>
                  <a:lnTo>
                    <a:pt x="1232" y="632"/>
                  </a:lnTo>
                  <a:lnTo>
                    <a:pt x="1229" y="635"/>
                  </a:lnTo>
                  <a:lnTo>
                    <a:pt x="1229" y="635"/>
                  </a:lnTo>
                  <a:lnTo>
                    <a:pt x="1229" y="635"/>
                  </a:lnTo>
                  <a:lnTo>
                    <a:pt x="1229" y="635"/>
                  </a:lnTo>
                  <a:lnTo>
                    <a:pt x="1229" y="635"/>
                  </a:lnTo>
                  <a:lnTo>
                    <a:pt x="1229" y="635"/>
                  </a:lnTo>
                  <a:lnTo>
                    <a:pt x="1227" y="635"/>
                  </a:lnTo>
                  <a:lnTo>
                    <a:pt x="1225" y="635"/>
                  </a:lnTo>
                  <a:lnTo>
                    <a:pt x="1225" y="637"/>
                  </a:lnTo>
                  <a:lnTo>
                    <a:pt x="1225" y="637"/>
                  </a:lnTo>
                  <a:lnTo>
                    <a:pt x="1223" y="637"/>
                  </a:lnTo>
                  <a:lnTo>
                    <a:pt x="1220" y="637"/>
                  </a:lnTo>
                  <a:lnTo>
                    <a:pt x="1220" y="637"/>
                  </a:lnTo>
                  <a:lnTo>
                    <a:pt x="1220" y="639"/>
                  </a:lnTo>
                  <a:lnTo>
                    <a:pt x="1220" y="639"/>
                  </a:lnTo>
                  <a:lnTo>
                    <a:pt x="1218" y="639"/>
                  </a:lnTo>
                  <a:lnTo>
                    <a:pt x="1218" y="639"/>
                  </a:lnTo>
                  <a:lnTo>
                    <a:pt x="1218" y="639"/>
                  </a:lnTo>
                  <a:lnTo>
                    <a:pt x="1218" y="641"/>
                  </a:lnTo>
                  <a:lnTo>
                    <a:pt x="1218" y="641"/>
                  </a:lnTo>
                  <a:lnTo>
                    <a:pt x="1218" y="641"/>
                  </a:lnTo>
                  <a:lnTo>
                    <a:pt x="1218" y="641"/>
                  </a:lnTo>
                  <a:lnTo>
                    <a:pt x="1218" y="641"/>
                  </a:lnTo>
                  <a:lnTo>
                    <a:pt x="1218" y="641"/>
                  </a:lnTo>
                  <a:lnTo>
                    <a:pt x="1218" y="641"/>
                  </a:lnTo>
                  <a:lnTo>
                    <a:pt x="1216" y="641"/>
                  </a:lnTo>
                  <a:lnTo>
                    <a:pt x="1214" y="641"/>
                  </a:lnTo>
                  <a:lnTo>
                    <a:pt x="1214" y="641"/>
                  </a:lnTo>
                  <a:lnTo>
                    <a:pt x="1214" y="641"/>
                  </a:lnTo>
                  <a:lnTo>
                    <a:pt x="1214" y="641"/>
                  </a:lnTo>
                  <a:lnTo>
                    <a:pt x="1214" y="641"/>
                  </a:lnTo>
                  <a:lnTo>
                    <a:pt x="1211" y="644"/>
                  </a:lnTo>
                  <a:lnTo>
                    <a:pt x="1211" y="644"/>
                  </a:lnTo>
                  <a:lnTo>
                    <a:pt x="1209" y="644"/>
                  </a:lnTo>
                  <a:lnTo>
                    <a:pt x="1209" y="644"/>
                  </a:lnTo>
                  <a:lnTo>
                    <a:pt x="1207" y="646"/>
                  </a:lnTo>
                  <a:lnTo>
                    <a:pt x="1209" y="646"/>
                  </a:lnTo>
                  <a:lnTo>
                    <a:pt x="1209" y="646"/>
                  </a:lnTo>
                  <a:lnTo>
                    <a:pt x="1209" y="646"/>
                  </a:lnTo>
                  <a:lnTo>
                    <a:pt x="1207" y="648"/>
                  </a:lnTo>
                  <a:lnTo>
                    <a:pt x="1207" y="648"/>
                  </a:lnTo>
                  <a:lnTo>
                    <a:pt x="1205" y="648"/>
                  </a:lnTo>
                  <a:lnTo>
                    <a:pt x="1202" y="648"/>
                  </a:lnTo>
                  <a:lnTo>
                    <a:pt x="1202" y="648"/>
                  </a:lnTo>
                  <a:lnTo>
                    <a:pt x="1202" y="648"/>
                  </a:lnTo>
                  <a:lnTo>
                    <a:pt x="1202" y="650"/>
                  </a:lnTo>
                  <a:lnTo>
                    <a:pt x="1202" y="650"/>
                  </a:lnTo>
                  <a:lnTo>
                    <a:pt x="1202" y="650"/>
                  </a:lnTo>
                  <a:lnTo>
                    <a:pt x="1205" y="650"/>
                  </a:lnTo>
                  <a:lnTo>
                    <a:pt x="1205" y="650"/>
                  </a:lnTo>
                  <a:lnTo>
                    <a:pt x="1205" y="650"/>
                  </a:lnTo>
                  <a:lnTo>
                    <a:pt x="1205" y="650"/>
                  </a:lnTo>
                  <a:lnTo>
                    <a:pt x="1205" y="650"/>
                  </a:lnTo>
                  <a:lnTo>
                    <a:pt x="1205" y="650"/>
                  </a:lnTo>
                  <a:lnTo>
                    <a:pt x="1205" y="653"/>
                  </a:lnTo>
                  <a:lnTo>
                    <a:pt x="1207" y="653"/>
                  </a:lnTo>
                  <a:lnTo>
                    <a:pt x="1207" y="653"/>
                  </a:lnTo>
                  <a:lnTo>
                    <a:pt x="1207" y="653"/>
                  </a:lnTo>
                  <a:lnTo>
                    <a:pt x="1207" y="653"/>
                  </a:lnTo>
                  <a:lnTo>
                    <a:pt x="1205" y="653"/>
                  </a:lnTo>
                  <a:lnTo>
                    <a:pt x="1202" y="655"/>
                  </a:lnTo>
                  <a:lnTo>
                    <a:pt x="1202" y="655"/>
                  </a:lnTo>
                  <a:lnTo>
                    <a:pt x="1202" y="655"/>
                  </a:lnTo>
                  <a:lnTo>
                    <a:pt x="1202" y="655"/>
                  </a:lnTo>
                  <a:lnTo>
                    <a:pt x="1202" y="655"/>
                  </a:lnTo>
                  <a:lnTo>
                    <a:pt x="1202" y="655"/>
                  </a:lnTo>
                  <a:lnTo>
                    <a:pt x="1200" y="655"/>
                  </a:lnTo>
                  <a:lnTo>
                    <a:pt x="1200" y="655"/>
                  </a:lnTo>
                  <a:lnTo>
                    <a:pt x="1198" y="655"/>
                  </a:lnTo>
                  <a:lnTo>
                    <a:pt x="1198" y="655"/>
                  </a:lnTo>
                  <a:lnTo>
                    <a:pt x="1198" y="655"/>
                  </a:lnTo>
                  <a:lnTo>
                    <a:pt x="1198" y="655"/>
                  </a:lnTo>
                  <a:lnTo>
                    <a:pt x="1198" y="657"/>
                  </a:lnTo>
                  <a:lnTo>
                    <a:pt x="1200" y="657"/>
                  </a:lnTo>
                  <a:lnTo>
                    <a:pt x="1200" y="657"/>
                  </a:lnTo>
                  <a:lnTo>
                    <a:pt x="1198" y="657"/>
                  </a:lnTo>
                  <a:lnTo>
                    <a:pt x="1196" y="659"/>
                  </a:lnTo>
                  <a:lnTo>
                    <a:pt x="1196" y="659"/>
                  </a:lnTo>
                  <a:lnTo>
                    <a:pt x="1196" y="659"/>
                  </a:lnTo>
                  <a:lnTo>
                    <a:pt x="1196" y="659"/>
                  </a:lnTo>
                  <a:lnTo>
                    <a:pt x="1196" y="657"/>
                  </a:lnTo>
                  <a:lnTo>
                    <a:pt x="1196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9"/>
                  </a:lnTo>
                  <a:lnTo>
                    <a:pt x="1193" y="659"/>
                  </a:lnTo>
                  <a:lnTo>
                    <a:pt x="1191" y="659"/>
                  </a:lnTo>
                  <a:lnTo>
                    <a:pt x="1191" y="659"/>
                  </a:lnTo>
                  <a:lnTo>
                    <a:pt x="1191" y="659"/>
                  </a:lnTo>
                  <a:lnTo>
                    <a:pt x="1189" y="657"/>
                  </a:lnTo>
                  <a:lnTo>
                    <a:pt x="1189" y="657"/>
                  </a:lnTo>
                  <a:lnTo>
                    <a:pt x="1189" y="657"/>
                  </a:lnTo>
                  <a:lnTo>
                    <a:pt x="1189" y="657"/>
                  </a:lnTo>
                  <a:lnTo>
                    <a:pt x="1189" y="657"/>
                  </a:lnTo>
                  <a:lnTo>
                    <a:pt x="1189" y="659"/>
                  </a:lnTo>
                  <a:lnTo>
                    <a:pt x="1187" y="659"/>
                  </a:lnTo>
                  <a:lnTo>
                    <a:pt x="1187" y="659"/>
                  </a:lnTo>
                  <a:lnTo>
                    <a:pt x="1187" y="659"/>
                  </a:lnTo>
                  <a:lnTo>
                    <a:pt x="1184" y="657"/>
                  </a:lnTo>
                  <a:lnTo>
                    <a:pt x="1184" y="657"/>
                  </a:lnTo>
                  <a:lnTo>
                    <a:pt x="1182" y="659"/>
                  </a:lnTo>
                  <a:lnTo>
                    <a:pt x="1182" y="659"/>
                  </a:lnTo>
                  <a:lnTo>
                    <a:pt x="1182" y="659"/>
                  </a:lnTo>
                  <a:lnTo>
                    <a:pt x="1182" y="659"/>
                  </a:lnTo>
                  <a:lnTo>
                    <a:pt x="1182" y="659"/>
                  </a:lnTo>
                  <a:lnTo>
                    <a:pt x="1182" y="662"/>
                  </a:lnTo>
                  <a:lnTo>
                    <a:pt x="1182" y="662"/>
                  </a:lnTo>
                  <a:lnTo>
                    <a:pt x="1182" y="662"/>
                  </a:lnTo>
                  <a:lnTo>
                    <a:pt x="1182" y="664"/>
                  </a:lnTo>
                  <a:lnTo>
                    <a:pt x="1182" y="664"/>
                  </a:lnTo>
                  <a:lnTo>
                    <a:pt x="1182" y="664"/>
                  </a:lnTo>
                  <a:lnTo>
                    <a:pt x="1180" y="664"/>
                  </a:lnTo>
                  <a:lnTo>
                    <a:pt x="1180" y="666"/>
                  </a:lnTo>
                  <a:lnTo>
                    <a:pt x="1180" y="666"/>
                  </a:lnTo>
                  <a:lnTo>
                    <a:pt x="1178" y="666"/>
                  </a:lnTo>
                  <a:lnTo>
                    <a:pt x="1178" y="666"/>
                  </a:lnTo>
                  <a:lnTo>
                    <a:pt x="1178" y="666"/>
                  </a:lnTo>
                  <a:lnTo>
                    <a:pt x="1175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3" y="666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69" y="668"/>
                  </a:lnTo>
                  <a:lnTo>
                    <a:pt x="1169" y="666"/>
                  </a:lnTo>
                  <a:lnTo>
                    <a:pt x="1169" y="664"/>
                  </a:lnTo>
                  <a:lnTo>
                    <a:pt x="1166" y="664"/>
                  </a:lnTo>
                  <a:lnTo>
                    <a:pt x="1166" y="664"/>
                  </a:lnTo>
                  <a:lnTo>
                    <a:pt x="1166" y="664"/>
                  </a:lnTo>
                  <a:lnTo>
                    <a:pt x="1164" y="664"/>
                  </a:lnTo>
                  <a:lnTo>
                    <a:pt x="1164" y="664"/>
                  </a:lnTo>
                  <a:lnTo>
                    <a:pt x="1162" y="664"/>
                  </a:lnTo>
                  <a:lnTo>
                    <a:pt x="1162" y="664"/>
                  </a:lnTo>
                  <a:lnTo>
                    <a:pt x="1162" y="664"/>
                  </a:lnTo>
                  <a:lnTo>
                    <a:pt x="1162" y="664"/>
                  </a:lnTo>
                  <a:lnTo>
                    <a:pt x="1162" y="664"/>
                  </a:lnTo>
                  <a:lnTo>
                    <a:pt x="1162" y="662"/>
                  </a:lnTo>
                  <a:lnTo>
                    <a:pt x="1162" y="662"/>
                  </a:lnTo>
                  <a:lnTo>
                    <a:pt x="1160" y="662"/>
                  </a:lnTo>
                  <a:lnTo>
                    <a:pt x="1160" y="662"/>
                  </a:lnTo>
                  <a:lnTo>
                    <a:pt x="1160" y="662"/>
                  </a:lnTo>
                  <a:lnTo>
                    <a:pt x="1160" y="662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57" y="659"/>
                  </a:lnTo>
                  <a:lnTo>
                    <a:pt x="1157" y="659"/>
                  </a:lnTo>
                  <a:lnTo>
                    <a:pt x="1157" y="659"/>
                  </a:lnTo>
                  <a:lnTo>
                    <a:pt x="1157" y="659"/>
                  </a:lnTo>
                  <a:lnTo>
                    <a:pt x="1155" y="659"/>
                  </a:lnTo>
                  <a:lnTo>
                    <a:pt x="1155" y="657"/>
                  </a:lnTo>
                  <a:lnTo>
                    <a:pt x="1155" y="657"/>
                  </a:lnTo>
                  <a:lnTo>
                    <a:pt x="1155" y="657"/>
                  </a:lnTo>
                  <a:lnTo>
                    <a:pt x="1153" y="657"/>
                  </a:lnTo>
                  <a:lnTo>
                    <a:pt x="1153" y="657"/>
                  </a:lnTo>
                  <a:lnTo>
                    <a:pt x="1153" y="657"/>
                  </a:lnTo>
                  <a:lnTo>
                    <a:pt x="1153" y="657"/>
                  </a:lnTo>
                  <a:lnTo>
                    <a:pt x="1151" y="657"/>
                  </a:lnTo>
                  <a:lnTo>
                    <a:pt x="1151" y="655"/>
                  </a:lnTo>
                  <a:lnTo>
                    <a:pt x="1151" y="655"/>
                  </a:lnTo>
                  <a:lnTo>
                    <a:pt x="1151" y="655"/>
                  </a:lnTo>
                  <a:lnTo>
                    <a:pt x="1151" y="655"/>
                  </a:lnTo>
                  <a:lnTo>
                    <a:pt x="1151" y="655"/>
                  </a:lnTo>
                  <a:lnTo>
                    <a:pt x="1151" y="655"/>
                  </a:lnTo>
                  <a:lnTo>
                    <a:pt x="1153" y="655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3"/>
                  </a:lnTo>
                  <a:lnTo>
                    <a:pt x="1153" y="650"/>
                  </a:lnTo>
                  <a:lnTo>
                    <a:pt x="1151" y="650"/>
                  </a:lnTo>
                  <a:lnTo>
                    <a:pt x="1151" y="650"/>
                  </a:lnTo>
                  <a:lnTo>
                    <a:pt x="1151" y="650"/>
                  </a:lnTo>
                  <a:lnTo>
                    <a:pt x="1151" y="650"/>
                  </a:lnTo>
                  <a:lnTo>
                    <a:pt x="1151" y="650"/>
                  </a:lnTo>
                  <a:lnTo>
                    <a:pt x="1148" y="650"/>
                  </a:lnTo>
                  <a:lnTo>
                    <a:pt x="1148" y="650"/>
                  </a:lnTo>
                  <a:lnTo>
                    <a:pt x="1148" y="650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6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3"/>
                  </a:lnTo>
                  <a:lnTo>
                    <a:pt x="1148" y="655"/>
                  </a:lnTo>
                  <a:lnTo>
                    <a:pt x="1146" y="655"/>
                  </a:lnTo>
                  <a:lnTo>
                    <a:pt x="1146" y="655"/>
                  </a:lnTo>
                  <a:lnTo>
                    <a:pt x="1144" y="655"/>
                  </a:lnTo>
                  <a:lnTo>
                    <a:pt x="1144" y="657"/>
                  </a:lnTo>
                  <a:lnTo>
                    <a:pt x="1144" y="657"/>
                  </a:lnTo>
                  <a:lnTo>
                    <a:pt x="1144" y="659"/>
                  </a:lnTo>
                  <a:lnTo>
                    <a:pt x="1144" y="657"/>
                  </a:lnTo>
                  <a:lnTo>
                    <a:pt x="1142" y="657"/>
                  </a:lnTo>
                  <a:lnTo>
                    <a:pt x="1142" y="657"/>
                  </a:lnTo>
                  <a:lnTo>
                    <a:pt x="1142" y="657"/>
                  </a:lnTo>
                  <a:lnTo>
                    <a:pt x="1142" y="657"/>
                  </a:lnTo>
                  <a:lnTo>
                    <a:pt x="1142" y="657"/>
                  </a:lnTo>
                  <a:lnTo>
                    <a:pt x="1142" y="657"/>
                  </a:lnTo>
                  <a:lnTo>
                    <a:pt x="1139" y="657"/>
                  </a:lnTo>
                  <a:lnTo>
                    <a:pt x="1139" y="657"/>
                  </a:lnTo>
                  <a:lnTo>
                    <a:pt x="1139" y="657"/>
                  </a:lnTo>
                  <a:lnTo>
                    <a:pt x="1139" y="657"/>
                  </a:lnTo>
                  <a:lnTo>
                    <a:pt x="1139" y="657"/>
                  </a:lnTo>
                  <a:lnTo>
                    <a:pt x="1139" y="657"/>
                  </a:lnTo>
                  <a:lnTo>
                    <a:pt x="1139" y="657"/>
                  </a:lnTo>
                  <a:lnTo>
                    <a:pt x="1137" y="657"/>
                  </a:lnTo>
                  <a:lnTo>
                    <a:pt x="1137" y="657"/>
                  </a:lnTo>
                  <a:lnTo>
                    <a:pt x="1137" y="657"/>
                  </a:lnTo>
                  <a:lnTo>
                    <a:pt x="1137" y="657"/>
                  </a:lnTo>
                  <a:lnTo>
                    <a:pt x="1137" y="657"/>
                  </a:lnTo>
                  <a:lnTo>
                    <a:pt x="1137" y="657"/>
                  </a:lnTo>
                  <a:lnTo>
                    <a:pt x="1135" y="657"/>
                  </a:lnTo>
                  <a:lnTo>
                    <a:pt x="1135" y="655"/>
                  </a:lnTo>
                  <a:lnTo>
                    <a:pt x="1135" y="655"/>
                  </a:lnTo>
                  <a:lnTo>
                    <a:pt x="1135" y="657"/>
                  </a:lnTo>
                  <a:lnTo>
                    <a:pt x="1135" y="657"/>
                  </a:lnTo>
                  <a:lnTo>
                    <a:pt x="1135" y="657"/>
                  </a:lnTo>
                  <a:lnTo>
                    <a:pt x="1133" y="655"/>
                  </a:lnTo>
                  <a:lnTo>
                    <a:pt x="1133" y="655"/>
                  </a:lnTo>
                  <a:lnTo>
                    <a:pt x="1133" y="655"/>
                  </a:lnTo>
                  <a:lnTo>
                    <a:pt x="1133" y="655"/>
                  </a:lnTo>
                  <a:lnTo>
                    <a:pt x="1133" y="655"/>
                  </a:lnTo>
                  <a:lnTo>
                    <a:pt x="1133" y="655"/>
                  </a:lnTo>
                  <a:lnTo>
                    <a:pt x="1130" y="655"/>
                  </a:lnTo>
                  <a:lnTo>
                    <a:pt x="1130" y="655"/>
                  </a:lnTo>
                  <a:lnTo>
                    <a:pt x="1130" y="655"/>
                  </a:lnTo>
                  <a:lnTo>
                    <a:pt x="1130" y="655"/>
                  </a:lnTo>
                  <a:lnTo>
                    <a:pt x="1128" y="655"/>
                  </a:lnTo>
                  <a:lnTo>
                    <a:pt x="1128" y="655"/>
                  </a:lnTo>
                  <a:lnTo>
                    <a:pt x="1128" y="655"/>
                  </a:lnTo>
                  <a:lnTo>
                    <a:pt x="1128" y="655"/>
                  </a:lnTo>
                  <a:lnTo>
                    <a:pt x="1128" y="655"/>
                  </a:lnTo>
                  <a:lnTo>
                    <a:pt x="1128" y="655"/>
                  </a:lnTo>
                  <a:lnTo>
                    <a:pt x="1126" y="655"/>
                  </a:lnTo>
                  <a:lnTo>
                    <a:pt x="1126" y="655"/>
                  </a:lnTo>
                  <a:lnTo>
                    <a:pt x="1124" y="655"/>
                  </a:lnTo>
                  <a:lnTo>
                    <a:pt x="1124" y="653"/>
                  </a:lnTo>
                  <a:lnTo>
                    <a:pt x="1124" y="653"/>
                  </a:lnTo>
                  <a:lnTo>
                    <a:pt x="1122" y="650"/>
                  </a:lnTo>
                  <a:lnTo>
                    <a:pt x="1122" y="650"/>
                  </a:lnTo>
                  <a:lnTo>
                    <a:pt x="1122" y="650"/>
                  </a:lnTo>
                  <a:lnTo>
                    <a:pt x="1119" y="650"/>
                  </a:lnTo>
                  <a:lnTo>
                    <a:pt x="1119" y="648"/>
                  </a:lnTo>
                  <a:lnTo>
                    <a:pt x="1119" y="648"/>
                  </a:lnTo>
                  <a:lnTo>
                    <a:pt x="1117" y="648"/>
                  </a:lnTo>
                  <a:lnTo>
                    <a:pt x="1117" y="648"/>
                  </a:lnTo>
                  <a:lnTo>
                    <a:pt x="1117" y="648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6"/>
                  </a:lnTo>
                  <a:lnTo>
                    <a:pt x="1117" y="644"/>
                  </a:lnTo>
                  <a:lnTo>
                    <a:pt x="1117" y="644"/>
                  </a:lnTo>
                  <a:lnTo>
                    <a:pt x="1115" y="644"/>
                  </a:lnTo>
                  <a:lnTo>
                    <a:pt x="1115" y="644"/>
                  </a:lnTo>
                  <a:lnTo>
                    <a:pt x="1115" y="644"/>
                  </a:lnTo>
                  <a:lnTo>
                    <a:pt x="1115" y="644"/>
                  </a:lnTo>
                  <a:lnTo>
                    <a:pt x="1113" y="644"/>
                  </a:lnTo>
                  <a:lnTo>
                    <a:pt x="1113" y="644"/>
                  </a:lnTo>
                  <a:lnTo>
                    <a:pt x="1113" y="644"/>
                  </a:lnTo>
                  <a:lnTo>
                    <a:pt x="1113" y="644"/>
                  </a:lnTo>
                  <a:lnTo>
                    <a:pt x="1113" y="644"/>
                  </a:lnTo>
                  <a:lnTo>
                    <a:pt x="1110" y="644"/>
                  </a:lnTo>
                  <a:lnTo>
                    <a:pt x="1110" y="644"/>
                  </a:lnTo>
                  <a:lnTo>
                    <a:pt x="1110" y="644"/>
                  </a:lnTo>
                  <a:lnTo>
                    <a:pt x="1110" y="641"/>
                  </a:lnTo>
                  <a:lnTo>
                    <a:pt x="1108" y="641"/>
                  </a:lnTo>
                  <a:lnTo>
                    <a:pt x="1108" y="641"/>
                  </a:lnTo>
                  <a:lnTo>
                    <a:pt x="1108" y="641"/>
                  </a:lnTo>
                  <a:lnTo>
                    <a:pt x="1106" y="641"/>
                  </a:lnTo>
                  <a:lnTo>
                    <a:pt x="1106" y="641"/>
                  </a:lnTo>
                  <a:lnTo>
                    <a:pt x="1106" y="641"/>
                  </a:lnTo>
                  <a:lnTo>
                    <a:pt x="1104" y="641"/>
                  </a:lnTo>
                  <a:lnTo>
                    <a:pt x="1104" y="641"/>
                  </a:lnTo>
                  <a:lnTo>
                    <a:pt x="1104" y="641"/>
                  </a:lnTo>
                  <a:lnTo>
                    <a:pt x="1104" y="641"/>
                  </a:lnTo>
                  <a:lnTo>
                    <a:pt x="1104" y="641"/>
                  </a:lnTo>
                  <a:lnTo>
                    <a:pt x="1101" y="641"/>
                  </a:lnTo>
                  <a:lnTo>
                    <a:pt x="1101" y="641"/>
                  </a:lnTo>
                  <a:lnTo>
                    <a:pt x="1101" y="641"/>
                  </a:lnTo>
                  <a:lnTo>
                    <a:pt x="1101" y="641"/>
                  </a:lnTo>
                  <a:lnTo>
                    <a:pt x="1101" y="639"/>
                  </a:lnTo>
                  <a:lnTo>
                    <a:pt x="1101" y="639"/>
                  </a:lnTo>
                  <a:lnTo>
                    <a:pt x="1101" y="639"/>
                  </a:lnTo>
                  <a:lnTo>
                    <a:pt x="1099" y="639"/>
                  </a:lnTo>
                  <a:lnTo>
                    <a:pt x="1099" y="639"/>
                  </a:lnTo>
                  <a:lnTo>
                    <a:pt x="1099" y="637"/>
                  </a:lnTo>
                  <a:lnTo>
                    <a:pt x="1099" y="637"/>
                  </a:lnTo>
                  <a:lnTo>
                    <a:pt x="1097" y="637"/>
                  </a:lnTo>
                  <a:lnTo>
                    <a:pt x="1097" y="635"/>
                  </a:lnTo>
                  <a:lnTo>
                    <a:pt x="1097" y="635"/>
                  </a:lnTo>
                  <a:lnTo>
                    <a:pt x="1097" y="635"/>
                  </a:lnTo>
                  <a:lnTo>
                    <a:pt x="1097" y="632"/>
                  </a:lnTo>
                  <a:lnTo>
                    <a:pt x="1095" y="632"/>
                  </a:lnTo>
                  <a:lnTo>
                    <a:pt x="1095" y="632"/>
                  </a:lnTo>
                  <a:lnTo>
                    <a:pt x="1095" y="632"/>
                  </a:lnTo>
                  <a:lnTo>
                    <a:pt x="1095" y="632"/>
                  </a:lnTo>
                  <a:lnTo>
                    <a:pt x="1092" y="630"/>
                  </a:lnTo>
                  <a:lnTo>
                    <a:pt x="1090" y="630"/>
                  </a:lnTo>
                  <a:lnTo>
                    <a:pt x="1090" y="628"/>
                  </a:lnTo>
                  <a:lnTo>
                    <a:pt x="1090" y="628"/>
                  </a:lnTo>
                  <a:lnTo>
                    <a:pt x="1088" y="628"/>
                  </a:lnTo>
                  <a:lnTo>
                    <a:pt x="1088" y="628"/>
                  </a:lnTo>
                  <a:lnTo>
                    <a:pt x="1088" y="626"/>
                  </a:lnTo>
                  <a:lnTo>
                    <a:pt x="1086" y="626"/>
                  </a:lnTo>
                  <a:lnTo>
                    <a:pt x="1086" y="626"/>
                  </a:lnTo>
                  <a:lnTo>
                    <a:pt x="1086" y="626"/>
                  </a:lnTo>
                  <a:lnTo>
                    <a:pt x="1086" y="626"/>
                  </a:lnTo>
                  <a:lnTo>
                    <a:pt x="1083" y="626"/>
                  </a:lnTo>
                  <a:lnTo>
                    <a:pt x="1083" y="626"/>
                  </a:lnTo>
                  <a:lnTo>
                    <a:pt x="1083" y="626"/>
                  </a:lnTo>
                  <a:lnTo>
                    <a:pt x="1081" y="626"/>
                  </a:lnTo>
                  <a:lnTo>
                    <a:pt x="1079" y="623"/>
                  </a:lnTo>
                  <a:lnTo>
                    <a:pt x="1079" y="623"/>
                  </a:lnTo>
                  <a:lnTo>
                    <a:pt x="1079" y="623"/>
                  </a:lnTo>
                  <a:lnTo>
                    <a:pt x="1079" y="623"/>
                  </a:lnTo>
                  <a:lnTo>
                    <a:pt x="1077" y="623"/>
                  </a:lnTo>
                  <a:lnTo>
                    <a:pt x="1074" y="623"/>
                  </a:lnTo>
                  <a:lnTo>
                    <a:pt x="1074" y="623"/>
                  </a:lnTo>
                  <a:lnTo>
                    <a:pt x="1074" y="623"/>
                  </a:lnTo>
                  <a:lnTo>
                    <a:pt x="1072" y="623"/>
                  </a:lnTo>
                  <a:lnTo>
                    <a:pt x="1072" y="623"/>
                  </a:lnTo>
                  <a:lnTo>
                    <a:pt x="1072" y="623"/>
                  </a:lnTo>
                  <a:lnTo>
                    <a:pt x="1072" y="623"/>
                  </a:lnTo>
                  <a:lnTo>
                    <a:pt x="1072" y="623"/>
                  </a:lnTo>
                  <a:lnTo>
                    <a:pt x="1072" y="623"/>
                  </a:lnTo>
                  <a:lnTo>
                    <a:pt x="1072" y="626"/>
                  </a:lnTo>
                  <a:lnTo>
                    <a:pt x="1072" y="626"/>
                  </a:lnTo>
                  <a:lnTo>
                    <a:pt x="1070" y="626"/>
                  </a:lnTo>
                  <a:lnTo>
                    <a:pt x="1068" y="626"/>
                  </a:lnTo>
                  <a:lnTo>
                    <a:pt x="1068" y="626"/>
                  </a:lnTo>
                  <a:lnTo>
                    <a:pt x="1065" y="626"/>
                  </a:lnTo>
                  <a:lnTo>
                    <a:pt x="1065" y="626"/>
                  </a:lnTo>
                  <a:lnTo>
                    <a:pt x="1068" y="628"/>
                  </a:lnTo>
                  <a:lnTo>
                    <a:pt x="1065" y="628"/>
                  </a:lnTo>
                  <a:lnTo>
                    <a:pt x="1065" y="628"/>
                  </a:lnTo>
                  <a:lnTo>
                    <a:pt x="1063" y="630"/>
                  </a:lnTo>
                  <a:lnTo>
                    <a:pt x="1063" y="630"/>
                  </a:lnTo>
                  <a:lnTo>
                    <a:pt x="1063" y="628"/>
                  </a:lnTo>
                  <a:lnTo>
                    <a:pt x="1061" y="630"/>
                  </a:lnTo>
                  <a:lnTo>
                    <a:pt x="1061" y="628"/>
                  </a:lnTo>
                  <a:lnTo>
                    <a:pt x="1061" y="628"/>
                  </a:lnTo>
                  <a:lnTo>
                    <a:pt x="1061" y="628"/>
                  </a:lnTo>
                  <a:lnTo>
                    <a:pt x="1061" y="628"/>
                  </a:lnTo>
                  <a:lnTo>
                    <a:pt x="1061" y="630"/>
                  </a:lnTo>
                  <a:lnTo>
                    <a:pt x="1061" y="630"/>
                  </a:lnTo>
                  <a:lnTo>
                    <a:pt x="1059" y="630"/>
                  </a:lnTo>
                  <a:lnTo>
                    <a:pt x="1059" y="628"/>
                  </a:lnTo>
                  <a:lnTo>
                    <a:pt x="1059" y="630"/>
                  </a:lnTo>
                  <a:lnTo>
                    <a:pt x="1059" y="630"/>
                  </a:lnTo>
                  <a:lnTo>
                    <a:pt x="1059" y="630"/>
                  </a:lnTo>
                  <a:lnTo>
                    <a:pt x="1059" y="630"/>
                  </a:lnTo>
                  <a:lnTo>
                    <a:pt x="1059" y="630"/>
                  </a:lnTo>
                  <a:lnTo>
                    <a:pt x="1056" y="630"/>
                  </a:lnTo>
                  <a:lnTo>
                    <a:pt x="1056" y="630"/>
                  </a:lnTo>
                  <a:lnTo>
                    <a:pt x="1054" y="628"/>
                  </a:lnTo>
                  <a:lnTo>
                    <a:pt x="1054" y="628"/>
                  </a:lnTo>
                  <a:lnTo>
                    <a:pt x="1054" y="628"/>
                  </a:lnTo>
                  <a:lnTo>
                    <a:pt x="1052" y="628"/>
                  </a:lnTo>
                  <a:lnTo>
                    <a:pt x="1052" y="628"/>
                  </a:lnTo>
                  <a:lnTo>
                    <a:pt x="1052" y="628"/>
                  </a:lnTo>
                  <a:lnTo>
                    <a:pt x="1050" y="628"/>
                  </a:lnTo>
                  <a:lnTo>
                    <a:pt x="1050" y="628"/>
                  </a:lnTo>
                  <a:lnTo>
                    <a:pt x="1050" y="628"/>
                  </a:lnTo>
                  <a:lnTo>
                    <a:pt x="1050" y="630"/>
                  </a:lnTo>
                  <a:lnTo>
                    <a:pt x="1050" y="630"/>
                  </a:lnTo>
                  <a:lnTo>
                    <a:pt x="1045" y="630"/>
                  </a:lnTo>
                  <a:lnTo>
                    <a:pt x="1045" y="630"/>
                  </a:lnTo>
                  <a:lnTo>
                    <a:pt x="1043" y="628"/>
                  </a:lnTo>
                  <a:lnTo>
                    <a:pt x="1043" y="628"/>
                  </a:lnTo>
                  <a:lnTo>
                    <a:pt x="1043" y="628"/>
                  </a:lnTo>
                  <a:lnTo>
                    <a:pt x="1045" y="628"/>
                  </a:lnTo>
                  <a:lnTo>
                    <a:pt x="1043" y="626"/>
                  </a:lnTo>
                  <a:lnTo>
                    <a:pt x="1043" y="626"/>
                  </a:lnTo>
                  <a:lnTo>
                    <a:pt x="1043" y="626"/>
                  </a:lnTo>
                  <a:lnTo>
                    <a:pt x="1041" y="623"/>
                  </a:lnTo>
                  <a:lnTo>
                    <a:pt x="1038" y="623"/>
                  </a:lnTo>
                  <a:lnTo>
                    <a:pt x="1038" y="626"/>
                  </a:lnTo>
                  <a:lnTo>
                    <a:pt x="1036" y="626"/>
                  </a:lnTo>
                  <a:lnTo>
                    <a:pt x="1036" y="626"/>
                  </a:lnTo>
                  <a:lnTo>
                    <a:pt x="1036" y="623"/>
                  </a:lnTo>
                  <a:lnTo>
                    <a:pt x="1036" y="623"/>
                  </a:lnTo>
                  <a:lnTo>
                    <a:pt x="1036" y="623"/>
                  </a:lnTo>
                  <a:lnTo>
                    <a:pt x="1034" y="623"/>
                  </a:lnTo>
                  <a:lnTo>
                    <a:pt x="1036" y="621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4" y="619"/>
                  </a:lnTo>
                  <a:lnTo>
                    <a:pt x="1032" y="619"/>
                  </a:lnTo>
                  <a:lnTo>
                    <a:pt x="1032" y="619"/>
                  </a:lnTo>
                  <a:lnTo>
                    <a:pt x="1029" y="619"/>
                  </a:lnTo>
                  <a:lnTo>
                    <a:pt x="1029" y="619"/>
                  </a:lnTo>
                  <a:lnTo>
                    <a:pt x="1029" y="619"/>
                  </a:lnTo>
                  <a:lnTo>
                    <a:pt x="1029" y="617"/>
                  </a:lnTo>
                  <a:lnTo>
                    <a:pt x="1029" y="617"/>
                  </a:lnTo>
                  <a:lnTo>
                    <a:pt x="1029" y="617"/>
                  </a:lnTo>
                  <a:lnTo>
                    <a:pt x="1029" y="617"/>
                  </a:lnTo>
                  <a:lnTo>
                    <a:pt x="1029" y="617"/>
                  </a:lnTo>
                  <a:lnTo>
                    <a:pt x="1027" y="617"/>
                  </a:lnTo>
                  <a:lnTo>
                    <a:pt x="1027" y="617"/>
                  </a:lnTo>
                  <a:lnTo>
                    <a:pt x="1025" y="617"/>
                  </a:lnTo>
                  <a:lnTo>
                    <a:pt x="1025" y="617"/>
                  </a:lnTo>
                  <a:lnTo>
                    <a:pt x="1025" y="617"/>
                  </a:lnTo>
                  <a:lnTo>
                    <a:pt x="1025" y="617"/>
                  </a:lnTo>
                  <a:lnTo>
                    <a:pt x="1025" y="617"/>
                  </a:lnTo>
                  <a:lnTo>
                    <a:pt x="1025" y="617"/>
                  </a:lnTo>
                  <a:lnTo>
                    <a:pt x="1025" y="619"/>
                  </a:lnTo>
                  <a:lnTo>
                    <a:pt x="1025" y="619"/>
                  </a:lnTo>
                  <a:lnTo>
                    <a:pt x="1023" y="619"/>
                  </a:lnTo>
                  <a:lnTo>
                    <a:pt x="1023" y="619"/>
                  </a:lnTo>
                  <a:lnTo>
                    <a:pt x="1023" y="619"/>
                  </a:lnTo>
                  <a:lnTo>
                    <a:pt x="1020" y="619"/>
                  </a:lnTo>
                  <a:lnTo>
                    <a:pt x="1020" y="619"/>
                  </a:lnTo>
                  <a:lnTo>
                    <a:pt x="1020" y="619"/>
                  </a:lnTo>
                  <a:lnTo>
                    <a:pt x="1023" y="621"/>
                  </a:lnTo>
                  <a:lnTo>
                    <a:pt x="1023" y="621"/>
                  </a:lnTo>
                  <a:lnTo>
                    <a:pt x="1023" y="621"/>
                  </a:lnTo>
                  <a:lnTo>
                    <a:pt x="1023" y="621"/>
                  </a:lnTo>
                  <a:lnTo>
                    <a:pt x="1023" y="621"/>
                  </a:lnTo>
                  <a:lnTo>
                    <a:pt x="1023" y="621"/>
                  </a:lnTo>
                  <a:lnTo>
                    <a:pt x="1023" y="621"/>
                  </a:lnTo>
                  <a:lnTo>
                    <a:pt x="1025" y="623"/>
                  </a:lnTo>
                  <a:lnTo>
                    <a:pt x="1025" y="623"/>
                  </a:lnTo>
                  <a:lnTo>
                    <a:pt x="1025" y="623"/>
                  </a:lnTo>
                  <a:lnTo>
                    <a:pt x="1025" y="623"/>
                  </a:lnTo>
                  <a:lnTo>
                    <a:pt x="1023" y="626"/>
                  </a:lnTo>
                  <a:lnTo>
                    <a:pt x="1023" y="626"/>
                  </a:lnTo>
                  <a:lnTo>
                    <a:pt x="1023" y="626"/>
                  </a:lnTo>
                  <a:lnTo>
                    <a:pt x="1023" y="626"/>
                  </a:lnTo>
                  <a:lnTo>
                    <a:pt x="1020" y="626"/>
                  </a:lnTo>
                  <a:lnTo>
                    <a:pt x="1020" y="626"/>
                  </a:lnTo>
                  <a:lnTo>
                    <a:pt x="1020" y="626"/>
                  </a:lnTo>
                  <a:lnTo>
                    <a:pt x="1020" y="626"/>
                  </a:lnTo>
                  <a:lnTo>
                    <a:pt x="1020" y="626"/>
                  </a:lnTo>
                  <a:lnTo>
                    <a:pt x="1020" y="626"/>
                  </a:lnTo>
                  <a:lnTo>
                    <a:pt x="1020" y="626"/>
                  </a:lnTo>
                  <a:lnTo>
                    <a:pt x="1020" y="628"/>
                  </a:lnTo>
                  <a:lnTo>
                    <a:pt x="1020" y="628"/>
                  </a:lnTo>
                  <a:lnTo>
                    <a:pt x="1020" y="628"/>
                  </a:lnTo>
                  <a:lnTo>
                    <a:pt x="1020" y="628"/>
                  </a:lnTo>
                  <a:lnTo>
                    <a:pt x="1018" y="626"/>
                  </a:lnTo>
                  <a:lnTo>
                    <a:pt x="1018" y="626"/>
                  </a:lnTo>
                  <a:lnTo>
                    <a:pt x="1018" y="628"/>
                  </a:lnTo>
                  <a:lnTo>
                    <a:pt x="1018" y="628"/>
                  </a:lnTo>
                  <a:lnTo>
                    <a:pt x="1020" y="628"/>
                  </a:lnTo>
                  <a:lnTo>
                    <a:pt x="1020" y="628"/>
                  </a:lnTo>
                  <a:lnTo>
                    <a:pt x="1018" y="628"/>
                  </a:lnTo>
                  <a:lnTo>
                    <a:pt x="1018" y="628"/>
                  </a:lnTo>
                  <a:lnTo>
                    <a:pt x="1018" y="628"/>
                  </a:lnTo>
                  <a:lnTo>
                    <a:pt x="1016" y="628"/>
                  </a:lnTo>
                  <a:lnTo>
                    <a:pt x="1016" y="626"/>
                  </a:lnTo>
                  <a:lnTo>
                    <a:pt x="1014" y="623"/>
                  </a:lnTo>
                  <a:lnTo>
                    <a:pt x="1011" y="623"/>
                  </a:lnTo>
                  <a:lnTo>
                    <a:pt x="1009" y="621"/>
                  </a:lnTo>
                  <a:lnTo>
                    <a:pt x="1007" y="617"/>
                  </a:lnTo>
                  <a:lnTo>
                    <a:pt x="1005" y="614"/>
                  </a:lnTo>
                  <a:lnTo>
                    <a:pt x="1000" y="612"/>
                  </a:lnTo>
                  <a:lnTo>
                    <a:pt x="998" y="610"/>
                  </a:lnTo>
                  <a:lnTo>
                    <a:pt x="993" y="605"/>
                  </a:lnTo>
                  <a:lnTo>
                    <a:pt x="991" y="603"/>
                  </a:lnTo>
                  <a:lnTo>
                    <a:pt x="989" y="601"/>
                  </a:lnTo>
                  <a:lnTo>
                    <a:pt x="989" y="601"/>
                  </a:lnTo>
                  <a:lnTo>
                    <a:pt x="989" y="601"/>
                  </a:lnTo>
                  <a:lnTo>
                    <a:pt x="989" y="601"/>
                  </a:lnTo>
                  <a:lnTo>
                    <a:pt x="984" y="596"/>
                  </a:lnTo>
                  <a:lnTo>
                    <a:pt x="980" y="594"/>
                  </a:lnTo>
                  <a:lnTo>
                    <a:pt x="975" y="590"/>
                  </a:lnTo>
                  <a:lnTo>
                    <a:pt x="971" y="585"/>
                  </a:lnTo>
                  <a:lnTo>
                    <a:pt x="966" y="583"/>
                  </a:lnTo>
                  <a:lnTo>
                    <a:pt x="964" y="581"/>
                  </a:lnTo>
                  <a:lnTo>
                    <a:pt x="962" y="578"/>
                  </a:lnTo>
                  <a:lnTo>
                    <a:pt x="958" y="576"/>
                  </a:lnTo>
                  <a:lnTo>
                    <a:pt x="955" y="574"/>
                  </a:lnTo>
                  <a:lnTo>
                    <a:pt x="953" y="572"/>
                  </a:lnTo>
                  <a:lnTo>
                    <a:pt x="949" y="569"/>
                  </a:lnTo>
                  <a:lnTo>
                    <a:pt x="946" y="567"/>
                  </a:lnTo>
                  <a:lnTo>
                    <a:pt x="944" y="565"/>
                  </a:lnTo>
                  <a:lnTo>
                    <a:pt x="940" y="565"/>
                  </a:lnTo>
                  <a:lnTo>
                    <a:pt x="935" y="563"/>
                  </a:lnTo>
                  <a:lnTo>
                    <a:pt x="931" y="560"/>
                  </a:lnTo>
                  <a:lnTo>
                    <a:pt x="926" y="558"/>
                  </a:lnTo>
                  <a:lnTo>
                    <a:pt x="924" y="556"/>
                  </a:lnTo>
                  <a:lnTo>
                    <a:pt x="922" y="556"/>
                  </a:lnTo>
                  <a:lnTo>
                    <a:pt x="922" y="556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7" y="551"/>
                  </a:lnTo>
                  <a:lnTo>
                    <a:pt x="917" y="551"/>
                  </a:lnTo>
                  <a:lnTo>
                    <a:pt x="917" y="551"/>
                  </a:lnTo>
                  <a:lnTo>
                    <a:pt x="917" y="551"/>
                  </a:lnTo>
                  <a:lnTo>
                    <a:pt x="919" y="551"/>
                  </a:lnTo>
                  <a:lnTo>
                    <a:pt x="922" y="551"/>
                  </a:lnTo>
                  <a:lnTo>
                    <a:pt x="922" y="551"/>
                  </a:lnTo>
                  <a:lnTo>
                    <a:pt x="922" y="551"/>
                  </a:lnTo>
                  <a:lnTo>
                    <a:pt x="922" y="551"/>
                  </a:lnTo>
                  <a:lnTo>
                    <a:pt x="924" y="551"/>
                  </a:lnTo>
                  <a:lnTo>
                    <a:pt x="924" y="549"/>
                  </a:lnTo>
                  <a:lnTo>
                    <a:pt x="924" y="549"/>
                  </a:lnTo>
                  <a:lnTo>
                    <a:pt x="924" y="549"/>
                  </a:lnTo>
                  <a:lnTo>
                    <a:pt x="924" y="549"/>
                  </a:lnTo>
                  <a:lnTo>
                    <a:pt x="924" y="549"/>
                  </a:lnTo>
                  <a:lnTo>
                    <a:pt x="924" y="549"/>
                  </a:lnTo>
                  <a:lnTo>
                    <a:pt x="924" y="547"/>
                  </a:lnTo>
                  <a:lnTo>
                    <a:pt x="924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5"/>
                  </a:lnTo>
                  <a:lnTo>
                    <a:pt x="922" y="545"/>
                  </a:lnTo>
                  <a:lnTo>
                    <a:pt x="924" y="545"/>
                  </a:lnTo>
                  <a:lnTo>
                    <a:pt x="924" y="545"/>
                  </a:lnTo>
                  <a:lnTo>
                    <a:pt x="924" y="545"/>
                  </a:lnTo>
                  <a:lnTo>
                    <a:pt x="922" y="545"/>
                  </a:lnTo>
                  <a:lnTo>
                    <a:pt x="922" y="545"/>
                  </a:lnTo>
                  <a:lnTo>
                    <a:pt x="922" y="545"/>
                  </a:lnTo>
                  <a:lnTo>
                    <a:pt x="922" y="545"/>
                  </a:lnTo>
                  <a:lnTo>
                    <a:pt x="919" y="545"/>
                  </a:lnTo>
                  <a:lnTo>
                    <a:pt x="919" y="545"/>
                  </a:lnTo>
                  <a:lnTo>
                    <a:pt x="919" y="545"/>
                  </a:lnTo>
                  <a:lnTo>
                    <a:pt x="919" y="545"/>
                  </a:lnTo>
                  <a:lnTo>
                    <a:pt x="919" y="545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3" y="549"/>
                  </a:lnTo>
                  <a:lnTo>
                    <a:pt x="913" y="549"/>
                  </a:lnTo>
                  <a:lnTo>
                    <a:pt x="913" y="549"/>
                  </a:lnTo>
                  <a:lnTo>
                    <a:pt x="910" y="549"/>
                  </a:lnTo>
                  <a:lnTo>
                    <a:pt x="908" y="551"/>
                  </a:lnTo>
                  <a:lnTo>
                    <a:pt x="906" y="551"/>
                  </a:lnTo>
                  <a:lnTo>
                    <a:pt x="904" y="554"/>
                  </a:lnTo>
                  <a:lnTo>
                    <a:pt x="904" y="554"/>
                  </a:lnTo>
                  <a:lnTo>
                    <a:pt x="901" y="551"/>
                  </a:lnTo>
                  <a:lnTo>
                    <a:pt x="901" y="551"/>
                  </a:lnTo>
                  <a:lnTo>
                    <a:pt x="901" y="554"/>
                  </a:lnTo>
                  <a:lnTo>
                    <a:pt x="899" y="554"/>
                  </a:lnTo>
                  <a:lnTo>
                    <a:pt x="901" y="556"/>
                  </a:lnTo>
                  <a:lnTo>
                    <a:pt x="899" y="556"/>
                  </a:lnTo>
                  <a:lnTo>
                    <a:pt x="899" y="558"/>
                  </a:lnTo>
                  <a:lnTo>
                    <a:pt x="897" y="558"/>
                  </a:lnTo>
                  <a:lnTo>
                    <a:pt x="897" y="558"/>
                  </a:lnTo>
                  <a:lnTo>
                    <a:pt x="895" y="558"/>
                  </a:lnTo>
                  <a:lnTo>
                    <a:pt x="895" y="558"/>
                  </a:lnTo>
                  <a:lnTo>
                    <a:pt x="892" y="558"/>
                  </a:lnTo>
                  <a:lnTo>
                    <a:pt x="892" y="558"/>
                  </a:lnTo>
                  <a:lnTo>
                    <a:pt x="892" y="558"/>
                  </a:lnTo>
                  <a:lnTo>
                    <a:pt x="892" y="558"/>
                  </a:lnTo>
                  <a:lnTo>
                    <a:pt x="892" y="560"/>
                  </a:lnTo>
                  <a:lnTo>
                    <a:pt x="892" y="560"/>
                  </a:lnTo>
                  <a:lnTo>
                    <a:pt x="892" y="560"/>
                  </a:lnTo>
                  <a:lnTo>
                    <a:pt x="890" y="560"/>
                  </a:lnTo>
                  <a:lnTo>
                    <a:pt x="890" y="560"/>
                  </a:lnTo>
                  <a:lnTo>
                    <a:pt x="890" y="560"/>
                  </a:lnTo>
                  <a:lnTo>
                    <a:pt x="890" y="560"/>
                  </a:lnTo>
                  <a:lnTo>
                    <a:pt x="890" y="563"/>
                  </a:lnTo>
                  <a:lnTo>
                    <a:pt x="890" y="563"/>
                  </a:lnTo>
                  <a:lnTo>
                    <a:pt x="888" y="563"/>
                  </a:lnTo>
                  <a:lnTo>
                    <a:pt x="888" y="563"/>
                  </a:lnTo>
                  <a:lnTo>
                    <a:pt x="888" y="563"/>
                  </a:lnTo>
                  <a:lnTo>
                    <a:pt x="888" y="565"/>
                  </a:lnTo>
                  <a:lnTo>
                    <a:pt x="888" y="565"/>
                  </a:lnTo>
                  <a:lnTo>
                    <a:pt x="888" y="565"/>
                  </a:lnTo>
                  <a:lnTo>
                    <a:pt x="888" y="565"/>
                  </a:lnTo>
                  <a:lnTo>
                    <a:pt x="888" y="565"/>
                  </a:lnTo>
                  <a:lnTo>
                    <a:pt x="890" y="567"/>
                  </a:lnTo>
                  <a:lnTo>
                    <a:pt x="888" y="567"/>
                  </a:lnTo>
                  <a:lnTo>
                    <a:pt x="888" y="567"/>
                  </a:lnTo>
                  <a:lnTo>
                    <a:pt x="888" y="567"/>
                  </a:lnTo>
                  <a:lnTo>
                    <a:pt x="888" y="567"/>
                  </a:lnTo>
                  <a:lnTo>
                    <a:pt x="888" y="567"/>
                  </a:lnTo>
                  <a:lnTo>
                    <a:pt x="886" y="565"/>
                  </a:lnTo>
                  <a:lnTo>
                    <a:pt x="886" y="565"/>
                  </a:lnTo>
                  <a:lnTo>
                    <a:pt x="886" y="565"/>
                  </a:lnTo>
                  <a:lnTo>
                    <a:pt x="886" y="565"/>
                  </a:lnTo>
                  <a:lnTo>
                    <a:pt x="886" y="565"/>
                  </a:lnTo>
                  <a:lnTo>
                    <a:pt x="886" y="565"/>
                  </a:lnTo>
                  <a:lnTo>
                    <a:pt x="886" y="565"/>
                  </a:lnTo>
                  <a:lnTo>
                    <a:pt x="883" y="565"/>
                  </a:lnTo>
                  <a:lnTo>
                    <a:pt x="883" y="565"/>
                  </a:lnTo>
                  <a:lnTo>
                    <a:pt x="883" y="565"/>
                  </a:lnTo>
                  <a:lnTo>
                    <a:pt x="883" y="565"/>
                  </a:lnTo>
                  <a:lnTo>
                    <a:pt x="883" y="565"/>
                  </a:lnTo>
                  <a:lnTo>
                    <a:pt x="881" y="565"/>
                  </a:lnTo>
                  <a:lnTo>
                    <a:pt x="881" y="565"/>
                  </a:lnTo>
                  <a:lnTo>
                    <a:pt x="881" y="565"/>
                  </a:lnTo>
                  <a:lnTo>
                    <a:pt x="881" y="563"/>
                  </a:lnTo>
                  <a:lnTo>
                    <a:pt x="881" y="563"/>
                  </a:lnTo>
                  <a:lnTo>
                    <a:pt x="881" y="563"/>
                  </a:lnTo>
                  <a:lnTo>
                    <a:pt x="879" y="563"/>
                  </a:lnTo>
                  <a:lnTo>
                    <a:pt x="879" y="563"/>
                  </a:lnTo>
                  <a:lnTo>
                    <a:pt x="879" y="563"/>
                  </a:lnTo>
                  <a:lnTo>
                    <a:pt x="879" y="563"/>
                  </a:lnTo>
                  <a:lnTo>
                    <a:pt x="877" y="565"/>
                  </a:lnTo>
                  <a:lnTo>
                    <a:pt x="877" y="565"/>
                  </a:lnTo>
                  <a:lnTo>
                    <a:pt x="877" y="563"/>
                  </a:lnTo>
                  <a:lnTo>
                    <a:pt x="877" y="563"/>
                  </a:lnTo>
                  <a:lnTo>
                    <a:pt x="874" y="563"/>
                  </a:lnTo>
                  <a:lnTo>
                    <a:pt x="874" y="563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4" y="565"/>
                  </a:lnTo>
                  <a:lnTo>
                    <a:pt x="872" y="567"/>
                  </a:lnTo>
                  <a:lnTo>
                    <a:pt x="872" y="567"/>
                  </a:lnTo>
                  <a:lnTo>
                    <a:pt x="872" y="567"/>
                  </a:lnTo>
                  <a:lnTo>
                    <a:pt x="872" y="567"/>
                  </a:lnTo>
                  <a:lnTo>
                    <a:pt x="872" y="567"/>
                  </a:lnTo>
                  <a:lnTo>
                    <a:pt x="870" y="567"/>
                  </a:lnTo>
                  <a:lnTo>
                    <a:pt x="870" y="565"/>
                  </a:lnTo>
                  <a:lnTo>
                    <a:pt x="868" y="565"/>
                  </a:lnTo>
                  <a:lnTo>
                    <a:pt x="868" y="563"/>
                  </a:lnTo>
                  <a:lnTo>
                    <a:pt x="865" y="563"/>
                  </a:lnTo>
                  <a:lnTo>
                    <a:pt x="865" y="563"/>
                  </a:lnTo>
                  <a:lnTo>
                    <a:pt x="865" y="563"/>
                  </a:lnTo>
                  <a:lnTo>
                    <a:pt x="865" y="563"/>
                  </a:lnTo>
                  <a:lnTo>
                    <a:pt x="868" y="563"/>
                  </a:lnTo>
                  <a:lnTo>
                    <a:pt x="868" y="563"/>
                  </a:lnTo>
                  <a:lnTo>
                    <a:pt x="868" y="560"/>
                  </a:lnTo>
                  <a:lnTo>
                    <a:pt x="868" y="560"/>
                  </a:lnTo>
                  <a:lnTo>
                    <a:pt x="868" y="558"/>
                  </a:lnTo>
                  <a:lnTo>
                    <a:pt x="868" y="558"/>
                  </a:lnTo>
                  <a:lnTo>
                    <a:pt x="868" y="558"/>
                  </a:lnTo>
                  <a:lnTo>
                    <a:pt x="868" y="558"/>
                  </a:lnTo>
                  <a:lnTo>
                    <a:pt x="868" y="558"/>
                  </a:lnTo>
                  <a:lnTo>
                    <a:pt x="868" y="558"/>
                  </a:lnTo>
                  <a:lnTo>
                    <a:pt x="872" y="558"/>
                  </a:lnTo>
                  <a:lnTo>
                    <a:pt x="872" y="558"/>
                  </a:lnTo>
                  <a:lnTo>
                    <a:pt x="872" y="558"/>
                  </a:lnTo>
                  <a:lnTo>
                    <a:pt x="872" y="558"/>
                  </a:lnTo>
                  <a:lnTo>
                    <a:pt x="872" y="554"/>
                  </a:lnTo>
                  <a:lnTo>
                    <a:pt x="870" y="554"/>
                  </a:lnTo>
                  <a:lnTo>
                    <a:pt x="870" y="554"/>
                  </a:lnTo>
                  <a:lnTo>
                    <a:pt x="870" y="554"/>
                  </a:lnTo>
                  <a:lnTo>
                    <a:pt x="870" y="554"/>
                  </a:lnTo>
                  <a:lnTo>
                    <a:pt x="870" y="554"/>
                  </a:lnTo>
                  <a:lnTo>
                    <a:pt x="868" y="554"/>
                  </a:lnTo>
                  <a:lnTo>
                    <a:pt x="868" y="554"/>
                  </a:lnTo>
                  <a:lnTo>
                    <a:pt x="868" y="554"/>
                  </a:lnTo>
                  <a:lnTo>
                    <a:pt x="868" y="554"/>
                  </a:lnTo>
                  <a:lnTo>
                    <a:pt x="870" y="554"/>
                  </a:lnTo>
                  <a:lnTo>
                    <a:pt x="868" y="554"/>
                  </a:lnTo>
                  <a:lnTo>
                    <a:pt x="868" y="554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8" y="556"/>
                  </a:lnTo>
                  <a:lnTo>
                    <a:pt x="865" y="556"/>
                  </a:lnTo>
                  <a:lnTo>
                    <a:pt x="865" y="556"/>
                  </a:lnTo>
                  <a:lnTo>
                    <a:pt x="865" y="556"/>
                  </a:lnTo>
                  <a:lnTo>
                    <a:pt x="865" y="556"/>
                  </a:lnTo>
                  <a:lnTo>
                    <a:pt x="865" y="556"/>
                  </a:lnTo>
                  <a:lnTo>
                    <a:pt x="865" y="556"/>
                  </a:lnTo>
                  <a:lnTo>
                    <a:pt x="865" y="556"/>
                  </a:lnTo>
                  <a:lnTo>
                    <a:pt x="863" y="556"/>
                  </a:lnTo>
                  <a:lnTo>
                    <a:pt x="861" y="556"/>
                  </a:lnTo>
                  <a:lnTo>
                    <a:pt x="859" y="556"/>
                  </a:lnTo>
                  <a:lnTo>
                    <a:pt x="859" y="554"/>
                  </a:lnTo>
                  <a:lnTo>
                    <a:pt x="859" y="554"/>
                  </a:lnTo>
                  <a:lnTo>
                    <a:pt x="859" y="554"/>
                  </a:lnTo>
                  <a:lnTo>
                    <a:pt x="856" y="554"/>
                  </a:lnTo>
                  <a:lnTo>
                    <a:pt x="856" y="551"/>
                  </a:lnTo>
                  <a:lnTo>
                    <a:pt x="856" y="551"/>
                  </a:lnTo>
                  <a:lnTo>
                    <a:pt x="856" y="551"/>
                  </a:lnTo>
                  <a:lnTo>
                    <a:pt x="856" y="551"/>
                  </a:lnTo>
                  <a:lnTo>
                    <a:pt x="852" y="551"/>
                  </a:lnTo>
                  <a:lnTo>
                    <a:pt x="850" y="551"/>
                  </a:lnTo>
                  <a:lnTo>
                    <a:pt x="850" y="551"/>
                  </a:lnTo>
                  <a:lnTo>
                    <a:pt x="850" y="554"/>
                  </a:lnTo>
                  <a:lnTo>
                    <a:pt x="850" y="554"/>
                  </a:lnTo>
                  <a:lnTo>
                    <a:pt x="850" y="554"/>
                  </a:lnTo>
                  <a:lnTo>
                    <a:pt x="850" y="554"/>
                  </a:lnTo>
                  <a:lnTo>
                    <a:pt x="850" y="554"/>
                  </a:lnTo>
                  <a:lnTo>
                    <a:pt x="852" y="554"/>
                  </a:lnTo>
                  <a:lnTo>
                    <a:pt x="852" y="554"/>
                  </a:lnTo>
                  <a:lnTo>
                    <a:pt x="852" y="554"/>
                  </a:lnTo>
                  <a:lnTo>
                    <a:pt x="852" y="554"/>
                  </a:lnTo>
                  <a:lnTo>
                    <a:pt x="854" y="556"/>
                  </a:lnTo>
                  <a:lnTo>
                    <a:pt x="854" y="556"/>
                  </a:lnTo>
                  <a:lnTo>
                    <a:pt x="854" y="556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2" y="556"/>
                  </a:lnTo>
                  <a:lnTo>
                    <a:pt x="850" y="556"/>
                  </a:lnTo>
                  <a:lnTo>
                    <a:pt x="850" y="556"/>
                  </a:lnTo>
                  <a:lnTo>
                    <a:pt x="850" y="556"/>
                  </a:lnTo>
                  <a:lnTo>
                    <a:pt x="850" y="556"/>
                  </a:lnTo>
                  <a:lnTo>
                    <a:pt x="850" y="556"/>
                  </a:lnTo>
                  <a:lnTo>
                    <a:pt x="847" y="556"/>
                  </a:lnTo>
                  <a:lnTo>
                    <a:pt x="847" y="556"/>
                  </a:lnTo>
                  <a:lnTo>
                    <a:pt x="847" y="556"/>
                  </a:lnTo>
                  <a:lnTo>
                    <a:pt x="847" y="556"/>
                  </a:lnTo>
                  <a:lnTo>
                    <a:pt x="847" y="556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5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4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7" y="551"/>
                  </a:lnTo>
                  <a:lnTo>
                    <a:pt x="845" y="551"/>
                  </a:lnTo>
                  <a:lnTo>
                    <a:pt x="845" y="551"/>
                  </a:lnTo>
                  <a:lnTo>
                    <a:pt x="845" y="549"/>
                  </a:lnTo>
                  <a:lnTo>
                    <a:pt x="845" y="549"/>
                  </a:lnTo>
                  <a:lnTo>
                    <a:pt x="843" y="549"/>
                  </a:lnTo>
                  <a:lnTo>
                    <a:pt x="843" y="549"/>
                  </a:lnTo>
                  <a:lnTo>
                    <a:pt x="843" y="549"/>
                  </a:lnTo>
                  <a:lnTo>
                    <a:pt x="843" y="547"/>
                  </a:lnTo>
                  <a:lnTo>
                    <a:pt x="841" y="547"/>
                  </a:lnTo>
                  <a:lnTo>
                    <a:pt x="841" y="547"/>
                  </a:lnTo>
                  <a:lnTo>
                    <a:pt x="841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7"/>
                  </a:lnTo>
                  <a:lnTo>
                    <a:pt x="838" y="549"/>
                  </a:lnTo>
                  <a:lnTo>
                    <a:pt x="838" y="549"/>
                  </a:lnTo>
                  <a:lnTo>
                    <a:pt x="838" y="549"/>
                  </a:lnTo>
                  <a:lnTo>
                    <a:pt x="838" y="549"/>
                  </a:lnTo>
                  <a:lnTo>
                    <a:pt x="841" y="549"/>
                  </a:lnTo>
                  <a:lnTo>
                    <a:pt x="841" y="549"/>
                  </a:lnTo>
                  <a:lnTo>
                    <a:pt x="841" y="549"/>
                  </a:lnTo>
                  <a:lnTo>
                    <a:pt x="841" y="549"/>
                  </a:lnTo>
                  <a:lnTo>
                    <a:pt x="841" y="549"/>
                  </a:lnTo>
                  <a:lnTo>
                    <a:pt x="843" y="551"/>
                  </a:lnTo>
                  <a:lnTo>
                    <a:pt x="843" y="551"/>
                  </a:lnTo>
                  <a:lnTo>
                    <a:pt x="843" y="551"/>
                  </a:lnTo>
                  <a:lnTo>
                    <a:pt x="843" y="551"/>
                  </a:lnTo>
                  <a:lnTo>
                    <a:pt x="843" y="551"/>
                  </a:lnTo>
                  <a:lnTo>
                    <a:pt x="843" y="551"/>
                  </a:lnTo>
                  <a:lnTo>
                    <a:pt x="841" y="551"/>
                  </a:lnTo>
                  <a:lnTo>
                    <a:pt x="841" y="551"/>
                  </a:lnTo>
                  <a:lnTo>
                    <a:pt x="838" y="549"/>
                  </a:lnTo>
                  <a:lnTo>
                    <a:pt x="838" y="549"/>
                  </a:lnTo>
                  <a:lnTo>
                    <a:pt x="838" y="549"/>
                  </a:lnTo>
                  <a:lnTo>
                    <a:pt x="838" y="549"/>
                  </a:lnTo>
                  <a:lnTo>
                    <a:pt x="834" y="549"/>
                  </a:lnTo>
                  <a:lnTo>
                    <a:pt x="834" y="549"/>
                  </a:lnTo>
                  <a:lnTo>
                    <a:pt x="834" y="549"/>
                  </a:lnTo>
                  <a:lnTo>
                    <a:pt x="834" y="549"/>
                  </a:lnTo>
                  <a:lnTo>
                    <a:pt x="834" y="551"/>
                  </a:lnTo>
                  <a:lnTo>
                    <a:pt x="834" y="551"/>
                  </a:lnTo>
                  <a:lnTo>
                    <a:pt x="834" y="551"/>
                  </a:lnTo>
                  <a:lnTo>
                    <a:pt x="834" y="551"/>
                  </a:lnTo>
                  <a:lnTo>
                    <a:pt x="834" y="551"/>
                  </a:lnTo>
                  <a:lnTo>
                    <a:pt x="834" y="551"/>
                  </a:lnTo>
                  <a:lnTo>
                    <a:pt x="834" y="551"/>
                  </a:lnTo>
                  <a:lnTo>
                    <a:pt x="832" y="551"/>
                  </a:lnTo>
                  <a:lnTo>
                    <a:pt x="832" y="551"/>
                  </a:lnTo>
                  <a:lnTo>
                    <a:pt x="832" y="551"/>
                  </a:lnTo>
                  <a:lnTo>
                    <a:pt x="832" y="551"/>
                  </a:lnTo>
                  <a:lnTo>
                    <a:pt x="832" y="551"/>
                  </a:lnTo>
                  <a:lnTo>
                    <a:pt x="829" y="551"/>
                  </a:lnTo>
                  <a:lnTo>
                    <a:pt x="829" y="551"/>
                  </a:lnTo>
                  <a:lnTo>
                    <a:pt x="829" y="551"/>
                  </a:lnTo>
                  <a:lnTo>
                    <a:pt x="829" y="551"/>
                  </a:lnTo>
                  <a:lnTo>
                    <a:pt x="829" y="551"/>
                  </a:lnTo>
                  <a:lnTo>
                    <a:pt x="829" y="551"/>
                  </a:lnTo>
                  <a:lnTo>
                    <a:pt x="827" y="551"/>
                  </a:lnTo>
                  <a:lnTo>
                    <a:pt x="827" y="551"/>
                  </a:lnTo>
                  <a:lnTo>
                    <a:pt x="827" y="549"/>
                  </a:lnTo>
                  <a:lnTo>
                    <a:pt x="827" y="551"/>
                  </a:lnTo>
                  <a:lnTo>
                    <a:pt x="827" y="551"/>
                  </a:lnTo>
                  <a:lnTo>
                    <a:pt x="825" y="551"/>
                  </a:lnTo>
                  <a:lnTo>
                    <a:pt x="825" y="551"/>
                  </a:lnTo>
                  <a:lnTo>
                    <a:pt x="825" y="551"/>
                  </a:lnTo>
                  <a:lnTo>
                    <a:pt x="825" y="551"/>
                  </a:lnTo>
                  <a:lnTo>
                    <a:pt x="823" y="551"/>
                  </a:lnTo>
                  <a:lnTo>
                    <a:pt x="823" y="551"/>
                  </a:lnTo>
                  <a:lnTo>
                    <a:pt x="823" y="551"/>
                  </a:lnTo>
                  <a:lnTo>
                    <a:pt x="823" y="551"/>
                  </a:lnTo>
                  <a:lnTo>
                    <a:pt x="823" y="549"/>
                  </a:lnTo>
                  <a:lnTo>
                    <a:pt x="823" y="549"/>
                  </a:lnTo>
                  <a:lnTo>
                    <a:pt x="823" y="549"/>
                  </a:lnTo>
                  <a:lnTo>
                    <a:pt x="820" y="549"/>
                  </a:lnTo>
                  <a:lnTo>
                    <a:pt x="820" y="549"/>
                  </a:lnTo>
                  <a:lnTo>
                    <a:pt x="820" y="549"/>
                  </a:lnTo>
                  <a:lnTo>
                    <a:pt x="820" y="547"/>
                  </a:lnTo>
                  <a:lnTo>
                    <a:pt x="820" y="547"/>
                  </a:lnTo>
                  <a:lnTo>
                    <a:pt x="820" y="547"/>
                  </a:lnTo>
                  <a:lnTo>
                    <a:pt x="820" y="547"/>
                  </a:lnTo>
                  <a:lnTo>
                    <a:pt x="820" y="547"/>
                  </a:lnTo>
                  <a:lnTo>
                    <a:pt x="823" y="547"/>
                  </a:lnTo>
                  <a:lnTo>
                    <a:pt x="823" y="547"/>
                  </a:lnTo>
                  <a:lnTo>
                    <a:pt x="823" y="547"/>
                  </a:lnTo>
                  <a:lnTo>
                    <a:pt x="823" y="547"/>
                  </a:lnTo>
                  <a:lnTo>
                    <a:pt x="823" y="547"/>
                  </a:lnTo>
                  <a:lnTo>
                    <a:pt x="823" y="547"/>
                  </a:lnTo>
                  <a:lnTo>
                    <a:pt x="823" y="547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3" y="545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0" y="545"/>
                  </a:lnTo>
                  <a:lnTo>
                    <a:pt x="820" y="542"/>
                  </a:lnTo>
                  <a:lnTo>
                    <a:pt x="820" y="542"/>
                  </a:lnTo>
                  <a:lnTo>
                    <a:pt x="820" y="540"/>
                  </a:lnTo>
                  <a:lnTo>
                    <a:pt x="820" y="540"/>
                  </a:lnTo>
                  <a:lnTo>
                    <a:pt x="820" y="540"/>
                  </a:lnTo>
                  <a:lnTo>
                    <a:pt x="820" y="540"/>
                  </a:lnTo>
                  <a:lnTo>
                    <a:pt x="820" y="540"/>
                  </a:lnTo>
                  <a:lnTo>
                    <a:pt x="820" y="540"/>
                  </a:lnTo>
                  <a:lnTo>
                    <a:pt x="820" y="538"/>
                  </a:lnTo>
                  <a:lnTo>
                    <a:pt x="818" y="538"/>
                  </a:lnTo>
                  <a:lnTo>
                    <a:pt x="818" y="538"/>
                  </a:lnTo>
                  <a:lnTo>
                    <a:pt x="818" y="538"/>
                  </a:lnTo>
                  <a:lnTo>
                    <a:pt x="818" y="538"/>
                  </a:lnTo>
                  <a:lnTo>
                    <a:pt x="816" y="538"/>
                  </a:lnTo>
                  <a:lnTo>
                    <a:pt x="816" y="538"/>
                  </a:lnTo>
                  <a:lnTo>
                    <a:pt x="814" y="536"/>
                  </a:lnTo>
                  <a:lnTo>
                    <a:pt x="814" y="536"/>
                  </a:lnTo>
                  <a:lnTo>
                    <a:pt x="814" y="536"/>
                  </a:lnTo>
                  <a:lnTo>
                    <a:pt x="814" y="536"/>
                  </a:lnTo>
                  <a:lnTo>
                    <a:pt x="814" y="536"/>
                  </a:lnTo>
                  <a:lnTo>
                    <a:pt x="814" y="533"/>
                  </a:lnTo>
                  <a:lnTo>
                    <a:pt x="814" y="533"/>
                  </a:lnTo>
                  <a:lnTo>
                    <a:pt x="814" y="533"/>
                  </a:lnTo>
                  <a:lnTo>
                    <a:pt x="814" y="533"/>
                  </a:lnTo>
                  <a:lnTo>
                    <a:pt x="811" y="533"/>
                  </a:lnTo>
                  <a:lnTo>
                    <a:pt x="811" y="533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31"/>
                  </a:lnTo>
                  <a:lnTo>
                    <a:pt x="811" y="529"/>
                  </a:lnTo>
                  <a:lnTo>
                    <a:pt x="809" y="529"/>
                  </a:lnTo>
                  <a:lnTo>
                    <a:pt x="807" y="527"/>
                  </a:lnTo>
                  <a:lnTo>
                    <a:pt x="807" y="527"/>
                  </a:lnTo>
                  <a:lnTo>
                    <a:pt x="807" y="527"/>
                  </a:lnTo>
                  <a:lnTo>
                    <a:pt x="807" y="527"/>
                  </a:lnTo>
                  <a:lnTo>
                    <a:pt x="807" y="527"/>
                  </a:lnTo>
                  <a:lnTo>
                    <a:pt x="805" y="524"/>
                  </a:lnTo>
                  <a:lnTo>
                    <a:pt x="805" y="524"/>
                  </a:lnTo>
                  <a:lnTo>
                    <a:pt x="805" y="524"/>
                  </a:lnTo>
                  <a:lnTo>
                    <a:pt x="802" y="527"/>
                  </a:lnTo>
                  <a:lnTo>
                    <a:pt x="802" y="527"/>
                  </a:lnTo>
                  <a:lnTo>
                    <a:pt x="802" y="527"/>
                  </a:lnTo>
                  <a:lnTo>
                    <a:pt x="802" y="527"/>
                  </a:lnTo>
                  <a:lnTo>
                    <a:pt x="802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800" y="527"/>
                  </a:lnTo>
                  <a:lnTo>
                    <a:pt x="798" y="529"/>
                  </a:lnTo>
                  <a:lnTo>
                    <a:pt x="798" y="529"/>
                  </a:lnTo>
                  <a:lnTo>
                    <a:pt x="798" y="529"/>
                  </a:lnTo>
                  <a:lnTo>
                    <a:pt x="798" y="529"/>
                  </a:lnTo>
                  <a:lnTo>
                    <a:pt x="798" y="529"/>
                  </a:lnTo>
                  <a:lnTo>
                    <a:pt x="794" y="529"/>
                  </a:lnTo>
                  <a:lnTo>
                    <a:pt x="794" y="529"/>
                  </a:lnTo>
                  <a:lnTo>
                    <a:pt x="791" y="527"/>
                  </a:lnTo>
                  <a:lnTo>
                    <a:pt x="791" y="527"/>
                  </a:lnTo>
                  <a:lnTo>
                    <a:pt x="789" y="527"/>
                  </a:lnTo>
                  <a:lnTo>
                    <a:pt x="789" y="527"/>
                  </a:lnTo>
                  <a:lnTo>
                    <a:pt x="787" y="524"/>
                  </a:lnTo>
                  <a:lnTo>
                    <a:pt x="782" y="524"/>
                  </a:lnTo>
                  <a:lnTo>
                    <a:pt x="780" y="524"/>
                  </a:lnTo>
                  <a:lnTo>
                    <a:pt x="780" y="524"/>
                  </a:lnTo>
                  <a:lnTo>
                    <a:pt x="778" y="524"/>
                  </a:lnTo>
                  <a:lnTo>
                    <a:pt x="778" y="524"/>
                  </a:lnTo>
                  <a:lnTo>
                    <a:pt x="778" y="524"/>
                  </a:lnTo>
                  <a:lnTo>
                    <a:pt x="776" y="524"/>
                  </a:lnTo>
                  <a:lnTo>
                    <a:pt x="776" y="522"/>
                  </a:lnTo>
                  <a:lnTo>
                    <a:pt x="773" y="522"/>
                  </a:lnTo>
                  <a:lnTo>
                    <a:pt x="771" y="522"/>
                  </a:lnTo>
                  <a:lnTo>
                    <a:pt x="771" y="522"/>
                  </a:lnTo>
                  <a:lnTo>
                    <a:pt x="771" y="522"/>
                  </a:lnTo>
                  <a:lnTo>
                    <a:pt x="771" y="522"/>
                  </a:lnTo>
                  <a:lnTo>
                    <a:pt x="771" y="522"/>
                  </a:lnTo>
                  <a:lnTo>
                    <a:pt x="773" y="524"/>
                  </a:lnTo>
                  <a:lnTo>
                    <a:pt x="773" y="524"/>
                  </a:lnTo>
                  <a:lnTo>
                    <a:pt x="773" y="524"/>
                  </a:lnTo>
                  <a:lnTo>
                    <a:pt x="773" y="524"/>
                  </a:lnTo>
                  <a:lnTo>
                    <a:pt x="773" y="524"/>
                  </a:lnTo>
                  <a:lnTo>
                    <a:pt x="776" y="527"/>
                  </a:lnTo>
                  <a:lnTo>
                    <a:pt x="776" y="527"/>
                  </a:lnTo>
                  <a:lnTo>
                    <a:pt x="773" y="527"/>
                  </a:lnTo>
                  <a:lnTo>
                    <a:pt x="773" y="527"/>
                  </a:lnTo>
                  <a:lnTo>
                    <a:pt x="773" y="527"/>
                  </a:lnTo>
                  <a:lnTo>
                    <a:pt x="773" y="524"/>
                  </a:lnTo>
                  <a:lnTo>
                    <a:pt x="771" y="524"/>
                  </a:lnTo>
                  <a:lnTo>
                    <a:pt x="771" y="524"/>
                  </a:lnTo>
                  <a:lnTo>
                    <a:pt x="769" y="524"/>
                  </a:lnTo>
                  <a:lnTo>
                    <a:pt x="769" y="524"/>
                  </a:lnTo>
                  <a:lnTo>
                    <a:pt x="769" y="524"/>
                  </a:lnTo>
                  <a:lnTo>
                    <a:pt x="769" y="524"/>
                  </a:lnTo>
                  <a:lnTo>
                    <a:pt x="769" y="524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9" y="529"/>
                  </a:lnTo>
                  <a:lnTo>
                    <a:pt x="769" y="529"/>
                  </a:lnTo>
                  <a:lnTo>
                    <a:pt x="769" y="527"/>
                  </a:lnTo>
                  <a:lnTo>
                    <a:pt x="769" y="527"/>
                  </a:lnTo>
                  <a:lnTo>
                    <a:pt x="767" y="529"/>
                  </a:lnTo>
                  <a:lnTo>
                    <a:pt x="764" y="529"/>
                  </a:lnTo>
                  <a:lnTo>
                    <a:pt x="764" y="529"/>
                  </a:lnTo>
                  <a:lnTo>
                    <a:pt x="764" y="529"/>
                  </a:lnTo>
                  <a:lnTo>
                    <a:pt x="764" y="529"/>
                  </a:lnTo>
                  <a:lnTo>
                    <a:pt x="764" y="529"/>
                  </a:lnTo>
                  <a:lnTo>
                    <a:pt x="764" y="529"/>
                  </a:lnTo>
                  <a:lnTo>
                    <a:pt x="762" y="529"/>
                  </a:lnTo>
                  <a:lnTo>
                    <a:pt x="762" y="529"/>
                  </a:lnTo>
                  <a:lnTo>
                    <a:pt x="762" y="529"/>
                  </a:lnTo>
                  <a:lnTo>
                    <a:pt x="762" y="529"/>
                  </a:lnTo>
                  <a:lnTo>
                    <a:pt x="762" y="529"/>
                  </a:lnTo>
                  <a:lnTo>
                    <a:pt x="762" y="529"/>
                  </a:lnTo>
                  <a:lnTo>
                    <a:pt x="764" y="529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1"/>
                  </a:lnTo>
                  <a:lnTo>
                    <a:pt x="764" y="533"/>
                  </a:lnTo>
                  <a:lnTo>
                    <a:pt x="764" y="533"/>
                  </a:lnTo>
                  <a:lnTo>
                    <a:pt x="764" y="533"/>
                  </a:lnTo>
                  <a:lnTo>
                    <a:pt x="762" y="533"/>
                  </a:lnTo>
                  <a:lnTo>
                    <a:pt x="760" y="533"/>
                  </a:lnTo>
                  <a:lnTo>
                    <a:pt x="758" y="533"/>
                  </a:lnTo>
                  <a:lnTo>
                    <a:pt x="758" y="533"/>
                  </a:lnTo>
                  <a:lnTo>
                    <a:pt x="758" y="533"/>
                  </a:lnTo>
                  <a:lnTo>
                    <a:pt x="758" y="533"/>
                  </a:lnTo>
                  <a:lnTo>
                    <a:pt x="758" y="533"/>
                  </a:lnTo>
                  <a:lnTo>
                    <a:pt x="755" y="536"/>
                  </a:lnTo>
                  <a:lnTo>
                    <a:pt x="755" y="536"/>
                  </a:lnTo>
                  <a:lnTo>
                    <a:pt x="751" y="536"/>
                  </a:lnTo>
                  <a:lnTo>
                    <a:pt x="751" y="536"/>
                  </a:lnTo>
                  <a:lnTo>
                    <a:pt x="749" y="536"/>
                  </a:lnTo>
                  <a:lnTo>
                    <a:pt x="749" y="536"/>
                  </a:lnTo>
                  <a:lnTo>
                    <a:pt x="749" y="536"/>
                  </a:lnTo>
                  <a:lnTo>
                    <a:pt x="749" y="536"/>
                  </a:lnTo>
                  <a:lnTo>
                    <a:pt x="749" y="538"/>
                  </a:lnTo>
                  <a:lnTo>
                    <a:pt x="749" y="538"/>
                  </a:lnTo>
                  <a:lnTo>
                    <a:pt x="746" y="538"/>
                  </a:lnTo>
                  <a:lnTo>
                    <a:pt x="746" y="538"/>
                  </a:lnTo>
                  <a:lnTo>
                    <a:pt x="744" y="538"/>
                  </a:lnTo>
                  <a:lnTo>
                    <a:pt x="744" y="538"/>
                  </a:lnTo>
                  <a:lnTo>
                    <a:pt x="742" y="538"/>
                  </a:lnTo>
                  <a:lnTo>
                    <a:pt x="742" y="538"/>
                  </a:lnTo>
                  <a:lnTo>
                    <a:pt x="740" y="538"/>
                  </a:lnTo>
                  <a:lnTo>
                    <a:pt x="740" y="538"/>
                  </a:lnTo>
                  <a:lnTo>
                    <a:pt x="740" y="538"/>
                  </a:lnTo>
                  <a:lnTo>
                    <a:pt x="737" y="538"/>
                  </a:lnTo>
                  <a:lnTo>
                    <a:pt x="735" y="538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38"/>
                  </a:lnTo>
                  <a:lnTo>
                    <a:pt x="726" y="540"/>
                  </a:lnTo>
                  <a:lnTo>
                    <a:pt x="726" y="540"/>
                  </a:lnTo>
                  <a:lnTo>
                    <a:pt x="726" y="540"/>
                  </a:lnTo>
                  <a:lnTo>
                    <a:pt x="724" y="540"/>
                  </a:lnTo>
                  <a:lnTo>
                    <a:pt x="724" y="540"/>
                  </a:lnTo>
                  <a:lnTo>
                    <a:pt x="724" y="542"/>
                  </a:lnTo>
                  <a:lnTo>
                    <a:pt x="722" y="540"/>
                  </a:lnTo>
                  <a:lnTo>
                    <a:pt x="719" y="540"/>
                  </a:lnTo>
                  <a:lnTo>
                    <a:pt x="719" y="540"/>
                  </a:lnTo>
                  <a:lnTo>
                    <a:pt x="719" y="540"/>
                  </a:lnTo>
                  <a:lnTo>
                    <a:pt x="719" y="542"/>
                  </a:lnTo>
                  <a:lnTo>
                    <a:pt x="719" y="542"/>
                  </a:lnTo>
                  <a:lnTo>
                    <a:pt x="719" y="542"/>
                  </a:lnTo>
                  <a:lnTo>
                    <a:pt x="719" y="542"/>
                  </a:lnTo>
                  <a:lnTo>
                    <a:pt x="717" y="542"/>
                  </a:lnTo>
                  <a:lnTo>
                    <a:pt x="715" y="542"/>
                  </a:lnTo>
                  <a:lnTo>
                    <a:pt x="715" y="542"/>
                  </a:lnTo>
                  <a:lnTo>
                    <a:pt x="715" y="545"/>
                  </a:lnTo>
                  <a:lnTo>
                    <a:pt x="717" y="545"/>
                  </a:lnTo>
                  <a:lnTo>
                    <a:pt x="717" y="545"/>
                  </a:lnTo>
                  <a:lnTo>
                    <a:pt x="717" y="545"/>
                  </a:lnTo>
                  <a:lnTo>
                    <a:pt x="717" y="547"/>
                  </a:lnTo>
                  <a:lnTo>
                    <a:pt x="717" y="547"/>
                  </a:lnTo>
                  <a:lnTo>
                    <a:pt x="717" y="547"/>
                  </a:lnTo>
                  <a:lnTo>
                    <a:pt x="717" y="547"/>
                  </a:lnTo>
                  <a:lnTo>
                    <a:pt x="717" y="547"/>
                  </a:lnTo>
                  <a:lnTo>
                    <a:pt x="717" y="547"/>
                  </a:lnTo>
                  <a:lnTo>
                    <a:pt x="717" y="547"/>
                  </a:lnTo>
                  <a:lnTo>
                    <a:pt x="715" y="547"/>
                  </a:lnTo>
                  <a:lnTo>
                    <a:pt x="715" y="547"/>
                  </a:lnTo>
                  <a:lnTo>
                    <a:pt x="715" y="547"/>
                  </a:lnTo>
                  <a:lnTo>
                    <a:pt x="715" y="547"/>
                  </a:lnTo>
                  <a:lnTo>
                    <a:pt x="713" y="547"/>
                  </a:lnTo>
                  <a:lnTo>
                    <a:pt x="713" y="545"/>
                  </a:lnTo>
                  <a:lnTo>
                    <a:pt x="710" y="547"/>
                  </a:lnTo>
                  <a:lnTo>
                    <a:pt x="710" y="547"/>
                  </a:lnTo>
                  <a:lnTo>
                    <a:pt x="708" y="547"/>
                  </a:lnTo>
                  <a:lnTo>
                    <a:pt x="708" y="547"/>
                  </a:lnTo>
                  <a:lnTo>
                    <a:pt x="708" y="547"/>
                  </a:lnTo>
                  <a:lnTo>
                    <a:pt x="706" y="547"/>
                  </a:lnTo>
                  <a:lnTo>
                    <a:pt x="706" y="547"/>
                  </a:lnTo>
                  <a:lnTo>
                    <a:pt x="706" y="547"/>
                  </a:lnTo>
                  <a:lnTo>
                    <a:pt x="706" y="547"/>
                  </a:lnTo>
                  <a:lnTo>
                    <a:pt x="706" y="547"/>
                  </a:lnTo>
                  <a:lnTo>
                    <a:pt x="704" y="547"/>
                  </a:lnTo>
                  <a:lnTo>
                    <a:pt x="704" y="547"/>
                  </a:lnTo>
                  <a:lnTo>
                    <a:pt x="704" y="547"/>
                  </a:lnTo>
                  <a:lnTo>
                    <a:pt x="704" y="547"/>
                  </a:lnTo>
                  <a:lnTo>
                    <a:pt x="704" y="547"/>
                  </a:lnTo>
                  <a:lnTo>
                    <a:pt x="704" y="547"/>
                  </a:lnTo>
                  <a:lnTo>
                    <a:pt x="701" y="547"/>
                  </a:lnTo>
                  <a:lnTo>
                    <a:pt x="701" y="547"/>
                  </a:lnTo>
                  <a:lnTo>
                    <a:pt x="701" y="547"/>
                  </a:lnTo>
                  <a:lnTo>
                    <a:pt x="701" y="547"/>
                  </a:lnTo>
                  <a:lnTo>
                    <a:pt x="701" y="547"/>
                  </a:lnTo>
                  <a:lnTo>
                    <a:pt x="701" y="547"/>
                  </a:lnTo>
                  <a:lnTo>
                    <a:pt x="699" y="547"/>
                  </a:lnTo>
                  <a:lnTo>
                    <a:pt x="699" y="547"/>
                  </a:lnTo>
                  <a:lnTo>
                    <a:pt x="699" y="547"/>
                  </a:lnTo>
                  <a:lnTo>
                    <a:pt x="699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7"/>
                  </a:lnTo>
                  <a:lnTo>
                    <a:pt x="697" y="549"/>
                  </a:lnTo>
                  <a:lnTo>
                    <a:pt x="697" y="549"/>
                  </a:lnTo>
                  <a:lnTo>
                    <a:pt x="697" y="549"/>
                  </a:lnTo>
                  <a:lnTo>
                    <a:pt x="697" y="549"/>
                  </a:lnTo>
                  <a:lnTo>
                    <a:pt x="697" y="549"/>
                  </a:lnTo>
                  <a:lnTo>
                    <a:pt x="697" y="549"/>
                  </a:lnTo>
                  <a:lnTo>
                    <a:pt x="697" y="549"/>
                  </a:lnTo>
                  <a:lnTo>
                    <a:pt x="695" y="551"/>
                  </a:lnTo>
                  <a:lnTo>
                    <a:pt x="695" y="551"/>
                  </a:lnTo>
                  <a:lnTo>
                    <a:pt x="695" y="549"/>
                  </a:lnTo>
                  <a:lnTo>
                    <a:pt x="692" y="549"/>
                  </a:lnTo>
                  <a:lnTo>
                    <a:pt x="692" y="549"/>
                  </a:lnTo>
                  <a:lnTo>
                    <a:pt x="692" y="549"/>
                  </a:lnTo>
                  <a:lnTo>
                    <a:pt x="690" y="549"/>
                  </a:lnTo>
                  <a:lnTo>
                    <a:pt x="688" y="549"/>
                  </a:lnTo>
                  <a:lnTo>
                    <a:pt x="688" y="551"/>
                  </a:lnTo>
                  <a:lnTo>
                    <a:pt x="688" y="551"/>
                  </a:lnTo>
                  <a:lnTo>
                    <a:pt x="686" y="551"/>
                  </a:lnTo>
                  <a:lnTo>
                    <a:pt x="686" y="551"/>
                  </a:lnTo>
                  <a:lnTo>
                    <a:pt x="683" y="551"/>
                  </a:lnTo>
                  <a:lnTo>
                    <a:pt x="683" y="551"/>
                  </a:lnTo>
                  <a:lnTo>
                    <a:pt x="681" y="551"/>
                  </a:lnTo>
                  <a:lnTo>
                    <a:pt x="681" y="551"/>
                  </a:lnTo>
                  <a:lnTo>
                    <a:pt x="683" y="551"/>
                  </a:lnTo>
                  <a:lnTo>
                    <a:pt x="683" y="551"/>
                  </a:lnTo>
                  <a:lnTo>
                    <a:pt x="683" y="551"/>
                  </a:lnTo>
                  <a:lnTo>
                    <a:pt x="683" y="554"/>
                  </a:lnTo>
                  <a:lnTo>
                    <a:pt x="683" y="554"/>
                  </a:lnTo>
                  <a:lnTo>
                    <a:pt x="681" y="554"/>
                  </a:lnTo>
                  <a:lnTo>
                    <a:pt x="679" y="554"/>
                  </a:lnTo>
                  <a:lnTo>
                    <a:pt x="679" y="554"/>
                  </a:lnTo>
                  <a:lnTo>
                    <a:pt x="679" y="554"/>
                  </a:lnTo>
                  <a:lnTo>
                    <a:pt x="677" y="554"/>
                  </a:lnTo>
                  <a:lnTo>
                    <a:pt x="677" y="554"/>
                  </a:lnTo>
                  <a:lnTo>
                    <a:pt x="674" y="554"/>
                  </a:lnTo>
                  <a:lnTo>
                    <a:pt x="674" y="554"/>
                  </a:lnTo>
                  <a:lnTo>
                    <a:pt x="674" y="554"/>
                  </a:lnTo>
                  <a:lnTo>
                    <a:pt x="674" y="554"/>
                  </a:lnTo>
                  <a:lnTo>
                    <a:pt x="674" y="556"/>
                  </a:lnTo>
                  <a:lnTo>
                    <a:pt x="674" y="556"/>
                  </a:lnTo>
                  <a:lnTo>
                    <a:pt x="674" y="556"/>
                  </a:lnTo>
                  <a:lnTo>
                    <a:pt x="674" y="556"/>
                  </a:lnTo>
                  <a:lnTo>
                    <a:pt x="674" y="556"/>
                  </a:lnTo>
                  <a:lnTo>
                    <a:pt x="674" y="556"/>
                  </a:lnTo>
                  <a:lnTo>
                    <a:pt x="674" y="556"/>
                  </a:lnTo>
                  <a:lnTo>
                    <a:pt x="674" y="558"/>
                  </a:lnTo>
                  <a:lnTo>
                    <a:pt x="674" y="558"/>
                  </a:lnTo>
                  <a:lnTo>
                    <a:pt x="674" y="558"/>
                  </a:lnTo>
                  <a:lnTo>
                    <a:pt x="674" y="558"/>
                  </a:lnTo>
                  <a:lnTo>
                    <a:pt x="674" y="558"/>
                  </a:lnTo>
                  <a:lnTo>
                    <a:pt x="674" y="558"/>
                  </a:lnTo>
                  <a:lnTo>
                    <a:pt x="674" y="558"/>
                  </a:lnTo>
                  <a:lnTo>
                    <a:pt x="672" y="556"/>
                  </a:lnTo>
                  <a:lnTo>
                    <a:pt x="672" y="556"/>
                  </a:lnTo>
                  <a:lnTo>
                    <a:pt x="672" y="556"/>
                  </a:lnTo>
                  <a:lnTo>
                    <a:pt x="672" y="556"/>
                  </a:lnTo>
                  <a:lnTo>
                    <a:pt x="672" y="556"/>
                  </a:lnTo>
                  <a:lnTo>
                    <a:pt x="672" y="556"/>
                  </a:lnTo>
                  <a:lnTo>
                    <a:pt x="672" y="556"/>
                  </a:lnTo>
                  <a:lnTo>
                    <a:pt x="672" y="554"/>
                  </a:lnTo>
                  <a:lnTo>
                    <a:pt x="672" y="554"/>
                  </a:lnTo>
                  <a:lnTo>
                    <a:pt x="670" y="554"/>
                  </a:lnTo>
                  <a:lnTo>
                    <a:pt x="663" y="554"/>
                  </a:lnTo>
                  <a:lnTo>
                    <a:pt x="663" y="556"/>
                  </a:lnTo>
                  <a:lnTo>
                    <a:pt x="663" y="556"/>
                  </a:lnTo>
                  <a:lnTo>
                    <a:pt x="665" y="556"/>
                  </a:lnTo>
                  <a:lnTo>
                    <a:pt x="663" y="556"/>
                  </a:lnTo>
                  <a:lnTo>
                    <a:pt x="661" y="556"/>
                  </a:lnTo>
                  <a:lnTo>
                    <a:pt x="661" y="556"/>
                  </a:lnTo>
                  <a:lnTo>
                    <a:pt x="661" y="556"/>
                  </a:lnTo>
                  <a:lnTo>
                    <a:pt x="661" y="556"/>
                  </a:lnTo>
                  <a:lnTo>
                    <a:pt x="661" y="556"/>
                  </a:lnTo>
                  <a:lnTo>
                    <a:pt x="661" y="556"/>
                  </a:lnTo>
                  <a:lnTo>
                    <a:pt x="661" y="554"/>
                  </a:lnTo>
                  <a:lnTo>
                    <a:pt x="661" y="554"/>
                  </a:lnTo>
                  <a:lnTo>
                    <a:pt x="659" y="556"/>
                  </a:lnTo>
                  <a:lnTo>
                    <a:pt x="659" y="556"/>
                  </a:lnTo>
                  <a:lnTo>
                    <a:pt x="659" y="556"/>
                  </a:lnTo>
                  <a:lnTo>
                    <a:pt x="659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6" y="556"/>
                  </a:lnTo>
                  <a:lnTo>
                    <a:pt x="654" y="554"/>
                  </a:lnTo>
                  <a:lnTo>
                    <a:pt x="654" y="554"/>
                  </a:lnTo>
                  <a:lnTo>
                    <a:pt x="654" y="554"/>
                  </a:lnTo>
                  <a:lnTo>
                    <a:pt x="654" y="554"/>
                  </a:lnTo>
                  <a:lnTo>
                    <a:pt x="652" y="554"/>
                  </a:lnTo>
                  <a:lnTo>
                    <a:pt x="652" y="554"/>
                  </a:lnTo>
                  <a:lnTo>
                    <a:pt x="652" y="554"/>
                  </a:lnTo>
                  <a:lnTo>
                    <a:pt x="652" y="554"/>
                  </a:lnTo>
                  <a:lnTo>
                    <a:pt x="650" y="554"/>
                  </a:lnTo>
                  <a:lnTo>
                    <a:pt x="650" y="554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52" y="556"/>
                  </a:lnTo>
                  <a:lnTo>
                    <a:pt x="652" y="556"/>
                  </a:lnTo>
                  <a:lnTo>
                    <a:pt x="652" y="556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50" y="556"/>
                  </a:lnTo>
                  <a:lnTo>
                    <a:pt x="647" y="556"/>
                  </a:lnTo>
                  <a:lnTo>
                    <a:pt x="647" y="556"/>
                  </a:lnTo>
                  <a:lnTo>
                    <a:pt x="647" y="556"/>
                  </a:lnTo>
                  <a:lnTo>
                    <a:pt x="647" y="556"/>
                  </a:lnTo>
                  <a:lnTo>
                    <a:pt x="647" y="556"/>
                  </a:lnTo>
                  <a:lnTo>
                    <a:pt x="647" y="556"/>
                  </a:lnTo>
                  <a:lnTo>
                    <a:pt x="647" y="556"/>
                  </a:lnTo>
                  <a:lnTo>
                    <a:pt x="647" y="558"/>
                  </a:lnTo>
                  <a:lnTo>
                    <a:pt x="647" y="558"/>
                  </a:lnTo>
                  <a:lnTo>
                    <a:pt x="647" y="558"/>
                  </a:lnTo>
                  <a:lnTo>
                    <a:pt x="647" y="558"/>
                  </a:lnTo>
                  <a:lnTo>
                    <a:pt x="650" y="558"/>
                  </a:lnTo>
                  <a:lnTo>
                    <a:pt x="650" y="558"/>
                  </a:lnTo>
                  <a:lnTo>
                    <a:pt x="650" y="558"/>
                  </a:lnTo>
                  <a:lnTo>
                    <a:pt x="650" y="558"/>
                  </a:lnTo>
                  <a:lnTo>
                    <a:pt x="652" y="558"/>
                  </a:lnTo>
                  <a:lnTo>
                    <a:pt x="652" y="558"/>
                  </a:lnTo>
                  <a:lnTo>
                    <a:pt x="652" y="560"/>
                  </a:lnTo>
                  <a:lnTo>
                    <a:pt x="652" y="560"/>
                  </a:lnTo>
                  <a:lnTo>
                    <a:pt x="652" y="560"/>
                  </a:lnTo>
                  <a:lnTo>
                    <a:pt x="650" y="560"/>
                  </a:lnTo>
                  <a:lnTo>
                    <a:pt x="650" y="560"/>
                  </a:lnTo>
                  <a:lnTo>
                    <a:pt x="650" y="560"/>
                  </a:lnTo>
                  <a:lnTo>
                    <a:pt x="650" y="560"/>
                  </a:lnTo>
                  <a:lnTo>
                    <a:pt x="650" y="560"/>
                  </a:lnTo>
                  <a:lnTo>
                    <a:pt x="650" y="563"/>
                  </a:lnTo>
                  <a:lnTo>
                    <a:pt x="650" y="563"/>
                  </a:lnTo>
                  <a:lnTo>
                    <a:pt x="650" y="563"/>
                  </a:lnTo>
                  <a:lnTo>
                    <a:pt x="650" y="563"/>
                  </a:lnTo>
                  <a:lnTo>
                    <a:pt x="650" y="563"/>
                  </a:lnTo>
                  <a:lnTo>
                    <a:pt x="647" y="563"/>
                  </a:lnTo>
                  <a:lnTo>
                    <a:pt x="647" y="563"/>
                  </a:lnTo>
                  <a:lnTo>
                    <a:pt x="647" y="563"/>
                  </a:lnTo>
                  <a:lnTo>
                    <a:pt x="650" y="563"/>
                  </a:lnTo>
                  <a:lnTo>
                    <a:pt x="652" y="565"/>
                  </a:lnTo>
                  <a:lnTo>
                    <a:pt x="652" y="565"/>
                  </a:lnTo>
                  <a:lnTo>
                    <a:pt x="652" y="565"/>
                  </a:lnTo>
                  <a:lnTo>
                    <a:pt x="652" y="565"/>
                  </a:lnTo>
                  <a:lnTo>
                    <a:pt x="652" y="565"/>
                  </a:lnTo>
                  <a:lnTo>
                    <a:pt x="654" y="565"/>
                  </a:lnTo>
                  <a:lnTo>
                    <a:pt x="656" y="565"/>
                  </a:lnTo>
                  <a:lnTo>
                    <a:pt x="656" y="565"/>
                  </a:lnTo>
                  <a:lnTo>
                    <a:pt x="656" y="565"/>
                  </a:lnTo>
                  <a:lnTo>
                    <a:pt x="659" y="565"/>
                  </a:lnTo>
                  <a:lnTo>
                    <a:pt x="659" y="565"/>
                  </a:lnTo>
                  <a:lnTo>
                    <a:pt x="659" y="565"/>
                  </a:lnTo>
                  <a:lnTo>
                    <a:pt x="661" y="565"/>
                  </a:lnTo>
                  <a:lnTo>
                    <a:pt x="661" y="567"/>
                  </a:lnTo>
                  <a:lnTo>
                    <a:pt x="659" y="567"/>
                  </a:lnTo>
                  <a:lnTo>
                    <a:pt x="659" y="567"/>
                  </a:lnTo>
                  <a:lnTo>
                    <a:pt x="659" y="567"/>
                  </a:lnTo>
                  <a:lnTo>
                    <a:pt x="659" y="567"/>
                  </a:lnTo>
                  <a:lnTo>
                    <a:pt x="656" y="567"/>
                  </a:lnTo>
                  <a:lnTo>
                    <a:pt x="656" y="567"/>
                  </a:lnTo>
                  <a:lnTo>
                    <a:pt x="656" y="567"/>
                  </a:lnTo>
                  <a:lnTo>
                    <a:pt x="656" y="565"/>
                  </a:lnTo>
                  <a:lnTo>
                    <a:pt x="654" y="565"/>
                  </a:lnTo>
                  <a:lnTo>
                    <a:pt x="654" y="565"/>
                  </a:lnTo>
                  <a:lnTo>
                    <a:pt x="654" y="567"/>
                  </a:lnTo>
                  <a:lnTo>
                    <a:pt x="654" y="567"/>
                  </a:lnTo>
                  <a:lnTo>
                    <a:pt x="654" y="567"/>
                  </a:lnTo>
                  <a:lnTo>
                    <a:pt x="654" y="567"/>
                  </a:lnTo>
                  <a:lnTo>
                    <a:pt x="654" y="569"/>
                  </a:lnTo>
                  <a:lnTo>
                    <a:pt x="654" y="569"/>
                  </a:lnTo>
                  <a:lnTo>
                    <a:pt x="654" y="569"/>
                  </a:lnTo>
                  <a:lnTo>
                    <a:pt x="654" y="569"/>
                  </a:lnTo>
                  <a:lnTo>
                    <a:pt x="656" y="572"/>
                  </a:lnTo>
                  <a:lnTo>
                    <a:pt x="656" y="572"/>
                  </a:lnTo>
                  <a:lnTo>
                    <a:pt x="656" y="572"/>
                  </a:lnTo>
                  <a:lnTo>
                    <a:pt x="659" y="572"/>
                  </a:lnTo>
                  <a:lnTo>
                    <a:pt x="659" y="572"/>
                  </a:lnTo>
                  <a:lnTo>
                    <a:pt x="661" y="572"/>
                  </a:lnTo>
                  <a:lnTo>
                    <a:pt x="663" y="572"/>
                  </a:lnTo>
                  <a:lnTo>
                    <a:pt x="663" y="572"/>
                  </a:lnTo>
                  <a:lnTo>
                    <a:pt x="665" y="572"/>
                  </a:lnTo>
                  <a:lnTo>
                    <a:pt x="665" y="572"/>
                  </a:lnTo>
                  <a:lnTo>
                    <a:pt x="665" y="574"/>
                  </a:lnTo>
                  <a:lnTo>
                    <a:pt x="668" y="574"/>
                  </a:lnTo>
                  <a:lnTo>
                    <a:pt x="668" y="574"/>
                  </a:lnTo>
                  <a:lnTo>
                    <a:pt x="672" y="574"/>
                  </a:lnTo>
                  <a:lnTo>
                    <a:pt x="674" y="574"/>
                  </a:lnTo>
                  <a:lnTo>
                    <a:pt x="674" y="576"/>
                  </a:lnTo>
                  <a:lnTo>
                    <a:pt x="674" y="576"/>
                  </a:lnTo>
                  <a:lnTo>
                    <a:pt x="674" y="576"/>
                  </a:lnTo>
                  <a:lnTo>
                    <a:pt x="674" y="578"/>
                  </a:lnTo>
                  <a:lnTo>
                    <a:pt x="674" y="578"/>
                  </a:lnTo>
                  <a:lnTo>
                    <a:pt x="674" y="578"/>
                  </a:lnTo>
                  <a:lnTo>
                    <a:pt x="674" y="578"/>
                  </a:lnTo>
                  <a:lnTo>
                    <a:pt x="672" y="578"/>
                  </a:lnTo>
                  <a:lnTo>
                    <a:pt x="672" y="578"/>
                  </a:lnTo>
                  <a:lnTo>
                    <a:pt x="670" y="578"/>
                  </a:lnTo>
                  <a:lnTo>
                    <a:pt x="670" y="578"/>
                  </a:lnTo>
                  <a:lnTo>
                    <a:pt x="668" y="578"/>
                  </a:lnTo>
                  <a:lnTo>
                    <a:pt x="668" y="578"/>
                  </a:lnTo>
                  <a:lnTo>
                    <a:pt x="668" y="578"/>
                  </a:lnTo>
                  <a:lnTo>
                    <a:pt x="668" y="578"/>
                  </a:lnTo>
                  <a:lnTo>
                    <a:pt x="665" y="578"/>
                  </a:lnTo>
                  <a:lnTo>
                    <a:pt x="665" y="578"/>
                  </a:lnTo>
                  <a:lnTo>
                    <a:pt x="663" y="578"/>
                  </a:lnTo>
                  <a:lnTo>
                    <a:pt x="663" y="576"/>
                  </a:lnTo>
                  <a:lnTo>
                    <a:pt x="663" y="576"/>
                  </a:lnTo>
                  <a:lnTo>
                    <a:pt x="663" y="576"/>
                  </a:lnTo>
                  <a:lnTo>
                    <a:pt x="661" y="578"/>
                  </a:lnTo>
                  <a:lnTo>
                    <a:pt x="661" y="578"/>
                  </a:lnTo>
                  <a:lnTo>
                    <a:pt x="661" y="578"/>
                  </a:lnTo>
                  <a:lnTo>
                    <a:pt x="661" y="578"/>
                  </a:lnTo>
                  <a:lnTo>
                    <a:pt x="659" y="578"/>
                  </a:lnTo>
                  <a:lnTo>
                    <a:pt x="659" y="578"/>
                  </a:lnTo>
                  <a:lnTo>
                    <a:pt x="659" y="576"/>
                  </a:lnTo>
                  <a:lnTo>
                    <a:pt x="659" y="576"/>
                  </a:lnTo>
                  <a:lnTo>
                    <a:pt x="656" y="578"/>
                  </a:lnTo>
                  <a:lnTo>
                    <a:pt x="656" y="578"/>
                  </a:lnTo>
                  <a:lnTo>
                    <a:pt x="656" y="578"/>
                  </a:lnTo>
                  <a:lnTo>
                    <a:pt x="656" y="578"/>
                  </a:lnTo>
                  <a:lnTo>
                    <a:pt x="656" y="578"/>
                  </a:lnTo>
                  <a:lnTo>
                    <a:pt x="656" y="578"/>
                  </a:lnTo>
                  <a:lnTo>
                    <a:pt x="654" y="578"/>
                  </a:lnTo>
                  <a:lnTo>
                    <a:pt x="654" y="578"/>
                  </a:lnTo>
                  <a:lnTo>
                    <a:pt x="654" y="578"/>
                  </a:lnTo>
                  <a:lnTo>
                    <a:pt x="656" y="578"/>
                  </a:lnTo>
                  <a:lnTo>
                    <a:pt x="654" y="581"/>
                  </a:lnTo>
                  <a:lnTo>
                    <a:pt x="654" y="581"/>
                  </a:lnTo>
                  <a:lnTo>
                    <a:pt x="654" y="583"/>
                  </a:lnTo>
                  <a:lnTo>
                    <a:pt x="654" y="583"/>
                  </a:lnTo>
                  <a:lnTo>
                    <a:pt x="654" y="583"/>
                  </a:lnTo>
                  <a:lnTo>
                    <a:pt x="652" y="583"/>
                  </a:lnTo>
                  <a:lnTo>
                    <a:pt x="652" y="583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2" y="585"/>
                  </a:lnTo>
                  <a:lnTo>
                    <a:pt x="654" y="585"/>
                  </a:lnTo>
                  <a:lnTo>
                    <a:pt x="654" y="585"/>
                  </a:lnTo>
                  <a:lnTo>
                    <a:pt x="654" y="585"/>
                  </a:lnTo>
                  <a:lnTo>
                    <a:pt x="654" y="585"/>
                  </a:lnTo>
                  <a:lnTo>
                    <a:pt x="654" y="585"/>
                  </a:lnTo>
                  <a:lnTo>
                    <a:pt x="654" y="587"/>
                  </a:lnTo>
                  <a:lnTo>
                    <a:pt x="654" y="587"/>
                  </a:lnTo>
                  <a:lnTo>
                    <a:pt x="656" y="587"/>
                  </a:lnTo>
                  <a:lnTo>
                    <a:pt x="656" y="587"/>
                  </a:lnTo>
                  <a:lnTo>
                    <a:pt x="656" y="590"/>
                  </a:lnTo>
                  <a:lnTo>
                    <a:pt x="659" y="590"/>
                  </a:lnTo>
                  <a:lnTo>
                    <a:pt x="659" y="590"/>
                  </a:lnTo>
                  <a:lnTo>
                    <a:pt x="659" y="590"/>
                  </a:lnTo>
                  <a:lnTo>
                    <a:pt x="659" y="590"/>
                  </a:lnTo>
                  <a:lnTo>
                    <a:pt x="659" y="590"/>
                  </a:lnTo>
                  <a:lnTo>
                    <a:pt x="659" y="592"/>
                  </a:lnTo>
                  <a:lnTo>
                    <a:pt x="659" y="592"/>
                  </a:lnTo>
                  <a:lnTo>
                    <a:pt x="661" y="592"/>
                  </a:lnTo>
                  <a:lnTo>
                    <a:pt x="661" y="594"/>
                  </a:lnTo>
                  <a:lnTo>
                    <a:pt x="661" y="594"/>
                  </a:lnTo>
                  <a:lnTo>
                    <a:pt x="661" y="594"/>
                  </a:lnTo>
                  <a:lnTo>
                    <a:pt x="659" y="594"/>
                  </a:lnTo>
                  <a:lnTo>
                    <a:pt x="659" y="594"/>
                  </a:lnTo>
                  <a:lnTo>
                    <a:pt x="659" y="594"/>
                  </a:lnTo>
                  <a:lnTo>
                    <a:pt x="656" y="596"/>
                  </a:lnTo>
                  <a:lnTo>
                    <a:pt x="656" y="596"/>
                  </a:lnTo>
                  <a:lnTo>
                    <a:pt x="656" y="596"/>
                  </a:lnTo>
                  <a:lnTo>
                    <a:pt x="656" y="596"/>
                  </a:lnTo>
                  <a:lnTo>
                    <a:pt x="654" y="596"/>
                  </a:lnTo>
                  <a:lnTo>
                    <a:pt x="654" y="596"/>
                  </a:lnTo>
                  <a:lnTo>
                    <a:pt x="652" y="596"/>
                  </a:lnTo>
                  <a:lnTo>
                    <a:pt x="652" y="599"/>
                  </a:lnTo>
                  <a:lnTo>
                    <a:pt x="650" y="601"/>
                  </a:lnTo>
                  <a:lnTo>
                    <a:pt x="645" y="601"/>
                  </a:lnTo>
                  <a:lnTo>
                    <a:pt x="645" y="601"/>
                  </a:lnTo>
                  <a:lnTo>
                    <a:pt x="645" y="601"/>
                  </a:lnTo>
                  <a:lnTo>
                    <a:pt x="645" y="601"/>
                  </a:lnTo>
                  <a:lnTo>
                    <a:pt x="645" y="601"/>
                  </a:lnTo>
                  <a:lnTo>
                    <a:pt x="647" y="603"/>
                  </a:lnTo>
                  <a:lnTo>
                    <a:pt x="647" y="603"/>
                  </a:lnTo>
                  <a:lnTo>
                    <a:pt x="647" y="603"/>
                  </a:lnTo>
                  <a:lnTo>
                    <a:pt x="650" y="603"/>
                  </a:lnTo>
                  <a:lnTo>
                    <a:pt x="650" y="603"/>
                  </a:lnTo>
                  <a:lnTo>
                    <a:pt x="650" y="603"/>
                  </a:lnTo>
                  <a:lnTo>
                    <a:pt x="650" y="603"/>
                  </a:lnTo>
                  <a:lnTo>
                    <a:pt x="652" y="603"/>
                  </a:lnTo>
                  <a:lnTo>
                    <a:pt x="654" y="605"/>
                  </a:lnTo>
                  <a:lnTo>
                    <a:pt x="656" y="605"/>
                  </a:lnTo>
                  <a:lnTo>
                    <a:pt x="656" y="605"/>
                  </a:lnTo>
                  <a:lnTo>
                    <a:pt x="656" y="605"/>
                  </a:lnTo>
                  <a:lnTo>
                    <a:pt x="656" y="605"/>
                  </a:lnTo>
                  <a:lnTo>
                    <a:pt x="656" y="605"/>
                  </a:lnTo>
                  <a:lnTo>
                    <a:pt x="656" y="605"/>
                  </a:lnTo>
                  <a:lnTo>
                    <a:pt x="656" y="605"/>
                  </a:lnTo>
                  <a:lnTo>
                    <a:pt x="654" y="608"/>
                  </a:lnTo>
                  <a:lnTo>
                    <a:pt x="654" y="608"/>
                  </a:lnTo>
                  <a:lnTo>
                    <a:pt x="654" y="608"/>
                  </a:lnTo>
                  <a:lnTo>
                    <a:pt x="654" y="608"/>
                  </a:lnTo>
                  <a:lnTo>
                    <a:pt x="654" y="608"/>
                  </a:lnTo>
                  <a:lnTo>
                    <a:pt x="656" y="608"/>
                  </a:lnTo>
                  <a:lnTo>
                    <a:pt x="656" y="608"/>
                  </a:lnTo>
                  <a:lnTo>
                    <a:pt x="656" y="608"/>
                  </a:lnTo>
                  <a:lnTo>
                    <a:pt x="656" y="610"/>
                  </a:lnTo>
                  <a:lnTo>
                    <a:pt x="659" y="610"/>
                  </a:lnTo>
                  <a:lnTo>
                    <a:pt x="659" y="610"/>
                  </a:lnTo>
                  <a:lnTo>
                    <a:pt x="665" y="610"/>
                  </a:lnTo>
                  <a:lnTo>
                    <a:pt x="665" y="610"/>
                  </a:lnTo>
                  <a:lnTo>
                    <a:pt x="665" y="610"/>
                  </a:lnTo>
                  <a:lnTo>
                    <a:pt x="665" y="610"/>
                  </a:lnTo>
                  <a:lnTo>
                    <a:pt x="665" y="610"/>
                  </a:lnTo>
                  <a:lnTo>
                    <a:pt x="665" y="610"/>
                  </a:lnTo>
                  <a:lnTo>
                    <a:pt x="665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68" y="612"/>
                  </a:lnTo>
                  <a:lnTo>
                    <a:pt x="670" y="612"/>
                  </a:lnTo>
                  <a:lnTo>
                    <a:pt x="670" y="612"/>
                  </a:lnTo>
                  <a:lnTo>
                    <a:pt x="670" y="612"/>
                  </a:lnTo>
                  <a:lnTo>
                    <a:pt x="670" y="612"/>
                  </a:lnTo>
                  <a:lnTo>
                    <a:pt x="672" y="612"/>
                  </a:lnTo>
                  <a:lnTo>
                    <a:pt x="672" y="612"/>
                  </a:lnTo>
                  <a:lnTo>
                    <a:pt x="672" y="612"/>
                  </a:lnTo>
                  <a:lnTo>
                    <a:pt x="674" y="612"/>
                  </a:lnTo>
                  <a:lnTo>
                    <a:pt x="674" y="612"/>
                  </a:lnTo>
                  <a:lnTo>
                    <a:pt x="674" y="612"/>
                  </a:lnTo>
                  <a:lnTo>
                    <a:pt x="674" y="612"/>
                  </a:lnTo>
                  <a:lnTo>
                    <a:pt x="674" y="612"/>
                  </a:lnTo>
                  <a:lnTo>
                    <a:pt x="677" y="612"/>
                  </a:lnTo>
                  <a:lnTo>
                    <a:pt x="677" y="614"/>
                  </a:lnTo>
                  <a:lnTo>
                    <a:pt x="677" y="614"/>
                  </a:lnTo>
                  <a:lnTo>
                    <a:pt x="677" y="614"/>
                  </a:lnTo>
                  <a:lnTo>
                    <a:pt x="679" y="617"/>
                  </a:lnTo>
                  <a:lnTo>
                    <a:pt x="679" y="617"/>
                  </a:lnTo>
                  <a:lnTo>
                    <a:pt x="679" y="617"/>
                  </a:lnTo>
                  <a:lnTo>
                    <a:pt x="681" y="617"/>
                  </a:lnTo>
                  <a:lnTo>
                    <a:pt x="681" y="617"/>
                  </a:lnTo>
                  <a:lnTo>
                    <a:pt x="679" y="619"/>
                  </a:lnTo>
                  <a:lnTo>
                    <a:pt x="679" y="619"/>
                  </a:lnTo>
                  <a:lnTo>
                    <a:pt x="679" y="619"/>
                  </a:lnTo>
                  <a:lnTo>
                    <a:pt x="681" y="623"/>
                  </a:lnTo>
                  <a:lnTo>
                    <a:pt x="681" y="623"/>
                  </a:lnTo>
                  <a:lnTo>
                    <a:pt x="681" y="626"/>
                  </a:lnTo>
                  <a:lnTo>
                    <a:pt x="681" y="628"/>
                  </a:lnTo>
                  <a:lnTo>
                    <a:pt x="681" y="628"/>
                  </a:lnTo>
                  <a:lnTo>
                    <a:pt x="681" y="628"/>
                  </a:lnTo>
                  <a:lnTo>
                    <a:pt x="670" y="630"/>
                  </a:lnTo>
                  <a:lnTo>
                    <a:pt x="670" y="630"/>
                  </a:lnTo>
                  <a:lnTo>
                    <a:pt x="661" y="630"/>
                  </a:lnTo>
                  <a:lnTo>
                    <a:pt x="661" y="630"/>
                  </a:lnTo>
                  <a:lnTo>
                    <a:pt x="659" y="630"/>
                  </a:lnTo>
                  <a:lnTo>
                    <a:pt x="659" y="630"/>
                  </a:lnTo>
                  <a:lnTo>
                    <a:pt x="659" y="628"/>
                  </a:lnTo>
                  <a:lnTo>
                    <a:pt x="659" y="628"/>
                  </a:lnTo>
                  <a:lnTo>
                    <a:pt x="656" y="626"/>
                  </a:lnTo>
                  <a:lnTo>
                    <a:pt x="656" y="626"/>
                  </a:lnTo>
                  <a:lnTo>
                    <a:pt x="654" y="626"/>
                  </a:lnTo>
                  <a:lnTo>
                    <a:pt x="654" y="626"/>
                  </a:lnTo>
                  <a:lnTo>
                    <a:pt x="654" y="628"/>
                  </a:lnTo>
                  <a:lnTo>
                    <a:pt x="654" y="628"/>
                  </a:lnTo>
                  <a:lnTo>
                    <a:pt x="654" y="628"/>
                  </a:lnTo>
                  <a:lnTo>
                    <a:pt x="654" y="628"/>
                  </a:lnTo>
                  <a:lnTo>
                    <a:pt x="654" y="630"/>
                  </a:lnTo>
                  <a:lnTo>
                    <a:pt x="654" y="630"/>
                  </a:lnTo>
                  <a:lnTo>
                    <a:pt x="654" y="630"/>
                  </a:lnTo>
                  <a:lnTo>
                    <a:pt x="654" y="630"/>
                  </a:lnTo>
                  <a:lnTo>
                    <a:pt x="654" y="632"/>
                  </a:lnTo>
                  <a:lnTo>
                    <a:pt x="654" y="632"/>
                  </a:lnTo>
                  <a:lnTo>
                    <a:pt x="654" y="632"/>
                  </a:lnTo>
                  <a:lnTo>
                    <a:pt x="652" y="635"/>
                  </a:lnTo>
                  <a:lnTo>
                    <a:pt x="652" y="635"/>
                  </a:lnTo>
                  <a:lnTo>
                    <a:pt x="652" y="635"/>
                  </a:lnTo>
                  <a:lnTo>
                    <a:pt x="650" y="635"/>
                  </a:lnTo>
                  <a:lnTo>
                    <a:pt x="650" y="635"/>
                  </a:lnTo>
                  <a:lnTo>
                    <a:pt x="650" y="635"/>
                  </a:lnTo>
                  <a:lnTo>
                    <a:pt x="650" y="635"/>
                  </a:lnTo>
                  <a:lnTo>
                    <a:pt x="647" y="635"/>
                  </a:lnTo>
                  <a:lnTo>
                    <a:pt x="647" y="635"/>
                  </a:lnTo>
                  <a:lnTo>
                    <a:pt x="647" y="635"/>
                  </a:lnTo>
                  <a:lnTo>
                    <a:pt x="647" y="632"/>
                  </a:lnTo>
                  <a:lnTo>
                    <a:pt x="647" y="635"/>
                  </a:lnTo>
                  <a:lnTo>
                    <a:pt x="650" y="632"/>
                  </a:lnTo>
                  <a:lnTo>
                    <a:pt x="650" y="632"/>
                  </a:lnTo>
                  <a:lnTo>
                    <a:pt x="647" y="632"/>
                  </a:lnTo>
                  <a:lnTo>
                    <a:pt x="647" y="632"/>
                  </a:lnTo>
                  <a:lnTo>
                    <a:pt x="647" y="632"/>
                  </a:lnTo>
                  <a:lnTo>
                    <a:pt x="645" y="632"/>
                  </a:lnTo>
                  <a:lnTo>
                    <a:pt x="645" y="632"/>
                  </a:lnTo>
                  <a:lnTo>
                    <a:pt x="643" y="632"/>
                  </a:lnTo>
                  <a:lnTo>
                    <a:pt x="643" y="632"/>
                  </a:lnTo>
                  <a:lnTo>
                    <a:pt x="643" y="632"/>
                  </a:lnTo>
                  <a:lnTo>
                    <a:pt x="643" y="632"/>
                  </a:lnTo>
                  <a:lnTo>
                    <a:pt x="643" y="632"/>
                  </a:lnTo>
                  <a:lnTo>
                    <a:pt x="643" y="630"/>
                  </a:lnTo>
                  <a:lnTo>
                    <a:pt x="641" y="630"/>
                  </a:lnTo>
                  <a:lnTo>
                    <a:pt x="636" y="630"/>
                  </a:lnTo>
                  <a:lnTo>
                    <a:pt x="636" y="630"/>
                  </a:lnTo>
                  <a:lnTo>
                    <a:pt x="634" y="630"/>
                  </a:lnTo>
                  <a:lnTo>
                    <a:pt x="634" y="630"/>
                  </a:lnTo>
                  <a:lnTo>
                    <a:pt x="634" y="628"/>
                  </a:lnTo>
                  <a:lnTo>
                    <a:pt x="632" y="628"/>
                  </a:lnTo>
                  <a:lnTo>
                    <a:pt x="632" y="628"/>
                  </a:lnTo>
                  <a:lnTo>
                    <a:pt x="632" y="628"/>
                  </a:lnTo>
                  <a:lnTo>
                    <a:pt x="632" y="628"/>
                  </a:lnTo>
                  <a:lnTo>
                    <a:pt x="632" y="628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30" y="626"/>
                  </a:lnTo>
                  <a:lnTo>
                    <a:pt x="630" y="626"/>
                  </a:lnTo>
                  <a:lnTo>
                    <a:pt x="630" y="626"/>
                  </a:lnTo>
                  <a:lnTo>
                    <a:pt x="630" y="626"/>
                  </a:lnTo>
                  <a:lnTo>
                    <a:pt x="627" y="626"/>
                  </a:lnTo>
                  <a:lnTo>
                    <a:pt x="627" y="626"/>
                  </a:lnTo>
                  <a:lnTo>
                    <a:pt x="627" y="626"/>
                  </a:lnTo>
                  <a:lnTo>
                    <a:pt x="627" y="626"/>
                  </a:lnTo>
                  <a:lnTo>
                    <a:pt x="627" y="626"/>
                  </a:lnTo>
                  <a:lnTo>
                    <a:pt x="627" y="623"/>
                  </a:lnTo>
                  <a:lnTo>
                    <a:pt x="627" y="623"/>
                  </a:lnTo>
                  <a:lnTo>
                    <a:pt x="627" y="623"/>
                  </a:lnTo>
                  <a:lnTo>
                    <a:pt x="627" y="623"/>
                  </a:lnTo>
                  <a:lnTo>
                    <a:pt x="627" y="621"/>
                  </a:lnTo>
                  <a:lnTo>
                    <a:pt x="627" y="621"/>
                  </a:lnTo>
                  <a:lnTo>
                    <a:pt x="625" y="621"/>
                  </a:lnTo>
                  <a:lnTo>
                    <a:pt x="623" y="621"/>
                  </a:lnTo>
                  <a:lnTo>
                    <a:pt x="623" y="621"/>
                  </a:lnTo>
                  <a:lnTo>
                    <a:pt x="623" y="621"/>
                  </a:lnTo>
                  <a:lnTo>
                    <a:pt x="623" y="621"/>
                  </a:lnTo>
                  <a:lnTo>
                    <a:pt x="623" y="621"/>
                  </a:lnTo>
                  <a:lnTo>
                    <a:pt x="623" y="619"/>
                  </a:lnTo>
                  <a:lnTo>
                    <a:pt x="623" y="619"/>
                  </a:lnTo>
                  <a:lnTo>
                    <a:pt x="621" y="621"/>
                  </a:lnTo>
                  <a:lnTo>
                    <a:pt x="621" y="621"/>
                  </a:lnTo>
                  <a:lnTo>
                    <a:pt x="621" y="621"/>
                  </a:lnTo>
                  <a:lnTo>
                    <a:pt x="621" y="621"/>
                  </a:lnTo>
                  <a:lnTo>
                    <a:pt x="621" y="621"/>
                  </a:lnTo>
                  <a:lnTo>
                    <a:pt x="621" y="621"/>
                  </a:lnTo>
                  <a:lnTo>
                    <a:pt x="621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8" y="621"/>
                  </a:lnTo>
                  <a:lnTo>
                    <a:pt x="616" y="621"/>
                  </a:lnTo>
                  <a:lnTo>
                    <a:pt x="616" y="621"/>
                  </a:lnTo>
                  <a:lnTo>
                    <a:pt x="616" y="621"/>
                  </a:lnTo>
                  <a:lnTo>
                    <a:pt x="616" y="621"/>
                  </a:lnTo>
                  <a:lnTo>
                    <a:pt x="616" y="621"/>
                  </a:lnTo>
                  <a:lnTo>
                    <a:pt x="616" y="621"/>
                  </a:lnTo>
                  <a:lnTo>
                    <a:pt x="614" y="621"/>
                  </a:lnTo>
                  <a:lnTo>
                    <a:pt x="614" y="621"/>
                  </a:lnTo>
                  <a:lnTo>
                    <a:pt x="614" y="621"/>
                  </a:lnTo>
                  <a:lnTo>
                    <a:pt x="612" y="621"/>
                  </a:lnTo>
                  <a:lnTo>
                    <a:pt x="612" y="621"/>
                  </a:lnTo>
                  <a:lnTo>
                    <a:pt x="612" y="621"/>
                  </a:lnTo>
                  <a:lnTo>
                    <a:pt x="612" y="621"/>
                  </a:lnTo>
                  <a:lnTo>
                    <a:pt x="612" y="623"/>
                  </a:lnTo>
                  <a:lnTo>
                    <a:pt x="614" y="623"/>
                  </a:lnTo>
                  <a:lnTo>
                    <a:pt x="614" y="626"/>
                  </a:lnTo>
                  <a:lnTo>
                    <a:pt x="614" y="626"/>
                  </a:lnTo>
                  <a:lnTo>
                    <a:pt x="612" y="626"/>
                  </a:lnTo>
                  <a:lnTo>
                    <a:pt x="612" y="626"/>
                  </a:lnTo>
                  <a:lnTo>
                    <a:pt x="609" y="626"/>
                  </a:lnTo>
                  <a:lnTo>
                    <a:pt x="609" y="626"/>
                  </a:lnTo>
                  <a:lnTo>
                    <a:pt x="609" y="626"/>
                  </a:lnTo>
                  <a:lnTo>
                    <a:pt x="609" y="626"/>
                  </a:lnTo>
                  <a:lnTo>
                    <a:pt x="609" y="626"/>
                  </a:lnTo>
                  <a:lnTo>
                    <a:pt x="609" y="626"/>
                  </a:lnTo>
                  <a:lnTo>
                    <a:pt x="609" y="626"/>
                  </a:lnTo>
                  <a:lnTo>
                    <a:pt x="607" y="626"/>
                  </a:lnTo>
                  <a:lnTo>
                    <a:pt x="607" y="626"/>
                  </a:lnTo>
                  <a:lnTo>
                    <a:pt x="607" y="626"/>
                  </a:lnTo>
                  <a:lnTo>
                    <a:pt x="605" y="626"/>
                  </a:lnTo>
                  <a:lnTo>
                    <a:pt x="605" y="626"/>
                  </a:lnTo>
                  <a:lnTo>
                    <a:pt x="605" y="623"/>
                  </a:lnTo>
                  <a:lnTo>
                    <a:pt x="605" y="623"/>
                  </a:lnTo>
                  <a:lnTo>
                    <a:pt x="605" y="623"/>
                  </a:lnTo>
                  <a:lnTo>
                    <a:pt x="605" y="623"/>
                  </a:lnTo>
                  <a:lnTo>
                    <a:pt x="603" y="623"/>
                  </a:lnTo>
                  <a:lnTo>
                    <a:pt x="603" y="623"/>
                  </a:lnTo>
                  <a:lnTo>
                    <a:pt x="603" y="623"/>
                  </a:lnTo>
                  <a:lnTo>
                    <a:pt x="603" y="623"/>
                  </a:lnTo>
                  <a:lnTo>
                    <a:pt x="603" y="621"/>
                  </a:lnTo>
                  <a:lnTo>
                    <a:pt x="603" y="621"/>
                  </a:lnTo>
                  <a:lnTo>
                    <a:pt x="600" y="621"/>
                  </a:lnTo>
                  <a:lnTo>
                    <a:pt x="600" y="621"/>
                  </a:lnTo>
                  <a:lnTo>
                    <a:pt x="600" y="621"/>
                  </a:lnTo>
                  <a:lnTo>
                    <a:pt x="598" y="621"/>
                  </a:lnTo>
                  <a:lnTo>
                    <a:pt x="598" y="621"/>
                  </a:lnTo>
                  <a:lnTo>
                    <a:pt x="598" y="621"/>
                  </a:lnTo>
                  <a:lnTo>
                    <a:pt x="596" y="621"/>
                  </a:lnTo>
                  <a:lnTo>
                    <a:pt x="596" y="621"/>
                  </a:lnTo>
                  <a:lnTo>
                    <a:pt x="596" y="621"/>
                  </a:lnTo>
                  <a:lnTo>
                    <a:pt x="596" y="621"/>
                  </a:lnTo>
                  <a:lnTo>
                    <a:pt x="594" y="621"/>
                  </a:lnTo>
                  <a:lnTo>
                    <a:pt x="594" y="621"/>
                  </a:lnTo>
                  <a:lnTo>
                    <a:pt x="594" y="621"/>
                  </a:lnTo>
                  <a:lnTo>
                    <a:pt x="594" y="621"/>
                  </a:lnTo>
                  <a:lnTo>
                    <a:pt x="594" y="621"/>
                  </a:lnTo>
                  <a:lnTo>
                    <a:pt x="594" y="621"/>
                  </a:lnTo>
                  <a:lnTo>
                    <a:pt x="594" y="623"/>
                  </a:lnTo>
                  <a:lnTo>
                    <a:pt x="594" y="623"/>
                  </a:lnTo>
                  <a:lnTo>
                    <a:pt x="594" y="623"/>
                  </a:lnTo>
                  <a:lnTo>
                    <a:pt x="594" y="623"/>
                  </a:lnTo>
                  <a:lnTo>
                    <a:pt x="594" y="623"/>
                  </a:lnTo>
                  <a:lnTo>
                    <a:pt x="591" y="623"/>
                  </a:lnTo>
                  <a:lnTo>
                    <a:pt x="591" y="623"/>
                  </a:lnTo>
                  <a:lnTo>
                    <a:pt x="589" y="621"/>
                  </a:lnTo>
                  <a:lnTo>
                    <a:pt x="589" y="621"/>
                  </a:lnTo>
                  <a:lnTo>
                    <a:pt x="589" y="621"/>
                  </a:lnTo>
                  <a:lnTo>
                    <a:pt x="589" y="621"/>
                  </a:lnTo>
                  <a:lnTo>
                    <a:pt x="589" y="623"/>
                  </a:lnTo>
                  <a:lnTo>
                    <a:pt x="589" y="623"/>
                  </a:lnTo>
                  <a:lnTo>
                    <a:pt x="589" y="623"/>
                  </a:lnTo>
                  <a:lnTo>
                    <a:pt x="589" y="623"/>
                  </a:lnTo>
                  <a:lnTo>
                    <a:pt x="589" y="623"/>
                  </a:lnTo>
                  <a:lnTo>
                    <a:pt x="587" y="623"/>
                  </a:lnTo>
                  <a:lnTo>
                    <a:pt x="587" y="623"/>
                  </a:lnTo>
                  <a:lnTo>
                    <a:pt x="587" y="626"/>
                  </a:lnTo>
                  <a:lnTo>
                    <a:pt x="587" y="626"/>
                  </a:lnTo>
                  <a:lnTo>
                    <a:pt x="587" y="626"/>
                  </a:lnTo>
                  <a:lnTo>
                    <a:pt x="587" y="626"/>
                  </a:lnTo>
                  <a:lnTo>
                    <a:pt x="587" y="626"/>
                  </a:lnTo>
                  <a:lnTo>
                    <a:pt x="585" y="626"/>
                  </a:lnTo>
                  <a:lnTo>
                    <a:pt x="585" y="626"/>
                  </a:lnTo>
                  <a:lnTo>
                    <a:pt x="585" y="626"/>
                  </a:lnTo>
                  <a:lnTo>
                    <a:pt x="585" y="626"/>
                  </a:lnTo>
                  <a:lnTo>
                    <a:pt x="585" y="628"/>
                  </a:lnTo>
                  <a:lnTo>
                    <a:pt x="585" y="630"/>
                  </a:lnTo>
                  <a:lnTo>
                    <a:pt x="582" y="630"/>
                  </a:lnTo>
                  <a:lnTo>
                    <a:pt x="580" y="632"/>
                  </a:lnTo>
                  <a:lnTo>
                    <a:pt x="578" y="635"/>
                  </a:lnTo>
                  <a:lnTo>
                    <a:pt x="578" y="635"/>
                  </a:lnTo>
                  <a:lnTo>
                    <a:pt x="578" y="632"/>
                  </a:lnTo>
                  <a:lnTo>
                    <a:pt x="576" y="632"/>
                  </a:lnTo>
                  <a:lnTo>
                    <a:pt x="576" y="632"/>
                  </a:lnTo>
                  <a:lnTo>
                    <a:pt x="576" y="632"/>
                  </a:lnTo>
                  <a:lnTo>
                    <a:pt x="576" y="632"/>
                  </a:lnTo>
                  <a:lnTo>
                    <a:pt x="576" y="632"/>
                  </a:lnTo>
                  <a:lnTo>
                    <a:pt x="573" y="630"/>
                  </a:lnTo>
                  <a:lnTo>
                    <a:pt x="573" y="630"/>
                  </a:lnTo>
                  <a:lnTo>
                    <a:pt x="573" y="630"/>
                  </a:lnTo>
                  <a:lnTo>
                    <a:pt x="573" y="630"/>
                  </a:lnTo>
                  <a:lnTo>
                    <a:pt x="571" y="630"/>
                  </a:lnTo>
                  <a:lnTo>
                    <a:pt x="571" y="630"/>
                  </a:lnTo>
                  <a:lnTo>
                    <a:pt x="571" y="630"/>
                  </a:lnTo>
                  <a:lnTo>
                    <a:pt x="571" y="630"/>
                  </a:lnTo>
                  <a:lnTo>
                    <a:pt x="567" y="628"/>
                  </a:lnTo>
                  <a:lnTo>
                    <a:pt x="564" y="628"/>
                  </a:lnTo>
                  <a:lnTo>
                    <a:pt x="564" y="626"/>
                  </a:lnTo>
                  <a:lnTo>
                    <a:pt x="564" y="626"/>
                  </a:lnTo>
                  <a:lnTo>
                    <a:pt x="562" y="626"/>
                  </a:lnTo>
                  <a:lnTo>
                    <a:pt x="560" y="626"/>
                  </a:lnTo>
                  <a:lnTo>
                    <a:pt x="560" y="623"/>
                  </a:lnTo>
                  <a:lnTo>
                    <a:pt x="560" y="623"/>
                  </a:lnTo>
                  <a:lnTo>
                    <a:pt x="558" y="623"/>
                  </a:lnTo>
                  <a:lnTo>
                    <a:pt x="558" y="623"/>
                  </a:lnTo>
                  <a:lnTo>
                    <a:pt x="558" y="623"/>
                  </a:lnTo>
                  <a:lnTo>
                    <a:pt x="558" y="623"/>
                  </a:lnTo>
                  <a:lnTo>
                    <a:pt x="555" y="623"/>
                  </a:lnTo>
                  <a:lnTo>
                    <a:pt x="555" y="623"/>
                  </a:lnTo>
                  <a:lnTo>
                    <a:pt x="555" y="623"/>
                  </a:lnTo>
                  <a:lnTo>
                    <a:pt x="555" y="623"/>
                  </a:lnTo>
                  <a:lnTo>
                    <a:pt x="555" y="623"/>
                  </a:lnTo>
                  <a:lnTo>
                    <a:pt x="555" y="623"/>
                  </a:lnTo>
                  <a:lnTo>
                    <a:pt x="555" y="626"/>
                  </a:lnTo>
                  <a:lnTo>
                    <a:pt x="555" y="626"/>
                  </a:lnTo>
                  <a:lnTo>
                    <a:pt x="555" y="626"/>
                  </a:lnTo>
                  <a:lnTo>
                    <a:pt x="555" y="626"/>
                  </a:lnTo>
                  <a:lnTo>
                    <a:pt x="558" y="626"/>
                  </a:lnTo>
                  <a:lnTo>
                    <a:pt x="558" y="626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8" y="630"/>
                  </a:lnTo>
                  <a:lnTo>
                    <a:pt x="558" y="630"/>
                  </a:lnTo>
                  <a:lnTo>
                    <a:pt x="560" y="632"/>
                  </a:lnTo>
                  <a:lnTo>
                    <a:pt x="560" y="632"/>
                  </a:lnTo>
                  <a:lnTo>
                    <a:pt x="560" y="632"/>
                  </a:lnTo>
                  <a:lnTo>
                    <a:pt x="560" y="635"/>
                  </a:lnTo>
                  <a:lnTo>
                    <a:pt x="558" y="635"/>
                  </a:lnTo>
                  <a:lnTo>
                    <a:pt x="558" y="635"/>
                  </a:lnTo>
                  <a:lnTo>
                    <a:pt x="558" y="635"/>
                  </a:lnTo>
                  <a:lnTo>
                    <a:pt x="555" y="635"/>
                  </a:lnTo>
                  <a:lnTo>
                    <a:pt x="555" y="632"/>
                  </a:lnTo>
                  <a:lnTo>
                    <a:pt x="555" y="632"/>
                  </a:lnTo>
                  <a:lnTo>
                    <a:pt x="555" y="632"/>
                  </a:lnTo>
                  <a:lnTo>
                    <a:pt x="555" y="632"/>
                  </a:lnTo>
                  <a:lnTo>
                    <a:pt x="555" y="632"/>
                  </a:lnTo>
                  <a:lnTo>
                    <a:pt x="555" y="630"/>
                  </a:lnTo>
                  <a:lnTo>
                    <a:pt x="555" y="630"/>
                  </a:lnTo>
                  <a:lnTo>
                    <a:pt x="553" y="628"/>
                  </a:lnTo>
                  <a:lnTo>
                    <a:pt x="553" y="628"/>
                  </a:lnTo>
                  <a:lnTo>
                    <a:pt x="555" y="628"/>
                  </a:lnTo>
                  <a:lnTo>
                    <a:pt x="555" y="628"/>
                  </a:lnTo>
                  <a:lnTo>
                    <a:pt x="555" y="628"/>
                  </a:lnTo>
                  <a:lnTo>
                    <a:pt x="555" y="626"/>
                  </a:lnTo>
                  <a:lnTo>
                    <a:pt x="555" y="626"/>
                  </a:lnTo>
                  <a:lnTo>
                    <a:pt x="553" y="626"/>
                  </a:lnTo>
                  <a:lnTo>
                    <a:pt x="553" y="626"/>
                  </a:lnTo>
                  <a:lnTo>
                    <a:pt x="553" y="626"/>
                  </a:lnTo>
                  <a:lnTo>
                    <a:pt x="553" y="626"/>
                  </a:lnTo>
                  <a:lnTo>
                    <a:pt x="553" y="626"/>
                  </a:lnTo>
                  <a:lnTo>
                    <a:pt x="551" y="626"/>
                  </a:lnTo>
                  <a:lnTo>
                    <a:pt x="551" y="626"/>
                  </a:lnTo>
                  <a:lnTo>
                    <a:pt x="551" y="626"/>
                  </a:lnTo>
                  <a:lnTo>
                    <a:pt x="549" y="626"/>
                  </a:lnTo>
                  <a:lnTo>
                    <a:pt x="549" y="623"/>
                  </a:lnTo>
                  <a:lnTo>
                    <a:pt x="549" y="623"/>
                  </a:lnTo>
                  <a:lnTo>
                    <a:pt x="549" y="623"/>
                  </a:lnTo>
                  <a:lnTo>
                    <a:pt x="546" y="623"/>
                  </a:lnTo>
                  <a:lnTo>
                    <a:pt x="546" y="623"/>
                  </a:lnTo>
                  <a:lnTo>
                    <a:pt x="546" y="623"/>
                  </a:lnTo>
                  <a:lnTo>
                    <a:pt x="546" y="623"/>
                  </a:lnTo>
                  <a:lnTo>
                    <a:pt x="546" y="621"/>
                  </a:lnTo>
                  <a:lnTo>
                    <a:pt x="546" y="621"/>
                  </a:lnTo>
                  <a:lnTo>
                    <a:pt x="546" y="621"/>
                  </a:lnTo>
                  <a:lnTo>
                    <a:pt x="546" y="621"/>
                  </a:lnTo>
                  <a:lnTo>
                    <a:pt x="544" y="621"/>
                  </a:lnTo>
                  <a:lnTo>
                    <a:pt x="544" y="621"/>
                  </a:lnTo>
                  <a:lnTo>
                    <a:pt x="544" y="619"/>
                  </a:lnTo>
                  <a:lnTo>
                    <a:pt x="544" y="619"/>
                  </a:lnTo>
                  <a:lnTo>
                    <a:pt x="542" y="619"/>
                  </a:lnTo>
                  <a:lnTo>
                    <a:pt x="542" y="619"/>
                  </a:lnTo>
                  <a:lnTo>
                    <a:pt x="542" y="619"/>
                  </a:lnTo>
                  <a:lnTo>
                    <a:pt x="537" y="619"/>
                  </a:lnTo>
                  <a:lnTo>
                    <a:pt x="537" y="617"/>
                  </a:lnTo>
                  <a:lnTo>
                    <a:pt x="537" y="617"/>
                  </a:lnTo>
                  <a:lnTo>
                    <a:pt x="535" y="617"/>
                  </a:lnTo>
                  <a:lnTo>
                    <a:pt x="535" y="617"/>
                  </a:lnTo>
                  <a:lnTo>
                    <a:pt x="535" y="617"/>
                  </a:lnTo>
                  <a:lnTo>
                    <a:pt x="535" y="617"/>
                  </a:lnTo>
                  <a:lnTo>
                    <a:pt x="535" y="614"/>
                  </a:lnTo>
                  <a:lnTo>
                    <a:pt x="535" y="614"/>
                  </a:lnTo>
                  <a:lnTo>
                    <a:pt x="535" y="614"/>
                  </a:lnTo>
                  <a:lnTo>
                    <a:pt x="535" y="614"/>
                  </a:lnTo>
                  <a:lnTo>
                    <a:pt x="535" y="614"/>
                  </a:lnTo>
                  <a:lnTo>
                    <a:pt x="535" y="614"/>
                  </a:lnTo>
                  <a:lnTo>
                    <a:pt x="533" y="614"/>
                  </a:lnTo>
                  <a:lnTo>
                    <a:pt x="531" y="612"/>
                  </a:lnTo>
                  <a:lnTo>
                    <a:pt x="531" y="612"/>
                  </a:lnTo>
                  <a:lnTo>
                    <a:pt x="531" y="612"/>
                  </a:lnTo>
                  <a:lnTo>
                    <a:pt x="531" y="612"/>
                  </a:lnTo>
                  <a:lnTo>
                    <a:pt x="531" y="612"/>
                  </a:lnTo>
                  <a:lnTo>
                    <a:pt x="531" y="612"/>
                  </a:lnTo>
                  <a:lnTo>
                    <a:pt x="528" y="612"/>
                  </a:lnTo>
                  <a:lnTo>
                    <a:pt x="528" y="612"/>
                  </a:lnTo>
                  <a:lnTo>
                    <a:pt x="528" y="612"/>
                  </a:lnTo>
                  <a:lnTo>
                    <a:pt x="528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6" y="612"/>
                  </a:lnTo>
                  <a:lnTo>
                    <a:pt x="524" y="612"/>
                  </a:lnTo>
                  <a:lnTo>
                    <a:pt x="524" y="612"/>
                  </a:lnTo>
                  <a:lnTo>
                    <a:pt x="524" y="612"/>
                  </a:lnTo>
                  <a:lnTo>
                    <a:pt x="524" y="612"/>
                  </a:lnTo>
                  <a:lnTo>
                    <a:pt x="522" y="612"/>
                  </a:lnTo>
                  <a:lnTo>
                    <a:pt x="522" y="612"/>
                  </a:lnTo>
                  <a:lnTo>
                    <a:pt x="522" y="612"/>
                  </a:lnTo>
                  <a:lnTo>
                    <a:pt x="522" y="612"/>
                  </a:lnTo>
                  <a:lnTo>
                    <a:pt x="522" y="612"/>
                  </a:lnTo>
                  <a:lnTo>
                    <a:pt x="522" y="612"/>
                  </a:lnTo>
                  <a:lnTo>
                    <a:pt x="522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9" y="612"/>
                  </a:lnTo>
                  <a:lnTo>
                    <a:pt x="517" y="612"/>
                  </a:lnTo>
                  <a:lnTo>
                    <a:pt x="517" y="612"/>
                  </a:lnTo>
                  <a:lnTo>
                    <a:pt x="517" y="612"/>
                  </a:lnTo>
                  <a:lnTo>
                    <a:pt x="517" y="612"/>
                  </a:lnTo>
                  <a:lnTo>
                    <a:pt x="517" y="612"/>
                  </a:lnTo>
                  <a:lnTo>
                    <a:pt x="517" y="612"/>
                  </a:lnTo>
                  <a:lnTo>
                    <a:pt x="517" y="612"/>
                  </a:lnTo>
                  <a:lnTo>
                    <a:pt x="515" y="612"/>
                  </a:lnTo>
                  <a:lnTo>
                    <a:pt x="515" y="612"/>
                  </a:lnTo>
                  <a:lnTo>
                    <a:pt x="515" y="612"/>
                  </a:lnTo>
                  <a:lnTo>
                    <a:pt x="515" y="612"/>
                  </a:lnTo>
                  <a:lnTo>
                    <a:pt x="515" y="612"/>
                  </a:lnTo>
                  <a:lnTo>
                    <a:pt x="515" y="612"/>
                  </a:lnTo>
                  <a:lnTo>
                    <a:pt x="513" y="612"/>
                  </a:lnTo>
                  <a:lnTo>
                    <a:pt x="513" y="612"/>
                  </a:lnTo>
                  <a:lnTo>
                    <a:pt x="513" y="610"/>
                  </a:lnTo>
                  <a:lnTo>
                    <a:pt x="510" y="608"/>
                  </a:lnTo>
                  <a:lnTo>
                    <a:pt x="510" y="608"/>
                  </a:lnTo>
                  <a:lnTo>
                    <a:pt x="510" y="605"/>
                  </a:lnTo>
                  <a:lnTo>
                    <a:pt x="508" y="605"/>
                  </a:lnTo>
                  <a:lnTo>
                    <a:pt x="508" y="605"/>
                  </a:lnTo>
                  <a:lnTo>
                    <a:pt x="508" y="605"/>
                  </a:lnTo>
                  <a:lnTo>
                    <a:pt x="508" y="605"/>
                  </a:lnTo>
                  <a:lnTo>
                    <a:pt x="508" y="608"/>
                  </a:lnTo>
                  <a:lnTo>
                    <a:pt x="508" y="608"/>
                  </a:lnTo>
                  <a:lnTo>
                    <a:pt x="506" y="608"/>
                  </a:lnTo>
                  <a:lnTo>
                    <a:pt x="506" y="608"/>
                  </a:lnTo>
                  <a:lnTo>
                    <a:pt x="506" y="608"/>
                  </a:lnTo>
                  <a:lnTo>
                    <a:pt x="506" y="608"/>
                  </a:lnTo>
                  <a:lnTo>
                    <a:pt x="506" y="608"/>
                  </a:lnTo>
                  <a:lnTo>
                    <a:pt x="506" y="608"/>
                  </a:lnTo>
                  <a:lnTo>
                    <a:pt x="504" y="608"/>
                  </a:lnTo>
                  <a:lnTo>
                    <a:pt x="504" y="608"/>
                  </a:lnTo>
                  <a:lnTo>
                    <a:pt x="504" y="608"/>
                  </a:lnTo>
                  <a:lnTo>
                    <a:pt x="504" y="608"/>
                  </a:lnTo>
                  <a:lnTo>
                    <a:pt x="501" y="608"/>
                  </a:lnTo>
                  <a:lnTo>
                    <a:pt x="501" y="608"/>
                  </a:lnTo>
                  <a:lnTo>
                    <a:pt x="501" y="608"/>
                  </a:lnTo>
                  <a:lnTo>
                    <a:pt x="501" y="608"/>
                  </a:lnTo>
                  <a:lnTo>
                    <a:pt x="501" y="608"/>
                  </a:lnTo>
                  <a:lnTo>
                    <a:pt x="499" y="610"/>
                  </a:lnTo>
                  <a:lnTo>
                    <a:pt x="501" y="610"/>
                  </a:lnTo>
                  <a:lnTo>
                    <a:pt x="501" y="610"/>
                  </a:lnTo>
                  <a:lnTo>
                    <a:pt x="501" y="612"/>
                  </a:lnTo>
                  <a:lnTo>
                    <a:pt x="501" y="612"/>
                  </a:lnTo>
                  <a:lnTo>
                    <a:pt x="499" y="612"/>
                  </a:lnTo>
                  <a:lnTo>
                    <a:pt x="499" y="612"/>
                  </a:lnTo>
                  <a:lnTo>
                    <a:pt x="499" y="612"/>
                  </a:lnTo>
                  <a:lnTo>
                    <a:pt x="499" y="612"/>
                  </a:lnTo>
                  <a:lnTo>
                    <a:pt x="497" y="612"/>
                  </a:lnTo>
                  <a:lnTo>
                    <a:pt x="497" y="612"/>
                  </a:lnTo>
                  <a:lnTo>
                    <a:pt x="497" y="610"/>
                  </a:lnTo>
                  <a:lnTo>
                    <a:pt x="497" y="610"/>
                  </a:lnTo>
                  <a:lnTo>
                    <a:pt x="497" y="612"/>
                  </a:lnTo>
                  <a:lnTo>
                    <a:pt x="497" y="612"/>
                  </a:lnTo>
                  <a:lnTo>
                    <a:pt x="497" y="612"/>
                  </a:lnTo>
                  <a:lnTo>
                    <a:pt x="495" y="612"/>
                  </a:lnTo>
                  <a:lnTo>
                    <a:pt x="495" y="612"/>
                  </a:lnTo>
                  <a:lnTo>
                    <a:pt x="492" y="612"/>
                  </a:lnTo>
                  <a:lnTo>
                    <a:pt x="492" y="612"/>
                  </a:lnTo>
                  <a:lnTo>
                    <a:pt x="492" y="612"/>
                  </a:lnTo>
                  <a:lnTo>
                    <a:pt x="492" y="612"/>
                  </a:lnTo>
                  <a:lnTo>
                    <a:pt x="490" y="612"/>
                  </a:lnTo>
                  <a:lnTo>
                    <a:pt x="490" y="610"/>
                  </a:lnTo>
                  <a:lnTo>
                    <a:pt x="490" y="610"/>
                  </a:lnTo>
                  <a:lnTo>
                    <a:pt x="492" y="610"/>
                  </a:lnTo>
                  <a:lnTo>
                    <a:pt x="492" y="610"/>
                  </a:lnTo>
                  <a:lnTo>
                    <a:pt x="492" y="610"/>
                  </a:lnTo>
                  <a:lnTo>
                    <a:pt x="492" y="610"/>
                  </a:lnTo>
                  <a:lnTo>
                    <a:pt x="492" y="610"/>
                  </a:lnTo>
                  <a:lnTo>
                    <a:pt x="492" y="608"/>
                  </a:lnTo>
                  <a:lnTo>
                    <a:pt x="492" y="608"/>
                  </a:lnTo>
                  <a:lnTo>
                    <a:pt x="492" y="608"/>
                  </a:lnTo>
                  <a:lnTo>
                    <a:pt x="490" y="608"/>
                  </a:lnTo>
                  <a:lnTo>
                    <a:pt x="490" y="608"/>
                  </a:lnTo>
                  <a:lnTo>
                    <a:pt x="490" y="608"/>
                  </a:lnTo>
                  <a:lnTo>
                    <a:pt x="490" y="608"/>
                  </a:lnTo>
                  <a:lnTo>
                    <a:pt x="490" y="608"/>
                  </a:lnTo>
                  <a:lnTo>
                    <a:pt x="490" y="608"/>
                  </a:lnTo>
                  <a:lnTo>
                    <a:pt x="488" y="608"/>
                  </a:lnTo>
                  <a:lnTo>
                    <a:pt x="483" y="608"/>
                  </a:lnTo>
                  <a:lnTo>
                    <a:pt x="483" y="608"/>
                  </a:lnTo>
                  <a:lnTo>
                    <a:pt x="483" y="608"/>
                  </a:lnTo>
                  <a:lnTo>
                    <a:pt x="483" y="608"/>
                  </a:lnTo>
                  <a:lnTo>
                    <a:pt x="483" y="605"/>
                  </a:lnTo>
                  <a:lnTo>
                    <a:pt x="483" y="605"/>
                  </a:lnTo>
                  <a:lnTo>
                    <a:pt x="481" y="605"/>
                  </a:lnTo>
                  <a:lnTo>
                    <a:pt x="481" y="605"/>
                  </a:lnTo>
                  <a:lnTo>
                    <a:pt x="481" y="605"/>
                  </a:lnTo>
                  <a:lnTo>
                    <a:pt x="481" y="608"/>
                  </a:lnTo>
                  <a:lnTo>
                    <a:pt x="483" y="610"/>
                  </a:lnTo>
                  <a:lnTo>
                    <a:pt x="483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81" y="610"/>
                  </a:lnTo>
                  <a:lnTo>
                    <a:pt x="479" y="610"/>
                  </a:lnTo>
                  <a:lnTo>
                    <a:pt x="479" y="608"/>
                  </a:lnTo>
                  <a:lnTo>
                    <a:pt x="479" y="608"/>
                  </a:lnTo>
                  <a:lnTo>
                    <a:pt x="479" y="610"/>
                  </a:lnTo>
                  <a:lnTo>
                    <a:pt x="479" y="610"/>
                  </a:lnTo>
                  <a:lnTo>
                    <a:pt x="479" y="610"/>
                  </a:lnTo>
                  <a:lnTo>
                    <a:pt x="479" y="610"/>
                  </a:lnTo>
                  <a:lnTo>
                    <a:pt x="479" y="610"/>
                  </a:lnTo>
                  <a:lnTo>
                    <a:pt x="479" y="610"/>
                  </a:lnTo>
                  <a:lnTo>
                    <a:pt x="479" y="612"/>
                  </a:lnTo>
                  <a:lnTo>
                    <a:pt x="479" y="612"/>
                  </a:lnTo>
                  <a:lnTo>
                    <a:pt x="479" y="612"/>
                  </a:lnTo>
                  <a:lnTo>
                    <a:pt x="479" y="612"/>
                  </a:lnTo>
                  <a:lnTo>
                    <a:pt x="479" y="612"/>
                  </a:lnTo>
                  <a:lnTo>
                    <a:pt x="479" y="612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4"/>
                  </a:lnTo>
                  <a:lnTo>
                    <a:pt x="477" y="617"/>
                  </a:lnTo>
                  <a:lnTo>
                    <a:pt x="477" y="617"/>
                  </a:lnTo>
                  <a:lnTo>
                    <a:pt x="477" y="617"/>
                  </a:lnTo>
                  <a:lnTo>
                    <a:pt x="474" y="617"/>
                  </a:lnTo>
                  <a:lnTo>
                    <a:pt x="472" y="617"/>
                  </a:lnTo>
                  <a:lnTo>
                    <a:pt x="470" y="619"/>
                  </a:lnTo>
                  <a:lnTo>
                    <a:pt x="468" y="619"/>
                  </a:lnTo>
                  <a:lnTo>
                    <a:pt x="468" y="621"/>
                  </a:lnTo>
                  <a:lnTo>
                    <a:pt x="468" y="621"/>
                  </a:lnTo>
                  <a:lnTo>
                    <a:pt x="463" y="621"/>
                  </a:lnTo>
                  <a:lnTo>
                    <a:pt x="461" y="621"/>
                  </a:lnTo>
                  <a:lnTo>
                    <a:pt x="461" y="621"/>
                  </a:lnTo>
                  <a:lnTo>
                    <a:pt x="461" y="621"/>
                  </a:lnTo>
                  <a:lnTo>
                    <a:pt x="461" y="621"/>
                  </a:lnTo>
                  <a:lnTo>
                    <a:pt x="461" y="621"/>
                  </a:lnTo>
                  <a:lnTo>
                    <a:pt x="461" y="623"/>
                  </a:lnTo>
                  <a:lnTo>
                    <a:pt x="461" y="623"/>
                  </a:lnTo>
                  <a:lnTo>
                    <a:pt x="461" y="623"/>
                  </a:lnTo>
                  <a:lnTo>
                    <a:pt x="461" y="623"/>
                  </a:lnTo>
                  <a:lnTo>
                    <a:pt x="461" y="626"/>
                  </a:lnTo>
                  <a:lnTo>
                    <a:pt x="461" y="626"/>
                  </a:lnTo>
                  <a:lnTo>
                    <a:pt x="463" y="626"/>
                  </a:lnTo>
                  <a:lnTo>
                    <a:pt x="463" y="626"/>
                  </a:lnTo>
                  <a:lnTo>
                    <a:pt x="461" y="628"/>
                  </a:lnTo>
                  <a:lnTo>
                    <a:pt x="461" y="628"/>
                  </a:lnTo>
                  <a:lnTo>
                    <a:pt x="459" y="628"/>
                  </a:lnTo>
                  <a:lnTo>
                    <a:pt x="457" y="628"/>
                  </a:lnTo>
                  <a:lnTo>
                    <a:pt x="457" y="630"/>
                  </a:lnTo>
                  <a:lnTo>
                    <a:pt x="454" y="632"/>
                  </a:lnTo>
                  <a:lnTo>
                    <a:pt x="452" y="632"/>
                  </a:lnTo>
                  <a:lnTo>
                    <a:pt x="452" y="632"/>
                  </a:lnTo>
                  <a:lnTo>
                    <a:pt x="450" y="630"/>
                  </a:lnTo>
                  <a:lnTo>
                    <a:pt x="450" y="630"/>
                  </a:lnTo>
                  <a:lnTo>
                    <a:pt x="450" y="632"/>
                  </a:lnTo>
                  <a:lnTo>
                    <a:pt x="450" y="632"/>
                  </a:lnTo>
                  <a:lnTo>
                    <a:pt x="450" y="632"/>
                  </a:lnTo>
                  <a:lnTo>
                    <a:pt x="450" y="632"/>
                  </a:lnTo>
                  <a:lnTo>
                    <a:pt x="452" y="632"/>
                  </a:lnTo>
                  <a:lnTo>
                    <a:pt x="452" y="635"/>
                  </a:lnTo>
                  <a:lnTo>
                    <a:pt x="452" y="635"/>
                  </a:lnTo>
                  <a:lnTo>
                    <a:pt x="452" y="639"/>
                  </a:lnTo>
                  <a:lnTo>
                    <a:pt x="454" y="639"/>
                  </a:lnTo>
                  <a:lnTo>
                    <a:pt x="454" y="641"/>
                  </a:lnTo>
                  <a:lnTo>
                    <a:pt x="457" y="641"/>
                  </a:lnTo>
                  <a:lnTo>
                    <a:pt x="457" y="644"/>
                  </a:lnTo>
                  <a:lnTo>
                    <a:pt x="457" y="644"/>
                  </a:lnTo>
                  <a:lnTo>
                    <a:pt x="457" y="644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59" y="646"/>
                  </a:lnTo>
                  <a:lnTo>
                    <a:pt x="459" y="646"/>
                  </a:lnTo>
                  <a:lnTo>
                    <a:pt x="459" y="646"/>
                  </a:lnTo>
                  <a:lnTo>
                    <a:pt x="459" y="646"/>
                  </a:lnTo>
                  <a:lnTo>
                    <a:pt x="457" y="648"/>
                  </a:lnTo>
                  <a:lnTo>
                    <a:pt x="457" y="648"/>
                  </a:lnTo>
                  <a:lnTo>
                    <a:pt x="452" y="650"/>
                  </a:lnTo>
                  <a:lnTo>
                    <a:pt x="452" y="650"/>
                  </a:lnTo>
                  <a:lnTo>
                    <a:pt x="452" y="650"/>
                  </a:lnTo>
                  <a:lnTo>
                    <a:pt x="452" y="650"/>
                  </a:lnTo>
                  <a:lnTo>
                    <a:pt x="452" y="650"/>
                  </a:lnTo>
                  <a:lnTo>
                    <a:pt x="450" y="650"/>
                  </a:lnTo>
                  <a:lnTo>
                    <a:pt x="450" y="650"/>
                  </a:lnTo>
                  <a:lnTo>
                    <a:pt x="450" y="648"/>
                  </a:lnTo>
                  <a:lnTo>
                    <a:pt x="448" y="650"/>
                  </a:lnTo>
                  <a:lnTo>
                    <a:pt x="448" y="650"/>
                  </a:lnTo>
                  <a:lnTo>
                    <a:pt x="448" y="648"/>
                  </a:lnTo>
                  <a:lnTo>
                    <a:pt x="448" y="648"/>
                  </a:lnTo>
                  <a:lnTo>
                    <a:pt x="448" y="648"/>
                  </a:lnTo>
                  <a:lnTo>
                    <a:pt x="445" y="648"/>
                  </a:lnTo>
                  <a:lnTo>
                    <a:pt x="445" y="648"/>
                  </a:lnTo>
                  <a:lnTo>
                    <a:pt x="445" y="646"/>
                  </a:lnTo>
                  <a:lnTo>
                    <a:pt x="445" y="646"/>
                  </a:lnTo>
                  <a:lnTo>
                    <a:pt x="445" y="646"/>
                  </a:lnTo>
                  <a:lnTo>
                    <a:pt x="445" y="646"/>
                  </a:lnTo>
                  <a:lnTo>
                    <a:pt x="443" y="646"/>
                  </a:lnTo>
                  <a:lnTo>
                    <a:pt x="443" y="644"/>
                  </a:lnTo>
                  <a:lnTo>
                    <a:pt x="443" y="644"/>
                  </a:lnTo>
                  <a:lnTo>
                    <a:pt x="443" y="644"/>
                  </a:lnTo>
                  <a:lnTo>
                    <a:pt x="441" y="644"/>
                  </a:lnTo>
                  <a:lnTo>
                    <a:pt x="441" y="644"/>
                  </a:lnTo>
                  <a:lnTo>
                    <a:pt x="441" y="641"/>
                  </a:lnTo>
                  <a:lnTo>
                    <a:pt x="441" y="641"/>
                  </a:lnTo>
                  <a:lnTo>
                    <a:pt x="441" y="641"/>
                  </a:lnTo>
                  <a:lnTo>
                    <a:pt x="439" y="641"/>
                  </a:lnTo>
                  <a:lnTo>
                    <a:pt x="439" y="639"/>
                  </a:lnTo>
                  <a:lnTo>
                    <a:pt x="439" y="639"/>
                  </a:lnTo>
                  <a:lnTo>
                    <a:pt x="436" y="639"/>
                  </a:lnTo>
                  <a:lnTo>
                    <a:pt x="436" y="639"/>
                  </a:lnTo>
                  <a:lnTo>
                    <a:pt x="436" y="639"/>
                  </a:lnTo>
                  <a:lnTo>
                    <a:pt x="436" y="639"/>
                  </a:lnTo>
                  <a:lnTo>
                    <a:pt x="436" y="639"/>
                  </a:lnTo>
                  <a:lnTo>
                    <a:pt x="436" y="637"/>
                  </a:lnTo>
                  <a:lnTo>
                    <a:pt x="436" y="637"/>
                  </a:lnTo>
                  <a:lnTo>
                    <a:pt x="434" y="637"/>
                  </a:lnTo>
                  <a:lnTo>
                    <a:pt x="432" y="637"/>
                  </a:lnTo>
                  <a:lnTo>
                    <a:pt x="432" y="635"/>
                  </a:lnTo>
                  <a:lnTo>
                    <a:pt x="432" y="635"/>
                  </a:lnTo>
                  <a:lnTo>
                    <a:pt x="432" y="637"/>
                  </a:lnTo>
                  <a:lnTo>
                    <a:pt x="430" y="637"/>
                  </a:lnTo>
                  <a:lnTo>
                    <a:pt x="430" y="637"/>
                  </a:lnTo>
                  <a:lnTo>
                    <a:pt x="430" y="639"/>
                  </a:lnTo>
                  <a:lnTo>
                    <a:pt x="430" y="639"/>
                  </a:lnTo>
                  <a:lnTo>
                    <a:pt x="427" y="639"/>
                  </a:lnTo>
                  <a:lnTo>
                    <a:pt x="427" y="639"/>
                  </a:lnTo>
                  <a:lnTo>
                    <a:pt x="427" y="639"/>
                  </a:lnTo>
                  <a:lnTo>
                    <a:pt x="427" y="639"/>
                  </a:lnTo>
                  <a:lnTo>
                    <a:pt x="427" y="641"/>
                  </a:lnTo>
                  <a:lnTo>
                    <a:pt x="430" y="641"/>
                  </a:lnTo>
                  <a:lnTo>
                    <a:pt x="430" y="641"/>
                  </a:lnTo>
                  <a:lnTo>
                    <a:pt x="427" y="641"/>
                  </a:lnTo>
                  <a:lnTo>
                    <a:pt x="427" y="641"/>
                  </a:lnTo>
                  <a:lnTo>
                    <a:pt x="427" y="641"/>
                  </a:lnTo>
                  <a:lnTo>
                    <a:pt x="430" y="644"/>
                  </a:lnTo>
                  <a:lnTo>
                    <a:pt x="430" y="644"/>
                  </a:lnTo>
                  <a:lnTo>
                    <a:pt x="430" y="646"/>
                  </a:lnTo>
                  <a:lnTo>
                    <a:pt x="430" y="646"/>
                  </a:lnTo>
                  <a:lnTo>
                    <a:pt x="427" y="648"/>
                  </a:lnTo>
                  <a:lnTo>
                    <a:pt x="425" y="648"/>
                  </a:lnTo>
                  <a:lnTo>
                    <a:pt x="423" y="650"/>
                  </a:lnTo>
                  <a:lnTo>
                    <a:pt x="423" y="650"/>
                  </a:lnTo>
                  <a:lnTo>
                    <a:pt x="425" y="662"/>
                  </a:lnTo>
                  <a:lnTo>
                    <a:pt x="425" y="662"/>
                  </a:lnTo>
                  <a:lnTo>
                    <a:pt x="427" y="664"/>
                  </a:lnTo>
                  <a:lnTo>
                    <a:pt x="430" y="664"/>
                  </a:lnTo>
                  <a:lnTo>
                    <a:pt x="430" y="666"/>
                  </a:lnTo>
                  <a:lnTo>
                    <a:pt x="430" y="666"/>
                  </a:lnTo>
                  <a:lnTo>
                    <a:pt x="430" y="668"/>
                  </a:lnTo>
                  <a:lnTo>
                    <a:pt x="430" y="668"/>
                  </a:lnTo>
                  <a:lnTo>
                    <a:pt x="427" y="668"/>
                  </a:lnTo>
                  <a:lnTo>
                    <a:pt x="427" y="671"/>
                  </a:lnTo>
                  <a:lnTo>
                    <a:pt x="427" y="671"/>
                  </a:lnTo>
                  <a:lnTo>
                    <a:pt x="427" y="671"/>
                  </a:lnTo>
                  <a:lnTo>
                    <a:pt x="425" y="671"/>
                  </a:lnTo>
                  <a:lnTo>
                    <a:pt x="423" y="682"/>
                  </a:lnTo>
                  <a:lnTo>
                    <a:pt x="423" y="682"/>
                  </a:lnTo>
                  <a:lnTo>
                    <a:pt x="423" y="682"/>
                  </a:lnTo>
                  <a:lnTo>
                    <a:pt x="423" y="682"/>
                  </a:lnTo>
                  <a:lnTo>
                    <a:pt x="423" y="682"/>
                  </a:lnTo>
                  <a:lnTo>
                    <a:pt x="434" y="686"/>
                  </a:lnTo>
                  <a:lnTo>
                    <a:pt x="436" y="686"/>
                  </a:lnTo>
                  <a:lnTo>
                    <a:pt x="436" y="686"/>
                  </a:lnTo>
                  <a:lnTo>
                    <a:pt x="436" y="686"/>
                  </a:lnTo>
                  <a:lnTo>
                    <a:pt x="436" y="686"/>
                  </a:lnTo>
                  <a:lnTo>
                    <a:pt x="436" y="686"/>
                  </a:lnTo>
                  <a:lnTo>
                    <a:pt x="436" y="686"/>
                  </a:lnTo>
                  <a:lnTo>
                    <a:pt x="436" y="686"/>
                  </a:lnTo>
                  <a:lnTo>
                    <a:pt x="436" y="689"/>
                  </a:lnTo>
                  <a:lnTo>
                    <a:pt x="436" y="689"/>
                  </a:lnTo>
                  <a:lnTo>
                    <a:pt x="436" y="689"/>
                  </a:lnTo>
                  <a:lnTo>
                    <a:pt x="436" y="689"/>
                  </a:lnTo>
                  <a:lnTo>
                    <a:pt x="436" y="689"/>
                  </a:lnTo>
                  <a:lnTo>
                    <a:pt x="436" y="689"/>
                  </a:lnTo>
                  <a:lnTo>
                    <a:pt x="436" y="689"/>
                  </a:lnTo>
                  <a:lnTo>
                    <a:pt x="436" y="691"/>
                  </a:lnTo>
                  <a:lnTo>
                    <a:pt x="439" y="691"/>
                  </a:lnTo>
                  <a:lnTo>
                    <a:pt x="439" y="691"/>
                  </a:lnTo>
                  <a:lnTo>
                    <a:pt x="439" y="691"/>
                  </a:lnTo>
                  <a:lnTo>
                    <a:pt x="439" y="691"/>
                  </a:lnTo>
                  <a:lnTo>
                    <a:pt x="439" y="691"/>
                  </a:lnTo>
                  <a:lnTo>
                    <a:pt x="436" y="693"/>
                  </a:lnTo>
                  <a:lnTo>
                    <a:pt x="436" y="693"/>
                  </a:lnTo>
                  <a:lnTo>
                    <a:pt x="436" y="693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5"/>
                  </a:lnTo>
                  <a:lnTo>
                    <a:pt x="439" y="698"/>
                  </a:lnTo>
                  <a:lnTo>
                    <a:pt x="439" y="698"/>
                  </a:lnTo>
                  <a:lnTo>
                    <a:pt x="439" y="698"/>
                  </a:lnTo>
                  <a:lnTo>
                    <a:pt x="441" y="698"/>
                  </a:lnTo>
                  <a:lnTo>
                    <a:pt x="445" y="700"/>
                  </a:lnTo>
                  <a:lnTo>
                    <a:pt x="445" y="700"/>
                  </a:lnTo>
                  <a:lnTo>
                    <a:pt x="445" y="700"/>
                  </a:lnTo>
                  <a:lnTo>
                    <a:pt x="445" y="698"/>
                  </a:lnTo>
                  <a:lnTo>
                    <a:pt x="443" y="698"/>
                  </a:lnTo>
                  <a:lnTo>
                    <a:pt x="443" y="695"/>
                  </a:lnTo>
                  <a:lnTo>
                    <a:pt x="445" y="695"/>
                  </a:lnTo>
                  <a:lnTo>
                    <a:pt x="445" y="695"/>
                  </a:lnTo>
                  <a:lnTo>
                    <a:pt x="450" y="698"/>
                  </a:lnTo>
                  <a:lnTo>
                    <a:pt x="457" y="698"/>
                  </a:lnTo>
                  <a:lnTo>
                    <a:pt x="459" y="698"/>
                  </a:lnTo>
                  <a:lnTo>
                    <a:pt x="459" y="700"/>
                  </a:lnTo>
                  <a:lnTo>
                    <a:pt x="463" y="704"/>
                  </a:lnTo>
                  <a:lnTo>
                    <a:pt x="463" y="704"/>
                  </a:lnTo>
                  <a:lnTo>
                    <a:pt x="466" y="704"/>
                  </a:lnTo>
                  <a:lnTo>
                    <a:pt x="466" y="707"/>
                  </a:lnTo>
                  <a:lnTo>
                    <a:pt x="466" y="707"/>
                  </a:lnTo>
                  <a:lnTo>
                    <a:pt x="468" y="707"/>
                  </a:lnTo>
                  <a:lnTo>
                    <a:pt x="468" y="707"/>
                  </a:lnTo>
                  <a:lnTo>
                    <a:pt x="468" y="707"/>
                  </a:lnTo>
                  <a:lnTo>
                    <a:pt x="468" y="707"/>
                  </a:lnTo>
                  <a:lnTo>
                    <a:pt x="472" y="713"/>
                  </a:lnTo>
                  <a:lnTo>
                    <a:pt x="479" y="720"/>
                  </a:lnTo>
                  <a:lnTo>
                    <a:pt x="479" y="722"/>
                  </a:lnTo>
                  <a:lnTo>
                    <a:pt x="479" y="722"/>
                  </a:lnTo>
                  <a:lnTo>
                    <a:pt x="477" y="722"/>
                  </a:lnTo>
                  <a:lnTo>
                    <a:pt x="474" y="722"/>
                  </a:lnTo>
                  <a:lnTo>
                    <a:pt x="474" y="722"/>
                  </a:lnTo>
                  <a:lnTo>
                    <a:pt x="474" y="722"/>
                  </a:lnTo>
                  <a:lnTo>
                    <a:pt x="474" y="722"/>
                  </a:lnTo>
                  <a:lnTo>
                    <a:pt x="472" y="720"/>
                  </a:lnTo>
                  <a:lnTo>
                    <a:pt x="472" y="720"/>
                  </a:lnTo>
                  <a:lnTo>
                    <a:pt x="470" y="722"/>
                  </a:lnTo>
                  <a:lnTo>
                    <a:pt x="470" y="722"/>
                  </a:lnTo>
                  <a:lnTo>
                    <a:pt x="470" y="724"/>
                  </a:lnTo>
                  <a:lnTo>
                    <a:pt x="470" y="724"/>
                  </a:lnTo>
                  <a:lnTo>
                    <a:pt x="470" y="724"/>
                  </a:lnTo>
                  <a:lnTo>
                    <a:pt x="472" y="724"/>
                  </a:lnTo>
                  <a:lnTo>
                    <a:pt x="472" y="724"/>
                  </a:lnTo>
                  <a:lnTo>
                    <a:pt x="472" y="724"/>
                  </a:lnTo>
                  <a:lnTo>
                    <a:pt x="472" y="724"/>
                  </a:lnTo>
                  <a:lnTo>
                    <a:pt x="472" y="724"/>
                  </a:lnTo>
                  <a:lnTo>
                    <a:pt x="472" y="724"/>
                  </a:lnTo>
                  <a:lnTo>
                    <a:pt x="472" y="727"/>
                  </a:lnTo>
                  <a:lnTo>
                    <a:pt x="474" y="727"/>
                  </a:lnTo>
                  <a:lnTo>
                    <a:pt x="474" y="727"/>
                  </a:lnTo>
                  <a:lnTo>
                    <a:pt x="477" y="727"/>
                  </a:lnTo>
                  <a:lnTo>
                    <a:pt x="477" y="727"/>
                  </a:lnTo>
                  <a:lnTo>
                    <a:pt x="479" y="727"/>
                  </a:lnTo>
                  <a:lnTo>
                    <a:pt x="479" y="727"/>
                  </a:lnTo>
                  <a:lnTo>
                    <a:pt x="479" y="727"/>
                  </a:lnTo>
                  <a:lnTo>
                    <a:pt x="479" y="727"/>
                  </a:lnTo>
                  <a:lnTo>
                    <a:pt x="479" y="727"/>
                  </a:lnTo>
                  <a:lnTo>
                    <a:pt x="481" y="729"/>
                  </a:lnTo>
                  <a:lnTo>
                    <a:pt x="483" y="729"/>
                  </a:lnTo>
                  <a:lnTo>
                    <a:pt x="486" y="731"/>
                  </a:lnTo>
                  <a:lnTo>
                    <a:pt x="488" y="731"/>
                  </a:lnTo>
                  <a:lnTo>
                    <a:pt x="488" y="733"/>
                  </a:lnTo>
                  <a:lnTo>
                    <a:pt x="488" y="733"/>
                  </a:lnTo>
                  <a:lnTo>
                    <a:pt x="488" y="733"/>
                  </a:lnTo>
                  <a:lnTo>
                    <a:pt x="488" y="733"/>
                  </a:lnTo>
                  <a:lnTo>
                    <a:pt x="488" y="733"/>
                  </a:lnTo>
                  <a:lnTo>
                    <a:pt x="488" y="733"/>
                  </a:lnTo>
                  <a:lnTo>
                    <a:pt x="488" y="733"/>
                  </a:lnTo>
                  <a:lnTo>
                    <a:pt x="486" y="731"/>
                  </a:lnTo>
                  <a:lnTo>
                    <a:pt x="486" y="731"/>
                  </a:lnTo>
                  <a:lnTo>
                    <a:pt x="486" y="731"/>
                  </a:lnTo>
                  <a:lnTo>
                    <a:pt x="486" y="731"/>
                  </a:lnTo>
                  <a:lnTo>
                    <a:pt x="486" y="731"/>
                  </a:lnTo>
                  <a:lnTo>
                    <a:pt x="486" y="731"/>
                  </a:lnTo>
                  <a:lnTo>
                    <a:pt x="486" y="731"/>
                  </a:lnTo>
                  <a:lnTo>
                    <a:pt x="483" y="731"/>
                  </a:lnTo>
                  <a:lnTo>
                    <a:pt x="483" y="731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6" y="733"/>
                  </a:lnTo>
                  <a:lnTo>
                    <a:pt x="486" y="733"/>
                  </a:lnTo>
                  <a:lnTo>
                    <a:pt x="486" y="736"/>
                  </a:lnTo>
                  <a:lnTo>
                    <a:pt x="486" y="736"/>
                  </a:lnTo>
                  <a:lnTo>
                    <a:pt x="486" y="736"/>
                  </a:lnTo>
                  <a:lnTo>
                    <a:pt x="486" y="736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3"/>
                  </a:lnTo>
                  <a:lnTo>
                    <a:pt x="483" y="736"/>
                  </a:lnTo>
                  <a:lnTo>
                    <a:pt x="483" y="736"/>
                  </a:lnTo>
                  <a:lnTo>
                    <a:pt x="483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3" y="736"/>
                  </a:lnTo>
                  <a:lnTo>
                    <a:pt x="483" y="736"/>
                  </a:lnTo>
                  <a:lnTo>
                    <a:pt x="483" y="736"/>
                  </a:lnTo>
                  <a:lnTo>
                    <a:pt x="483" y="736"/>
                  </a:lnTo>
                  <a:lnTo>
                    <a:pt x="483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8"/>
                  </a:lnTo>
                  <a:lnTo>
                    <a:pt x="481" y="738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79" y="736"/>
                  </a:lnTo>
                  <a:lnTo>
                    <a:pt x="479" y="736"/>
                  </a:lnTo>
                  <a:lnTo>
                    <a:pt x="481" y="736"/>
                  </a:lnTo>
                  <a:lnTo>
                    <a:pt x="481" y="736"/>
                  </a:lnTo>
                  <a:lnTo>
                    <a:pt x="481" y="738"/>
                  </a:lnTo>
                  <a:lnTo>
                    <a:pt x="481" y="738"/>
                  </a:lnTo>
                  <a:lnTo>
                    <a:pt x="481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6"/>
                  </a:lnTo>
                  <a:lnTo>
                    <a:pt x="479" y="736"/>
                  </a:lnTo>
                  <a:lnTo>
                    <a:pt x="479" y="736"/>
                  </a:lnTo>
                  <a:lnTo>
                    <a:pt x="479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6"/>
                  </a:lnTo>
                  <a:lnTo>
                    <a:pt x="477" y="738"/>
                  </a:lnTo>
                  <a:lnTo>
                    <a:pt x="477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38"/>
                  </a:lnTo>
                  <a:lnTo>
                    <a:pt x="479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81" y="740"/>
                  </a:lnTo>
                  <a:lnTo>
                    <a:pt x="481" y="742"/>
                  </a:lnTo>
                  <a:lnTo>
                    <a:pt x="481" y="742"/>
                  </a:lnTo>
                  <a:lnTo>
                    <a:pt x="481" y="742"/>
                  </a:lnTo>
                  <a:lnTo>
                    <a:pt x="481" y="742"/>
                  </a:lnTo>
                  <a:lnTo>
                    <a:pt x="481" y="742"/>
                  </a:lnTo>
                  <a:lnTo>
                    <a:pt x="481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2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9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7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0"/>
                  </a:lnTo>
                  <a:lnTo>
                    <a:pt x="474" y="742"/>
                  </a:lnTo>
                  <a:lnTo>
                    <a:pt x="474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4" y="742"/>
                  </a:lnTo>
                  <a:lnTo>
                    <a:pt x="474" y="742"/>
                  </a:lnTo>
                  <a:lnTo>
                    <a:pt x="474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2"/>
                  </a:lnTo>
                  <a:lnTo>
                    <a:pt x="472" y="745"/>
                  </a:lnTo>
                  <a:lnTo>
                    <a:pt x="472" y="745"/>
                  </a:lnTo>
                  <a:lnTo>
                    <a:pt x="472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72" y="745"/>
                  </a:lnTo>
                  <a:lnTo>
                    <a:pt x="472" y="745"/>
                  </a:lnTo>
                  <a:lnTo>
                    <a:pt x="472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70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8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6" y="747"/>
                  </a:lnTo>
                  <a:lnTo>
                    <a:pt x="466" y="747"/>
                  </a:lnTo>
                  <a:lnTo>
                    <a:pt x="466" y="745"/>
                  </a:lnTo>
                  <a:lnTo>
                    <a:pt x="466" y="745"/>
                  </a:lnTo>
                  <a:lnTo>
                    <a:pt x="463" y="745"/>
                  </a:lnTo>
                  <a:lnTo>
                    <a:pt x="463" y="745"/>
                  </a:lnTo>
                  <a:lnTo>
                    <a:pt x="463" y="745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6" y="747"/>
                  </a:lnTo>
                  <a:lnTo>
                    <a:pt x="466" y="747"/>
                  </a:lnTo>
                  <a:lnTo>
                    <a:pt x="466" y="747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3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61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59" y="745"/>
                  </a:lnTo>
                  <a:lnTo>
                    <a:pt x="461" y="745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7"/>
                  </a:lnTo>
                  <a:lnTo>
                    <a:pt x="461" y="749"/>
                  </a:lnTo>
                  <a:lnTo>
                    <a:pt x="461" y="749"/>
                  </a:lnTo>
                  <a:lnTo>
                    <a:pt x="461" y="749"/>
                  </a:lnTo>
                  <a:lnTo>
                    <a:pt x="461" y="749"/>
                  </a:lnTo>
                  <a:lnTo>
                    <a:pt x="461" y="749"/>
                  </a:lnTo>
                  <a:lnTo>
                    <a:pt x="461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9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4" y="745"/>
                  </a:lnTo>
                  <a:lnTo>
                    <a:pt x="454" y="745"/>
                  </a:lnTo>
                  <a:lnTo>
                    <a:pt x="454" y="745"/>
                  </a:lnTo>
                  <a:lnTo>
                    <a:pt x="457" y="745"/>
                  </a:lnTo>
                  <a:lnTo>
                    <a:pt x="457" y="745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7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59" y="747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49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9" y="751"/>
                  </a:lnTo>
                  <a:lnTo>
                    <a:pt x="457" y="751"/>
                  </a:lnTo>
                  <a:lnTo>
                    <a:pt x="457" y="754"/>
                  </a:lnTo>
                  <a:lnTo>
                    <a:pt x="457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4"/>
                  </a:lnTo>
                  <a:lnTo>
                    <a:pt x="459" y="756"/>
                  </a:lnTo>
                  <a:lnTo>
                    <a:pt x="459" y="756"/>
                  </a:lnTo>
                  <a:lnTo>
                    <a:pt x="459" y="758"/>
                  </a:lnTo>
                  <a:lnTo>
                    <a:pt x="459" y="758"/>
                  </a:lnTo>
                  <a:lnTo>
                    <a:pt x="459" y="758"/>
                  </a:lnTo>
                  <a:lnTo>
                    <a:pt x="457" y="758"/>
                  </a:lnTo>
                  <a:lnTo>
                    <a:pt x="457" y="758"/>
                  </a:lnTo>
                  <a:lnTo>
                    <a:pt x="457" y="758"/>
                  </a:lnTo>
                  <a:lnTo>
                    <a:pt x="457" y="758"/>
                  </a:lnTo>
                  <a:lnTo>
                    <a:pt x="457" y="760"/>
                  </a:lnTo>
                  <a:lnTo>
                    <a:pt x="457" y="760"/>
                  </a:lnTo>
                  <a:lnTo>
                    <a:pt x="457" y="760"/>
                  </a:lnTo>
                  <a:lnTo>
                    <a:pt x="457" y="760"/>
                  </a:lnTo>
                  <a:lnTo>
                    <a:pt x="457" y="763"/>
                  </a:lnTo>
                  <a:lnTo>
                    <a:pt x="457" y="763"/>
                  </a:lnTo>
                  <a:lnTo>
                    <a:pt x="457" y="763"/>
                  </a:lnTo>
                  <a:lnTo>
                    <a:pt x="454" y="763"/>
                  </a:lnTo>
                  <a:lnTo>
                    <a:pt x="454" y="763"/>
                  </a:lnTo>
                  <a:lnTo>
                    <a:pt x="454" y="765"/>
                  </a:lnTo>
                  <a:lnTo>
                    <a:pt x="454" y="763"/>
                  </a:lnTo>
                  <a:lnTo>
                    <a:pt x="454" y="763"/>
                  </a:lnTo>
                  <a:lnTo>
                    <a:pt x="454" y="763"/>
                  </a:lnTo>
                  <a:lnTo>
                    <a:pt x="454" y="763"/>
                  </a:lnTo>
                  <a:lnTo>
                    <a:pt x="454" y="763"/>
                  </a:lnTo>
                  <a:lnTo>
                    <a:pt x="454" y="765"/>
                  </a:lnTo>
                  <a:lnTo>
                    <a:pt x="454" y="767"/>
                  </a:lnTo>
                  <a:lnTo>
                    <a:pt x="454" y="767"/>
                  </a:lnTo>
                  <a:lnTo>
                    <a:pt x="454" y="767"/>
                  </a:lnTo>
                  <a:lnTo>
                    <a:pt x="454" y="767"/>
                  </a:lnTo>
                  <a:lnTo>
                    <a:pt x="454" y="767"/>
                  </a:lnTo>
                  <a:lnTo>
                    <a:pt x="454" y="765"/>
                  </a:lnTo>
                  <a:lnTo>
                    <a:pt x="452" y="765"/>
                  </a:lnTo>
                  <a:lnTo>
                    <a:pt x="452" y="765"/>
                  </a:lnTo>
                  <a:lnTo>
                    <a:pt x="452" y="765"/>
                  </a:lnTo>
                  <a:lnTo>
                    <a:pt x="452" y="765"/>
                  </a:lnTo>
                  <a:lnTo>
                    <a:pt x="452" y="765"/>
                  </a:lnTo>
                  <a:lnTo>
                    <a:pt x="452" y="765"/>
                  </a:lnTo>
                  <a:lnTo>
                    <a:pt x="452" y="765"/>
                  </a:lnTo>
                  <a:lnTo>
                    <a:pt x="452" y="767"/>
                  </a:lnTo>
                  <a:lnTo>
                    <a:pt x="452" y="767"/>
                  </a:lnTo>
                  <a:lnTo>
                    <a:pt x="452" y="767"/>
                  </a:lnTo>
                  <a:lnTo>
                    <a:pt x="452" y="767"/>
                  </a:lnTo>
                  <a:lnTo>
                    <a:pt x="452" y="767"/>
                  </a:lnTo>
                  <a:lnTo>
                    <a:pt x="452" y="767"/>
                  </a:lnTo>
                  <a:lnTo>
                    <a:pt x="452" y="767"/>
                  </a:lnTo>
                  <a:lnTo>
                    <a:pt x="450" y="769"/>
                  </a:lnTo>
                  <a:lnTo>
                    <a:pt x="450" y="769"/>
                  </a:lnTo>
                  <a:lnTo>
                    <a:pt x="450" y="769"/>
                  </a:lnTo>
                  <a:lnTo>
                    <a:pt x="450" y="769"/>
                  </a:lnTo>
                  <a:lnTo>
                    <a:pt x="450" y="769"/>
                  </a:lnTo>
                  <a:lnTo>
                    <a:pt x="450" y="769"/>
                  </a:lnTo>
                  <a:lnTo>
                    <a:pt x="448" y="769"/>
                  </a:lnTo>
                  <a:lnTo>
                    <a:pt x="448" y="772"/>
                  </a:lnTo>
                  <a:lnTo>
                    <a:pt x="450" y="772"/>
                  </a:lnTo>
                  <a:lnTo>
                    <a:pt x="450" y="772"/>
                  </a:lnTo>
                  <a:lnTo>
                    <a:pt x="450" y="772"/>
                  </a:lnTo>
                  <a:lnTo>
                    <a:pt x="450" y="772"/>
                  </a:lnTo>
                  <a:lnTo>
                    <a:pt x="450" y="774"/>
                  </a:lnTo>
                  <a:lnTo>
                    <a:pt x="450" y="774"/>
                  </a:lnTo>
                  <a:lnTo>
                    <a:pt x="450" y="774"/>
                  </a:lnTo>
                  <a:lnTo>
                    <a:pt x="448" y="774"/>
                  </a:lnTo>
                  <a:lnTo>
                    <a:pt x="448" y="774"/>
                  </a:lnTo>
                  <a:lnTo>
                    <a:pt x="450" y="774"/>
                  </a:lnTo>
                  <a:lnTo>
                    <a:pt x="450" y="774"/>
                  </a:lnTo>
                  <a:lnTo>
                    <a:pt x="450" y="776"/>
                  </a:lnTo>
                  <a:lnTo>
                    <a:pt x="450" y="776"/>
                  </a:lnTo>
                  <a:lnTo>
                    <a:pt x="450" y="776"/>
                  </a:lnTo>
                  <a:lnTo>
                    <a:pt x="450" y="776"/>
                  </a:lnTo>
                  <a:lnTo>
                    <a:pt x="452" y="776"/>
                  </a:lnTo>
                  <a:lnTo>
                    <a:pt x="452" y="776"/>
                  </a:lnTo>
                  <a:lnTo>
                    <a:pt x="452" y="776"/>
                  </a:lnTo>
                  <a:lnTo>
                    <a:pt x="452" y="776"/>
                  </a:lnTo>
                  <a:lnTo>
                    <a:pt x="457" y="776"/>
                  </a:lnTo>
                  <a:lnTo>
                    <a:pt x="457" y="776"/>
                  </a:lnTo>
                  <a:lnTo>
                    <a:pt x="457" y="778"/>
                  </a:lnTo>
                  <a:lnTo>
                    <a:pt x="457" y="778"/>
                  </a:lnTo>
                  <a:lnTo>
                    <a:pt x="457" y="778"/>
                  </a:lnTo>
                  <a:lnTo>
                    <a:pt x="457" y="778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59" y="781"/>
                  </a:lnTo>
                  <a:lnTo>
                    <a:pt x="461" y="781"/>
                  </a:lnTo>
                  <a:lnTo>
                    <a:pt x="461" y="781"/>
                  </a:lnTo>
                  <a:lnTo>
                    <a:pt x="461" y="781"/>
                  </a:lnTo>
                  <a:lnTo>
                    <a:pt x="461" y="781"/>
                  </a:lnTo>
                  <a:lnTo>
                    <a:pt x="461" y="781"/>
                  </a:lnTo>
                  <a:lnTo>
                    <a:pt x="463" y="783"/>
                  </a:lnTo>
                  <a:lnTo>
                    <a:pt x="463" y="785"/>
                  </a:lnTo>
                  <a:lnTo>
                    <a:pt x="463" y="785"/>
                  </a:lnTo>
                  <a:lnTo>
                    <a:pt x="463" y="785"/>
                  </a:lnTo>
                  <a:lnTo>
                    <a:pt x="463" y="785"/>
                  </a:lnTo>
                  <a:lnTo>
                    <a:pt x="466" y="787"/>
                  </a:lnTo>
                  <a:lnTo>
                    <a:pt x="466" y="787"/>
                  </a:lnTo>
                  <a:lnTo>
                    <a:pt x="466" y="787"/>
                  </a:lnTo>
                  <a:lnTo>
                    <a:pt x="466" y="787"/>
                  </a:lnTo>
                  <a:lnTo>
                    <a:pt x="466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6" y="794"/>
                  </a:lnTo>
                  <a:lnTo>
                    <a:pt x="466" y="794"/>
                  </a:lnTo>
                  <a:lnTo>
                    <a:pt x="466" y="794"/>
                  </a:lnTo>
                  <a:lnTo>
                    <a:pt x="466" y="794"/>
                  </a:lnTo>
                  <a:lnTo>
                    <a:pt x="466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6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4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2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68" y="790"/>
                  </a:lnTo>
                  <a:lnTo>
                    <a:pt x="470" y="787"/>
                  </a:lnTo>
                  <a:lnTo>
                    <a:pt x="470" y="787"/>
                  </a:lnTo>
                  <a:lnTo>
                    <a:pt x="470" y="787"/>
                  </a:lnTo>
                  <a:lnTo>
                    <a:pt x="470" y="787"/>
                  </a:lnTo>
                  <a:lnTo>
                    <a:pt x="470" y="787"/>
                  </a:lnTo>
                  <a:lnTo>
                    <a:pt x="472" y="790"/>
                  </a:lnTo>
                  <a:lnTo>
                    <a:pt x="470" y="790"/>
                  </a:lnTo>
                  <a:lnTo>
                    <a:pt x="470" y="792"/>
                  </a:lnTo>
                  <a:lnTo>
                    <a:pt x="470" y="794"/>
                  </a:lnTo>
                  <a:lnTo>
                    <a:pt x="470" y="796"/>
                  </a:lnTo>
                  <a:lnTo>
                    <a:pt x="470" y="799"/>
                  </a:lnTo>
                  <a:lnTo>
                    <a:pt x="470" y="799"/>
                  </a:lnTo>
                  <a:lnTo>
                    <a:pt x="470" y="801"/>
                  </a:lnTo>
                  <a:lnTo>
                    <a:pt x="470" y="801"/>
                  </a:lnTo>
                  <a:lnTo>
                    <a:pt x="470" y="801"/>
                  </a:lnTo>
                  <a:lnTo>
                    <a:pt x="470" y="801"/>
                  </a:lnTo>
                  <a:lnTo>
                    <a:pt x="470" y="803"/>
                  </a:lnTo>
                  <a:lnTo>
                    <a:pt x="470" y="803"/>
                  </a:lnTo>
                  <a:lnTo>
                    <a:pt x="470" y="801"/>
                  </a:lnTo>
                  <a:lnTo>
                    <a:pt x="472" y="801"/>
                  </a:lnTo>
                  <a:lnTo>
                    <a:pt x="472" y="801"/>
                  </a:lnTo>
                  <a:lnTo>
                    <a:pt x="472" y="801"/>
                  </a:lnTo>
                  <a:lnTo>
                    <a:pt x="472" y="801"/>
                  </a:lnTo>
                  <a:lnTo>
                    <a:pt x="472" y="801"/>
                  </a:lnTo>
                  <a:lnTo>
                    <a:pt x="472" y="803"/>
                  </a:lnTo>
                  <a:lnTo>
                    <a:pt x="472" y="803"/>
                  </a:lnTo>
                  <a:lnTo>
                    <a:pt x="472" y="803"/>
                  </a:lnTo>
                  <a:lnTo>
                    <a:pt x="472" y="803"/>
                  </a:lnTo>
                  <a:lnTo>
                    <a:pt x="472" y="803"/>
                  </a:lnTo>
                  <a:lnTo>
                    <a:pt x="472" y="803"/>
                  </a:lnTo>
                  <a:lnTo>
                    <a:pt x="470" y="803"/>
                  </a:lnTo>
                  <a:lnTo>
                    <a:pt x="470" y="803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8"/>
                  </a:lnTo>
                  <a:lnTo>
                    <a:pt x="470" y="808"/>
                  </a:lnTo>
                  <a:lnTo>
                    <a:pt x="470" y="808"/>
                  </a:lnTo>
                  <a:lnTo>
                    <a:pt x="472" y="808"/>
                  </a:lnTo>
                  <a:lnTo>
                    <a:pt x="472" y="810"/>
                  </a:lnTo>
                  <a:lnTo>
                    <a:pt x="474" y="810"/>
                  </a:lnTo>
                  <a:lnTo>
                    <a:pt x="474" y="810"/>
                  </a:lnTo>
                  <a:lnTo>
                    <a:pt x="474" y="812"/>
                  </a:lnTo>
                  <a:lnTo>
                    <a:pt x="474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4"/>
                  </a:lnTo>
                  <a:lnTo>
                    <a:pt x="477" y="814"/>
                  </a:lnTo>
                  <a:lnTo>
                    <a:pt x="477" y="814"/>
                  </a:lnTo>
                  <a:lnTo>
                    <a:pt x="477" y="814"/>
                  </a:lnTo>
                  <a:lnTo>
                    <a:pt x="477" y="814"/>
                  </a:lnTo>
                  <a:lnTo>
                    <a:pt x="477" y="814"/>
                  </a:lnTo>
                  <a:lnTo>
                    <a:pt x="479" y="817"/>
                  </a:lnTo>
                  <a:lnTo>
                    <a:pt x="479" y="817"/>
                  </a:lnTo>
                  <a:lnTo>
                    <a:pt x="479" y="817"/>
                  </a:lnTo>
                  <a:lnTo>
                    <a:pt x="481" y="819"/>
                  </a:lnTo>
                  <a:lnTo>
                    <a:pt x="481" y="819"/>
                  </a:lnTo>
                  <a:lnTo>
                    <a:pt x="483" y="821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6" y="823"/>
                  </a:lnTo>
                  <a:lnTo>
                    <a:pt x="488" y="823"/>
                  </a:lnTo>
                  <a:lnTo>
                    <a:pt x="490" y="828"/>
                  </a:lnTo>
                  <a:lnTo>
                    <a:pt x="490" y="830"/>
                  </a:lnTo>
                  <a:lnTo>
                    <a:pt x="492" y="830"/>
                  </a:lnTo>
                  <a:lnTo>
                    <a:pt x="492" y="830"/>
                  </a:lnTo>
                  <a:lnTo>
                    <a:pt x="492" y="830"/>
                  </a:lnTo>
                  <a:lnTo>
                    <a:pt x="492" y="830"/>
                  </a:lnTo>
                  <a:lnTo>
                    <a:pt x="492" y="832"/>
                  </a:lnTo>
                  <a:lnTo>
                    <a:pt x="495" y="835"/>
                  </a:lnTo>
                  <a:lnTo>
                    <a:pt x="495" y="835"/>
                  </a:lnTo>
                  <a:lnTo>
                    <a:pt x="497" y="835"/>
                  </a:lnTo>
                  <a:lnTo>
                    <a:pt x="497" y="835"/>
                  </a:lnTo>
                  <a:lnTo>
                    <a:pt x="499" y="835"/>
                  </a:lnTo>
                  <a:lnTo>
                    <a:pt x="499" y="837"/>
                  </a:lnTo>
                  <a:lnTo>
                    <a:pt x="499" y="837"/>
                  </a:lnTo>
                  <a:lnTo>
                    <a:pt x="497" y="839"/>
                  </a:lnTo>
                  <a:lnTo>
                    <a:pt x="497" y="841"/>
                  </a:lnTo>
                  <a:lnTo>
                    <a:pt x="497" y="841"/>
                  </a:lnTo>
                  <a:lnTo>
                    <a:pt x="497" y="844"/>
                  </a:lnTo>
                  <a:lnTo>
                    <a:pt x="495" y="844"/>
                  </a:lnTo>
                  <a:lnTo>
                    <a:pt x="495" y="844"/>
                  </a:lnTo>
                  <a:lnTo>
                    <a:pt x="492" y="844"/>
                  </a:lnTo>
                  <a:lnTo>
                    <a:pt x="490" y="846"/>
                  </a:lnTo>
                  <a:lnTo>
                    <a:pt x="490" y="846"/>
                  </a:lnTo>
                  <a:lnTo>
                    <a:pt x="490" y="846"/>
                  </a:lnTo>
                  <a:lnTo>
                    <a:pt x="490" y="848"/>
                  </a:lnTo>
                  <a:lnTo>
                    <a:pt x="490" y="848"/>
                  </a:lnTo>
                  <a:lnTo>
                    <a:pt x="490" y="848"/>
                  </a:lnTo>
                  <a:lnTo>
                    <a:pt x="488" y="848"/>
                  </a:lnTo>
                  <a:lnTo>
                    <a:pt x="488" y="848"/>
                  </a:lnTo>
                  <a:lnTo>
                    <a:pt x="488" y="848"/>
                  </a:lnTo>
                  <a:lnTo>
                    <a:pt x="488" y="848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8" y="850"/>
                  </a:lnTo>
                  <a:lnTo>
                    <a:pt x="488" y="853"/>
                  </a:lnTo>
                  <a:lnTo>
                    <a:pt x="486" y="853"/>
                  </a:lnTo>
                  <a:lnTo>
                    <a:pt x="486" y="853"/>
                  </a:lnTo>
                  <a:lnTo>
                    <a:pt x="483" y="850"/>
                  </a:lnTo>
                  <a:lnTo>
                    <a:pt x="483" y="850"/>
                  </a:lnTo>
                  <a:lnTo>
                    <a:pt x="483" y="850"/>
                  </a:lnTo>
                  <a:lnTo>
                    <a:pt x="483" y="850"/>
                  </a:lnTo>
                  <a:lnTo>
                    <a:pt x="481" y="850"/>
                  </a:lnTo>
                  <a:lnTo>
                    <a:pt x="481" y="850"/>
                  </a:lnTo>
                  <a:lnTo>
                    <a:pt x="481" y="850"/>
                  </a:lnTo>
                  <a:lnTo>
                    <a:pt x="481" y="850"/>
                  </a:lnTo>
                  <a:lnTo>
                    <a:pt x="479" y="850"/>
                  </a:lnTo>
                  <a:lnTo>
                    <a:pt x="479" y="850"/>
                  </a:lnTo>
                  <a:lnTo>
                    <a:pt x="477" y="848"/>
                  </a:lnTo>
                  <a:lnTo>
                    <a:pt x="477" y="848"/>
                  </a:lnTo>
                  <a:lnTo>
                    <a:pt x="474" y="848"/>
                  </a:lnTo>
                  <a:lnTo>
                    <a:pt x="474" y="846"/>
                  </a:lnTo>
                  <a:lnTo>
                    <a:pt x="474" y="846"/>
                  </a:lnTo>
                  <a:lnTo>
                    <a:pt x="474" y="846"/>
                  </a:lnTo>
                  <a:lnTo>
                    <a:pt x="474" y="846"/>
                  </a:lnTo>
                  <a:lnTo>
                    <a:pt x="474" y="846"/>
                  </a:lnTo>
                  <a:lnTo>
                    <a:pt x="474" y="846"/>
                  </a:lnTo>
                  <a:lnTo>
                    <a:pt x="474" y="846"/>
                  </a:lnTo>
                  <a:lnTo>
                    <a:pt x="474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2" y="844"/>
                  </a:lnTo>
                  <a:lnTo>
                    <a:pt x="470" y="844"/>
                  </a:lnTo>
                  <a:lnTo>
                    <a:pt x="470" y="844"/>
                  </a:lnTo>
                  <a:lnTo>
                    <a:pt x="470" y="841"/>
                  </a:lnTo>
                  <a:lnTo>
                    <a:pt x="470" y="841"/>
                  </a:lnTo>
                  <a:lnTo>
                    <a:pt x="468" y="841"/>
                  </a:lnTo>
                  <a:lnTo>
                    <a:pt x="468" y="839"/>
                  </a:lnTo>
                  <a:lnTo>
                    <a:pt x="468" y="839"/>
                  </a:lnTo>
                  <a:lnTo>
                    <a:pt x="468" y="839"/>
                  </a:lnTo>
                  <a:lnTo>
                    <a:pt x="468" y="839"/>
                  </a:lnTo>
                  <a:lnTo>
                    <a:pt x="468" y="839"/>
                  </a:lnTo>
                  <a:lnTo>
                    <a:pt x="466" y="839"/>
                  </a:lnTo>
                  <a:lnTo>
                    <a:pt x="466" y="839"/>
                  </a:lnTo>
                  <a:lnTo>
                    <a:pt x="466" y="839"/>
                  </a:lnTo>
                  <a:lnTo>
                    <a:pt x="466" y="837"/>
                  </a:lnTo>
                  <a:lnTo>
                    <a:pt x="463" y="837"/>
                  </a:lnTo>
                  <a:lnTo>
                    <a:pt x="463" y="837"/>
                  </a:lnTo>
                  <a:lnTo>
                    <a:pt x="463" y="837"/>
                  </a:lnTo>
                  <a:lnTo>
                    <a:pt x="463" y="837"/>
                  </a:lnTo>
                  <a:lnTo>
                    <a:pt x="463" y="837"/>
                  </a:lnTo>
                  <a:lnTo>
                    <a:pt x="463" y="837"/>
                  </a:lnTo>
                  <a:lnTo>
                    <a:pt x="463" y="837"/>
                  </a:lnTo>
                  <a:lnTo>
                    <a:pt x="461" y="837"/>
                  </a:lnTo>
                  <a:lnTo>
                    <a:pt x="461" y="837"/>
                  </a:lnTo>
                  <a:lnTo>
                    <a:pt x="461" y="837"/>
                  </a:lnTo>
                  <a:lnTo>
                    <a:pt x="461" y="837"/>
                  </a:lnTo>
                  <a:lnTo>
                    <a:pt x="461" y="837"/>
                  </a:lnTo>
                  <a:lnTo>
                    <a:pt x="461" y="837"/>
                  </a:lnTo>
                  <a:lnTo>
                    <a:pt x="459" y="837"/>
                  </a:lnTo>
                  <a:lnTo>
                    <a:pt x="459" y="837"/>
                  </a:lnTo>
                  <a:lnTo>
                    <a:pt x="459" y="835"/>
                  </a:lnTo>
                  <a:lnTo>
                    <a:pt x="459" y="835"/>
                  </a:lnTo>
                  <a:lnTo>
                    <a:pt x="459" y="835"/>
                  </a:lnTo>
                  <a:lnTo>
                    <a:pt x="459" y="835"/>
                  </a:lnTo>
                  <a:lnTo>
                    <a:pt x="457" y="835"/>
                  </a:lnTo>
                  <a:lnTo>
                    <a:pt x="457" y="835"/>
                  </a:lnTo>
                  <a:lnTo>
                    <a:pt x="457" y="835"/>
                  </a:lnTo>
                  <a:lnTo>
                    <a:pt x="454" y="835"/>
                  </a:lnTo>
                  <a:lnTo>
                    <a:pt x="454" y="835"/>
                  </a:lnTo>
                  <a:lnTo>
                    <a:pt x="454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2" y="832"/>
                  </a:lnTo>
                  <a:lnTo>
                    <a:pt x="450" y="832"/>
                  </a:lnTo>
                  <a:lnTo>
                    <a:pt x="450" y="832"/>
                  </a:lnTo>
                  <a:lnTo>
                    <a:pt x="450" y="832"/>
                  </a:lnTo>
                  <a:lnTo>
                    <a:pt x="450" y="832"/>
                  </a:lnTo>
                  <a:lnTo>
                    <a:pt x="450" y="832"/>
                  </a:lnTo>
                  <a:lnTo>
                    <a:pt x="450" y="832"/>
                  </a:lnTo>
                  <a:lnTo>
                    <a:pt x="450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8" y="832"/>
                  </a:lnTo>
                  <a:lnTo>
                    <a:pt x="445" y="830"/>
                  </a:lnTo>
                  <a:lnTo>
                    <a:pt x="445" y="830"/>
                  </a:lnTo>
                  <a:lnTo>
                    <a:pt x="445" y="830"/>
                  </a:lnTo>
                  <a:lnTo>
                    <a:pt x="443" y="828"/>
                  </a:lnTo>
                  <a:lnTo>
                    <a:pt x="441" y="828"/>
                  </a:lnTo>
                  <a:lnTo>
                    <a:pt x="441" y="828"/>
                  </a:lnTo>
                  <a:lnTo>
                    <a:pt x="441" y="828"/>
                  </a:lnTo>
                  <a:lnTo>
                    <a:pt x="441" y="821"/>
                  </a:lnTo>
                  <a:lnTo>
                    <a:pt x="441" y="821"/>
                  </a:lnTo>
                  <a:lnTo>
                    <a:pt x="441" y="821"/>
                  </a:lnTo>
                  <a:lnTo>
                    <a:pt x="439" y="821"/>
                  </a:lnTo>
                  <a:lnTo>
                    <a:pt x="436" y="819"/>
                  </a:lnTo>
                  <a:lnTo>
                    <a:pt x="436" y="819"/>
                  </a:lnTo>
                  <a:lnTo>
                    <a:pt x="434" y="821"/>
                  </a:lnTo>
                  <a:lnTo>
                    <a:pt x="434" y="821"/>
                  </a:lnTo>
                  <a:lnTo>
                    <a:pt x="434" y="821"/>
                  </a:lnTo>
                  <a:lnTo>
                    <a:pt x="432" y="819"/>
                  </a:lnTo>
                  <a:lnTo>
                    <a:pt x="432" y="819"/>
                  </a:lnTo>
                  <a:lnTo>
                    <a:pt x="432" y="819"/>
                  </a:lnTo>
                  <a:lnTo>
                    <a:pt x="430" y="817"/>
                  </a:lnTo>
                  <a:lnTo>
                    <a:pt x="430" y="817"/>
                  </a:lnTo>
                  <a:lnTo>
                    <a:pt x="427" y="817"/>
                  </a:lnTo>
                  <a:lnTo>
                    <a:pt x="427" y="817"/>
                  </a:lnTo>
                  <a:lnTo>
                    <a:pt x="427" y="817"/>
                  </a:lnTo>
                  <a:lnTo>
                    <a:pt x="427" y="817"/>
                  </a:lnTo>
                  <a:lnTo>
                    <a:pt x="427" y="817"/>
                  </a:lnTo>
                  <a:lnTo>
                    <a:pt x="427" y="817"/>
                  </a:lnTo>
                  <a:lnTo>
                    <a:pt x="423" y="814"/>
                  </a:lnTo>
                  <a:lnTo>
                    <a:pt x="423" y="814"/>
                  </a:lnTo>
                  <a:lnTo>
                    <a:pt x="423" y="814"/>
                  </a:lnTo>
                  <a:lnTo>
                    <a:pt x="423" y="817"/>
                  </a:lnTo>
                  <a:lnTo>
                    <a:pt x="423" y="817"/>
                  </a:lnTo>
                  <a:lnTo>
                    <a:pt x="423" y="819"/>
                  </a:lnTo>
                  <a:lnTo>
                    <a:pt x="423" y="819"/>
                  </a:lnTo>
                  <a:lnTo>
                    <a:pt x="423" y="819"/>
                  </a:lnTo>
                  <a:lnTo>
                    <a:pt x="421" y="817"/>
                  </a:lnTo>
                  <a:lnTo>
                    <a:pt x="421" y="817"/>
                  </a:lnTo>
                  <a:lnTo>
                    <a:pt x="421" y="817"/>
                  </a:lnTo>
                  <a:lnTo>
                    <a:pt x="421" y="817"/>
                  </a:lnTo>
                  <a:lnTo>
                    <a:pt x="418" y="814"/>
                  </a:lnTo>
                  <a:lnTo>
                    <a:pt x="418" y="814"/>
                  </a:lnTo>
                  <a:lnTo>
                    <a:pt x="418" y="814"/>
                  </a:lnTo>
                  <a:lnTo>
                    <a:pt x="416" y="814"/>
                  </a:lnTo>
                  <a:lnTo>
                    <a:pt x="416" y="814"/>
                  </a:lnTo>
                  <a:lnTo>
                    <a:pt x="414" y="817"/>
                  </a:lnTo>
                  <a:lnTo>
                    <a:pt x="414" y="817"/>
                  </a:lnTo>
                  <a:lnTo>
                    <a:pt x="412" y="817"/>
                  </a:lnTo>
                  <a:lnTo>
                    <a:pt x="412" y="817"/>
                  </a:lnTo>
                  <a:lnTo>
                    <a:pt x="412" y="817"/>
                  </a:lnTo>
                  <a:lnTo>
                    <a:pt x="412" y="819"/>
                  </a:lnTo>
                  <a:lnTo>
                    <a:pt x="409" y="819"/>
                  </a:lnTo>
                  <a:lnTo>
                    <a:pt x="409" y="819"/>
                  </a:lnTo>
                  <a:lnTo>
                    <a:pt x="407" y="819"/>
                  </a:lnTo>
                  <a:lnTo>
                    <a:pt x="407" y="819"/>
                  </a:lnTo>
                  <a:lnTo>
                    <a:pt x="407" y="819"/>
                  </a:lnTo>
                  <a:lnTo>
                    <a:pt x="407" y="819"/>
                  </a:lnTo>
                  <a:lnTo>
                    <a:pt x="407" y="819"/>
                  </a:lnTo>
                  <a:lnTo>
                    <a:pt x="407" y="819"/>
                  </a:lnTo>
                  <a:lnTo>
                    <a:pt x="405" y="819"/>
                  </a:lnTo>
                  <a:lnTo>
                    <a:pt x="405" y="819"/>
                  </a:lnTo>
                  <a:lnTo>
                    <a:pt x="403" y="819"/>
                  </a:lnTo>
                  <a:lnTo>
                    <a:pt x="403" y="819"/>
                  </a:lnTo>
                  <a:lnTo>
                    <a:pt x="403" y="819"/>
                  </a:lnTo>
                  <a:lnTo>
                    <a:pt x="403" y="817"/>
                  </a:lnTo>
                  <a:lnTo>
                    <a:pt x="403" y="817"/>
                  </a:lnTo>
                  <a:lnTo>
                    <a:pt x="403" y="817"/>
                  </a:lnTo>
                  <a:lnTo>
                    <a:pt x="403" y="817"/>
                  </a:lnTo>
                  <a:lnTo>
                    <a:pt x="403" y="814"/>
                  </a:lnTo>
                  <a:lnTo>
                    <a:pt x="403" y="814"/>
                  </a:lnTo>
                  <a:lnTo>
                    <a:pt x="400" y="814"/>
                  </a:lnTo>
                  <a:lnTo>
                    <a:pt x="400" y="814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398" y="812"/>
                  </a:lnTo>
                  <a:lnTo>
                    <a:pt x="396" y="812"/>
                  </a:lnTo>
                  <a:lnTo>
                    <a:pt x="391" y="810"/>
                  </a:lnTo>
                  <a:lnTo>
                    <a:pt x="389" y="810"/>
                  </a:lnTo>
                  <a:lnTo>
                    <a:pt x="387" y="808"/>
                  </a:lnTo>
                  <a:lnTo>
                    <a:pt x="387" y="808"/>
                  </a:lnTo>
                  <a:lnTo>
                    <a:pt x="387" y="808"/>
                  </a:lnTo>
                  <a:lnTo>
                    <a:pt x="387" y="808"/>
                  </a:lnTo>
                  <a:lnTo>
                    <a:pt x="387" y="808"/>
                  </a:lnTo>
                  <a:lnTo>
                    <a:pt x="387" y="808"/>
                  </a:lnTo>
                  <a:lnTo>
                    <a:pt x="385" y="805"/>
                  </a:lnTo>
                  <a:lnTo>
                    <a:pt x="385" y="805"/>
                  </a:lnTo>
                  <a:lnTo>
                    <a:pt x="382" y="805"/>
                  </a:lnTo>
                  <a:lnTo>
                    <a:pt x="382" y="805"/>
                  </a:lnTo>
                  <a:lnTo>
                    <a:pt x="382" y="805"/>
                  </a:lnTo>
                  <a:lnTo>
                    <a:pt x="380" y="805"/>
                  </a:lnTo>
                  <a:lnTo>
                    <a:pt x="380" y="805"/>
                  </a:lnTo>
                  <a:lnTo>
                    <a:pt x="380" y="805"/>
                  </a:lnTo>
                  <a:lnTo>
                    <a:pt x="380" y="805"/>
                  </a:lnTo>
                  <a:lnTo>
                    <a:pt x="378" y="805"/>
                  </a:lnTo>
                  <a:lnTo>
                    <a:pt x="378" y="805"/>
                  </a:lnTo>
                  <a:lnTo>
                    <a:pt x="378" y="805"/>
                  </a:lnTo>
                  <a:lnTo>
                    <a:pt x="378" y="805"/>
                  </a:lnTo>
                  <a:lnTo>
                    <a:pt x="376" y="805"/>
                  </a:lnTo>
                  <a:lnTo>
                    <a:pt x="376" y="805"/>
                  </a:lnTo>
                  <a:lnTo>
                    <a:pt x="373" y="803"/>
                  </a:lnTo>
                  <a:lnTo>
                    <a:pt x="373" y="803"/>
                  </a:lnTo>
                  <a:lnTo>
                    <a:pt x="369" y="803"/>
                  </a:lnTo>
                  <a:lnTo>
                    <a:pt x="369" y="803"/>
                  </a:lnTo>
                  <a:lnTo>
                    <a:pt x="369" y="805"/>
                  </a:lnTo>
                  <a:lnTo>
                    <a:pt x="367" y="805"/>
                  </a:lnTo>
                  <a:lnTo>
                    <a:pt x="367" y="805"/>
                  </a:lnTo>
                  <a:lnTo>
                    <a:pt x="367" y="805"/>
                  </a:lnTo>
                  <a:lnTo>
                    <a:pt x="367" y="805"/>
                  </a:lnTo>
                  <a:lnTo>
                    <a:pt x="364" y="805"/>
                  </a:lnTo>
                  <a:lnTo>
                    <a:pt x="364" y="803"/>
                  </a:lnTo>
                  <a:lnTo>
                    <a:pt x="362" y="805"/>
                  </a:lnTo>
                  <a:lnTo>
                    <a:pt x="362" y="805"/>
                  </a:lnTo>
                  <a:lnTo>
                    <a:pt x="362" y="803"/>
                  </a:lnTo>
                  <a:lnTo>
                    <a:pt x="360" y="803"/>
                  </a:lnTo>
                  <a:lnTo>
                    <a:pt x="360" y="803"/>
                  </a:lnTo>
                  <a:lnTo>
                    <a:pt x="358" y="803"/>
                  </a:lnTo>
                  <a:lnTo>
                    <a:pt x="358" y="803"/>
                  </a:lnTo>
                  <a:lnTo>
                    <a:pt x="358" y="803"/>
                  </a:lnTo>
                  <a:lnTo>
                    <a:pt x="355" y="803"/>
                  </a:lnTo>
                  <a:lnTo>
                    <a:pt x="355" y="803"/>
                  </a:lnTo>
                  <a:lnTo>
                    <a:pt x="355" y="803"/>
                  </a:lnTo>
                  <a:lnTo>
                    <a:pt x="355" y="803"/>
                  </a:lnTo>
                  <a:lnTo>
                    <a:pt x="355" y="801"/>
                  </a:lnTo>
                  <a:lnTo>
                    <a:pt x="353" y="801"/>
                  </a:lnTo>
                  <a:lnTo>
                    <a:pt x="353" y="801"/>
                  </a:lnTo>
                  <a:lnTo>
                    <a:pt x="353" y="801"/>
                  </a:lnTo>
                  <a:lnTo>
                    <a:pt x="351" y="801"/>
                  </a:lnTo>
                  <a:lnTo>
                    <a:pt x="351" y="801"/>
                  </a:lnTo>
                  <a:lnTo>
                    <a:pt x="351" y="801"/>
                  </a:lnTo>
                  <a:lnTo>
                    <a:pt x="349" y="801"/>
                  </a:lnTo>
                  <a:lnTo>
                    <a:pt x="349" y="801"/>
                  </a:lnTo>
                  <a:lnTo>
                    <a:pt x="346" y="801"/>
                  </a:lnTo>
                  <a:lnTo>
                    <a:pt x="344" y="799"/>
                  </a:lnTo>
                  <a:lnTo>
                    <a:pt x="344" y="799"/>
                  </a:lnTo>
                  <a:lnTo>
                    <a:pt x="342" y="796"/>
                  </a:lnTo>
                  <a:lnTo>
                    <a:pt x="340" y="796"/>
                  </a:lnTo>
                  <a:lnTo>
                    <a:pt x="340" y="796"/>
                  </a:lnTo>
                  <a:lnTo>
                    <a:pt x="340" y="796"/>
                  </a:lnTo>
                  <a:lnTo>
                    <a:pt x="337" y="796"/>
                  </a:lnTo>
                  <a:lnTo>
                    <a:pt x="337" y="796"/>
                  </a:lnTo>
                  <a:lnTo>
                    <a:pt x="335" y="796"/>
                  </a:lnTo>
                  <a:lnTo>
                    <a:pt x="331" y="796"/>
                  </a:lnTo>
                  <a:lnTo>
                    <a:pt x="331" y="796"/>
                  </a:lnTo>
                  <a:lnTo>
                    <a:pt x="328" y="796"/>
                  </a:lnTo>
                  <a:lnTo>
                    <a:pt x="328" y="796"/>
                  </a:lnTo>
                  <a:lnTo>
                    <a:pt x="328" y="796"/>
                  </a:lnTo>
                  <a:lnTo>
                    <a:pt x="328" y="799"/>
                  </a:lnTo>
                  <a:lnTo>
                    <a:pt x="328" y="801"/>
                  </a:lnTo>
                  <a:lnTo>
                    <a:pt x="326" y="801"/>
                  </a:lnTo>
                  <a:lnTo>
                    <a:pt x="326" y="799"/>
                  </a:lnTo>
                  <a:lnTo>
                    <a:pt x="326" y="799"/>
                  </a:lnTo>
                  <a:lnTo>
                    <a:pt x="326" y="799"/>
                  </a:lnTo>
                  <a:lnTo>
                    <a:pt x="324" y="799"/>
                  </a:lnTo>
                  <a:lnTo>
                    <a:pt x="324" y="796"/>
                  </a:lnTo>
                  <a:lnTo>
                    <a:pt x="324" y="796"/>
                  </a:lnTo>
                  <a:lnTo>
                    <a:pt x="322" y="796"/>
                  </a:lnTo>
                  <a:lnTo>
                    <a:pt x="322" y="796"/>
                  </a:lnTo>
                  <a:lnTo>
                    <a:pt x="322" y="796"/>
                  </a:lnTo>
                  <a:lnTo>
                    <a:pt x="322" y="796"/>
                  </a:lnTo>
                  <a:lnTo>
                    <a:pt x="322" y="796"/>
                  </a:lnTo>
                  <a:lnTo>
                    <a:pt x="322" y="794"/>
                  </a:lnTo>
                  <a:lnTo>
                    <a:pt x="322" y="794"/>
                  </a:lnTo>
                  <a:lnTo>
                    <a:pt x="319" y="794"/>
                  </a:lnTo>
                  <a:lnTo>
                    <a:pt x="319" y="794"/>
                  </a:lnTo>
                  <a:lnTo>
                    <a:pt x="319" y="794"/>
                  </a:lnTo>
                  <a:lnTo>
                    <a:pt x="317" y="792"/>
                  </a:lnTo>
                  <a:lnTo>
                    <a:pt x="315" y="792"/>
                  </a:lnTo>
                  <a:lnTo>
                    <a:pt x="315" y="790"/>
                  </a:lnTo>
                  <a:lnTo>
                    <a:pt x="313" y="787"/>
                  </a:lnTo>
                  <a:lnTo>
                    <a:pt x="308" y="785"/>
                  </a:lnTo>
                  <a:lnTo>
                    <a:pt x="308" y="785"/>
                  </a:lnTo>
                  <a:lnTo>
                    <a:pt x="306" y="783"/>
                  </a:lnTo>
                  <a:lnTo>
                    <a:pt x="306" y="783"/>
                  </a:lnTo>
                  <a:lnTo>
                    <a:pt x="306" y="783"/>
                  </a:lnTo>
                  <a:lnTo>
                    <a:pt x="306" y="783"/>
                  </a:lnTo>
                  <a:lnTo>
                    <a:pt x="306" y="783"/>
                  </a:lnTo>
                  <a:lnTo>
                    <a:pt x="306" y="783"/>
                  </a:lnTo>
                  <a:lnTo>
                    <a:pt x="304" y="783"/>
                  </a:lnTo>
                  <a:lnTo>
                    <a:pt x="304" y="783"/>
                  </a:lnTo>
                  <a:lnTo>
                    <a:pt x="304" y="781"/>
                  </a:lnTo>
                  <a:lnTo>
                    <a:pt x="304" y="781"/>
                  </a:lnTo>
                  <a:lnTo>
                    <a:pt x="301" y="781"/>
                  </a:lnTo>
                  <a:lnTo>
                    <a:pt x="301" y="778"/>
                  </a:lnTo>
                  <a:lnTo>
                    <a:pt x="299" y="778"/>
                  </a:lnTo>
                  <a:lnTo>
                    <a:pt x="299" y="778"/>
                  </a:lnTo>
                  <a:lnTo>
                    <a:pt x="299" y="778"/>
                  </a:lnTo>
                  <a:lnTo>
                    <a:pt x="297" y="778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4"/>
                  </a:lnTo>
                  <a:lnTo>
                    <a:pt x="286" y="774"/>
                  </a:lnTo>
                  <a:lnTo>
                    <a:pt x="286" y="774"/>
                  </a:lnTo>
                  <a:lnTo>
                    <a:pt x="286" y="772"/>
                  </a:lnTo>
                  <a:lnTo>
                    <a:pt x="286" y="772"/>
                  </a:lnTo>
                  <a:lnTo>
                    <a:pt x="286" y="772"/>
                  </a:lnTo>
                  <a:lnTo>
                    <a:pt x="286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4" y="772"/>
                  </a:lnTo>
                  <a:lnTo>
                    <a:pt x="281" y="769"/>
                  </a:lnTo>
                  <a:lnTo>
                    <a:pt x="281" y="769"/>
                  </a:lnTo>
                  <a:lnTo>
                    <a:pt x="281" y="769"/>
                  </a:lnTo>
                  <a:lnTo>
                    <a:pt x="281" y="769"/>
                  </a:lnTo>
                  <a:lnTo>
                    <a:pt x="279" y="769"/>
                  </a:lnTo>
                  <a:lnTo>
                    <a:pt x="279" y="769"/>
                  </a:lnTo>
                  <a:lnTo>
                    <a:pt x="281" y="769"/>
                  </a:lnTo>
                  <a:lnTo>
                    <a:pt x="281" y="769"/>
                  </a:lnTo>
                  <a:lnTo>
                    <a:pt x="281" y="769"/>
                  </a:lnTo>
                  <a:lnTo>
                    <a:pt x="281" y="772"/>
                  </a:lnTo>
                  <a:lnTo>
                    <a:pt x="279" y="772"/>
                  </a:lnTo>
                  <a:lnTo>
                    <a:pt x="279" y="772"/>
                  </a:lnTo>
                  <a:lnTo>
                    <a:pt x="279" y="772"/>
                  </a:lnTo>
                  <a:lnTo>
                    <a:pt x="277" y="769"/>
                  </a:lnTo>
                  <a:lnTo>
                    <a:pt x="277" y="769"/>
                  </a:lnTo>
                  <a:lnTo>
                    <a:pt x="277" y="769"/>
                  </a:lnTo>
                  <a:lnTo>
                    <a:pt x="277" y="769"/>
                  </a:lnTo>
                  <a:lnTo>
                    <a:pt x="277" y="769"/>
                  </a:lnTo>
                  <a:lnTo>
                    <a:pt x="277" y="769"/>
                  </a:lnTo>
                  <a:lnTo>
                    <a:pt x="275" y="769"/>
                  </a:lnTo>
                  <a:lnTo>
                    <a:pt x="275" y="769"/>
                  </a:lnTo>
                  <a:lnTo>
                    <a:pt x="275" y="769"/>
                  </a:lnTo>
                  <a:lnTo>
                    <a:pt x="275" y="769"/>
                  </a:lnTo>
                  <a:lnTo>
                    <a:pt x="275" y="769"/>
                  </a:lnTo>
                  <a:lnTo>
                    <a:pt x="275" y="769"/>
                  </a:lnTo>
                  <a:lnTo>
                    <a:pt x="275" y="769"/>
                  </a:lnTo>
                  <a:lnTo>
                    <a:pt x="272" y="769"/>
                  </a:lnTo>
                  <a:lnTo>
                    <a:pt x="272" y="769"/>
                  </a:lnTo>
                  <a:lnTo>
                    <a:pt x="272" y="767"/>
                  </a:lnTo>
                  <a:lnTo>
                    <a:pt x="272" y="767"/>
                  </a:lnTo>
                  <a:lnTo>
                    <a:pt x="270" y="765"/>
                  </a:lnTo>
                  <a:lnTo>
                    <a:pt x="270" y="765"/>
                  </a:lnTo>
                  <a:lnTo>
                    <a:pt x="270" y="765"/>
                  </a:lnTo>
                  <a:lnTo>
                    <a:pt x="270" y="765"/>
                  </a:lnTo>
                  <a:lnTo>
                    <a:pt x="270" y="765"/>
                  </a:lnTo>
                  <a:lnTo>
                    <a:pt x="270" y="765"/>
                  </a:lnTo>
                  <a:lnTo>
                    <a:pt x="268" y="763"/>
                  </a:lnTo>
                  <a:lnTo>
                    <a:pt x="268" y="763"/>
                  </a:lnTo>
                  <a:lnTo>
                    <a:pt x="268" y="763"/>
                  </a:lnTo>
                  <a:lnTo>
                    <a:pt x="266" y="763"/>
                  </a:lnTo>
                  <a:lnTo>
                    <a:pt x="266" y="763"/>
                  </a:lnTo>
                  <a:lnTo>
                    <a:pt x="266" y="763"/>
                  </a:lnTo>
                  <a:lnTo>
                    <a:pt x="266" y="760"/>
                  </a:lnTo>
                  <a:lnTo>
                    <a:pt x="263" y="760"/>
                  </a:lnTo>
                  <a:lnTo>
                    <a:pt x="263" y="760"/>
                  </a:lnTo>
                  <a:lnTo>
                    <a:pt x="261" y="760"/>
                  </a:lnTo>
                  <a:lnTo>
                    <a:pt x="259" y="760"/>
                  </a:lnTo>
                  <a:lnTo>
                    <a:pt x="259" y="760"/>
                  </a:lnTo>
                  <a:lnTo>
                    <a:pt x="259" y="760"/>
                  </a:lnTo>
                  <a:lnTo>
                    <a:pt x="259" y="760"/>
                  </a:lnTo>
                  <a:lnTo>
                    <a:pt x="259" y="760"/>
                  </a:lnTo>
                  <a:lnTo>
                    <a:pt x="257" y="758"/>
                  </a:lnTo>
                  <a:lnTo>
                    <a:pt x="257" y="758"/>
                  </a:lnTo>
                  <a:lnTo>
                    <a:pt x="254" y="758"/>
                  </a:lnTo>
                  <a:lnTo>
                    <a:pt x="254" y="758"/>
                  </a:lnTo>
                  <a:lnTo>
                    <a:pt x="254" y="758"/>
                  </a:lnTo>
                  <a:lnTo>
                    <a:pt x="254" y="758"/>
                  </a:lnTo>
                  <a:lnTo>
                    <a:pt x="254" y="758"/>
                  </a:lnTo>
                  <a:lnTo>
                    <a:pt x="254" y="758"/>
                  </a:lnTo>
                  <a:lnTo>
                    <a:pt x="257" y="758"/>
                  </a:lnTo>
                  <a:lnTo>
                    <a:pt x="259" y="758"/>
                  </a:lnTo>
                  <a:lnTo>
                    <a:pt x="259" y="756"/>
                  </a:lnTo>
                  <a:lnTo>
                    <a:pt x="259" y="756"/>
                  </a:lnTo>
                  <a:lnTo>
                    <a:pt x="259" y="756"/>
                  </a:lnTo>
                  <a:lnTo>
                    <a:pt x="259" y="756"/>
                  </a:lnTo>
                  <a:lnTo>
                    <a:pt x="259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4"/>
                  </a:lnTo>
                  <a:lnTo>
                    <a:pt x="261" y="754"/>
                  </a:lnTo>
                  <a:lnTo>
                    <a:pt x="261" y="754"/>
                  </a:lnTo>
                  <a:lnTo>
                    <a:pt x="259" y="756"/>
                  </a:lnTo>
                  <a:lnTo>
                    <a:pt x="259" y="756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6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9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7" y="754"/>
                  </a:lnTo>
                  <a:lnTo>
                    <a:pt x="259" y="751"/>
                  </a:lnTo>
                  <a:lnTo>
                    <a:pt x="259" y="751"/>
                  </a:lnTo>
                  <a:lnTo>
                    <a:pt x="259" y="751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4"/>
                  </a:lnTo>
                  <a:lnTo>
                    <a:pt x="263" y="754"/>
                  </a:lnTo>
                  <a:lnTo>
                    <a:pt x="266" y="754"/>
                  </a:lnTo>
                  <a:lnTo>
                    <a:pt x="266" y="754"/>
                  </a:lnTo>
                  <a:lnTo>
                    <a:pt x="266" y="754"/>
                  </a:lnTo>
                  <a:lnTo>
                    <a:pt x="266" y="754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3" y="756"/>
                  </a:lnTo>
                  <a:lnTo>
                    <a:pt x="263" y="756"/>
                  </a:lnTo>
                  <a:lnTo>
                    <a:pt x="263" y="756"/>
                  </a:lnTo>
                  <a:lnTo>
                    <a:pt x="263" y="756"/>
                  </a:lnTo>
                  <a:lnTo>
                    <a:pt x="263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8" y="756"/>
                  </a:lnTo>
                  <a:lnTo>
                    <a:pt x="268" y="756"/>
                  </a:lnTo>
                  <a:lnTo>
                    <a:pt x="268" y="756"/>
                  </a:lnTo>
                  <a:lnTo>
                    <a:pt x="268" y="756"/>
                  </a:lnTo>
                  <a:lnTo>
                    <a:pt x="268" y="756"/>
                  </a:lnTo>
                  <a:lnTo>
                    <a:pt x="268" y="756"/>
                  </a:lnTo>
                  <a:lnTo>
                    <a:pt x="268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6"/>
                  </a:lnTo>
                  <a:lnTo>
                    <a:pt x="266" y="754"/>
                  </a:lnTo>
                  <a:lnTo>
                    <a:pt x="266" y="754"/>
                  </a:lnTo>
                  <a:lnTo>
                    <a:pt x="270" y="754"/>
                  </a:lnTo>
                  <a:lnTo>
                    <a:pt x="270" y="754"/>
                  </a:lnTo>
                  <a:lnTo>
                    <a:pt x="270" y="756"/>
                  </a:lnTo>
                  <a:lnTo>
                    <a:pt x="270" y="754"/>
                  </a:lnTo>
                  <a:lnTo>
                    <a:pt x="270" y="754"/>
                  </a:lnTo>
                  <a:lnTo>
                    <a:pt x="270" y="754"/>
                  </a:lnTo>
                  <a:lnTo>
                    <a:pt x="270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2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6"/>
                  </a:lnTo>
                  <a:lnTo>
                    <a:pt x="275" y="756"/>
                  </a:lnTo>
                  <a:lnTo>
                    <a:pt x="275" y="756"/>
                  </a:lnTo>
                  <a:lnTo>
                    <a:pt x="272" y="756"/>
                  </a:lnTo>
                  <a:lnTo>
                    <a:pt x="275" y="756"/>
                  </a:lnTo>
                  <a:lnTo>
                    <a:pt x="275" y="756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6"/>
                  </a:lnTo>
                  <a:lnTo>
                    <a:pt x="275" y="756"/>
                  </a:lnTo>
                  <a:lnTo>
                    <a:pt x="275" y="756"/>
                  </a:lnTo>
                  <a:lnTo>
                    <a:pt x="275" y="756"/>
                  </a:lnTo>
                  <a:lnTo>
                    <a:pt x="277" y="756"/>
                  </a:lnTo>
                  <a:lnTo>
                    <a:pt x="277" y="756"/>
                  </a:lnTo>
                  <a:lnTo>
                    <a:pt x="277" y="756"/>
                  </a:lnTo>
                  <a:lnTo>
                    <a:pt x="277" y="756"/>
                  </a:lnTo>
                  <a:lnTo>
                    <a:pt x="277" y="756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5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4"/>
                  </a:lnTo>
                  <a:lnTo>
                    <a:pt x="277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7" y="751"/>
                  </a:lnTo>
                  <a:lnTo>
                    <a:pt x="277" y="751"/>
                  </a:lnTo>
                  <a:lnTo>
                    <a:pt x="277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9"/>
                  </a:lnTo>
                  <a:lnTo>
                    <a:pt x="272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49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5" y="751"/>
                  </a:lnTo>
                  <a:lnTo>
                    <a:pt x="272" y="751"/>
                  </a:lnTo>
                  <a:lnTo>
                    <a:pt x="272" y="751"/>
                  </a:lnTo>
                  <a:lnTo>
                    <a:pt x="272" y="751"/>
                  </a:lnTo>
                  <a:lnTo>
                    <a:pt x="272" y="751"/>
                  </a:lnTo>
                  <a:lnTo>
                    <a:pt x="272" y="749"/>
                  </a:lnTo>
                  <a:lnTo>
                    <a:pt x="272" y="749"/>
                  </a:lnTo>
                  <a:lnTo>
                    <a:pt x="272" y="749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2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7"/>
                  </a:lnTo>
                  <a:lnTo>
                    <a:pt x="275" y="745"/>
                  </a:lnTo>
                  <a:lnTo>
                    <a:pt x="277" y="745"/>
                  </a:lnTo>
                  <a:lnTo>
                    <a:pt x="277" y="745"/>
                  </a:lnTo>
                  <a:lnTo>
                    <a:pt x="277" y="745"/>
                  </a:lnTo>
                  <a:lnTo>
                    <a:pt x="277" y="745"/>
                  </a:lnTo>
                  <a:lnTo>
                    <a:pt x="277" y="742"/>
                  </a:lnTo>
                  <a:lnTo>
                    <a:pt x="277" y="742"/>
                  </a:lnTo>
                  <a:lnTo>
                    <a:pt x="277" y="740"/>
                  </a:lnTo>
                  <a:lnTo>
                    <a:pt x="277" y="738"/>
                  </a:lnTo>
                  <a:lnTo>
                    <a:pt x="277" y="738"/>
                  </a:lnTo>
                  <a:lnTo>
                    <a:pt x="277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38"/>
                  </a:lnTo>
                  <a:lnTo>
                    <a:pt x="279" y="740"/>
                  </a:lnTo>
                  <a:lnTo>
                    <a:pt x="279" y="740"/>
                  </a:lnTo>
                  <a:lnTo>
                    <a:pt x="279" y="740"/>
                  </a:lnTo>
                  <a:lnTo>
                    <a:pt x="279" y="740"/>
                  </a:lnTo>
                  <a:lnTo>
                    <a:pt x="279" y="740"/>
                  </a:lnTo>
                  <a:lnTo>
                    <a:pt x="279" y="740"/>
                  </a:lnTo>
                  <a:lnTo>
                    <a:pt x="281" y="740"/>
                  </a:lnTo>
                  <a:lnTo>
                    <a:pt x="279" y="740"/>
                  </a:lnTo>
                  <a:lnTo>
                    <a:pt x="279" y="742"/>
                  </a:lnTo>
                  <a:lnTo>
                    <a:pt x="279" y="742"/>
                  </a:lnTo>
                  <a:lnTo>
                    <a:pt x="279" y="742"/>
                  </a:lnTo>
                  <a:lnTo>
                    <a:pt x="279" y="742"/>
                  </a:lnTo>
                  <a:lnTo>
                    <a:pt x="279" y="742"/>
                  </a:lnTo>
                  <a:lnTo>
                    <a:pt x="281" y="742"/>
                  </a:lnTo>
                  <a:lnTo>
                    <a:pt x="279" y="742"/>
                  </a:lnTo>
                  <a:lnTo>
                    <a:pt x="279" y="742"/>
                  </a:lnTo>
                  <a:lnTo>
                    <a:pt x="281" y="742"/>
                  </a:lnTo>
                  <a:lnTo>
                    <a:pt x="281" y="740"/>
                  </a:lnTo>
                  <a:lnTo>
                    <a:pt x="281" y="740"/>
                  </a:lnTo>
                  <a:lnTo>
                    <a:pt x="281" y="740"/>
                  </a:lnTo>
                  <a:lnTo>
                    <a:pt x="281" y="740"/>
                  </a:lnTo>
                  <a:lnTo>
                    <a:pt x="281" y="738"/>
                  </a:lnTo>
                  <a:lnTo>
                    <a:pt x="281" y="738"/>
                  </a:lnTo>
                  <a:lnTo>
                    <a:pt x="281" y="738"/>
                  </a:lnTo>
                  <a:lnTo>
                    <a:pt x="281" y="738"/>
                  </a:lnTo>
                  <a:lnTo>
                    <a:pt x="281" y="738"/>
                  </a:lnTo>
                  <a:lnTo>
                    <a:pt x="281" y="736"/>
                  </a:lnTo>
                  <a:lnTo>
                    <a:pt x="281" y="736"/>
                  </a:lnTo>
                  <a:lnTo>
                    <a:pt x="281" y="736"/>
                  </a:lnTo>
                  <a:lnTo>
                    <a:pt x="281" y="736"/>
                  </a:lnTo>
                  <a:lnTo>
                    <a:pt x="281" y="736"/>
                  </a:lnTo>
                  <a:lnTo>
                    <a:pt x="281" y="736"/>
                  </a:lnTo>
                  <a:lnTo>
                    <a:pt x="284" y="736"/>
                  </a:lnTo>
                  <a:lnTo>
                    <a:pt x="284" y="736"/>
                  </a:lnTo>
                  <a:lnTo>
                    <a:pt x="284" y="738"/>
                  </a:lnTo>
                  <a:lnTo>
                    <a:pt x="286" y="738"/>
                  </a:lnTo>
                  <a:lnTo>
                    <a:pt x="286" y="738"/>
                  </a:lnTo>
                  <a:lnTo>
                    <a:pt x="286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8"/>
                  </a:lnTo>
                  <a:lnTo>
                    <a:pt x="288" y="736"/>
                  </a:lnTo>
                  <a:lnTo>
                    <a:pt x="288" y="736"/>
                  </a:lnTo>
                  <a:lnTo>
                    <a:pt x="288" y="736"/>
                  </a:lnTo>
                  <a:lnTo>
                    <a:pt x="284" y="733"/>
                  </a:lnTo>
                  <a:lnTo>
                    <a:pt x="284" y="733"/>
                  </a:lnTo>
                  <a:lnTo>
                    <a:pt x="284" y="733"/>
                  </a:lnTo>
                  <a:lnTo>
                    <a:pt x="281" y="733"/>
                  </a:lnTo>
                  <a:lnTo>
                    <a:pt x="281" y="731"/>
                  </a:lnTo>
                  <a:lnTo>
                    <a:pt x="281" y="731"/>
                  </a:lnTo>
                  <a:lnTo>
                    <a:pt x="279" y="729"/>
                  </a:lnTo>
                  <a:lnTo>
                    <a:pt x="279" y="729"/>
                  </a:lnTo>
                  <a:lnTo>
                    <a:pt x="277" y="729"/>
                  </a:lnTo>
                  <a:lnTo>
                    <a:pt x="277" y="729"/>
                  </a:lnTo>
                  <a:lnTo>
                    <a:pt x="277" y="729"/>
                  </a:lnTo>
                  <a:lnTo>
                    <a:pt x="277" y="729"/>
                  </a:lnTo>
                  <a:lnTo>
                    <a:pt x="277" y="729"/>
                  </a:lnTo>
                  <a:lnTo>
                    <a:pt x="277" y="729"/>
                  </a:lnTo>
                  <a:lnTo>
                    <a:pt x="277" y="731"/>
                  </a:lnTo>
                  <a:lnTo>
                    <a:pt x="277" y="731"/>
                  </a:lnTo>
                  <a:lnTo>
                    <a:pt x="277" y="731"/>
                  </a:lnTo>
                  <a:lnTo>
                    <a:pt x="275" y="729"/>
                  </a:lnTo>
                  <a:lnTo>
                    <a:pt x="275" y="729"/>
                  </a:lnTo>
                  <a:lnTo>
                    <a:pt x="275" y="729"/>
                  </a:lnTo>
                  <a:lnTo>
                    <a:pt x="272" y="727"/>
                  </a:lnTo>
                  <a:lnTo>
                    <a:pt x="272" y="727"/>
                  </a:lnTo>
                  <a:lnTo>
                    <a:pt x="272" y="727"/>
                  </a:lnTo>
                  <a:lnTo>
                    <a:pt x="272" y="724"/>
                  </a:lnTo>
                  <a:lnTo>
                    <a:pt x="272" y="724"/>
                  </a:lnTo>
                  <a:lnTo>
                    <a:pt x="270" y="724"/>
                  </a:lnTo>
                  <a:lnTo>
                    <a:pt x="270" y="724"/>
                  </a:lnTo>
                  <a:lnTo>
                    <a:pt x="270" y="722"/>
                  </a:lnTo>
                  <a:lnTo>
                    <a:pt x="270" y="722"/>
                  </a:lnTo>
                  <a:lnTo>
                    <a:pt x="270" y="722"/>
                  </a:lnTo>
                  <a:lnTo>
                    <a:pt x="270" y="722"/>
                  </a:lnTo>
                  <a:lnTo>
                    <a:pt x="270" y="722"/>
                  </a:lnTo>
                  <a:lnTo>
                    <a:pt x="270" y="724"/>
                  </a:lnTo>
                  <a:lnTo>
                    <a:pt x="272" y="724"/>
                  </a:lnTo>
                  <a:lnTo>
                    <a:pt x="272" y="724"/>
                  </a:lnTo>
                  <a:lnTo>
                    <a:pt x="272" y="724"/>
                  </a:lnTo>
                  <a:lnTo>
                    <a:pt x="275" y="724"/>
                  </a:lnTo>
                  <a:lnTo>
                    <a:pt x="275" y="724"/>
                  </a:lnTo>
                  <a:lnTo>
                    <a:pt x="277" y="724"/>
                  </a:lnTo>
                  <a:lnTo>
                    <a:pt x="277" y="724"/>
                  </a:lnTo>
                  <a:lnTo>
                    <a:pt x="277" y="722"/>
                  </a:lnTo>
                  <a:lnTo>
                    <a:pt x="277" y="722"/>
                  </a:lnTo>
                  <a:lnTo>
                    <a:pt x="279" y="722"/>
                  </a:lnTo>
                  <a:lnTo>
                    <a:pt x="279" y="722"/>
                  </a:lnTo>
                  <a:lnTo>
                    <a:pt x="279" y="722"/>
                  </a:lnTo>
                  <a:lnTo>
                    <a:pt x="279" y="722"/>
                  </a:lnTo>
                  <a:lnTo>
                    <a:pt x="279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4" y="724"/>
                  </a:lnTo>
                  <a:lnTo>
                    <a:pt x="286" y="724"/>
                  </a:lnTo>
                  <a:lnTo>
                    <a:pt x="286" y="724"/>
                  </a:lnTo>
                  <a:lnTo>
                    <a:pt x="286" y="722"/>
                  </a:lnTo>
                  <a:lnTo>
                    <a:pt x="286" y="722"/>
                  </a:lnTo>
                  <a:lnTo>
                    <a:pt x="286" y="722"/>
                  </a:lnTo>
                  <a:lnTo>
                    <a:pt x="286" y="722"/>
                  </a:lnTo>
                  <a:lnTo>
                    <a:pt x="286" y="722"/>
                  </a:lnTo>
                  <a:lnTo>
                    <a:pt x="284" y="722"/>
                  </a:lnTo>
                  <a:lnTo>
                    <a:pt x="284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2"/>
                  </a:lnTo>
                  <a:lnTo>
                    <a:pt x="281" y="720"/>
                  </a:lnTo>
                  <a:lnTo>
                    <a:pt x="281" y="720"/>
                  </a:lnTo>
                  <a:lnTo>
                    <a:pt x="281" y="720"/>
                  </a:lnTo>
                  <a:lnTo>
                    <a:pt x="281" y="720"/>
                  </a:lnTo>
                  <a:lnTo>
                    <a:pt x="281" y="720"/>
                  </a:lnTo>
                  <a:lnTo>
                    <a:pt x="281" y="720"/>
                  </a:lnTo>
                  <a:lnTo>
                    <a:pt x="281" y="720"/>
                  </a:lnTo>
                  <a:lnTo>
                    <a:pt x="284" y="720"/>
                  </a:lnTo>
                  <a:lnTo>
                    <a:pt x="284" y="720"/>
                  </a:lnTo>
                  <a:lnTo>
                    <a:pt x="284" y="718"/>
                  </a:lnTo>
                  <a:lnTo>
                    <a:pt x="286" y="720"/>
                  </a:lnTo>
                  <a:lnTo>
                    <a:pt x="286" y="720"/>
                  </a:lnTo>
                  <a:lnTo>
                    <a:pt x="286" y="718"/>
                  </a:lnTo>
                  <a:lnTo>
                    <a:pt x="288" y="718"/>
                  </a:lnTo>
                  <a:lnTo>
                    <a:pt x="288" y="718"/>
                  </a:lnTo>
                  <a:lnTo>
                    <a:pt x="288" y="718"/>
                  </a:lnTo>
                  <a:lnTo>
                    <a:pt x="290" y="718"/>
                  </a:lnTo>
                  <a:lnTo>
                    <a:pt x="290" y="718"/>
                  </a:lnTo>
                  <a:lnTo>
                    <a:pt x="290" y="718"/>
                  </a:lnTo>
                  <a:lnTo>
                    <a:pt x="290" y="718"/>
                  </a:lnTo>
                  <a:lnTo>
                    <a:pt x="290" y="718"/>
                  </a:lnTo>
                  <a:lnTo>
                    <a:pt x="290" y="718"/>
                  </a:lnTo>
                  <a:lnTo>
                    <a:pt x="293" y="718"/>
                  </a:lnTo>
                  <a:lnTo>
                    <a:pt x="293" y="716"/>
                  </a:lnTo>
                  <a:lnTo>
                    <a:pt x="293" y="716"/>
                  </a:lnTo>
                  <a:lnTo>
                    <a:pt x="293" y="716"/>
                  </a:lnTo>
                  <a:lnTo>
                    <a:pt x="293" y="716"/>
                  </a:lnTo>
                  <a:lnTo>
                    <a:pt x="293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5" y="716"/>
                  </a:lnTo>
                  <a:lnTo>
                    <a:pt x="297" y="716"/>
                  </a:lnTo>
                  <a:lnTo>
                    <a:pt x="297" y="716"/>
                  </a:lnTo>
                  <a:lnTo>
                    <a:pt x="297" y="716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9" y="713"/>
                  </a:lnTo>
                  <a:lnTo>
                    <a:pt x="299" y="713"/>
                  </a:lnTo>
                  <a:lnTo>
                    <a:pt x="299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3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5" y="709"/>
                  </a:lnTo>
                  <a:lnTo>
                    <a:pt x="295" y="709"/>
                  </a:lnTo>
                  <a:lnTo>
                    <a:pt x="295" y="709"/>
                  </a:lnTo>
                  <a:lnTo>
                    <a:pt x="295" y="709"/>
                  </a:lnTo>
                  <a:lnTo>
                    <a:pt x="293" y="709"/>
                  </a:lnTo>
                  <a:lnTo>
                    <a:pt x="293" y="709"/>
                  </a:lnTo>
                  <a:lnTo>
                    <a:pt x="293" y="709"/>
                  </a:lnTo>
                  <a:lnTo>
                    <a:pt x="293" y="709"/>
                  </a:lnTo>
                  <a:lnTo>
                    <a:pt x="293" y="709"/>
                  </a:lnTo>
                  <a:lnTo>
                    <a:pt x="293" y="709"/>
                  </a:lnTo>
                  <a:lnTo>
                    <a:pt x="293" y="709"/>
                  </a:lnTo>
                  <a:lnTo>
                    <a:pt x="290" y="709"/>
                  </a:lnTo>
                  <a:lnTo>
                    <a:pt x="290" y="709"/>
                  </a:lnTo>
                  <a:lnTo>
                    <a:pt x="290" y="711"/>
                  </a:lnTo>
                  <a:lnTo>
                    <a:pt x="290" y="711"/>
                  </a:lnTo>
                  <a:lnTo>
                    <a:pt x="290" y="711"/>
                  </a:lnTo>
                  <a:lnTo>
                    <a:pt x="290" y="711"/>
                  </a:lnTo>
                  <a:lnTo>
                    <a:pt x="290" y="711"/>
                  </a:lnTo>
                  <a:lnTo>
                    <a:pt x="290" y="711"/>
                  </a:lnTo>
                  <a:lnTo>
                    <a:pt x="288" y="711"/>
                  </a:lnTo>
                  <a:lnTo>
                    <a:pt x="288" y="711"/>
                  </a:lnTo>
                  <a:lnTo>
                    <a:pt x="288" y="711"/>
                  </a:lnTo>
                  <a:lnTo>
                    <a:pt x="288" y="711"/>
                  </a:lnTo>
                  <a:lnTo>
                    <a:pt x="286" y="711"/>
                  </a:lnTo>
                  <a:lnTo>
                    <a:pt x="286" y="711"/>
                  </a:lnTo>
                  <a:lnTo>
                    <a:pt x="286" y="713"/>
                  </a:lnTo>
                  <a:lnTo>
                    <a:pt x="286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4" y="713"/>
                  </a:lnTo>
                  <a:lnTo>
                    <a:pt x="281" y="713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8" y="709"/>
                  </a:lnTo>
                  <a:lnTo>
                    <a:pt x="286" y="709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4" y="711"/>
                  </a:lnTo>
                  <a:lnTo>
                    <a:pt x="281" y="711"/>
                  </a:lnTo>
                  <a:lnTo>
                    <a:pt x="281" y="711"/>
                  </a:lnTo>
                  <a:lnTo>
                    <a:pt x="281" y="711"/>
                  </a:lnTo>
                  <a:lnTo>
                    <a:pt x="281" y="711"/>
                  </a:lnTo>
                  <a:lnTo>
                    <a:pt x="281" y="711"/>
                  </a:lnTo>
                  <a:lnTo>
                    <a:pt x="281" y="711"/>
                  </a:lnTo>
                  <a:lnTo>
                    <a:pt x="281" y="713"/>
                  </a:lnTo>
                  <a:lnTo>
                    <a:pt x="281" y="713"/>
                  </a:lnTo>
                  <a:lnTo>
                    <a:pt x="279" y="713"/>
                  </a:lnTo>
                  <a:lnTo>
                    <a:pt x="277" y="713"/>
                  </a:lnTo>
                  <a:lnTo>
                    <a:pt x="277" y="713"/>
                  </a:lnTo>
                  <a:lnTo>
                    <a:pt x="277" y="713"/>
                  </a:lnTo>
                  <a:lnTo>
                    <a:pt x="277" y="711"/>
                  </a:lnTo>
                  <a:lnTo>
                    <a:pt x="277" y="711"/>
                  </a:lnTo>
                  <a:lnTo>
                    <a:pt x="277" y="711"/>
                  </a:lnTo>
                  <a:lnTo>
                    <a:pt x="277" y="711"/>
                  </a:lnTo>
                  <a:lnTo>
                    <a:pt x="277" y="711"/>
                  </a:lnTo>
                  <a:lnTo>
                    <a:pt x="279" y="711"/>
                  </a:lnTo>
                  <a:lnTo>
                    <a:pt x="279" y="709"/>
                  </a:lnTo>
                  <a:lnTo>
                    <a:pt x="279" y="709"/>
                  </a:lnTo>
                  <a:lnTo>
                    <a:pt x="279" y="709"/>
                  </a:lnTo>
                  <a:lnTo>
                    <a:pt x="277" y="709"/>
                  </a:lnTo>
                  <a:lnTo>
                    <a:pt x="277" y="709"/>
                  </a:lnTo>
                  <a:lnTo>
                    <a:pt x="277" y="709"/>
                  </a:lnTo>
                  <a:lnTo>
                    <a:pt x="277" y="709"/>
                  </a:lnTo>
                  <a:lnTo>
                    <a:pt x="277" y="709"/>
                  </a:lnTo>
                  <a:lnTo>
                    <a:pt x="277" y="709"/>
                  </a:lnTo>
                  <a:lnTo>
                    <a:pt x="277" y="709"/>
                  </a:lnTo>
                  <a:lnTo>
                    <a:pt x="277" y="707"/>
                  </a:lnTo>
                  <a:lnTo>
                    <a:pt x="277" y="707"/>
                  </a:lnTo>
                  <a:lnTo>
                    <a:pt x="277" y="707"/>
                  </a:lnTo>
                  <a:lnTo>
                    <a:pt x="277" y="704"/>
                  </a:lnTo>
                  <a:lnTo>
                    <a:pt x="277" y="704"/>
                  </a:lnTo>
                  <a:lnTo>
                    <a:pt x="277" y="702"/>
                  </a:lnTo>
                  <a:lnTo>
                    <a:pt x="277" y="702"/>
                  </a:lnTo>
                  <a:lnTo>
                    <a:pt x="277" y="702"/>
                  </a:lnTo>
                  <a:lnTo>
                    <a:pt x="281" y="702"/>
                  </a:lnTo>
                  <a:lnTo>
                    <a:pt x="281" y="700"/>
                  </a:lnTo>
                  <a:lnTo>
                    <a:pt x="281" y="700"/>
                  </a:lnTo>
                  <a:lnTo>
                    <a:pt x="284" y="700"/>
                  </a:lnTo>
                  <a:lnTo>
                    <a:pt x="284" y="700"/>
                  </a:lnTo>
                  <a:lnTo>
                    <a:pt x="284" y="700"/>
                  </a:lnTo>
                  <a:lnTo>
                    <a:pt x="284" y="700"/>
                  </a:lnTo>
                  <a:lnTo>
                    <a:pt x="284" y="700"/>
                  </a:lnTo>
                  <a:lnTo>
                    <a:pt x="284" y="700"/>
                  </a:lnTo>
                  <a:lnTo>
                    <a:pt x="284" y="698"/>
                  </a:lnTo>
                  <a:lnTo>
                    <a:pt x="284" y="698"/>
                  </a:lnTo>
                  <a:lnTo>
                    <a:pt x="286" y="698"/>
                  </a:lnTo>
                  <a:lnTo>
                    <a:pt x="286" y="695"/>
                  </a:lnTo>
                  <a:lnTo>
                    <a:pt x="286" y="695"/>
                  </a:lnTo>
                  <a:lnTo>
                    <a:pt x="290" y="695"/>
                  </a:lnTo>
                  <a:lnTo>
                    <a:pt x="290" y="695"/>
                  </a:lnTo>
                  <a:lnTo>
                    <a:pt x="290" y="695"/>
                  </a:lnTo>
                  <a:lnTo>
                    <a:pt x="290" y="695"/>
                  </a:lnTo>
                  <a:lnTo>
                    <a:pt x="293" y="695"/>
                  </a:lnTo>
                  <a:lnTo>
                    <a:pt x="295" y="695"/>
                  </a:lnTo>
                  <a:lnTo>
                    <a:pt x="295" y="695"/>
                  </a:lnTo>
                  <a:lnTo>
                    <a:pt x="295" y="695"/>
                  </a:lnTo>
                  <a:lnTo>
                    <a:pt x="297" y="698"/>
                  </a:lnTo>
                  <a:lnTo>
                    <a:pt x="297" y="698"/>
                  </a:lnTo>
                  <a:lnTo>
                    <a:pt x="297" y="695"/>
                  </a:lnTo>
                  <a:lnTo>
                    <a:pt x="297" y="695"/>
                  </a:lnTo>
                  <a:lnTo>
                    <a:pt x="297" y="698"/>
                  </a:lnTo>
                  <a:lnTo>
                    <a:pt x="299" y="695"/>
                  </a:lnTo>
                  <a:lnTo>
                    <a:pt x="299" y="695"/>
                  </a:lnTo>
                  <a:lnTo>
                    <a:pt x="301" y="698"/>
                  </a:lnTo>
                  <a:lnTo>
                    <a:pt x="301" y="698"/>
                  </a:lnTo>
                  <a:lnTo>
                    <a:pt x="304" y="695"/>
                  </a:lnTo>
                  <a:lnTo>
                    <a:pt x="304" y="695"/>
                  </a:lnTo>
                  <a:lnTo>
                    <a:pt x="304" y="695"/>
                  </a:lnTo>
                  <a:lnTo>
                    <a:pt x="304" y="695"/>
                  </a:lnTo>
                  <a:lnTo>
                    <a:pt x="304" y="695"/>
                  </a:lnTo>
                  <a:lnTo>
                    <a:pt x="301" y="695"/>
                  </a:lnTo>
                  <a:lnTo>
                    <a:pt x="304" y="693"/>
                  </a:lnTo>
                  <a:lnTo>
                    <a:pt x="304" y="693"/>
                  </a:lnTo>
                  <a:lnTo>
                    <a:pt x="304" y="693"/>
                  </a:lnTo>
                  <a:lnTo>
                    <a:pt x="304" y="693"/>
                  </a:lnTo>
                  <a:lnTo>
                    <a:pt x="304" y="693"/>
                  </a:lnTo>
                  <a:lnTo>
                    <a:pt x="301" y="693"/>
                  </a:lnTo>
                  <a:lnTo>
                    <a:pt x="301" y="693"/>
                  </a:lnTo>
                  <a:lnTo>
                    <a:pt x="301" y="693"/>
                  </a:lnTo>
                  <a:lnTo>
                    <a:pt x="301" y="693"/>
                  </a:lnTo>
                  <a:lnTo>
                    <a:pt x="301" y="691"/>
                  </a:lnTo>
                  <a:lnTo>
                    <a:pt x="301" y="691"/>
                  </a:lnTo>
                  <a:lnTo>
                    <a:pt x="304" y="691"/>
                  </a:lnTo>
                  <a:lnTo>
                    <a:pt x="304" y="691"/>
                  </a:lnTo>
                  <a:lnTo>
                    <a:pt x="304" y="691"/>
                  </a:lnTo>
                  <a:lnTo>
                    <a:pt x="304" y="691"/>
                  </a:lnTo>
                  <a:lnTo>
                    <a:pt x="304" y="691"/>
                  </a:lnTo>
                  <a:lnTo>
                    <a:pt x="304" y="691"/>
                  </a:lnTo>
                  <a:lnTo>
                    <a:pt x="304" y="689"/>
                  </a:lnTo>
                  <a:lnTo>
                    <a:pt x="304" y="689"/>
                  </a:lnTo>
                  <a:lnTo>
                    <a:pt x="304" y="689"/>
                  </a:lnTo>
                  <a:lnTo>
                    <a:pt x="304" y="686"/>
                  </a:lnTo>
                  <a:lnTo>
                    <a:pt x="304" y="686"/>
                  </a:lnTo>
                  <a:lnTo>
                    <a:pt x="306" y="686"/>
                  </a:lnTo>
                  <a:lnTo>
                    <a:pt x="306" y="686"/>
                  </a:lnTo>
                  <a:lnTo>
                    <a:pt x="304" y="686"/>
                  </a:lnTo>
                  <a:lnTo>
                    <a:pt x="304" y="686"/>
                  </a:lnTo>
                  <a:lnTo>
                    <a:pt x="304" y="686"/>
                  </a:lnTo>
                  <a:lnTo>
                    <a:pt x="304" y="686"/>
                  </a:lnTo>
                  <a:lnTo>
                    <a:pt x="301" y="684"/>
                  </a:lnTo>
                  <a:lnTo>
                    <a:pt x="301" y="684"/>
                  </a:lnTo>
                  <a:lnTo>
                    <a:pt x="304" y="684"/>
                  </a:lnTo>
                  <a:lnTo>
                    <a:pt x="304" y="684"/>
                  </a:lnTo>
                  <a:lnTo>
                    <a:pt x="304" y="684"/>
                  </a:lnTo>
                  <a:lnTo>
                    <a:pt x="304" y="684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2"/>
                  </a:lnTo>
                  <a:lnTo>
                    <a:pt x="301" y="680"/>
                  </a:lnTo>
                  <a:lnTo>
                    <a:pt x="301" y="680"/>
                  </a:lnTo>
                  <a:lnTo>
                    <a:pt x="301" y="680"/>
                  </a:lnTo>
                  <a:lnTo>
                    <a:pt x="301" y="680"/>
                  </a:lnTo>
                  <a:lnTo>
                    <a:pt x="301" y="680"/>
                  </a:lnTo>
                  <a:lnTo>
                    <a:pt x="301" y="680"/>
                  </a:lnTo>
                  <a:lnTo>
                    <a:pt x="301" y="680"/>
                  </a:lnTo>
                  <a:lnTo>
                    <a:pt x="299" y="680"/>
                  </a:lnTo>
                  <a:lnTo>
                    <a:pt x="297" y="680"/>
                  </a:lnTo>
                  <a:lnTo>
                    <a:pt x="297" y="680"/>
                  </a:lnTo>
                  <a:lnTo>
                    <a:pt x="297" y="680"/>
                  </a:lnTo>
                  <a:lnTo>
                    <a:pt x="297" y="677"/>
                  </a:lnTo>
                  <a:lnTo>
                    <a:pt x="297" y="675"/>
                  </a:lnTo>
                  <a:lnTo>
                    <a:pt x="297" y="675"/>
                  </a:lnTo>
                  <a:lnTo>
                    <a:pt x="297" y="675"/>
                  </a:lnTo>
                  <a:lnTo>
                    <a:pt x="297" y="675"/>
                  </a:lnTo>
                  <a:lnTo>
                    <a:pt x="297" y="675"/>
                  </a:lnTo>
                  <a:lnTo>
                    <a:pt x="297" y="673"/>
                  </a:lnTo>
                  <a:lnTo>
                    <a:pt x="299" y="673"/>
                  </a:lnTo>
                  <a:lnTo>
                    <a:pt x="299" y="673"/>
                  </a:lnTo>
                  <a:lnTo>
                    <a:pt x="299" y="673"/>
                  </a:lnTo>
                  <a:lnTo>
                    <a:pt x="301" y="675"/>
                  </a:lnTo>
                  <a:lnTo>
                    <a:pt x="301" y="675"/>
                  </a:lnTo>
                  <a:lnTo>
                    <a:pt x="304" y="673"/>
                  </a:lnTo>
                  <a:lnTo>
                    <a:pt x="304" y="673"/>
                  </a:lnTo>
                  <a:lnTo>
                    <a:pt x="304" y="673"/>
                  </a:lnTo>
                  <a:lnTo>
                    <a:pt x="304" y="673"/>
                  </a:lnTo>
                  <a:lnTo>
                    <a:pt x="304" y="673"/>
                  </a:lnTo>
                  <a:lnTo>
                    <a:pt x="301" y="673"/>
                  </a:lnTo>
                  <a:lnTo>
                    <a:pt x="301" y="673"/>
                  </a:lnTo>
                  <a:lnTo>
                    <a:pt x="301" y="673"/>
                  </a:lnTo>
                  <a:lnTo>
                    <a:pt x="301" y="673"/>
                  </a:lnTo>
                  <a:lnTo>
                    <a:pt x="301" y="673"/>
                  </a:lnTo>
                  <a:lnTo>
                    <a:pt x="301" y="673"/>
                  </a:lnTo>
                  <a:lnTo>
                    <a:pt x="299" y="673"/>
                  </a:lnTo>
                  <a:lnTo>
                    <a:pt x="299" y="673"/>
                  </a:lnTo>
                  <a:lnTo>
                    <a:pt x="299" y="673"/>
                  </a:lnTo>
                  <a:lnTo>
                    <a:pt x="297" y="673"/>
                  </a:lnTo>
                  <a:lnTo>
                    <a:pt x="297" y="671"/>
                  </a:lnTo>
                  <a:lnTo>
                    <a:pt x="297" y="671"/>
                  </a:lnTo>
                  <a:lnTo>
                    <a:pt x="297" y="671"/>
                  </a:lnTo>
                  <a:lnTo>
                    <a:pt x="297" y="671"/>
                  </a:lnTo>
                  <a:lnTo>
                    <a:pt x="297" y="671"/>
                  </a:lnTo>
                  <a:lnTo>
                    <a:pt x="297" y="671"/>
                  </a:lnTo>
                  <a:lnTo>
                    <a:pt x="295" y="671"/>
                  </a:lnTo>
                  <a:lnTo>
                    <a:pt x="295" y="668"/>
                  </a:lnTo>
                  <a:lnTo>
                    <a:pt x="295" y="668"/>
                  </a:lnTo>
                  <a:lnTo>
                    <a:pt x="297" y="668"/>
                  </a:lnTo>
                  <a:lnTo>
                    <a:pt x="299" y="668"/>
                  </a:lnTo>
                  <a:lnTo>
                    <a:pt x="299" y="668"/>
                  </a:lnTo>
                  <a:lnTo>
                    <a:pt x="299" y="668"/>
                  </a:lnTo>
                  <a:lnTo>
                    <a:pt x="299" y="668"/>
                  </a:lnTo>
                  <a:lnTo>
                    <a:pt x="299" y="668"/>
                  </a:lnTo>
                  <a:lnTo>
                    <a:pt x="299" y="668"/>
                  </a:lnTo>
                  <a:lnTo>
                    <a:pt x="299" y="668"/>
                  </a:lnTo>
                  <a:lnTo>
                    <a:pt x="299" y="666"/>
                  </a:lnTo>
                  <a:lnTo>
                    <a:pt x="299" y="666"/>
                  </a:lnTo>
                  <a:lnTo>
                    <a:pt x="301" y="666"/>
                  </a:lnTo>
                  <a:lnTo>
                    <a:pt x="301" y="666"/>
                  </a:lnTo>
                  <a:lnTo>
                    <a:pt x="301" y="666"/>
                  </a:lnTo>
                  <a:lnTo>
                    <a:pt x="301" y="664"/>
                  </a:lnTo>
                  <a:lnTo>
                    <a:pt x="301" y="664"/>
                  </a:lnTo>
                  <a:lnTo>
                    <a:pt x="304" y="664"/>
                  </a:lnTo>
                  <a:lnTo>
                    <a:pt x="304" y="664"/>
                  </a:lnTo>
                  <a:lnTo>
                    <a:pt x="304" y="662"/>
                  </a:lnTo>
                  <a:lnTo>
                    <a:pt x="304" y="662"/>
                  </a:lnTo>
                  <a:lnTo>
                    <a:pt x="304" y="662"/>
                  </a:lnTo>
                  <a:lnTo>
                    <a:pt x="301" y="662"/>
                  </a:lnTo>
                  <a:lnTo>
                    <a:pt x="301" y="659"/>
                  </a:lnTo>
                  <a:lnTo>
                    <a:pt x="301" y="659"/>
                  </a:lnTo>
                  <a:lnTo>
                    <a:pt x="299" y="659"/>
                  </a:lnTo>
                  <a:lnTo>
                    <a:pt x="299" y="657"/>
                  </a:lnTo>
                  <a:lnTo>
                    <a:pt x="299" y="657"/>
                  </a:lnTo>
                  <a:lnTo>
                    <a:pt x="299" y="657"/>
                  </a:lnTo>
                  <a:lnTo>
                    <a:pt x="301" y="657"/>
                  </a:lnTo>
                  <a:lnTo>
                    <a:pt x="301" y="657"/>
                  </a:lnTo>
                  <a:lnTo>
                    <a:pt x="301" y="655"/>
                  </a:lnTo>
                  <a:lnTo>
                    <a:pt x="301" y="655"/>
                  </a:lnTo>
                  <a:lnTo>
                    <a:pt x="299" y="655"/>
                  </a:lnTo>
                  <a:lnTo>
                    <a:pt x="299" y="655"/>
                  </a:lnTo>
                  <a:lnTo>
                    <a:pt x="297" y="655"/>
                  </a:lnTo>
                  <a:lnTo>
                    <a:pt x="297" y="657"/>
                  </a:lnTo>
                  <a:lnTo>
                    <a:pt x="297" y="657"/>
                  </a:lnTo>
                  <a:lnTo>
                    <a:pt x="297" y="657"/>
                  </a:lnTo>
                  <a:lnTo>
                    <a:pt x="295" y="657"/>
                  </a:lnTo>
                  <a:lnTo>
                    <a:pt x="295" y="657"/>
                  </a:lnTo>
                  <a:lnTo>
                    <a:pt x="295" y="657"/>
                  </a:lnTo>
                  <a:lnTo>
                    <a:pt x="293" y="655"/>
                  </a:lnTo>
                  <a:lnTo>
                    <a:pt x="293" y="655"/>
                  </a:lnTo>
                  <a:lnTo>
                    <a:pt x="293" y="655"/>
                  </a:lnTo>
                  <a:lnTo>
                    <a:pt x="293" y="655"/>
                  </a:lnTo>
                  <a:lnTo>
                    <a:pt x="290" y="655"/>
                  </a:lnTo>
                  <a:lnTo>
                    <a:pt x="290" y="653"/>
                  </a:lnTo>
                  <a:lnTo>
                    <a:pt x="290" y="653"/>
                  </a:lnTo>
                  <a:lnTo>
                    <a:pt x="290" y="653"/>
                  </a:lnTo>
                  <a:lnTo>
                    <a:pt x="288" y="653"/>
                  </a:lnTo>
                  <a:lnTo>
                    <a:pt x="288" y="653"/>
                  </a:lnTo>
                  <a:lnTo>
                    <a:pt x="288" y="653"/>
                  </a:lnTo>
                  <a:lnTo>
                    <a:pt x="288" y="653"/>
                  </a:lnTo>
                  <a:lnTo>
                    <a:pt x="286" y="653"/>
                  </a:lnTo>
                  <a:lnTo>
                    <a:pt x="286" y="653"/>
                  </a:lnTo>
                  <a:lnTo>
                    <a:pt x="286" y="653"/>
                  </a:lnTo>
                  <a:lnTo>
                    <a:pt x="284" y="653"/>
                  </a:lnTo>
                  <a:lnTo>
                    <a:pt x="284" y="653"/>
                  </a:lnTo>
                  <a:lnTo>
                    <a:pt x="281" y="650"/>
                  </a:lnTo>
                  <a:lnTo>
                    <a:pt x="281" y="648"/>
                  </a:lnTo>
                  <a:lnTo>
                    <a:pt x="281" y="650"/>
                  </a:lnTo>
                  <a:lnTo>
                    <a:pt x="281" y="650"/>
                  </a:lnTo>
                  <a:lnTo>
                    <a:pt x="281" y="650"/>
                  </a:lnTo>
                  <a:lnTo>
                    <a:pt x="279" y="650"/>
                  </a:lnTo>
                  <a:lnTo>
                    <a:pt x="279" y="650"/>
                  </a:lnTo>
                  <a:lnTo>
                    <a:pt x="279" y="650"/>
                  </a:lnTo>
                  <a:lnTo>
                    <a:pt x="277" y="650"/>
                  </a:lnTo>
                  <a:lnTo>
                    <a:pt x="277" y="650"/>
                  </a:lnTo>
                  <a:lnTo>
                    <a:pt x="277" y="648"/>
                  </a:lnTo>
                  <a:lnTo>
                    <a:pt x="275" y="648"/>
                  </a:lnTo>
                  <a:lnTo>
                    <a:pt x="272" y="648"/>
                  </a:lnTo>
                  <a:lnTo>
                    <a:pt x="272" y="648"/>
                  </a:lnTo>
                  <a:lnTo>
                    <a:pt x="272" y="648"/>
                  </a:lnTo>
                  <a:lnTo>
                    <a:pt x="272" y="648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6"/>
                  </a:lnTo>
                  <a:lnTo>
                    <a:pt x="272" y="648"/>
                  </a:lnTo>
                  <a:lnTo>
                    <a:pt x="272" y="648"/>
                  </a:lnTo>
                  <a:lnTo>
                    <a:pt x="272" y="648"/>
                  </a:lnTo>
                  <a:lnTo>
                    <a:pt x="270" y="648"/>
                  </a:lnTo>
                  <a:lnTo>
                    <a:pt x="270" y="648"/>
                  </a:lnTo>
                  <a:lnTo>
                    <a:pt x="268" y="648"/>
                  </a:lnTo>
                  <a:lnTo>
                    <a:pt x="268" y="646"/>
                  </a:lnTo>
                  <a:lnTo>
                    <a:pt x="268" y="646"/>
                  </a:lnTo>
                  <a:lnTo>
                    <a:pt x="268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6" y="646"/>
                  </a:lnTo>
                  <a:lnTo>
                    <a:pt x="266" y="644"/>
                  </a:lnTo>
                  <a:lnTo>
                    <a:pt x="266" y="644"/>
                  </a:lnTo>
                  <a:lnTo>
                    <a:pt x="263" y="646"/>
                  </a:lnTo>
                  <a:lnTo>
                    <a:pt x="263" y="644"/>
                  </a:lnTo>
                  <a:lnTo>
                    <a:pt x="263" y="644"/>
                  </a:lnTo>
                  <a:lnTo>
                    <a:pt x="263" y="646"/>
                  </a:lnTo>
                  <a:lnTo>
                    <a:pt x="263" y="646"/>
                  </a:lnTo>
                  <a:lnTo>
                    <a:pt x="263" y="648"/>
                  </a:lnTo>
                  <a:lnTo>
                    <a:pt x="263" y="648"/>
                  </a:lnTo>
                  <a:lnTo>
                    <a:pt x="263" y="648"/>
                  </a:lnTo>
                  <a:lnTo>
                    <a:pt x="261" y="648"/>
                  </a:lnTo>
                  <a:lnTo>
                    <a:pt x="261" y="648"/>
                  </a:lnTo>
                  <a:lnTo>
                    <a:pt x="261" y="648"/>
                  </a:lnTo>
                  <a:lnTo>
                    <a:pt x="261" y="648"/>
                  </a:lnTo>
                  <a:lnTo>
                    <a:pt x="261" y="648"/>
                  </a:lnTo>
                  <a:lnTo>
                    <a:pt x="261" y="648"/>
                  </a:lnTo>
                  <a:lnTo>
                    <a:pt x="261" y="648"/>
                  </a:lnTo>
                  <a:lnTo>
                    <a:pt x="259" y="648"/>
                  </a:lnTo>
                  <a:lnTo>
                    <a:pt x="259" y="646"/>
                  </a:lnTo>
                  <a:lnTo>
                    <a:pt x="259" y="646"/>
                  </a:lnTo>
                  <a:lnTo>
                    <a:pt x="259" y="646"/>
                  </a:lnTo>
                  <a:lnTo>
                    <a:pt x="257" y="646"/>
                  </a:lnTo>
                  <a:lnTo>
                    <a:pt x="254" y="644"/>
                  </a:lnTo>
                  <a:lnTo>
                    <a:pt x="254" y="644"/>
                  </a:lnTo>
                  <a:lnTo>
                    <a:pt x="252" y="641"/>
                  </a:lnTo>
                  <a:lnTo>
                    <a:pt x="252" y="641"/>
                  </a:lnTo>
                  <a:lnTo>
                    <a:pt x="252" y="641"/>
                  </a:lnTo>
                  <a:lnTo>
                    <a:pt x="252" y="641"/>
                  </a:lnTo>
                  <a:lnTo>
                    <a:pt x="252" y="641"/>
                  </a:lnTo>
                  <a:lnTo>
                    <a:pt x="252" y="641"/>
                  </a:lnTo>
                  <a:lnTo>
                    <a:pt x="252" y="639"/>
                  </a:lnTo>
                  <a:lnTo>
                    <a:pt x="250" y="639"/>
                  </a:lnTo>
                  <a:lnTo>
                    <a:pt x="250" y="639"/>
                  </a:lnTo>
                  <a:lnTo>
                    <a:pt x="248" y="637"/>
                  </a:lnTo>
                  <a:lnTo>
                    <a:pt x="248" y="637"/>
                  </a:lnTo>
                  <a:lnTo>
                    <a:pt x="248" y="637"/>
                  </a:lnTo>
                  <a:lnTo>
                    <a:pt x="248" y="637"/>
                  </a:lnTo>
                  <a:lnTo>
                    <a:pt x="245" y="637"/>
                  </a:lnTo>
                  <a:lnTo>
                    <a:pt x="245" y="637"/>
                  </a:lnTo>
                  <a:lnTo>
                    <a:pt x="243" y="637"/>
                  </a:lnTo>
                  <a:lnTo>
                    <a:pt x="243" y="637"/>
                  </a:lnTo>
                  <a:lnTo>
                    <a:pt x="241" y="639"/>
                  </a:lnTo>
                  <a:lnTo>
                    <a:pt x="241" y="639"/>
                  </a:lnTo>
                  <a:lnTo>
                    <a:pt x="239" y="639"/>
                  </a:lnTo>
                  <a:lnTo>
                    <a:pt x="239" y="639"/>
                  </a:lnTo>
                  <a:lnTo>
                    <a:pt x="234" y="639"/>
                  </a:lnTo>
                  <a:lnTo>
                    <a:pt x="234" y="641"/>
                  </a:lnTo>
                  <a:lnTo>
                    <a:pt x="234" y="641"/>
                  </a:lnTo>
                  <a:lnTo>
                    <a:pt x="234" y="641"/>
                  </a:lnTo>
                  <a:lnTo>
                    <a:pt x="234" y="641"/>
                  </a:lnTo>
                  <a:lnTo>
                    <a:pt x="234" y="641"/>
                  </a:lnTo>
                  <a:lnTo>
                    <a:pt x="234" y="641"/>
                  </a:lnTo>
                  <a:lnTo>
                    <a:pt x="234" y="641"/>
                  </a:lnTo>
                  <a:lnTo>
                    <a:pt x="232" y="641"/>
                  </a:lnTo>
                  <a:lnTo>
                    <a:pt x="232" y="641"/>
                  </a:lnTo>
                  <a:lnTo>
                    <a:pt x="232" y="641"/>
                  </a:lnTo>
                  <a:lnTo>
                    <a:pt x="232" y="641"/>
                  </a:lnTo>
                  <a:lnTo>
                    <a:pt x="232" y="639"/>
                  </a:lnTo>
                  <a:lnTo>
                    <a:pt x="232" y="639"/>
                  </a:lnTo>
                  <a:lnTo>
                    <a:pt x="232" y="639"/>
                  </a:lnTo>
                  <a:lnTo>
                    <a:pt x="232" y="639"/>
                  </a:lnTo>
                  <a:lnTo>
                    <a:pt x="232" y="639"/>
                  </a:lnTo>
                  <a:lnTo>
                    <a:pt x="232" y="639"/>
                  </a:lnTo>
                  <a:lnTo>
                    <a:pt x="230" y="639"/>
                  </a:lnTo>
                  <a:lnTo>
                    <a:pt x="230" y="639"/>
                  </a:lnTo>
                  <a:lnTo>
                    <a:pt x="230" y="639"/>
                  </a:lnTo>
                  <a:lnTo>
                    <a:pt x="230" y="639"/>
                  </a:lnTo>
                  <a:lnTo>
                    <a:pt x="230" y="639"/>
                  </a:lnTo>
                  <a:lnTo>
                    <a:pt x="230" y="639"/>
                  </a:lnTo>
                  <a:lnTo>
                    <a:pt x="230" y="639"/>
                  </a:lnTo>
                  <a:lnTo>
                    <a:pt x="227" y="639"/>
                  </a:lnTo>
                  <a:lnTo>
                    <a:pt x="227" y="639"/>
                  </a:lnTo>
                  <a:lnTo>
                    <a:pt x="227" y="639"/>
                  </a:lnTo>
                  <a:lnTo>
                    <a:pt x="227" y="639"/>
                  </a:lnTo>
                  <a:lnTo>
                    <a:pt x="225" y="637"/>
                  </a:lnTo>
                  <a:lnTo>
                    <a:pt x="225" y="637"/>
                  </a:lnTo>
                  <a:lnTo>
                    <a:pt x="225" y="637"/>
                  </a:lnTo>
                  <a:lnTo>
                    <a:pt x="223" y="637"/>
                  </a:lnTo>
                  <a:lnTo>
                    <a:pt x="221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8" y="637"/>
                  </a:lnTo>
                  <a:lnTo>
                    <a:pt x="216" y="637"/>
                  </a:lnTo>
                  <a:lnTo>
                    <a:pt x="216" y="637"/>
                  </a:lnTo>
                  <a:lnTo>
                    <a:pt x="216" y="637"/>
                  </a:lnTo>
                  <a:lnTo>
                    <a:pt x="216" y="637"/>
                  </a:lnTo>
                  <a:lnTo>
                    <a:pt x="216" y="639"/>
                  </a:lnTo>
                  <a:lnTo>
                    <a:pt x="216" y="639"/>
                  </a:lnTo>
                  <a:lnTo>
                    <a:pt x="216" y="639"/>
                  </a:lnTo>
                  <a:lnTo>
                    <a:pt x="216" y="639"/>
                  </a:lnTo>
                  <a:lnTo>
                    <a:pt x="214" y="639"/>
                  </a:lnTo>
                  <a:lnTo>
                    <a:pt x="214" y="637"/>
                  </a:lnTo>
                  <a:lnTo>
                    <a:pt x="214" y="637"/>
                  </a:lnTo>
                  <a:lnTo>
                    <a:pt x="214" y="637"/>
                  </a:lnTo>
                  <a:lnTo>
                    <a:pt x="214" y="637"/>
                  </a:lnTo>
                  <a:lnTo>
                    <a:pt x="214" y="637"/>
                  </a:lnTo>
                  <a:lnTo>
                    <a:pt x="214" y="635"/>
                  </a:lnTo>
                  <a:lnTo>
                    <a:pt x="212" y="635"/>
                  </a:lnTo>
                  <a:lnTo>
                    <a:pt x="212" y="635"/>
                  </a:lnTo>
                  <a:lnTo>
                    <a:pt x="212" y="635"/>
                  </a:lnTo>
                  <a:lnTo>
                    <a:pt x="212" y="635"/>
                  </a:lnTo>
                  <a:lnTo>
                    <a:pt x="212" y="635"/>
                  </a:lnTo>
                  <a:lnTo>
                    <a:pt x="209" y="632"/>
                  </a:lnTo>
                  <a:lnTo>
                    <a:pt x="209" y="632"/>
                  </a:lnTo>
                  <a:lnTo>
                    <a:pt x="209" y="630"/>
                  </a:lnTo>
                  <a:lnTo>
                    <a:pt x="212" y="630"/>
                  </a:lnTo>
                  <a:lnTo>
                    <a:pt x="209" y="630"/>
                  </a:lnTo>
                  <a:lnTo>
                    <a:pt x="209" y="630"/>
                  </a:lnTo>
                  <a:lnTo>
                    <a:pt x="209" y="630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9" y="628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6"/>
                  </a:lnTo>
                  <a:lnTo>
                    <a:pt x="207" y="623"/>
                  </a:lnTo>
                  <a:lnTo>
                    <a:pt x="207" y="623"/>
                  </a:lnTo>
                  <a:lnTo>
                    <a:pt x="205" y="623"/>
                  </a:lnTo>
                  <a:lnTo>
                    <a:pt x="205" y="623"/>
                  </a:lnTo>
                  <a:lnTo>
                    <a:pt x="207" y="623"/>
                  </a:lnTo>
                  <a:lnTo>
                    <a:pt x="207" y="623"/>
                  </a:lnTo>
                  <a:lnTo>
                    <a:pt x="207" y="623"/>
                  </a:lnTo>
                  <a:lnTo>
                    <a:pt x="207" y="623"/>
                  </a:lnTo>
                  <a:lnTo>
                    <a:pt x="207" y="621"/>
                  </a:lnTo>
                  <a:lnTo>
                    <a:pt x="207" y="621"/>
                  </a:lnTo>
                  <a:lnTo>
                    <a:pt x="205" y="621"/>
                  </a:lnTo>
                  <a:lnTo>
                    <a:pt x="205" y="621"/>
                  </a:lnTo>
                  <a:lnTo>
                    <a:pt x="203" y="621"/>
                  </a:lnTo>
                  <a:lnTo>
                    <a:pt x="203" y="621"/>
                  </a:lnTo>
                  <a:lnTo>
                    <a:pt x="203" y="621"/>
                  </a:lnTo>
                  <a:lnTo>
                    <a:pt x="203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198" y="619"/>
                  </a:lnTo>
                  <a:lnTo>
                    <a:pt x="198" y="619"/>
                  </a:lnTo>
                  <a:lnTo>
                    <a:pt x="198" y="619"/>
                  </a:lnTo>
                  <a:lnTo>
                    <a:pt x="196" y="619"/>
                  </a:lnTo>
                  <a:lnTo>
                    <a:pt x="196" y="619"/>
                  </a:lnTo>
                  <a:lnTo>
                    <a:pt x="194" y="619"/>
                  </a:lnTo>
                  <a:lnTo>
                    <a:pt x="194" y="619"/>
                  </a:lnTo>
                  <a:lnTo>
                    <a:pt x="194" y="619"/>
                  </a:lnTo>
                  <a:lnTo>
                    <a:pt x="194" y="619"/>
                  </a:lnTo>
                  <a:lnTo>
                    <a:pt x="194" y="619"/>
                  </a:lnTo>
                  <a:lnTo>
                    <a:pt x="194" y="619"/>
                  </a:lnTo>
                  <a:lnTo>
                    <a:pt x="194" y="619"/>
                  </a:lnTo>
                  <a:lnTo>
                    <a:pt x="191" y="617"/>
                  </a:lnTo>
                  <a:lnTo>
                    <a:pt x="191" y="619"/>
                  </a:lnTo>
                  <a:lnTo>
                    <a:pt x="189" y="617"/>
                  </a:lnTo>
                  <a:lnTo>
                    <a:pt x="189" y="617"/>
                  </a:lnTo>
                  <a:lnTo>
                    <a:pt x="189" y="617"/>
                  </a:lnTo>
                  <a:lnTo>
                    <a:pt x="187" y="617"/>
                  </a:lnTo>
                  <a:lnTo>
                    <a:pt x="187" y="619"/>
                  </a:lnTo>
                  <a:lnTo>
                    <a:pt x="187" y="619"/>
                  </a:lnTo>
                  <a:lnTo>
                    <a:pt x="187" y="619"/>
                  </a:lnTo>
                  <a:lnTo>
                    <a:pt x="185" y="617"/>
                  </a:lnTo>
                  <a:lnTo>
                    <a:pt x="187" y="617"/>
                  </a:lnTo>
                  <a:lnTo>
                    <a:pt x="187" y="617"/>
                  </a:lnTo>
                  <a:lnTo>
                    <a:pt x="187" y="614"/>
                  </a:lnTo>
                  <a:lnTo>
                    <a:pt x="187" y="614"/>
                  </a:lnTo>
                  <a:lnTo>
                    <a:pt x="187" y="614"/>
                  </a:lnTo>
                  <a:lnTo>
                    <a:pt x="187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4"/>
                  </a:lnTo>
                  <a:lnTo>
                    <a:pt x="185" y="612"/>
                  </a:lnTo>
                  <a:lnTo>
                    <a:pt x="185" y="612"/>
                  </a:lnTo>
                  <a:lnTo>
                    <a:pt x="185" y="612"/>
                  </a:lnTo>
                  <a:lnTo>
                    <a:pt x="185" y="612"/>
                  </a:lnTo>
                  <a:lnTo>
                    <a:pt x="185" y="612"/>
                  </a:lnTo>
                  <a:lnTo>
                    <a:pt x="185" y="612"/>
                  </a:lnTo>
                  <a:lnTo>
                    <a:pt x="185" y="612"/>
                  </a:lnTo>
                  <a:lnTo>
                    <a:pt x="185" y="610"/>
                  </a:lnTo>
                  <a:lnTo>
                    <a:pt x="185" y="610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82" y="610"/>
                  </a:lnTo>
                  <a:lnTo>
                    <a:pt x="182" y="608"/>
                  </a:lnTo>
                  <a:lnTo>
                    <a:pt x="180" y="608"/>
                  </a:lnTo>
                  <a:lnTo>
                    <a:pt x="180" y="608"/>
                  </a:lnTo>
                  <a:lnTo>
                    <a:pt x="182" y="608"/>
                  </a:lnTo>
                  <a:lnTo>
                    <a:pt x="185" y="608"/>
                  </a:lnTo>
                  <a:lnTo>
                    <a:pt x="187" y="608"/>
                  </a:lnTo>
                  <a:lnTo>
                    <a:pt x="187" y="608"/>
                  </a:lnTo>
                  <a:lnTo>
                    <a:pt x="187" y="605"/>
                  </a:lnTo>
                  <a:lnTo>
                    <a:pt x="187" y="605"/>
                  </a:lnTo>
                  <a:lnTo>
                    <a:pt x="187" y="605"/>
                  </a:lnTo>
                  <a:lnTo>
                    <a:pt x="185" y="603"/>
                  </a:lnTo>
                  <a:lnTo>
                    <a:pt x="185" y="603"/>
                  </a:lnTo>
                  <a:lnTo>
                    <a:pt x="185" y="603"/>
                  </a:lnTo>
                  <a:lnTo>
                    <a:pt x="185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3"/>
                  </a:lnTo>
                  <a:lnTo>
                    <a:pt x="182" y="601"/>
                  </a:lnTo>
                  <a:lnTo>
                    <a:pt x="180" y="601"/>
                  </a:lnTo>
                  <a:lnTo>
                    <a:pt x="180" y="601"/>
                  </a:lnTo>
                  <a:lnTo>
                    <a:pt x="180" y="601"/>
                  </a:lnTo>
                  <a:lnTo>
                    <a:pt x="180" y="601"/>
                  </a:lnTo>
                  <a:lnTo>
                    <a:pt x="180" y="601"/>
                  </a:lnTo>
                  <a:lnTo>
                    <a:pt x="180" y="601"/>
                  </a:lnTo>
                  <a:lnTo>
                    <a:pt x="180" y="599"/>
                  </a:lnTo>
                  <a:lnTo>
                    <a:pt x="178" y="599"/>
                  </a:lnTo>
                  <a:lnTo>
                    <a:pt x="178" y="599"/>
                  </a:lnTo>
                  <a:lnTo>
                    <a:pt x="178" y="599"/>
                  </a:lnTo>
                  <a:lnTo>
                    <a:pt x="178" y="599"/>
                  </a:lnTo>
                  <a:lnTo>
                    <a:pt x="178" y="596"/>
                  </a:lnTo>
                  <a:lnTo>
                    <a:pt x="178" y="596"/>
                  </a:lnTo>
                  <a:lnTo>
                    <a:pt x="178" y="596"/>
                  </a:lnTo>
                  <a:lnTo>
                    <a:pt x="178" y="596"/>
                  </a:lnTo>
                  <a:lnTo>
                    <a:pt x="178" y="596"/>
                  </a:lnTo>
                  <a:lnTo>
                    <a:pt x="178" y="596"/>
                  </a:lnTo>
                  <a:lnTo>
                    <a:pt x="178" y="596"/>
                  </a:lnTo>
                  <a:lnTo>
                    <a:pt x="176" y="594"/>
                  </a:lnTo>
                  <a:lnTo>
                    <a:pt x="176" y="594"/>
                  </a:lnTo>
                  <a:lnTo>
                    <a:pt x="176" y="594"/>
                  </a:lnTo>
                  <a:lnTo>
                    <a:pt x="176" y="594"/>
                  </a:lnTo>
                  <a:lnTo>
                    <a:pt x="173" y="594"/>
                  </a:lnTo>
                  <a:lnTo>
                    <a:pt x="173" y="594"/>
                  </a:lnTo>
                  <a:lnTo>
                    <a:pt x="173" y="592"/>
                  </a:lnTo>
                  <a:lnTo>
                    <a:pt x="173" y="592"/>
                  </a:lnTo>
                  <a:lnTo>
                    <a:pt x="173" y="592"/>
                  </a:lnTo>
                  <a:lnTo>
                    <a:pt x="173" y="592"/>
                  </a:lnTo>
                  <a:lnTo>
                    <a:pt x="171" y="592"/>
                  </a:lnTo>
                  <a:lnTo>
                    <a:pt x="171" y="592"/>
                  </a:lnTo>
                  <a:lnTo>
                    <a:pt x="169" y="592"/>
                  </a:lnTo>
                  <a:lnTo>
                    <a:pt x="169" y="594"/>
                  </a:lnTo>
                  <a:lnTo>
                    <a:pt x="169" y="594"/>
                  </a:lnTo>
                  <a:lnTo>
                    <a:pt x="167" y="594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4" y="592"/>
                  </a:lnTo>
                  <a:lnTo>
                    <a:pt x="164" y="592"/>
                  </a:lnTo>
                  <a:lnTo>
                    <a:pt x="164" y="592"/>
                  </a:lnTo>
                  <a:lnTo>
                    <a:pt x="162" y="592"/>
                  </a:lnTo>
                  <a:lnTo>
                    <a:pt x="162" y="592"/>
                  </a:lnTo>
                  <a:lnTo>
                    <a:pt x="162" y="592"/>
                  </a:lnTo>
                  <a:lnTo>
                    <a:pt x="162" y="592"/>
                  </a:lnTo>
                  <a:lnTo>
                    <a:pt x="160" y="592"/>
                  </a:lnTo>
                  <a:lnTo>
                    <a:pt x="160" y="592"/>
                  </a:lnTo>
                  <a:lnTo>
                    <a:pt x="160" y="592"/>
                  </a:lnTo>
                  <a:lnTo>
                    <a:pt x="160" y="594"/>
                  </a:lnTo>
                  <a:lnTo>
                    <a:pt x="160" y="594"/>
                  </a:lnTo>
                  <a:lnTo>
                    <a:pt x="160" y="594"/>
                  </a:lnTo>
                  <a:lnTo>
                    <a:pt x="160" y="594"/>
                  </a:lnTo>
                  <a:lnTo>
                    <a:pt x="160" y="594"/>
                  </a:lnTo>
                  <a:lnTo>
                    <a:pt x="160" y="594"/>
                  </a:lnTo>
                  <a:lnTo>
                    <a:pt x="158" y="594"/>
                  </a:lnTo>
                  <a:lnTo>
                    <a:pt x="158" y="594"/>
                  </a:lnTo>
                  <a:lnTo>
                    <a:pt x="158" y="594"/>
                  </a:lnTo>
                  <a:lnTo>
                    <a:pt x="155" y="594"/>
                  </a:lnTo>
                  <a:lnTo>
                    <a:pt x="155" y="594"/>
                  </a:lnTo>
                  <a:lnTo>
                    <a:pt x="155" y="594"/>
                  </a:lnTo>
                  <a:lnTo>
                    <a:pt x="155" y="594"/>
                  </a:lnTo>
                  <a:lnTo>
                    <a:pt x="153" y="594"/>
                  </a:lnTo>
                  <a:lnTo>
                    <a:pt x="151" y="594"/>
                  </a:lnTo>
                  <a:lnTo>
                    <a:pt x="149" y="594"/>
                  </a:lnTo>
                  <a:lnTo>
                    <a:pt x="149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6" y="594"/>
                  </a:lnTo>
                  <a:lnTo>
                    <a:pt x="146" y="594"/>
                  </a:lnTo>
                  <a:lnTo>
                    <a:pt x="149" y="594"/>
                  </a:lnTo>
                  <a:lnTo>
                    <a:pt x="146" y="594"/>
                  </a:lnTo>
                  <a:lnTo>
                    <a:pt x="146" y="594"/>
                  </a:lnTo>
                  <a:lnTo>
                    <a:pt x="146" y="594"/>
                  </a:lnTo>
                  <a:lnTo>
                    <a:pt x="146" y="596"/>
                  </a:lnTo>
                  <a:lnTo>
                    <a:pt x="146" y="596"/>
                  </a:lnTo>
                  <a:lnTo>
                    <a:pt x="146" y="596"/>
                  </a:lnTo>
                  <a:lnTo>
                    <a:pt x="146" y="599"/>
                  </a:lnTo>
                  <a:lnTo>
                    <a:pt x="146" y="599"/>
                  </a:lnTo>
                  <a:lnTo>
                    <a:pt x="144" y="599"/>
                  </a:lnTo>
                  <a:lnTo>
                    <a:pt x="144" y="599"/>
                  </a:lnTo>
                  <a:lnTo>
                    <a:pt x="142" y="599"/>
                  </a:lnTo>
                  <a:lnTo>
                    <a:pt x="142" y="599"/>
                  </a:lnTo>
                  <a:lnTo>
                    <a:pt x="140" y="599"/>
                  </a:lnTo>
                  <a:lnTo>
                    <a:pt x="140" y="599"/>
                  </a:lnTo>
                  <a:lnTo>
                    <a:pt x="140" y="599"/>
                  </a:lnTo>
                  <a:lnTo>
                    <a:pt x="140" y="599"/>
                  </a:lnTo>
                  <a:lnTo>
                    <a:pt x="140" y="599"/>
                  </a:lnTo>
                  <a:lnTo>
                    <a:pt x="140" y="599"/>
                  </a:lnTo>
                  <a:lnTo>
                    <a:pt x="140" y="599"/>
                  </a:lnTo>
                  <a:lnTo>
                    <a:pt x="137" y="599"/>
                  </a:lnTo>
                  <a:lnTo>
                    <a:pt x="137" y="599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7" y="596"/>
                  </a:lnTo>
                  <a:lnTo>
                    <a:pt x="135" y="596"/>
                  </a:lnTo>
                  <a:lnTo>
                    <a:pt x="135" y="596"/>
                  </a:lnTo>
                  <a:lnTo>
                    <a:pt x="135" y="596"/>
                  </a:lnTo>
                  <a:lnTo>
                    <a:pt x="135" y="596"/>
                  </a:lnTo>
                  <a:lnTo>
                    <a:pt x="135" y="594"/>
                  </a:lnTo>
                  <a:lnTo>
                    <a:pt x="135" y="594"/>
                  </a:lnTo>
                  <a:lnTo>
                    <a:pt x="135" y="594"/>
                  </a:lnTo>
                  <a:lnTo>
                    <a:pt x="135" y="594"/>
                  </a:lnTo>
                  <a:lnTo>
                    <a:pt x="135" y="594"/>
                  </a:lnTo>
                  <a:lnTo>
                    <a:pt x="135" y="594"/>
                  </a:lnTo>
                  <a:lnTo>
                    <a:pt x="133" y="594"/>
                  </a:lnTo>
                  <a:lnTo>
                    <a:pt x="133" y="594"/>
                  </a:lnTo>
                  <a:lnTo>
                    <a:pt x="133" y="594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2"/>
                  </a:lnTo>
                  <a:lnTo>
                    <a:pt x="133" y="590"/>
                  </a:lnTo>
                  <a:lnTo>
                    <a:pt x="133" y="590"/>
                  </a:lnTo>
                  <a:lnTo>
                    <a:pt x="133" y="590"/>
                  </a:lnTo>
                  <a:lnTo>
                    <a:pt x="133" y="590"/>
                  </a:lnTo>
                  <a:lnTo>
                    <a:pt x="133" y="590"/>
                  </a:lnTo>
                  <a:lnTo>
                    <a:pt x="131" y="590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1" y="587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3" y="587"/>
                  </a:lnTo>
                  <a:lnTo>
                    <a:pt x="131" y="587"/>
                  </a:lnTo>
                  <a:lnTo>
                    <a:pt x="131" y="585"/>
                  </a:lnTo>
                  <a:lnTo>
                    <a:pt x="131" y="585"/>
                  </a:lnTo>
                  <a:lnTo>
                    <a:pt x="131" y="585"/>
                  </a:lnTo>
                  <a:lnTo>
                    <a:pt x="131" y="585"/>
                  </a:lnTo>
                  <a:lnTo>
                    <a:pt x="131" y="585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31" y="583"/>
                  </a:lnTo>
                  <a:lnTo>
                    <a:pt x="131" y="581"/>
                  </a:lnTo>
                  <a:lnTo>
                    <a:pt x="131" y="581"/>
                  </a:lnTo>
                  <a:lnTo>
                    <a:pt x="129" y="581"/>
                  </a:lnTo>
                  <a:lnTo>
                    <a:pt x="129" y="581"/>
                  </a:lnTo>
                  <a:lnTo>
                    <a:pt x="129" y="581"/>
                  </a:lnTo>
                  <a:lnTo>
                    <a:pt x="129" y="581"/>
                  </a:lnTo>
                  <a:lnTo>
                    <a:pt x="126" y="581"/>
                  </a:lnTo>
                  <a:lnTo>
                    <a:pt x="126" y="581"/>
                  </a:lnTo>
                  <a:lnTo>
                    <a:pt x="126" y="578"/>
                  </a:lnTo>
                  <a:lnTo>
                    <a:pt x="126" y="578"/>
                  </a:lnTo>
                  <a:lnTo>
                    <a:pt x="124" y="576"/>
                  </a:lnTo>
                  <a:lnTo>
                    <a:pt x="124" y="576"/>
                  </a:lnTo>
                  <a:lnTo>
                    <a:pt x="126" y="576"/>
                  </a:lnTo>
                  <a:lnTo>
                    <a:pt x="126" y="576"/>
                  </a:lnTo>
                  <a:lnTo>
                    <a:pt x="126" y="576"/>
                  </a:lnTo>
                  <a:lnTo>
                    <a:pt x="126" y="576"/>
                  </a:lnTo>
                  <a:lnTo>
                    <a:pt x="126" y="576"/>
                  </a:lnTo>
                  <a:lnTo>
                    <a:pt x="126" y="576"/>
                  </a:lnTo>
                  <a:lnTo>
                    <a:pt x="126" y="574"/>
                  </a:lnTo>
                  <a:lnTo>
                    <a:pt x="126" y="574"/>
                  </a:lnTo>
                  <a:lnTo>
                    <a:pt x="126" y="574"/>
                  </a:lnTo>
                  <a:lnTo>
                    <a:pt x="126" y="574"/>
                  </a:lnTo>
                  <a:lnTo>
                    <a:pt x="126" y="574"/>
                  </a:lnTo>
                  <a:lnTo>
                    <a:pt x="129" y="574"/>
                  </a:lnTo>
                  <a:lnTo>
                    <a:pt x="129" y="574"/>
                  </a:lnTo>
                  <a:lnTo>
                    <a:pt x="129" y="574"/>
                  </a:lnTo>
                  <a:lnTo>
                    <a:pt x="129" y="572"/>
                  </a:lnTo>
                  <a:lnTo>
                    <a:pt x="131" y="572"/>
                  </a:lnTo>
                  <a:lnTo>
                    <a:pt x="131" y="574"/>
                  </a:lnTo>
                  <a:lnTo>
                    <a:pt x="131" y="574"/>
                  </a:lnTo>
                  <a:lnTo>
                    <a:pt x="133" y="574"/>
                  </a:lnTo>
                  <a:lnTo>
                    <a:pt x="133" y="574"/>
                  </a:lnTo>
                  <a:lnTo>
                    <a:pt x="133" y="574"/>
                  </a:lnTo>
                  <a:lnTo>
                    <a:pt x="133" y="574"/>
                  </a:lnTo>
                  <a:lnTo>
                    <a:pt x="133" y="574"/>
                  </a:lnTo>
                  <a:lnTo>
                    <a:pt x="133" y="574"/>
                  </a:lnTo>
                  <a:lnTo>
                    <a:pt x="135" y="574"/>
                  </a:lnTo>
                  <a:lnTo>
                    <a:pt x="135" y="574"/>
                  </a:lnTo>
                  <a:lnTo>
                    <a:pt x="135" y="576"/>
                  </a:lnTo>
                  <a:lnTo>
                    <a:pt x="135" y="576"/>
                  </a:lnTo>
                  <a:lnTo>
                    <a:pt x="137" y="576"/>
                  </a:lnTo>
                  <a:lnTo>
                    <a:pt x="137" y="576"/>
                  </a:lnTo>
                  <a:lnTo>
                    <a:pt x="137" y="576"/>
                  </a:lnTo>
                  <a:lnTo>
                    <a:pt x="140" y="576"/>
                  </a:lnTo>
                  <a:lnTo>
                    <a:pt x="140" y="576"/>
                  </a:lnTo>
                  <a:lnTo>
                    <a:pt x="140" y="576"/>
                  </a:lnTo>
                  <a:lnTo>
                    <a:pt x="140" y="576"/>
                  </a:lnTo>
                  <a:lnTo>
                    <a:pt x="140" y="576"/>
                  </a:lnTo>
                  <a:lnTo>
                    <a:pt x="140" y="576"/>
                  </a:lnTo>
                  <a:lnTo>
                    <a:pt x="140" y="576"/>
                  </a:lnTo>
                  <a:lnTo>
                    <a:pt x="142" y="576"/>
                  </a:lnTo>
                  <a:lnTo>
                    <a:pt x="142" y="576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2" y="574"/>
                  </a:lnTo>
                  <a:lnTo>
                    <a:pt x="144" y="574"/>
                  </a:lnTo>
                  <a:lnTo>
                    <a:pt x="144" y="574"/>
                  </a:lnTo>
                  <a:lnTo>
                    <a:pt x="144" y="574"/>
                  </a:lnTo>
                  <a:lnTo>
                    <a:pt x="144" y="574"/>
                  </a:lnTo>
                  <a:lnTo>
                    <a:pt x="144" y="572"/>
                  </a:lnTo>
                  <a:lnTo>
                    <a:pt x="144" y="572"/>
                  </a:lnTo>
                  <a:lnTo>
                    <a:pt x="144" y="572"/>
                  </a:lnTo>
                  <a:lnTo>
                    <a:pt x="144" y="572"/>
                  </a:lnTo>
                  <a:lnTo>
                    <a:pt x="144" y="572"/>
                  </a:lnTo>
                  <a:lnTo>
                    <a:pt x="144" y="572"/>
                  </a:lnTo>
                  <a:lnTo>
                    <a:pt x="144" y="572"/>
                  </a:lnTo>
                  <a:lnTo>
                    <a:pt x="146" y="572"/>
                  </a:lnTo>
                  <a:lnTo>
                    <a:pt x="146" y="572"/>
                  </a:lnTo>
                  <a:lnTo>
                    <a:pt x="146" y="572"/>
                  </a:lnTo>
                  <a:lnTo>
                    <a:pt x="146" y="569"/>
                  </a:lnTo>
                  <a:lnTo>
                    <a:pt x="146" y="569"/>
                  </a:lnTo>
                  <a:lnTo>
                    <a:pt x="146" y="569"/>
                  </a:lnTo>
                  <a:lnTo>
                    <a:pt x="146" y="569"/>
                  </a:lnTo>
                  <a:lnTo>
                    <a:pt x="149" y="569"/>
                  </a:lnTo>
                  <a:lnTo>
                    <a:pt x="149" y="569"/>
                  </a:lnTo>
                  <a:lnTo>
                    <a:pt x="149" y="569"/>
                  </a:lnTo>
                  <a:lnTo>
                    <a:pt x="149" y="569"/>
                  </a:lnTo>
                  <a:lnTo>
                    <a:pt x="149" y="569"/>
                  </a:lnTo>
                  <a:lnTo>
                    <a:pt x="149" y="569"/>
                  </a:lnTo>
                  <a:lnTo>
                    <a:pt x="149" y="567"/>
                  </a:lnTo>
                  <a:lnTo>
                    <a:pt x="149" y="567"/>
                  </a:lnTo>
                  <a:lnTo>
                    <a:pt x="149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6" y="567"/>
                  </a:lnTo>
                  <a:lnTo>
                    <a:pt x="144" y="565"/>
                  </a:lnTo>
                  <a:lnTo>
                    <a:pt x="144" y="565"/>
                  </a:lnTo>
                  <a:lnTo>
                    <a:pt x="144" y="565"/>
                  </a:lnTo>
                  <a:lnTo>
                    <a:pt x="144" y="565"/>
                  </a:lnTo>
                  <a:lnTo>
                    <a:pt x="142" y="565"/>
                  </a:lnTo>
                  <a:lnTo>
                    <a:pt x="142" y="565"/>
                  </a:lnTo>
                  <a:lnTo>
                    <a:pt x="142" y="563"/>
                  </a:lnTo>
                  <a:lnTo>
                    <a:pt x="142" y="563"/>
                  </a:lnTo>
                  <a:lnTo>
                    <a:pt x="142" y="563"/>
                  </a:lnTo>
                  <a:lnTo>
                    <a:pt x="142" y="563"/>
                  </a:lnTo>
                  <a:lnTo>
                    <a:pt x="144" y="563"/>
                  </a:lnTo>
                  <a:lnTo>
                    <a:pt x="144" y="563"/>
                  </a:lnTo>
                  <a:lnTo>
                    <a:pt x="144" y="563"/>
                  </a:lnTo>
                  <a:lnTo>
                    <a:pt x="144" y="563"/>
                  </a:lnTo>
                  <a:lnTo>
                    <a:pt x="142" y="563"/>
                  </a:lnTo>
                  <a:lnTo>
                    <a:pt x="142" y="560"/>
                  </a:lnTo>
                  <a:lnTo>
                    <a:pt x="142" y="560"/>
                  </a:lnTo>
                  <a:lnTo>
                    <a:pt x="142" y="560"/>
                  </a:lnTo>
                  <a:lnTo>
                    <a:pt x="142" y="560"/>
                  </a:lnTo>
                  <a:lnTo>
                    <a:pt x="140" y="560"/>
                  </a:lnTo>
                  <a:lnTo>
                    <a:pt x="140" y="560"/>
                  </a:lnTo>
                  <a:lnTo>
                    <a:pt x="140" y="560"/>
                  </a:lnTo>
                  <a:lnTo>
                    <a:pt x="137" y="560"/>
                  </a:lnTo>
                  <a:lnTo>
                    <a:pt x="135" y="558"/>
                  </a:lnTo>
                  <a:lnTo>
                    <a:pt x="135" y="558"/>
                  </a:lnTo>
                  <a:lnTo>
                    <a:pt x="133" y="560"/>
                  </a:lnTo>
                  <a:lnTo>
                    <a:pt x="131" y="560"/>
                  </a:lnTo>
                  <a:lnTo>
                    <a:pt x="129" y="560"/>
                  </a:lnTo>
                  <a:lnTo>
                    <a:pt x="129" y="558"/>
                  </a:lnTo>
                  <a:lnTo>
                    <a:pt x="131" y="558"/>
                  </a:lnTo>
                  <a:lnTo>
                    <a:pt x="131" y="558"/>
                  </a:lnTo>
                  <a:lnTo>
                    <a:pt x="131" y="556"/>
                  </a:lnTo>
                  <a:lnTo>
                    <a:pt x="131" y="556"/>
                  </a:lnTo>
                  <a:lnTo>
                    <a:pt x="131" y="556"/>
                  </a:lnTo>
                  <a:lnTo>
                    <a:pt x="131" y="556"/>
                  </a:lnTo>
                  <a:lnTo>
                    <a:pt x="131" y="556"/>
                  </a:lnTo>
                  <a:lnTo>
                    <a:pt x="131" y="556"/>
                  </a:lnTo>
                  <a:lnTo>
                    <a:pt x="131" y="554"/>
                  </a:lnTo>
                  <a:lnTo>
                    <a:pt x="131" y="554"/>
                  </a:lnTo>
                  <a:lnTo>
                    <a:pt x="131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9" y="554"/>
                  </a:lnTo>
                  <a:lnTo>
                    <a:pt x="126" y="554"/>
                  </a:lnTo>
                  <a:lnTo>
                    <a:pt x="126" y="554"/>
                  </a:lnTo>
                  <a:lnTo>
                    <a:pt x="126" y="551"/>
                  </a:lnTo>
                  <a:lnTo>
                    <a:pt x="124" y="551"/>
                  </a:lnTo>
                  <a:lnTo>
                    <a:pt x="124" y="551"/>
                  </a:lnTo>
                  <a:lnTo>
                    <a:pt x="124" y="551"/>
                  </a:lnTo>
                  <a:lnTo>
                    <a:pt x="120" y="549"/>
                  </a:lnTo>
                  <a:lnTo>
                    <a:pt x="120" y="549"/>
                  </a:lnTo>
                  <a:lnTo>
                    <a:pt x="120" y="549"/>
                  </a:lnTo>
                  <a:lnTo>
                    <a:pt x="120" y="547"/>
                  </a:lnTo>
                  <a:lnTo>
                    <a:pt x="120" y="547"/>
                  </a:lnTo>
                  <a:lnTo>
                    <a:pt x="120" y="547"/>
                  </a:lnTo>
                  <a:lnTo>
                    <a:pt x="120" y="547"/>
                  </a:lnTo>
                  <a:lnTo>
                    <a:pt x="117" y="547"/>
                  </a:lnTo>
                  <a:lnTo>
                    <a:pt x="117" y="545"/>
                  </a:lnTo>
                  <a:lnTo>
                    <a:pt x="117" y="545"/>
                  </a:lnTo>
                  <a:lnTo>
                    <a:pt x="117" y="545"/>
                  </a:lnTo>
                  <a:lnTo>
                    <a:pt x="117" y="545"/>
                  </a:lnTo>
                  <a:lnTo>
                    <a:pt x="115" y="545"/>
                  </a:lnTo>
                  <a:lnTo>
                    <a:pt x="115" y="545"/>
                  </a:lnTo>
                  <a:lnTo>
                    <a:pt x="115" y="542"/>
                  </a:lnTo>
                  <a:lnTo>
                    <a:pt x="115" y="542"/>
                  </a:lnTo>
                  <a:lnTo>
                    <a:pt x="115" y="540"/>
                  </a:lnTo>
                  <a:lnTo>
                    <a:pt x="115" y="540"/>
                  </a:lnTo>
                  <a:lnTo>
                    <a:pt x="115" y="540"/>
                  </a:lnTo>
                  <a:lnTo>
                    <a:pt x="113" y="540"/>
                  </a:lnTo>
                  <a:lnTo>
                    <a:pt x="113" y="540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08" y="538"/>
                  </a:lnTo>
                  <a:lnTo>
                    <a:pt x="108" y="538"/>
                  </a:lnTo>
                  <a:lnTo>
                    <a:pt x="108" y="538"/>
                  </a:lnTo>
                  <a:lnTo>
                    <a:pt x="108" y="536"/>
                  </a:lnTo>
                  <a:lnTo>
                    <a:pt x="108" y="536"/>
                  </a:lnTo>
                  <a:lnTo>
                    <a:pt x="108" y="536"/>
                  </a:lnTo>
                  <a:lnTo>
                    <a:pt x="108" y="536"/>
                  </a:lnTo>
                  <a:lnTo>
                    <a:pt x="108" y="536"/>
                  </a:lnTo>
                  <a:lnTo>
                    <a:pt x="108" y="533"/>
                  </a:lnTo>
                  <a:lnTo>
                    <a:pt x="108" y="533"/>
                  </a:lnTo>
                  <a:lnTo>
                    <a:pt x="108" y="533"/>
                  </a:lnTo>
                  <a:lnTo>
                    <a:pt x="108" y="533"/>
                  </a:lnTo>
                  <a:lnTo>
                    <a:pt x="108" y="533"/>
                  </a:lnTo>
                  <a:lnTo>
                    <a:pt x="111" y="533"/>
                  </a:lnTo>
                  <a:lnTo>
                    <a:pt x="111" y="533"/>
                  </a:lnTo>
                  <a:lnTo>
                    <a:pt x="111" y="533"/>
                  </a:lnTo>
                  <a:lnTo>
                    <a:pt x="111" y="531"/>
                  </a:lnTo>
                  <a:lnTo>
                    <a:pt x="108" y="531"/>
                  </a:lnTo>
                  <a:lnTo>
                    <a:pt x="108" y="531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11" y="531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11" y="529"/>
                  </a:lnTo>
                  <a:lnTo>
                    <a:pt x="108" y="529"/>
                  </a:lnTo>
                  <a:lnTo>
                    <a:pt x="108" y="529"/>
                  </a:lnTo>
                  <a:lnTo>
                    <a:pt x="108" y="527"/>
                  </a:lnTo>
                  <a:lnTo>
                    <a:pt x="108" y="527"/>
                  </a:lnTo>
                  <a:lnTo>
                    <a:pt x="108" y="527"/>
                  </a:lnTo>
                  <a:lnTo>
                    <a:pt x="106" y="527"/>
                  </a:lnTo>
                  <a:lnTo>
                    <a:pt x="106" y="527"/>
                  </a:lnTo>
                  <a:lnTo>
                    <a:pt x="106" y="527"/>
                  </a:lnTo>
                  <a:lnTo>
                    <a:pt x="106" y="524"/>
                  </a:lnTo>
                  <a:lnTo>
                    <a:pt x="106" y="524"/>
                  </a:lnTo>
                  <a:lnTo>
                    <a:pt x="106" y="524"/>
                  </a:lnTo>
                  <a:lnTo>
                    <a:pt x="108" y="524"/>
                  </a:lnTo>
                  <a:lnTo>
                    <a:pt x="108" y="524"/>
                  </a:lnTo>
                  <a:lnTo>
                    <a:pt x="108" y="522"/>
                  </a:lnTo>
                  <a:lnTo>
                    <a:pt x="108" y="522"/>
                  </a:lnTo>
                  <a:lnTo>
                    <a:pt x="106" y="522"/>
                  </a:lnTo>
                  <a:lnTo>
                    <a:pt x="106" y="522"/>
                  </a:lnTo>
                  <a:lnTo>
                    <a:pt x="106" y="522"/>
                  </a:lnTo>
                  <a:lnTo>
                    <a:pt x="108" y="522"/>
                  </a:lnTo>
                  <a:lnTo>
                    <a:pt x="108" y="522"/>
                  </a:lnTo>
                  <a:lnTo>
                    <a:pt x="108" y="522"/>
                  </a:lnTo>
                  <a:lnTo>
                    <a:pt x="106" y="520"/>
                  </a:lnTo>
                  <a:lnTo>
                    <a:pt x="106" y="520"/>
                  </a:lnTo>
                  <a:lnTo>
                    <a:pt x="106" y="520"/>
                  </a:lnTo>
                  <a:lnTo>
                    <a:pt x="106" y="518"/>
                  </a:lnTo>
                  <a:lnTo>
                    <a:pt x="106" y="518"/>
                  </a:lnTo>
                  <a:lnTo>
                    <a:pt x="104" y="518"/>
                  </a:lnTo>
                  <a:lnTo>
                    <a:pt x="104" y="520"/>
                  </a:lnTo>
                  <a:lnTo>
                    <a:pt x="104" y="520"/>
                  </a:lnTo>
                  <a:lnTo>
                    <a:pt x="104" y="518"/>
                  </a:lnTo>
                  <a:lnTo>
                    <a:pt x="104" y="518"/>
                  </a:lnTo>
                  <a:lnTo>
                    <a:pt x="102" y="518"/>
                  </a:lnTo>
                  <a:lnTo>
                    <a:pt x="102" y="518"/>
                  </a:lnTo>
                  <a:lnTo>
                    <a:pt x="102" y="518"/>
                  </a:lnTo>
                  <a:lnTo>
                    <a:pt x="102" y="518"/>
                  </a:lnTo>
                  <a:lnTo>
                    <a:pt x="102" y="518"/>
                  </a:lnTo>
                  <a:lnTo>
                    <a:pt x="102" y="518"/>
                  </a:lnTo>
                  <a:lnTo>
                    <a:pt x="102" y="518"/>
                  </a:lnTo>
                  <a:lnTo>
                    <a:pt x="102" y="515"/>
                  </a:lnTo>
                  <a:lnTo>
                    <a:pt x="102" y="515"/>
                  </a:lnTo>
                  <a:lnTo>
                    <a:pt x="102" y="515"/>
                  </a:lnTo>
                  <a:lnTo>
                    <a:pt x="99" y="515"/>
                  </a:lnTo>
                  <a:lnTo>
                    <a:pt x="99" y="515"/>
                  </a:lnTo>
                  <a:lnTo>
                    <a:pt x="99" y="515"/>
                  </a:lnTo>
                  <a:lnTo>
                    <a:pt x="99" y="515"/>
                  </a:lnTo>
                  <a:lnTo>
                    <a:pt x="99" y="515"/>
                  </a:lnTo>
                  <a:lnTo>
                    <a:pt x="99" y="515"/>
                  </a:lnTo>
                  <a:lnTo>
                    <a:pt x="99" y="515"/>
                  </a:lnTo>
                  <a:lnTo>
                    <a:pt x="97" y="515"/>
                  </a:lnTo>
                  <a:lnTo>
                    <a:pt x="95" y="513"/>
                  </a:lnTo>
                  <a:lnTo>
                    <a:pt x="95" y="513"/>
                  </a:lnTo>
                  <a:lnTo>
                    <a:pt x="93" y="513"/>
                  </a:lnTo>
                  <a:lnTo>
                    <a:pt x="93" y="513"/>
                  </a:lnTo>
                  <a:lnTo>
                    <a:pt x="93" y="513"/>
                  </a:lnTo>
                  <a:lnTo>
                    <a:pt x="93" y="513"/>
                  </a:lnTo>
                  <a:lnTo>
                    <a:pt x="93" y="513"/>
                  </a:lnTo>
                  <a:lnTo>
                    <a:pt x="90" y="513"/>
                  </a:lnTo>
                  <a:lnTo>
                    <a:pt x="88" y="513"/>
                  </a:lnTo>
                  <a:lnTo>
                    <a:pt x="88" y="513"/>
                  </a:lnTo>
                  <a:lnTo>
                    <a:pt x="88" y="513"/>
                  </a:lnTo>
                  <a:lnTo>
                    <a:pt x="88" y="513"/>
                  </a:lnTo>
                  <a:lnTo>
                    <a:pt x="86" y="515"/>
                  </a:lnTo>
                  <a:lnTo>
                    <a:pt x="86" y="515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4" y="515"/>
                  </a:lnTo>
                  <a:lnTo>
                    <a:pt x="81" y="518"/>
                  </a:lnTo>
                  <a:lnTo>
                    <a:pt x="81" y="518"/>
                  </a:lnTo>
                  <a:lnTo>
                    <a:pt x="81" y="518"/>
                  </a:lnTo>
                  <a:lnTo>
                    <a:pt x="79" y="515"/>
                  </a:lnTo>
                  <a:lnTo>
                    <a:pt x="79" y="515"/>
                  </a:lnTo>
                  <a:lnTo>
                    <a:pt x="79" y="515"/>
                  </a:lnTo>
                  <a:lnTo>
                    <a:pt x="79" y="515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3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9" y="511"/>
                  </a:lnTo>
                  <a:lnTo>
                    <a:pt x="75" y="511"/>
                  </a:lnTo>
                  <a:lnTo>
                    <a:pt x="75" y="511"/>
                  </a:lnTo>
                  <a:lnTo>
                    <a:pt x="75" y="509"/>
                  </a:lnTo>
                  <a:lnTo>
                    <a:pt x="72" y="509"/>
                  </a:lnTo>
                  <a:lnTo>
                    <a:pt x="72" y="509"/>
                  </a:lnTo>
                  <a:lnTo>
                    <a:pt x="70" y="509"/>
                  </a:lnTo>
                  <a:lnTo>
                    <a:pt x="70" y="511"/>
                  </a:lnTo>
                  <a:lnTo>
                    <a:pt x="70" y="511"/>
                  </a:lnTo>
                  <a:lnTo>
                    <a:pt x="70" y="511"/>
                  </a:lnTo>
                  <a:lnTo>
                    <a:pt x="70" y="511"/>
                  </a:lnTo>
                  <a:lnTo>
                    <a:pt x="70" y="511"/>
                  </a:lnTo>
                  <a:lnTo>
                    <a:pt x="68" y="511"/>
                  </a:lnTo>
                  <a:lnTo>
                    <a:pt x="68" y="511"/>
                  </a:lnTo>
                  <a:lnTo>
                    <a:pt x="68" y="511"/>
                  </a:lnTo>
                  <a:lnTo>
                    <a:pt x="68" y="511"/>
                  </a:lnTo>
                  <a:lnTo>
                    <a:pt x="66" y="511"/>
                  </a:lnTo>
                  <a:lnTo>
                    <a:pt x="66" y="511"/>
                  </a:lnTo>
                  <a:lnTo>
                    <a:pt x="66" y="509"/>
                  </a:lnTo>
                  <a:lnTo>
                    <a:pt x="66" y="509"/>
                  </a:lnTo>
                  <a:lnTo>
                    <a:pt x="66" y="509"/>
                  </a:lnTo>
                  <a:lnTo>
                    <a:pt x="66" y="509"/>
                  </a:lnTo>
                  <a:lnTo>
                    <a:pt x="66" y="509"/>
                  </a:lnTo>
                  <a:lnTo>
                    <a:pt x="63" y="509"/>
                  </a:lnTo>
                  <a:lnTo>
                    <a:pt x="63" y="509"/>
                  </a:lnTo>
                  <a:lnTo>
                    <a:pt x="63" y="509"/>
                  </a:lnTo>
                  <a:lnTo>
                    <a:pt x="61" y="509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09"/>
                  </a:lnTo>
                  <a:lnTo>
                    <a:pt x="59" y="509"/>
                  </a:lnTo>
                  <a:lnTo>
                    <a:pt x="59" y="509"/>
                  </a:lnTo>
                  <a:lnTo>
                    <a:pt x="59" y="509"/>
                  </a:lnTo>
                  <a:lnTo>
                    <a:pt x="57" y="506"/>
                  </a:lnTo>
                  <a:lnTo>
                    <a:pt x="57" y="506"/>
                  </a:lnTo>
                  <a:lnTo>
                    <a:pt x="57" y="506"/>
                  </a:lnTo>
                  <a:lnTo>
                    <a:pt x="57" y="506"/>
                  </a:lnTo>
                  <a:lnTo>
                    <a:pt x="57" y="504"/>
                  </a:lnTo>
                  <a:lnTo>
                    <a:pt x="57" y="504"/>
                  </a:lnTo>
                  <a:lnTo>
                    <a:pt x="57" y="504"/>
                  </a:lnTo>
                  <a:lnTo>
                    <a:pt x="57" y="504"/>
                  </a:lnTo>
                  <a:lnTo>
                    <a:pt x="57" y="504"/>
                  </a:lnTo>
                  <a:lnTo>
                    <a:pt x="57" y="504"/>
                  </a:lnTo>
                  <a:lnTo>
                    <a:pt x="57" y="504"/>
                  </a:lnTo>
                  <a:lnTo>
                    <a:pt x="57" y="502"/>
                  </a:lnTo>
                  <a:lnTo>
                    <a:pt x="57" y="502"/>
                  </a:lnTo>
                  <a:lnTo>
                    <a:pt x="54" y="502"/>
                  </a:lnTo>
                  <a:lnTo>
                    <a:pt x="54" y="500"/>
                  </a:lnTo>
                  <a:lnTo>
                    <a:pt x="54" y="500"/>
                  </a:lnTo>
                  <a:lnTo>
                    <a:pt x="54" y="500"/>
                  </a:lnTo>
                  <a:lnTo>
                    <a:pt x="54" y="500"/>
                  </a:lnTo>
                  <a:lnTo>
                    <a:pt x="54" y="500"/>
                  </a:lnTo>
                  <a:lnTo>
                    <a:pt x="54" y="500"/>
                  </a:lnTo>
                  <a:lnTo>
                    <a:pt x="54" y="497"/>
                  </a:lnTo>
                  <a:lnTo>
                    <a:pt x="54" y="497"/>
                  </a:lnTo>
                  <a:lnTo>
                    <a:pt x="54" y="497"/>
                  </a:lnTo>
                  <a:lnTo>
                    <a:pt x="54" y="497"/>
                  </a:lnTo>
                  <a:lnTo>
                    <a:pt x="54" y="497"/>
                  </a:lnTo>
                  <a:lnTo>
                    <a:pt x="52" y="497"/>
                  </a:lnTo>
                  <a:lnTo>
                    <a:pt x="52" y="497"/>
                  </a:lnTo>
                  <a:lnTo>
                    <a:pt x="52" y="495"/>
                  </a:lnTo>
                  <a:lnTo>
                    <a:pt x="52" y="495"/>
                  </a:lnTo>
                  <a:lnTo>
                    <a:pt x="52" y="495"/>
                  </a:lnTo>
                  <a:lnTo>
                    <a:pt x="52" y="495"/>
                  </a:lnTo>
                  <a:lnTo>
                    <a:pt x="50" y="493"/>
                  </a:lnTo>
                  <a:lnTo>
                    <a:pt x="50" y="493"/>
                  </a:lnTo>
                  <a:lnTo>
                    <a:pt x="50" y="493"/>
                  </a:lnTo>
                  <a:lnTo>
                    <a:pt x="50" y="493"/>
                  </a:lnTo>
                  <a:lnTo>
                    <a:pt x="50" y="491"/>
                  </a:lnTo>
                  <a:lnTo>
                    <a:pt x="50" y="491"/>
                  </a:lnTo>
                  <a:lnTo>
                    <a:pt x="50" y="491"/>
                  </a:lnTo>
                  <a:lnTo>
                    <a:pt x="48" y="491"/>
                  </a:lnTo>
                  <a:lnTo>
                    <a:pt x="48" y="491"/>
                  </a:lnTo>
                  <a:lnTo>
                    <a:pt x="48" y="491"/>
                  </a:lnTo>
                  <a:lnTo>
                    <a:pt x="45" y="491"/>
                  </a:lnTo>
                  <a:lnTo>
                    <a:pt x="45" y="491"/>
                  </a:lnTo>
                  <a:lnTo>
                    <a:pt x="45" y="491"/>
                  </a:lnTo>
                  <a:lnTo>
                    <a:pt x="45" y="491"/>
                  </a:lnTo>
                  <a:lnTo>
                    <a:pt x="45" y="488"/>
                  </a:lnTo>
                  <a:lnTo>
                    <a:pt x="45" y="488"/>
                  </a:lnTo>
                  <a:lnTo>
                    <a:pt x="45" y="488"/>
                  </a:lnTo>
                  <a:lnTo>
                    <a:pt x="45" y="488"/>
                  </a:lnTo>
                  <a:lnTo>
                    <a:pt x="45" y="486"/>
                  </a:lnTo>
                  <a:lnTo>
                    <a:pt x="45" y="486"/>
                  </a:lnTo>
                  <a:lnTo>
                    <a:pt x="45" y="486"/>
                  </a:lnTo>
                  <a:lnTo>
                    <a:pt x="45" y="486"/>
                  </a:lnTo>
                  <a:lnTo>
                    <a:pt x="45" y="486"/>
                  </a:lnTo>
                  <a:lnTo>
                    <a:pt x="45" y="486"/>
                  </a:lnTo>
                  <a:lnTo>
                    <a:pt x="43" y="486"/>
                  </a:lnTo>
                  <a:lnTo>
                    <a:pt x="45" y="484"/>
                  </a:lnTo>
                  <a:lnTo>
                    <a:pt x="45" y="484"/>
                  </a:lnTo>
                  <a:lnTo>
                    <a:pt x="45" y="484"/>
                  </a:lnTo>
                  <a:lnTo>
                    <a:pt x="45" y="484"/>
                  </a:lnTo>
                  <a:lnTo>
                    <a:pt x="45" y="482"/>
                  </a:lnTo>
                  <a:lnTo>
                    <a:pt x="45" y="482"/>
                  </a:lnTo>
                  <a:lnTo>
                    <a:pt x="45" y="482"/>
                  </a:lnTo>
                  <a:lnTo>
                    <a:pt x="45" y="482"/>
                  </a:lnTo>
                  <a:lnTo>
                    <a:pt x="45" y="479"/>
                  </a:lnTo>
                  <a:lnTo>
                    <a:pt x="43" y="479"/>
                  </a:lnTo>
                  <a:lnTo>
                    <a:pt x="43" y="479"/>
                  </a:lnTo>
                  <a:lnTo>
                    <a:pt x="41" y="477"/>
                  </a:lnTo>
                  <a:lnTo>
                    <a:pt x="41" y="477"/>
                  </a:lnTo>
                  <a:lnTo>
                    <a:pt x="41" y="477"/>
                  </a:lnTo>
                  <a:lnTo>
                    <a:pt x="41" y="477"/>
                  </a:lnTo>
                  <a:lnTo>
                    <a:pt x="39" y="477"/>
                  </a:lnTo>
                  <a:lnTo>
                    <a:pt x="39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5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6" y="473"/>
                  </a:lnTo>
                  <a:lnTo>
                    <a:pt x="39" y="473"/>
                  </a:lnTo>
                  <a:lnTo>
                    <a:pt x="39" y="473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39" y="470"/>
                  </a:lnTo>
                  <a:lnTo>
                    <a:pt x="41" y="468"/>
                  </a:lnTo>
                  <a:lnTo>
                    <a:pt x="43" y="468"/>
                  </a:lnTo>
                  <a:lnTo>
                    <a:pt x="43" y="468"/>
                  </a:lnTo>
                  <a:lnTo>
                    <a:pt x="43" y="468"/>
                  </a:lnTo>
                  <a:lnTo>
                    <a:pt x="43" y="468"/>
                  </a:lnTo>
                  <a:lnTo>
                    <a:pt x="43" y="468"/>
                  </a:lnTo>
                  <a:lnTo>
                    <a:pt x="41" y="468"/>
                  </a:lnTo>
                  <a:lnTo>
                    <a:pt x="41" y="468"/>
                  </a:lnTo>
                  <a:lnTo>
                    <a:pt x="41" y="466"/>
                  </a:lnTo>
                  <a:lnTo>
                    <a:pt x="41" y="466"/>
                  </a:lnTo>
                  <a:lnTo>
                    <a:pt x="41" y="466"/>
                  </a:lnTo>
                  <a:lnTo>
                    <a:pt x="41" y="466"/>
                  </a:lnTo>
                  <a:lnTo>
                    <a:pt x="41" y="466"/>
                  </a:lnTo>
                  <a:lnTo>
                    <a:pt x="39" y="466"/>
                  </a:lnTo>
                  <a:lnTo>
                    <a:pt x="39" y="466"/>
                  </a:lnTo>
                  <a:lnTo>
                    <a:pt x="39" y="464"/>
                  </a:lnTo>
                  <a:lnTo>
                    <a:pt x="39" y="464"/>
                  </a:lnTo>
                  <a:lnTo>
                    <a:pt x="39" y="464"/>
                  </a:lnTo>
                  <a:lnTo>
                    <a:pt x="39" y="461"/>
                  </a:lnTo>
                  <a:lnTo>
                    <a:pt x="36" y="461"/>
                  </a:lnTo>
                  <a:lnTo>
                    <a:pt x="36" y="461"/>
                  </a:lnTo>
                  <a:lnTo>
                    <a:pt x="36" y="459"/>
                  </a:lnTo>
                  <a:lnTo>
                    <a:pt x="36" y="459"/>
                  </a:lnTo>
                  <a:lnTo>
                    <a:pt x="36" y="457"/>
                  </a:lnTo>
                  <a:lnTo>
                    <a:pt x="34" y="452"/>
                  </a:lnTo>
                  <a:lnTo>
                    <a:pt x="34" y="450"/>
                  </a:lnTo>
                  <a:lnTo>
                    <a:pt x="32" y="448"/>
                  </a:lnTo>
                  <a:lnTo>
                    <a:pt x="34" y="446"/>
                  </a:lnTo>
                  <a:lnTo>
                    <a:pt x="34" y="446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3"/>
                  </a:lnTo>
                  <a:lnTo>
                    <a:pt x="36" y="441"/>
                  </a:lnTo>
                  <a:lnTo>
                    <a:pt x="36" y="441"/>
                  </a:lnTo>
                  <a:lnTo>
                    <a:pt x="39" y="439"/>
                  </a:lnTo>
                  <a:lnTo>
                    <a:pt x="39" y="439"/>
                  </a:lnTo>
                  <a:lnTo>
                    <a:pt x="39" y="437"/>
                  </a:lnTo>
                  <a:lnTo>
                    <a:pt x="39" y="437"/>
                  </a:lnTo>
                  <a:lnTo>
                    <a:pt x="39" y="437"/>
                  </a:lnTo>
                  <a:lnTo>
                    <a:pt x="39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1" y="437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3" y="434"/>
                  </a:lnTo>
                  <a:lnTo>
                    <a:pt x="41" y="434"/>
                  </a:lnTo>
                  <a:lnTo>
                    <a:pt x="41" y="434"/>
                  </a:lnTo>
                  <a:lnTo>
                    <a:pt x="41" y="434"/>
                  </a:lnTo>
                  <a:lnTo>
                    <a:pt x="41" y="434"/>
                  </a:lnTo>
                  <a:lnTo>
                    <a:pt x="41" y="432"/>
                  </a:lnTo>
                  <a:lnTo>
                    <a:pt x="39" y="432"/>
                  </a:lnTo>
                  <a:lnTo>
                    <a:pt x="41" y="432"/>
                  </a:lnTo>
                  <a:lnTo>
                    <a:pt x="41" y="430"/>
                  </a:lnTo>
                  <a:lnTo>
                    <a:pt x="39" y="430"/>
                  </a:lnTo>
                  <a:lnTo>
                    <a:pt x="39" y="428"/>
                  </a:lnTo>
                  <a:lnTo>
                    <a:pt x="39" y="428"/>
                  </a:lnTo>
                  <a:lnTo>
                    <a:pt x="39" y="428"/>
                  </a:lnTo>
                  <a:lnTo>
                    <a:pt x="39" y="428"/>
                  </a:lnTo>
                  <a:lnTo>
                    <a:pt x="39" y="428"/>
                  </a:lnTo>
                  <a:lnTo>
                    <a:pt x="39" y="428"/>
                  </a:lnTo>
                  <a:lnTo>
                    <a:pt x="39" y="425"/>
                  </a:lnTo>
                  <a:lnTo>
                    <a:pt x="39" y="425"/>
                  </a:lnTo>
                  <a:lnTo>
                    <a:pt x="41" y="425"/>
                  </a:lnTo>
                  <a:lnTo>
                    <a:pt x="41" y="425"/>
                  </a:lnTo>
                  <a:lnTo>
                    <a:pt x="41" y="428"/>
                  </a:lnTo>
                  <a:lnTo>
                    <a:pt x="41" y="428"/>
                  </a:lnTo>
                  <a:lnTo>
                    <a:pt x="41" y="428"/>
                  </a:lnTo>
                  <a:lnTo>
                    <a:pt x="43" y="428"/>
                  </a:lnTo>
                  <a:lnTo>
                    <a:pt x="43" y="428"/>
                  </a:lnTo>
                  <a:lnTo>
                    <a:pt x="45" y="428"/>
                  </a:lnTo>
                  <a:lnTo>
                    <a:pt x="45" y="428"/>
                  </a:lnTo>
                  <a:lnTo>
                    <a:pt x="45" y="428"/>
                  </a:lnTo>
                  <a:lnTo>
                    <a:pt x="45" y="428"/>
                  </a:lnTo>
                  <a:lnTo>
                    <a:pt x="45" y="425"/>
                  </a:lnTo>
                  <a:lnTo>
                    <a:pt x="45" y="425"/>
                  </a:lnTo>
                  <a:lnTo>
                    <a:pt x="45" y="425"/>
                  </a:lnTo>
                  <a:lnTo>
                    <a:pt x="45" y="425"/>
                  </a:lnTo>
                  <a:lnTo>
                    <a:pt x="45" y="425"/>
                  </a:lnTo>
                  <a:lnTo>
                    <a:pt x="45" y="425"/>
                  </a:lnTo>
                  <a:lnTo>
                    <a:pt x="48" y="425"/>
                  </a:lnTo>
                  <a:lnTo>
                    <a:pt x="48" y="425"/>
                  </a:lnTo>
                  <a:lnTo>
                    <a:pt x="48" y="425"/>
                  </a:lnTo>
                  <a:lnTo>
                    <a:pt x="48" y="425"/>
                  </a:lnTo>
                  <a:lnTo>
                    <a:pt x="48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0" y="425"/>
                  </a:lnTo>
                  <a:lnTo>
                    <a:pt x="52" y="425"/>
                  </a:lnTo>
                  <a:lnTo>
                    <a:pt x="52" y="425"/>
                  </a:lnTo>
                  <a:lnTo>
                    <a:pt x="52" y="425"/>
                  </a:lnTo>
                  <a:lnTo>
                    <a:pt x="52" y="425"/>
                  </a:lnTo>
                  <a:lnTo>
                    <a:pt x="52" y="425"/>
                  </a:lnTo>
                  <a:lnTo>
                    <a:pt x="52" y="425"/>
                  </a:lnTo>
                  <a:lnTo>
                    <a:pt x="54" y="425"/>
                  </a:lnTo>
                  <a:lnTo>
                    <a:pt x="54" y="425"/>
                  </a:lnTo>
                  <a:lnTo>
                    <a:pt x="54" y="425"/>
                  </a:lnTo>
                  <a:lnTo>
                    <a:pt x="54" y="425"/>
                  </a:lnTo>
                  <a:lnTo>
                    <a:pt x="54" y="425"/>
                  </a:lnTo>
                  <a:lnTo>
                    <a:pt x="54" y="423"/>
                  </a:lnTo>
                  <a:lnTo>
                    <a:pt x="54" y="423"/>
                  </a:lnTo>
                  <a:lnTo>
                    <a:pt x="54" y="423"/>
                  </a:lnTo>
                  <a:lnTo>
                    <a:pt x="54" y="423"/>
                  </a:lnTo>
                  <a:lnTo>
                    <a:pt x="54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7" y="421"/>
                  </a:lnTo>
                  <a:lnTo>
                    <a:pt x="57" y="421"/>
                  </a:lnTo>
                  <a:lnTo>
                    <a:pt x="59" y="421"/>
                  </a:lnTo>
                  <a:lnTo>
                    <a:pt x="61" y="421"/>
                  </a:lnTo>
                  <a:lnTo>
                    <a:pt x="68" y="423"/>
                  </a:lnTo>
                  <a:lnTo>
                    <a:pt x="68" y="423"/>
                  </a:lnTo>
                  <a:lnTo>
                    <a:pt x="72" y="423"/>
                  </a:lnTo>
                  <a:lnTo>
                    <a:pt x="75" y="423"/>
                  </a:lnTo>
                  <a:lnTo>
                    <a:pt x="75" y="423"/>
                  </a:lnTo>
                  <a:lnTo>
                    <a:pt x="75" y="423"/>
                  </a:lnTo>
                  <a:lnTo>
                    <a:pt x="75" y="423"/>
                  </a:lnTo>
                  <a:lnTo>
                    <a:pt x="75" y="423"/>
                  </a:lnTo>
                  <a:lnTo>
                    <a:pt x="75" y="423"/>
                  </a:lnTo>
                  <a:lnTo>
                    <a:pt x="75" y="423"/>
                  </a:lnTo>
                  <a:lnTo>
                    <a:pt x="75" y="421"/>
                  </a:lnTo>
                  <a:lnTo>
                    <a:pt x="75" y="421"/>
                  </a:lnTo>
                  <a:lnTo>
                    <a:pt x="75" y="421"/>
                  </a:lnTo>
                  <a:lnTo>
                    <a:pt x="70" y="421"/>
                  </a:lnTo>
                  <a:lnTo>
                    <a:pt x="70" y="421"/>
                  </a:lnTo>
                  <a:lnTo>
                    <a:pt x="70" y="421"/>
                  </a:lnTo>
                  <a:lnTo>
                    <a:pt x="68" y="421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8" y="419"/>
                  </a:lnTo>
                  <a:lnTo>
                    <a:pt x="66" y="416"/>
                  </a:lnTo>
                  <a:lnTo>
                    <a:pt x="61" y="416"/>
                  </a:lnTo>
                  <a:lnTo>
                    <a:pt x="61" y="416"/>
                  </a:lnTo>
                  <a:lnTo>
                    <a:pt x="59" y="419"/>
                  </a:lnTo>
                  <a:lnTo>
                    <a:pt x="57" y="416"/>
                  </a:lnTo>
                  <a:lnTo>
                    <a:pt x="54" y="416"/>
                  </a:lnTo>
                  <a:lnTo>
                    <a:pt x="54" y="416"/>
                  </a:lnTo>
                  <a:lnTo>
                    <a:pt x="52" y="416"/>
                  </a:lnTo>
                  <a:lnTo>
                    <a:pt x="52" y="416"/>
                  </a:lnTo>
                  <a:lnTo>
                    <a:pt x="52" y="416"/>
                  </a:lnTo>
                  <a:lnTo>
                    <a:pt x="52" y="414"/>
                  </a:lnTo>
                  <a:lnTo>
                    <a:pt x="50" y="414"/>
                  </a:lnTo>
                  <a:lnTo>
                    <a:pt x="50" y="414"/>
                  </a:lnTo>
                  <a:lnTo>
                    <a:pt x="50" y="414"/>
                  </a:lnTo>
                  <a:lnTo>
                    <a:pt x="50" y="414"/>
                  </a:lnTo>
                  <a:lnTo>
                    <a:pt x="50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8" y="414"/>
                  </a:lnTo>
                  <a:lnTo>
                    <a:pt x="45" y="414"/>
                  </a:lnTo>
                  <a:lnTo>
                    <a:pt x="45" y="414"/>
                  </a:lnTo>
                  <a:lnTo>
                    <a:pt x="45" y="412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1" y="410"/>
                  </a:lnTo>
                  <a:lnTo>
                    <a:pt x="41" y="410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3" y="410"/>
                  </a:lnTo>
                  <a:lnTo>
                    <a:pt x="45" y="410"/>
                  </a:lnTo>
                  <a:lnTo>
                    <a:pt x="45" y="412"/>
                  </a:lnTo>
                  <a:lnTo>
                    <a:pt x="45" y="412"/>
                  </a:lnTo>
                  <a:lnTo>
                    <a:pt x="48" y="412"/>
                  </a:lnTo>
                  <a:lnTo>
                    <a:pt x="48" y="412"/>
                  </a:lnTo>
                  <a:lnTo>
                    <a:pt x="45" y="410"/>
                  </a:lnTo>
                  <a:lnTo>
                    <a:pt x="45" y="410"/>
                  </a:lnTo>
                  <a:lnTo>
                    <a:pt x="45" y="410"/>
                  </a:lnTo>
                  <a:lnTo>
                    <a:pt x="45" y="410"/>
                  </a:lnTo>
                  <a:lnTo>
                    <a:pt x="45" y="410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7"/>
                  </a:lnTo>
                  <a:lnTo>
                    <a:pt x="45" y="405"/>
                  </a:lnTo>
                  <a:lnTo>
                    <a:pt x="45" y="405"/>
                  </a:lnTo>
                  <a:lnTo>
                    <a:pt x="45" y="405"/>
                  </a:lnTo>
                  <a:lnTo>
                    <a:pt x="45" y="405"/>
                  </a:lnTo>
                  <a:lnTo>
                    <a:pt x="43" y="405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3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41" y="40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39" y="407"/>
                  </a:lnTo>
                  <a:lnTo>
                    <a:pt x="39" y="410"/>
                  </a:lnTo>
                  <a:lnTo>
                    <a:pt x="39" y="410"/>
                  </a:lnTo>
                  <a:lnTo>
                    <a:pt x="39" y="410"/>
                  </a:lnTo>
                  <a:lnTo>
                    <a:pt x="39" y="410"/>
                  </a:lnTo>
                  <a:lnTo>
                    <a:pt x="39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6" y="410"/>
                  </a:lnTo>
                  <a:lnTo>
                    <a:pt x="34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10"/>
                  </a:lnTo>
                  <a:lnTo>
                    <a:pt x="32" y="407"/>
                  </a:lnTo>
                  <a:lnTo>
                    <a:pt x="34" y="407"/>
                  </a:lnTo>
                  <a:lnTo>
                    <a:pt x="36" y="405"/>
                  </a:lnTo>
                  <a:lnTo>
                    <a:pt x="36" y="405"/>
                  </a:lnTo>
                  <a:lnTo>
                    <a:pt x="39" y="403"/>
                  </a:lnTo>
                  <a:lnTo>
                    <a:pt x="41" y="401"/>
                  </a:lnTo>
                  <a:lnTo>
                    <a:pt x="41" y="401"/>
                  </a:lnTo>
                  <a:lnTo>
                    <a:pt x="43" y="401"/>
                  </a:lnTo>
                  <a:lnTo>
                    <a:pt x="43" y="401"/>
                  </a:lnTo>
                  <a:lnTo>
                    <a:pt x="43" y="401"/>
                  </a:lnTo>
                  <a:lnTo>
                    <a:pt x="43" y="401"/>
                  </a:lnTo>
                  <a:lnTo>
                    <a:pt x="43" y="401"/>
                  </a:lnTo>
                  <a:lnTo>
                    <a:pt x="43" y="398"/>
                  </a:lnTo>
                  <a:lnTo>
                    <a:pt x="43" y="398"/>
                  </a:lnTo>
                  <a:lnTo>
                    <a:pt x="45" y="398"/>
                  </a:lnTo>
                  <a:lnTo>
                    <a:pt x="45" y="398"/>
                  </a:lnTo>
                  <a:lnTo>
                    <a:pt x="45" y="398"/>
                  </a:lnTo>
                  <a:lnTo>
                    <a:pt x="45" y="396"/>
                  </a:lnTo>
                  <a:lnTo>
                    <a:pt x="48" y="396"/>
                  </a:lnTo>
                  <a:lnTo>
                    <a:pt x="48" y="396"/>
                  </a:lnTo>
                  <a:lnTo>
                    <a:pt x="50" y="394"/>
                  </a:lnTo>
                  <a:lnTo>
                    <a:pt x="52" y="394"/>
                  </a:lnTo>
                  <a:lnTo>
                    <a:pt x="52" y="394"/>
                  </a:lnTo>
                  <a:lnTo>
                    <a:pt x="52" y="394"/>
                  </a:lnTo>
                  <a:lnTo>
                    <a:pt x="52" y="392"/>
                  </a:lnTo>
                  <a:lnTo>
                    <a:pt x="54" y="392"/>
                  </a:lnTo>
                  <a:lnTo>
                    <a:pt x="54" y="389"/>
                  </a:lnTo>
                  <a:lnTo>
                    <a:pt x="54" y="389"/>
                  </a:lnTo>
                  <a:lnTo>
                    <a:pt x="54" y="389"/>
                  </a:lnTo>
                  <a:lnTo>
                    <a:pt x="57" y="389"/>
                  </a:lnTo>
                  <a:lnTo>
                    <a:pt x="57" y="389"/>
                  </a:lnTo>
                  <a:lnTo>
                    <a:pt x="57" y="389"/>
                  </a:lnTo>
                  <a:lnTo>
                    <a:pt x="59" y="387"/>
                  </a:lnTo>
                  <a:lnTo>
                    <a:pt x="59" y="387"/>
                  </a:lnTo>
                  <a:lnTo>
                    <a:pt x="59" y="385"/>
                  </a:lnTo>
                  <a:lnTo>
                    <a:pt x="59" y="385"/>
                  </a:lnTo>
                  <a:lnTo>
                    <a:pt x="61" y="385"/>
                  </a:lnTo>
                  <a:lnTo>
                    <a:pt x="66" y="378"/>
                  </a:lnTo>
                  <a:lnTo>
                    <a:pt x="66" y="378"/>
                  </a:lnTo>
                  <a:lnTo>
                    <a:pt x="66" y="378"/>
                  </a:lnTo>
                  <a:lnTo>
                    <a:pt x="68" y="376"/>
                  </a:lnTo>
                  <a:lnTo>
                    <a:pt x="70" y="376"/>
                  </a:lnTo>
                  <a:lnTo>
                    <a:pt x="70" y="374"/>
                  </a:lnTo>
                  <a:lnTo>
                    <a:pt x="70" y="374"/>
                  </a:lnTo>
                  <a:lnTo>
                    <a:pt x="70" y="374"/>
                  </a:lnTo>
                  <a:lnTo>
                    <a:pt x="72" y="374"/>
                  </a:lnTo>
                  <a:lnTo>
                    <a:pt x="72" y="374"/>
                  </a:lnTo>
                  <a:lnTo>
                    <a:pt x="75" y="371"/>
                  </a:lnTo>
                  <a:lnTo>
                    <a:pt x="75" y="371"/>
                  </a:lnTo>
                  <a:lnTo>
                    <a:pt x="75" y="371"/>
                  </a:lnTo>
                  <a:lnTo>
                    <a:pt x="75" y="371"/>
                  </a:lnTo>
                  <a:lnTo>
                    <a:pt x="75" y="371"/>
                  </a:lnTo>
                  <a:lnTo>
                    <a:pt x="77" y="369"/>
                  </a:lnTo>
                  <a:lnTo>
                    <a:pt x="77" y="369"/>
                  </a:lnTo>
                  <a:lnTo>
                    <a:pt x="77" y="369"/>
                  </a:lnTo>
                  <a:lnTo>
                    <a:pt x="77" y="367"/>
                  </a:lnTo>
                  <a:lnTo>
                    <a:pt x="79" y="367"/>
                  </a:lnTo>
                  <a:lnTo>
                    <a:pt x="79" y="367"/>
                  </a:lnTo>
                  <a:lnTo>
                    <a:pt x="79" y="367"/>
                  </a:lnTo>
                  <a:lnTo>
                    <a:pt x="79" y="367"/>
                  </a:lnTo>
                  <a:lnTo>
                    <a:pt x="79" y="367"/>
                  </a:lnTo>
                  <a:lnTo>
                    <a:pt x="79" y="367"/>
                  </a:lnTo>
                  <a:lnTo>
                    <a:pt x="79" y="365"/>
                  </a:lnTo>
                  <a:lnTo>
                    <a:pt x="79" y="365"/>
                  </a:lnTo>
                  <a:lnTo>
                    <a:pt x="79" y="365"/>
                  </a:lnTo>
                  <a:lnTo>
                    <a:pt x="81" y="362"/>
                  </a:lnTo>
                  <a:lnTo>
                    <a:pt x="81" y="360"/>
                  </a:lnTo>
                  <a:lnTo>
                    <a:pt x="81" y="360"/>
                  </a:lnTo>
                  <a:lnTo>
                    <a:pt x="81" y="358"/>
                  </a:lnTo>
                  <a:lnTo>
                    <a:pt x="81" y="358"/>
                  </a:lnTo>
                  <a:lnTo>
                    <a:pt x="81" y="358"/>
                  </a:lnTo>
                  <a:lnTo>
                    <a:pt x="81" y="358"/>
                  </a:lnTo>
                  <a:lnTo>
                    <a:pt x="79" y="358"/>
                  </a:lnTo>
                  <a:lnTo>
                    <a:pt x="79" y="358"/>
                  </a:lnTo>
                  <a:lnTo>
                    <a:pt x="79" y="356"/>
                  </a:lnTo>
                  <a:lnTo>
                    <a:pt x="79" y="356"/>
                  </a:lnTo>
                  <a:lnTo>
                    <a:pt x="77" y="356"/>
                  </a:lnTo>
                  <a:lnTo>
                    <a:pt x="77" y="356"/>
                  </a:lnTo>
                  <a:lnTo>
                    <a:pt x="77" y="353"/>
                  </a:lnTo>
                  <a:lnTo>
                    <a:pt x="77" y="353"/>
                  </a:lnTo>
                  <a:lnTo>
                    <a:pt x="75" y="353"/>
                  </a:lnTo>
                  <a:lnTo>
                    <a:pt x="75" y="353"/>
                  </a:lnTo>
                  <a:lnTo>
                    <a:pt x="75" y="353"/>
                  </a:lnTo>
                  <a:lnTo>
                    <a:pt x="75" y="353"/>
                  </a:lnTo>
                  <a:lnTo>
                    <a:pt x="75" y="351"/>
                  </a:lnTo>
                  <a:lnTo>
                    <a:pt x="75" y="351"/>
                  </a:lnTo>
                  <a:lnTo>
                    <a:pt x="70" y="351"/>
                  </a:lnTo>
                  <a:lnTo>
                    <a:pt x="68" y="349"/>
                  </a:lnTo>
                  <a:lnTo>
                    <a:pt x="61" y="347"/>
                  </a:lnTo>
                  <a:lnTo>
                    <a:pt x="61" y="347"/>
                  </a:lnTo>
                  <a:lnTo>
                    <a:pt x="61" y="347"/>
                  </a:lnTo>
                  <a:lnTo>
                    <a:pt x="59" y="344"/>
                  </a:lnTo>
                  <a:lnTo>
                    <a:pt x="57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40"/>
                  </a:lnTo>
                  <a:lnTo>
                    <a:pt x="54" y="340"/>
                  </a:lnTo>
                  <a:lnTo>
                    <a:pt x="57" y="340"/>
                  </a:lnTo>
                  <a:lnTo>
                    <a:pt x="57" y="338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59" y="336"/>
                  </a:lnTo>
                  <a:lnTo>
                    <a:pt x="61" y="336"/>
                  </a:lnTo>
                  <a:lnTo>
                    <a:pt x="61" y="333"/>
                  </a:lnTo>
                  <a:lnTo>
                    <a:pt x="59" y="333"/>
                  </a:lnTo>
                  <a:lnTo>
                    <a:pt x="59" y="333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9" y="331"/>
                  </a:lnTo>
                  <a:lnTo>
                    <a:pt x="57" y="331"/>
                  </a:lnTo>
                  <a:lnTo>
                    <a:pt x="57" y="331"/>
                  </a:lnTo>
                  <a:lnTo>
                    <a:pt x="57" y="329"/>
                  </a:lnTo>
                  <a:lnTo>
                    <a:pt x="54" y="329"/>
                  </a:lnTo>
                  <a:lnTo>
                    <a:pt x="54" y="329"/>
                  </a:lnTo>
                  <a:lnTo>
                    <a:pt x="52" y="329"/>
                  </a:lnTo>
                  <a:lnTo>
                    <a:pt x="50" y="329"/>
                  </a:lnTo>
                  <a:lnTo>
                    <a:pt x="50" y="327"/>
                  </a:lnTo>
                  <a:lnTo>
                    <a:pt x="50" y="327"/>
                  </a:lnTo>
                  <a:lnTo>
                    <a:pt x="50" y="327"/>
                  </a:lnTo>
                  <a:lnTo>
                    <a:pt x="50" y="327"/>
                  </a:lnTo>
                  <a:lnTo>
                    <a:pt x="50" y="327"/>
                  </a:lnTo>
                  <a:lnTo>
                    <a:pt x="50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48" y="324"/>
                  </a:lnTo>
                  <a:lnTo>
                    <a:pt x="50" y="322"/>
                  </a:lnTo>
                  <a:lnTo>
                    <a:pt x="50" y="322"/>
                  </a:lnTo>
                  <a:lnTo>
                    <a:pt x="50" y="322"/>
                  </a:lnTo>
                  <a:lnTo>
                    <a:pt x="50" y="322"/>
                  </a:lnTo>
                  <a:lnTo>
                    <a:pt x="50" y="322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50" y="320"/>
                  </a:lnTo>
                  <a:lnTo>
                    <a:pt x="48" y="320"/>
                  </a:lnTo>
                  <a:lnTo>
                    <a:pt x="48" y="320"/>
                  </a:lnTo>
                  <a:lnTo>
                    <a:pt x="45" y="320"/>
                  </a:lnTo>
                  <a:lnTo>
                    <a:pt x="43" y="320"/>
                  </a:lnTo>
                  <a:lnTo>
                    <a:pt x="41" y="318"/>
                  </a:lnTo>
                  <a:lnTo>
                    <a:pt x="41" y="315"/>
                  </a:lnTo>
                  <a:lnTo>
                    <a:pt x="39" y="315"/>
                  </a:lnTo>
                  <a:lnTo>
                    <a:pt x="39" y="313"/>
                  </a:lnTo>
                  <a:lnTo>
                    <a:pt x="39" y="313"/>
                  </a:lnTo>
                  <a:lnTo>
                    <a:pt x="41" y="313"/>
                  </a:lnTo>
                  <a:lnTo>
                    <a:pt x="43" y="313"/>
                  </a:lnTo>
                  <a:lnTo>
                    <a:pt x="43" y="313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3" y="311"/>
                  </a:lnTo>
                  <a:lnTo>
                    <a:pt x="41" y="311"/>
                  </a:lnTo>
                  <a:lnTo>
                    <a:pt x="39" y="311"/>
                  </a:lnTo>
                  <a:lnTo>
                    <a:pt x="39" y="309"/>
                  </a:lnTo>
                  <a:lnTo>
                    <a:pt x="39" y="309"/>
                  </a:lnTo>
                  <a:lnTo>
                    <a:pt x="41" y="309"/>
                  </a:lnTo>
                  <a:lnTo>
                    <a:pt x="41" y="306"/>
                  </a:lnTo>
                  <a:lnTo>
                    <a:pt x="39" y="304"/>
                  </a:lnTo>
                  <a:lnTo>
                    <a:pt x="39" y="304"/>
                  </a:lnTo>
                  <a:lnTo>
                    <a:pt x="39" y="304"/>
                  </a:lnTo>
                  <a:lnTo>
                    <a:pt x="39" y="304"/>
                  </a:lnTo>
                  <a:lnTo>
                    <a:pt x="41" y="302"/>
                  </a:lnTo>
                  <a:lnTo>
                    <a:pt x="41" y="302"/>
                  </a:lnTo>
                  <a:lnTo>
                    <a:pt x="41" y="302"/>
                  </a:lnTo>
                  <a:lnTo>
                    <a:pt x="39" y="302"/>
                  </a:lnTo>
                  <a:lnTo>
                    <a:pt x="39" y="302"/>
                  </a:lnTo>
                  <a:lnTo>
                    <a:pt x="39" y="302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2"/>
                  </a:lnTo>
                  <a:lnTo>
                    <a:pt x="45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1" y="295"/>
                  </a:lnTo>
                  <a:lnTo>
                    <a:pt x="41" y="295"/>
                  </a:lnTo>
                  <a:lnTo>
                    <a:pt x="41" y="295"/>
                  </a:lnTo>
                  <a:lnTo>
                    <a:pt x="41" y="293"/>
                  </a:lnTo>
                  <a:lnTo>
                    <a:pt x="39" y="293"/>
                  </a:lnTo>
                  <a:lnTo>
                    <a:pt x="39" y="291"/>
                  </a:lnTo>
                  <a:lnTo>
                    <a:pt x="39" y="291"/>
                  </a:lnTo>
                  <a:lnTo>
                    <a:pt x="36" y="291"/>
                  </a:lnTo>
                  <a:lnTo>
                    <a:pt x="34" y="288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4"/>
                  </a:lnTo>
                  <a:lnTo>
                    <a:pt x="32" y="284"/>
                  </a:lnTo>
                  <a:lnTo>
                    <a:pt x="30" y="282"/>
                  </a:lnTo>
                  <a:lnTo>
                    <a:pt x="27" y="282"/>
                  </a:lnTo>
                  <a:lnTo>
                    <a:pt x="27" y="282"/>
                  </a:lnTo>
                  <a:lnTo>
                    <a:pt x="27" y="282"/>
                  </a:lnTo>
                  <a:lnTo>
                    <a:pt x="27" y="282"/>
                  </a:lnTo>
                  <a:lnTo>
                    <a:pt x="27" y="282"/>
                  </a:lnTo>
                  <a:lnTo>
                    <a:pt x="27" y="279"/>
                  </a:lnTo>
                  <a:lnTo>
                    <a:pt x="23" y="277"/>
                  </a:lnTo>
                  <a:lnTo>
                    <a:pt x="21" y="275"/>
                  </a:lnTo>
                  <a:lnTo>
                    <a:pt x="21" y="273"/>
                  </a:lnTo>
                  <a:lnTo>
                    <a:pt x="21" y="273"/>
                  </a:lnTo>
                  <a:lnTo>
                    <a:pt x="21" y="273"/>
                  </a:lnTo>
                  <a:lnTo>
                    <a:pt x="21" y="273"/>
                  </a:lnTo>
                  <a:lnTo>
                    <a:pt x="25" y="268"/>
                  </a:lnTo>
                  <a:lnTo>
                    <a:pt x="25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7" y="268"/>
                  </a:lnTo>
                  <a:lnTo>
                    <a:pt x="27" y="266"/>
                  </a:lnTo>
                  <a:lnTo>
                    <a:pt x="32" y="264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27" y="257"/>
                  </a:lnTo>
                  <a:lnTo>
                    <a:pt x="25" y="257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8" y="250"/>
                  </a:lnTo>
                  <a:lnTo>
                    <a:pt x="9" y="250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5" y="243"/>
                  </a:lnTo>
                  <a:lnTo>
                    <a:pt x="5" y="243"/>
                  </a:lnTo>
                  <a:lnTo>
                    <a:pt x="5" y="241"/>
                  </a:lnTo>
                  <a:lnTo>
                    <a:pt x="5" y="241"/>
                  </a:lnTo>
                  <a:lnTo>
                    <a:pt x="5" y="241"/>
                  </a:lnTo>
                  <a:lnTo>
                    <a:pt x="7" y="239"/>
                  </a:lnTo>
                  <a:lnTo>
                    <a:pt x="7" y="237"/>
                  </a:lnTo>
                  <a:lnTo>
                    <a:pt x="7" y="237"/>
                  </a:lnTo>
                  <a:lnTo>
                    <a:pt x="7" y="234"/>
                  </a:lnTo>
                  <a:lnTo>
                    <a:pt x="5" y="234"/>
                  </a:lnTo>
                  <a:lnTo>
                    <a:pt x="3" y="234"/>
                  </a:lnTo>
                  <a:lnTo>
                    <a:pt x="3" y="234"/>
                  </a:lnTo>
                  <a:lnTo>
                    <a:pt x="3" y="234"/>
                  </a:lnTo>
                  <a:lnTo>
                    <a:pt x="0" y="234"/>
                  </a:lnTo>
                  <a:lnTo>
                    <a:pt x="3" y="234"/>
                  </a:lnTo>
                  <a:lnTo>
                    <a:pt x="5" y="232"/>
                  </a:lnTo>
                  <a:lnTo>
                    <a:pt x="7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9" y="232"/>
                  </a:lnTo>
                  <a:lnTo>
                    <a:pt x="12" y="232"/>
                  </a:lnTo>
                  <a:lnTo>
                    <a:pt x="12" y="232"/>
                  </a:lnTo>
                  <a:lnTo>
                    <a:pt x="12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30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8"/>
                  </a:lnTo>
                  <a:lnTo>
                    <a:pt x="14" y="225"/>
                  </a:lnTo>
                  <a:lnTo>
                    <a:pt x="14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21" y="225"/>
                  </a:lnTo>
                  <a:lnTo>
                    <a:pt x="23" y="225"/>
                  </a:lnTo>
                  <a:lnTo>
                    <a:pt x="23" y="225"/>
                  </a:lnTo>
                  <a:lnTo>
                    <a:pt x="23" y="225"/>
                  </a:lnTo>
                  <a:lnTo>
                    <a:pt x="23" y="225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3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5" y="221"/>
                  </a:lnTo>
                  <a:lnTo>
                    <a:pt x="23" y="219"/>
                  </a:lnTo>
                  <a:lnTo>
                    <a:pt x="23" y="219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9"/>
                  </a:lnTo>
                  <a:lnTo>
                    <a:pt x="27" y="221"/>
                  </a:lnTo>
                  <a:lnTo>
                    <a:pt x="30" y="221"/>
                  </a:lnTo>
                  <a:lnTo>
                    <a:pt x="30" y="221"/>
                  </a:lnTo>
                  <a:lnTo>
                    <a:pt x="34" y="221"/>
                  </a:lnTo>
                  <a:lnTo>
                    <a:pt x="36" y="221"/>
                  </a:lnTo>
                  <a:lnTo>
                    <a:pt x="36" y="221"/>
                  </a:lnTo>
                  <a:lnTo>
                    <a:pt x="36" y="221"/>
                  </a:lnTo>
                  <a:lnTo>
                    <a:pt x="36" y="221"/>
                  </a:lnTo>
                  <a:lnTo>
                    <a:pt x="36" y="219"/>
                  </a:lnTo>
                  <a:lnTo>
                    <a:pt x="34" y="219"/>
                  </a:lnTo>
                  <a:lnTo>
                    <a:pt x="34" y="219"/>
                  </a:lnTo>
                  <a:lnTo>
                    <a:pt x="34" y="219"/>
                  </a:lnTo>
                  <a:lnTo>
                    <a:pt x="34" y="219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6" y="216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39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1" y="221"/>
                  </a:lnTo>
                  <a:lnTo>
                    <a:pt x="43" y="221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3" y="219"/>
                  </a:lnTo>
                  <a:lnTo>
                    <a:pt x="45" y="219"/>
                  </a:lnTo>
                  <a:lnTo>
                    <a:pt x="45" y="219"/>
                  </a:lnTo>
                  <a:lnTo>
                    <a:pt x="45" y="219"/>
                  </a:lnTo>
                  <a:lnTo>
                    <a:pt x="45" y="219"/>
                  </a:lnTo>
                  <a:lnTo>
                    <a:pt x="50" y="219"/>
                  </a:lnTo>
                  <a:lnTo>
                    <a:pt x="50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6"/>
                  </a:lnTo>
                  <a:lnTo>
                    <a:pt x="48" y="214"/>
                  </a:lnTo>
                  <a:lnTo>
                    <a:pt x="48" y="214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50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2" y="216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4"/>
                  </a:lnTo>
                  <a:lnTo>
                    <a:pt x="50" y="212"/>
                  </a:lnTo>
                  <a:lnTo>
                    <a:pt x="50" y="212"/>
                  </a:lnTo>
                  <a:lnTo>
                    <a:pt x="50" y="212"/>
                  </a:lnTo>
                  <a:lnTo>
                    <a:pt x="52" y="214"/>
                  </a:lnTo>
                  <a:lnTo>
                    <a:pt x="54" y="214"/>
                  </a:lnTo>
                  <a:lnTo>
                    <a:pt x="54" y="214"/>
                  </a:lnTo>
                  <a:lnTo>
                    <a:pt x="57" y="214"/>
                  </a:lnTo>
                  <a:lnTo>
                    <a:pt x="57" y="214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61" y="216"/>
                  </a:lnTo>
                  <a:lnTo>
                    <a:pt x="63" y="216"/>
                  </a:lnTo>
                  <a:lnTo>
                    <a:pt x="66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70" y="219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8" y="221"/>
                  </a:lnTo>
                  <a:lnTo>
                    <a:pt x="66" y="221"/>
                  </a:lnTo>
                  <a:lnTo>
                    <a:pt x="59" y="219"/>
                  </a:lnTo>
                  <a:lnTo>
                    <a:pt x="59" y="219"/>
                  </a:lnTo>
                  <a:lnTo>
                    <a:pt x="59" y="219"/>
                  </a:lnTo>
                  <a:lnTo>
                    <a:pt x="59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54" y="216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4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4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4" y="221"/>
                  </a:lnTo>
                  <a:lnTo>
                    <a:pt x="54" y="221"/>
                  </a:lnTo>
                  <a:lnTo>
                    <a:pt x="54" y="221"/>
                  </a:lnTo>
                  <a:lnTo>
                    <a:pt x="57" y="221"/>
                  </a:lnTo>
                  <a:lnTo>
                    <a:pt x="57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59" y="221"/>
                  </a:lnTo>
                  <a:lnTo>
                    <a:pt x="61" y="221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59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8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8" y="223"/>
                  </a:lnTo>
                  <a:lnTo>
                    <a:pt x="68" y="223"/>
                  </a:lnTo>
                  <a:lnTo>
                    <a:pt x="70" y="223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72" y="223"/>
                  </a:lnTo>
                  <a:lnTo>
                    <a:pt x="72" y="223"/>
                  </a:lnTo>
                  <a:lnTo>
                    <a:pt x="75" y="223"/>
                  </a:lnTo>
                  <a:lnTo>
                    <a:pt x="75" y="223"/>
                  </a:lnTo>
                  <a:lnTo>
                    <a:pt x="75" y="223"/>
                  </a:lnTo>
                  <a:lnTo>
                    <a:pt x="75" y="223"/>
                  </a:lnTo>
                  <a:lnTo>
                    <a:pt x="75" y="223"/>
                  </a:lnTo>
                  <a:lnTo>
                    <a:pt x="75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5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7" y="225"/>
                  </a:lnTo>
                  <a:lnTo>
                    <a:pt x="77" y="225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5" y="225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5" y="225"/>
                  </a:lnTo>
                  <a:lnTo>
                    <a:pt x="77" y="228"/>
                  </a:lnTo>
                  <a:lnTo>
                    <a:pt x="77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8"/>
                  </a:lnTo>
                  <a:lnTo>
                    <a:pt x="77" y="228"/>
                  </a:lnTo>
                  <a:lnTo>
                    <a:pt x="77" y="228"/>
                  </a:lnTo>
                  <a:lnTo>
                    <a:pt x="77" y="228"/>
                  </a:lnTo>
                  <a:lnTo>
                    <a:pt x="79" y="228"/>
                  </a:lnTo>
                  <a:lnTo>
                    <a:pt x="77" y="228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2" y="230"/>
                  </a:lnTo>
                  <a:lnTo>
                    <a:pt x="72" y="230"/>
                  </a:lnTo>
                  <a:lnTo>
                    <a:pt x="72" y="230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4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7" y="230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3" y="228"/>
                  </a:lnTo>
                  <a:lnTo>
                    <a:pt x="93" y="228"/>
                  </a:lnTo>
                  <a:lnTo>
                    <a:pt x="93" y="228"/>
                  </a:lnTo>
                  <a:lnTo>
                    <a:pt x="95" y="228"/>
                  </a:lnTo>
                  <a:lnTo>
                    <a:pt x="95" y="228"/>
                  </a:lnTo>
                  <a:lnTo>
                    <a:pt x="95" y="228"/>
                  </a:lnTo>
                  <a:lnTo>
                    <a:pt x="99" y="228"/>
                  </a:lnTo>
                  <a:lnTo>
                    <a:pt x="99" y="228"/>
                  </a:lnTo>
                  <a:lnTo>
                    <a:pt x="99" y="228"/>
                  </a:lnTo>
                  <a:lnTo>
                    <a:pt x="99" y="228"/>
                  </a:lnTo>
                  <a:lnTo>
                    <a:pt x="99" y="228"/>
                  </a:lnTo>
                  <a:lnTo>
                    <a:pt x="99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2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8"/>
                  </a:lnTo>
                  <a:lnTo>
                    <a:pt x="104" y="228"/>
                  </a:lnTo>
                  <a:lnTo>
                    <a:pt x="106" y="228"/>
                  </a:lnTo>
                  <a:lnTo>
                    <a:pt x="113" y="228"/>
                  </a:lnTo>
                  <a:lnTo>
                    <a:pt x="113" y="228"/>
                  </a:lnTo>
                  <a:lnTo>
                    <a:pt x="115" y="228"/>
                  </a:lnTo>
                  <a:lnTo>
                    <a:pt x="115" y="230"/>
                  </a:lnTo>
                  <a:lnTo>
                    <a:pt x="115" y="230"/>
                  </a:lnTo>
                  <a:lnTo>
                    <a:pt x="117" y="230"/>
                  </a:lnTo>
                  <a:lnTo>
                    <a:pt x="117" y="230"/>
                  </a:lnTo>
                  <a:lnTo>
                    <a:pt x="117" y="230"/>
                  </a:lnTo>
                  <a:lnTo>
                    <a:pt x="117" y="230"/>
                  </a:lnTo>
                  <a:lnTo>
                    <a:pt x="117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2" y="232"/>
                  </a:lnTo>
                  <a:lnTo>
                    <a:pt x="124" y="232"/>
                  </a:lnTo>
                  <a:lnTo>
                    <a:pt x="129" y="232"/>
                  </a:lnTo>
                  <a:lnTo>
                    <a:pt x="129" y="232"/>
                  </a:lnTo>
                  <a:lnTo>
                    <a:pt x="129" y="232"/>
                  </a:lnTo>
                  <a:lnTo>
                    <a:pt x="129" y="232"/>
                  </a:lnTo>
                  <a:lnTo>
                    <a:pt x="129" y="232"/>
                  </a:lnTo>
                  <a:lnTo>
                    <a:pt x="129" y="232"/>
                  </a:lnTo>
                  <a:lnTo>
                    <a:pt x="129" y="232"/>
                  </a:lnTo>
                  <a:lnTo>
                    <a:pt x="129" y="234"/>
                  </a:lnTo>
                  <a:lnTo>
                    <a:pt x="129" y="234"/>
                  </a:lnTo>
                  <a:lnTo>
                    <a:pt x="131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7" y="234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37" y="237"/>
                  </a:lnTo>
                  <a:lnTo>
                    <a:pt x="140" y="237"/>
                  </a:lnTo>
                  <a:lnTo>
                    <a:pt x="140" y="237"/>
                  </a:lnTo>
                  <a:lnTo>
                    <a:pt x="140" y="237"/>
                  </a:lnTo>
                  <a:lnTo>
                    <a:pt x="140" y="237"/>
                  </a:lnTo>
                  <a:lnTo>
                    <a:pt x="140" y="237"/>
                  </a:lnTo>
                  <a:lnTo>
                    <a:pt x="142" y="237"/>
                  </a:lnTo>
                  <a:lnTo>
                    <a:pt x="142" y="237"/>
                  </a:lnTo>
                  <a:lnTo>
                    <a:pt x="142" y="237"/>
                  </a:lnTo>
                  <a:lnTo>
                    <a:pt x="142" y="237"/>
                  </a:lnTo>
                  <a:lnTo>
                    <a:pt x="142" y="237"/>
                  </a:lnTo>
                  <a:lnTo>
                    <a:pt x="142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6" y="239"/>
                  </a:lnTo>
                  <a:lnTo>
                    <a:pt x="146" y="239"/>
                  </a:lnTo>
                  <a:lnTo>
                    <a:pt x="149" y="241"/>
                  </a:lnTo>
                  <a:lnTo>
                    <a:pt x="151" y="241"/>
                  </a:lnTo>
                  <a:lnTo>
                    <a:pt x="151" y="241"/>
                  </a:lnTo>
                  <a:lnTo>
                    <a:pt x="151" y="241"/>
                  </a:lnTo>
                  <a:lnTo>
                    <a:pt x="151" y="241"/>
                  </a:lnTo>
                  <a:lnTo>
                    <a:pt x="151" y="241"/>
                  </a:lnTo>
                  <a:lnTo>
                    <a:pt x="151" y="241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5" y="243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2" y="246"/>
                  </a:lnTo>
                  <a:lnTo>
                    <a:pt x="164" y="246"/>
                  </a:lnTo>
                  <a:lnTo>
                    <a:pt x="162" y="246"/>
                  </a:lnTo>
                  <a:lnTo>
                    <a:pt x="162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2" y="246"/>
                  </a:lnTo>
                  <a:lnTo>
                    <a:pt x="160" y="246"/>
                  </a:lnTo>
                  <a:lnTo>
                    <a:pt x="160" y="246"/>
                  </a:lnTo>
                  <a:lnTo>
                    <a:pt x="162" y="246"/>
                  </a:lnTo>
                  <a:lnTo>
                    <a:pt x="162" y="246"/>
                  </a:lnTo>
                  <a:lnTo>
                    <a:pt x="164" y="246"/>
                  </a:lnTo>
                  <a:lnTo>
                    <a:pt x="164" y="246"/>
                  </a:lnTo>
                  <a:lnTo>
                    <a:pt x="167" y="246"/>
                  </a:lnTo>
                  <a:lnTo>
                    <a:pt x="167" y="246"/>
                  </a:lnTo>
                  <a:lnTo>
                    <a:pt x="167" y="246"/>
                  </a:lnTo>
                  <a:lnTo>
                    <a:pt x="167" y="246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9" y="248"/>
                  </a:lnTo>
                  <a:lnTo>
                    <a:pt x="171" y="250"/>
                  </a:lnTo>
                  <a:lnTo>
                    <a:pt x="173" y="250"/>
                  </a:lnTo>
                  <a:lnTo>
                    <a:pt x="178" y="250"/>
                  </a:lnTo>
                  <a:lnTo>
                    <a:pt x="178" y="250"/>
                  </a:lnTo>
                  <a:lnTo>
                    <a:pt x="180" y="252"/>
                  </a:lnTo>
                  <a:lnTo>
                    <a:pt x="180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2" y="250"/>
                  </a:lnTo>
                  <a:lnTo>
                    <a:pt x="182" y="250"/>
                  </a:lnTo>
                  <a:lnTo>
                    <a:pt x="182" y="250"/>
                  </a:lnTo>
                  <a:lnTo>
                    <a:pt x="182" y="250"/>
                  </a:lnTo>
                  <a:lnTo>
                    <a:pt x="182" y="250"/>
                  </a:lnTo>
                  <a:lnTo>
                    <a:pt x="185" y="250"/>
                  </a:lnTo>
                  <a:lnTo>
                    <a:pt x="185" y="252"/>
                  </a:lnTo>
                  <a:lnTo>
                    <a:pt x="185" y="252"/>
                  </a:lnTo>
                  <a:lnTo>
                    <a:pt x="185" y="252"/>
                  </a:lnTo>
                  <a:lnTo>
                    <a:pt x="185" y="252"/>
                  </a:lnTo>
                  <a:lnTo>
                    <a:pt x="187" y="252"/>
                  </a:lnTo>
                  <a:lnTo>
                    <a:pt x="187" y="252"/>
                  </a:lnTo>
                  <a:lnTo>
                    <a:pt x="187" y="252"/>
                  </a:lnTo>
                  <a:lnTo>
                    <a:pt x="187" y="252"/>
                  </a:lnTo>
                  <a:lnTo>
                    <a:pt x="189" y="255"/>
                  </a:lnTo>
                  <a:lnTo>
                    <a:pt x="189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5"/>
                  </a:lnTo>
                  <a:lnTo>
                    <a:pt x="191" y="257"/>
                  </a:lnTo>
                  <a:lnTo>
                    <a:pt x="194" y="257"/>
                  </a:lnTo>
                  <a:lnTo>
                    <a:pt x="194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6" y="257"/>
                  </a:lnTo>
                  <a:lnTo>
                    <a:pt x="198" y="257"/>
                  </a:lnTo>
                  <a:lnTo>
                    <a:pt x="198" y="257"/>
                  </a:lnTo>
                  <a:lnTo>
                    <a:pt x="198" y="257"/>
                  </a:lnTo>
                  <a:lnTo>
                    <a:pt x="200" y="259"/>
                  </a:lnTo>
                  <a:lnTo>
                    <a:pt x="200" y="259"/>
                  </a:lnTo>
                  <a:lnTo>
                    <a:pt x="200" y="257"/>
                  </a:lnTo>
                  <a:lnTo>
                    <a:pt x="203" y="259"/>
                  </a:lnTo>
                  <a:lnTo>
                    <a:pt x="203" y="259"/>
                  </a:lnTo>
                  <a:lnTo>
                    <a:pt x="203" y="259"/>
                  </a:lnTo>
                  <a:lnTo>
                    <a:pt x="205" y="259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3" y="261"/>
                  </a:lnTo>
                  <a:lnTo>
                    <a:pt x="203" y="261"/>
                  </a:lnTo>
                  <a:lnTo>
                    <a:pt x="203" y="261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5" y="264"/>
                  </a:lnTo>
                  <a:lnTo>
                    <a:pt x="205" y="264"/>
                  </a:lnTo>
                  <a:lnTo>
                    <a:pt x="205" y="264"/>
                  </a:lnTo>
                  <a:lnTo>
                    <a:pt x="205" y="264"/>
                  </a:lnTo>
                  <a:lnTo>
                    <a:pt x="205" y="264"/>
                  </a:lnTo>
                  <a:lnTo>
                    <a:pt x="207" y="264"/>
                  </a:lnTo>
                  <a:lnTo>
                    <a:pt x="207" y="264"/>
                  </a:lnTo>
                  <a:lnTo>
                    <a:pt x="207" y="264"/>
                  </a:lnTo>
                  <a:lnTo>
                    <a:pt x="207" y="264"/>
                  </a:lnTo>
                  <a:lnTo>
                    <a:pt x="207" y="266"/>
                  </a:lnTo>
                  <a:lnTo>
                    <a:pt x="207" y="266"/>
                  </a:lnTo>
                  <a:lnTo>
                    <a:pt x="207" y="266"/>
                  </a:lnTo>
                  <a:lnTo>
                    <a:pt x="207" y="266"/>
                  </a:lnTo>
                  <a:lnTo>
                    <a:pt x="207" y="268"/>
                  </a:lnTo>
                  <a:lnTo>
                    <a:pt x="207" y="268"/>
                  </a:lnTo>
                  <a:lnTo>
                    <a:pt x="207" y="268"/>
                  </a:lnTo>
                  <a:lnTo>
                    <a:pt x="209" y="268"/>
                  </a:lnTo>
                  <a:lnTo>
                    <a:pt x="209" y="268"/>
                  </a:lnTo>
                  <a:lnTo>
                    <a:pt x="209" y="268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12" y="268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4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0"/>
                  </a:lnTo>
                  <a:lnTo>
                    <a:pt x="212" y="273"/>
                  </a:lnTo>
                  <a:lnTo>
                    <a:pt x="214" y="273"/>
                  </a:lnTo>
                  <a:lnTo>
                    <a:pt x="214" y="273"/>
                  </a:lnTo>
                  <a:lnTo>
                    <a:pt x="214" y="273"/>
                  </a:lnTo>
                  <a:lnTo>
                    <a:pt x="214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12" y="275"/>
                  </a:lnTo>
                  <a:lnTo>
                    <a:pt x="212" y="275"/>
                  </a:lnTo>
                  <a:lnTo>
                    <a:pt x="212" y="277"/>
                  </a:lnTo>
                  <a:lnTo>
                    <a:pt x="212" y="277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7" y="282"/>
                  </a:lnTo>
                  <a:lnTo>
                    <a:pt x="205" y="284"/>
                  </a:lnTo>
                  <a:lnTo>
                    <a:pt x="205" y="284"/>
                  </a:lnTo>
                  <a:lnTo>
                    <a:pt x="205" y="284"/>
                  </a:lnTo>
                  <a:lnTo>
                    <a:pt x="205" y="284"/>
                  </a:lnTo>
                  <a:lnTo>
                    <a:pt x="205" y="284"/>
                  </a:lnTo>
                  <a:lnTo>
                    <a:pt x="203" y="284"/>
                  </a:lnTo>
                  <a:lnTo>
                    <a:pt x="203" y="286"/>
                  </a:lnTo>
                  <a:lnTo>
                    <a:pt x="203" y="286"/>
                  </a:lnTo>
                  <a:lnTo>
                    <a:pt x="200" y="286"/>
                  </a:lnTo>
                  <a:lnTo>
                    <a:pt x="198" y="286"/>
                  </a:lnTo>
                  <a:lnTo>
                    <a:pt x="198" y="288"/>
                  </a:lnTo>
                  <a:lnTo>
                    <a:pt x="194" y="288"/>
                  </a:lnTo>
                  <a:lnTo>
                    <a:pt x="194" y="288"/>
                  </a:lnTo>
                  <a:lnTo>
                    <a:pt x="194" y="288"/>
                  </a:lnTo>
                  <a:lnTo>
                    <a:pt x="194" y="288"/>
                  </a:lnTo>
                  <a:lnTo>
                    <a:pt x="189" y="291"/>
                  </a:lnTo>
                  <a:lnTo>
                    <a:pt x="189" y="291"/>
                  </a:lnTo>
                  <a:lnTo>
                    <a:pt x="187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2" y="291"/>
                  </a:lnTo>
                  <a:lnTo>
                    <a:pt x="180" y="291"/>
                  </a:lnTo>
                  <a:lnTo>
                    <a:pt x="176" y="293"/>
                  </a:lnTo>
                  <a:lnTo>
                    <a:pt x="164" y="293"/>
                  </a:lnTo>
                  <a:lnTo>
                    <a:pt x="164" y="291"/>
                  </a:lnTo>
                  <a:lnTo>
                    <a:pt x="160" y="291"/>
                  </a:lnTo>
                  <a:lnTo>
                    <a:pt x="160" y="291"/>
                  </a:lnTo>
                  <a:lnTo>
                    <a:pt x="158" y="291"/>
                  </a:lnTo>
                  <a:lnTo>
                    <a:pt x="155" y="288"/>
                  </a:lnTo>
                  <a:lnTo>
                    <a:pt x="153" y="288"/>
                  </a:lnTo>
                  <a:lnTo>
                    <a:pt x="149" y="288"/>
                  </a:lnTo>
                  <a:lnTo>
                    <a:pt x="146" y="288"/>
                  </a:lnTo>
                  <a:lnTo>
                    <a:pt x="146" y="288"/>
                  </a:lnTo>
                  <a:lnTo>
                    <a:pt x="144" y="288"/>
                  </a:lnTo>
                  <a:lnTo>
                    <a:pt x="142" y="288"/>
                  </a:lnTo>
                  <a:lnTo>
                    <a:pt x="140" y="288"/>
                  </a:lnTo>
                  <a:lnTo>
                    <a:pt x="137" y="286"/>
                  </a:lnTo>
                  <a:lnTo>
                    <a:pt x="131" y="286"/>
                  </a:lnTo>
                  <a:lnTo>
                    <a:pt x="129" y="286"/>
                  </a:lnTo>
                  <a:lnTo>
                    <a:pt x="126" y="286"/>
                  </a:lnTo>
                  <a:lnTo>
                    <a:pt x="124" y="284"/>
                  </a:lnTo>
                  <a:lnTo>
                    <a:pt x="122" y="284"/>
                  </a:lnTo>
                  <a:lnTo>
                    <a:pt x="120" y="284"/>
                  </a:lnTo>
                  <a:lnTo>
                    <a:pt x="120" y="284"/>
                  </a:lnTo>
                  <a:lnTo>
                    <a:pt x="115" y="282"/>
                  </a:lnTo>
                  <a:lnTo>
                    <a:pt x="113" y="282"/>
                  </a:lnTo>
                  <a:lnTo>
                    <a:pt x="113" y="282"/>
                  </a:lnTo>
                  <a:lnTo>
                    <a:pt x="111" y="282"/>
                  </a:lnTo>
                  <a:lnTo>
                    <a:pt x="111" y="282"/>
                  </a:lnTo>
                  <a:lnTo>
                    <a:pt x="108" y="282"/>
                  </a:lnTo>
                  <a:lnTo>
                    <a:pt x="108" y="282"/>
                  </a:lnTo>
                  <a:lnTo>
                    <a:pt x="108" y="282"/>
                  </a:lnTo>
                  <a:lnTo>
                    <a:pt x="106" y="282"/>
                  </a:lnTo>
                  <a:lnTo>
                    <a:pt x="106" y="282"/>
                  </a:lnTo>
                  <a:lnTo>
                    <a:pt x="106" y="282"/>
                  </a:lnTo>
                  <a:lnTo>
                    <a:pt x="106" y="279"/>
                  </a:lnTo>
                  <a:lnTo>
                    <a:pt x="106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4" y="279"/>
                  </a:lnTo>
                  <a:lnTo>
                    <a:pt x="104" y="279"/>
                  </a:lnTo>
                  <a:lnTo>
                    <a:pt x="104" y="279"/>
                  </a:lnTo>
                  <a:lnTo>
                    <a:pt x="104" y="279"/>
                  </a:lnTo>
                  <a:lnTo>
                    <a:pt x="104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7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102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7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5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7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93" y="279"/>
                  </a:lnTo>
                  <a:lnTo>
                    <a:pt x="86" y="275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3"/>
                  </a:lnTo>
                  <a:lnTo>
                    <a:pt x="79" y="273"/>
                  </a:lnTo>
                  <a:lnTo>
                    <a:pt x="79" y="273"/>
                  </a:lnTo>
                  <a:lnTo>
                    <a:pt x="79" y="273"/>
                  </a:lnTo>
                  <a:lnTo>
                    <a:pt x="79" y="273"/>
                  </a:lnTo>
                  <a:lnTo>
                    <a:pt x="81" y="270"/>
                  </a:lnTo>
                  <a:lnTo>
                    <a:pt x="81" y="270"/>
                  </a:lnTo>
                  <a:lnTo>
                    <a:pt x="81" y="270"/>
                  </a:lnTo>
                  <a:lnTo>
                    <a:pt x="79" y="270"/>
                  </a:lnTo>
                  <a:lnTo>
                    <a:pt x="79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8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0" y="270"/>
                  </a:lnTo>
                  <a:lnTo>
                    <a:pt x="72" y="270"/>
                  </a:lnTo>
                  <a:lnTo>
                    <a:pt x="72" y="273"/>
                  </a:lnTo>
                  <a:lnTo>
                    <a:pt x="72" y="270"/>
                  </a:lnTo>
                  <a:lnTo>
                    <a:pt x="72" y="270"/>
                  </a:lnTo>
                  <a:lnTo>
                    <a:pt x="70" y="270"/>
                  </a:lnTo>
                  <a:lnTo>
                    <a:pt x="72" y="273"/>
                  </a:lnTo>
                  <a:lnTo>
                    <a:pt x="72" y="273"/>
                  </a:lnTo>
                  <a:lnTo>
                    <a:pt x="72" y="273"/>
                  </a:lnTo>
                  <a:lnTo>
                    <a:pt x="72" y="273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5" y="273"/>
                  </a:lnTo>
                  <a:lnTo>
                    <a:pt x="77" y="273"/>
                  </a:lnTo>
                  <a:lnTo>
                    <a:pt x="77" y="273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2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5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4" y="277"/>
                  </a:lnTo>
                  <a:lnTo>
                    <a:pt x="84" y="277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90" y="279"/>
                  </a:lnTo>
                  <a:lnTo>
                    <a:pt x="90" y="279"/>
                  </a:lnTo>
                  <a:lnTo>
                    <a:pt x="90" y="282"/>
                  </a:lnTo>
                  <a:lnTo>
                    <a:pt x="90" y="282"/>
                  </a:lnTo>
                  <a:lnTo>
                    <a:pt x="88" y="279"/>
                  </a:lnTo>
                  <a:lnTo>
                    <a:pt x="88" y="279"/>
                  </a:lnTo>
                  <a:lnTo>
                    <a:pt x="86" y="279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4" y="282"/>
                  </a:lnTo>
                  <a:lnTo>
                    <a:pt x="84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2"/>
                  </a:lnTo>
                  <a:lnTo>
                    <a:pt x="93" y="284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4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88" y="282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93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5" y="284"/>
                  </a:lnTo>
                  <a:lnTo>
                    <a:pt x="97" y="284"/>
                  </a:lnTo>
                  <a:lnTo>
                    <a:pt x="97" y="284"/>
                  </a:lnTo>
                  <a:lnTo>
                    <a:pt x="97" y="286"/>
                  </a:lnTo>
                  <a:lnTo>
                    <a:pt x="95" y="284"/>
                  </a:lnTo>
                  <a:lnTo>
                    <a:pt x="95" y="286"/>
                  </a:lnTo>
                  <a:lnTo>
                    <a:pt x="95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5" y="286"/>
                  </a:lnTo>
                  <a:lnTo>
                    <a:pt x="93" y="286"/>
                  </a:lnTo>
                  <a:lnTo>
                    <a:pt x="93" y="286"/>
                  </a:lnTo>
                  <a:lnTo>
                    <a:pt x="90" y="286"/>
                  </a:lnTo>
                  <a:lnTo>
                    <a:pt x="95" y="286"/>
                  </a:lnTo>
                  <a:lnTo>
                    <a:pt x="95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91"/>
                  </a:lnTo>
                  <a:lnTo>
                    <a:pt x="106" y="291"/>
                  </a:lnTo>
                  <a:lnTo>
                    <a:pt x="106" y="291"/>
                  </a:lnTo>
                  <a:lnTo>
                    <a:pt x="106" y="291"/>
                  </a:lnTo>
                  <a:lnTo>
                    <a:pt x="108" y="291"/>
                  </a:lnTo>
                  <a:lnTo>
                    <a:pt x="108" y="291"/>
                  </a:lnTo>
                  <a:lnTo>
                    <a:pt x="108" y="291"/>
                  </a:lnTo>
                  <a:lnTo>
                    <a:pt x="111" y="291"/>
                  </a:lnTo>
                  <a:lnTo>
                    <a:pt x="113" y="293"/>
                  </a:lnTo>
                  <a:lnTo>
                    <a:pt x="113" y="291"/>
                  </a:lnTo>
                  <a:lnTo>
                    <a:pt x="113" y="291"/>
                  </a:lnTo>
                  <a:lnTo>
                    <a:pt x="113" y="293"/>
                  </a:lnTo>
                  <a:lnTo>
                    <a:pt x="113" y="293"/>
                  </a:lnTo>
                  <a:lnTo>
                    <a:pt x="113" y="293"/>
                  </a:lnTo>
                  <a:lnTo>
                    <a:pt x="115" y="293"/>
                  </a:lnTo>
                  <a:lnTo>
                    <a:pt x="115" y="293"/>
                  </a:lnTo>
                  <a:lnTo>
                    <a:pt x="115" y="293"/>
                  </a:lnTo>
                  <a:lnTo>
                    <a:pt x="115" y="293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5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17" y="295"/>
                  </a:lnTo>
                  <a:lnTo>
                    <a:pt x="120" y="295"/>
                  </a:lnTo>
                  <a:lnTo>
                    <a:pt x="117" y="297"/>
                  </a:lnTo>
                  <a:lnTo>
                    <a:pt x="117" y="297"/>
                  </a:lnTo>
                  <a:lnTo>
                    <a:pt x="117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297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2" y="300"/>
                  </a:lnTo>
                  <a:lnTo>
                    <a:pt x="122" y="300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20" y="300"/>
                  </a:lnTo>
                  <a:lnTo>
                    <a:pt x="117" y="297"/>
                  </a:lnTo>
                  <a:lnTo>
                    <a:pt x="117" y="297"/>
                  </a:lnTo>
                  <a:lnTo>
                    <a:pt x="115" y="297"/>
                  </a:lnTo>
                  <a:lnTo>
                    <a:pt x="115" y="297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0"/>
                  </a:lnTo>
                  <a:lnTo>
                    <a:pt x="117" y="302"/>
                  </a:lnTo>
                  <a:lnTo>
                    <a:pt x="117" y="302"/>
                  </a:lnTo>
                  <a:lnTo>
                    <a:pt x="120" y="302"/>
                  </a:lnTo>
                  <a:lnTo>
                    <a:pt x="120" y="302"/>
                  </a:lnTo>
                  <a:lnTo>
                    <a:pt x="120" y="302"/>
                  </a:lnTo>
                  <a:lnTo>
                    <a:pt x="117" y="302"/>
                  </a:lnTo>
                  <a:lnTo>
                    <a:pt x="120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6"/>
                  </a:lnTo>
                  <a:lnTo>
                    <a:pt x="117" y="306"/>
                  </a:lnTo>
                  <a:lnTo>
                    <a:pt x="115" y="304"/>
                  </a:lnTo>
                  <a:lnTo>
                    <a:pt x="115" y="304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6"/>
                  </a:lnTo>
                  <a:lnTo>
                    <a:pt x="115" y="309"/>
                  </a:lnTo>
                  <a:lnTo>
                    <a:pt x="115" y="309"/>
                  </a:lnTo>
                  <a:lnTo>
                    <a:pt x="115" y="309"/>
                  </a:lnTo>
                  <a:lnTo>
                    <a:pt x="115" y="309"/>
                  </a:lnTo>
                  <a:lnTo>
                    <a:pt x="115" y="309"/>
                  </a:lnTo>
                  <a:lnTo>
                    <a:pt x="117" y="309"/>
                  </a:lnTo>
                  <a:lnTo>
                    <a:pt x="117" y="309"/>
                  </a:lnTo>
                  <a:lnTo>
                    <a:pt x="117" y="309"/>
                  </a:lnTo>
                  <a:lnTo>
                    <a:pt x="117" y="309"/>
                  </a:lnTo>
                  <a:lnTo>
                    <a:pt x="117" y="309"/>
                  </a:lnTo>
                  <a:lnTo>
                    <a:pt x="120" y="309"/>
                  </a:lnTo>
                  <a:lnTo>
                    <a:pt x="117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1"/>
                  </a:lnTo>
                  <a:lnTo>
                    <a:pt x="120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2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5"/>
                  </a:lnTo>
                  <a:lnTo>
                    <a:pt x="124" y="318"/>
                  </a:lnTo>
                  <a:lnTo>
                    <a:pt x="124" y="318"/>
                  </a:lnTo>
                  <a:lnTo>
                    <a:pt x="124" y="318"/>
                  </a:lnTo>
                  <a:lnTo>
                    <a:pt x="124" y="318"/>
                  </a:lnTo>
                  <a:lnTo>
                    <a:pt x="124" y="318"/>
                  </a:lnTo>
                  <a:lnTo>
                    <a:pt x="126" y="318"/>
                  </a:lnTo>
                  <a:lnTo>
                    <a:pt x="126" y="318"/>
                  </a:lnTo>
                  <a:lnTo>
                    <a:pt x="126" y="318"/>
                  </a:lnTo>
                  <a:lnTo>
                    <a:pt x="126" y="318"/>
                  </a:lnTo>
                  <a:lnTo>
                    <a:pt x="124" y="318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6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2"/>
                  </a:lnTo>
                  <a:lnTo>
                    <a:pt x="126" y="324"/>
                  </a:lnTo>
                  <a:lnTo>
                    <a:pt x="126" y="324"/>
                  </a:lnTo>
                  <a:lnTo>
                    <a:pt x="126" y="324"/>
                  </a:lnTo>
                  <a:lnTo>
                    <a:pt x="126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26" y="324"/>
                  </a:lnTo>
                  <a:lnTo>
                    <a:pt x="126" y="324"/>
                  </a:lnTo>
                  <a:lnTo>
                    <a:pt x="126" y="324"/>
                  </a:lnTo>
                  <a:lnTo>
                    <a:pt x="126" y="324"/>
                  </a:lnTo>
                  <a:lnTo>
                    <a:pt x="129" y="324"/>
                  </a:lnTo>
                  <a:lnTo>
                    <a:pt x="129" y="324"/>
                  </a:lnTo>
                  <a:lnTo>
                    <a:pt x="129" y="324"/>
                  </a:lnTo>
                  <a:lnTo>
                    <a:pt x="129" y="324"/>
                  </a:lnTo>
                  <a:lnTo>
                    <a:pt x="129" y="327"/>
                  </a:lnTo>
                  <a:lnTo>
                    <a:pt x="131" y="327"/>
                  </a:lnTo>
                  <a:lnTo>
                    <a:pt x="131" y="327"/>
                  </a:lnTo>
                  <a:lnTo>
                    <a:pt x="131" y="327"/>
                  </a:lnTo>
                  <a:lnTo>
                    <a:pt x="131" y="327"/>
                  </a:lnTo>
                  <a:lnTo>
                    <a:pt x="131" y="327"/>
                  </a:lnTo>
                  <a:lnTo>
                    <a:pt x="133" y="327"/>
                  </a:lnTo>
                  <a:lnTo>
                    <a:pt x="133" y="327"/>
                  </a:lnTo>
                  <a:lnTo>
                    <a:pt x="135" y="327"/>
                  </a:lnTo>
                  <a:lnTo>
                    <a:pt x="135" y="329"/>
                  </a:lnTo>
                  <a:lnTo>
                    <a:pt x="135" y="329"/>
                  </a:lnTo>
                  <a:lnTo>
                    <a:pt x="135" y="329"/>
                  </a:lnTo>
                  <a:lnTo>
                    <a:pt x="135" y="329"/>
                  </a:lnTo>
                  <a:lnTo>
                    <a:pt x="135" y="329"/>
                  </a:lnTo>
                  <a:lnTo>
                    <a:pt x="137" y="329"/>
                  </a:lnTo>
                  <a:lnTo>
                    <a:pt x="137" y="329"/>
                  </a:lnTo>
                  <a:lnTo>
                    <a:pt x="137" y="329"/>
                  </a:lnTo>
                  <a:lnTo>
                    <a:pt x="140" y="329"/>
                  </a:lnTo>
                  <a:lnTo>
                    <a:pt x="140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7" y="327"/>
                  </a:lnTo>
                  <a:lnTo>
                    <a:pt x="137" y="327"/>
                  </a:lnTo>
                  <a:lnTo>
                    <a:pt x="137" y="327"/>
                  </a:lnTo>
                  <a:lnTo>
                    <a:pt x="140" y="327"/>
                  </a:lnTo>
                  <a:lnTo>
                    <a:pt x="142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4" y="329"/>
                  </a:lnTo>
                  <a:lnTo>
                    <a:pt x="144" y="331"/>
                  </a:lnTo>
                  <a:lnTo>
                    <a:pt x="144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6" y="331"/>
                  </a:lnTo>
                  <a:lnTo>
                    <a:pt x="149" y="331"/>
                  </a:lnTo>
                  <a:lnTo>
                    <a:pt x="149" y="331"/>
                  </a:lnTo>
                  <a:lnTo>
                    <a:pt x="149" y="331"/>
                  </a:lnTo>
                  <a:lnTo>
                    <a:pt x="149" y="331"/>
                  </a:lnTo>
                  <a:lnTo>
                    <a:pt x="149" y="331"/>
                  </a:lnTo>
                  <a:lnTo>
                    <a:pt x="149" y="331"/>
                  </a:lnTo>
                  <a:lnTo>
                    <a:pt x="151" y="331"/>
                  </a:lnTo>
                  <a:lnTo>
                    <a:pt x="151" y="331"/>
                  </a:lnTo>
                  <a:lnTo>
                    <a:pt x="151" y="331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3" y="333"/>
                  </a:lnTo>
                  <a:lnTo>
                    <a:pt x="151" y="336"/>
                  </a:lnTo>
                  <a:lnTo>
                    <a:pt x="151" y="336"/>
                  </a:lnTo>
                  <a:lnTo>
                    <a:pt x="151" y="336"/>
                  </a:lnTo>
                  <a:lnTo>
                    <a:pt x="153" y="336"/>
                  </a:lnTo>
                  <a:lnTo>
                    <a:pt x="153" y="336"/>
                  </a:lnTo>
                  <a:lnTo>
                    <a:pt x="155" y="336"/>
                  </a:lnTo>
                  <a:lnTo>
                    <a:pt x="155" y="336"/>
                  </a:lnTo>
                  <a:lnTo>
                    <a:pt x="155" y="336"/>
                  </a:lnTo>
                  <a:lnTo>
                    <a:pt x="155" y="336"/>
                  </a:lnTo>
                  <a:lnTo>
                    <a:pt x="158" y="336"/>
                  </a:lnTo>
                  <a:lnTo>
                    <a:pt x="158" y="336"/>
                  </a:lnTo>
                  <a:lnTo>
                    <a:pt x="158" y="336"/>
                  </a:lnTo>
                  <a:lnTo>
                    <a:pt x="158" y="336"/>
                  </a:lnTo>
                  <a:lnTo>
                    <a:pt x="158" y="336"/>
                  </a:lnTo>
                  <a:lnTo>
                    <a:pt x="160" y="338"/>
                  </a:lnTo>
                  <a:lnTo>
                    <a:pt x="160" y="338"/>
                  </a:lnTo>
                  <a:lnTo>
                    <a:pt x="160" y="338"/>
                  </a:lnTo>
                  <a:lnTo>
                    <a:pt x="160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2" y="338"/>
                  </a:lnTo>
                  <a:lnTo>
                    <a:pt x="164" y="338"/>
                  </a:lnTo>
                  <a:lnTo>
                    <a:pt x="164" y="338"/>
                  </a:lnTo>
                  <a:lnTo>
                    <a:pt x="164" y="338"/>
                  </a:lnTo>
                  <a:lnTo>
                    <a:pt x="167" y="338"/>
                  </a:lnTo>
                  <a:lnTo>
                    <a:pt x="167" y="338"/>
                  </a:lnTo>
                  <a:lnTo>
                    <a:pt x="169" y="338"/>
                  </a:lnTo>
                  <a:lnTo>
                    <a:pt x="169" y="338"/>
                  </a:lnTo>
                  <a:lnTo>
                    <a:pt x="169" y="338"/>
                  </a:lnTo>
                  <a:lnTo>
                    <a:pt x="169" y="338"/>
                  </a:lnTo>
                  <a:lnTo>
                    <a:pt x="169" y="340"/>
                  </a:lnTo>
                  <a:lnTo>
                    <a:pt x="169" y="340"/>
                  </a:lnTo>
                  <a:lnTo>
                    <a:pt x="169" y="340"/>
                  </a:lnTo>
                  <a:lnTo>
                    <a:pt x="171" y="340"/>
                  </a:lnTo>
                  <a:lnTo>
                    <a:pt x="173" y="340"/>
                  </a:lnTo>
                  <a:lnTo>
                    <a:pt x="173" y="340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3" y="338"/>
                  </a:lnTo>
                  <a:lnTo>
                    <a:pt x="176" y="338"/>
                  </a:lnTo>
                  <a:lnTo>
                    <a:pt x="178" y="338"/>
                  </a:lnTo>
                  <a:lnTo>
                    <a:pt x="178" y="338"/>
                  </a:lnTo>
                  <a:lnTo>
                    <a:pt x="180" y="338"/>
                  </a:lnTo>
                  <a:lnTo>
                    <a:pt x="180" y="338"/>
                  </a:lnTo>
                  <a:lnTo>
                    <a:pt x="180" y="336"/>
                  </a:lnTo>
                  <a:lnTo>
                    <a:pt x="180" y="336"/>
                  </a:lnTo>
                  <a:lnTo>
                    <a:pt x="180" y="336"/>
                  </a:lnTo>
                  <a:lnTo>
                    <a:pt x="180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31"/>
                  </a:lnTo>
                  <a:lnTo>
                    <a:pt x="178" y="331"/>
                  </a:lnTo>
                  <a:lnTo>
                    <a:pt x="178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29"/>
                  </a:lnTo>
                  <a:lnTo>
                    <a:pt x="178" y="329"/>
                  </a:lnTo>
                  <a:lnTo>
                    <a:pt x="178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29"/>
                  </a:lnTo>
                  <a:lnTo>
                    <a:pt x="176" y="329"/>
                  </a:lnTo>
                  <a:lnTo>
                    <a:pt x="176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7"/>
                  </a:lnTo>
                  <a:lnTo>
                    <a:pt x="176" y="327"/>
                  </a:lnTo>
                  <a:lnTo>
                    <a:pt x="173" y="327"/>
                  </a:lnTo>
                  <a:lnTo>
                    <a:pt x="173" y="327"/>
                  </a:lnTo>
                  <a:lnTo>
                    <a:pt x="173" y="327"/>
                  </a:lnTo>
                  <a:lnTo>
                    <a:pt x="173" y="327"/>
                  </a:lnTo>
                  <a:lnTo>
                    <a:pt x="173" y="327"/>
                  </a:lnTo>
                  <a:lnTo>
                    <a:pt x="173" y="327"/>
                  </a:lnTo>
                  <a:lnTo>
                    <a:pt x="171" y="327"/>
                  </a:lnTo>
                  <a:lnTo>
                    <a:pt x="171" y="327"/>
                  </a:lnTo>
                  <a:lnTo>
                    <a:pt x="171" y="327"/>
                  </a:lnTo>
                  <a:lnTo>
                    <a:pt x="171" y="327"/>
                  </a:lnTo>
                  <a:lnTo>
                    <a:pt x="169" y="327"/>
                  </a:lnTo>
                  <a:lnTo>
                    <a:pt x="169" y="327"/>
                  </a:lnTo>
                  <a:lnTo>
                    <a:pt x="167" y="329"/>
                  </a:lnTo>
                  <a:lnTo>
                    <a:pt x="167" y="329"/>
                  </a:lnTo>
                  <a:lnTo>
                    <a:pt x="167" y="329"/>
                  </a:lnTo>
                  <a:lnTo>
                    <a:pt x="164" y="327"/>
                  </a:lnTo>
                  <a:lnTo>
                    <a:pt x="162" y="327"/>
                  </a:lnTo>
                  <a:lnTo>
                    <a:pt x="158" y="322"/>
                  </a:lnTo>
                  <a:lnTo>
                    <a:pt x="158" y="322"/>
                  </a:lnTo>
                  <a:lnTo>
                    <a:pt x="155" y="320"/>
                  </a:lnTo>
                  <a:lnTo>
                    <a:pt x="155" y="320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51" y="318"/>
                  </a:lnTo>
                  <a:lnTo>
                    <a:pt x="149" y="318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51" y="315"/>
                  </a:lnTo>
                  <a:lnTo>
                    <a:pt x="151" y="315"/>
                  </a:lnTo>
                  <a:lnTo>
                    <a:pt x="153" y="315"/>
                  </a:lnTo>
                  <a:lnTo>
                    <a:pt x="153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8" y="311"/>
                  </a:lnTo>
                  <a:lnTo>
                    <a:pt x="158" y="311"/>
                  </a:lnTo>
                  <a:lnTo>
                    <a:pt x="160" y="311"/>
                  </a:lnTo>
                  <a:lnTo>
                    <a:pt x="164" y="311"/>
                  </a:lnTo>
                  <a:lnTo>
                    <a:pt x="164" y="311"/>
                  </a:lnTo>
                  <a:lnTo>
                    <a:pt x="167" y="313"/>
                  </a:lnTo>
                  <a:lnTo>
                    <a:pt x="169" y="313"/>
                  </a:lnTo>
                  <a:lnTo>
                    <a:pt x="169" y="313"/>
                  </a:lnTo>
                  <a:lnTo>
                    <a:pt x="169" y="313"/>
                  </a:lnTo>
                  <a:lnTo>
                    <a:pt x="169" y="313"/>
                  </a:lnTo>
                  <a:lnTo>
                    <a:pt x="169" y="315"/>
                  </a:lnTo>
                  <a:lnTo>
                    <a:pt x="169" y="315"/>
                  </a:lnTo>
                  <a:lnTo>
                    <a:pt x="169" y="315"/>
                  </a:lnTo>
                  <a:lnTo>
                    <a:pt x="169" y="315"/>
                  </a:lnTo>
                  <a:lnTo>
                    <a:pt x="169" y="315"/>
                  </a:lnTo>
                  <a:lnTo>
                    <a:pt x="176" y="318"/>
                  </a:lnTo>
                  <a:lnTo>
                    <a:pt x="176" y="318"/>
                  </a:lnTo>
                  <a:lnTo>
                    <a:pt x="180" y="318"/>
                  </a:lnTo>
                  <a:lnTo>
                    <a:pt x="180" y="318"/>
                  </a:lnTo>
                  <a:lnTo>
                    <a:pt x="180" y="318"/>
                  </a:lnTo>
                  <a:lnTo>
                    <a:pt x="180" y="318"/>
                  </a:lnTo>
                  <a:lnTo>
                    <a:pt x="180" y="318"/>
                  </a:lnTo>
                  <a:lnTo>
                    <a:pt x="180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0" y="320"/>
                  </a:lnTo>
                  <a:lnTo>
                    <a:pt x="180" y="320"/>
                  </a:lnTo>
                  <a:lnTo>
                    <a:pt x="180" y="318"/>
                  </a:lnTo>
                  <a:lnTo>
                    <a:pt x="180" y="320"/>
                  </a:lnTo>
                  <a:lnTo>
                    <a:pt x="178" y="320"/>
                  </a:lnTo>
                  <a:lnTo>
                    <a:pt x="178" y="320"/>
                  </a:lnTo>
                  <a:lnTo>
                    <a:pt x="176" y="320"/>
                  </a:lnTo>
                  <a:lnTo>
                    <a:pt x="176" y="320"/>
                  </a:lnTo>
                  <a:lnTo>
                    <a:pt x="176" y="320"/>
                  </a:lnTo>
                  <a:lnTo>
                    <a:pt x="176" y="320"/>
                  </a:lnTo>
                  <a:lnTo>
                    <a:pt x="178" y="320"/>
                  </a:lnTo>
                  <a:lnTo>
                    <a:pt x="178" y="320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6" y="322"/>
                  </a:lnTo>
                  <a:lnTo>
                    <a:pt x="176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0"/>
                  </a:lnTo>
                  <a:lnTo>
                    <a:pt x="178" y="320"/>
                  </a:lnTo>
                  <a:lnTo>
                    <a:pt x="178" y="320"/>
                  </a:lnTo>
                  <a:lnTo>
                    <a:pt x="178" y="320"/>
                  </a:lnTo>
                  <a:lnTo>
                    <a:pt x="180" y="320"/>
                  </a:lnTo>
                  <a:lnTo>
                    <a:pt x="180" y="320"/>
                  </a:lnTo>
                  <a:lnTo>
                    <a:pt x="180" y="320"/>
                  </a:lnTo>
                  <a:lnTo>
                    <a:pt x="180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2" y="320"/>
                  </a:lnTo>
                  <a:lnTo>
                    <a:pt x="182" y="318"/>
                  </a:lnTo>
                  <a:lnTo>
                    <a:pt x="182" y="318"/>
                  </a:lnTo>
                  <a:lnTo>
                    <a:pt x="182" y="318"/>
                  </a:lnTo>
                  <a:lnTo>
                    <a:pt x="182" y="318"/>
                  </a:lnTo>
                  <a:lnTo>
                    <a:pt x="182" y="318"/>
                  </a:lnTo>
                  <a:lnTo>
                    <a:pt x="185" y="320"/>
                  </a:lnTo>
                  <a:lnTo>
                    <a:pt x="187" y="320"/>
                  </a:lnTo>
                  <a:lnTo>
                    <a:pt x="187" y="320"/>
                  </a:lnTo>
                  <a:lnTo>
                    <a:pt x="187" y="320"/>
                  </a:lnTo>
                  <a:lnTo>
                    <a:pt x="189" y="320"/>
                  </a:lnTo>
                  <a:lnTo>
                    <a:pt x="189" y="320"/>
                  </a:lnTo>
                  <a:lnTo>
                    <a:pt x="189" y="320"/>
                  </a:lnTo>
                  <a:lnTo>
                    <a:pt x="191" y="320"/>
                  </a:lnTo>
                  <a:lnTo>
                    <a:pt x="194" y="322"/>
                  </a:lnTo>
                  <a:lnTo>
                    <a:pt x="196" y="322"/>
                  </a:lnTo>
                  <a:lnTo>
                    <a:pt x="196" y="322"/>
                  </a:lnTo>
                  <a:lnTo>
                    <a:pt x="198" y="322"/>
                  </a:lnTo>
                  <a:lnTo>
                    <a:pt x="198" y="322"/>
                  </a:lnTo>
                  <a:lnTo>
                    <a:pt x="198" y="322"/>
                  </a:lnTo>
                  <a:lnTo>
                    <a:pt x="198" y="322"/>
                  </a:lnTo>
                  <a:lnTo>
                    <a:pt x="200" y="324"/>
                  </a:lnTo>
                  <a:lnTo>
                    <a:pt x="205" y="324"/>
                  </a:lnTo>
                  <a:lnTo>
                    <a:pt x="205" y="324"/>
                  </a:lnTo>
                  <a:lnTo>
                    <a:pt x="205" y="324"/>
                  </a:lnTo>
                  <a:lnTo>
                    <a:pt x="205" y="324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7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7" y="322"/>
                  </a:lnTo>
                  <a:lnTo>
                    <a:pt x="209" y="322"/>
                  </a:lnTo>
                  <a:lnTo>
                    <a:pt x="209" y="322"/>
                  </a:lnTo>
                  <a:lnTo>
                    <a:pt x="212" y="324"/>
                  </a:lnTo>
                  <a:lnTo>
                    <a:pt x="212" y="324"/>
                  </a:lnTo>
                  <a:lnTo>
                    <a:pt x="212" y="324"/>
                  </a:lnTo>
                  <a:lnTo>
                    <a:pt x="214" y="324"/>
                  </a:lnTo>
                  <a:lnTo>
                    <a:pt x="214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4"/>
                  </a:lnTo>
                  <a:lnTo>
                    <a:pt x="216" y="322"/>
                  </a:lnTo>
                  <a:lnTo>
                    <a:pt x="216" y="322"/>
                  </a:lnTo>
                  <a:lnTo>
                    <a:pt x="216" y="322"/>
                  </a:lnTo>
                  <a:lnTo>
                    <a:pt x="216" y="322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4" y="320"/>
                  </a:lnTo>
                  <a:lnTo>
                    <a:pt x="216" y="320"/>
                  </a:lnTo>
                  <a:lnTo>
                    <a:pt x="216" y="320"/>
                  </a:lnTo>
                  <a:lnTo>
                    <a:pt x="216" y="320"/>
                  </a:lnTo>
                  <a:lnTo>
                    <a:pt x="214" y="320"/>
                  </a:lnTo>
                  <a:lnTo>
                    <a:pt x="214" y="318"/>
                  </a:lnTo>
                  <a:lnTo>
                    <a:pt x="214" y="318"/>
                  </a:lnTo>
                  <a:lnTo>
                    <a:pt x="214" y="318"/>
                  </a:lnTo>
                  <a:lnTo>
                    <a:pt x="212" y="315"/>
                  </a:lnTo>
                  <a:lnTo>
                    <a:pt x="212" y="315"/>
                  </a:lnTo>
                  <a:lnTo>
                    <a:pt x="212" y="315"/>
                  </a:lnTo>
                  <a:lnTo>
                    <a:pt x="212" y="315"/>
                  </a:lnTo>
                  <a:lnTo>
                    <a:pt x="209" y="315"/>
                  </a:lnTo>
                  <a:lnTo>
                    <a:pt x="209" y="315"/>
                  </a:lnTo>
                  <a:lnTo>
                    <a:pt x="209" y="313"/>
                  </a:lnTo>
                  <a:lnTo>
                    <a:pt x="209" y="313"/>
                  </a:lnTo>
                  <a:lnTo>
                    <a:pt x="209" y="313"/>
                  </a:lnTo>
                  <a:lnTo>
                    <a:pt x="207" y="313"/>
                  </a:lnTo>
                  <a:lnTo>
                    <a:pt x="207" y="313"/>
                  </a:lnTo>
                  <a:lnTo>
                    <a:pt x="203" y="309"/>
                  </a:lnTo>
                  <a:lnTo>
                    <a:pt x="200" y="309"/>
                  </a:lnTo>
                  <a:lnTo>
                    <a:pt x="198" y="306"/>
                  </a:lnTo>
                  <a:lnTo>
                    <a:pt x="198" y="306"/>
                  </a:lnTo>
                  <a:lnTo>
                    <a:pt x="198" y="306"/>
                  </a:lnTo>
                  <a:lnTo>
                    <a:pt x="198" y="304"/>
                  </a:lnTo>
                  <a:lnTo>
                    <a:pt x="198" y="304"/>
                  </a:lnTo>
                  <a:lnTo>
                    <a:pt x="198" y="304"/>
                  </a:lnTo>
                  <a:lnTo>
                    <a:pt x="198" y="304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2"/>
                  </a:lnTo>
                  <a:lnTo>
                    <a:pt x="200" y="302"/>
                  </a:lnTo>
                  <a:lnTo>
                    <a:pt x="203" y="300"/>
                  </a:lnTo>
                  <a:lnTo>
                    <a:pt x="205" y="300"/>
                  </a:lnTo>
                  <a:lnTo>
                    <a:pt x="207" y="297"/>
                  </a:lnTo>
                  <a:lnTo>
                    <a:pt x="209" y="295"/>
                  </a:lnTo>
                  <a:lnTo>
                    <a:pt x="209" y="295"/>
                  </a:lnTo>
                  <a:lnTo>
                    <a:pt x="212" y="293"/>
                  </a:lnTo>
                  <a:lnTo>
                    <a:pt x="214" y="293"/>
                  </a:lnTo>
                  <a:lnTo>
                    <a:pt x="216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1"/>
                  </a:lnTo>
                  <a:lnTo>
                    <a:pt x="221" y="291"/>
                  </a:lnTo>
                  <a:lnTo>
                    <a:pt x="221" y="291"/>
                  </a:lnTo>
                  <a:lnTo>
                    <a:pt x="221" y="291"/>
                  </a:lnTo>
                  <a:lnTo>
                    <a:pt x="223" y="291"/>
                  </a:lnTo>
                  <a:lnTo>
                    <a:pt x="223" y="291"/>
                  </a:lnTo>
                  <a:lnTo>
                    <a:pt x="223" y="291"/>
                  </a:lnTo>
                  <a:lnTo>
                    <a:pt x="223" y="291"/>
                  </a:lnTo>
                  <a:lnTo>
                    <a:pt x="223" y="291"/>
                  </a:lnTo>
                  <a:lnTo>
                    <a:pt x="223" y="291"/>
                  </a:lnTo>
                  <a:lnTo>
                    <a:pt x="225" y="288"/>
                  </a:lnTo>
                  <a:lnTo>
                    <a:pt x="227" y="286"/>
                  </a:lnTo>
                  <a:lnTo>
                    <a:pt x="230" y="284"/>
                  </a:lnTo>
                  <a:lnTo>
                    <a:pt x="230" y="282"/>
                  </a:lnTo>
                  <a:lnTo>
                    <a:pt x="230" y="282"/>
                  </a:lnTo>
                  <a:lnTo>
                    <a:pt x="232" y="284"/>
                  </a:lnTo>
                  <a:lnTo>
                    <a:pt x="236" y="284"/>
                  </a:lnTo>
                  <a:lnTo>
                    <a:pt x="239" y="284"/>
                  </a:lnTo>
                  <a:lnTo>
                    <a:pt x="239" y="284"/>
                  </a:lnTo>
                  <a:lnTo>
                    <a:pt x="236" y="286"/>
                  </a:lnTo>
                  <a:lnTo>
                    <a:pt x="236" y="286"/>
                  </a:lnTo>
                  <a:lnTo>
                    <a:pt x="239" y="286"/>
                  </a:lnTo>
                  <a:lnTo>
                    <a:pt x="243" y="284"/>
                  </a:lnTo>
                  <a:lnTo>
                    <a:pt x="245" y="284"/>
                  </a:lnTo>
                  <a:lnTo>
                    <a:pt x="248" y="284"/>
                  </a:lnTo>
                  <a:lnTo>
                    <a:pt x="248" y="284"/>
                  </a:lnTo>
                  <a:lnTo>
                    <a:pt x="248" y="286"/>
                  </a:lnTo>
                  <a:lnTo>
                    <a:pt x="250" y="286"/>
                  </a:lnTo>
                  <a:lnTo>
                    <a:pt x="250" y="286"/>
                  </a:lnTo>
                  <a:lnTo>
                    <a:pt x="250" y="286"/>
                  </a:lnTo>
                  <a:lnTo>
                    <a:pt x="252" y="286"/>
                  </a:lnTo>
                  <a:lnTo>
                    <a:pt x="252" y="286"/>
                  </a:lnTo>
                  <a:lnTo>
                    <a:pt x="254" y="288"/>
                  </a:lnTo>
                  <a:lnTo>
                    <a:pt x="254" y="288"/>
                  </a:lnTo>
                  <a:lnTo>
                    <a:pt x="254" y="288"/>
                  </a:lnTo>
                  <a:lnTo>
                    <a:pt x="254" y="288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0" y="291"/>
                  </a:lnTo>
                  <a:lnTo>
                    <a:pt x="250" y="291"/>
                  </a:lnTo>
                  <a:lnTo>
                    <a:pt x="250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4" y="293"/>
                  </a:lnTo>
                  <a:lnTo>
                    <a:pt x="254" y="293"/>
                  </a:lnTo>
                  <a:lnTo>
                    <a:pt x="254" y="295"/>
                  </a:lnTo>
                  <a:lnTo>
                    <a:pt x="254" y="293"/>
                  </a:lnTo>
                  <a:lnTo>
                    <a:pt x="254" y="293"/>
                  </a:lnTo>
                  <a:lnTo>
                    <a:pt x="254" y="293"/>
                  </a:lnTo>
                  <a:lnTo>
                    <a:pt x="252" y="293"/>
                  </a:lnTo>
                  <a:lnTo>
                    <a:pt x="252" y="293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2" y="291"/>
                  </a:lnTo>
                  <a:lnTo>
                    <a:pt x="254" y="291"/>
                  </a:lnTo>
                  <a:lnTo>
                    <a:pt x="254" y="291"/>
                  </a:lnTo>
                  <a:lnTo>
                    <a:pt x="254" y="291"/>
                  </a:lnTo>
                  <a:lnTo>
                    <a:pt x="254" y="291"/>
                  </a:lnTo>
                  <a:lnTo>
                    <a:pt x="254" y="291"/>
                  </a:lnTo>
                  <a:lnTo>
                    <a:pt x="257" y="291"/>
                  </a:lnTo>
                  <a:lnTo>
                    <a:pt x="257" y="291"/>
                  </a:lnTo>
                  <a:lnTo>
                    <a:pt x="257" y="291"/>
                  </a:lnTo>
                  <a:lnTo>
                    <a:pt x="257" y="291"/>
                  </a:lnTo>
                  <a:lnTo>
                    <a:pt x="259" y="291"/>
                  </a:lnTo>
                  <a:lnTo>
                    <a:pt x="259" y="291"/>
                  </a:lnTo>
                  <a:lnTo>
                    <a:pt x="259" y="291"/>
                  </a:lnTo>
                  <a:lnTo>
                    <a:pt x="261" y="291"/>
                  </a:lnTo>
                  <a:lnTo>
                    <a:pt x="261" y="291"/>
                  </a:lnTo>
                  <a:lnTo>
                    <a:pt x="261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5"/>
                  </a:lnTo>
                  <a:lnTo>
                    <a:pt x="266" y="295"/>
                  </a:lnTo>
                  <a:lnTo>
                    <a:pt x="266" y="297"/>
                  </a:lnTo>
                  <a:lnTo>
                    <a:pt x="266" y="295"/>
                  </a:lnTo>
                  <a:lnTo>
                    <a:pt x="266" y="295"/>
                  </a:lnTo>
                  <a:lnTo>
                    <a:pt x="266" y="295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3"/>
                  </a:lnTo>
                  <a:lnTo>
                    <a:pt x="263" y="291"/>
                  </a:lnTo>
                  <a:lnTo>
                    <a:pt x="263" y="291"/>
                  </a:lnTo>
                  <a:lnTo>
                    <a:pt x="261" y="291"/>
                  </a:lnTo>
                  <a:lnTo>
                    <a:pt x="261" y="288"/>
                  </a:lnTo>
                  <a:lnTo>
                    <a:pt x="261" y="288"/>
                  </a:lnTo>
                  <a:lnTo>
                    <a:pt x="261" y="286"/>
                  </a:lnTo>
                  <a:lnTo>
                    <a:pt x="261" y="286"/>
                  </a:lnTo>
                  <a:lnTo>
                    <a:pt x="261" y="286"/>
                  </a:lnTo>
                  <a:lnTo>
                    <a:pt x="263" y="286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4"/>
                  </a:lnTo>
                  <a:lnTo>
                    <a:pt x="263" y="284"/>
                  </a:lnTo>
                  <a:lnTo>
                    <a:pt x="263" y="284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2"/>
                  </a:lnTo>
                  <a:lnTo>
                    <a:pt x="263" y="282"/>
                  </a:lnTo>
                  <a:lnTo>
                    <a:pt x="263" y="279"/>
                  </a:lnTo>
                  <a:lnTo>
                    <a:pt x="266" y="279"/>
                  </a:lnTo>
                  <a:lnTo>
                    <a:pt x="266" y="279"/>
                  </a:lnTo>
                  <a:lnTo>
                    <a:pt x="266" y="279"/>
                  </a:lnTo>
                  <a:lnTo>
                    <a:pt x="266" y="279"/>
                  </a:lnTo>
                  <a:lnTo>
                    <a:pt x="266" y="279"/>
                  </a:lnTo>
                  <a:lnTo>
                    <a:pt x="266" y="279"/>
                  </a:lnTo>
                  <a:lnTo>
                    <a:pt x="263" y="279"/>
                  </a:lnTo>
                  <a:lnTo>
                    <a:pt x="263" y="279"/>
                  </a:lnTo>
                  <a:lnTo>
                    <a:pt x="263" y="279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7"/>
                  </a:lnTo>
                  <a:lnTo>
                    <a:pt x="263" y="275"/>
                  </a:lnTo>
                  <a:lnTo>
                    <a:pt x="263" y="275"/>
                  </a:lnTo>
                  <a:lnTo>
                    <a:pt x="263" y="275"/>
                  </a:lnTo>
                  <a:lnTo>
                    <a:pt x="263" y="275"/>
                  </a:lnTo>
                  <a:lnTo>
                    <a:pt x="263" y="275"/>
                  </a:lnTo>
                  <a:lnTo>
                    <a:pt x="263" y="275"/>
                  </a:lnTo>
                  <a:lnTo>
                    <a:pt x="263" y="275"/>
                  </a:lnTo>
                  <a:lnTo>
                    <a:pt x="261" y="273"/>
                  </a:lnTo>
                  <a:lnTo>
                    <a:pt x="261" y="273"/>
                  </a:lnTo>
                  <a:lnTo>
                    <a:pt x="261" y="273"/>
                  </a:lnTo>
                  <a:lnTo>
                    <a:pt x="261" y="273"/>
                  </a:lnTo>
                  <a:lnTo>
                    <a:pt x="259" y="273"/>
                  </a:lnTo>
                  <a:lnTo>
                    <a:pt x="259" y="270"/>
                  </a:lnTo>
                  <a:lnTo>
                    <a:pt x="259" y="270"/>
                  </a:lnTo>
                  <a:lnTo>
                    <a:pt x="259" y="270"/>
                  </a:lnTo>
                  <a:lnTo>
                    <a:pt x="259" y="270"/>
                  </a:lnTo>
                  <a:lnTo>
                    <a:pt x="259" y="270"/>
                  </a:lnTo>
                  <a:lnTo>
                    <a:pt x="259" y="270"/>
                  </a:lnTo>
                  <a:lnTo>
                    <a:pt x="257" y="270"/>
                  </a:lnTo>
                  <a:lnTo>
                    <a:pt x="257" y="270"/>
                  </a:lnTo>
                  <a:lnTo>
                    <a:pt x="257" y="270"/>
                  </a:lnTo>
                  <a:lnTo>
                    <a:pt x="257" y="270"/>
                  </a:lnTo>
                  <a:lnTo>
                    <a:pt x="257" y="270"/>
                  </a:lnTo>
                  <a:lnTo>
                    <a:pt x="254" y="270"/>
                  </a:lnTo>
                  <a:lnTo>
                    <a:pt x="254" y="268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0" y="268"/>
                  </a:lnTo>
                  <a:lnTo>
                    <a:pt x="250" y="268"/>
                  </a:lnTo>
                  <a:lnTo>
                    <a:pt x="250" y="268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48" y="266"/>
                  </a:lnTo>
                  <a:lnTo>
                    <a:pt x="248" y="266"/>
                  </a:lnTo>
                  <a:lnTo>
                    <a:pt x="248" y="266"/>
                  </a:lnTo>
                  <a:lnTo>
                    <a:pt x="250" y="261"/>
                  </a:lnTo>
                  <a:lnTo>
                    <a:pt x="250" y="261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2" y="259"/>
                  </a:lnTo>
                  <a:lnTo>
                    <a:pt x="252" y="259"/>
                  </a:lnTo>
                  <a:lnTo>
                    <a:pt x="252" y="259"/>
                  </a:lnTo>
                  <a:lnTo>
                    <a:pt x="252" y="259"/>
                  </a:lnTo>
                  <a:lnTo>
                    <a:pt x="252" y="259"/>
                  </a:lnTo>
                  <a:lnTo>
                    <a:pt x="252" y="259"/>
                  </a:lnTo>
                  <a:lnTo>
                    <a:pt x="252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7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2" y="255"/>
                  </a:lnTo>
                  <a:lnTo>
                    <a:pt x="252" y="255"/>
                  </a:lnTo>
                  <a:lnTo>
                    <a:pt x="252" y="255"/>
                  </a:lnTo>
                  <a:lnTo>
                    <a:pt x="252" y="255"/>
                  </a:lnTo>
                  <a:lnTo>
                    <a:pt x="250" y="255"/>
                  </a:lnTo>
                  <a:lnTo>
                    <a:pt x="250" y="255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2" y="252"/>
                  </a:lnTo>
                  <a:lnTo>
                    <a:pt x="252" y="250"/>
                  </a:lnTo>
                  <a:lnTo>
                    <a:pt x="252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0" y="250"/>
                  </a:lnTo>
                  <a:lnTo>
                    <a:pt x="250" y="250"/>
                  </a:lnTo>
                  <a:lnTo>
                    <a:pt x="250" y="250"/>
                  </a:lnTo>
                  <a:lnTo>
                    <a:pt x="250" y="250"/>
                  </a:lnTo>
                  <a:lnTo>
                    <a:pt x="250" y="250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6"/>
                  </a:lnTo>
                  <a:lnTo>
                    <a:pt x="232" y="241"/>
                  </a:lnTo>
                  <a:lnTo>
                    <a:pt x="232" y="239"/>
                  </a:lnTo>
                  <a:lnTo>
                    <a:pt x="230" y="239"/>
                  </a:lnTo>
                  <a:lnTo>
                    <a:pt x="230" y="239"/>
                  </a:lnTo>
                  <a:lnTo>
                    <a:pt x="232" y="239"/>
                  </a:lnTo>
                  <a:lnTo>
                    <a:pt x="234" y="239"/>
                  </a:lnTo>
                  <a:lnTo>
                    <a:pt x="236" y="239"/>
                  </a:lnTo>
                  <a:lnTo>
                    <a:pt x="236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39"/>
                  </a:lnTo>
                  <a:lnTo>
                    <a:pt x="239" y="241"/>
                  </a:lnTo>
                  <a:lnTo>
                    <a:pt x="239" y="241"/>
                  </a:lnTo>
                  <a:lnTo>
                    <a:pt x="239" y="241"/>
                  </a:lnTo>
                  <a:lnTo>
                    <a:pt x="241" y="241"/>
                  </a:lnTo>
                  <a:lnTo>
                    <a:pt x="243" y="241"/>
                  </a:lnTo>
                  <a:lnTo>
                    <a:pt x="245" y="241"/>
                  </a:lnTo>
                  <a:lnTo>
                    <a:pt x="250" y="241"/>
                  </a:lnTo>
                  <a:lnTo>
                    <a:pt x="259" y="241"/>
                  </a:lnTo>
                  <a:lnTo>
                    <a:pt x="263" y="241"/>
                  </a:lnTo>
                  <a:lnTo>
                    <a:pt x="266" y="241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2" y="243"/>
                  </a:lnTo>
                  <a:lnTo>
                    <a:pt x="275" y="243"/>
                  </a:lnTo>
                  <a:lnTo>
                    <a:pt x="275" y="243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5" y="246"/>
                  </a:lnTo>
                  <a:lnTo>
                    <a:pt x="277" y="246"/>
                  </a:lnTo>
                  <a:lnTo>
                    <a:pt x="277" y="246"/>
                  </a:lnTo>
                  <a:lnTo>
                    <a:pt x="277" y="246"/>
                  </a:lnTo>
                  <a:lnTo>
                    <a:pt x="279" y="248"/>
                  </a:lnTo>
                  <a:lnTo>
                    <a:pt x="279" y="248"/>
                  </a:lnTo>
                  <a:lnTo>
                    <a:pt x="281" y="248"/>
                  </a:lnTo>
                  <a:lnTo>
                    <a:pt x="281" y="248"/>
                  </a:lnTo>
                  <a:lnTo>
                    <a:pt x="281" y="248"/>
                  </a:lnTo>
                  <a:lnTo>
                    <a:pt x="281" y="248"/>
                  </a:lnTo>
                  <a:lnTo>
                    <a:pt x="281" y="248"/>
                  </a:lnTo>
                  <a:lnTo>
                    <a:pt x="284" y="248"/>
                  </a:lnTo>
                  <a:lnTo>
                    <a:pt x="284" y="250"/>
                  </a:lnTo>
                  <a:lnTo>
                    <a:pt x="284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4" y="250"/>
                  </a:lnTo>
                  <a:lnTo>
                    <a:pt x="284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2"/>
                  </a:lnTo>
                  <a:lnTo>
                    <a:pt x="286" y="252"/>
                  </a:lnTo>
                  <a:lnTo>
                    <a:pt x="286" y="252"/>
                  </a:lnTo>
                  <a:lnTo>
                    <a:pt x="286" y="252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8" y="252"/>
                  </a:lnTo>
                  <a:lnTo>
                    <a:pt x="288" y="255"/>
                  </a:lnTo>
                  <a:lnTo>
                    <a:pt x="288" y="255"/>
                  </a:lnTo>
                  <a:lnTo>
                    <a:pt x="288" y="255"/>
                  </a:lnTo>
                  <a:lnTo>
                    <a:pt x="288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6" y="257"/>
                  </a:lnTo>
                  <a:lnTo>
                    <a:pt x="286" y="257"/>
                  </a:lnTo>
                  <a:lnTo>
                    <a:pt x="286" y="257"/>
                  </a:lnTo>
                  <a:lnTo>
                    <a:pt x="284" y="257"/>
                  </a:lnTo>
                  <a:lnTo>
                    <a:pt x="279" y="257"/>
                  </a:lnTo>
                  <a:lnTo>
                    <a:pt x="275" y="257"/>
                  </a:lnTo>
                  <a:lnTo>
                    <a:pt x="270" y="257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59"/>
                  </a:lnTo>
                  <a:lnTo>
                    <a:pt x="270" y="261"/>
                  </a:lnTo>
                  <a:lnTo>
                    <a:pt x="270" y="261"/>
                  </a:lnTo>
                  <a:lnTo>
                    <a:pt x="270" y="261"/>
                  </a:lnTo>
                  <a:lnTo>
                    <a:pt x="268" y="261"/>
                  </a:lnTo>
                  <a:lnTo>
                    <a:pt x="268" y="261"/>
                  </a:lnTo>
                  <a:lnTo>
                    <a:pt x="266" y="261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6" y="266"/>
                  </a:lnTo>
                  <a:lnTo>
                    <a:pt x="266" y="266"/>
                  </a:lnTo>
                  <a:lnTo>
                    <a:pt x="266" y="266"/>
                  </a:lnTo>
                  <a:lnTo>
                    <a:pt x="266" y="266"/>
                  </a:lnTo>
                  <a:lnTo>
                    <a:pt x="270" y="268"/>
                  </a:lnTo>
                  <a:lnTo>
                    <a:pt x="270" y="268"/>
                  </a:lnTo>
                  <a:lnTo>
                    <a:pt x="272" y="268"/>
                  </a:lnTo>
                  <a:lnTo>
                    <a:pt x="275" y="268"/>
                  </a:lnTo>
                  <a:lnTo>
                    <a:pt x="275" y="268"/>
                  </a:lnTo>
                  <a:lnTo>
                    <a:pt x="277" y="268"/>
                  </a:lnTo>
                  <a:lnTo>
                    <a:pt x="279" y="270"/>
                  </a:lnTo>
                  <a:lnTo>
                    <a:pt x="279" y="270"/>
                  </a:lnTo>
                  <a:lnTo>
                    <a:pt x="279" y="270"/>
                  </a:lnTo>
                  <a:lnTo>
                    <a:pt x="279" y="273"/>
                  </a:lnTo>
                  <a:lnTo>
                    <a:pt x="284" y="273"/>
                  </a:lnTo>
                  <a:lnTo>
                    <a:pt x="284" y="275"/>
                  </a:lnTo>
                  <a:lnTo>
                    <a:pt x="284" y="275"/>
                  </a:lnTo>
                  <a:lnTo>
                    <a:pt x="284" y="275"/>
                  </a:lnTo>
                  <a:lnTo>
                    <a:pt x="284" y="275"/>
                  </a:lnTo>
                  <a:lnTo>
                    <a:pt x="286" y="275"/>
                  </a:lnTo>
                  <a:lnTo>
                    <a:pt x="286" y="275"/>
                  </a:lnTo>
                  <a:lnTo>
                    <a:pt x="288" y="277"/>
                  </a:lnTo>
                  <a:lnTo>
                    <a:pt x="288" y="277"/>
                  </a:lnTo>
                  <a:lnTo>
                    <a:pt x="288" y="277"/>
                  </a:lnTo>
                  <a:lnTo>
                    <a:pt x="293" y="277"/>
                  </a:lnTo>
                  <a:lnTo>
                    <a:pt x="295" y="275"/>
                  </a:lnTo>
                  <a:lnTo>
                    <a:pt x="295" y="275"/>
                  </a:lnTo>
                  <a:lnTo>
                    <a:pt x="295" y="275"/>
                  </a:lnTo>
                  <a:lnTo>
                    <a:pt x="297" y="275"/>
                  </a:lnTo>
                  <a:lnTo>
                    <a:pt x="297" y="277"/>
                  </a:lnTo>
                  <a:lnTo>
                    <a:pt x="297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3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5" y="277"/>
                  </a:lnTo>
                  <a:lnTo>
                    <a:pt x="297" y="277"/>
                  </a:lnTo>
                  <a:lnTo>
                    <a:pt x="299" y="277"/>
                  </a:lnTo>
                  <a:lnTo>
                    <a:pt x="301" y="277"/>
                  </a:lnTo>
                  <a:lnTo>
                    <a:pt x="301" y="275"/>
                  </a:lnTo>
                  <a:lnTo>
                    <a:pt x="304" y="275"/>
                  </a:lnTo>
                  <a:lnTo>
                    <a:pt x="308" y="275"/>
                  </a:lnTo>
                  <a:lnTo>
                    <a:pt x="308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3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0" y="275"/>
                  </a:lnTo>
                  <a:lnTo>
                    <a:pt x="313" y="273"/>
                  </a:lnTo>
                  <a:lnTo>
                    <a:pt x="313" y="273"/>
                  </a:lnTo>
                  <a:lnTo>
                    <a:pt x="313" y="273"/>
                  </a:lnTo>
                  <a:lnTo>
                    <a:pt x="313" y="273"/>
                  </a:lnTo>
                  <a:lnTo>
                    <a:pt x="313" y="273"/>
                  </a:lnTo>
                  <a:lnTo>
                    <a:pt x="313" y="270"/>
                  </a:lnTo>
                  <a:lnTo>
                    <a:pt x="313" y="270"/>
                  </a:lnTo>
                  <a:lnTo>
                    <a:pt x="313" y="270"/>
                  </a:lnTo>
                  <a:lnTo>
                    <a:pt x="310" y="270"/>
                  </a:lnTo>
                  <a:lnTo>
                    <a:pt x="310" y="270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0" y="266"/>
                  </a:lnTo>
                  <a:lnTo>
                    <a:pt x="313" y="266"/>
                  </a:lnTo>
                  <a:lnTo>
                    <a:pt x="313" y="264"/>
                  </a:lnTo>
                  <a:lnTo>
                    <a:pt x="313" y="264"/>
                  </a:lnTo>
                  <a:lnTo>
                    <a:pt x="313" y="264"/>
                  </a:lnTo>
                  <a:lnTo>
                    <a:pt x="313" y="264"/>
                  </a:lnTo>
                  <a:lnTo>
                    <a:pt x="310" y="261"/>
                  </a:lnTo>
                  <a:lnTo>
                    <a:pt x="308" y="261"/>
                  </a:lnTo>
                  <a:lnTo>
                    <a:pt x="310" y="261"/>
                  </a:lnTo>
                  <a:lnTo>
                    <a:pt x="313" y="259"/>
                  </a:lnTo>
                  <a:lnTo>
                    <a:pt x="313" y="259"/>
                  </a:lnTo>
                  <a:lnTo>
                    <a:pt x="313" y="259"/>
                  </a:lnTo>
                  <a:lnTo>
                    <a:pt x="313" y="259"/>
                  </a:lnTo>
                  <a:lnTo>
                    <a:pt x="313" y="261"/>
                  </a:lnTo>
                  <a:lnTo>
                    <a:pt x="313" y="261"/>
                  </a:lnTo>
                  <a:lnTo>
                    <a:pt x="313" y="261"/>
                  </a:lnTo>
                  <a:lnTo>
                    <a:pt x="313" y="261"/>
                  </a:lnTo>
                  <a:lnTo>
                    <a:pt x="313" y="261"/>
                  </a:lnTo>
                  <a:lnTo>
                    <a:pt x="315" y="259"/>
                  </a:lnTo>
                  <a:lnTo>
                    <a:pt x="315" y="259"/>
                  </a:lnTo>
                  <a:lnTo>
                    <a:pt x="315" y="259"/>
                  </a:lnTo>
                  <a:lnTo>
                    <a:pt x="315" y="259"/>
                  </a:lnTo>
                  <a:lnTo>
                    <a:pt x="315" y="259"/>
                  </a:lnTo>
                  <a:lnTo>
                    <a:pt x="317" y="259"/>
                  </a:lnTo>
                  <a:lnTo>
                    <a:pt x="317" y="259"/>
                  </a:lnTo>
                  <a:lnTo>
                    <a:pt x="319" y="259"/>
                  </a:lnTo>
                  <a:lnTo>
                    <a:pt x="319" y="259"/>
                  </a:lnTo>
                  <a:lnTo>
                    <a:pt x="322" y="259"/>
                  </a:lnTo>
                  <a:lnTo>
                    <a:pt x="322" y="259"/>
                  </a:lnTo>
                  <a:lnTo>
                    <a:pt x="322" y="259"/>
                  </a:lnTo>
                  <a:lnTo>
                    <a:pt x="322" y="259"/>
                  </a:lnTo>
                  <a:lnTo>
                    <a:pt x="322" y="259"/>
                  </a:lnTo>
                  <a:lnTo>
                    <a:pt x="322" y="259"/>
                  </a:lnTo>
                  <a:lnTo>
                    <a:pt x="322" y="259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8" y="259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6" y="259"/>
                  </a:lnTo>
                  <a:lnTo>
                    <a:pt x="324" y="259"/>
                  </a:lnTo>
                  <a:lnTo>
                    <a:pt x="324" y="259"/>
                  </a:lnTo>
                  <a:lnTo>
                    <a:pt x="324" y="259"/>
                  </a:lnTo>
                  <a:lnTo>
                    <a:pt x="324" y="259"/>
                  </a:lnTo>
                  <a:lnTo>
                    <a:pt x="322" y="257"/>
                  </a:lnTo>
                  <a:lnTo>
                    <a:pt x="322" y="257"/>
                  </a:lnTo>
                  <a:lnTo>
                    <a:pt x="324" y="257"/>
                  </a:lnTo>
                  <a:lnTo>
                    <a:pt x="324" y="257"/>
                  </a:lnTo>
                  <a:lnTo>
                    <a:pt x="322" y="257"/>
                  </a:lnTo>
                  <a:lnTo>
                    <a:pt x="322" y="257"/>
                  </a:lnTo>
                  <a:lnTo>
                    <a:pt x="317" y="255"/>
                  </a:lnTo>
                  <a:lnTo>
                    <a:pt x="319" y="255"/>
                  </a:lnTo>
                  <a:lnTo>
                    <a:pt x="319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4" y="255"/>
                  </a:lnTo>
                  <a:lnTo>
                    <a:pt x="326" y="255"/>
                  </a:lnTo>
                  <a:lnTo>
                    <a:pt x="328" y="255"/>
                  </a:lnTo>
                  <a:lnTo>
                    <a:pt x="331" y="255"/>
                  </a:lnTo>
                  <a:lnTo>
                    <a:pt x="333" y="255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7" y="250"/>
                  </a:lnTo>
                  <a:lnTo>
                    <a:pt x="340" y="250"/>
                  </a:lnTo>
                  <a:lnTo>
                    <a:pt x="340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40" y="252"/>
                  </a:lnTo>
                  <a:lnTo>
                    <a:pt x="340" y="250"/>
                  </a:lnTo>
                  <a:lnTo>
                    <a:pt x="340" y="250"/>
                  </a:lnTo>
                  <a:lnTo>
                    <a:pt x="340" y="250"/>
                  </a:lnTo>
                  <a:lnTo>
                    <a:pt x="342" y="250"/>
                  </a:lnTo>
                  <a:lnTo>
                    <a:pt x="342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5" y="246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2" y="243"/>
                  </a:lnTo>
                  <a:lnTo>
                    <a:pt x="367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9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6"/>
                  </a:lnTo>
                  <a:lnTo>
                    <a:pt x="371" y="246"/>
                  </a:lnTo>
                  <a:lnTo>
                    <a:pt x="373" y="246"/>
                  </a:lnTo>
                  <a:lnTo>
                    <a:pt x="373" y="246"/>
                  </a:lnTo>
                  <a:lnTo>
                    <a:pt x="373" y="246"/>
                  </a:lnTo>
                  <a:lnTo>
                    <a:pt x="373" y="246"/>
                  </a:lnTo>
                  <a:lnTo>
                    <a:pt x="373" y="246"/>
                  </a:lnTo>
                  <a:lnTo>
                    <a:pt x="376" y="246"/>
                  </a:lnTo>
                  <a:lnTo>
                    <a:pt x="376" y="243"/>
                  </a:lnTo>
                  <a:lnTo>
                    <a:pt x="376" y="243"/>
                  </a:lnTo>
                  <a:lnTo>
                    <a:pt x="378" y="243"/>
                  </a:lnTo>
                  <a:lnTo>
                    <a:pt x="378" y="243"/>
                  </a:lnTo>
                  <a:lnTo>
                    <a:pt x="378" y="243"/>
                  </a:lnTo>
                  <a:lnTo>
                    <a:pt x="378" y="243"/>
                  </a:lnTo>
                  <a:lnTo>
                    <a:pt x="378" y="243"/>
                  </a:lnTo>
                  <a:lnTo>
                    <a:pt x="376" y="243"/>
                  </a:lnTo>
                  <a:lnTo>
                    <a:pt x="376" y="241"/>
                  </a:lnTo>
                  <a:lnTo>
                    <a:pt x="376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6" y="237"/>
                  </a:lnTo>
                  <a:lnTo>
                    <a:pt x="378" y="237"/>
                  </a:lnTo>
                  <a:lnTo>
                    <a:pt x="380" y="237"/>
                  </a:lnTo>
                  <a:lnTo>
                    <a:pt x="380" y="237"/>
                  </a:lnTo>
                  <a:lnTo>
                    <a:pt x="382" y="234"/>
                  </a:lnTo>
                  <a:lnTo>
                    <a:pt x="382" y="234"/>
                  </a:lnTo>
                  <a:lnTo>
                    <a:pt x="385" y="234"/>
                  </a:lnTo>
                  <a:lnTo>
                    <a:pt x="391" y="232"/>
                  </a:lnTo>
                  <a:lnTo>
                    <a:pt x="394" y="232"/>
                  </a:lnTo>
                  <a:lnTo>
                    <a:pt x="396" y="232"/>
                  </a:lnTo>
                  <a:lnTo>
                    <a:pt x="398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400" y="232"/>
                  </a:lnTo>
                  <a:lnTo>
                    <a:pt x="398" y="232"/>
                  </a:lnTo>
                  <a:lnTo>
                    <a:pt x="398" y="232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91" y="234"/>
                  </a:lnTo>
                  <a:lnTo>
                    <a:pt x="394" y="234"/>
                  </a:lnTo>
                  <a:lnTo>
                    <a:pt x="394" y="237"/>
                  </a:lnTo>
                  <a:lnTo>
                    <a:pt x="394" y="237"/>
                  </a:lnTo>
                  <a:lnTo>
                    <a:pt x="394" y="237"/>
                  </a:lnTo>
                  <a:lnTo>
                    <a:pt x="391" y="237"/>
                  </a:lnTo>
                  <a:lnTo>
                    <a:pt x="391" y="237"/>
                  </a:lnTo>
                  <a:lnTo>
                    <a:pt x="391" y="237"/>
                  </a:lnTo>
                  <a:lnTo>
                    <a:pt x="391" y="237"/>
                  </a:lnTo>
                  <a:lnTo>
                    <a:pt x="391" y="237"/>
                  </a:lnTo>
                  <a:lnTo>
                    <a:pt x="391" y="237"/>
                  </a:lnTo>
                  <a:lnTo>
                    <a:pt x="391" y="237"/>
                  </a:lnTo>
                  <a:lnTo>
                    <a:pt x="391" y="239"/>
                  </a:lnTo>
                  <a:lnTo>
                    <a:pt x="391" y="239"/>
                  </a:lnTo>
                  <a:lnTo>
                    <a:pt x="391" y="239"/>
                  </a:lnTo>
                  <a:lnTo>
                    <a:pt x="391" y="239"/>
                  </a:lnTo>
                  <a:lnTo>
                    <a:pt x="391" y="239"/>
                  </a:lnTo>
                  <a:lnTo>
                    <a:pt x="391" y="239"/>
                  </a:lnTo>
                  <a:lnTo>
                    <a:pt x="391" y="241"/>
                  </a:lnTo>
                  <a:lnTo>
                    <a:pt x="394" y="241"/>
                  </a:lnTo>
                  <a:lnTo>
                    <a:pt x="394" y="241"/>
                  </a:lnTo>
                  <a:lnTo>
                    <a:pt x="394" y="241"/>
                  </a:lnTo>
                  <a:lnTo>
                    <a:pt x="396" y="241"/>
                  </a:lnTo>
                  <a:lnTo>
                    <a:pt x="396" y="243"/>
                  </a:lnTo>
                  <a:lnTo>
                    <a:pt x="396" y="243"/>
                  </a:lnTo>
                  <a:lnTo>
                    <a:pt x="396" y="243"/>
                  </a:lnTo>
                  <a:lnTo>
                    <a:pt x="396" y="243"/>
                  </a:lnTo>
                  <a:lnTo>
                    <a:pt x="396" y="243"/>
                  </a:lnTo>
                  <a:lnTo>
                    <a:pt x="396" y="243"/>
                  </a:lnTo>
                  <a:lnTo>
                    <a:pt x="396" y="243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6" y="246"/>
                  </a:lnTo>
                  <a:lnTo>
                    <a:pt x="394" y="246"/>
                  </a:lnTo>
                  <a:lnTo>
                    <a:pt x="391" y="243"/>
                  </a:lnTo>
                  <a:lnTo>
                    <a:pt x="391" y="243"/>
                  </a:lnTo>
                  <a:lnTo>
                    <a:pt x="391" y="243"/>
                  </a:lnTo>
                  <a:lnTo>
                    <a:pt x="391" y="246"/>
                  </a:lnTo>
                  <a:lnTo>
                    <a:pt x="391" y="246"/>
                  </a:lnTo>
                  <a:lnTo>
                    <a:pt x="394" y="246"/>
                  </a:lnTo>
                  <a:lnTo>
                    <a:pt x="394" y="246"/>
                  </a:lnTo>
                  <a:lnTo>
                    <a:pt x="394" y="246"/>
                  </a:lnTo>
                  <a:lnTo>
                    <a:pt x="394" y="246"/>
                  </a:lnTo>
                  <a:lnTo>
                    <a:pt x="391" y="246"/>
                  </a:lnTo>
                  <a:lnTo>
                    <a:pt x="391" y="246"/>
                  </a:lnTo>
                  <a:lnTo>
                    <a:pt x="389" y="246"/>
                  </a:lnTo>
                  <a:lnTo>
                    <a:pt x="389" y="246"/>
                  </a:lnTo>
                  <a:lnTo>
                    <a:pt x="389" y="246"/>
                  </a:lnTo>
                  <a:lnTo>
                    <a:pt x="389" y="246"/>
                  </a:lnTo>
                  <a:lnTo>
                    <a:pt x="389" y="246"/>
                  </a:lnTo>
                  <a:lnTo>
                    <a:pt x="387" y="246"/>
                  </a:lnTo>
                  <a:lnTo>
                    <a:pt x="387" y="246"/>
                  </a:lnTo>
                  <a:lnTo>
                    <a:pt x="387" y="246"/>
                  </a:lnTo>
                  <a:lnTo>
                    <a:pt x="387" y="246"/>
                  </a:lnTo>
                  <a:lnTo>
                    <a:pt x="387" y="246"/>
                  </a:lnTo>
                  <a:lnTo>
                    <a:pt x="387" y="248"/>
                  </a:lnTo>
                  <a:lnTo>
                    <a:pt x="387" y="248"/>
                  </a:lnTo>
                  <a:lnTo>
                    <a:pt x="389" y="248"/>
                  </a:lnTo>
                  <a:lnTo>
                    <a:pt x="389" y="248"/>
                  </a:lnTo>
                  <a:lnTo>
                    <a:pt x="391" y="248"/>
                  </a:lnTo>
                  <a:lnTo>
                    <a:pt x="396" y="248"/>
                  </a:lnTo>
                  <a:lnTo>
                    <a:pt x="396" y="248"/>
                  </a:lnTo>
                  <a:lnTo>
                    <a:pt x="398" y="248"/>
                  </a:lnTo>
                  <a:lnTo>
                    <a:pt x="398" y="248"/>
                  </a:lnTo>
                  <a:lnTo>
                    <a:pt x="398" y="248"/>
                  </a:lnTo>
                  <a:lnTo>
                    <a:pt x="400" y="248"/>
                  </a:lnTo>
                  <a:lnTo>
                    <a:pt x="400" y="248"/>
                  </a:lnTo>
                  <a:lnTo>
                    <a:pt x="400" y="246"/>
                  </a:lnTo>
                  <a:lnTo>
                    <a:pt x="400" y="246"/>
                  </a:lnTo>
                  <a:lnTo>
                    <a:pt x="403" y="246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3" y="248"/>
                  </a:lnTo>
                  <a:lnTo>
                    <a:pt x="405" y="246"/>
                  </a:lnTo>
                  <a:lnTo>
                    <a:pt x="407" y="246"/>
                  </a:lnTo>
                  <a:lnTo>
                    <a:pt x="407" y="246"/>
                  </a:lnTo>
                  <a:lnTo>
                    <a:pt x="407" y="246"/>
                  </a:lnTo>
                  <a:lnTo>
                    <a:pt x="409" y="248"/>
                  </a:lnTo>
                  <a:lnTo>
                    <a:pt x="409" y="250"/>
                  </a:lnTo>
                  <a:lnTo>
                    <a:pt x="412" y="250"/>
                  </a:lnTo>
                  <a:lnTo>
                    <a:pt x="412" y="250"/>
                  </a:lnTo>
                  <a:lnTo>
                    <a:pt x="414" y="250"/>
                  </a:lnTo>
                  <a:lnTo>
                    <a:pt x="414" y="248"/>
                  </a:lnTo>
                  <a:lnTo>
                    <a:pt x="414" y="248"/>
                  </a:lnTo>
                  <a:lnTo>
                    <a:pt x="414" y="248"/>
                  </a:lnTo>
                  <a:lnTo>
                    <a:pt x="414" y="248"/>
                  </a:lnTo>
                  <a:lnTo>
                    <a:pt x="414" y="248"/>
                  </a:lnTo>
                  <a:lnTo>
                    <a:pt x="414" y="248"/>
                  </a:lnTo>
                  <a:lnTo>
                    <a:pt x="414" y="248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6"/>
                  </a:lnTo>
                  <a:lnTo>
                    <a:pt x="412" y="243"/>
                  </a:lnTo>
                  <a:lnTo>
                    <a:pt x="414" y="243"/>
                  </a:lnTo>
                  <a:lnTo>
                    <a:pt x="414" y="243"/>
                  </a:lnTo>
                  <a:lnTo>
                    <a:pt x="414" y="243"/>
                  </a:lnTo>
                  <a:lnTo>
                    <a:pt x="414" y="243"/>
                  </a:lnTo>
                  <a:lnTo>
                    <a:pt x="414" y="243"/>
                  </a:lnTo>
                  <a:lnTo>
                    <a:pt x="416" y="243"/>
                  </a:lnTo>
                  <a:lnTo>
                    <a:pt x="416" y="243"/>
                  </a:lnTo>
                  <a:lnTo>
                    <a:pt x="416" y="243"/>
                  </a:lnTo>
                  <a:lnTo>
                    <a:pt x="416" y="241"/>
                  </a:lnTo>
                  <a:lnTo>
                    <a:pt x="416" y="241"/>
                  </a:lnTo>
                  <a:lnTo>
                    <a:pt x="416" y="241"/>
                  </a:lnTo>
                  <a:lnTo>
                    <a:pt x="418" y="241"/>
                  </a:lnTo>
                  <a:lnTo>
                    <a:pt x="418" y="241"/>
                  </a:lnTo>
                  <a:lnTo>
                    <a:pt x="421" y="241"/>
                  </a:lnTo>
                  <a:lnTo>
                    <a:pt x="423" y="241"/>
                  </a:lnTo>
                  <a:lnTo>
                    <a:pt x="423" y="241"/>
                  </a:lnTo>
                  <a:lnTo>
                    <a:pt x="425" y="239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30" y="239"/>
                  </a:lnTo>
                  <a:lnTo>
                    <a:pt x="430" y="241"/>
                  </a:lnTo>
                  <a:lnTo>
                    <a:pt x="434" y="239"/>
                  </a:lnTo>
                  <a:lnTo>
                    <a:pt x="434" y="241"/>
                  </a:lnTo>
                  <a:lnTo>
                    <a:pt x="434" y="241"/>
                  </a:lnTo>
                  <a:lnTo>
                    <a:pt x="434" y="241"/>
                  </a:lnTo>
                  <a:lnTo>
                    <a:pt x="434" y="239"/>
                  </a:lnTo>
                  <a:lnTo>
                    <a:pt x="434" y="239"/>
                  </a:lnTo>
                  <a:lnTo>
                    <a:pt x="436" y="239"/>
                  </a:lnTo>
                  <a:lnTo>
                    <a:pt x="436" y="239"/>
                  </a:lnTo>
                  <a:lnTo>
                    <a:pt x="436" y="239"/>
                  </a:lnTo>
                  <a:lnTo>
                    <a:pt x="441" y="241"/>
                  </a:lnTo>
                  <a:lnTo>
                    <a:pt x="443" y="241"/>
                  </a:lnTo>
                  <a:lnTo>
                    <a:pt x="448" y="241"/>
                  </a:lnTo>
                  <a:lnTo>
                    <a:pt x="448" y="241"/>
                  </a:lnTo>
                  <a:lnTo>
                    <a:pt x="448" y="241"/>
                  </a:lnTo>
                  <a:lnTo>
                    <a:pt x="448" y="239"/>
                  </a:lnTo>
                  <a:lnTo>
                    <a:pt x="448" y="239"/>
                  </a:lnTo>
                  <a:lnTo>
                    <a:pt x="450" y="239"/>
                  </a:lnTo>
                  <a:lnTo>
                    <a:pt x="450" y="239"/>
                  </a:lnTo>
                  <a:lnTo>
                    <a:pt x="450" y="237"/>
                  </a:lnTo>
                  <a:lnTo>
                    <a:pt x="450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7"/>
                  </a:lnTo>
                  <a:lnTo>
                    <a:pt x="454" y="234"/>
                  </a:lnTo>
                  <a:lnTo>
                    <a:pt x="454" y="234"/>
                  </a:lnTo>
                  <a:lnTo>
                    <a:pt x="457" y="234"/>
                  </a:lnTo>
                  <a:lnTo>
                    <a:pt x="457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3" y="237"/>
                  </a:lnTo>
                  <a:lnTo>
                    <a:pt x="463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59" y="234"/>
                  </a:lnTo>
                  <a:lnTo>
                    <a:pt x="466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0" y="232"/>
                  </a:lnTo>
                  <a:lnTo>
                    <a:pt x="470" y="232"/>
                  </a:lnTo>
                  <a:lnTo>
                    <a:pt x="470" y="232"/>
                  </a:lnTo>
                  <a:lnTo>
                    <a:pt x="468" y="232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70" y="234"/>
                  </a:lnTo>
                  <a:lnTo>
                    <a:pt x="477" y="237"/>
                  </a:lnTo>
                  <a:lnTo>
                    <a:pt x="477" y="237"/>
                  </a:lnTo>
                  <a:lnTo>
                    <a:pt x="477" y="239"/>
                  </a:lnTo>
                  <a:lnTo>
                    <a:pt x="477" y="239"/>
                  </a:lnTo>
                  <a:lnTo>
                    <a:pt x="477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4" y="239"/>
                  </a:lnTo>
                  <a:lnTo>
                    <a:pt x="472" y="239"/>
                  </a:lnTo>
                  <a:lnTo>
                    <a:pt x="472" y="241"/>
                  </a:lnTo>
                  <a:lnTo>
                    <a:pt x="472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1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4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86" y="246"/>
                  </a:lnTo>
                  <a:lnTo>
                    <a:pt x="488" y="246"/>
                  </a:lnTo>
                  <a:lnTo>
                    <a:pt x="488" y="243"/>
                  </a:lnTo>
                  <a:lnTo>
                    <a:pt x="488" y="243"/>
                  </a:lnTo>
                  <a:lnTo>
                    <a:pt x="488" y="243"/>
                  </a:lnTo>
                  <a:lnTo>
                    <a:pt x="488" y="243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6" y="241"/>
                  </a:lnTo>
                  <a:lnTo>
                    <a:pt x="486" y="241"/>
                  </a:lnTo>
                  <a:lnTo>
                    <a:pt x="483" y="241"/>
                  </a:lnTo>
                  <a:lnTo>
                    <a:pt x="483" y="239"/>
                  </a:lnTo>
                  <a:lnTo>
                    <a:pt x="483" y="239"/>
                  </a:lnTo>
                  <a:lnTo>
                    <a:pt x="483" y="239"/>
                  </a:lnTo>
                  <a:lnTo>
                    <a:pt x="483" y="239"/>
                  </a:lnTo>
                  <a:lnTo>
                    <a:pt x="486" y="239"/>
                  </a:lnTo>
                  <a:lnTo>
                    <a:pt x="486" y="239"/>
                  </a:lnTo>
                  <a:lnTo>
                    <a:pt x="488" y="239"/>
                  </a:lnTo>
                  <a:lnTo>
                    <a:pt x="488" y="239"/>
                  </a:lnTo>
                  <a:lnTo>
                    <a:pt x="495" y="239"/>
                  </a:lnTo>
                  <a:lnTo>
                    <a:pt x="495" y="237"/>
                  </a:lnTo>
                  <a:lnTo>
                    <a:pt x="497" y="237"/>
                  </a:lnTo>
                  <a:lnTo>
                    <a:pt x="497" y="237"/>
                  </a:lnTo>
                  <a:lnTo>
                    <a:pt x="497" y="234"/>
                  </a:lnTo>
                  <a:lnTo>
                    <a:pt x="497" y="234"/>
                  </a:lnTo>
                  <a:lnTo>
                    <a:pt x="497" y="234"/>
                  </a:lnTo>
                  <a:lnTo>
                    <a:pt x="497" y="234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499" y="232"/>
                  </a:lnTo>
                  <a:lnTo>
                    <a:pt x="499" y="232"/>
                  </a:lnTo>
                  <a:lnTo>
                    <a:pt x="497" y="232"/>
                  </a:lnTo>
                  <a:lnTo>
                    <a:pt x="497" y="232"/>
                  </a:lnTo>
                  <a:lnTo>
                    <a:pt x="497" y="232"/>
                  </a:lnTo>
                  <a:lnTo>
                    <a:pt x="497" y="232"/>
                  </a:lnTo>
                  <a:lnTo>
                    <a:pt x="497" y="230"/>
                  </a:lnTo>
                  <a:lnTo>
                    <a:pt x="497" y="230"/>
                  </a:lnTo>
                  <a:lnTo>
                    <a:pt x="497" y="230"/>
                  </a:lnTo>
                  <a:lnTo>
                    <a:pt x="495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5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2" y="230"/>
                  </a:lnTo>
                  <a:lnTo>
                    <a:pt x="490" y="230"/>
                  </a:lnTo>
                  <a:lnTo>
                    <a:pt x="490" y="230"/>
                  </a:lnTo>
                  <a:lnTo>
                    <a:pt x="490" y="230"/>
                  </a:lnTo>
                  <a:lnTo>
                    <a:pt x="490" y="228"/>
                  </a:lnTo>
                  <a:lnTo>
                    <a:pt x="490" y="228"/>
                  </a:lnTo>
                  <a:lnTo>
                    <a:pt x="490" y="228"/>
                  </a:lnTo>
                  <a:lnTo>
                    <a:pt x="490" y="228"/>
                  </a:lnTo>
                  <a:lnTo>
                    <a:pt x="488" y="225"/>
                  </a:lnTo>
                  <a:lnTo>
                    <a:pt x="488" y="225"/>
                  </a:lnTo>
                  <a:lnTo>
                    <a:pt x="488" y="225"/>
                  </a:lnTo>
                  <a:lnTo>
                    <a:pt x="488" y="225"/>
                  </a:lnTo>
                  <a:lnTo>
                    <a:pt x="486" y="225"/>
                  </a:lnTo>
                  <a:lnTo>
                    <a:pt x="486" y="225"/>
                  </a:lnTo>
                  <a:lnTo>
                    <a:pt x="486" y="225"/>
                  </a:lnTo>
                  <a:lnTo>
                    <a:pt x="486" y="225"/>
                  </a:lnTo>
                  <a:lnTo>
                    <a:pt x="486" y="225"/>
                  </a:lnTo>
                  <a:lnTo>
                    <a:pt x="486" y="223"/>
                  </a:lnTo>
                  <a:lnTo>
                    <a:pt x="483" y="223"/>
                  </a:lnTo>
                  <a:lnTo>
                    <a:pt x="483" y="223"/>
                  </a:lnTo>
                  <a:lnTo>
                    <a:pt x="481" y="223"/>
                  </a:lnTo>
                  <a:lnTo>
                    <a:pt x="481" y="221"/>
                  </a:lnTo>
                  <a:lnTo>
                    <a:pt x="481" y="221"/>
                  </a:lnTo>
                  <a:lnTo>
                    <a:pt x="481" y="221"/>
                  </a:lnTo>
                  <a:lnTo>
                    <a:pt x="481" y="221"/>
                  </a:lnTo>
                  <a:lnTo>
                    <a:pt x="481" y="221"/>
                  </a:lnTo>
                  <a:lnTo>
                    <a:pt x="481" y="221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79" y="221"/>
                  </a:lnTo>
                  <a:lnTo>
                    <a:pt x="479" y="221"/>
                  </a:lnTo>
                  <a:lnTo>
                    <a:pt x="479" y="221"/>
                  </a:lnTo>
                  <a:lnTo>
                    <a:pt x="479" y="219"/>
                  </a:lnTo>
                  <a:lnTo>
                    <a:pt x="479" y="219"/>
                  </a:lnTo>
                  <a:lnTo>
                    <a:pt x="479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9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6" y="216"/>
                  </a:lnTo>
                  <a:lnTo>
                    <a:pt x="488" y="214"/>
                  </a:lnTo>
                  <a:lnTo>
                    <a:pt x="490" y="214"/>
                  </a:lnTo>
                  <a:lnTo>
                    <a:pt x="490" y="216"/>
                  </a:lnTo>
                  <a:lnTo>
                    <a:pt x="490" y="216"/>
                  </a:lnTo>
                  <a:lnTo>
                    <a:pt x="490" y="216"/>
                  </a:lnTo>
                  <a:lnTo>
                    <a:pt x="490" y="214"/>
                  </a:lnTo>
                  <a:lnTo>
                    <a:pt x="490" y="214"/>
                  </a:lnTo>
                  <a:lnTo>
                    <a:pt x="492" y="214"/>
                  </a:lnTo>
                  <a:lnTo>
                    <a:pt x="492" y="216"/>
                  </a:lnTo>
                  <a:lnTo>
                    <a:pt x="492" y="216"/>
                  </a:lnTo>
                  <a:lnTo>
                    <a:pt x="492" y="216"/>
                  </a:lnTo>
                  <a:lnTo>
                    <a:pt x="495" y="216"/>
                  </a:lnTo>
                  <a:lnTo>
                    <a:pt x="495" y="216"/>
                  </a:lnTo>
                  <a:lnTo>
                    <a:pt x="497" y="216"/>
                  </a:lnTo>
                  <a:lnTo>
                    <a:pt x="497" y="216"/>
                  </a:lnTo>
                  <a:lnTo>
                    <a:pt x="501" y="216"/>
                  </a:lnTo>
                  <a:lnTo>
                    <a:pt x="508" y="216"/>
                  </a:lnTo>
                  <a:lnTo>
                    <a:pt x="515" y="216"/>
                  </a:lnTo>
                  <a:lnTo>
                    <a:pt x="526" y="219"/>
                  </a:lnTo>
                  <a:lnTo>
                    <a:pt x="528" y="219"/>
                  </a:lnTo>
                  <a:lnTo>
                    <a:pt x="531" y="219"/>
                  </a:lnTo>
                  <a:lnTo>
                    <a:pt x="535" y="221"/>
                  </a:lnTo>
                  <a:lnTo>
                    <a:pt x="540" y="221"/>
                  </a:lnTo>
                  <a:lnTo>
                    <a:pt x="544" y="223"/>
                  </a:lnTo>
                  <a:lnTo>
                    <a:pt x="549" y="223"/>
                  </a:lnTo>
                  <a:lnTo>
                    <a:pt x="551" y="225"/>
                  </a:lnTo>
                  <a:lnTo>
                    <a:pt x="555" y="225"/>
                  </a:lnTo>
                  <a:lnTo>
                    <a:pt x="558" y="225"/>
                  </a:lnTo>
                  <a:lnTo>
                    <a:pt x="558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25"/>
                  </a:lnTo>
                  <a:lnTo>
                    <a:pt x="553" y="225"/>
                  </a:lnTo>
                  <a:lnTo>
                    <a:pt x="555" y="228"/>
                  </a:lnTo>
                  <a:lnTo>
                    <a:pt x="553" y="228"/>
                  </a:lnTo>
                  <a:lnTo>
                    <a:pt x="553" y="228"/>
                  </a:lnTo>
                  <a:lnTo>
                    <a:pt x="553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30"/>
                  </a:lnTo>
                  <a:lnTo>
                    <a:pt x="555" y="230"/>
                  </a:lnTo>
                  <a:lnTo>
                    <a:pt x="555" y="230"/>
                  </a:lnTo>
                  <a:lnTo>
                    <a:pt x="555" y="230"/>
                  </a:lnTo>
                  <a:lnTo>
                    <a:pt x="555" y="228"/>
                  </a:lnTo>
                  <a:lnTo>
                    <a:pt x="558" y="228"/>
                  </a:lnTo>
                  <a:lnTo>
                    <a:pt x="558" y="228"/>
                  </a:lnTo>
                  <a:lnTo>
                    <a:pt x="558" y="228"/>
                  </a:lnTo>
                  <a:lnTo>
                    <a:pt x="558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5" y="228"/>
                  </a:lnTo>
                  <a:lnTo>
                    <a:pt x="558" y="228"/>
                  </a:lnTo>
                  <a:lnTo>
                    <a:pt x="558" y="228"/>
                  </a:lnTo>
                  <a:lnTo>
                    <a:pt x="564" y="230"/>
                  </a:lnTo>
                  <a:lnTo>
                    <a:pt x="571" y="230"/>
                  </a:lnTo>
                  <a:lnTo>
                    <a:pt x="571" y="230"/>
                  </a:lnTo>
                  <a:lnTo>
                    <a:pt x="573" y="230"/>
                  </a:lnTo>
                  <a:lnTo>
                    <a:pt x="573" y="230"/>
                  </a:lnTo>
                  <a:lnTo>
                    <a:pt x="571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69" y="230"/>
                  </a:lnTo>
                  <a:lnTo>
                    <a:pt x="571" y="230"/>
                  </a:lnTo>
                  <a:lnTo>
                    <a:pt x="571" y="230"/>
                  </a:lnTo>
                  <a:lnTo>
                    <a:pt x="573" y="232"/>
                  </a:lnTo>
                  <a:lnTo>
                    <a:pt x="573" y="232"/>
                  </a:lnTo>
                  <a:lnTo>
                    <a:pt x="576" y="232"/>
                  </a:lnTo>
                  <a:lnTo>
                    <a:pt x="576" y="232"/>
                  </a:lnTo>
                  <a:lnTo>
                    <a:pt x="576" y="232"/>
                  </a:lnTo>
                  <a:lnTo>
                    <a:pt x="578" y="232"/>
                  </a:lnTo>
                  <a:lnTo>
                    <a:pt x="578" y="232"/>
                  </a:lnTo>
                  <a:lnTo>
                    <a:pt x="580" y="232"/>
                  </a:lnTo>
                  <a:lnTo>
                    <a:pt x="587" y="234"/>
                  </a:lnTo>
                  <a:lnTo>
                    <a:pt x="591" y="234"/>
                  </a:lnTo>
                  <a:lnTo>
                    <a:pt x="594" y="234"/>
                  </a:lnTo>
                  <a:lnTo>
                    <a:pt x="594" y="237"/>
                  </a:lnTo>
                  <a:lnTo>
                    <a:pt x="594" y="237"/>
                  </a:lnTo>
                  <a:lnTo>
                    <a:pt x="594" y="237"/>
                  </a:lnTo>
                  <a:lnTo>
                    <a:pt x="594" y="237"/>
                  </a:lnTo>
                  <a:lnTo>
                    <a:pt x="594" y="237"/>
                  </a:lnTo>
                  <a:lnTo>
                    <a:pt x="596" y="237"/>
                  </a:lnTo>
                  <a:lnTo>
                    <a:pt x="596" y="237"/>
                  </a:lnTo>
                  <a:lnTo>
                    <a:pt x="596" y="239"/>
                  </a:lnTo>
                  <a:lnTo>
                    <a:pt x="598" y="239"/>
                  </a:lnTo>
                  <a:lnTo>
                    <a:pt x="598" y="239"/>
                  </a:lnTo>
                  <a:lnTo>
                    <a:pt x="598" y="239"/>
                  </a:lnTo>
                  <a:lnTo>
                    <a:pt x="600" y="239"/>
                  </a:lnTo>
                  <a:lnTo>
                    <a:pt x="600" y="239"/>
                  </a:lnTo>
                  <a:lnTo>
                    <a:pt x="600" y="239"/>
                  </a:lnTo>
                  <a:lnTo>
                    <a:pt x="605" y="241"/>
                  </a:lnTo>
                  <a:lnTo>
                    <a:pt x="609" y="243"/>
                  </a:lnTo>
                  <a:lnTo>
                    <a:pt x="607" y="241"/>
                  </a:lnTo>
                  <a:lnTo>
                    <a:pt x="609" y="243"/>
                  </a:lnTo>
                  <a:lnTo>
                    <a:pt x="609" y="243"/>
                  </a:lnTo>
                  <a:lnTo>
                    <a:pt x="609" y="243"/>
                  </a:lnTo>
                  <a:lnTo>
                    <a:pt x="612" y="243"/>
                  </a:lnTo>
                  <a:lnTo>
                    <a:pt x="614" y="243"/>
                  </a:lnTo>
                  <a:lnTo>
                    <a:pt x="614" y="243"/>
                  </a:lnTo>
                  <a:lnTo>
                    <a:pt x="614" y="243"/>
                  </a:lnTo>
                  <a:lnTo>
                    <a:pt x="616" y="243"/>
                  </a:lnTo>
                  <a:lnTo>
                    <a:pt x="616" y="243"/>
                  </a:lnTo>
                  <a:lnTo>
                    <a:pt x="616" y="246"/>
                  </a:lnTo>
                  <a:lnTo>
                    <a:pt x="618" y="246"/>
                  </a:lnTo>
                  <a:lnTo>
                    <a:pt x="618" y="246"/>
                  </a:lnTo>
                  <a:lnTo>
                    <a:pt x="618" y="246"/>
                  </a:lnTo>
                  <a:lnTo>
                    <a:pt x="618" y="248"/>
                  </a:lnTo>
                  <a:lnTo>
                    <a:pt x="618" y="248"/>
                  </a:lnTo>
                  <a:lnTo>
                    <a:pt x="618" y="248"/>
                  </a:lnTo>
                  <a:lnTo>
                    <a:pt x="618" y="248"/>
                  </a:lnTo>
                  <a:lnTo>
                    <a:pt x="618" y="248"/>
                  </a:lnTo>
                  <a:lnTo>
                    <a:pt x="618" y="248"/>
                  </a:lnTo>
                  <a:lnTo>
                    <a:pt x="618" y="248"/>
                  </a:lnTo>
                  <a:lnTo>
                    <a:pt x="621" y="248"/>
                  </a:lnTo>
                  <a:lnTo>
                    <a:pt x="621" y="248"/>
                  </a:lnTo>
                  <a:lnTo>
                    <a:pt x="621" y="248"/>
                  </a:lnTo>
                  <a:lnTo>
                    <a:pt x="621" y="248"/>
                  </a:lnTo>
                  <a:lnTo>
                    <a:pt x="621" y="248"/>
                  </a:lnTo>
                  <a:lnTo>
                    <a:pt x="621" y="248"/>
                  </a:lnTo>
                  <a:lnTo>
                    <a:pt x="621" y="248"/>
                  </a:lnTo>
                  <a:lnTo>
                    <a:pt x="623" y="248"/>
                  </a:lnTo>
                  <a:lnTo>
                    <a:pt x="623" y="248"/>
                  </a:lnTo>
                  <a:lnTo>
                    <a:pt x="623" y="248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5" y="246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3" y="246"/>
                  </a:lnTo>
                  <a:lnTo>
                    <a:pt x="623" y="243"/>
                  </a:lnTo>
                  <a:lnTo>
                    <a:pt x="623" y="243"/>
                  </a:lnTo>
                  <a:lnTo>
                    <a:pt x="623" y="243"/>
                  </a:lnTo>
                  <a:lnTo>
                    <a:pt x="623" y="243"/>
                  </a:lnTo>
                  <a:lnTo>
                    <a:pt x="623" y="243"/>
                  </a:lnTo>
                  <a:lnTo>
                    <a:pt x="625" y="239"/>
                  </a:lnTo>
                  <a:lnTo>
                    <a:pt x="625" y="239"/>
                  </a:lnTo>
                  <a:lnTo>
                    <a:pt x="625" y="239"/>
                  </a:lnTo>
                  <a:lnTo>
                    <a:pt x="625" y="239"/>
                  </a:lnTo>
                  <a:lnTo>
                    <a:pt x="625" y="239"/>
                  </a:lnTo>
                  <a:lnTo>
                    <a:pt x="625" y="237"/>
                  </a:lnTo>
                  <a:lnTo>
                    <a:pt x="625" y="237"/>
                  </a:lnTo>
                  <a:lnTo>
                    <a:pt x="625" y="237"/>
                  </a:lnTo>
                  <a:lnTo>
                    <a:pt x="625" y="237"/>
                  </a:lnTo>
                  <a:lnTo>
                    <a:pt x="625" y="237"/>
                  </a:lnTo>
                  <a:lnTo>
                    <a:pt x="625" y="237"/>
                  </a:lnTo>
                  <a:lnTo>
                    <a:pt x="623" y="237"/>
                  </a:lnTo>
                  <a:lnTo>
                    <a:pt x="623" y="237"/>
                  </a:lnTo>
                  <a:lnTo>
                    <a:pt x="625" y="237"/>
                  </a:lnTo>
                  <a:lnTo>
                    <a:pt x="625" y="237"/>
                  </a:lnTo>
                  <a:lnTo>
                    <a:pt x="625" y="234"/>
                  </a:lnTo>
                  <a:lnTo>
                    <a:pt x="625" y="234"/>
                  </a:lnTo>
                  <a:lnTo>
                    <a:pt x="623" y="234"/>
                  </a:lnTo>
                  <a:lnTo>
                    <a:pt x="623" y="234"/>
                  </a:lnTo>
                  <a:lnTo>
                    <a:pt x="623" y="234"/>
                  </a:lnTo>
                  <a:lnTo>
                    <a:pt x="621" y="234"/>
                  </a:lnTo>
                  <a:lnTo>
                    <a:pt x="623" y="234"/>
                  </a:lnTo>
                  <a:lnTo>
                    <a:pt x="623" y="234"/>
                  </a:lnTo>
                  <a:lnTo>
                    <a:pt x="625" y="234"/>
                  </a:lnTo>
                  <a:lnTo>
                    <a:pt x="623" y="234"/>
                  </a:lnTo>
                  <a:lnTo>
                    <a:pt x="623" y="234"/>
                  </a:lnTo>
                  <a:lnTo>
                    <a:pt x="625" y="234"/>
                  </a:lnTo>
                  <a:lnTo>
                    <a:pt x="625" y="232"/>
                  </a:lnTo>
                  <a:lnTo>
                    <a:pt x="623" y="234"/>
                  </a:lnTo>
                  <a:lnTo>
                    <a:pt x="623" y="232"/>
                  </a:lnTo>
                  <a:lnTo>
                    <a:pt x="621" y="232"/>
                  </a:lnTo>
                  <a:lnTo>
                    <a:pt x="621" y="234"/>
                  </a:lnTo>
                  <a:lnTo>
                    <a:pt x="618" y="234"/>
                  </a:lnTo>
                  <a:lnTo>
                    <a:pt x="618" y="234"/>
                  </a:lnTo>
                  <a:lnTo>
                    <a:pt x="614" y="232"/>
                  </a:lnTo>
                  <a:lnTo>
                    <a:pt x="614" y="232"/>
                  </a:lnTo>
                  <a:lnTo>
                    <a:pt x="612" y="232"/>
                  </a:lnTo>
                  <a:lnTo>
                    <a:pt x="612" y="232"/>
                  </a:lnTo>
                  <a:lnTo>
                    <a:pt x="612" y="230"/>
                  </a:lnTo>
                  <a:lnTo>
                    <a:pt x="605" y="228"/>
                  </a:lnTo>
                  <a:lnTo>
                    <a:pt x="603" y="228"/>
                  </a:lnTo>
                  <a:lnTo>
                    <a:pt x="603" y="225"/>
                  </a:lnTo>
                  <a:lnTo>
                    <a:pt x="603" y="225"/>
                  </a:lnTo>
                  <a:lnTo>
                    <a:pt x="603" y="225"/>
                  </a:lnTo>
                  <a:lnTo>
                    <a:pt x="603" y="225"/>
                  </a:lnTo>
                  <a:lnTo>
                    <a:pt x="603" y="225"/>
                  </a:lnTo>
                  <a:lnTo>
                    <a:pt x="603" y="223"/>
                  </a:lnTo>
                  <a:lnTo>
                    <a:pt x="603" y="223"/>
                  </a:lnTo>
                  <a:lnTo>
                    <a:pt x="603" y="223"/>
                  </a:lnTo>
                  <a:lnTo>
                    <a:pt x="603" y="223"/>
                  </a:lnTo>
                  <a:lnTo>
                    <a:pt x="603" y="223"/>
                  </a:lnTo>
                  <a:lnTo>
                    <a:pt x="603" y="223"/>
                  </a:lnTo>
                  <a:lnTo>
                    <a:pt x="603" y="223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1"/>
                  </a:lnTo>
                  <a:lnTo>
                    <a:pt x="600" y="223"/>
                  </a:lnTo>
                  <a:lnTo>
                    <a:pt x="600" y="223"/>
                  </a:lnTo>
                  <a:lnTo>
                    <a:pt x="600" y="223"/>
                  </a:lnTo>
                  <a:lnTo>
                    <a:pt x="598" y="223"/>
                  </a:lnTo>
                  <a:lnTo>
                    <a:pt x="594" y="221"/>
                  </a:lnTo>
                  <a:lnTo>
                    <a:pt x="594" y="221"/>
                  </a:lnTo>
                  <a:lnTo>
                    <a:pt x="591" y="221"/>
                  </a:lnTo>
                  <a:lnTo>
                    <a:pt x="589" y="219"/>
                  </a:lnTo>
                  <a:lnTo>
                    <a:pt x="589" y="219"/>
                  </a:lnTo>
                  <a:lnTo>
                    <a:pt x="585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2" y="219"/>
                  </a:lnTo>
                  <a:lnTo>
                    <a:pt x="580" y="219"/>
                  </a:lnTo>
                  <a:lnTo>
                    <a:pt x="580" y="219"/>
                  </a:lnTo>
                  <a:lnTo>
                    <a:pt x="582" y="221"/>
                  </a:lnTo>
                  <a:lnTo>
                    <a:pt x="585" y="221"/>
                  </a:lnTo>
                  <a:lnTo>
                    <a:pt x="582" y="221"/>
                  </a:lnTo>
                  <a:lnTo>
                    <a:pt x="582" y="221"/>
                  </a:lnTo>
                  <a:lnTo>
                    <a:pt x="580" y="221"/>
                  </a:lnTo>
                  <a:lnTo>
                    <a:pt x="580" y="221"/>
                  </a:lnTo>
                  <a:lnTo>
                    <a:pt x="580" y="221"/>
                  </a:lnTo>
                  <a:lnTo>
                    <a:pt x="580" y="221"/>
                  </a:lnTo>
                  <a:lnTo>
                    <a:pt x="580" y="219"/>
                  </a:lnTo>
                  <a:lnTo>
                    <a:pt x="580" y="219"/>
                  </a:lnTo>
                  <a:lnTo>
                    <a:pt x="580" y="219"/>
                  </a:lnTo>
                  <a:lnTo>
                    <a:pt x="578" y="219"/>
                  </a:lnTo>
                  <a:lnTo>
                    <a:pt x="578" y="216"/>
                  </a:lnTo>
                  <a:lnTo>
                    <a:pt x="578" y="216"/>
                  </a:lnTo>
                  <a:lnTo>
                    <a:pt x="578" y="216"/>
                  </a:lnTo>
                  <a:lnTo>
                    <a:pt x="578" y="216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78" y="212"/>
                  </a:lnTo>
                  <a:lnTo>
                    <a:pt x="580" y="214"/>
                  </a:lnTo>
                  <a:lnTo>
                    <a:pt x="580" y="212"/>
                  </a:lnTo>
                  <a:lnTo>
                    <a:pt x="580" y="212"/>
                  </a:lnTo>
                  <a:lnTo>
                    <a:pt x="580" y="212"/>
                  </a:lnTo>
                  <a:lnTo>
                    <a:pt x="582" y="212"/>
                  </a:lnTo>
                  <a:lnTo>
                    <a:pt x="582" y="212"/>
                  </a:lnTo>
                  <a:lnTo>
                    <a:pt x="582" y="212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2" y="210"/>
                  </a:lnTo>
                  <a:lnTo>
                    <a:pt x="580" y="210"/>
                  </a:lnTo>
                  <a:lnTo>
                    <a:pt x="580" y="210"/>
                  </a:lnTo>
                  <a:lnTo>
                    <a:pt x="580" y="207"/>
                  </a:lnTo>
                  <a:lnTo>
                    <a:pt x="580" y="210"/>
                  </a:lnTo>
                  <a:lnTo>
                    <a:pt x="580" y="210"/>
                  </a:lnTo>
                  <a:lnTo>
                    <a:pt x="580" y="210"/>
                  </a:lnTo>
                  <a:lnTo>
                    <a:pt x="580" y="210"/>
                  </a:lnTo>
                  <a:lnTo>
                    <a:pt x="580" y="210"/>
                  </a:lnTo>
                  <a:lnTo>
                    <a:pt x="578" y="207"/>
                  </a:lnTo>
                  <a:lnTo>
                    <a:pt x="578" y="207"/>
                  </a:lnTo>
                  <a:lnTo>
                    <a:pt x="578" y="207"/>
                  </a:lnTo>
                  <a:lnTo>
                    <a:pt x="578" y="207"/>
                  </a:lnTo>
                  <a:lnTo>
                    <a:pt x="578" y="207"/>
                  </a:lnTo>
                  <a:lnTo>
                    <a:pt x="578" y="207"/>
                  </a:lnTo>
                  <a:lnTo>
                    <a:pt x="578" y="205"/>
                  </a:lnTo>
                  <a:lnTo>
                    <a:pt x="578" y="205"/>
                  </a:lnTo>
                  <a:lnTo>
                    <a:pt x="578" y="205"/>
                  </a:lnTo>
                  <a:lnTo>
                    <a:pt x="578" y="205"/>
                  </a:lnTo>
                  <a:lnTo>
                    <a:pt x="578" y="203"/>
                  </a:lnTo>
                  <a:lnTo>
                    <a:pt x="578" y="203"/>
                  </a:lnTo>
                  <a:lnTo>
                    <a:pt x="578" y="203"/>
                  </a:lnTo>
                  <a:lnTo>
                    <a:pt x="578" y="203"/>
                  </a:lnTo>
                  <a:lnTo>
                    <a:pt x="578" y="203"/>
                  </a:lnTo>
                  <a:lnTo>
                    <a:pt x="576" y="203"/>
                  </a:lnTo>
                  <a:lnTo>
                    <a:pt x="576" y="203"/>
                  </a:lnTo>
                  <a:lnTo>
                    <a:pt x="576" y="201"/>
                  </a:lnTo>
                  <a:lnTo>
                    <a:pt x="576" y="198"/>
                  </a:lnTo>
                  <a:lnTo>
                    <a:pt x="576" y="198"/>
                  </a:lnTo>
                  <a:lnTo>
                    <a:pt x="576" y="198"/>
                  </a:lnTo>
                  <a:lnTo>
                    <a:pt x="576" y="198"/>
                  </a:lnTo>
                  <a:lnTo>
                    <a:pt x="576" y="198"/>
                  </a:lnTo>
                  <a:lnTo>
                    <a:pt x="573" y="196"/>
                  </a:lnTo>
                  <a:lnTo>
                    <a:pt x="573" y="196"/>
                  </a:lnTo>
                  <a:lnTo>
                    <a:pt x="573" y="196"/>
                  </a:lnTo>
                  <a:lnTo>
                    <a:pt x="571" y="196"/>
                  </a:lnTo>
                  <a:lnTo>
                    <a:pt x="571" y="196"/>
                  </a:lnTo>
                  <a:lnTo>
                    <a:pt x="569" y="196"/>
                  </a:lnTo>
                  <a:lnTo>
                    <a:pt x="567" y="196"/>
                  </a:lnTo>
                  <a:lnTo>
                    <a:pt x="564" y="196"/>
                  </a:lnTo>
                  <a:lnTo>
                    <a:pt x="564" y="196"/>
                  </a:lnTo>
                  <a:lnTo>
                    <a:pt x="564" y="196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2" y="194"/>
                  </a:lnTo>
                  <a:lnTo>
                    <a:pt x="564" y="194"/>
                  </a:lnTo>
                  <a:lnTo>
                    <a:pt x="564" y="194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4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2" y="192"/>
                  </a:lnTo>
                  <a:lnTo>
                    <a:pt x="560" y="192"/>
                  </a:lnTo>
                  <a:lnTo>
                    <a:pt x="560" y="192"/>
                  </a:lnTo>
                  <a:lnTo>
                    <a:pt x="560" y="192"/>
                  </a:lnTo>
                  <a:lnTo>
                    <a:pt x="562" y="189"/>
                  </a:lnTo>
                  <a:lnTo>
                    <a:pt x="562" y="189"/>
                  </a:lnTo>
                  <a:lnTo>
                    <a:pt x="562" y="189"/>
                  </a:lnTo>
                  <a:lnTo>
                    <a:pt x="562" y="187"/>
                  </a:lnTo>
                  <a:lnTo>
                    <a:pt x="562" y="187"/>
                  </a:lnTo>
                  <a:lnTo>
                    <a:pt x="562" y="187"/>
                  </a:lnTo>
                  <a:lnTo>
                    <a:pt x="562" y="187"/>
                  </a:lnTo>
                  <a:lnTo>
                    <a:pt x="564" y="187"/>
                  </a:lnTo>
                  <a:lnTo>
                    <a:pt x="564" y="187"/>
                  </a:lnTo>
                  <a:lnTo>
                    <a:pt x="567" y="185"/>
                  </a:lnTo>
                  <a:lnTo>
                    <a:pt x="569" y="185"/>
                  </a:lnTo>
                  <a:lnTo>
                    <a:pt x="571" y="185"/>
                  </a:lnTo>
                  <a:lnTo>
                    <a:pt x="569" y="185"/>
                  </a:lnTo>
                  <a:lnTo>
                    <a:pt x="569" y="185"/>
                  </a:lnTo>
                  <a:lnTo>
                    <a:pt x="571" y="183"/>
                  </a:lnTo>
                  <a:lnTo>
                    <a:pt x="571" y="183"/>
                  </a:lnTo>
                  <a:lnTo>
                    <a:pt x="573" y="183"/>
                  </a:lnTo>
                  <a:lnTo>
                    <a:pt x="573" y="183"/>
                  </a:lnTo>
                  <a:lnTo>
                    <a:pt x="573" y="183"/>
                  </a:lnTo>
                  <a:lnTo>
                    <a:pt x="573" y="183"/>
                  </a:lnTo>
                  <a:lnTo>
                    <a:pt x="573" y="180"/>
                  </a:lnTo>
                  <a:lnTo>
                    <a:pt x="576" y="178"/>
                  </a:lnTo>
                  <a:lnTo>
                    <a:pt x="578" y="178"/>
                  </a:lnTo>
                  <a:lnTo>
                    <a:pt x="578" y="180"/>
                  </a:lnTo>
                  <a:lnTo>
                    <a:pt x="578" y="178"/>
                  </a:lnTo>
                  <a:lnTo>
                    <a:pt x="578" y="178"/>
                  </a:lnTo>
                  <a:lnTo>
                    <a:pt x="578" y="178"/>
                  </a:lnTo>
                  <a:lnTo>
                    <a:pt x="578" y="178"/>
                  </a:lnTo>
                  <a:lnTo>
                    <a:pt x="578" y="178"/>
                  </a:lnTo>
                  <a:lnTo>
                    <a:pt x="578" y="176"/>
                  </a:lnTo>
                  <a:lnTo>
                    <a:pt x="578" y="176"/>
                  </a:lnTo>
                  <a:lnTo>
                    <a:pt x="578" y="176"/>
                  </a:lnTo>
                  <a:lnTo>
                    <a:pt x="578" y="176"/>
                  </a:lnTo>
                  <a:lnTo>
                    <a:pt x="578" y="176"/>
                  </a:lnTo>
                  <a:lnTo>
                    <a:pt x="578" y="176"/>
                  </a:lnTo>
                  <a:lnTo>
                    <a:pt x="578" y="174"/>
                  </a:lnTo>
                  <a:lnTo>
                    <a:pt x="578" y="174"/>
                  </a:lnTo>
                  <a:lnTo>
                    <a:pt x="578" y="174"/>
                  </a:lnTo>
                  <a:lnTo>
                    <a:pt x="578" y="174"/>
                  </a:lnTo>
                  <a:lnTo>
                    <a:pt x="578" y="174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71"/>
                  </a:lnTo>
                  <a:lnTo>
                    <a:pt x="578" y="169"/>
                  </a:lnTo>
                  <a:lnTo>
                    <a:pt x="578" y="169"/>
                  </a:lnTo>
                  <a:lnTo>
                    <a:pt x="576" y="169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7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5"/>
                  </a:lnTo>
                  <a:lnTo>
                    <a:pt x="576" y="162"/>
                  </a:lnTo>
                  <a:lnTo>
                    <a:pt x="576" y="162"/>
                  </a:lnTo>
                  <a:lnTo>
                    <a:pt x="576" y="162"/>
                  </a:lnTo>
                  <a:lnTo>
                    <a:pt x="576" y="162"/>
                  </a:lnTo>
                  <a:lnTo>
                    <a:pt x="576" y="162"/>
                  </a:lnTo>
                  <a:lnTo>
                    <a:pt x="576" y="162"/>
                  </a:lnTo>
                  <a:lnTo>
                    <a:pt x="576" y="162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3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3" y="160"/>
                  </a:lnTo>
                  <a:lnTo>
                    <a:pt x="573" y="160"/>
                  </a:lnTo>
                  <a:lnTo>
                    <a:pt x="573" y="160"/>
                  </a:lnTo>
                  <a:lnTo>
                    <a:pt x="573" y="160"/>
                  </a:lnTo>
                  <a:lnTo>
                    <a:pt x="576" y="158"/>
                  </a:lnTo>
                  <a:lnTo>
                    <a:pt x="576" y="158"/>
                  </a:lnTo>
                  <a:lnTo>
                    <a:pt x="576" y="158"/>
                  </a:lnTo>
                  <a:lnTo>
                    <a:pt x="576" y="156"/>
                  </a:lnTo>
                  <a:lnTo>
                    <a:pt x="576" y="156"/>
                  </a:lnTo>
                  <a:lnTo>
                    <a:pt x="576" y="156"/>
                  </a:lnTo>
                  <a:lnTo>
                    <a:pt x="576" y="153"/>
                  </a:lnTo>
                  <a:lnTo>
                    <a:pt x="578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6"/>
                  </a:lnTo>
                  <a:lnTo>
                    <a:pt x="582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5" y="156"/>
                  </a:lnTo>
                  <a:lnTo>
                    <a:pt x="589" y="156"/>
                  </a:lnTo>
                  <a:lnTo>
                    <a:pt x="596" y="156"/>
                  </a:lnTo>
                  <a:lnTo>
                    <a:pt x="600" y="156"/>
                  </a:lnTo>
                  <a:lnTo>
                    <a:pt x="605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6"/>
                  </a:lnTo>
                  <a:lnTo>
                    <a:pt x="612" y="156"/>
                  </a:lnTo>
                  <a:lnTo>
                    <a:pt x="616" y="156"/>
                  </a:lnTo>
                  <a:lnTo>
                    <a:pt x="616" y="158"/>
                  </a:lnTo>
                  <a:lnTo>
                    <a:pt x="616" y="158"/>
                  </a:lnTo>
                  <a:lnTo>
                    <a:pt x="616" y="158"/>
                  </a:lnTo>
                  <a:lnTo>
                    <a:pt x="616" y="158"/>
                  </a:lnTo>
                  <a:lnTo>
                    <a:pt x="614" y="158"/>
                  </a:lnTo>
                  <a:lnTo>
                    <a:pt x="614" y="158"/>
                  </a:lnTo>
                  <a:lnTo>
                    <a:pt x="614" y="158"/>
                  </a:lnTo>
                  <a:lnTo>
                    <a:pt x="614" y="158"/>
                  </a:lnTo>
                  <a:lnTo>
                    <a:pt x="614" y="158"/>
                  </a:lnTo>
                  <a:lnTo>
                    <a:pt x="614" y="158"/>
                  </a:lnTo>
                  <a:lnTo>
                    <a:pt x="616" y="158"/>
                  </a:lnTo>
                  <a:lnTo>
                    <a:pt x="618" y="158"/>
                  </a:lnTo>
                  <a:lnTo>
                    <a:pt x="621" y="158"/>
                  </a:lnTo>
                  <a:lnTo>
                    <a:pt x="625" y="158"/>
                  </a:lnTo>
                  <a:lnTo>
                    <a:pt x="627" y="158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0"/>
                  </a:lnTo>
                  <a:lnTo>
                    <a:pt x="630" y="162"/>
                  </a:lnTo>
                  <a:lnTo>
                    <a:pt x="632" y="162"/>
                  </a:lnTo>
                  <a:lnTo>
                    <a:pt x="632" y="162"/>
                  </a:lnTo>
                  <a:lnTo>
                    <a:pt x="632" y="162"/>
                  </a:lnTo>
                  <a:lnTo>
                    <a:pt x="634" y="162"/>
                  </a:lnTo>
                  <a:lnTo>
                    <a:pt x="632" y="162"/>
                  </a:lnTo>
                  <a:lnTo>
                    <a:pt x="632" y="165"/>
                  </a:lnTo>
                  <a:lnTo>
                    <a:pt x="632" y="165"/>
                  </a:lnTo>
                  <a:lnTo>
                    <a:pt x="634" y="165"/>
                  </a:lnTo>
                  <a:lnTo>
                    <a:pt x="634" y="165"/>
                  </a:lnTo>
                  <a:lnTo>
                    <a:pt x="634" y="167"/>
                  </a:lnTo>
                  <a:lnTo>
                    <a:pt x="636" y="167"/>
                  </a:lnTo>
                  <a:lnTo>
                    <a:pt x="636" y="167"/>
                  </a:lnTo>
                  <a:lnTo>
                    <a:pt x="636" y="167"/>
                  </a:lnTo>
                  <a:lnTo>
                    <a:pt x="636" y="167"/>
                  </a:lnTo>
                  <a:lnTo>
                    <a:pt x="636" y="167"/>
                  </a:lnTo>
                  <a:lnTo>
                    <a:pt x="636" y="167"/>
                  </a:lnTo>
                  <a:lnTo>
                    <a:pt x="636" y="167"/>
                  </a:lnTo>
                  <a:lnTo>
                    <a:pt x="636" y="169"/>
                  </a:lnTo>
                  <a:lnTo>
                    <a:pt x="636" y="169"/>
                  </a:lnTo>
                  <a:lnTo>
                    <a:pt x="636" y="169"/>
                  </a:lnTo>
                  <a:lnTo>
                    <a:pt x="636" y="169"/>
                  </a:lnTo>
                  <a:lnTo>
                    <a:pt x="636" y="169"/>
                  </a:lnTo>
                  <a:lnTo>
                    <a:pt x="636" y="171"/>
                  </a:lnTo>
                  <a:lnTo>
                    <a:pt x="636" y="171"/>
                  </a:lnTo>
                  <a:lnTo>
                    <a:pt x="636" y="171"/>
                  </a:lnTo>
                  <a:lnTo>
                    <a:pt x="636" y="171"/>
                  </a:lnTo>
                  <a:lnTo>
                    <a:pt x="636" y="171"/>
                  </a:lnTo>
                  <a:lnTo>
                    <a:pt x="636" y="171"/>
                  </a:lnTo>
                  <a:lnTo>
                    <a:pt x="636" y="174"/>
                  </a:lnTo>
                  <a:lnTo>
                    <a:pt x="636" y="174"/>
                  </a:lnTo>
                  <a:lnTo>
                    <a:pt x="636" y="174"/>
                  </a:lnTo>
                  <a:lnTo>
                    <a:pt x="636" y="174"/>
                  </a:lnTo>
                  <a:lnTo>
                    <a:pt x="636" y="174"/>
                  </a:lnTo>
                  <a:lnTo>
                    <a:pt x="636" y="176"/>
                  </a:lnTo>
                  <a:lnTo>
                    <a:pt x="634" y="176"/>
                  </a:lnTo>
                  <a:lnTo>
                    <a:pt x="634" y="176"/>
                  </a:lnTo>
                  <a:lnTo>
                    <a:pt x="634" y="176"/>
                  </a:lnTo>
                  <a:lnTo>
                    <a:pt x="636" y="178"/>
                  </a:lnTo>
                  <a:lnTo>
                    <a:pt x="636" y="178"/>
                  </a:lnTo>
                  <a:lnTo>
                    <a:pt x="636" y="178"/>
                  </a:lnTo>
                  <a:lnTo>
                    <a:pt x="636" y="178"/>
                  </a:lnTo>
                  <a:lnTo>
                    <a:pt x="636" y="178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34" y="180"/>
                  </a:lnTo>
                  <a:lnTo>
                    <a:pt x="634" y="180"/>
                  </a:lnTo>
                  <a:lnTo>
                    <a:pt x="634" y="180"/>
                  </a:lnTo>
                  <a:lnTo>
                    <a:pt x="634" y="180"/>
                  </a:lnTo>
                  <a:lnTo>
                    <a:pt x="632" y="180"/>
                  </a:lnTo>
                  <a:lnTo>
                    <a:pt x="632" y="183"/>
                  </a:lnTo>
                  <a:lnTo>
                    <a:pt x="632" y="183"/>
                  </a:lnTo>
                  <a:lnTo>
                    <a:pt x="632" y="183"/>
                  </a:lnTo>
                  <a:lnTo>
                    <a:pt x="632" y="183"/>
                  </a:lnTo>
                  <a:lnTo>
                    <a:pt x="632" y="183"/>
                  </a:lnTo>
                  <a:lnTo>
                    <a:pt x="634" y="185"/>
                  </a:lnTo>
                  <a:lnTo>
                    <a:pt x="634" y="185"/>
                  </a:lnTo>
                  <a:lnTo>
                    <a:pt x="634" y="185"/>
                  </a:lnTo>
                  <a:lnTo>
                    <a:pt x="638" y="187"/>
                  </a:lnTo>
                  <a:lnTo>
                    <a:pt x="647" y="189"/>
                  </a:lnTo>
                  <a:lnTo>
                    <a:pt x="650" y="189"/>
                  </a:lnTo>
                  <a:lnTo>
                    <a:pt x="650" y="189"/>
                  </a:lnTo>
                  <a:lnTo>
                    <a:pt x="650" y="192"/>
                  </a:lnTo>
                  <a:lnTo>
                    <a:pt x="650" y="192"/>
                  </a:lnTo>
                  <a:lnTo>
                    <a:pt x="650" y="192"/>
                  </a:lnTo>
                  <a:lnTo>
                    <a:pt x="650" y="192"/>
                  </a:lnTo>
                  <a:lnTo>
                    <a:pt x="650" y="192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2" y="194"/>
                  </a:lnTo>
                  <a:lnTo>
                    <a:pt x="654" y="194"/>
                  </a:lnTo>
                  <a:lnTo>
                    <a:pt x="654" y="194"/>
                  </a:lnTo>
                  <a:lnTo>
                    <a:pt x="654" y="194"/>
                  </a:lnTo>
                  <a:lnTo>
                    <a:pt x="656" y="196"/>
                  </a:lnTo>
                  <a:lnTo>
                    <a:pt x="656" y="196"/>
                  </a:lnTo>
                  <a:lnTo>
                    <a:pt x="656" y="196"/>
                  </a:lnTo>
                  <a:lnTo>
                    <a:pt x="656" y="196"/>
                  </a:lnTo>
                  <a:lnTo>
                    <a:pt x="656" y="196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9" y="201"/>
                  </a:lnTo>
                  <a:lnTo>
                    <a:pt x="659" y="201"/>
                  </a:lnTo>
                  <a:lnTo>
                    <a:pt x="659" y="201"/>
                  </a:lnTo>
                  <a:lnTo>
                    <a:pt x="659" y="203"/>
                  </a:lnTo>
                  <a:lnTo>
                    <a:pt x="659" y="203"/>
                  </a:lnTo>
                  <a:lnTo>
                    <a:pt x="661" y="203"/>
                  </a:lnTo>
                  <a:lnTo>
                    <a:pt x="661" y="205"/>
                  </a:lnTo>
                  <a:lnTo>
                    <a:pt x="659" y="205"/>
                  </a:lnTo>
                  <a:lnTo>
                    <a:pt x="659" y="205"/>
                  </a:lnTo>
                  <a:lnTo>
                    <a:pt x="656" y="205"/>
                  </a:lnTo>
                  <a:lnTo>
                    <a:pt x="656" y="207"/>
                  </a:lnTo>
                  <a:lnTo>
                    <a:pt x="656" y="207"/>
                  </a:lnTo>
                  <a:lnTo>
                    <a:pt x="659" y="207"/>
                  </a:lnTo>
                  <a:lnTo>
                    <a:pt x="661" y="207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0"/>
                  </a:lnTo>
                  <a:lnTo>
                    <a:pt x="661" y="212"/>
                  </a:lnTo>
                  <a:lnTo>
                    <a:pt x="661" y="212"/>
                  </a:lnTo>
                  <a:lnTo>
                    <a:pt x="661" y="212"/>
                  </a:lnTo>
                  <a:lnTo>
                    <a:pt x="661" y="212"/>
                  </a:lnTo>
                  <a:lnTo>
                    <a:pt x="661" y="212"/>
                  </a:lnTo>
                  <a:lnTo>
                    <a:pt x="661" y="212"/>
                  </a:lnTo>
                  <a:lnTo>
                    <a:pt x="661" y="212"/>
                  </a:lnTo>
                  <a:lnTo>
                    <a:pt x="663" y="212"/>
                  </a:lnTo>
                  <a:lnTo>
                    <a:pt x="663" y="212"/>
                  </a:lnTo>
                  <a:lnTo>
                    <a:pt x="663" y="212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65" y="214"/>
                  </a:lnTo>
                  <a:lnTo>
                    <a:pt x="668" y="216"/>
                  </a:lnTo>
                  <a:lnTo>
                    <a:pt x="668" y="216"/>
                  </a:lnTo>
                  <a:lnTo>
                    <a:pt x="668" y="216"/>
                  </a:lnTo>
                  <a:lnTo>
                    <a:pt x="668" y="216"/>
                  </a:lnTo>
                  <a:lnTo>
                    <a:pt x="668" y="216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5" y="219"/>
                  </a:lnTo>
                  <a:lnTo>
                    <a:pt x="668" y="219"/>
                  </a:lnTo>
                  <a:lnTo>
                    <a:pt x="668" y="221"/>
                  </a:lnTo>
                  <a:lnTo>
                    <a:pt x="670" y="223"/>
                  </a:lnTo>
                  <a:lnTo>
                    <a:pt x="670" y="223"/>
                  </a:lnTo>
                  <a:lnTo>
                    <a:pt x="670" y="223"/>
                  </a:lnTo>
                  <a:lnTo>
                    <a:pt x="672" y="223"/>
                  </a:lnTo>
                  <a:lnTo>
                    <a:pt x="670" y="223"/>
                  </a:lnTo>
                  <a:lnTo>
                    <a:pt x="670" y="223"/>
                  </a:lnTo>
                  <a:lnTo>
                    <a:pt x="670" y="223"/>
                  </a:lnTo>
                  <a:lnTo>
                    <a:pt x="670" y="223"/>
                  </a:lnTo>
                  <a:lnTo>
                    <a:pt x="670" y="223"/>
                  </a:lnTo>
                  <a:lnTo>
                    <a:pt x="670" y="225"/>
                  </a:lnTo>
                  <a:lnTo>
                    <a:pt x="670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8"/>
                  </a:lnTo>
                  <a:lnTo>
                    <a:pt x="672" y="228"/>
                  </a:lnTo>
                  <a:lnTo>
                    <a:pt x="672" y="228"/>
                  </a:lnTo>
                  <a:lnTo>
                    <a:pt x="672" y="228"/>
                  </a:lnTo>
                  <a:lnTo>
                    <a:pt x="672" y="228"/>
                  </a:lnTo>
                  <a:lnTo>
                    <a:pt x="672" y="228"/>
                  </a:lnTo>
                  <a:lnTo>
                    <a:pt x="672" y="230"/>
                  </a:lnTo>
                  <a:lnTo>
                    <a:pt x="672" y="230"/>
                  </a:lnTo>
                  <a:lnTo>
                    <a:pt x="672" y="230"/>
                  </a:lnTo>
                  <a:lnTo>
                    <a:pt x="674" y="230"/>
                  </a:lnTo>
                  <a:lnTo>
                    <a:pt x="674" y="232"/>
                  </a:lnTo>
                  <a:lnTo>
                    <a:pt x="674" y="232"/>
                  </a:lnTo>
                  <a:lnTo>
                    <a:pt x="677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7" y="234"/>
                  </a:lnTo>
                  <a:lnTo>
                    <a:pt x="677" y="234"/>
                  </a:lnTo>
                  <a:lnTo>
                    <a:pt x="679" y="234"/>
                  </a:lnTo>
                  <a:lnTo>
                    <a:pt x="683" y="237"/>
                  </a:lnTo>
                  <a:lnTo>
                    <a:pt x="686" y="237"/>
                  </a:lnTo>
                  <a:lnTo>
                    <a:pt x="697" y="241"/>
                  </a:lnTo>
                  <a:lnTo>
                    <a:pt x="697" y="241"/>
                  </a:lnTo>
                  <a:lnTo>
                    <a:pt x="699" y="241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9" y="243"/>
                  </a:lnTo>
                  <a:lnTo>
                    <a:pt x="697" y="243"/>
                  </a:lnTo>
                  <a:lnTo>
                    <a:pt x="697" y="243"/>
                  </a:lnTo>
                  <a:lnTo>
                    <a:pt x="697" y="243"/>
                  </a:lnTo>
                  <a:lnTo>
                    <a:pt x="697" y="243"/>
                  </a:lnTo>
                  <a:lnTo>
                    <a:pt x="697" y="246"/>
                  </a:lnTo>
                  <a:lnTo>
                    <a:pt x="697" y="246"/>
                  </a:lnTo>
                  <a:lnTo>
                    <a:pt x="695" y="246"/>
                  </a:lnTo>
                  <a:lnTo>
                    <a:pt x="695" y="248"/>
                  </a:lnTo>
                  <a:lnTo>
                    <a:pt x="695" y="248"/>
                  </a:lnTo>
                  <a:lnTo>
                    <a:pt x="695" y="248"/>
                  </a:lnTo>
                  <a:lnTo>
                    <a:pt x="695" y="248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5" y="250"/>
                  </a:lnTo>
                  <a:lnTo>
                    <a:pt x="697" y="252"/>
                  </a:lnTo>
                  <a:lnTo>
                    <a:pt x="699" y="252"/>
                  </a:lnTo>
                  <a:lnTo>
                    <a:pt x="699" y="252"/>
                  </a:lnTo>
                  <a:lnTo>
                    <a:pt x="699" y="255"/>
                  </a:lnTo>
                  <a:lnTo>
                    <a:pt x="699" y="255"/>
                  </a:lnTo>
                  <a:lnTo>
                    <a:pt x="699" y="255"/>
                  </a:lnTo>
                  <a:lnTo>
                    <a:pt x="699" y="257"/>
                  </a:lnTo>
                  <a:lnTo>
                    <a:pt x="699" y="257"/>
                  </a:lnTo>
                  <a:lnTo>
                    <a:pt x="699" y="257"/>
                  </a:lnTo>
                  <a:lnTo>
                    <a:pt x="699" y="257"/>
                  </a:lnTo>
                  <a:lnTo>
                    <a:pt x="699" y="257"/>
                  </a:lnTo>
                  <a:lnTo>
                    <a:pt x="701" y="257"/>
                  </a:lnTo>
                  <a:lnTo>
                    <a:pt x="701" y="259"/>
                  </a:lnTo>
                  <a:lnTo>
                    <a:pt x="701" y="259"/>
                  </a:lnTo>
                  <a:lnTo>
                    <a:pt x="701" y="259"/>
                  </a:lnTo>
                  <a:lnTo>
                    <a:pt x="701" y="259"/>
                  </a:lnTo>
                  <a:lnTo>
                    <a:pt x="699" y="259"/>
                  </a:lnTo>
                  <a:lnTo>
                    <a:pt x="699" y="259"/>
                  </a:lnTo>
                  <a:lnTo>
                    <a:pt x="699" y="259"/>
                  </a:lnTo>
                  <a:lnTo>
                    <a:pt x="699" y="259"/>
                  </a:lnTo>
                  <a:lnTo>
                    <a:pt x="699" y="259"/>
                  </a:lnTo>
                  <a:lnTo>
                    <a:pt x="699" y="259"/>
                  </a:lnTo>
                  <a:lnTo>
                    <a:pt x="697" y="259"/>
                  </a:lnTo>
                  <a:lnTo>
                    <a:pt x="697" y="259"/>
                  </a:lnTo>
                  <a:lnTo>
                    <a:pt x="697" y="259"/>
                  </a:lnTo>
                  <a:lnTo>
                    <a:pt x="697" y="259"/>
                  </a:lnTo>
                  <a:lnTo>
                    <a:pt x="697" y="259"/>
                  </a:lnTo>
                  <a:lnTo>
                    <a:pt x="697" y="259"/>
                  </a:lnTo>
                  <a:lnTo>
                    <a:pt x="695" y="259"/>
                  </a:lnTo>
                  <a:lnTo>
                    <a:pt x="692" y="261"/>
                  </a:lnTo>
                  <a:lnTo>
                    <a:pt x="692" y="261"/>
                  </a:lnTo>
                  <a:lnTo>
                    <a:pt x="692" y="261"/>
                  </a:lnTo>
                  <a:lnTo>
                    <a:pt x="692" y="261"/>
                  </a:lnTo>
                  <a:lnTo>
                    <a:pt x="692" y="261"/>
                  </a:lnTo>
                  <a:lnTo>
                    <a:pt x="692" y="261"/>
                  </a:lnTo>
                  <a:lnTo>
                    <a:pt x="695" y="261"/>
                  </a:lnTo>
                  <a:lnTo>
                    <a:pt x="695" y="261"/>
                  </a:lnTo>
                  <a:lnTo>
                    <a:pt x="692" y="264"/>
                  </a:lnTo>
                  <a:lnTo>
                    <a:pt x="692" y="264"/>
                  </a:lnTo>
                  <a:lnTo>
                    <a:pt x="692" y="264"/>
                  </a:lnTo>
                  <a:lnTo>
                    <a:pt x="692" y="264"/>
                  </a:lnTo>
                  <a:lnTo>
                    <a:pt x="692" y="264"/>
                  </a:lnTo>
                  <a:lnTo>
                    <a:pt x="692" y="264"/>
                  </a:lnTo>
                  <a:lnTo>
                    <a:pt x="695" y="264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88" y="266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88" y="270"/>
                  </a:lnTo>
                  <a:lnTo>
                    <a:pt x="690" y="270"/>
                  </a:lnTo>
                  <a:lnTo>
                    <a:pt x="690" y="270"/>
                  </a:lnTo>
                  <a:lnTo>
                    <a:pt x="690" y="270"/>
                  </a:lnTo>
                  <a:lnTo>
                    <a:pt x="690" y="270"/>
                  </a:lnTo>
                  <a:lnTo>
                    <a:pt x="690" y="270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5"/>
                  </a:lnTo>
                  <a:lnTo>
                    <a:pt x="690" y="275"/>
                  </a:lnTo>
                  <a:lnTo>
                    <a:pt x="690" y="275"/>
                  </a:lnTo>
                  <a:lnTo>
                    <a:pt x="688" y="275"/>
                  </a:lnTo>
                  <a:lnTo>
                    <a:pt x="688" y="275"/>
                  </a:lnTo>
                  <a:lnTo>
                    <a:pt x="686" y="275"/>
                  </a:lnTo>
                  <a:lnTo>
                    <a:pt x="686" y="275"/>
                  </a:lnTo>
                  <a:lnTo>
                    <a:pt x="686" y="275"/>
                  </a:lnTo>
                  <a:lnTo>
                    <a:pt x="686" y="275"/>
                  </a:lnTo>
                  <a:lnTo>
                    <a:pt x="686" y="275"/>
                  </a:lnTo>
                  <a:lnTo>
                    <a:pt x="683" y="273"/>
                  </a:lnTo>
                  <a:lnTo>
                    <a:pt x="683" y="273"/>
                  </a:lnTo>
                  <a:lnTo>
                    <a:pt x="683" y="273"/>
                  </a:lnTo>
                  <a:lnTo>
                    <a:pt x="681" y="273"/>
                  </a:lnTo>
                  <a:lnTo>
                    <a:pt x="681" y="275"/>
                  </a:lnTo>
                  <a:lnTo>
                    <a:pt x="683" y="275"/>
                  </a:lnTo>
                  <a:lnTo>
                    <a:pt x="686" y="275"/>
                  </a:lnTo>
                  <a:lnTo>
                    <a:pt x="683" y="275"/>
                  </a:lnTo>
                  <a:lnTo>
                    <a:pt x="683" y="275"/>
                  </a:lnTo>
                  <a:lnTo>
                    <a:pt x="686" y="275"/>
                  </a:lnTo>
                  <a:lnTo>
                    <a:pt x="686" y="275"/>
                  </a:lnTo>
                  <a:lnTo>
                    <a:pt x="686" y="275"/>
                  </a:lnTo>
                  <a:lnTo>
                    <a:pt x="686" y="277"/>
                  </a:lnTo>
                  <a:lnTo>
                    <a:pt x="686" y="277"/>
                  </a:lnTo>
                  <a:lnTo>
                    <a:pt x="686" y="277"/>
                  </a:lnTo>
                  <a:lnTo>
                    <a:pt x="686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90" y="279"/>
                  </a:lnTo>
                  <a:lnTo>
                    <a:pt x="690" y="279"/>
                  </a:lnTo>
                  <a:lnTo>
                    <a:pt x="690" y="279"/>
                  </a:lnTo>
                  <a:lnTo>
                    <a:pt x="688" y="279"/>
                  </a:lnTo>
                  <a:lnTo>
                    <a:pt x="690" y="279"/>
                  </a:lnTo>
                  <a:lnTo>
                    <a:pt x="690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3" y="279"/>
                  </a:lnTo>
                  <a:lnTo>
                    <a:pt x="683" y="279"/>
                  </a:lnTo>
                  <a:lnTo>
                    <a:pt x="683" y="279"/>
                  </a:lnTo>
                  <a:lnTo>
                    <a:pt x="683" y="279"/>
                  </a:lnTo>
                  <a:lnTo>
                    <a:pt x="686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77" y="284"/>
                  </a:lnTo>
                  <a:lnTo>
                    <a:pt x="672" y="282"/>
                  </a:lnTo>
                  <a:lnTo>
                    <a:pt x="670" y="282"/>
                  </a:lnTo>
                  <a:lnTo>
                    <a:pt x="670" y="279"/>
                  </a:lnTo>
                  <a:lnTo>
                    <a:pt x="670" y="279"/>
                  </a:lnTo>
                  <a:lnTo>
                    <a:pt x="670" y="279"/>
                  </a:lnTo>
                  <a:lnTo>
                    <a:pt x="670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9"/>
                  </a:lnTo>
                  <a:lnTo>
                    <a:pt x="674" y="277"/>
                  </a:lnTo>
                  <a:lnTo>
                    <a:pt x="674" y="277"/>
                  </a:lnTo>
                  <a:lnTo>
                    <a:pt x="674" y="277"/>
                  </a:lnTo>
                  <a:lnTo>
                    <a:pt x="674" y="277"/>
                  </a:lnTo>
                  <a:lnTo>
                    <a:pt x="672" y="277"/>
                  </a:lnTo>
                  <a:lnTo>
                    <a:pt x="672" y="279"/>
                  </a:lnTo>
                  <a:lnTo>
                    <a:pt x="674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0" y="279"/>
                  </a:lnTo>
                  <a:lnTo>
                    <a:pt x="670" y="279"/>
                  </a:lnTo>
                  <a:lnTo>
                    <a:pt x="668" y="279"/>
                  </a:lnTo>
                  <a:lnTo>
                    <a:pt x="665" y="279"/>
                  </a:lnTo>
                  <a:lnTo>
                    <a:pt x="665" y="279"/>
                  </a:lnTo>
                  <a:lnTo>
                    <a:pt x="668" y="279"/>
                  </a:lnTo>
                  <a:lnTo>
                    <a:pt x="665" y="277"/>
                  </a:lnTo>
                  <a:lnTo>
                    <a:pt x="665" y="277"/>
                  </a:lnTo>
                  <a:lnTo>
                    <a:pt x="663" y="277"/>
                  </a:lnTo>
                  <a:lnTo>
                    <a:pt x="663" y="277"/>
                  </a:lnTo>
                  <a:lnTo>
                    <a:pt x="661" y="277"/>
                  </a:lnTo>
                  <a:lnTo>
                    <a:pt x="661" y="275"/>
                  </a:lnTo>
                  <a:lnTo>
                    <a:pt x="661" y="275"/>
                  </a:lnTo>
                  <a:lnTo>
                    <a:pt x="661" y="275"/>
                  </a:lnTo>
                  <a:lnTo>
                    <a:pt x="661" y="277"/>
                  </a:lnTo>
                  <a:lnTo>
                    <a:pt x="661" y="277"/>
                  </a:lnTo>
                  <a:lnTo>
                    <a:pt x="661" y="277"/>
                  </a:lnTo>
                  <a:lnTo>
                    <a:pt x="661" y="277"/>
                  </a:lnTo>
                  <a:lnTo>
                    <a:pt x="659" y="277"/>
                  </a:lnTo>
                  <a:lnTo>
                    <a:pt x="659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6" y="277"/>
                  </a:lnTo>
                  <a:lnTo>
                    <a:pt x="654" y="277"/>
                  </a:lnTo>
                  <a:lnTo>
                    <a:pt x="652" y="277"/>
                  </a:lnTo>
                  <a:lnTo>
                    <a:pt x="652" y="277"/>
                  </a:lnTo>
                  <a:lnTo>
                    <a:pt x="652" y="277"/>
                  </a:lnTo>
                  <a:lnTo>
                    <a:pt x="650" y="277"/>
                  </a:lnTo>
                  <a:lnTo>
                    <a:pt x="647" y="277"/>
                  </a:lnTo>
                  <a:lnTo>
                    <a:pt x="647" y="277"/>
                  </a:lnTo>
                  <a:lnTo>
                    <a:pt x="647" y="277"/>
                  </a:lnTo>
                  <a:lnTo>
                    <a:pt x="647" y="277"/>
                  </a:lnTo>
                  <a:lnTo>
                    <a:pt x="650" y="277"/>
                  </a:lnTo>
                  <a:lnTo>
                    <a:pt x="650" y="277"/>
                  </a:lnTo>
                  <a:lnTo>
                    <a:pt x="650" y="277"/>
                  </a:lnTo>
                  <a:lnTo>
                    <a:pt x="650" y="279"/>
                  </a:lnTo>
                  <a:lnTo>
                    <a:pt x="650" y="279"/>
                  </a:lnTo>
                  <a:lnTo>
                    <a:pt x="650" y="279"/>
                  </a:lnTo>
                  <a:lnTo>
                    <a:pt x="652" y="279"/>
                  </a:lnTo>
                  <a:lnTo>
                    <a:pt x="652" y="282"/>
                  </a:lnTo>
                  <a:lnTo>
                    <a:pt x="652" y="282"/>
                  </a:lnTo>
                  <a:lnTo>
                    <a:pt x="654" y="282"/>
                  </a:lnTo>
                  <a:lnTo>
                    <a:pt x="656" y="284"/>
                  </a:lnTo>
                  <a:lnTo>
                    <a:pt x="659" y="284"/>
                  </a:lnTo>
                  <a:lnTo>
                    <a:pt x="661" y="284"/>
                  </a:lnTo>
                  <a:lnTo>
                    <a:pt x="661" y="284"/>
                  </a:lnTo>
                  <a:lnTo>
                    <a:pt x="663" y="284"/>
                  </a:lnTo>
                  <a:lnTo>
                    <a:pt x="665" y="284"/>
                  </a:lnTo>
                  <a:lnTo>
                    <a:pt x="665" y="284"/>
                  </a:lnTo>
                  <a:lnTo>
                    <a:pt x="665" y="286"/>
                  </a:lnTo>
                  <a:lnTo>
                    <a:pt x="672" y="286"/>
                  </a:lnTo>
                  <a:lnTo>
                    <a:pt x="674" y="286"/>
                  </a:lnTo>
                  <a:lnTo>
                    <a:pt x="679" y="286"/>
                  </a:lnTo>
                  <a:lnTo>
                    <a:pt x="681" y="286"/>
                  </a:lnTo>
                  <a:lnTo>
                    <a:pt x="686" y="286"/>
                  </a:lnTo>
                  <a:lnTo>
                    <a:pt x="690" y="286"/>
                  </a:lnTo>
                  <a:lnTo>
                    <a:pt x="690" y="286"/>
                  </a:lnTo>
                  <a:lnTo>
                    <a:pt x="692" y="286"/>
                  </a:lnTo>
                  <a:lnTo>
                    <a:pt x="695" y="286"/>
                  </a:lnTo>
                  <a:lnTo>
                    <a:pt x="697" y="286"/>
                  </a:lnTo>
                  <a:lnTo>
                    <a:pt x="697" y="288"/>
                  </a:lnTo>
                  <a:lnTo>
                    <a:pt x="697" y="288"/>
                  </a:lnTo>
                  <a:lnTo>
                    <a:pt x="699" y="288"/>
                  </a:lnTo>
                  <a:lnTo>
                    <a:pt x="699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1" y="288"/>
                  </a:lnTo>
                  <a:lnTo>
                    <a:pt x="704" y="288"/>
                  </a:lnTo>
                  <a:lnTo>
                    <a:pt x="704" y="288"/>
                  </a:lnTo>
                  <a:lnTo>
                    <a:pt x="704" y="288"/>
                  </a:lnTo>
                  <a:lnTo>
                    <a:pt x="706" y="288"/>
                  </a:lnTo>
                  <a:lnTo>
                    <a:pt x="706" y="288"/>
                  </a:lnTo>
                  <a:lnTo>
                    <a:pt x="706" y="288"/>
                  </a:lnTo>
                  <a:lnTo>
                    <a:pt x="706" y="286"/>
                  </a:lnTo>
                  <a:lnTo>
                    <a:pt x="706" y="286"/>
                  </a:lnTo>
                  <a:lnTo>
                    <a:pt x="706" y="286"/>
                  </a:lnTo>
                  <a:lnTo>
                    <a:pt x="706" y="284"/>
                  </a:lnTo>
                  <a:lnTo>
                    <a:pt x="706" y="284"/>
                  </a:lnTo>
                  <a:lnTo>
                    <a:pt x="706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4"/>
                  </a:lnTo>
                  <a:lnTo>
                    <a:pt x="704" y="282"/>
                  </a:lnTo>
                  <a:lnTo>
                    <a:pt x="704" y="282"/>
                  </a:lnTo>
                  <a:lnTo>
                    <a:pt x="704" y="282"/>
                  </a:lnTo>
                  <a:lnTo>
                    <a:pt x="704" y="282"/>
                  </a:lnTo>
                  <a:lnTo>
                    <a:pt x="704" y="282"/>
                  </a:lnTo>
                  <a:lnTo>
                    <a:pt x="704" y="282"/>
                  </a:lnTo>
                  <a:lnTo>
                    <a:pt x="704" y="282"/>
                  </a:lnTo>
                  <a:lnTo>
                    <a:pt x="708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0" y="279"/>
                  </a:lnTo>
                  <a:lnTo>
                    <a:pt x="713" y="277"/>
                  </a:lnTo>
                  <a:lnTo>
                    <a:pt x="713" y="277"/>
                  </a:lnTo>
                  <a:lnTo>
                    <a:pt x="717" y="277"/>
                  </a:lnTo>
                  <a:lnTo>
                    <a:pt x="717" y="277"/>
                  </a:lnTo>
                  <a:lnTo>
                    <a:pt x="717" y="277"/>
                  </a:lnTo>
                  <a:lnTo>
                    <a:pt x="717" y="275"/>
                  </a:lnTo>
                  <a:lnTo>
                    <a:pt x="717" y="275"/>
                  </a:lnTo>
                  <a:lnTo>
                    <a:pt x="719" y="275"/>
                  </a:lnTo>
                  <a:lnTo>
                    <a:pt x="719" y="275"/>
                  </a:lnTo>
                  <a:lnTo>
                    <a:pt x="719" y="275"/>
                  </a:lnTo>
                  <a:lnTo>
                    <a:pt x="719" y="273"/>
                  </a:lnTo>
                  <a:lnTo>
                    <a:pt x="722" y="273"/>
                  </a:lnTo>
                  <a:lnTo>
                    <a:pt x="722" y="273"/>
                  </a:lnTo>
                  <a:lnTo>
                    <a:pt x="722" y="273"/>
                  </a:lnTo>
                  <a:lnTo>
                    <a:pt x="722" y="273"/>
                  </a:lnTo>
                  <a:lnTo>
                    <a:pt x="722" y="273"/>
                  </a:lnTo>
                  <a:lnTo>
                    <a:pt x="722" y="273"/>
                  </a:lnTo>
                  <a:lnTo>
                    <a:pt x="722" y="270"/>
                  </a:lnTo>
                  <a:lnTo>
                    <a:pt x="722" y="270"/>
                  </a:lnTo>
                  <a:lnTo>
                    <a:pt x="719" y="270"/>
                  </a:lnTo>
                  <a:lnTo>
                    <a:pt x="719" y="268"/>
                  </a:lnTo>
                  <a:lnTo>
                    <a:pt x="719" y="268"/>
                  </a:lnTo>
                  <a:lnTo>
                    <a:pt x="719" y="268"/>
                  </a:lnTo>
                  <a:lnTo>
                    <a:pt x="719" y="268"/>
                  </a:lnTo>
                  <a:lnTo>
                    <a:pt x="717" y="266"/>
                  </a:lnTo>
                  <a:lnTo>
                    <a:pt x="719" y="264"/>
                  </a:lnTo>
                  <a:lnTo>
                    <a:pt x="726" y="259"/>
                  </a:lnTo>
                  <a:lnTo>
                    <a:pt x="726" y="259"/>
                  </a:lnTo>
                  <a:lnTo>
                    <a:pt x="726" y="257"/>
                  </a:lnTo>
                  <a:lnTo>
                    <a:pt x="726" y="257"/>
                  </a:lnTo>
                  <a:lnTo>
                    <a:pt x="724" y="255"/>
                  </a:lnTo>
                  <a:lnTo>
                    <a:pt x="724" y="255"/>
                  </a:lnTo>
                  <a:lnTo>
                    <a:pt x="724" y="255"/>
                  </a:lnTo>
                  <a:lnTo>
                    <a:pt x="724" y="255"/>
                  </a:lnTo>
                  <a:lnTo>
                    <a:pt x="722" y="252"/>
                  </a:lnTo>
                  <a:lnTo>
                    <a:pt x="722" y="252"/>
                  </a:lnTo>
                  <a:lnTo>
                    <a:pt x="722" y="250"/>
                  </a:lnTo>
                  <a:lnTo>
                    <a:pt x="719" y="250"/>
                  </a:lnTo>
                  <a:lnTo>
                    <a:pt x="719" y="250"/>
                  </a:lnTo>
                  <a:lnTo>
                    <a:pt x="719" y="248"/>
                  </a:lnTo>
                  <a:lnTo>
                    <a:pt x="717" y="248"/>
                  </a:lnTo>
                  <a:lnTo>
                    <a:pt x="713" y="246"/>
                  </a:lnTo>
                  <a:lnTo>
                    <a:pt x="710" y="246"/>
                  </a:lnTo>
                  <a:lnTo>
                    <a:pt x="710" y="243"/>
                  </a:lnTo>
                  <a:lnTo>
                    <a:pt x="710" y="243"/>
                  </a:lnTo>
                  <a:lnTo>
                    <a:pt x="710" y="243"/>
                  </a:lnTo>
                  <a:lnTo>
                    <a:pt x="710" y="241"/>
                  </a:lnTo>
                  <a:lnTo>
                    <a:pt x="710" y="241"/>
                  </a:lnTo>
                  <a:lnTo>
                    <a:pt x="710" y="241"/>
                  </a:lnTo>
                  <a:lnTo>
                    <a:pt x="708" y="239"/>
                  </a:lnTo>
                  <a:lnTo>
                    <a:pt x="708" y="239"/>
                  </a:lnTo>
                  <a:lnTo>
                    <a:pt x="708" y="239"/>
                  </a:lnTo>
                  <a:lnTo>
                    <a:pt x="708" y="239"/>
                  </a:lnTo>
                  <a:lnTo>
                    <a:pt x="708" y="239"/>
                  </a:lnTo>
                  <a:lnTo>
                    <a:pt x="708" y="239"/>
                  </a:lnTo>
                  <a:lnTo>
                    <a:pt x="708" y="237"/>
                  </a:lnTo>
                  <a:lnTo>
                    <a:pt x="710" y="237"/>
                  </a:lnTo>
                  <a:lnTo>
                    <a:pt x="715" y="237"/>
                  </a:lnTo>
                  <a:lnTo>
                    <a:pt x="717" y="234"/>
                  </a:lnTo>
                  <a:lnTo>
                    <a:pt x="722" y="234"/>
                  </a:lnTo>
                  <a:lnTo>
                    <a:pt x="724" y="234"/>
                  </a:lnTo>
                  <a:lnTo>
                    <a:pt x="726" y="234"/>
                  </a:lnTo>
                  <a:lnTo>
                    <a:pt x="728" y="232"/>
                  </a:lnTo>
                  <a:lnTo>
                    <a:pt x="731" y="232"/>
                  </a:lnTo>
                  <a:lnTo>
                    <a:pt x="731" y="232"/>
                  </a:lnTo>
                  <a:lnTo>
                    <a:pt x="733" y="232"/>
                  </a:lnTo>
                  <a:lnTo>
                    <a:pt x="737" y="232"/>
                  </a:lnTo>
                  <a:lnTo>
                    <a:pt x="737" y="232"/>
                  </a:lnTo>
                  <a:lnTo>
                    <a:pt x="737" y="234"/>
                  </a:lnTo>
                  <a:lnTo>
                    <a:pt x="740" y="234"/>
                  </a:lnTo>
                  <a:lnTo>
                    <a:pt x="740" y="234"/>
                  </a:lnTo>
                  <a:lnTo>
                    <a:pt x="740" y="234"/>
                  </a:lnTo>
                  <a:lnTo>
                    <a:pt x="740" y="234"/>
                  </a:lnTo>
                  <a:lnTo>
                    <a:pt x="740" y="234"/>
                  </a:lnTo>
                  <a:lnTo>
                    <a:pt x="740" y="237"/>
                  </a:lnTo>
                  <a:lnTo>
                    <a:pt x="740" y="237"/>
                  </a:lnTo>
                  <a:lnTo>
                    <a:pt x="740" y="237"/>
                  </a:lnTo>
                  <a:lnTo>
                    <a:pt x="742" y="237"/>
                  </a:lnTo>
                  <a:lnTo>
                    <a:pt x="746" y="239"/>
                  </a:lnTo>
                  <a:lnTo>
                    <a:pt x="746" y="239"/>
                  </a:lnTo>
                  <a:lnTo>
                    <a:pt x="749" y="239"/>
                  </a:lnTo>
                  <a:lnTo>
                    <a:pt x="749" y="239"/>
                  </a:lnTo>
                  <a:lnTo>
                    <a:pt x="749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1" y="241"/>
                  </a:lnTo>
                  <a:lnTo>
                    <a:pt x="755" y="241"/>
                  </a:lnTo>
                  <a:lnTo>
                    <a:pt x="755" y="241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6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58" y="248"/>
                  </a:lnTo>
                  <a:lnTo>
                    <a:pt x="758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2"/>
                  </a:lnTo>
                  <a:lnTo>
                    <a:pt x="760" y="252"/>
                  </a:lnTo>
                  <a:lnTo>
                    <a:pt x="760" y="252"/>
                  </a:lnTo>
                  <a:lnTo>
                    <a:pt x="760" y="252"/>
                  </a:lnTo>
                  <a:lnTo>
                    <a:pt x="760" y="252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2" y="257"/>
                  </a:lnTo>
                  <a:lnTo>
                    <a:pt x="762" y="257"/>
                  </a:lnTo>
                  <a:lnTo>
                    <a:pt x="762" y="257"/>
                  </a:lnTo>
                  <a:lnTo>
                    <a:pt x="762" y="255"/>
                  </a:lnTo>
                  <a:lnTo>
                    <a:pt x="762" y="255"/>
                  </a:lnTo>
                  <a:lnTo>
                    <a:pt x="760" y="255"/>
                  </a:lnTo>
                  <a:lnTo>
                    <a:pt x="760" y="257"/>
                  </a:lnTo>
                  <a:lnTo>
                    <a:pt x="760" y="257"/>
                  </a:lnTo>
                  <a:lnTo>
                    <a:pt x="760" y="257"/>
                  </a:lnTo>
                  <a:lnTo>
                    <a:pt x="760" y="257"/>
                  </a:lnTo>
                  <a:lnTo>
                    <a:pt x="762" y="257"/>
                  </a:lnTo>
                  <a:lnTo>
                    <a:pt x="769" y="259"/>
                  </a:lnTo>
                  <a:lnTo>
                    <a:pt x="769" y="259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3" y="261"/>
                  </a:lnTo>
                  <a:lnTo>
                    <a:pt x="776" y="261"/>
                  </a:lnTo>
                  <a:lnTo>
                    <a:pt x="776" y="261"/>
                  </a:lnTo>
                  <a:lnTo>
                    <a:pt x="776" y="261"/>
                  </a:lnTo>
                  <a:lnTo>
                    <a:pt x="776" y="261"/>
                  </a:lnTo>
                  <a:lnTo>
                    <a:pt x="776" y="261"/>
                  </a:lnTo>
                  <a:lnTo>
                    <a:pt x="778" y="261"/>
                  </a:lnTo>
                  <a:lnTo>
                    <a:pt x="778" y="261"/>
                  </a:lnTo>
                  <a:lnTo>
                    <a:pt x="778" y="261"/>
                  </a:lnTo>
                  <a:lnTo>
                    <a:pt x="778" y="261"/>
                  </a:lnTo>
                  <a:lnTo>
                    <a:pt x="778" y="261"/>
                  </a:lnTo>
                  <a:lnTo>
                    <a:pt x="778" y="261"/>
                  </a:lnTo>
                  <a:lnTo>
                    <a:pt x="780" y="261"/>
                  </a:lnTo>
                  <a:lnTo>
                    <a:pt x="780" y="261"/>
                  </a:lnTo>
                  <a:lnTo>
                    <a:pt x="780" y="261"/>
                  </a:lnTo>
                  <a:lnTo>
                    <a:pt x="780" y="261"/>
                  </a:lnTo>
                  <a:lnTo>
                    <a:pt x="780" y="261"/>
                  </a:lnTo>
                  <a:lnTo>
                    <a:pt x="780" y="261"/>
                  </a:lnTo>
                  <a:lnTo>
                    <a:pt x="782" y="261"/>
                  </a:lnTo>
                  <a:lnTo>
                    <a:pt x="782" y="261"/>
                  </a:lnTo>
                  <a:lnTo>
                    <a:pt x="782" y="261"/>
                  </a:lnTo>
                  <a:lnTo>
                    <a:pt x="782" y="261"/>
                  </a:lnTo>
                  <a:lnTo>
                    <a:pt x="782" y="261"/>
                  </a:lnTo>
                  <a:lnTo>
                    <a:pt x="785" y="261"/>
                  </a:lnTo>
                  <a:lnTo>
                    <a:pt x="785" y="261"/>
                  </a:lnTo>
                  <a:lnTo>
                    <a:pt x="787" y="261"/>
                  </a:lnTo>
                  <a:lnTo>
                    <a:pt x="787" y="261"/>
                  </a:lnTo>
                  <a:lnTo>
                    <a:pt x="787" y="261"/>
                  </a:lnTo>
                  <a:lnTo>
                    <a:pt x="787" y="261"/>
                  </a:lnTo>
                  <a:lnTo>
                    <a:pt x="789" y="261"/>
                  </a:lnTo>
                  <a:lnTo>
                    <a:pt x="789" y="261"/>
                  </a:lnTo>
                  <a:lnTo>
                    <a:pt x="791" y="261"/>
                  </a:lnTo>
                  <a:lnTo>
                    <a:pt x="791" y="261"/>
                  </a:lnTo>
                  <a:lnTo>
                    <a:pt x="794" y="261"/>
                  </a:lnTo>
                  <a:lnTo>
                    <a:pt x="794" y="261"/>
                  </a:lnTo>
                  <a:lnTo>
                    <a:pt x="794" y="261"/>
                  </a:lnTo>
                  <a:lnTo>
                    <a:pt x="794" y="261"/>
                  </a:lnTo>
                  <a:lnTo>
                    <a:pt x="794" y="261"/>
                  </a:lnTo>
                  <a:lnTo>
                    <a:pt x="794" y="261"/>
                  </a:lnTo>
                  <a:lnTo>
                    <a:pt x="794" y="261"/>
                  </a:lnTo>
                  <a:lnTo>
                    <a:pt x="791" y="261"/>
                  </a:lnTo>
                  <a:lnTo>
                    <a:pt x="791" y="261"/>
                  </a:lnTo>
                  <a:lnTo>
                    <a:pt x="789" y="259"/>
                  </a:lnTo>
                  <a:lnTo>
                    <a:pt x="789" y="259"/>
                  </a:lnTo>
                  <a:lnTo>
                    <a:pt x="791" y="259"/>
                  </a:lnTo>
                  <a:lnTo>
                    <a:pt x="791" y="259"/>
                  </a:lnTo>
                  <a:lnTo>
                    <a:pt x="789" y="259"/>
                  </a:lnTo>
                  <a:lnTo>
                    <a:pt x="789" y="259"/>
                  </a:lnTo>
                  <a:lnTo>
                    <a:pt x="789" y="259"/>
                  </a:lnTo>
                  <a:lnTo>
                    <a:pt x="787" y="261"/>
                  </a:lnTo>
                  <a:lnTo>
                    <a:pt x="787" y="261"/>
                  </a:lnTo>
                  <a:lnTo>
                    <a:pt x="787" y="261"/>
                  </a:lnTo>
                  <a:lnTo>
                    <a:pt x="785" y="261"/>
                  </a:lnTo>
                  <a:lnTo>
                    <a:pt x="785" y="259"/>
                  </a:lnTo>
                  <a:lnTo>
                    <a:pt x="785" y="259"/>
                  </a:lnTo>
                  <a:lnTo>
                    <a:pt x="787" y="259"/>
                  </a:lnTo>
                  <a:lnTo>
                    <a:pt x="787" y="259"/>
                  </a:lnTo>
                  <a:lnTo>
                    <a:pt x="787" y="259"/>
                  </a:lnTo>
                  <a:lnTo>
                    <a:pt x="787" y="259"/>
                  </a:lnTo>
                  <a:lnTo>
                    <a:pt x="787" y="259"/>
                  </a:lnTo>
                  <a:lnTo>
                    <a:pt x="785" y="259"/>
                  </a:lnTo>
                  <a:lnTo>
                    <a:pt x="785" y="259"/>
                  </a:lnTo>
                  <a:lnTo>
                    <a:pt x="785" y="259"/>
                  </a:lnTo>
                  <a:lnTo>
                    <a:pt x="785" y="259"/>
                  </a:lnTo>
                  <a:lnTo>
                    <a:pt x="785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2" y="259"/>
                  </a:lnTo>
                  <a:lnTo>
                    <a:pt x="780" y="259"/>
                  </a:lnTo>
                  <a:lnTo>
                    <a:pt x="780" y="259"/>
                  </a:lnTo>
                  <a:lnTo>
                    <a:pt x="780" y="259"/>
                  </a:lnTo>
                  <a:lnTo>
                    <a:pt x="780" y="259"/>
                  </a:lnTo>
                  <a:lnTo>
                    <a:pt x="780" y="259"/>
                  </a:lnTo>
                  <a:lnTo>
                    <a:pt x="778" y="259"/>
                  </a:lnTo>
                  <a:lnTo>
                    <a:pt x="776" y="259"/>
                  </a:lnTo>
                  <a:lnTo>
                    <a:pt x="776" y="259"/>
                  </a:lnTo>
                  <a:lnTo>
                    <a:pt x="776" y="259"/>
                  </a:lnTo>
                  <a:lnTo>
                    <a:pt x="776" y="259"/>
                  </a:lnTo>
                  <a:lnTo>
                    <a:pt x="773" y="259"/>
                  </a:lnTo>
                  <a:lnTo>
                    <a:pt x="773" y="259"/>
                  </a:lnTo>
                  <a:lnTo>
                    <a:pt x="776" y="259"/>
                  </a:lnTo>
                  <a:lnTo>
                    <a:pt x="776" y="259"/>
                  </a:lnTo>
                  <a:lnTo>
                    <a:pt x="776" y="259"/>
                  </a:lnTo>
                  <a:lnTo>
                    <a:pt x="773" y="259"/>
                  </a:lnTo>
                  <a:lnTo>
                    <a:pt x="773" y="257"/>
                  </a:lnTo>
                  <a:lnTo>
                    <a:pt x="773" y="257"/>
                  </a:lnTo>
                  <a:lnTo>
                    <a:pt x="773" y="257"/>
                  </a:lnTo>
                  <a:lnTo>
                    <a:pt x="771" y="257"/>
                  </a:lnTo>
                  <a:lnTo>
                    <a:pt x="771" y="257"/>
                  </a:lnTo>
                  <a:lnTo>
                    <a:pt x="771" y="257"/>
                  </a:lnTo>
                  <a:lnTo>
                    <a:pt x="771" y="259"/>
                  </a:lnTo>
                  <a:lnTo>
                    <a:pt x="769" y="257"/>
                  </a:lnTo>
                  <a:lnTo>
                    <a:pt x="767" y="257"/>
                  </a:lnTo>
                  <a:lnTo>
                    <a:pt x="767" y="257"/>
                  </a:lnTo>
                  <a:lnTo>
                    <a:pt x="767" y="257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7" y="255"/>
                  </a:lnTo>
                  <a:lnTo>
                    <a:pt x="764" y="255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64" y="250"/>
                  </a:lnTo>
                  <a:lnTo>
                    <a:pt x="764" y="250"/>
                  </a:lnTo>
                  <a:lnTo>
                    <a:pt x="764" y="250"/>
                  </a:lnTo>
                  <a:lnTo>
                    <a:pt x="764" y="250"/>
                  </a:lnTo>
                  <a:lnTo>
                    <a:pt x="764" y="248"/>
                  </a:lnTo>
                  <a:lnTo>
                    <a:pt x="764" y="248"/>
                  </a:lnTo>
                  <a:lnTo>
                    <a:pt x="764" y="248"/>
                  </a:lnTo>
                  <a:lnTo>
                    <a:pt x="767" y="248"/>
                  </a:lnTo>
                  <a:lnTo>
                    <a:pt x="769" y="248"/>
                  </a:lnTo>
                  <a:lnTo>
                    <a:pt x="771" y="248"/>
                  </a:lnTo>
                  <a:lnTo>
                    <a:pt x="771" y="248"/>
                  </a:lnTo>
                  <a:lnTo>
                    <a:pt x="771" y="248"/>
                  </a:lnTo>
                  <a:lnTo>
                    <a:pt x="771" y="246"/>
                  </a:lnTo>
                  <a:lnTo>
                    <a:pt x="769" y="246"/>
                  </a:lnTo>
                  <a:lnTo>
                    <a:pt x="769" y="246"/>
                  </a:lnTo>
                  <a:lnTo>
                    <a:pt x="769" y="246"/>
                  </a:lnTo>
                  <a:lnTo>
                    <a:pt x="769" y="246"/>
                  </a:lnTo>
                  <a:lnTo>
                    <a:pt x="769" y="246"/>
                  </a:lnTo>
                  <a:lnTo>
                    <a:pt x="767" y="246"/>
                  </a:lnTo>
                  <a:lnTo>
                    <a:pt x="767" y="246"/>
                  </a:lnTo>
                  <a:lnTo>
                    <a:pt x="767" y="243"/>
                  </a:lnTo>
                  <a:lnTo>
                    <a:pt x="767" y="243"/>
                  </a:lnTo>
                  <a:lnTo>
                    <a:pt x="767" y="243"/>
                  </a:lnTo>
                  <a:lnTo>
                    <a:pt x="764" y="243"/>
                  </a:lnTo>
                  <a:lnTo>
                    <a:pt x="764" y="243"/>
                  </a:lnTo>
                  <a:lnTo>
                    <a:pt x="764" y="243"/>
                  </a:lnTo>
                  <a:lnTo>
                    <a:pt x="764" y="243"/>
                  </a:lnTo>
                  <a:lnTo>
                    <a:pt x="764" y="243"/>
                  </a:lnTo>
                  <a:lnTo>
                    <a:pt x="764" y="243"/>
                  </a:lnTo>
                  <a:lnTo>
                    <a:pt x="764" y="241"/>
                  </a:lnTo>
                  <a:lnTo>
                    <a:pt x="764" y="241"/>
                  </a:lnTo>
                  <a:lnTo>
                    <a:pt x="762" y="241"/>
                  </a:lnTo>
                  <a:lnTo>
                    <a:pt x="762" y="241"/>
                  </a:lnTo>
                  <a:lnTo>
                    <a:pt x="762" y="241"/>
                  </a:lnTo>
                  <a:lnTo>
                    <a:pt x="762" y="241"/>
                  </a:lnTo>
                  <a:lnTo>
                    <a:pt x="762" y="241"/>
                  </a:lnTo>
                  <a:lnTo>
                    <a:pt x="762" y="241"/>
                  </a:lnTo>
                  <a:lnTo>
                    <a:pt x="760" y="241"/>
                  </a:lnTo>
                  <a:lnTo>
                    <a:pt x="760" y="241"/>
                  </a:lnTo>
                  <a:lnTo>
                    <a:pt x="760" y="241"/>
                  </a:lnTo>
                  <a:lnTo>
                    <a:pt x="760" y="239"/>
                  </a:lnTo>
                  <a:lnTo>
                    <a:pt x="760" y="239"/>
                  </a:lnTo>
                  <a:lnTo>
                    <a:pt x="760" y="239"/>
                  </a:lnTo>
                  <a:lnTo>
                    <a:pt x="760" y="239"/>
                  </a:lnTo>
                  <a:lnTo>
                    <a:pt x="758" y="239"/>
                  </a:lnTo>
                  <a:lnTo>
                    <a:pt x="758" y="237"/>
                  </a:lnTo>
                  <a:lnTo>
                    <a:pt x="758" y="237"/>
                  </a:lnTo>
                  <a:lnTo>
                    <a:pt x="758" y="237"/>
                  </a:lnTo>
                  <a:lnTo>
                    <a:pt x="758" y="237"/>
                  </a:lnTo>
                  <a:lnTo>
                    <a:pt x="758" y="237"/>
                  </a:lnTo>
                  <a:lnTo>
                    <a:pt x="755" y="234"/>
                  </a:lnTo>
                  <a:lnTo>
                    <a:pt x="755" y="234"/>
                  </a:lnTo>
                  <a:lnTo>
                    <a:pt x="755" y="234"/>
                  </a:lnTo>
                  <a:lnTo>
                    <a:pt x="753" y="234"/>
                  </a:lnTo>
                  <a:lnTo>
                    <a:pt x="751" y="234"/>
                  </a:lnTo>
                  <a:lnTo>
                    <a:pt x="751" y="234"/>
                  </a:lnTo>
                  <a:lnTo>
                    <a:pt x="749" y="232"/>
                  </a:lnTo>
                  <a:lnTo>
                    <a:pt x="746" y="232"/>
                  </a:lnTo>
                  <a:lnTo>
                    <a:pt x="742" y="232"/>
                  </a:lnTo>
                  <a:lnTo>
                    <a:pt x="742" y="232"/>
                  </a:lnTo>
                  <a:lnTo>
                    <a:pt x="742" y="232"/>
                  </a:lnTo>
                  <a:lnTo>
                    <a:pt x="740" y="232"/>
                  </a:lnTo>
                  <a:lnTo>
                    <a:pt x="740" y="230"/>
                  </a:lnTo>
                  <a:lnTo>
                    <a:pt x="740" y="230"/>
                  </a:lnTo>
                  <a:lnTo>
                    <a:pt x="737" y="230"/>
                  </a:lnTo>
                  <a:lnTo>
                    <a:pt x="737" y="230"/>
                  </a:lnTo>
                  <a:lnTo>
                    <a:pt x="737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5" y="230"/>
                  </a:lnTo>
                  <a:lnTo>
                    <a:pt x="733" y="230"/>
                  </a:lnTo>
                  <a:lnTo>
                    <a:pt x="728" y="228"/>
                  </a:lnTo>
                  <a:lnTo>
                    <a:pt x="728" y="228"/>
                  </a:lnTo>
                  <a:lnTo>
                    <a:pt x="726" y="228"/>
                  </a:lnTo>
                  <a:lnTo>
                    <a:pt x="726" y="228"/>
                  </a:lnTo>
                  <a:lnTo>
                    <a:pt x="722" y="228"/>
                  </a:lnTo>
                  <a:lnTo>
                    <a:pt x="717" y="228"/>
                  </a:lnTo>
                  <a:lnTo>
                    <a:pt x="717" y="228"/>
                  </a:lnTo>
                  <a:lnTo>
                    <a:pt x="715" y="228"/>
                  </a:lnTo>
                  <a:lnTo>
                    <a:pt x="713" y="230"/>
                  </a:lnTo>
                  <a:lnTo>
                    <a:pt x="713" y="230"/>
                  </a:lnTo>
                  <a:lnTo>
                    <a:pt x="713" y="230"/>
                  </a:lnTo>
                  <a:lnTo>
                    <a:pt x="713" y="230"/>
                  </a:lnTo>
                  <a:lnTo>
                    <a:pt x="713" y="230"/>
                  </a:lnTo>
                  <a:lnTo>
                    <a:pt x="713" y="230"/>
                  </a:lnTo>
                  <a:lnTo>
                    <a:pt x="710" y="230"/>
                  </a:lnTo>
                  <a:lnTo>
                    <a:pt x="708" y="230"/>
                  </a:lnTo>
                  <a:lnTo>
                    <a:pt x="708" y="230"/>
                  </a:lnTo>
                  <a:lnTo>
                    <a:pt x="704" y="230"/>
                  </a:lnTo>
                  <a:lnTo>
                    <a:pt x="701" y="230"/>
                  </a:lnTo>
                  <a:lnTo>
                    <a:pt x="699" y="230"/>
                  </a:lnTo>
                  <a:lnTo>
                    <a:pt x="697" y="230"/>
                  </a:lnTo>
                  <a:lnTo>
                    <a:pt x="697" y="230"/>
                  </a:lnTo>
                  <a:lnTo>
                    <a:pt x="695" y="230"/>
                  </a:lnTo>
                  <a:lnTo>
                    <a:pt x="692" y="230"/>
                  </a:lnTo>
                  <a:lnTo>
                    <a:pt x="692" y="230"/>
                  </a:lnTo>
                  <a:lnTo>
                    <a:pt x="692" y="230"/>
                  </a:lnTo>
                  <a:lnTo>
                    <a:pt x="692" y="228"/>
                  </a:lnTo>
                  <a:lnTo>
                    <a:pt x="690" y="228"/>
                  </a:lnTo>
                  <a:lnTo>
                    <a:pt x="690" y="228"/>
                  </a:lnTo>
                  <a:lnTo>
                    <a:pt x="690" y="228"/>
                  </a:lnTo>
                  <a:lnTo>
                    <a:pt x="690" y="228"/>
                  </a:lnTo>
                  <a:lnTo>
                    <a:pt x="690" y="228"/>
                  </a:lnTo>
                  <a:lnTo>
                    <a:pt x="690" y="225"/>
                  </a:lnTo>
                  <a:lnTo>
                    <a:pt x="690" y="223"/>
                  </a:lnTo>
                  <a:lnTo>
                    <a:pt x="690" y="223"/>
                  </a:lnTo>
                  <a:lnTo>
                    <a:pt x="690" y="223"/>
                  </a:lnTo>
                  <a:lnTo>
                    <a:pt x="686" y="221"/>
                  </a:lnTo>
                  <a:lnTo>
                    <a:pt x="683" y="219"/>
                  </a:lnTo>
                  <a:lnTo>
                    <a:pt x="681" y="219"/>
                  </a:lnTo>
                  <a:lnTo>
                    <a:pt x="681" y="219"/>
                  </a:lnTo>
                  <a:lnTo>
                    <a:pt x="681" y="216"/>
                  </a:lnTo>
                  <a:lnTo>
                    <a:pt x="681" y="216"/>
                  </a:lnTo>
                  <a:lnTo>
                    <a:pt x="681" y="216"/>
                  </a:lnTo>
                  <a:lnTo>
                    <a:pt x="681" y="214"/>
                  </a:lnTo>
                  <a:lnTo>
                    <a:pt x="681" y="214"/>
                  </a:lnTo>
                  <a:lnTo>
                    <a:pt x="681" y="214"/>
                  </a:lnTo>
                  <a:lnTo>
                    <a:pt x="681" y="214"/>
                  </a:lnTo>
                  <a:lnTo>
                    <a:pt x="681" y="214"/>
                  </a:lnTo>
                  <a:lnTo>
                    <a:pt x="681" y="212"/>
                  </a:lnTo>
                  <a:lnTo>
                    <a:pt x="679" y="212"/>
                  </a:lnTo>
                  <a:lnTo>
                    <a:pt x="679" y="212"/>
                  </a:lnTo>
                  <a:lnTo>
                    <a:pt x="679" y="212"/>
                  </a:lnTo>
                  <a:lnTo>
                    <a:pt x="679" y="210"/>
                  </a:lnTo>
                  <a:lnTo>
                    <a:pt x="679" y="210"/>
                  </a:lnTo>
                  <a:lnTo>
                    <a:pt x="679" y="210"/>
                  </a:lnTo>
                  <a:lnTo>
                    <a:pt x="679" y="210"/>
                  </a:lnTo>
                  <a:lnTo>
                    <a:pt x="679" y="210"/>
                  </a:lnTo>
                  <a:lnTo>
                    <a:pt x="679" y="210"/>
                  </a:lnTo>
                  <a:lnTo>
                    <a:pt x="679" y="210"/>
                  </a:lnTo>
                  <a:lnTo>
                    <a:pt x="681" y="205"/>
                  </a:lnTo>
                  <a:lnTo>
                    <a:pt x="681" y="205"/>
                  </a:lnTo>
                  <a:lnTo>
                    <a:pt x="681" y="205"/>
                  </a:lnTo>
                  <a:lnTo>
                    <a:pt x="681" y="205"/>
                  </a:lnTo>
                  <a:lnTo>
                    <a:pt x="681" y="205"/>
                  </a:lnTo>
                  <a:lnTo>
                    <a:pt x="681" y="205"/>
                  </a:lnTo>
                  <a:lnTo>
                    <a:pt x="681" y="205"/>
                  </a:lnTo>
                  <a:lnTo>
                    <a:pt x="681" y="203"/>
                  </a:lnTo>
                  <a:lnTo>
                    <a:pt x="681" y="203"/>
                  </a:lnTo>
                  <a:lnTo>
                    <a:pt x="681" y="203"/>
                  </a:lnTo>
                  <a:lnTo>
                    <a:pt x="681" y="201"/>
                  </a:lnTo>
                  <a:lnTo>
                    <a:pt x="681" y="201"/>
                  </a:lnTo>
                  <a:lnTo>
                    <a:pt x="681" y="201"/>
                  </a:lnTo>
                  <a:lnTo>
                    <a:pt x="681" y="201"/>
                  </a:lnTo>
                  <a:lnTo>
                    <a:pt x="681" y="201"/>
                  </a:lnTo>
                  <a:lnTo>
                    <a:pt x="681" y="198"/>
                  </a:lnTo>
                  <a:lnTo>
                    <a:pt x="681" y="198"/>
                  </a:lnTo>
                  <a:lnTo>
                    <a:pt x="679" y="198"/>
                  </a:lnTo>
                  <a:lnTo>
                    <a:pt x="679" y="198"/>
                  </a:lnTo>
                  <a:lnTo>
                    <a:pt x="672" y="196"/>
                  </a:lnTo>
                  <a:lnTo>
                    <a:pt x="672" y="196"/>
                  </a:lnTo>
                  <a:lnTo>
                    <a:pt x="672" y="194"/>
                  </a:lnTo>
                  <a:lnTo>
                    <a:pt x="670" y="194"/>
                  </a:lnTo>
                  <a:lnTo>
                    <a:pt x="670" y="194"/>
                  </a:lnTo>
                  <a:lnTo>
                    <a:pt x="670" y="194"/>
                  </a:lnTo>
                  <a:lnTo>
                    <a:pt x="670" y="194"/>
                  </a:lnTo>
                  <a:lnTo>
                    <a:pt x="670" y="192"/>
                  </a:lnTo>
                  <a:lnTo>
                    <a:pt x="668" y="192"/>
                  </a:lnTo>
                  <a:lnTo>
                    <a:pt x="668" y="192"/>
                  </a:lnTo>
                  <a:lnTo>
                    <a:pt x="665" y="192"/>
                  </a:lnTo>
                  <a:lnTo>
                    <a:pt x="665" y="192"/>
                  </a:lnTo>
                  <a:lnTo>
                    <a:pt x="665" y="189"/>
                  </a:lnTo>
                  <a:lnTo>
                    <a:pt x="663" y="189"/>
                  </a:lnTo>
                  <a:lnTo>
                    <a:pt x="663" y="189"/>
                  </a:lnTo>
                  <a:lnTo>
                    <a:pt x="661" y="187"/>
                  </a:lnTo>
                  <a:lnTo>
                    <a:pt x="661" y="187"/>
                  </a:lnTo>
                  <a:lnTo>
                    <a:pt x="661" y="187"/>
                  </a:lnTo>
                  <a:lnTo>
                    <a:pt x="661" y="187"/>
                  </a:lnTo>
                  <a:lnTo>
                    <a:pt x="659" y="187"/>
                  </a:lnTo>
                  <a:lnTo>
                    <a:pt x="659" y="187"/>
                  </a:lnTo>
                  <a:lnTo>
                    <a:pt x="656" y="187"/>
                  </a:lnTo>
                  <a:lnTo>
                    <a:pt x="656" y="185"/>
                  </a:lnTo>
                  <a:lnTo>
                    <a:pt x="654" y="185"/>
                  </a:lnTo>
                  <a:lnTo>
                    <a:pt x="654" y="185"/>
                  </a:lnTo>
                  <a:lnTo>
                    <a:pt x="652" y="185"/>
                  </a:lnTo>
                  <a:lnTo>
                    <a:pt x="652" y="185"/>
                  </a:lnTo>
                  <a:lnTo>
                    <a:pt x="650" y="185"/>
                  </a:lnTo>
                  <a:lnTo>
                    <a:pt x="650" y="185"/>
                  </a:lnTo>
                  <a:lnTo>
                    <a:pt x="654" y="180"/>
                  </a:lnTo>
                  <a:lnTo>
                    <a:pt x="654" y="180"/>
                  </a:lnTo>
                  <a:lnTo>
                    <a:pt x="654" y="180"/>
                  </a:lnTo>
                  <a:lnTo>
                    <a:pt x="654" y="180"/>
                  </a:lnTo>
                  <a:lnTo>
                    <a:pt x="654" y="180"/>
                  </a:lnTo>
                  <a:lnTo>
                    <a:pt x="654" y="180"/>
                  </a:lnTo>
                  <a:lnTo>
                    <a:pt x="654" y="178"/>
                  </a:lnTo>
                  <a:lnTo>
                    <a:pt x="654" y="178"/>
                  </a:lnTo>
                  <a:lnTo>
                    <a:pt x="654" y="178"/>
                  </a:lnTo>
                  <a:lnTo>
                    <a:pt x="654" y="178"/>
                  </a:lnTo>
                  <a:lnTo>
                    <a:pt x="652" y="178"/>
                  </a:lnTo>
                  <a:lnTo>
                    <a:pt x="652" y="178"/>
                  </a:lnTo>
                  <a:lnTo>
                    <a:pt x="652" y="178"/>
                  </a:lnTo>
                  <a:lnTo>
                    <a:pt x="652" y="176"/>
                  </a:lnTo>
                  <a:lnTo>
                    <a:pt x="652" y="176"/>
                  </a:lnTo>
                  <a:lnTo>
                    <a:pt x="652" y="176"/>
                  </a:lnTo>
                  <a:lnTo>
                    <a:pt x="656" y="176"/>
                  </a:lnTo>
                  <a:lnTo>
                    <a:pt x="656" y="174"/>
                  </a:lnTo>
                  <a:lnTo>
                    <a:pt x="661" y="174"/>
                  </a:lnTo>
                  <a:lnTo>
                    <a:pt x="663" y="174"/>
                  </a:lnTo>
                  <a:lnTo>
                    <a:pt x="663" y="174"/>
                  </a:lnTo>
                  <a:lnTo>
                    <a:pt x="670" y="171"/>
                  </a:lnTo>
                  <a:lnTo>
                    <a:pt x="670" y="171"/>
                  </a:lnTo>
                  <a:lnTo>
                    <a:pt x="670" y="171"/>
                  </a:lnTo>
                  <a:lnTo>
                    <a:pt x="670" y="169"/>
                  </a:lnTo>
                  <a:lnTo>
                    <a:pt x="670" y="169"/>
                  </a:lnTo>
                  <a:lnTo>
                    <a:pt x="668" y="167"/>
                  </a:lnTo>
                  <a:lnTo>
                    <a:pt x="668" y="167"/>
                  </a:lnTo>
                  <a:lnTo>
                    <a:pt x="668" y="165"/>
                  </a:lnTo>
                  <a:lnTo>
                    <a:pt x="665" y="165"/>
                  </a:lnTo>
                  <a:lnTo>
                    <a:pt x="665" y="162"/>
                  </a:lnTo>
                  <a:lnTo>
                    <a:pt x="665" y="162"/>
                  </a:lnTo>
                  <a:lnTo>
                    <a:pt x="665" y="162"/>
                  </a:lnTo>
                  <a:lnTo>
                    <a:pt x="665" y="162"/>
                  </a:lnTo>
                  <a:lnTo>
                    <a:pt x="663" y="162"/>
                  </a:lnTo>
                  <a:lnTo>
                    <a:pt x="663" y="160"/>
                  </a:lnTo>
                  <a:lnTo>
                    <a:pt x="663" y="160"/>
                  </a:lnTo>
                  <a:lnTo>
                    <a:pt x="663" y="160"/>
                  </a:lnTo>
                  <a:lnTo>
                    <a:pt x="656" y="158"/>
                  </a:lnTo>
                  <a:lnTo>
                    <a:pt x="656" y="158"/>
                  </a:lnTo>
                  <a:lnTo>
                    <a:pt x="656" y="158"/>
                  </a:lnTo>
                  <a:lnTo>
                    <a:pt x="656" y="158"/>
                  </a:lnTo>
                  <a:lnTo>
                    <a:pt x="659" y="156"/>
                  </a:lnTo>
                  <a:lnTo>
                    <a:pt x="659" y="156"/>
                  </a:lnTo>
                  <a:lnTo>
                    <a:pt x="661" y="156"/>
                  </a:lnTo>
                  <a:lnTo>
                    <a:pt x="661" y="156"/>
                  </a:lnTo>
                  <a:lnTo>
                    <a:pt x="663" y="158"/>
                  </a:lnTo>
                  <a:lnTo>
                    <a:pt x="663" y="158"/>
                  </a:lnTo>
                  <a:lnTo>
                    <a:pt x="665" y="158"/>
                  </a:lnTo>
                  <a:lnTo>
                    <a:pt x="668" y="158"/>
                  </a:lnTo>
                  <a:lnTo>
                    <a:pt x="668" y="158"/>
                  </a:lnTo>
                  <a:lnTo>
                    <a:pt x="668" y="158"/>
                  </a:lnTo>
                  <a:lnTo>
                    <a:pt x="670" y="158"/>
                  </a:lnTo>
                  <a:lnTo>
                    <a:pt x="670" y="158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68" y="160"/>
                  </a:lnTo>
                  <a:lnTo>
                    <a:pt x="670" y="160"/>
                  </a:lnTo>
                  <a:lnTo>
                    <a:pt x="670" y="160"/>
                  </a:lnTo>
                  <a:lnTo>
                    <a:pt x="670" y="160"/>
                  </a:lnTo>
                  <a:lnTo>
                    <a:pt x="672" y="162"/>
                  </a:lnTo>
                  <a:lnTo>
                    <a:pt x="674" y="162"/>
                  </a:lnTo>
                  <a:lnTo>
                    <a:pt x="674" y="162"/>
                  </a:lnTo>
                  <a:lnTo>
                    <a:pt x="674" y="162"/>
                  </a:lnTo>
                  <a:lnTo>
                    <a:pt x="674" y="162"/>
                  </a:lnTo>
                  <a:lnTo>
                    <a:pt x="672" y="162"/>
                  </a:lnTo>
                  <a:lnTo>
                    <a:pt x="672" y="162"/>
                  </a:lnTo>
                  <a:lnTo>
                    <a:pt x="672" y="162"/>
                  </a:lnTo>
                  <a:lnTo>
                    <a:pt x="672" y="162"/>
                  </a:lnTo>
                  <a:lnTo>
                    <a:pt x="674" y="165"/>
                  </a:lnTo>
                  <a:lnTo>
                    <a:pt x="674" y="165"/>
                  </a:lnTo>
                  <a:lnTo>
                    <a:pt x="674" y="165"/>
                  </a:lnTo>
                  <a:lnTo>
                    <a:pt x="674" y="165"/>
                  </a:lnTo>
                  <a:lnTo>
                    <a:pt x="674" y="165"/>
                  </a:lnTo>
                  <a:lnTo>
                    <a:pt x="677" y="167"/>
                  </a:lnTo>
                  <a:lnTo>
                    <a:pt x="677" y="167"/>
                  </a:lnTo>
                  <a:lnTo>
                    <a:pt x="677" y="167"/>
                  </a:lnTo>
                  <a:lnTo>
                    <a:pt x="677" y="167"/>
                  </a:lnTo>
                  <a:lnTo>
                    <a:pt x="679" y="167"/>
                  </a:lnTo>
                  <a:lnTo>
                    <a:pt x="679" y="167"/>
                  </a:lnTo>
                  <a:lnTo>
                    <a:pt x="679" y="167"/>
                  </a:lnTo>
                  <a:lnTo>
                    <a:pt x="679" y="167"/>
                  </a:lnTo>
                  <a:lnTo>
                    <a:pt x="679" y="169"/>
                  </a:lnTo>
                  <a:lnTo>
                    <a:pt x="679" y="169"/>
                  </a:lnTo>
                  <a:lnTo>
                    <a:pt x="677" y="169"/>
                  </a:lnTo>
                  <a:lnTo>
                    <a:pt x="677" y="169"/>
                  </a:lnTo>
                  <a:lnTo>
                    <a:pt x="677" y="169"/>
                  </a:lnTo>
                  <a:lnTo>
                    <a:pt x="677" y="169"/>
                  </a:lnTo>
                  <a:lnTo>
                    <a:pt x="677" y="171"/>
                  </a:lnTo>
                  <a:lnTo>
                    <a:pt x="677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7" y="171"/>
                  </a:lnTo>
                  <a:lnTo>
                    <a:pt x="677" y="171"/>
                  </a:lnTo>
                  <a:lnTo>
                    <a:pt x="677" y="174"/>
                  </a:lnTo>
                  <a:lnTo>
                    <a:pt x="679" y="174"/>
                  </a:lnTo>
                  <a:lnTo>
                    <a:pt x="679" y="174"/>
                  </a:lnTo>
                  <a:lnTo>
                    <a:pt x="679" y="174"/>
                  </a:lnTo>
                  <a:lnTo>
                    <a:pt x="679" y="174"/>
                  </a:lnTo>
                  <a:lnTo>
                    <a:pt x="677" y="174"/>
                  </a:lnTo>
                  <a:lnTo>
                    <a:pt x="677" y="174"/>
                  </a:lnTo>
                  <a:lnTo>
                    <a:pt x="677" y="174"/>
                  </a:lnTo>
                  <a:lnTo>
                    <a:pt x="677" y="174"/>
                  </a:lnTo>
                  <a:lnTo>
                    <a:pt x="677" y="174"/>
                  </a:lnTo>
                  <a:lnTo>
                    <a:pt x="677" y="174"/>
                  </a:lnTo>
                  <a:lnTo>
                    <a:pt x="677" y="174"/>
                  </a:lnTo>
                  <a:lnTo>
                    <a:pt x="677" y="176"/>
                  </a:lnTo>
                  <a:lnTo>
                    <a:pt x="677" y="176"/>
                  </a:lnTo>
                  <a:lnTo>
                    <a:pt x="677" y="176"/>
                  </a:lnTo>
                  <a:lnTo>
                    <a:pt x="677" y="176"/>
                  </a:lnTo>
                  <a:lnTo>
                    <a:pt x="677" y="176"/>
                  </a:lnTo>
                  <a:lnTo>
                    <a:pt x="677" y="176"/>
                  </a:lnTo>
                  <a:lnTo>
                    <a:pt x="677" y="176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79" y="178"/>
                  </a:lnTo>
                  <a:lnTo>
                    <a:pt x="681" y="178"/>
                  </a:lnTo>
                  <a:lnTo>
                    <a:pt x="681" y="178"/>
                  </a:lnTo>
                  <a:lnTo>
                    <a:pt x="683" y="180"/>
                  </a:lnTo>
                  <a:lnTo>
                    <a:pt x="683" y="180"/>
                  </a:lnTo>
                  <a:lnTo>
                    <a:pt x="683" y="180"/>
                  </a:lnTo>
                  <a:lnTo>
                    <a:pt x="683" y="180"/>
                  </a:lnTo>
                  <a:lnTo>
                    <a:pt x="683" y="180"/>
                  </a:lnTo>
                  <a:lnTo>
                    <a:pt x="683" y="180"/>
                  </a:lnTo>
                  <a:lnTo>
                    <a:pt x="686" y="180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6" y="183"/>
                  </a:lnTo>
                  <a:lnTo>
                    <a:pt x="683" y="183"/>
                  </a:lnTo>
                  <a:lnTo>
                    <a:pt x="683" y="183"/>
                  </a:lnTo>
                  <a:lnTo>
                    <a:pt x="683" y="183"/>
                  </a:lnTo>
                  <a:lnTo>
                    <a:pt x="683" y="185"/>
                  </a:lnTo>
                  <a:lnTo>
                    <a:pt x="683" y="185"/>
                  </a:lnTo>
                  <a:lnTo>
                    <a:pt x="683" y="185"/>
                  </a:lnTo>
                  <a:lnTo>
                    <a:pt x="683" y="185"/>
                  </a:lnTo>
                  <a:lnTo>
                    <a:pt x="683" y="185"/>
                  </a:lnTo>
                  <a:lnTo>
                    <a:pt x="686" y="185"/>
                  </a:lnTo>
                  <a:lnTo>
                    <a:pt x="686" y="185"/>
                  </a:lnTo>
                  <a:lnTo>
                    <a:pt x="692" y="187"/>
                  </a:lnTo>
                  <a:lnTo>
                    <a:pt x="697" y="187"/>
                  </a:lnTo>
                  <a:lnTo>
                    <a:pt x="699" y="189"/>
                  </a:lnTo>
                  <a:lnTo>
                    <a:pt x="699" y="189"/>
                  </a:lnTo>
                  <a:lnTo>
                    <a:pt x="699" y="189"/>
                  </a:lnTo>
                  <a:lnTo>
                    <a:pt x="699" y="187"/>
                  </a:lnTo>
                  <a:lnTo>
                    <a:pt x="699" y="187"/>
                  </a:lnTo>
                  <a:lnTo>
                    <a:pt x="699" y="187"/>
                  </a:lnTo>
                  <a:lnTo>
                    <a:pt x="704" y="189"/>
                  </a:lnTo>
                  <a:lnTo>
                    <a:pt x="708" y="189"/>
                  </a:lnTo>
                  <a:lnTo>
                    <a:pt x="710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92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3" y="189"/>
                  </a:lnTo>
                  <a:lnTo>
                    <a:pt x="719" y="189"/>
                  </a:lnTo>
                  <a:lnTo>
                    <a:pt x="722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8" y="192"/>
                  </a:lnTo>
                  <a:lnTo>
                    <a:pt x="728" y="192"/>
                  </a:lnTo>
                  <a:lnTo>
                    <a:pt x="728" y="192"/>
                  </a:lnTo>
                  <a:lnTo>
                    <a:pt x="728" y="192"/>
                  </a:lnTo>
                  <a:lnTo>
                    <a:pt x="728" y="192"/>
                  </a:lnTo>
                  <a:lnTo>
                    <a:pt x="731" y="194"/>
                  </a:lnTo>
                  <a:lnTo>
                    <a:pt x="731" y="194"/>
                  </a:lnTo>
                  <a:lnTo>
                    <a:pt x="735" y="194"/>
                  </a:lnTo>
                  <a:lnTo>
                    <a:pt x="737" y="194"/>
                  </a:lnTo>
                  <a:lnTo>
                    <a:pt x="737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44" y="194"/>
                  </a:lnTo>
                  <a:lnTo>
                    <a:pt x="744" y="194"/>
                  </a:lnTo>
                  <a:lnTo>
                    <a:pt x="744" y="194"/>
                  </a:lnTo>
                  <a:lnTo>
                    <a:pt x="744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4"/>
                  </a:lnTo>
                  <a:lnTo>
                    <a:pt x="746" y="192"/>
                  </a:lnTo>
                  <a:lnTo>
                    <a:pt x="746" y="192"/>
                  </a:lnTo>
                  <a:lnTo>
                    <a:pt x="746" y="192"/>
                  </a:lnTo>
                  <a:lnTo>
                    <a:pt x="746" y="192"/>
                  </a:lnTo>
                  <a:lnTo>
                    <a:pt x="746" y="192"/>
                  </a:lnTo>
                  <a:lnTo>
                    <a:pt x="744" y="192"/>
                  </a:lnTo>
                  <a:lnTo>
                    <a:pt x="744" y="192"/>
                  </a:lnTo>
                  <a:lnTo>
                    <a:pt x="742" y="192"/>
                  </a:lnTo>
                  <a:lnTo>
                    <a:pt x="742" y="192"/>
                  </a:lnTo>
                  <a:lnTo>
                    <a:pt x="744" y="192"/>
                  </a:lnTo>
                  <a:lnTo>
                    <a:pt x="744" y="194"/>
                  </a:lnTo>
                  <a:lnTo>
                    <a:pt x="742" y="194"/>
                  </a:lnTo>
                  <a:lnTo>
                    <a:pt x="742" y="194"/>
                  </a:lnTo>
                  <a:lnTo>
                    <a:pt x="742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40" y="194"/>
                  </a:lnTo>
                  <a:lnTo>
                    <a:pt x="737" y="194"/>
                  </a:lnTo>
                  <a:lnTo>
                    <a:pt x="737" y="194"/>
                  </a:lnTo>
                  <a:lnTo>
                    <a:pt x="737" y="194"/>
                  </a:lnTo>
                  <a:lnTo>
                    <a:pt x="737" y="194"/>
                  </a:lnTo>
                  <a:lnTo>
                    <a:pt x="737" y="194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89"/>
                  </a:lnTo>
                  <a:lnTo>
                    <a:pt x="735" y="189"/>
                  </a:lnTo>
                  <a:lnTo>
                    <a:pt x="735" y="192"/>
                  </a:lnTo>
                  <a:lnTo>
                    <a:pt x="735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7" y="192"/>
                  </a:lnTo>
                  <a:lnTo>
                    <a:pt x="735" y="192"/>
                  </a:lnTo>
                  <a:lnTo>
                    <a:pt x="733" y="192"/>
                  </a:lnTo>
                  <a:lnTo>
                    <a:pt x="733" y="189"/>
                  </a:lnTo>
                  <a:lnTo>
                    <a:pt x="733" y="189"/>
                  </a:lnTo>
                  <a:lnTo>
                    <a:pt x="733" y="189"/>
                  </a:lnTo>
                  <a:lnTo>
                    <a:pt x="733" y="189"/>
                  </a:lnTo>
                  <a:lnTo>
                    <a:pt x="733" y="189"/>
                  </a:lnTo>
                  <a:lnTo>
                    <a:pt x="733" y="189"/>
                  </a:lnTo>
                  <a:lnTo>
                    <a:pt x="733" y="189"/>
                  </a:lnTo>
                  <a:lnTo>
                    <a:pt x="733" y="187"/>
                  </a:lnTo>
                  <a:lnTo>
                    <a:pt x="731" y="187"/>
                  </a:lnTo>
                  <a:lnTo>
                    <a:pt x="731" y="187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6" y="187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19" y="187"/>
                  </a:lnTo>
                  <a:lnTo>
                    <a:pt x="719" y="187"/>
                  </a:lnTo>
                  <a:lnTo>
                    <a:pt x="717" y="187"/>
                  </a:lnTo>
                  <a:lnTo>
                    <a:pt x="717" y="187"/>
                  </a:lnTo>
                  <a:lnTo>
                    <a:pt x="719" y="187"/>
                  </a:lnTo>
                  <a:lnTo>
                    <a:pt x="719" y="187"/>
                  </a:lnTo>
                  <a:lnTo>
                    <a:pt x="715" y="185"/>
                  </a:lnTo>
                  <a:lnTo>
                    <a:pt x="713" y="185"/>
                  </a:lnTo>
                  <a:lnTo>
                    <a:pt x="713" y="185"/>
                  </a:lnTo>
                  <a:lnTo>
                    <a:pt x="710" y="185"/>
                  </a:lnTo>
                  <a:lnTo>
                    <a:pt x="710" y="185"/>
                  </a:lnTo>
                  <a:lnTo>
                    <a:pt x="708" y="185"/>
                  </a:lnTo>
                  <a:lnTo>
                    <a:pt x="704" y="183"/>
                  </a:lnTo>
                  <a:lnTo>
                    <a:pt x="704" y="183"/>
                  </a:lnTo>
                  <a:lnTo>
                    <a:pt x="704" y="183"/>
                  </a:lnTo>
                  <a:lnTo>
                    <a:pt x="704" y="183"/>
                  </a:lnTo>
                  <a:lnTo>
                    <a:pt x="701" y="183"/>
                  </a:lnTo>
                  <a:lnTo>
                    <a:pt x="701" y="183"/>
                  </a:lnTo>
                  <a:lnTo>
                    <a:pt x="697" y="183"/>
                  </a:lnTo>
                  <a:lnTo>
                    <a:pt x="697" y="180"/>
                  </a:lnTo>
                  <a:lnTo>
                    <a:pt x="697" y="180"/>
                  </a:lnTo>
                  <a:lnTo>
                    <a:pt x="697" y="180"/>
                  </a:lnTo>
                  <a:lnTo>
                    <a:pt x="695" y="180"/>
                  </a:lnTo>
                  <a:lnTo>
                    <a:pt x="695" y="180"/>
                  </a:lnTo>
                  <a:lnTo>
                    <a:pt x="695" y="180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0" y="176"/>
                  </a:lnTo>
                  <a:lnTo>
                    <a:pt x="688" y="176"/>
                  </a:lnTo>
                  <a:lnTo>
                    <a:pt x="688" y="176"/>
                  </a:lnTo>
                  <a:lnTo>
                    <a:pt x="688" y="176"/>
                  </a:lnTo>
                  <a:lnTo>
                    <a:pt x="688" y="174"/>
                  </a:lnTo>
                  <a:lnTo>
                    <a:pt x="688" y="174"/>
                  </a:lnTo>
                  <a:lnTo>
                    <a:pt x="692" y="174"/>
                  </a:lnTo>
                  <a:lnTo>
                    <a:pt x="699" y="171"/>
                  </a:lnTo>
                  <a:lnTo>
                    <a:pt x="699" y="171"/>
                  </a:lnTo>
                  <a:lnTo>
                    <a:pt x="701" y="174"/>
                  </a:lnTo>
                  <a:lnTo>
                    <a:pt x="701" y="174"/>
                  </a:lnTo>
                  <a:lnTo>
                    <a:pt x="708" y="176"/>
                  </a:lnTo>
                  <a:lnTo>
                    <a:pt x="710" y="176"/>
                  </a:lnTo>
                  <a:lnTo>
                    <a:pt x="713" y="176"/>
                  </a:lnTo>
                  <a:lnTo>
                    <a:pt x="715" y="176"/>
                  </a:lnTo>
                  <a:lnTo>
                    <a:pt x="719" y="176"/>
                  </a:lnTo>
                  <a:lnTo>
                    <a:pt x="719" y="176"/>
                  </a:lnTo>
                  <a:lnTo>
                    <a:pt x="719" y="174"/>
                  </a:lnTo>
                  <a:lnTo>
                    <a:pt x="719" y="174"/>
                  </a:lnTo>
                  <a:lnTo>
                    <a:pt x="719" y="174"/>
                  </a:lnTo>
                  <a:lnTo>
                    <a:pt x="719" y="174"/>
                  </a:lnTo>
                  <a:lnTo>
                    <a:pt x="719" y="174"/>
                  </a:lnTo>
                  <a:lnTo>
                    <a:pt x="715" y="171"/>
                  </a:lnTo>
                  <a:lnTo>
                    <a:pt x="715" y="171"/>
                  </a:lnTo>
                  <a:lnTo>
                    <a:pt x="713" y="171"/>
                  </a:lnTo>
                  <a:lnTo>
                    <a:pt x="710" y="171"/>
                  </a:lnTo>
                  <a:lnTo>
                    <a:pt x="708" y="171"/>
                  </a:lnTo>
                  <a:lnTo>
                    <a:pt x="708" y="171"/>
                  </a:lnTo>
                  <a:lnTo>
                    <a:pt x="708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69"/>
                  </a:lnTo>
                  <a:lnTo>
                    <a:pt x="706" y="169"/>
                  </a:lnTo>
                  <a:lnTo>
                    <a:pt x="706" y="169"/>
                  </a:lnTo>
                  <a:lnTo>
                    <a:pt x="704" y="169"/>
                  </a:lnTo>
                  <a:lnTo>
                    <a:pt x="706" y="169"/>
                  </a:lnTo>
                  <a:lnTo>
                    <a:pt x="706" y="169"/>
                  </a:lnTo>
                  <a:lnTo>
                    <a:pt x="708" y="169"/>
                  </a:lnTo>
                  <a:lnTo>
                    <a:pt x="708" y="169"/>
                  </a:lnTo>
                  <a:lnTo>
                    <a:pt x="708" y="169"/>
                  </a:lnTo>
                  <a:lnTo>
                    <a:pt x="708" y="169"/>
                  </a:lnTo>
                  <a:lnTo>
                    <a:pt x="708" y="169"/>
                  </a:lnTo>
                  <a:lnTo>
                    <a:pt x="710" y="167"/>
                  </a:lnTo>
                  <a:lnTo>
                    <a:pt x="710" y="167"/>
                  </a:lnTo>
                  <a:lnTo>
                    <a:pt x="713" y="167"/>
                  </a:lnTo>
                  <a:lnTo>
                    <a:pt x="713" y="167"/>
                  </a:lnTo>
                  <a:lnTo>
                    <a:pt x="713" y="167"/>
                  </a:lnTo>
                  <a:lnTo>
                    <a:pt x="713" y="165"/>
                  </a:lnTo>
                  <a:lnTo>
                    <a:pt x="713" y="165"/>
                  </a:lnTo>
                  <a:lnTo>
                    <a:pt x="713" y="167"/>
                  </a:lnTo>
                  <a:lnTo>
                    <a:pt x="715" y="167"/>
                  </a:lnTo>
                  <a:lnTo>
                    <a:pt x="715" y="165"/>
                  </a:lnTo>
                  <a:lnTo>
                    <a:pt x="717" y="165"/>
                  </a:lnTo>
                  <a:lnTo>
                    <a:pt x="717" y="165"/>
                  </a:lnTo>
                  <a:lnTo>
                    <a:pt x="717" y="165"/>
                  </a:lnTo>
                  <a:lnTo>
                    <a:pt x="717" y="165"/>
                  </a:lnTo>
                  <a:lnTo>
                    <a:pt x="717" y="165"/>
                  </a:lnTo>
                  <a:lnTo>
                    <a:pt x="717" y="165"/>
                  </a:lnTo>
                  <a:lnTo>
                    <a:pt x="726" y="165"/>
                  </a:lnTo>
                  <a:lnTo>
                    <a:pt x="728" y="165"/>
                  </a:lnTo>
                  <a:lnTo>
                    <a:pt x="731" y="165"/>
                  </a:lnTo>
                  <a:lnTo>
                    <a:pt x="733" y="167"/>
                  </a:lnTo>
                  <a:lnTo>
                    <a:pt x="737" y="167"/>
                  </a:lnTo>
                  <a:lnTo>
                    <a:pt x="742" y="169"/>
                  </a:lnTo>
                  <a:lnTo>
                    <a:pt x="751" y="169"/>
                  </a:lnTo>
                  <a:lnTo>
                    <a:pt x="755" y="171"/>
                  </a:lnTo>
                  <a:lnTo>
                    <a:pt x="758" y="171"/>
                  </a:lnTo>
                  <a:lnTo>
                    <a:pt x="758" y="171"/>
                  </a:lnTo>
                  <a:lnTo>
                    <a:pt x="758" y="171"/>
                  </a:lnTo>
                  <a:lnTo>
                    <a:pt x="758" y="171"/>
                  </a:lnTo>
                  <a:lnTo>
                    <a:pt x="758" y="174"/>
                  </a:lnTo>
                  <a:lnTo>
                    <a:pt x="758" y="174"/>
                  </a:lnTo>
                  <a:lnTo>
                    <a:pt x="755" y="171"/>
                  </a:lnTo>
                  <a:lnTo>
                    <a:pt x="755" y="171"/>
                  </a:lnTo>
                  <a:lnTo>
                    <a:pt x="755" y="171"/>
                  </a:lnTo>
                  <a:lnTo>
                    <a:pt x="755" y="171"/>
                  </a:lnTo>
                  <a:lnTo>
                    <a:pt x="755" y="171"/>
                  </a:lnTo>
                  <a:lnTo>
                    <a:pt x="755" y="171"/>
                  </a:lnTo>
                  <a:lnTo>
                    <a:pt x="753" y="171"/>
                  </a:lnTo>
                  <a:lnTo>
                    <a:pt x="753" y="171"/>
                  </a:lnTo>
                  <a:lnTo>
                    <a:pt x="755" y="171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7" y="176"/>
                  </a:lnTo>
                  <a:lnTo>
                    <a:pt x="769" y="178"/>
                  </a:lnTo>
                  <a:lnTo>
                    <a:pt x="769" y="178"/>
                  </a:lnTo>
                  <a:lnTo>
                    <a:pt x="773" y="178"/>
                  </a:lnTo>
                  <a:lnTo>
                    <a:pt x="776" y="178"/>
                  </a:lnTo>
                  <a:lnTo>
                    <a:pt x="782" y="178"/>
                  </a:lnTo>
                  <a:lnTo>
                    <a:pt x="785" y="178"/>
                  </a:lnTo>
                  <a:lnTo>
                    <a:pt x="785" y="178"/>
                  </a:lnTo>
                  <a:lnTo>
                    <a:pt x="787" y="178"/>
                  </a:lnTo>
                  <a:lnTo>
                    <a:pt x="791" y="178"/>
                  </a:lnTo>
                  <a:lnTo>
                    <a:pt x="791" y="178"/>
                  </a:lnTo>
                  <a:lnTo>
                    <a:pt x="791" y="178"/>
                  </a:lnTo>
                  <a:lnTo>
                    <a:pt x="794" y="178"/>
                  </a:lnTo>
                  <a:lnTo>
                    <a:pt x="794" y="178"/>
                  </a:lnTo>
                  <a:lnTo>
                    <a:pt x="794" y="178"/>
                  </a:lnTo>
                  <a:lnTo>
                    <a:pt x="794" y="178"/>
                  </a:lnTo>
                  <a:lnTo>
                    <a:pt x="794" y="178"/>
                  </a:lnTo>
                  <a:lnTo>
                    <a:pt x="794" y="178"/>
                  </a:lnTo>
                  <a:lnTo>
                    <a:pt x="796" y="178"/>
                  </a:lnTo>
                  <a:lnTo>
                    <a:pt x="796" y="178"/>
                  </a:lnTo>
                  <a:lnTo>
                    <a:pt x="798" y="178"/>
                  </a:lnTo>
                  <a:lnTo>
                    <a:pt x="798" y="178"/>
                  </a:lnTo>
                  <a:lnTo>
                    <a:pt x="798" y="178"/>
                  </a:lnTo>
                  <a:lnTo>
                    <a:pt x="800" y="178"/>
                  </a:lnTo>
                  <a:lnTo>
                    <a:pt x="800" y="180"/>
                  </a:lnTo>
                  <a:lnTo>
                    <a:pt x="800" y="180"/>
                  </a:lnTo>
                  <a:lnTo>
                    <a:pt x="800" y="180"/>
                  </a:lnTo>
                  <a:lnTo>
                    <a:pt x="798" y="180"/>
                  </a:lnTo>
                  <a:lnTo>
                    <a:pt x="798" y="180"/>
                  </a:lnTo>
                  <a:lnTo>
                    <a:pt x="798" y="180"/>
                  </a:lnTo>
                  <a:lnTo>
                    <a:pt x="798" y="183"/>
                  </a:lnTo>
                  <a:lnTo>
                    <a:pt x="798" y="183"/>
                  </a:lnTo>
                  <a:lnTo>
                    <a:pt x="798" y="183"/>
                  </a:lnTo>
                  <a:lnTo>
                    <a:pt x="798" y="183"/>
                  </a:lnTo>
                  <a:lnTo>
                    <a:pt x="798" y="183"/>
                  </a:lnTo>
                  <a:lnTo>
                    <a:pt x="798" y="183"/>
                  </a:lnTo>
                  <a:lnTo>
                    <a:pt x="798" y="183"/>
                  </a:lnTo>
                  <a:lnTo>
                    <a:pt x="798" y="185"/>
                  </a:lnTo>
                  <a:lnTo>
                    <a:pt x="798" y="185"/>
                  </a:lnTo>
                  <a:lnTo>
                    <a:pt x="798" y="185"/>
                  </a:lnTo>
                  <a:lnTo>
                    <a:pt x="800" y="185"/>
                  </a:lnTo>
                  <a:lnTo>
                    <a:pt x="798" y="185"/>
                  </a:lnTo>
                  <a:lnTo>
                    <a:pt x="798" y="185"/>
                  </a:lnTo>
                  <a:lnTo>
                    <a:pt x="796" y="185"/>
                  </a:lnTo>
                  <a:lnTo>
                    <a:pt x="791" y="187"/>
                  </a:lnTo>
                  <a:lnTo>
                    <a:pt x="789" y="187"/>
                  </a:lnTo>
                  <a:lnTo>
                    <a:pt x="789" y="187"/>
                  </a:lnTo>
                  <a:lnTo>
                    <a:pt x="791" y="187"/>
                  </a:lnTo>
                  <a:lnTo>
                    <a:pt x="791" y="187"/>
                  </a:lnTo>
                  <a:lnTo>
                    <a:pt x="791" y="187"/>
                  </a:lnTo>
                  <a:lnTo>
                    <a:pt x="791" y="187"/>
                  </a:lnTo>
                  <a:lnTo>
                    <a:pt x="791" y="189"/>
                  </a:lnTo>
                  <a:lnTo>
                    <a:pt x="791" y="189"/>
                  </a:lnTo>
                  <a:lnTo>
                    <a:pt x="791" y="189"/>
                  </a:lnTo>
                  <a:lnTo>
                    <a:pt x="791" y="189"/>
                  </a:lnTo>
                  <a:lnTo>
                    <a:pt x="794" y="189"/>
                  </a:lnTo>
                  <a:lnTo>
                    <a:pt x="794" y="189"/>
                  </a:lnTo>
                  <a:lnTo>
                    <a:pt x="794" y="189"/>
                  </a:lnTo>
                  <a:lnTo>
                    <a:pt x="794" y="192"/>
                  </a:lnTo>
                  <a:lnTo>
                    <a:pt x="794" y="192"/>
                  </a:lnTo>
                  <a:lnTo>
                    <a:pt x="794" y="192"/>
                  </a:lnTo>
                  <a:lnTo>
                    <a:pt x="794" y="192"/>
                  </a:lnTo>
                  <a:lnTo>
                    <a:pt x="794" y="192"/>
                  </a:lnTo>
                  <a:lnTo>
                    <a:pt x="794" y="194"/>
                  </a:lnTo>
                  <a:lnTo>
                    <a:pt x="796" y="194"/>
                  </a:lnTo>
                  <a:lnTo>
                    <a:pt x="796" y="194"/>
                  </a:lnTo>
                  <a:lnTo>
                    <a:pt x="796" y="194"/>
                  </a:lnTo>
                  <a:lnTo>
                    <a:pt x="798" y="194"/>
                  </a:lnTo>
                  <a:lnTo>
                    <a:pt x="798" y="196"/>
                  </a:lnTo>
                  <a:lnTo>
                    <a:pt x="798" y="196"/>
                  </a:lnTo>
                  <a:lnTo>
                    <a:pt x="798" y="196"/>
                  </a:lnTo>
                  <a:lnTo>
                    <a:pt x="798" y="196"/>
                  </a:lnTo>
                  <a:lnTo>
                    <a:pt x="798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8"/>
                  </a:lnTo>
                  <a:lnTo>
                    <a:pt x="798" y="198"/>
                  </a:lnTo>
                  <a:lnTo>
                    <a:pt x="798" y="198"/>
                  </a:lnTo>
                  <a:lnTo>
                    <a:pt x="798" y="198"/>
                  </a:lnTo>
                  <a:lnTo>
                    <a:pt x="798" y="198"/>
                  </a:lnTo>
                  <a:lnTo>
                    <a:pt x="798" y="198"/>
                  </a:lnTo>
                  <a:lnTo>
                    <a:pt x="798" y="201"/>
                  </a:lnTo>
                  <a:lnTo>
                    <a:pt x="798" y="201"/>
                  </a:lnTo>
                  <a:lnTo>
                    <a:pt x="798" y="201"/>
                  </a:lnTo>
                  <a:lnTo>
                    <a:pt x="798" y="201"/>
                  </a:lnTo>
                  <a:lnTo>
                    <a:pt x="798" y="201"/>
                  </a:lnTo>
                  <a:lnTo>
                    <a:pt x="798" y="201"/>
                  </a:lnTo>
                  <a:lnTo>
                    <a:pt x="798" y="201"/>
                  </a:lnTo>
                  <a:lnTo>
                    <a:pt x="800" y="201"/>
                  </a:lnTo>
                  <a:lnTo>
                    <a:pt x="800" y="203"/>
                  </a:lnTo>
                  <a:lnTo>
                    <a:pt x="800" y="203"/>
                  </a:lnTo>
                  <a:lnTo>
                    <a:pt x="800" y="203"/>
                  </a:lnTo>
                  <a:lnTo>
                    <a:pt x="800" y="203"/>
                  </a:lnTo>
                  <a:lnTo>
                    <a:pt x="800" y="203"/>
                  </a:lnTo>
                  <a:lnTo>
                    <a:pt x="800" y="203"/>
                  </a:lnTo>
                  <a:lnTo>
                    <a:pt x="802" y="203"/>
                  </a:lnTo>
                  <a:lnTo>
                    <a:pt x="802" y="205"/>
                  </a:lnTo>
                  <a:lnTo>
                    <a:pt x="802" y="205"/>
                  </a:lnTo>
                  <a:lnTo>
                    <a:pt x="802" y="205"/>
                  </a:lnTo>
                  <a:lnTo>
                    <a:pt x="805" y="205"/>
                  </a:lnTo>
                  <a:lnTo>
                    <a:pt x="805" y="205"/>
                  </a:lnTo>
                  <a:lnTo>
                    <a:pt x="805" y="205"/>
                  </a:lnTo>
                  <a:lnTo>
                    <a:pt x="805" y="207"/>
                  </a:lnTo>
                  <a:lnTo>
                    <a:pt x="805" y="207"/>
                  </a:lnTo>
                  <a:lnTo>
                    <a:pt x="805" y="207"/>
                  </a:lnTo>
                  <a:lnTo>
                    <a:pt x="807" y="207"/>
                  </a:lnTo>
                  <a:lnTo>
                    <a:pt x="807" y="207"/>
                  </a:lnTo>
                  <a:lnTo>
                    <a:pt x="807" y="207"/>
                  </a:lnTo>
                  <a:lnTo>
                    <a:pt x="807" y="207"/>
                  </a:lnTo>
                  <a:lnTo>
                    <a:pt x="807" y="207"/>
                  </a:lnTo>
                  <a:lnTo>
                    <a:pt x="805" y="207"/>
                  </a:lnTo>
                  <a:lnTo>
                    <a:pt x="805" y="207"/>
                  </a:lnTo>
                  <a:lnTo>
                    <a:pt x="802" y="205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0" y="203"/>
                  </a:lnTo>
                  <a:lnTo>
                    <a:pt x="800" y="201"/>
                  </a:lnTo>
                  <a:lnTo>
                    <a:pt x="798" y="201"/>
                  </a:lnTo>
                  <a:lnTo>
                    <a:pt x="800" y="201"/>
                  </a:lnTo>
                  <a:lnTo>
                    <a:pt x="800" y="201"/>
                  </a:lnTo>
                  <a:lnTo>
                    <a:pt x="800" y="201"/>
                  </a:lnTo>
                  <a:lnTo>
                    <a:pt x="800" y="201"/>
                  </a:lnTo>
                  <a:lnTo>
                    <a:pt x="802" y="201"/>
                  </a:lnTo>
                  <a:lnTo>
                    <a:pt x="802" y="201"/>
                  </a:lnTo>
                  <a:lnTo>
                    <a:pt x="802" y="201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0" y="198"/>
                  </a:lnTo>
                  <a:lnTo>
                    <a:pt x="800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8"/>
                  </a:lnTo>
                  <a:lnTo>
                    <a:pt x="802" y="196"/>
                  </a:lnTo>
                  <a:lnTo>
                    <a:pt x="802" y="196"/>
                  </a:lnTo>
                  <a:lnTo>
                    <a:pt x="802" y="196"/>
                  </a:lnTo>
                  <a:lnTo>
                    <a:pt x="802" y="196"/>
                  </a:lnTo>
                  <a:lnTo>
                    <a:pt x="802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6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0" y="194"/>
                  </a:lnTo>
                  <a:lnTo>
                    <a:pt x="802" y="194"/>
                  </a:lnTo>
                  <a:lnTo>
                    <a:pt x="802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2" y="192"/>
                  </a:lnTo>
                  <a:lnTo>
                    <a:pt x="802" y="192"/>
                  </a:lnTo>
                  <a:lnTo>
                    <a:pt x="802" y="192"/>
                  </a:lnTo>
                  <a:lnTo>
                    <a:pt x="805" y="192"/>
                  </a:lnTo>
                  <a:lnTo>
                    <a:pt x="805" y="192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5" y="194"/>
                  </a:lnTo>
                  <a:lnTo>
                    <a:pt x="807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1" y="196"/>
                  </a:lnTo>
                  <a:lnTo>
                    <a:pt x="811" y="198"/>
                  </a:lnTo>
                  <a:lnTo>
                    <a:pt x="811" y="198"/>
                  </a:lnTo>
                  <a:lnTo>
                    <a:pt x="811" y="198"/>
                  </a:lnTo>
                  <a:lnTo>
                    <a:pt x="811" y="198"/>
                  </a:lnTo>
                  <a:lnTo>
                    <a:pt x="811" y="198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1" y="201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5"/>
                  </a:lnTo>
                  <a:lnTo>
                    <a:pt x="814" y="205"/>
                  </a:lnTo>
                  <a:lnTo>
                    <a:pt x="811" y="207"/>
                  </a:lnTo>
                  <a:lnTo>
                    <a:pt x="811" y="207"/>
                  </a:lnTo>
                  <a:lnTo>
                    <a:pt x="811" y="207"/>
                  </a:lnTo>
                  <a:lnTo>
                    <a:pt x="811" y="207"/>
                  </a:lnTo>
                  <a:lnTo>
                    <a:pt x="811" y="207"/>
                  </a:lnTo>
                  <a:lnTo>
                    <a:pt x="811" y="207"/>
                  </a:lnTo>
                  <a:lnTo>
                    <a:pt x="811" y="210"/>
                  </a:lnTo>
                  <a:lnTo>
                    <a:pt x="814" y="210"/>
                  </a:lnTo>
                  <a:lnTo>
                    <a:pt x="814" y="210"/>
                  </a:lnTo>
                  <a:lnTo>
                    <a:pt x="818" y="210"/>
                  </a:lnTo>
                  <a:lnTo>
                    <a:pt x="818" y="210"/>
                  </a:lnTo>
                  <a:lnTo>
                    <a:pt x="818" y="210"/>
                  </a:lnTo>
                  <a:lnTo>
                    <a:pt x="820" y="212"/>
                  </a:lnTo>
                  <a:lnTo>
                    <a:pt x="820" y="212"/>
                  </a:lnTo>
                  <a:lnTo>
                    <a:pt x="820" y="210"/>
                  </a:lnTo>
                  <a:lnTo>
                    <a:pt x="823" y="210"/>
                  </a:lnTo>
                  <a:lnTo>
                    <a:pt x="823" y="210"/>
                  </a:lnTo>
                  <a:lnTo>
                    <a:pt x="820" y="210"/>
                  </a:lnTo>
                  <a:lnTo>
                    <a:pt x="820" y="210"/>
                  </a:lnTo>
                  <a:lnTo>
                    <a:pt x="820" y="210"/>
                  </a:lnTo>
                  <a:lnTo>
                    <a:pt x="820" y="210"/>
                  </a:lnTo>
                  <a:lnTo>
                    <a:pt x="818" y="207"/>
                  </a:lnTo>
                  <a:lnTo>
                    <a:pt x="818" y="207"/>
                  </a:lnTo>
                  <a:lnTo>
                    <a:pt x="818" y="207"/>
                  </a:lnTo>
                  <a:lnTo>
                    <a:pt x="818" y="207"/>
                  </a:lnTo>
                  <a:lnTo>
                    <a:pt x="816" y="207"/>
                  </a:lnTo>
                  <a:lnTo>
                    <a:pt x="816" y="207"/>
                  </a:lnTo>
                  <a:lnTo>
                    <a:pt x="816" y="205"/>
                  </a:lnTo>
                  <a:lnTo>
                    <a:pt x="814" y="205"/>
                  </a:lnTo>
                  <a:lnTo>
                    <a:pt x="816" y="205"/>
                  </a:lnTo>
                  <a:lnTo>
                    <a:pt x="818" y="205"/>
                  </a:lnTo>
                  <a:lnTo>
                    <a:pt x="820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3" y="205"/>
                  </a:lnTo>
                  <a:lnTo>
                    <a:pt x="825" y="205"/>
                  </a:lnTo>
                  <a:lnTo>
                    <a:pt x="825" y="203"/>
                  </a:lnTo>
                  <a:lnTo>
                    <a:pt x="825" y="203"/>
                  </a:lnTo>
                  <a:lnTo>
                    <a:pt x="823" y="203"/>
                  </a:lnTo>
                  <a:lnTo>
                    <a:pt x="823" y="201"/>
                  </a:lnTo>
                  <a:lnTo>
                    <a:pt x="823" y="201"/>
                  </a:lnTo>
                  <a:lnTo>
                    <a:pt x="820" y="201"/>
                  </a:lnTo>
                  <a:lnTo>
                    <a:pt x="820" y="201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6" y="196"/>
                  </a:lnTo>
                  <a:lnTo>
                    <a:pt x="816" y="196"/>
                  </a:lnTo>
                  <a:lnTo>
                    <a:pt x="816" y="196"/>
                  </a:lnTo>
                  <a:lnTo>
                    <a:pt x="816" y="196"/>
                  </a:lnTo>
                  <a:lnTo>
                    <a:pt x="816" y="196"/>
                  </a:lnTo>
                  <a:lnTo>
                    <a:pt x="814" y="196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1" y="194"/>
                  </a:lnTo>
                  <a:lnTo>
                    <a:pt x="811" y="194"/>
                  </a:lnTo>
                  <a:lnTo>
                    <a:pt x="811" y="192"/>
                  </a:lnTo>
                  <a:lnTo>
                    <a:pt x="809" y="192"/>
                  </a:lnTo>
                  <a:lnTo>
                    <a:pt x="809" y="192"/>
                  </a:lnTo>
                  <a:lnTo>
                    <a:pt x="809" y="192"/>
                  </a:lnTo>
                  <a:lnTo>
                    <a:pt x="807" y="192"/>
                  </a:lnTo>
                  <a:lnTo>
                    <a:pt x="807" y="192"/>
                  </a:lnTo>
                  <a:lnTo>
                    <a:pt x="805" y="192"/>
                  </a:lnTo>
                  <a:lnTo>
                    <a:pt x="805" y="189"/>
                  </a:lnTo>
                  <a:lnTo>
                    <a:pt x="807" y="189"/>
                  </a:lnTo>
                  <a:lnTo>
                    <a:pt x="807" y="189"/>
                  </a:lnTo>
                  <a:lnTo>
                    <a:pt x="807" y="189"/>
                  </a:lnTo>
                  <a:lnTo>
                    <a:pt x="805" y="189"/>
                  </a:lnTo>
                  <a:lnTo>
                    <a:pt x="805" y="187"/>
                  </a:lnTo>
                  <a:lnTo>
                    <a:pt x="802" y="187"/>
                  </a:lnTo>
                  <a:lnTo>
                    <a:pt x="802" y="187"/>
                  </a:lnTo>
                  <a:lnTo>
                    <a:pt x="805" y="187"/>
                  </a:lnTo>
                  <a:lnTo>
                    <a:pt x="805" y="187"/>
                  </a:lnTo>
                  <a:lnTo>
                    <a:pt x="805" y="187"/>
                  </a:lnTo>
                  <a:lnTo>
                    <a:pt x="805" y="187"/>
                  </a:lnTo>
                  <a:lnTo>
                    <a:pt x="805" y="185"/>
                  </a:lnTo>
                  <a:lnTo>
                    <a:pt x="805" y="185"/>
                  </a:lnTo>
                  <a:lnTo>
                    <a:pt x="805" y="185"/>
                  </a:lnTo>
                  <a:lnTo>
                    <a:pt x="805" y="185"/>
                  </a:lnTo>
                  <a:lnTo>
                    <a:pt x="805" y="185"/>
                  </a:lnTo>
                  <a:lnTo>
                    <a:pt x="805" y="185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3"/>
                  </a:lnTo>
                  <a:lnTo>
                    <a:pt x="805" y="180"/>
                  </a:lnTo>
                  <a:lnTo>
                    <a:pt x="805" y="180"/>
                  </a:lnTo>
                  <a:lnTo>
                    <a:pt x="805" y="180"/>
                  </a:lnTo>
                  <a:lnTo>
                    <a:pt x="805" y="180"/>
                  </a:lnTo>
                  <a:lnTo>
                    <a:pt x="802" y="180"/>
                  </a:lnTo>
                  <a:lnTo>
                    <a:pt x="802" y="180"/>
                  </a:lnTo>
                  <a:lnTo>
                    <a:pt x="802" y="180"/>
                  </a:lnTo>
                  <a:lnTo>
                    <a:pt x="802" y="178"/>
                  </a:lnTo>
                  <a:lnTo>
                    <a:pt x="802" y="178"/>
                  </a:lnTo>
                  <a:lnTo>
                    <a:pt x="802" y="178"/>
                  </a:lnTo>
                  <a:lnTo>
                    <a:pt x="802" y="178"/>
                  </a:lnTo>
                  <a:lnTo>
                    <a:pt x="800" y="178"/>
                  </a:lnTo>
                  <a:lnTo>
                    <a:pt x="800" y="178"/>
                  </a:lnTo>
                  <a:lnTo>
                    <a:pt x="800" y="178"/>
                  </a:lnTo>
                  <a:lnTo>
                    <a:pt x="800" y="178"/>
                  </a:lnTo>
                  <a:lnTo>
                    <a:pt x="800" y="178"/>
                  </a:lnTo>
                  <a:lnTo>
                    <a:pt x="800" y="178"/>
                  </a:lnTo>
                  <a:lnTo>
                    <a:pt x="800" y="178"/>
                  </a:lnTo>
                  <a:lnTo>
                    <a:pt x="798" y="178"/>
                  </a:lnTo>
                  <a:lnTo>
                    <a:pt x="798" y="176"/>
                  </a:lnTo>
                  <a:lnTo>
                    <a:pt x="798" y="176"/>
                  </a:lnTo>
                  <a:lnTo>
                    <a:pt x="798" y="176"/>
                  </a:lnTo>
                  <a:lnTo>
                    <a:pt x="798" y="176"/>
                  </a:lnTo>
                  <a:lnTo>
                    <a:pt x="796" y="176"/>
                  </a:lnTo>
                  <a:lnTo>
                    <a:pt x="794" y="176"/>
                  </a:lnTo>
                  <a:lnTo>
                    <a:pt x="791" y="176"/>
                  </a:lnTo>
                  <a:lnTo>
                    <a:pt x="791" y="176"/>
                  </a:lnTo>
                  <a:lnTo>
                    <a:pt x="789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5" y="174"/>
                  </a:lnTo>
                  <a:lnTo>
                    <a:pt x="785" y="174"/>
                  </a:lnTo>
                  <a:lnTo>
                    <a:pt x="785" y="174"/>
                  </a:lnTo>
                  <a:lnTo>
                    <a:pt x="782" y="174"/>
                  </a:lnTo>
                  <a:lnTo>
                    <a:pt x="780" y="174"/>
                  </a:lnTo>
                  <a:lnTo>
                    <a:pt x="780" y="171"/>
                  </a:lnTo>
                  <a:lnTo>
                    <a:pt x="778" y="171"/>
                  </a:lnTo>
                  <a:lnTo>
                    <a:pt x="778" y="171"/>
                  </a:lnTo>
                  <a:lnTo>
                    <a:pt x="776" y="171"/>
                  </a:lnTo>
                  <a:lnTo>
                    <a:pt x="776" y="171"/>
                  </a:lnTo>
                  <a:lnTo>
                    <a:pt x="778" y="171"/>
                  </a:lnTo>
                  <a:lnTo>
                    <a:pt x="778" y="171"/>
                  </a:lnTo>
                  <a:lnTo>
                    <a:pt x="776" y="169"/>
                  </a:lnTo>
                  <a:lnTo>
                    <a:pt x="776" y="169"/>
                  </a:lnTo>
                  <a:lnTo>
                    <a:pt x="776" y="169"/>
                  </a:lnTo>
                  <a:lnTo>
                    <a:pt x="776" y="169"/>
                  </a:lnTo>
                  <a:lnTo>
                    <a:pt x="776" y="169"/>
                  </a:lnTo>
                  <a:lnTo>
                    <a:pt x="773" y="169"/>
                  </a:lnTo>
                  <a:lnTo>
                    <a:pt x="773" y="169"/>
                  </a:lnTo>
                  <a:lnTo>
                    <a:pt x="773" y="167"/>
                  </a:lnTo>
                  <a:lnTo>
                    <a:pt x="773" y="167"/>
                  </a:lnTo>
                  <a:lnTo>
                    <a:pt x="773" y="167"/>
                  </a:lnTo>
                  <a:lnTo>
                    <a:pt x="773" y="167"/>
                  </a:lnTo>
                  <a:lnTo>
                    <a:pt x="773" y="167"/>
                  </a:lnTo>
                  <a:lnTo>
                    <a:pt x="773" y="167"/>
                  </a:lnTo>
                  <a:lnTo>
                    <a:pt x="773" y="167"/>
                  </a:lnTo>
                  <a:lnTo>
                    <a:pt x="769" y="167"/>
                  </a:lnTo>
                  <a:lnTo>
                    <a:pt x="769" y="167"/>
                  </a:lnTo>
                  <a:lnTo>
                    <a:pt x="764" y="167"/>
                  </a:lnTo>
                  <a:lnTo>
                    <a:pt x="758" y="167"/>
                  </a:lnTo>
                  <a:lnTo>
                    <a:pt x="758" y="167"/>
                  </a:lnTo>
                  <a:lnTo>
                    <a:pt x="751" y="165"/>
                  </a:lnTo>
                  <a:lnTo>
                    <a:pt x="751" y="165"/>
                  </a:lnTo>
                  <a:lnTo>
                    <a:pt x="751" y="165"/>
                  </a:lnTo>
                  <a:lnTo>
                    <a:pt x="749" y="162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0"/>
                  </a:lnTo>
                  <a:lnTo>
                    <a:pt x="746" y="160"/>
                  </a:lnTo>
                  <a:lnTo>
                    <a:pt x="746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8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2" y="153"/>
                  </a:lnTo>
                  <a:lnTo>
                    <a:pt x="742" y="153"/>
                  </a:lnTo>
                  <a:lnTo>
                    <a:pt x="742" y="153"/>
                  </a:lnTo>
                  <a:lnTo>
                    <a:pt x="742" y="153"/>
                  </a:lnTo>
                  <a:lnTo>
                    <a:pt x="742" y="153"/>
                  </a:lnTo>
                  <a:lnTo>
                    <a:pt x="742" y="153"/>
                  </a:lnTo>
                  <a:lnTo>
                    <a:pt x="740" y="153"/>
                  </a:lnTo>
                  <a:lnTo>
                    <a:pt x="740" y="153"/>
                  </a:lnTo>
                  <a:lnTo>
                    <a:pt x="740" y="153"/>
                  </a:lnTo>
                  <a:lnTo>
                    <a:pt x="740" y="153"/>
                  </a:lnTo>
                  <a:lnTo>
                    <a:pt x="737" y="153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7" y="151"/>
                  </a:lnTo>
                  <a:lnTo>
                    <a:pt x="737" y="151"/>
                  </a:lnTo>
                  <a:lnTo>
                    <a:pt x="735" y="151"/>
                  </a:lnTo>
                  <a:lnTo>
                    <a:pt x="733" y="151"/>
                  </a:lnTo>
                  <a:lnTo>
                    <a:pt x="733" y="151"/>
                  </a:lnTo>
                  <a:lnTo>
                    <a:pt x="731" y="151"/>
                  </a:lnTo>
                  <a:lnTo>
                    <a:pt x="731" y="151"/>
                  </a:lnTo>
                  <a:lnTo>
                    <a:pt x="731" y="151"/>
                  </a:lnTo>
                  <a:lnTo>
                    <a:pt x="731" y="151"/>
                  </a:lnTo>
                  <a:lnTo>
                    <a:pt x="731" y="149"/>
                  </a:lnTo>
                  <a:lnTo>
                    <a:pt x="733" y="149"/>
                  </a:lnTo>
                  <a:lnTo>
                    <a:pt x="735" y="149"/>
                  </a:lnTo>
                  <a:lnTo>
                    <a:pt x="735" y="149"/>
                  </a:lnTo>
                  <a:lnTo>
                    <a:pt x="735" y="149"/>
                  </a:lnTo>
                  <a:lnTo>
                    <a:pt x="735" y="149"/>
                  </a:lnTo>
                  <a:lnTo>
                    <a:pt x="735" y="149"/>
                  </a:lnTo>
                  <a:lnTo>
                    <a:pt x="733" y="149"/>
                  </a:lnTo>
                  <a:lnTo>
                    <a:pt x="733" y="149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8" y="147"/>
                  </a:lnTo>
                  <a:lnTo>
                    <a:pt x="728" y="147"/>
                  </a:lnTo>
                  <a:lnTo>
                    <a:pt x="728" y="147"/>
                  </a:lnTo>
                  <a:lnTo>
                    <a:pt x="728" y="147"/>
                  </a:lnTo>
                  <a:lnTo>
                    <a:pt x="728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1" y="147"/>
                  </a:lnTo>
                  <a:lnTo>
                    <a:pt x="733" y="144"/>
                  </a:lnTo>
                  <a:lnTo>
                    <a:pt x="733" y="144"/>
                  </a:lnTo>
                  <a:lnTo>
                    <a:pt x="733" y="144"/>
                  </a:lnTo>
                  <a:lnTo>
                    <a:pt x="733" y="144"/>
                  </a:lnTo>
                  <a:lnTo>
                    <a:pt x="731" y="144"/>
                  </a:lnTo>
                  <a:lnTo>
                    <a:pt x="731" y="144"/>
                  </a:lnTo>
                  <a:lnTo>
                    <a:pt x="733" y="144"/>
                  </a:lnTo>
                  <a:lnTo>
                    <a:pt x="733" y="144"/>
                  </a:lnTo>
                  <a:lnTo>
                    <a:pt x="733" y="144"/>
                  </a:lnTo>
                  <a:lnTo>
                    <a:pt x="731" y="144"/>
                  </a:lnTo>
                  <a:lnTo>
                    <a:pt x="731" y="144"/>
                  </a:lnTo>
                  <a:lnTo>
                    <a:pt x="731" y="144"/>
                  </a:lnTo>
                  <a:lnTo>
                    <a:pt x="731" y="144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33" y="142"/>
                  </a:lnTo>
                  <a:lnTo>
                    <a:pt x="735" y="142"/>
                  </a:lnTo>
                  <a:lnTo>
                    <a:pt x="740" y="142"/>
                  </a:lnTo>
                  <a:lnTo>
                    <a:pt x="740" y="142"/>
                  </a:lnTo>
                  <a:lnTo>
                    <a:pt x="742" y="142"/>
                  </a:lnTo>
                  <a:lnTo>
                    <a:pt x="749" y="142"/>
                  </a:lnTo>
                  <a:lnTo>
                    <a:pt x="753" y="142"/>
                  </a:lnTo>
                  <a:lnTo>
                    <a:pt x="758" y="142"/>
                  </a:lnTo>
                  <a:lnTo>
                    <a:pt x="764" y="142"/>
                  </a:lnTo>
                  <a:lnTo>
                    <a:pt x="771" y="142"/>
                  </a:lnTo>
                  <a:lnTo>
                    <a:pt x="773" y="140"/>
                  </a:lnTo>
                  <a:lnTo>
                    <a:pt x="782" y="140"/>
                  </a:lnTo>
                  <a:lnTo>
                    <a:pt x="785" y="140"/>
                  </a:lnTo>
                  <a:lnTo>
                    <a:pt x="787" y="140"/>
                  </a:lnTo>
                  <a:lnTo>
                    <a:pt x="789" y="140"/>
                  </a:lnTo>
                  <a:lnTo>
                    <a:pt x="791" y="140"/>
                  </a:lnTo>
                  <a:lnTo>
                    <a:pt x="791" y="140"/>
                  </a:lnTo>
                  <a:lnTo>
                    <a:pt x="794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40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802" y="138"/>
                  </a:lnTo>
                  <a:lnTo>
                    <a:pt x="802" y="138"/>
                  </a:lnTo>
                  <a:lnTo>
                    <a:pt x="814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40"/>
                  </a:lnTo>
                  <a:lnTo>
                    <a:pt x="818" y="140"/>
                  </a:lnTo>
                  <a:lnTo>
                    <a:pt x="816" y="140"/>
                  </a:lnTo>
                  <a:lnTo>
                    <a:pt x="816" y="140"/>
                  </a:lnTo>
                  <a:lnTo>
                    <a:pt x="816" y="140"/>
                  </a:lnTo>
                  <a:lnTo>
                    <a:pt x="816" y="140"/>
                  </a:lnTo>
                  <a:lnTo>
                    <a:pt x="816" y="140"/>
                  </a:lnTo>
                  <a:lnTo>
                    <a:pt x="816" y="140"/>
                  </a:lnTo>
                  <a:lnTo>
                    <a:pt x="814" y="140"/>
                  </a:lnTo>
                  <a:lnTo>
                    <a:pt x="814" y="142"/>
                  </a:lnTo>
                  <a:lnTo>
                    <a:pt x="811" y="142"/>
                  </a:lnTo>
                  <a:lnTo>
                    <a:pt x="809" y="142"/>
                  </a:lnTo>
                  <a:lnTo>
                    <a:pt x="809" y="144"/>
                  </a:lnTo>
                  <a:lnTo>
                    <a:pt x="807" y="144"/>
                  </a:lnTo>
                  <a:lnTo>
                    <a:pt x="807" y="144"/>
                  </a:lnTo>
                  <a:lnTo>
                    <a:pt x="807" y="144"/>
                  </a:lnTo>
                  <a:lnTo>
                    <a:pt x="807" y="144"/>
                  </a:lnTo>
                  <a:lnTo>
                    <a:pt x="807" y="144"/>
                  </a:lnTo>
                  <a:lnTo>
                    <a:pt x="807" y="147"/>
                  </a:lnTo>
                  <a:lnTo>
                    <a:pt x="807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11" y="149"/>
                  </a:lnTo>
                  <a:lnTo>
                    <a:pt x="816" y="149"/>
                  </a:lnTo>
                  <a:lnTo>
                    <a:pt x="816" y="149"/>
                  </a:lnTo>
                  <a:lnTo>
                    <a:pt x="818" y="149"/>
                  </a:lnTo>
                  <a:lnTo>
                    <a:pt x="818" y="149"/>
                  </a:lnTo>
                  <a:lnTo>
                    <a:pt x="818" y="151"/>
                  </a:lnTo>
                  <a:lnTo>
                    <a:pt x="823" y="151"/>
                  </a:lnTo>
                  <a:lnTo>
                    <a:pt x="825" y="151"/>
                  </a:lnTo>
                  <a:lnTo>
                    <a:pt x="825" y="151"/>
                  </a:lnTo>
                  <a:lnTo>
                    <a:pt x="825" y="151"/>
                  </a:lnTo>
                  <a:lnTo>
                    <a:pt x="825" y="151"/>
                  </a:lnTo>
                  <a:lnTo>
                    <a:pt x="825" y="151"/>
                  </a:lnTo>
                  <a:lnTo>
                    <a:pt x="827" y="151"/>
                  </a:lnTo>
                  <a:lnTo>
                    <a:pt x="827" y="153"/>
                  </a:lnTo>
                  <a:lnTo>
                    <a:pt x="827" y="153"/>
                  </a:lnTo>
                  <a:lnTo>
                    <a:pt x="827" y="153"/>
                  </a:lnTo>
                  <a:lnTo>
                    <a:pt x="827" y="153"/>
                  </a:lnTo>
                  <a:lnTo>
                    <a:pt x="827" y="153"/>
                  </a:lnTo>
                  <a:lnTo>
                    <a:pt x="827" y="153"/>
                  </a:lnTo>
                  <a:lnTo>
                    <a:pt x="829" y="153"/>
                  </a:lnTo>
                  <a:lnTo>
                    <a:pt x="829" y="153"/>
                  </a:lnTo>
                  <a:lnTo>
                    <a:pt x="827" y="153"/>
                  </a:lnTo>
                  <a:lnTo>
                    <a:pt x="827" y="153"/>
                  </a:lnTo>
                  <a:lnTo>
                    <a:pt x="827" y="151"/>
                  </a:lnTo>
                  <a:lnTo>
                    <a:pt x="827" y="151"/>
                  </a:lnTo>
                  <a:lnTo>
                    <a:pt x="825" y="151"/>
                  </a:lnTo>
                  <a:lnTo>
                    <a:pt x="823" y="151"/>
                  </a:lnTo>
                  <a:lnTo>
                    <a:pt x="823" y="151"/>
                  </a:lnTo>
                  <a:lnTo>
                    <a:pt x="823" y="151"/>
                  </a:lnTo>
                  <a:lnTo>
                    <a:pt x="820" y="151"/>
                  </a:lnTo>
                  <a:lnTo>
                    <a:pt x="820" y="149"/>
                  </a:lnTo>
                  <a:lnTo>
                    <a:pt x="820" y="149"/>
                  </a:lnTo>
                  <a:lnTo>
                    <a:pt x="818" y="149"/>
                  </a:lnTo>
                  <a:lnTo>
                    <a:pt x="816" y="149"/>
                  </a:lnTo>
                  <a:lnTo>
                    <a:pt x="811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9" y="147"/>
                  </a:lnTo>
                  <a:lnTo>
                    <a:pt x="807" y="144"/>
                  </a:lnTo>
                  <a:lnTo>
                    <a:pt x="807" y="144"/>
                  </a:lnTo>
                  <a:lnTo>
                    <a:pt x="807" y="144"/>
                  </a:lnTo>
                  <a:lnTo>
                    <a:pt x="809" y="144"/>
                  </a:lnTo>
                  <a:lnTo>
                    <a:pt x="809" y="144"/>
                  </a:lnTo>
                  <a:lnTo>
                    <a:pt x="811" y="142"/>
                  </a:lnTo>
                  <a:lnTo>
                    <a:pt x="818" y="142"/>
                  </a:lnTo>
                  <a:lnTo>
                    <a:pt x="820" y="142"/>
                  </a:lnTo>
                  <a:lnTo>
                    <a:pt x="823" y="142"/>
                  </a:lnTo>
                  <a:lnTo>
                    <a:pt x="825" y="142"/>
                  </a:lnTo>
                  <a:lnTo>
                    <a:pt x="825" y="142"/>
                  </a:lnTo>
                  <a:lnTo>
                    <a:pt x="825" y="142"/>
                  </a:lnTo>
                  <a:lnTo>
                    <a:pt x="825" y="140"/>
                  </a:lnTo>
                  <a:lnTo>
                    <a:pt x="825" y="140"/>
                  </a:lnTo>
                  <a:lnTo>
                    <a:pt x="825" y="140"/>
                  </a:lnTo>
                  <a:lnTo>
                    <a:pt x="825" y="140"/>
                  </a:lnTo>
                  <a:lnTo>
                    <a:pt x="825" y="140"/>
                  </a:lnTo>
                  <a:lnTo>
                    <a:pt x="823" y="140"/>
                  </a:lnTo>
                  <a:lnTo>
                    <a:pt x="825" y="140"/>
                  </a:lnTo>
                  <a:lnTo>
                    <a:pt x="827" y="138"/>
                  </a:lnTo>
                  <a:lnTo>
                    <a:pt x="827" y="138"/>
                  </a:lnTo>
                  <a:lnTo>
                    <a:pt x="827" y="138"/>
                  </a:lnTo>
                  <a:lnTo>
                    <a:pt x="827" y="138"/>
                  </a:lnTo>
                  <a:lnTo>
                    <a:pt x="827" y="138"/>
                  </a:lnTo>
                  <a:lnTo>
                    <a:pt x="825" y="138"/>
                  </a:lnTo>
                  <a:lnTo>
                    <a:pt x="825" y="135"/>
                  </a:lnTo>
                  <a:lnTo>
                    <a:pt x="825" y="135"/>
                  </a:lnTo>
                  <a:lnTo>
                    <a:pt x="825" y="135"/>
                  </a:lnTo>
                  <a:lnTo>
                    <a:pt x="825" y="135"/>
                  </a:lnTo>
                  <a:lnTo>
                    <a:pt x="825" y="138"/>
                  </a:lnTo>
                  <a:lnTo>
                    <a:pt x="825" y="138"/>
                  </a:lnTo>
                  <a:lnTo>
                    <a:pt x="825" y="138"/>
                  </a:lnTo>
                  <a:lnTo>
                    <a:pt x="825" y="138"/>
                  </a:lnTo>
                  <a:lnTo>
                    <a:pt x="825" y="138"/>
                  </a:lnTo>
                  <a:lnTo>
                    <a:pt x="825" y="138"/>
                  </a:lnTo>
                  <a:lnTo>
                    <a:pt x="823" y="138"/>
                  </a:lnTo>
                  <a:lnTo>
                    <a:pt x="823" y="138"/>
                  </a:lnTo>
                  <a:lnTo>
                    <a:pt x="820" y="138"/>
                  </a:lnTo>
                  <a:lnTo>
                    <a:pt x="820" y="138"/>
                  </a:lnTo>
                  <a:lnTo>
                    <a:pt x="818" y="138"/>
                  </a:lnTo>
                  <a:lnTo>
                    <a:pt x="818" y="138"/>
                  </a:lnTo>
                  <a:lnTo>
                    <a:pt x="818" y="135"/>
                  </a:lnTo>
                  <a:lnTo>
                    <a:pt x="818" y="135"/>
                  </a:lnTo>
                  <a:lnTo>
                    <a:pt x="818" y="135"/>
                  </a:lnTo>
                  <a:lnTo>
                    <a:pt x="818" y="135"/>
                  </a:lnTo>
                  <a:lnTo>
                    <a:pt x="816" y="135"/>
                  </a:lnTo>
                  <a:lnTo>
                    <a:pt x="816" y="135"/>
                  </a:lnTo>
                  <a:lnTo>
                    <a:pt x="816" y="135"/>
                  </a:lnTo>
                  <a:lnTo>
                    <a:pt x="814" y="135"/>
                  </a:lnTo>
                  <a:lnTo>
                    <a:pt x="814" y="133"/>
                  </a:lnTo>
                  <a:lnTo>
                    <a:pt x="814" y="133"/>
                  </a:lnTo>
                  <a:lnTo>
                    <a:pt x="818" y="133"/>
                  </a:lnTo>
                  <a:lnTo>
                    <a:pt x="820" y="135"/>
                  </a:lnTo>
                  <a:lnTo>
                    <a:pt x="820" y="135"/>
                  </a:lnTo>
                  <a:lnTo>
                    <a:pt x="820" y="133"/>
                  </a:lnTo>
                  <a:lnTo>
                    <a:pt x="818" y="133"/>
                  </a:lnTo>
                  <a:lnTo>
                    <a:pt x="811" y="133"/>
                  </a:lnTo>
                  <a:lnTo>
                    <a:pt x="811" y="133"/>
                  </a:lnTo>
                  <a:lnTo>
                    <a:pt x="811" y="133"/>
                  </a:lnTo>
                  <a:lnTo>
                    <a:pt x="811" y="133"/>
                  </a:lnTo>
                  <a:lnTo>
                    <a:pt x="811" y="133"/>
                  </a:lnTo>
                  <a:lnTo>
                    <a:pt x="811" y="133"/>
                  </a:lnTo>
                  <a:lnTo>
                    <a:pt x="809" y="133"/>
                  </a:lnTo>
                  <a:lnTo>
                    <a:pt x="809" y="133"/>
                  </a:lnTo>
                  <a:lnTo>
                    <a:pt x="809" y="133"/>
                  </a:lnTo>
                  <a:lnTo>
                    <a:pt x="809" y="131"/>
                  </a:lnTo>
                  <a:lnTo>
                    <a:pt x="807" y="131"/>
                  </a:lnTo>
                  <a:lnTo>
                    <a:pt x="807" y="131"/>
                  </a:lnTo>
                  <a:lnTo>
                    <a:pt x="807" y="131"/>
                  </a:lnTo>
                  <a:lnTo>
                    <a:pt x="802" y="131"/>
                  </a:lnTo>
                  <a:lnTo>
                    <a:pt x="796" y="131"/>
                  </a:lnTo>
                  <a:lnTo>
                    <a:pt x="796" y="129"/>
                  </a:lnTo>
                  <a:lnTo>
                    <a:pt x="796" y="129"/>
                  </a:lnTo>
                  <a:lnTo>
                    <a:pt x="796" y="129"/>
                  </a:lnTo>
                  <a:lnTo>
                    <a:pt x="796" y="129"/>
                  </a:lnTo>
                  <a:lnTo>
                    <a:pt x="796" y="129"/>
                  </a:lnTo>
                  <a:lnTo>
                    <a:pt x="794" y="129"/>
                  </a:lnTo>
                  <a:lnTo>
                    <a:pt x="794" y="129"/>
                  </a:lnTo>
                  <a:lnTo>
                    <a:pt x="794" y="129"/>
                  </a:lnTo>
                  <a:lnTo>
                    <a:pt x="794" y="129"/>
                  </a:lnTo>
                  <a:lnTo>
                    <a:pt x="794" y="129"/>
                  </a:lnTo>
                  <a:lnTo>
                    <a:pt x="796" y="129"/>
                  </a:lnTo>
                  <a:lnTo>
                    <a:pt x="798" y="129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798" y="129"/>
                  </a:lnTo>
                  <a:lnTo>
                    <a:pt x="798" y="129"/>
                  </a:lnTo>
                  <a:lnTo>
                    <a:pt x="798" y="129"/>
                  </a:lnTo>
                  <a:lnTo>
                    <a:pt x="798" y="126"/>
                  </a:lnTo>
                  <a:lnTo>
                    <a:pt x="798" y="126"/>
                  </a:lnTo>
                  <a:lnTo>
                    <a:pt x="796" y="126"/>
                  </a:lnTo>
                  <a:lnTo>
                    <a:pt x="796" y="126"/>
                  </a:lnTo>
                  <a:lnTo>
                    <a:pt x="796" y="126"/>
                  </a:lnTo>
                  <a:lnTo>
                    <a:pt x="794" y="126"/>
                  </a:lnTo>
                  <a:lnTo>
                    <a:pt x="794" y="126"/>
                  </a:lnTo>
                  <a:lnTo>
                    <a:pt x="796" y="126"/>
                  </a:lnTo>
                  <a:lnTo>
                    <a:pt x="796" y="126"/>
                  </a:lnTo>
                  <a:lnTo>
                    <a:pt x="796" y="126"/>
                  </a:lnTo>
                  <a:lnTo>
                    <a:pt x="798" y="126"/>
                  </a:lnTo>
                  <a:lnTo>
                    <a:pt x="798" y="126"/>
                  </a:lnTo>
                  <a:lnTo>
                    <a:pt x="798" y="126"/>
                  </a:lnTo>
                  <a:lnTo>
                    <a:pt x="800" y="126"/>
                  </a:lnTo>
                  <a:lnTo>
                    <a:pt x="800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5" y="126"/>
                  </a:lnTo>
                  <a:lnTo>
                    <a:pt x="805" y="126"/>
                  </a:lnTo>
                  <a:lnTo>
                    <a:pt x="805" y="126"/>
                  </a:lnTo>
                  <a:lnTo>
                    <a:pt x="805" y="129"/>
                  </a:lnTo>
                  <a:lnTo>
                    <a:pt x="807" y="126"/>
                  </a:lnTo>
                  <a:lnTo>
                    <a:pt x="807" y="126"/>
                  </a:lnTo>
                  <a:lnTo>
                    <a:pt x="807" y="126"/>
                  </a:lnTo>
                  <a:lnTo>
                    <a:pt x="807" y="126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5" y="129"/>
                  </a:lnTo>
                  <a:lnTo>
                    <a:pt x="805" y="129"/>
                  </a:lnTo>
                  <a:lnTo>
                    <a:pt x="805" y="129"/>
                  </a:lnTo>
                  <a:lnTo>
                    <a:pt x="805" y="129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7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11" y="129"/>
                  </a:lnTo>
                  <a:lnTo>
                    <a:pt x="811" y="129"/>
                  </a:lnTo>
                  <a:lnTo>
                    <a:pt x="811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11" y="129"/>
                  </a:lnTo>
                  <a:lnTo>
                    <a:pt x="814" y="129"/>
                  </a:lnTo>
                  <a:lnTo>
                    <a:pt x="811" y="129"/>
                  </a:lnTo>
                  <a:lnTo>
                    <a:pt x="809" y="129"/>
                  </a:lnTo>
                  <a:lnTo>
                    <a:pt x="809" y="129"/>
                  </a:lnTo>
                  <a:lnTo>
                    <a:pt x="809" y="126"/>
                  </a:lnTo>
                  <a:lnTo>
                    <a:pt x="809" y="126"/>
                  </a:lnTo>
                  <a:lnTo>
                    <a:pt x="809" y="126"/>
                  </a:lnTo>
                  <a:lnTo>
                    <a:pt x="809" y="126"/>
                  </a:lnTo>
                  <a:lnTo>
                    <a:pt x="809" y="126"/>
                  </a:lnTo>
                  <a:lnTo>
                    <a:pt x="809" y="126"/>
                  </a:lnTo>
                  <a:lnTo>
                    <a:pt x="809" y="126"/>
                  </a:lnTo>
                  <a:lnTo>
                    <a:pt x="805" y="126"/>
                  </a:lnTo>
                  <a:lnTo>
                    <a:pt x="805" y="126"/>
                  </a:lnTo>
                  <a:lnTo>
                    <a:pt x="805" y="126"/>
                  </a:lnTo>
                  <a:lnTo>
                    <a:pt x="805" y="126"/>
                  </a:lnTo>
                  <a:lnTo>
                    <a:pt x="805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2" y="126"/>
                  </a:lnTo>
                  <a:lnTo>
                    <a:pt x="800" y="126"/>
                  </a:lnTo>
                  <a:lnTo>
                    <a:pt x="800" y="126"/>
                  </a:lnTo>
                  <a:lnTo>
                    <a:pt x="800" y="126"/>
                  </a:lnTo>
                  <a:lnTo>
                    <a:pt x="800" y="124"/>
                  </a:lnTo>
                  <a:lnTo>
                    <a:pt x="800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798" y="124"/>
                  </a:lnTo>
                  <a:lnTo>
                    <a:pt x="798" y="124"/>
                  </a:lnTo>
                  <a:lnTo>
                    <a:pt x="798" y="124"/>
                  </a:lnTo>
                  <a:lnTo>
                    <a:pt x="798" y="124"/>
                  </a:lnTo>
                  <a:lnTo>
                    <a:pt x="796" y="124"/>
                  </a:lnTo>
                  <a:lnTo>
                    <a:pt x="796" y="124"/>
                  </a:lnTo>
                  <a:lnTo>
                    <a:pt x="796" y="124"/>
                  </a:lnTo>
                  <a:lnTo>
                    <a:pt x="796" y="124"/>
                  </a:lnTo>
                  <a:lnTo>
                    <a:pt x="794" y="124"/>
                  </a:lnTo>
                  <a:lnTo>
                    <a:pt x="794" y="124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7" y="122"/>
                  </a:lnTo>
                  <a:lnTo>
                    <a:pt x="789" y="122"/>
                  </a:lnTo>
                  <a:lnTo>
                    <a:pt x="789" y="122"/>
                  </a:lnTo>
                  <a:lnTo>
                    <a:pt x="789" y="122"/>
                  </a:lnTo>
                  <a:lnTo>
                    <a:pt x="789" y="122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7" y="120"/>
                  </a:lnTo>
                  <a:lnTo>
                    <a:pt x="787" y="120"/>
                  </a:lnTo>
                  <a:lnTo>
                    <a:pt x="787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89" y="120"/>
                  </a:lnTo>
                  <a:lnTo>
                    <a:pt x="791" y="120"/>
                  </a:lnTo>
                  <a:lnTo>
                    <a:pt x="791" y="120"/>
                  </a:lnTo>
                  <a:lnTo>
                    <a:pt x="791" y="120"/>
                  </a:lnTo>
                  <a:lnTo>
                    <a:pt x="794" y="120"/>
                  </a:lnTo>
                  <a:lnTo>
                    <a:pt x="794" y="120"/>
                  </a:lnTo>
                  <a:lnTo>
                    <a:pt x="791" y="120"/>
                  </a:lnTo>
                  <a:lnTo>
                    <a:pt x="791" y="120"/>
                  </a:lnTo>
                  <a:lnTo>
                    <a:pt x="791" y="122"/>
                  </a:lnTo>
                  <a:lnTo>
                    <a:pt x="794" y="122"/>
                  </a:lnTo>
                  <a:lnTo>
                    <a:pt x="794" y="122"/>
                  </a:lnTo>
                  <a:lnTo>
                    <a:pt x="794" y="122"/>
                  </a:lnTo>
                  <a:lnTo>
                    <a:pt x="794" y="122"/>
                  </a:lnTo>
                  <a:lnTo>
                    <a:pt x="794" y="122"/>
                  </a:lnTo>
                  <a:lnTo>
                    <a:pt x="794" y="122"/>
                  </a:lnTo>
                  <a:lnTo>
                    <a:pt x="794" y="122"/>
                  </a:lnTo>
                  <a:lnTo>
                    <a:pt x="796" y="122"/>
                  </a:lnTo>
                  <a:lnTo>
                    <a:pt x="798" y="122"/>
                  </a:lnTo>
                  <a:lnTo>
                    <a:pt x="798" y="122"/>
                  </a:lnTo>
                  <a:lnTo>
                    <a:pt x="798" y="122"/>
                  </a:lnTo>
                  <a:lnTo>
                    <a:pt x="798" y="122"/>
                  </a:lnTo>
                  <a:lnTo>
                    <a:pt x="798" y="122"/>
                  </a:lnTo>
                  <a:lnTo>
                    <a:pt x="798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4"/>
                  </a:lnTo>
                  <a:lnTo>
                    <a:pt x="800" y="124"/>
                  </a:lnTo>
                  <a:lnTo>
                    <a:pt x="800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4"/>
                  </a:lnTo>
                  <a:lnTo>
                    <a:pt x="805" y="124"/>
                  </a:lnTo>
                  <a:lnTo>
                    <a:pt x="805" y="124"/>
                  </a:lnTo>
                  <a:lnTo>
                    <a:pt x="805" y="124"/>
                  </a:lnTo>
                  <a:lnTo>
                    <a:pt x="805" y="124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2"/>
                  </a:lnTo>
                  <a:lnTo>
                    <a:pt x="800" y="120"/>
                  </a:lnTo>
                  <a:lnTo>
                    <a:pt x="802" y="120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20"/>
                  </a:lnTo>
                  <a:lnTo>
                    <a:pt x="802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2" y="117"/>
                  </a:lnTo>
                  <a:lnTo>
                    <a:pt x="802" y="117"/>
                  </a:lnTo>
                  <a:lnTo>
                    <a:pt x="802" y="117"/>
                  </a:lnTo>
                  <a:lnTo>
                    <a:pt x="800" y="117"/>
                  </a:lnTo>
                  <a:lnTo>
                    <a:pt x="800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5" y="115"/>
                  </a:lnTo>
                  <a:lnTo>
                    <a:pt x="805" y="115"/>
                  </a:lnTo>
                  <a:lnTo>
                    <a:pt x="805" y="115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7"/>
                  </a:lnTo>
                  <a:lnTo>
                    <a:pt x="807" y="115"/>
                  </a:lnTo>
                  <a:lnTo>
                    <a:pt x="807" y="115"/>
                  </a:lnTo>
                  <a:lnTo>
                    <a:pt x="807" y="115"/>
                  </a:lnTo>
                  <a:lnTo>
                    <a:pt x="807" y="115"/>
                  </a:lnTo>
                  <a:lnTo>
                    <a:pt x="809" y="115"/>
                  </a:lnTo>
                  <a:lnTo>
                    <a:pt x="809" y="115"/>
                  </a:lnTo>
                  <a:lnTo>
                    <a:pt x="807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2" y="115"/>
                  </a:lnTo>
                  <a:lnTo>
                    <a:pt x="800" y="115"/>
                  </a:lnTo>
                  <a:lnTo>
                    <a:pt x="800" y="115"/>
                  </a:lnTo>
                  <a:lnTo>
                    <a:pt x="796" y="115"/>
                  </a:lnTo>
                  <a:lnTo>
                    <a:pt x="796" y="115"/>
                  </a:lnTo>
                  <a:lnTo>
                    <a:pt x="796" y="115"/>
                  </a:lnTo>
                  <a:lnTo>
                    <a:pt x="796" y="115"/>
                  </a:lnTo>
                  <a:lnTo>
                    <a:pt x="796" y="115"/>
                  </a:lnTo>
                  <a:lnTo>
                    <a:pt x="796" y="113"/>
                  </a:lnTo>
                  <a:lnTo>
                    <a:pt x="796" y="113"/>
                  </a:lnTo>
                  <a:lnTo>
                    <a:pt x="796" y="113"/>
                  </a:lnTo>
                  <a:lnTo>
                    <a:pt x="796" y="113"/>
                  </a:lnTo>
                  <a:lnTo>
                    <a:pt x="798" y="113"/>
                  </a:lnTo>
                  <a:lnTo>
                    <a:pt x="802" y="113"/>
                  </a:lnTo>
                  <a:lnTo>
                    <a:pt x="802" y="113"/>
                  </a:lnTo>
                  <a:lnTo>
                    <a:pt x="809" y="115"/>
                  </a:lnTo>
                  <a:lnTo>
                    <a:pt x="809" y="115"/>
                  </a:lnTo>
                  <a:lnTo>
                    <a:pt x="809" y="115"/>
                  </a:lnTo>
                  <a:lnTo>
                    <a:pt x="811" y="113"/>
                  </a:lnTo>
                  <a:lnTo>
                    <a:pt x="811" y="113"/>
                  </a:lnTo>
                  <a:lnTo>
                    <a:pt x="811" y="113"/>
                  </a:lnTo>
                  <a:lnTo>
                    <a:pt x="811" y="113"/>
                  </a:lnTo>
                  <a:lnTo>
                    <a:pt x="811" y="113"/>
                  </a:lnTo>
                  <a:lnTo>
                    <a:pt x="811" y="113"/>
                  </a:lnTo>
                  <a:lnTo>
                    <a:pt x="814" y="113"/>
                  </a:lnTo>
                  <a:lnTo>
                    <a:pt x="814" y="113"/>
                  </a:lnTo>
                  <a:lnTo>
                    <a:pt x="814" y="113"/>
                  </a:lnTo>
                  <a:lnTo>
                    <a:pt x="814" y="113"/>
                  </a:lnTo>
                  <a:lnTo>
                    <a:pt x="811" y="113"/>
                  </a:lnTo>
                  <a:lnTo>
                    <a:pt x="811" y="113"/>
                  </a:lnTo>
                  <a:lnTo>
                    <a:pt x="811" y="111"/>
                  </a:lnTo>
                  <a:lnTo>
                    <a:pt x="811" y="111"/>
                  </a:lnTo>
                  <a:lnTo>
                    <a:pt x="811" y="111"/>
                  </a:lnTo>
                  <a:lnTo>
                    <a:pt x="814" y="111"/>
                  </a:lnTo>
                  <a:lnTo>
                    <a:pt x="814" y="111"/>
                  </a:lnTo>
                  <a:lnTo>
                    <a:pt x="816" y="111"/>
                  </a:lnTo>
                  <a:lnTo>
                    <a:pt x="816" y="111"/>
                  </a:lnTo>
                  <a:lnTo>
                    <a:pt x="816" y="111"/>
                  </a:lnTo>
                  <a:lnTo>
                    <a:pt x="814" y="111"/>
                  </a:lnTo>
                  <a:lnTo>
                    <a:pt x="814" y="111"/>
                  </a:lnTo>
                  <a:lnTo>
                    <a:pt x="816" y="111"/>
                  </a:lnTo>
                  <a:lnTo>
                    <a:pt x="816" y="108"/>
                  </a:lnTo>
                  <a:lnTo>
                    <a:pt x="816" y="108"/>
                  </a:lnTo>
                  <a:lnTo>
                    <a:pt x="816" y="108"/>
                  </a:lnTo>
                  <a:lnTo>
                    <a:pt x="818" y="108"/>
                  </a:lnTo>
                  <a:lnTo>
                    <a:pt x="818" y="108"/>
                  </a:lnTo>
                  <a:lnTo>
                    <a:pt x="820" y="108"/>
                  </a:lnTo>
                  <a:lnTo>
                    <a:pt x="818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6" y="108"/>
                  </a:lnTo>
                  <a:lnTo>
                    <a:pt x="818" y="108"/>
                  </a:lnTo>
                  <a:lnTo>
                    <a:pt x="818" y="108"/>
                  </a:lnTo>
                  <a:lnTo>
                    <a:pt x="820" y="108"/>
                  </a:lnTo>
                  <a:lnTo>
                    <a:pt x="820" y="108"/>
                  </a:lnTo>
                  <a:lnTo>
                    <a:pt x="820" y="108"/>
                  </a:lnTo>
                  <a:lnTo>
                    <a:pt x="820" y="108"/>
                  </a:lnTo>
                  <a:lnTo>
                    <a:pt x="820" y="106"/>
                  </a:lnTo>
                  <a:lnTo>
                    <a:pt x="820" y="106"/>
                  </a:lnTo>
                  <a:lnTo>
                    <a:pt x="820" y="106"/>
                  </a:lnTo>
                  <a:lnTo>
                    <a:pt x="823" y="106"/>
                  </a:lnTo>
                  <a:lnTo>
                    <a:pt x="823" y="108"/>
                  </a:lnTo>
                  <a:lnTo>
                    <a:pt x="823" y="108"/>
                  </a:lnTo>
                  <a:lnTo>
                    <a:pt x="823" y="108"/>
                  </a:lnTo>
                  <a:lnTo>
                    <a:pt x="825" y="108"/>
                  </a:lnTo>
                  <a:lnTo>
                    <a:pt x="825" y="108"/>
                  </a:lnTo>
                  <a:lnTo>
                    <a:pt x="827" y="108"/>
                  </a:lnTo>
                  <a:lnTo>
                    <a:pt x="827" y="108"/>
                  </a:lnTo>
                  <a:lnTo>
                    <a:pt x="827" y="108"/>
                  </a:lnTo>
                  <a:lnTo>
                    <a:pt x="827" y="108"/>
                  </a:lnTo>
                  <a:lnTo>
                    <a:pt x="827" y="108"/>
                  </a:lnTo>
                  <a:lnTo>
                    <a:pt x="827" y="108"/>
                  </a:lnTo>
                  <a:lnTo>
                    <a:pt x="827" y="108"/>
                  </a:lnTo>
                  <a:lnTo>
                    <a:pt x="827" y="106"/>
                  </a:lnTo>
                  <a:lnTo>
                    <a:pt x="825" y="106"/>
                  </a:lnTo>
                  <a:lnTo>
                    <a:pt x="825" y="106"/>
                  </a:lnTo>
                  <a:lnTo>
                    <a:pt x="829" y="106"/>
                  </a:lnTo>
                  <a:lnTo>
                    <a:pt x="832" y="106"/>
                  </a:lnTo>
                  <a:lnTo>
                    <a:pt x="832" y="106"/>
                  </a:lnTo>
                  <a:lnTo>
                    <a:pt x="829" y="106"/>
                  </a:lnTo>
                  <a:lnTo>
                    <a:pt x="829" y="106"/>
                  </a:lnTo>
                  <a:lnTo>
                    <a:pt x="829" y="106"/>
                  </a:lnTo>
                  <a:lnTo>
                    <a:pt x="829" y="106"/>
                  </a:lnTo>
                  <a:lnTo>
                    <a:pt x="834" y="104"/>
                  </a:lnTo>
                  <a:lnTo>
                    <a:pt x="836" y="104"/>
                  </a:lnTo>
                  <a:lnTo>
                    <a:pt x="838" y="104"/>
                  </a:lnTo>
                  <a:lnTo>
                    <a:pt x="838" y="104"/>
                  </a:lnTo>
                  <a:lnTo>
                    <a:pt x="841" y="104"/>
                  </a:lnTo>
                  <a:lnTo>
                    <a:pt x="841" y="104"/>
                  </a:lnTo>
                  <a:lnTo>
                    <a:pt x="841" y="104"/>
                  </a:lnTo>
                  <a:lnTo>
                    <a:pt x="841" y="104"/>
                  </a:lnTo>
                  <a:lnTo>
                    <a:pt x="841" y="104"/>
                  </a:lnTo>
                  <a:lnTo>
                    <a:pt x="841" y="104"/>
                  </a:lnTo>
                  <a:lnTo>
                    <a:pt x="843" y="104"/>
                  </a:lnTo>
                  <a:lnTo>
                    <a:pt x="843" y="104"/>
                  </a:lnTo>
                  <a:lnTo>
                    <a:pt x="843" y="104"/>
                  </a:lnTo>
                  <a:lnTo>
                    <a:pt x="843" y="104"/>
                  </a:lnTo>
                  <a:lnTo>
                    <a:pt x="843" y="104"/>
                  </a:lnTo>
                  <a:lnTo>
                    <a:pt x="843" y="104"/>
                  </a:lnTo>
                  <a:lnTo>
                    <a:pt x="845" y="104"/>
                  </a:lnTo>
                  <a:lnTo>
                    <a:pt x="845" y="104"/>
                  </a:lnTo>
                  <a:lnTo>
                    <a:pt x="845" y="104"/>
                  </a:lnTo>
                  <a:lnTo>
                    <a:pt x="847" y="104"/>
                  </a:lnTo>
                  <a:lnTo>
                    <a:pt x="847" y="104"/>
                  </a:lnTo>
                  <a:lnTo>
                    <a:pt x="850" y="104"/>
                  </a:lnTo>
                  <a:lnTo>
                    <a:pt x="852" y="104"/>
                  </a:lnTo>
                  <a:lnTo>
                    <a:pt x="852" y="104"/>
                  </a:lnTo>
                  <a:lnTo>
                    <a:pt x="852" y="104"/>
                  </a:lnTo>
                  <a:lnTo>
                    <a:pt x="850" y="104"/>
                  </a:lnTo>
                  <a:lnTo>
                    <a:pt x="850" y="104"/>
                  </a:lnTo>
                  <a:lnTo>
                    <a:pt x="850" y="104"/>
                  </a:lnTo>
                  <a:lnTo>
                    <a:pt x="850" y="102"/>
                  </a:lnTo>
                  <a:lnTo>
                    <a:pt x="852" y="102"/>
                  </a:lnTo>
                  <a:lnTo>
                    <a:pt x="852" y="104"/>
                  </a:lnTo>
                  <a:lnTo>
                    <a:pt x="852" y="104"/>
                  </a:lnTo>
                  <a:lnTo>
                    <a:pt x="854" y="102"/>
                  </a:lnTo>
                  <a:lnTo>
                    <a:pt x="854" y="102"/>
                  </a:lnTo>
                  <a:lnTo>
                    <a:pt x="856" y="102"/>
                  </a:lnTo>
                  <a:lnTo>
                    <a:pt x="856" y="102"/>
                  </a:lnTo>
                  <a:lnTo>
                    <a:pt x="859" y="102"/>
                  </a:lnTo>
                  <a:lnTo>
                    <a:pt x="861" y="102"/>
                  </a:lnTo>
                  <a:lnTo>
                    <a:pt x="865" y="102"/>
                  </a:lnTo>
                  <a:lnTo>
                    <a:pt x="870" y="102"/>
                  </a:lnTo>
                  <a:lnTo>
                    <a:pt x="874" y="99"/>
                  </a:lnTo>
                  <a:lnTo>
                    <a:pt x="879" y="99"/>
                  </a:lnTo>
                  <a:lnTo>
                    <a:pt x="881" y="99"/>
                  </a:lnTo>
                  <a:lnTo>
                    <a:pt x="881" y="99"/>
                  </a:lnTo>
                  <a:lnTo>
                    <a:pt x="881" y="99"/>
                  </a:lnTo>
                  <a:lnTo>
                    <a:pt x="879" y="99"/>
                  </a:lnTo>
                  <a:lnTo>
                    <a:pt x="879" y="99"/>
                  </a:lnTo>
                  <a:lnTo>
                    <a:pt x="879" y="99"/>
                  </a:lnTo>
                  <a:lnTo>
                    <a:pt x="877" y="99"/>
                  </a:lnTo>
                  <a:lnTo>
                    <a:pt x="874" y="99"/>
                  </a:lnTo>
                  <a:lnTo>
                    <a:pt x="874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2" y="99"/>
                  </a:lnTo>
                  <a:lnTo>
                    <a:pt x="870" y="99"/>
                  </a:lnTo>
                  <a:lnTo>
                    <a:pt x="870" y="99"/>
                  </a:lnTo>
                  <a:lnTo>
                    <a:pt x="870" y="99"/>
                  </a:lnTo>
                  <a:lnTo>
                    <a:pt x="870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5" y="99"/>
                  </a:lnTo>
                  <a:lnTo>
                    <a:pt x="865" y="99"/>
                  </a:lnTo>
                  <a:lnTo>
                    <a:pt x="863" y="99"/>
                  </a:lnTo>
                  <a:lnTo>
                    <a:pt x="865" y="99"/>
                  </a:lnTo>
                  <a:lnTo>
                    <a:pt x="865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5" y="99"/>
                  </a:lnTo>
                  <a:lnTo>
                    <a:pt x="863" y="99"/>
                  </a:lnTo>
                  <a:lnTo>
                    <a:pt x="863" y="99"/>
                  </a:lnTo>
                  <a:lnTo>
                    <a:pt x="863" y="99"/>
                  </a:lnTo>
                  <a:lnTo>
                    <a:pt x="863" y="99"/>
                  </a:lnTo>
                  <a:lnTo>
                    <a:pt x="863" y="99"/>
                  </a:lnTo>
                  <a:lnTo>
                    <a:pt x="861" y="99"/>
                  </a:lnTo>
                  <a:lnTo>
                    <a:pt x="861" y="97"/>
                  </a:lnTo>
                  <a:lnTo>
                    <a:pt x="863" y="97"/>
                  </a:lnTo>
                  <a:lnTo>
                    <a:pt x="863" y="97"/>
                  </a:lnTo>
                  <a:lnTo>
                    <a:pt x="861" y="97"/>
                  </a:lnTo>
                  <a:lnTo>
                    <a:pt x="861" y="97"/>
                  </a:lnTo>
                  <a:lnTo>
                    <a:pt x="861" y="97"/>
                  </a:lnTo>
                  <a:lnTo>
                    <a:pt x="861" y="97"/>
                  </a:lnTo>
                  <a:lnTo>
                    <a:pt x="861" y="97"/>
                  </a:lnTo>
                  <a:lnTo>
                    <a:pt x="861" y="97"/>
                  </a:lnTo>
                  <a:lnTo>
                    <a:pt x="863" y="97"/>
                  </a:lnTo>
                  <a:lnTo>
                    <a:pt x="863" y="97"/>
                  </a:lnTo>
                  <a:lnTo>
                    <a:pt x="863" y="97"/>
                  </a:lnTo>
                  <a:lnTo>
                    <a:pt x="863" y="97"/>
                  </a:lnTo>
                  <a:lnTo>
                    <a:pt x="865" y="97"/>
                  </a:lnTo>
                  <a:lnTo>
                    <a:pt x="865" y="97"/>
                  </a:lnTo>
                  <a:lnTo>
                    <a:pt x="865" y="97"/>
                  </a:lnTo>
                  <a:lnTo>
                    <a:pt x="865" y="97"/>
                  </a:lnTo>
                  <a:lnTo>
                    <a:pt x="865" y="97"/>
                  </a:lnTo>
                  <a:lnTo>
                    <a:pt x="863" y="97"/>
                  </a:lnTo>
                  <a:lnTo>
                    <a:pt x="863" y="97"/>
                  </a:lnTo>
                  <a:lnTo>
                    <a:pt x="865" y="97"/>
                  </a:lnTo>
                  <a:lnTo>
                    <a:pt x="865" y="95"/>
                  </a:lnTo>
                  <a:lnTo>
                    <a:pt x="868" y="95"/>
                  </a:lnTo>
                  <a:lnTo>
                    <a:pt x="868" y="95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68" y="97"/>
                  </a:lnTo>
                  <a:lnTo>
                    <a:pt x="870" y="97"/>
                  </a:lnTo>
                  <a:lnTo>
                    <a:pt x="870" y="97"/>
                  </a:lnTo>
                  <a:lnTo>
                    <a:pt x="870" y="97"/>
                  </a:lnTo>
                  <a:lnTo>
                    <a:pt x="870" y="97"/>
                  </a:lnTo>
                  <a:lnTo>
                    <a:pt x="872" y="97"/>
                  </a:lnTo>
                  <a:lnTo>
                    <a:pt x="872" y="97"/>
                  </a:lnTo>
                  <a:lnTo>
                    <a:pt x="872" y="97"/>
                  </a:lnTo>
                  <a:lnTo>
                    <a:pt x="872" y="97"/>
                  </a:lnTo>
                  <a:lnTo>
                    <a:pt x="872" y="97"/>
                  </a:lnTo>
                  <a:lnTo>
                    <a:pt x="874" y="97"/>
                  </a:lnTo>
                  <a:lnTo>
                    <a:pt x="874" y="97"/>
                  </a:lnTo>
                  <a:lnTo>
                    <a:pt x="874" y="97"/>
                  </a:lnTo>
                  <a:lnTo>
                    <a:pt x="874" y="97"/>
                  </a:lnTo>
                  <a:lnTo>
                    <a:pt x="877" y="97"/>
                  </a:lnTo>
                  <a:lnTo>
                    <a:pt x="877" y="97"/>
                  </a:lnTo>
                  <a:lnTo>
                    <a:pt x="874" y="97"/>
                  </a:lnTo>
                  <a:lnTo>
                    <a:pt x="874" y="97"/>
                  </a:lnTo>
                  <a:lnTo>
                    <a:pt x="874" y="97"/>
                  </a:lnTo>
                  <a:lnTo>
                    <a:pt x="874" y="97"/>
                  </a:lnTo>
                  <a:lnTo>
                    <a:pt x="872" y="95"/>
                  </a:lnTo>
                  <a:lnTo>
                    <a:pt x="872" y="95"/>
                  </a:lnTo>
                  <a:lnTo>
                    <a:pt x="872" y="97"/>
                  </a:lnTo>
                  <a:lnTo>
                    <a:pt x="870" y="95"/>
                  </a:lnTo>
                  <a:lnTo>
                    <a:pt x="870" y="95"/>
                  </a:lnTo>
                  <a:lnTo>
                    <a:pt x="870" y="95"/>
                  </a:lnTo>
                  <a:lnTo>
                    <a:pt x="870" y="95"/>
                  </a:lnTo>
                  <a:lnTo>
                    <a:pt x="877" y="95"/>
                  </a:lnTo>
                  <a:lnTo>
                    <a:pt x="879" y="95"/>
                  </a:lnTo>
                  <a:lnTo>
                    <a:pt x="879" y="95"/>
                  </a:lnTo>
                  <a:lnTo>
                    <a:pt x="879" y="95"/>
                  </a:lnTo>
                  <a:lnTo>
                    <a:pt x="879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1" y="97"/>
                  </a:lnTo>
                  <a:lnTo>
                    <a:pt x="881" y="97"/>
                  </a:lnTo>
                  <a:lnTo>
                    <a:pt x="881" y="97"/>
                  </a:lnTo>
                  <a:lnTo>
                    <a:pt x="881" y="97"/>
                  </a:lnTo>
                  <a:lnTo>
                    <a:pt x="883" y="97"/>
                  </a:lnTo>
                  <a:lnTo>
                    <a:pt x="881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7"/>
                  </a:lnTo>
                  <a:lnTo>
                    <a:pt x="883" y="95"/>
                  </a:lnTo>
                  <a:lnTo>
                    <a:pt x="883" y="95"/>
                  </a:lnTo>
                  <a:lnTo>
                    <a:pt x="886" y="95"/>
                  </a:lnTo>
                  <a:lnTo>
                    <a:pt x="883" y="95"/>
                  </a:lnTo>
                  <a:lnTo>
                    <a:pt x="883" y="95"/>
                  </a:lnTo>
                  <a:lnTo>
                    <a:pt x="881" y="95"/>
                  </a:lnTo>
                  <a:lnTo>
                    <a:pt x="881" y="95"/>
                  </a:lnTo>
                  <a:lnTo>
                    <a:pt x="886" y="95"/>
                  </a:lnTo>
                  <a:lnTo>
                    <a:pt x="886" y="95"/>
                  </a:lnTo>
                  <a:lnTo>
                    <a:pt x="888" y="95"/>
                  </a:lnTo>
                  <a:lnTo>
                    <a:pt x="888" y="95"/>
                  </a:lnTo>
                  <a:lnTo>
                    <a:pt x="888" y="95"/>
                  </a:lnTo>
                  <a:lnTo>
                    <a:pt x="890" y="95"/>
                  </a:lnTo>
                  <a:lnTo>
                    <a:pt x="890" y="95"/>
                  </a:lnTo>
                  <a:lnTo>
                    <a:pt x="892" y="95"/>
                  </a:lnTo>
                  <a:lnTo>
                    <a:pt x="892" y="95"/>
                  </a:lnTo>
                  <a:lnTo>
                    <a:pt x="892" y="95"/>
                  </a:lnTo>
                  <a:lnTo>
                    <a:pt x="901" y="95"/>
                  </a:lnTo>
                  <a:lnTo>
                    <a:pt x="904" y="95"/>
                  </a:lnTo>
                  <a:lnTo>
                    <a:pt x="904" y="95"/>
                  </a:lnTo>
                  <a:lnTo>
                    <a:pt x="904" y="95"/>
                  </a:lnTo>
                  <a:lnTo>
                    <a:pt x="906" y="95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4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6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904" y="97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1" y="99"/>
                  </a:lnTo>
                  <a:lnTo>
                    <a:pt x="901" y="99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4" y="99"/>
                  </a:lnTo>
                  <a:lnTo>
                    <a:pt x="906" y="99"/>
                  </a:lnTo>
                  <a:lnTo>
                    <a:pt x="906" y="99"/>
                  </a:lnTo>
                  <a:lnTo>
                    <a:pt x="906" y="99"/>
                  </a:lnTo>
                  <a:lnTo>
                    <a:pt x="908" y="99"/>
                  </a:lnTo>
                  <a:lnTo>
                    <a:pt x="908" y="99"/>
                  </a:lnTo>
                  <a:lnTo>
                    <a:pt x="908" y="99"/>
                  </a:lnTo>
                  <a:lnTo>
                    <a:pt x="908" y="99"/>
                  </a:lnTo>
                  <a:lnTo>
                    <a:pt x="910" y="99"/>
                  </a:lnTo>
                  <a:lnTo>
                    <a:pt x="910" y="99"/>
                  </a:lnTo>
                  <a:lnTo>
                    <a:pt x="910" y="99"/>
                  </a:lnTo>
                  <a:lnTo>
                    <a:pt x="910" y="97"/>
                  </a:lnTo>
                  <a:lnTo>
                    <a:pt x="910" y="97"/>
                  </a:lnTo>
                  <a:lnTo>
                    <a:pt x="908" y="97"/>
                  </a:lnTo>
                  <a:lnTo>
                    <a:pt x="910" y="97"/>
                  </a:lnTo>
                  <a:lnTo>
                    <a:pt x="910" y="97"/>
                  </a:lnTo>
                  <a:lnTo>
                    <a:pt x="910" y="97"/>
                  </a:lnTo>
                  <a:lnTo>
                    <a:pt x="910" y="97"/>
                  </a:lnTo>
                  <a:lnTo>
                    <a:pt x="913" y="97"/>
                  </a:lnTo>
                  <a:lnTo>
                    <a:pt x="913" y="97"/>
                  </a:lnTo>
                  <a:lnTo>
                    <a:pt x="913" y="97"/>
                  </a:lnTo>
                  <a:lnTo>
                    <a:pt x="913" y="97"/>
                  </a:lnTo>
                  <a:lnTo>
                    <a:pt x="913" y="97"/>
                  </a:lnTo>
                  <a:lnTo>
                    <a:pt x="913" y="97"/>
                  </a:lnTo>
                  <a:lnTo>
                    <a:pt x="913" y="97"/>
                  </a:lnTo>
                  <a:lnTo>
                    <a:pt x="915" y="97"/>
                  </a:lnTo>
                  <a:lnTo>
                    <a:pt x="915" y="97"/>
                  </a:lnTo>
                  <a:lnTo>
                    <a:pt x="915" y="99"/>
                  </a:lnTo>
                  <a:lnTo>
                    <a:pt x="915" y="99"/>
                  </a:lnTo>
                  <a:lnTo>
                    <a:pt x="915" y="99"/>
                  </a:lnTo>
                  <a:lnTo>
                    <a:pt x="915" y="99"/>
                  </a:lnTo>
                  <a:lnTo>
                    <a:pt x="915" y="99"/>
                  </a:lnTo>
                  <a:lnTo>
                    <a:pt x="915" y="99"/>
                  </a:lnTo>
                  <a:lnTo>
                    <a:pt x="915" y="99"/>
                  </a:lnTo>
                  <a:lnTo>
                    <a:pt x="917" y="99"/>
                  </a:lnTo>
                  <a:lnTo>
                    <a:pt x="917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9"/>
                  </a:lnTo>
                  <a:lnTo>
                    <a:pt x="919" y="97"/>
                  </a:lnTo>
                  <a:lnTo>
                    <a:pt x="919" y="97"/>
                  </a:lnTo>
                  <a:lnTo>
                    <a:pt x="922" y="97"/>
                  </a:lnTo>
                  <a:lnTo>
                    <a:pt x="922" y="97"/>
                  </a:lnTo>
                  <a:lnTo>
                    <a:pt x="924" y="97"/>
                  </a:lnTo>
                  <a:lnTo>
                    <a:pt x="922" y="97"/>
                  </a:lnTo>
                  <a:lnTo>
                    <a:pt x="922" y="97"/>
                  </a:lnTo>
                  <a:lnTo>
                    <a:pt x="922" y="97"/>
                  </a:lnTo>
                  <a:lnTo>
                    <a:pt x="924" y="99"/>
                  </a:lnTo>
                  <a:lnTo>
                    <a:pt x="924" y="99"/>
                  </a:lnTo>
                  <a:lnTo>
                    <a:pt x="924" y="99"/>
                  </a:lnTo>
                  <a:lnTo>
                    <a:pt x="924" y="99"/>
                  </a:lnTo>
                  <a:lnTo>
                    <a:pt x="924" y="99"/>
                  </a:lnTo>
                  <a:lnTo>
                    <a:pt x="924" y="99"/>
                  </a:lnTo>
                  <a:lnTo>
                    <a:pt x="926" y="99"/>
                  </a:lnTo>
                  <a:lnTo>
                    <a:pt x="924" y="99"/>
                  </a:lnTo>
                  <a:lnTo>
                    <a:pt x="924" y="99"/>
                  </a:lnTo>
                  <a:lnTo>
                    <a:pt x="924" y="97"/>
                  </a:lnTo>
                  <a:lnTo>
                    <a:pt x="924" y="97"/>
                  </a:lnTo>
                  <a:lnTo>
                    <a:pt x="926" y="97"/>
                  </a:lnTo>
                  <a:lnTo>
                    <a:pt x="926" y="97"/>
                  </a:lnTo>
                  <a:lnTo>
                    <a:pt x="928" y="97"/>
                  </a:lnTo>
                  <a:lnTo>
                    <a:pt x="928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28" y="97"/>
                  </a:lnTo>
                  <a:lnTo>
                    <a:pt x="928" y="97"/>
                  </a:lnTo>
                  <a:lnTo>
                    <a:pt x="926" y="97"/>
                  </a:lnTo>
                  <a:lnTo>
                    <a:pt x="926" y="97"/>
                  </a:lnTo>
                  <a:lnTo>
                    <a:pt x="926" y="97"/>
                  </a:lnTo>
                  <a:lnTo>
                    <a:pt x="926" y="97"/>
                  </a:lnTo>
                  <a:lnTo>
                    <a:pt x="928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31" y="97"/>
                  </a:lnTo>
                  <a:lnTo>
                    <a:pt x="933" y="97"/>
                  </a:lnTo>
                  <a:lnTo>
                    <a:pt x="933" y="97"/>
                  </a:lnTo>
                  <a:lnTo>
                    <a:pt x="933" y="97"/>
                  </a:lnTo>
                  <a:lnTo>
                    <a:pt x="933" y="95"/>
                  </a:lnTo>
                  <a:lnTo>
                    <a:pt x="935" y="95"/>
                  </a:lnTo>
                  <a:lnTo>
                    <a:pt x="931" y="95"/>
                  </a:lnTo>
                  <a:lnTo>
                    <a:pt x="931" y="95"/>
                  </a:lnTo>
                  <a:lnTo>
                    <a:pt x="931" y="95"/>
                  </a:lnTo>
                  <a:lnTo>
                    <a:pt x="931" y="95"/>
                  </a:lnTo>
                  <a:lnTo>
                    <a:pt x="931" y="95"/>
                  </a:lnTo>
                  <a:lnTo>
                    <a:pt x="931" y="95"/>
                  </a:lnTo>
                  <a:lnTo>
                    <a:pt x="933" y="95"/>
                  </a:lnTo>
                  <a:lnTo>
                    <a:pt x="933" y="95"/>
                  </a:lnTo>
                  <a:lnTo>
                    <a:pt x="931" y="95"/>
                  </a:lnTo>
                  <a:lnTo>
                    <a:pt x="931" y="95"/>
                  </a:lnTo>
                  <a:lnTo>
                    <a:pt x="933" y="95"/>
                  </a:lnTo>
                  <a:lnTo>
                    <a:pt x="935" y="95"/>
                  </a:lnTo>
                  <a:lnTo>
                    <a:pt x="935" y="95"/>
                  </a:lnTo>
                  <a:lnTo>
                    <a:pt x="937" y="93"/>
                  </a:lnTo>
                  <a:lnTo>
                    <a:pt x="940" y="93"/>
                  </a:lnTo>
                  <a:lnTo>
                    <a:pt x="940" y="93"/>
                  </a:lnTo>
                  <a:lnTo>
                    <a:pt x="940" y="93"/>
                  </a:lnTo>
                  <a:lnTo>
                    <a:pt x="940" y="93"/>
                  </a:lnTo>
                  <a:lnTo>
                    <a:pt x="940" y="93"/>
                  </a:lnTo>
                  <a:lnTo>
                    <a:pt x="940" y="93"/>
                  </a:lnTo>
                  <a:lnTo>
                    <a:pt x="940" y="95"/>
                  </a:lnTo>
                  <a:lnTo>
                    <a:pt x="940" y="95"/>
                  </a:lnTo>
                  <a:lnTo>
                    <a:pt x="940" y="95"/>
                  </a:lnTo>
                  <a:lnTo>
                    <a:pt x="942" y="95"/>
                  </a:lnTo>
                  <a:lnTo>
                    <a:pt x="942" y="95"/>
                  </a:lnTo>
                  <a:lnTo>
                    <a:pt x="942" y="95"/>
                  </a:lnTo>
                  <a:lnTo>
                    <a:pt x="942" y="93"/>
                  </a:lnTo>
                  <a:lnTo>
                    <a:pt x="944" y="95"/>
                  </a:lnTo>
                  <a:lnTo>
                    <a:pt x="944" y="95"/>
                  </a:lnTo>
                  <a:lnTo>
                    <a:pt x="944" y="93"/>
                  </a:lnTo>
                  <a:lnTo>
                    <a:pt x="946" y="93"/>
                  </a:lnTo>
                  <a:lnTo>
                    <a:pt x="946" y="95"/>
                  </a:lnTo>
                  <a:lnTo>
                    <a:pt x="946" y="95"/>
                  </a:lnTo>
                  <a:lnTo>
                    <a:pt x="946" y="95"/>
                  </a:lnTo>
                  <a:lnTo>
                    <a:pt x="946" y="95"/>
                  </a:lnTo>
                  <a:lnTo>
                    <a:pt x="946" y="95"/>
                  </a:lnTo>
                  <a:lnTo>
                    <a:pt x="946" y="95"/>
                  </a:lnTo>
                  <a:lnTo>
                    <a:pt x="944" y="95"/>
                  </a:lnTo>
                  <a:lnTo>
                    <a:pt x="946" y="95"/>
                  </a:lnTo>
                  <a:lnTo>
                    <a:pt x="946" y="95"/>
                  </a:lnTo>
                  <a:lnTo>
                    <a:pt x="949" y="95"/>
                  </a:lnTo>
                  <a:lnTo>
                    <a:pt x="949" y="95"/>
                  </a:lnTo>
                  <a:lnTo>
                    <a:pt x="951" y="95"/>
                  </a:lnTo>
                  <a:lnTo>
                    <a:pt x="951" y="95"/>
                  </a:lnTo>
                  <a:lnTo>
                    <a:pt x="951" y="95"/>
                  </a:lnTo>
                  <a:lnTo>
                    <a:pt x="953" y="95"/>
                  </a:lnTo>
                  <a:lnTo>
                    <a:pt x="953" y="95"/>
                  </a:lnTo>
                  <a:lnTo>
                    <a:pt x="953" y="95"/>
                  </a:lnTo>
                  <a:lnTo>
                    <a:pt x="951" y="95"/>
                  </a:lnTo>
                  <a:lnTo>
                    <a:pt x="951" y="97"/>
                  </a:lnTo>
                  <a:lnTo>
                    <a:pt x="953" y="97"/>
                  </a:lnTo>
                  <a:lnTo>
                    <a:pt x="953" y="97"/>
                  </a:lnTo>
                  <a:lnTo>
                    <a:pt x="953" y="97"/>
                  </a:lnTo>
                  <a:lnTo>
                    <a:pt x="953" y="97"/>
                  </a:lnTo>
                  <a:lnTo>
                    <a:pt x="953" y="97"/>
                  </a:lnTo>
                  <a:lnTo>
                    <a:pt x="953" y="97"/>
                  </a:lnTo>
                  <a:lnTo>
                    <a:pt x="953" y="97"/>
                  </a:lnTo>
                  <a:lnTo>
                    <a:pt x="955" y="97"/>
                  </a:lnTo>
                  <a:lnTo>
                    <a:pt x="955" y="97"/>
                  </a:lnTo>
                  <a:lnTo>
                    <a:pt x="955" y="97"/>
                  </a:lnTo>
                  <a:lnTo>
                    <a:pt x="955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9"/>
                  </a:lnTo>
                  <a:lnTo>
                    <a:pt x="958" y="99"/>
                  </a:lnTo>
                  <a:lnTo>
                    <a:pt x="958" y="99"/>
                  </a:lnTo>
                  <a:lnTo>
                    <a:pt x="958" y="99"/>
                  </a:lnTo>
                  <a:lnTo>
                    <a:pt x="958" y="99"/>
                  </a:lnTo>
                  <a:lnTo>
                    <a:pt x="958" y="99"/>
                  </a:lnTo>
                  <a:lnTo>
                    <a:pt x="958" y="99"/>
                  </a:lnTo>
                  <a:lnTo>
                    <a:pt x="960" y="99"/>
                  </a:lnTo>
                  <a:lnTo>
                    <a:pt x="960" y="99"/>
                  </a:lnTo>
                  <a:lnTo>
                    <a:pt x="960" y="99"/>
                  </a:lnTo>
                  <a:lnTo>
                    <a:pt x="960" y="102"/>
                  </a:lnTo>
                  <a:lnTo>
                    <a:pt x="958" y="102"/>
                  </a:lnTo>
                  <a:lnTo>
                    <a:pt x="958" y="102"/>
                  </a:lnTo>
                  <a:lnTo>
                    <a:pt x="960" y="102"/>
                  </a:lnTo>
                  <a:lnTo>
                    <a:pt x="960" y="102"/>
                  </a:lnTo>
                  <a:lnTo>
                    <a:pt x="960" y="102"/>
                  </a:lnTo>
                  <a:lnTo>
                    <a:pt x="960" y="102"/>
                  </a:lnTo>
                  <a:lnTo>
                    <a:pt x="960" y="99"/>
                  </a:lnTo>
                  <a:lnTo>
                    <a:pt x="962" y="99"/>
                  </a:lnTo>
                  <a:lnTo>
                    <a:pt x="962" y="99"/>
                  </a:lnTo>
                  <a:lnTo>
                    <a:pt x="960" y="99"/>
                  </a:lnTo>
                  <a:lnTo>
                    <a:pt x="960" y="97"/>
                  </a:lnTo>
                  <a:lnTo>
                    <a:pt x="960" y="97"/>
                  </a:lnTo>
                  <a:lnTo>
                    <a:pt x="960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7"/>
                  </a:lnTo>
                  <a:lnTo>
                    <a:pt x="958" y="95"/>
                  </a:lnTo>
                  <a:lnTo>
                    <a:pt x="955" y="95"/>
                  </a:lnTo>
                  <a:lnTo>
                    <a:pt x="955" y="95"/>
                  </a:lnTo>
                  <a:lnTo>
                    <a:pt x="955" y="95"/>
                  </a:lnTo>
                  <a:lnTo>
                    <a:pt x="955" y="95"/>
                  </a:lnTo>
                  <a:lnTo>
                    <a:pt x="955" y="95"/>
                  </a:lnTo>
                  <a:lnTo>
                    <a:pt x="955" y="95"/>
                  </a:lnTo>
                  <a:lnTo>
                    <a:pt x="953" y="95"/>
                  </a:lnTo>
                  <a:lnTo>
                    <a:pt x="953" y="95"/>
                  </a:lnTo>
                  <a:lnTo>
                    <a:pt x="951" y="95"/>
                  </a:lnTo>
                  <a:lnTo>
                    <a:pt x="951" y="93"/>
                  </a:lnTo>
                  <a:lnTo>
                    <a:pt x="949" y="93"/>
                  </a:lnTo>
                  <a:lnTo>
                    <a:pt x="949" y="93"/>
                  </a:lnTo>
                  <a:lnTo>
                    <a:pt x="946" y="93"/>
                  </a:lnTo>
                  <a:lnTo>
                    <a:pt x="946" y="93"/>
                  </a:lnTo>
                  <a:lnTo>
                    <a:pt x="946" y="93"/>
                  </a:lnTo>
                  <a:lnTo>
                    <a:pt x="946" y="93"/>
                  </a:lnTo>
                  <a:lnTo>
                    <a:pt x="944" y="93"/>
                  </a:lnTo>
                  <a:lnTo>
                    <a:pt x="944" y="90"/>
                  </a:lnTo>
                  <a:lnTo>
                    <a:pt x="940" y="90"/>
                  </a:lnTo>
                  <a:lnTo>
                    <a:pt x="940" y="90"/>
                  </a:lnTo>
                  <a:lnTo>
                    <a:pt x="940" y="90"/>
                  </a:lnTo>
                  <a:lnTo>
                    <a:pt x="940" y="90"/>
                  </a:lnTo>
                  <a:lnTo>
                    <a:pt x="940" y="90"/>
                  </a:lnTo>
                  <a:lnTo>
                    <a:pt x="937" y="90"/>
                  </a:lnTo>
                  <a:lnTo>
                    <a:pt x="937" y="90"/>
                  </a:lnTo>
                  <a:lnTo>
                    <a:pt x="937" y="90"/>
                  </a:lnTo>
                  <a:lnTo>
                    <a:pt x="935" y="90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40" y="88"/>
                  </a:lnTo>
                  <a:lnTo>
                    <a:pt x="944" y="90"/>
                  </a:lnTo>
                  <a:lnTo>
                    <a:pt x="949" y="88"/>
                  </a:lnTo>
                  <a:lnTo>
                    <a:pt x="949" y="88"/>
                  </a:lnTo>
                  <a:lnTo>
                    <a:pt x="953" y="88"/>
                  </a:lnTo>
                  <a:lnTo>
                    <a:pt x="955" y="88"/>
                  </a:lnTo>
                  <a:lnTo>
                    <a:pt x="955" y="90"/>
                  </a:lnTo>
                  <a:lnTo>
                    <a:pt x="960" y="88"/>
                  </a:lnTo>
                  <a:lnTo>
                    <a:pt x="960" y="88"/>
                  </a:lnTo>
                  <a:lnTo>
                    <a:pt x="962" y="88"/>
                  </a:lnTo>
                  <a:lnTo>
                    <a:pt x="962" y="88"/>
                  </a:lnTo>
                  <a:lnTo>
                    <a:pt x="962" y="88"/>
                  </a:lnTo>
                  <a:lnTo>
                    <a:pt x="964" y="88"/>
                  </a:lnTo>
                  <a:lnTo>
                    <a:pt x="964" y="88"/>
                  </a:lnTo>
                  <a:lnTo>
                    <a:pt x="966" y="88"/>
                  </a:lnTo>
                  <a:lnTo>
                    <a:pt x="964" y="90"/>
                  </a:lnTo>
                  <a:lnTo>
                    <a:pt x="964" y="90"/>
                  </a:lnTo>
                  <a:lnTo>
                    <a:pt x="969" y="90"/>
                  </a:lnTo>
                  <a:lnTo>
                    <a:pt x="969" y="88"/>
                  </a:lnTo>
                  <a:lnTo>
                    <a:pt x="969" y="88"/>
                  </a:lnTo>
                  <a:lnTo>
                    <a:pt x="971" y="90"/>
                  </a:lnTo>
                  <a:lnTo>
                    <a:pt x="975" y="90"/>
                  </a:lnTo>
                  <a:lnTo>
                    <a:pt x="975" y="90"/>
                  </a:lnTo>
                  <a:lnTo>
                    <a:pt x="978" y="90"/>
                  </a:lnTo>
                  <a:lnTo>
                    <a:pt x="978" y="90"/>
                  </a:lnTo>
                  <a:lnTo>
                    <a:pt x="978" y="90"/>
                  </a:lnTo>
                  <a:lnTo>
                    <a:pt x="984" y="90"/>
                  </a:lnTo>
                  <a:lnTo>
                    <a:pt x="982" y="90"/>
                  </a:lnTo>
                  <a:lnTo>
                    <a:pt x="982" y="90"/>
                  </a:lnTo>
                  <a:lnTo>
                    <a:pt x="982" y="90"/>
                  </a:lnTo>
                  <a:lnTo>
                    <a:pt x="982" y="90"/>
                  </a:lnTo>
                  <a:lnTo>
                    <a:pt x="980" y="90"/>
                  </a:lnTo>
                  <a:lnTo>
                    <a:pt x="978" y="90"/>
                  </a:lnTo>
                  <a:lnTo>
                    <a:pt x="975" y="90"/>
                  </a:lnTo>
                  <a:lnTo>
                    <a:pt x="973" y="88"/>
                  </a:lnTo>
                  <a:lnTo>
                    <a:pt x="971" y="88"/>
                  </a:lnTo>
                  <a:lnTo>
                    <a:pt x="971" y="88"/>
                  </a:lnTo>
                  <a:lnTo>
                    <a:pt x="971" y="88"/>
                  </a:lnTo>
                  <a:lnTo>
                    <a:pt x="969" y="88"/>
                  </a:lnTo>
                  <a:lnTo>
                    <a:pt x="964" y="88"/>
                  </a:lnTo>
                  <a:lnTo>
                    <a:pt x="962" y="88"/>
                  </a:lnTo>
                  <a:lnTo>
                    <a:pt x="962" y="88"/>
                  </a:lnTo>
                  <a:lnTo>
                    <a:pt x="962" y="88"/>
                  </a:lnTo>
                  <a:lnTo>
                    <a:pt x="962" y="88"/>
                  </a:lnTo>
                  <a:lnTo>
                    <a:pt x="962" y="88"/>
                  </a:lnTo>
                  <a:lnTo>
                    <a:pt x="964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6"/>
                  </a:lnTo>
                  <a:lnTo>
                    <a:pt x="962" y="84"/>
                  </a:lnTo>
                  <a:lnTo>
                    <a:pt x="962" y="84"/>
                  </a:lnTo>
                  <a:lnTo>
                    <a:pt x="962" y="84"/>
                  </a:lnTo>
                  <a:lnTo>
                    <a:pt x="962" y="84"/>
                  </a:lnTo>
                  <a:lnTo>
                    <a:pt x="962" y="84"/>
                  </a:lnTo>
                  <a:lnTo>
                    <a:pt x="960" y="84"/>
                  </a:lnTo>
                  <a:lnTo>
                    <a:pt x="960" y="84"/>
                  </a:lnTo>
                  <a:lnTo>
                    <a:pt x="958" y="84"/>
                  </a:lnTo>
                  <a:lnTo>
                    <a:pt x="955" y="84"/>
                  </a:lnTo>
                  <a:lnTo>
                    <a:pt x="955" y="84"/>
                  </a:lnTo>
                  <a:lnTo>
                    <a:pt x="955" y="84"/>
                  </a:lnTo>
                  <a:lnTo>
                    <a:pt x="955" y="84"/>
                  </a:lnTo>
                  <a:lnTo>
                    <a:pt x="955" y="84"/>
                  </a:lnTo>
                  <a:lnTo>
                    <a:pt x="955" y="84"/>
                  </a:lnTo>
                  <a:lnTo>
                    <a:pt x="955" y="81"/>
                  </a:lnTo>
                  <a:lnTo>
                    <a:pt x="955" y="81"/>
                  </a:lnTo>
                  <a:lnTo>
                    <a:pt x="955" y="81"/>
                  </a:lnTo>
                  <a:lnTo>
                    <a:pt x="955" y="81"/>
                  </a:lnTo>
                  <a:lnTo>
                    <a:pt x="953" y="81"/>
                  </a:lnTo>
                  <a:lnTo>
                    <a:pt x="953" y="81"/>
                  </a:lnTo>
                  <a:lnTo>
                    <a:pt x="953" y="81"/>
                  </a:lnTo>
                  <a:lnTo>
                    <a:pt x="953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8" y="79"/>
                  </a:lnTo>
                  <a:lnTo>
                    <a:pt x="958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5" y="79"/>
                  </a:lnTo>
                  <a:lnTo>
                    <a:pt x="953" y="79"/>
                  </a:lnTo>
                  <a:lnTo>
                    <a:pt x="953" y="79"/>
                  </a:lnTo>
                  <a:lnTo>
                    <a:pt x="955" y="77"/>
                  </a:lnTo>
                  <a:lnTo>
                    <a:pt x="958" y="77"/>
                  </a:lnTo>
                  <a:lnTo>
                    <a:pt x="958" y="75"/>
                  </a:lnTo>
                  <a:lnTo>
                    <a:pt x="960" y="72"/>
                  </a:lnTo>
                  <a:lnTo>
                    <a:pt x="960" y="72"/>
                  </a:lnTo>
                  <a:lnTo>
                    <a:pt x="960" y="72"/>
                  </a:lnTo>
                  <a:lnTo>
                    <a:pt x="960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2" y="72"/>
                  </a:lnTo>
                  <a:lnTo>
                    <a:pt x="964" y="72"/>
                  </a:lnTo>
                  <a:lnTo>
                    <a:pt x="964" y="72"/>
                  </a:lnTo>
                  <a:lnTo>
                    <a:pt x="964" y="70"/>
                  </a:lnTo>
                  <a:lnTo>
                    <a:pt x="966" y="70"/>
                  </a:lnTo>
                  <a:lnTo>
                    <a:pt x="966" y="70"/>
                  </a:lnTo>
                  <a:lnTo>
                    <a:pt x="966" y="70"/>
                  </a:lnTo>
                  <a:lnTo>
                    <a:pt x="966" y="70"/>
                  </a:lnTo>
                  <a:lnTo>
                    <a:pt x="966" y="70"/>
                  </a:lnTo>
                  <a:lnTo>
                    <a:pt x="969" y="68"/>
                  </a:lnTo>
                  <a:lnTo>
                    <a:pt x="969" y="68"/>
                  </a:lnTo>
                  <a:lnTo>
                    <a:pt x="971" y="68"/>
                  </a:lnTo>
                  <a:lnTo>
                    <a:pt x="971" y="68"/>
                  </a:lnTo>
                  <a:lnTo>
                    <a:pt x="971" y="68"/>
                  </a:lnTo>
                  <a:lnTo>
                    <a:pt x="971" y="68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78" y="68"/>
                  </a:lnTo>
                  <a:lnTo>
                    <a:pt x="978" y="68"/>
                  </a:lnTo>
                  <a:lnTo>
                    <a:pt x="978" y="68"/>
                  </a:lnTo>
                  <a:lnTo>
                    <a:pt x="980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4" y="68"/>
                  </a:lnTo>
                  <a:lnTo>
                    <a:pt x="987" y="68"/>
                  </a:lnTo>
                  <a:lnTo>
                    <a:pt x="989" y="68"/>
                  </a:lnTo>
                  <a:lnTo>
                    <a:pt x="991" y="68"/>
                  </a:lnTo>
                  <a:lnTo>
                    <a:pt x="991" y="68"/>
                  </a:lnTo>
                  <a:lnTo>
                    <a:pt x="991" y="68"/>
                  </a:lnTo>
                  <a:lnTo>
                    <a:pt x="993" y="70"/>
                  </a:lnTo>
                  <a:lnTo>
                    <a:pt x="996" y="70"/>
                  </a:lnTo>
                  <a:lnTo>
                    <a:pt x="998" y="70"/>
                  </a:lnTo>
                  <a:lnTo>
                    <a:pt x="1000" y="70"/>
                  </a:lnTo>
                  <a:lnTo>
                    <a:pt x="1007" y="70"/>
                  </a:lnTo>
                  <a:lnTo>
                    <a:pt x="1007" y="70"/>
                  </a:lnTo>
                  <a:lnTo>
                    <a:pt x="1007" y="70"/>
                  </a:lnTo>
                  <a:lnTo>
                    <a:pt x="1007" y="70"/>
                  </a:lnTo>
                  <a:lnTo>
                    <a:pt x="1007" y="70"/>
                  </a:lnTo>
                  <a:lnTo>
                    <a:pt x="1009" y="70"/>
                  </a:lnTo>
                  <a:lnTo>
                    <a:pt x="1009" y="70"/>
                  </a:lnTo>
                  <a:lnTo>
                    <a:pt x="1009" y="70"/>
                  </a:lnTo>
                  <a:lnTo>
                    <a:pt x="1009" y="70"/>
                  </a:lnTo>
                  <a:lnTo>
                    <a:pt x="1009" y="70"/>
                  </a:lnTo>
                  <a:lnTo>
                    <a:pt x="1009" y="72"/>
                  </a:lnTo>
                  <a:lnTo>
                    <a:pt x="1011" y="72"/>
                  </a:lnTo>
                  <a:lnTo>
                    <a:pt x="1011" y="72"/>
                  </a:lnTo>
                  <a:lnTo>
                    <a:pt x="1011" y="72"/>
                  </a:lnTo>
                  <a:lnTo>
                    <a:pt x="1011" y="72"/>
                  </a:lnTo>
                  <a:lnTo>
                    <a:pt x="1011" y="72"/>
                  </a:lnTo>
                  <a:lnTo>
                    <a:pt x="1014" y="72"/>
                  </a:lnTo>
                  <a:lnTo>
                    <a:pt x="1014" y="72"/>
                  </a:lnTo>
                  <a:lnTo>
                    <a:pt x="1016" y="72"/>
                  </a:lnTo>
                  <a:lnTo>
                    <a:pt x="1016" y="72"/>
                  </a:lnTo>
                  <a:lnTo>
                    <a:pt x="1018" y="72"/>
                  </a:lnTo>
                  <a:lnTo>
                    <a:pt x="1016" y="75"/>
                  </a:lnTo>
                  <a:lnTo>
                    <a:pt x="1011" y="72"/>
                  </a:lnTo>
                  <a:lnTo>
                    <a:pt x="1011" y="72"/>
                  </a:lnTo>
                  <a:lnTo>
                    <a:pt x="1011" y="75"/>
                  </a:lnTo>
                  <a:lnTo>
                    <a:pt x="1011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9" y="75"/>
                  </a:lnTo>
                  <a:lnTo>
                    <a:pt x="1007" y="77"/>
                  </a:lnTo>
                  <a:lnTo>
                    <a:pt x="1007" y="77"/>
                  </a:lnTo>
                  <a:lnTo>
                    <a:pt x="1007" y="77"/>
                  </a:lnTo>
                  <a:lnTo>
                    <a:pt x="1007" y="77"/>
                  </a:lnTo>
                  <a:lnTo>
                    <a:pt x="1005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0" y="77"/>
                  </a:lnTo>
                  <a:lnTo>
                    <a:pt x="998" y="77"/>
                  </a:lnTo>
                  <a:lnTo>
                    <a:pt x="998" y="77"/>
                  </a:lnTo>
                  <a:lnTo>
                    <a:pt x="996" y="77"/>
                  </a:lnTo>
                  <a:lnTo>
                    <a:pt x="993" y="77"/>
                  </a:lnTo>
                  <a:lnTo>
                    <a:pt x="993" y="79"/>
                  </a:lnTo>
                  <a:lnTo>
                    <a:pt x="996" y="79"/>
                  </a:lnTo>
                  <a:lnTo>
                    <a:pt x="996" y="79"/>
                  </a:lnTo>
                  <a:lnTo>
                    <a:pt x="996" y="79"/>
                  </a:lnTo>
                  <a:lnTo>
                    <a:pt x="996" y="79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5" y="79"/>
                  </a:lnTo>
                  <a:lnTo>
                    <a:pt x="1005" y="79"/>
                  </a:lnTo>
                  <a:lnTo>
                    <a:pt x="1007" y="79"/>
                  </a:lnTo>
                  <a:lnTo>
                    <a:pt x="1007" y="79"/>
                  </a:lnTo>
                  <a:lnTo>
                    <a:pt x="1007" y="77"/>
                  </a:lnTo>
                  <a:lnTo>
                    <a:pt x="1009" y="77"/>
                  </a:lnTo>
                  <a:lnTo>
                    <a:pt x="1011" y="79"/>
                  </a:lnTo>
                  <a:lnTo>
                    <a:pt x="1014" y="77"/>
                  </a:lnTo>
                  <a:lnTo>
                    <a:pt x="1016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7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14" y="79"/>
                  </a:lnTo>
                  <a:lnTo>
                    <a:pt x="1014" y="79"/>
                  </a:lnTo>
                  <a:lnTo>
                    <a:pt x="1016" y="79"/>
                  </a:lnTo>
                  <a:lnTo>
                    <a:pt x="1016" y="79"/>
                  </a:lnTo>
                  <a:lnTo>
                    <a:pt x="1016" y="79"/>
                  </a:lnTo>
                  <a:lnTo>
                    <a:pt x="1016" y="79"/>
                  </a:lnTo>
                  <a:lnTo>
                    <a:pt x="1018" y="79"/>
                  </a:lnTo>
                  <a:lnTo>
                    <a:pt x="1018" y="79"/>
                  </a:lnTo>
                  <a:lnTo>
                    <a:pt x="1020" y="79"/>
                  </a:lnTo>
                  <a:lnTo>
                    <a:pt x="1020" y="79"/>
                  </a:lnTo>
                  <a:lnTo>
                    <a:pt x="1020" y="79"/>
                  </a:lnTo>
                  <a:lnTo>
                    <a:pt x="1023" y="79"/>
                  </a:lnTo>
                  <a:lnTo>
                    <a:pt x="1023" y="79"/>
                  </a:lnTo>
                  <a:lnTo>
                    <a:pt x="1025" y="79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9" y="79"/>
                  </a:lnTo>
                  <a:lnTo>
                    <a:pt x="1029" y="79"/>
                  </a:lnTo>
                  <a:lnTo>
                    <a:pt x="1029" y="79"/>
                  </a:lnTo>
                  <a:lnTo>
                    <a:pt x="1029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29" y="79"/>
                  </a:lnTo>
                  <a:lnTo>
                    <a:pt x="1029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32" y="79"/>
                  </a:lnTo>
                  <a:lnTo>
                    <a:pt x="1034" y="79"/>
                  </a:lnTo>
                  <a:lnTo>
                    <a:pt x="1036" y="79"/>
                  </a:lnTo>
                  <a:lnTo>
                    <a:pt x="1036" y="79"/>
                  </a:lnTo>
                  <a:lnTo>
                    <a:pt x="1036" y="79"/>
                  </a:lnTo>
                  <a:lnTo>
                    <a:pt x="1036" y="79"/>
                  </a:lnTo>
                  <a:lnTo>
                    <a:pt x="1036" y="79"/>
                  </a:lnTo>
                  <a:lnTo>
                    <a:pt x="1038" y="79"/>
                  </a:lnTo>
                  <a:lnTo>
                    <a:pt x="1038" y="79"/>
                  </a:lnTo>
                  <a:lnTo>
                    <a:pt x="1038" y="79"/>
                  </a:lnTo>
                  <a:lnTo>
                    <a:pt x="1038" y="79"/>
                  </a:lnTo>
                  <a:lnTo>
                    <a:pt x="1038" y="79"/>
                  </a:lnTo>
                  <a:lnTo>
                    <a:pt x="1038" y="79"/>
                  </a:lnTo>
                  <a:lnTo>
                    <a:pt x="1038" y="79"/>
                  </a:lnTo>
                  <a:lnTo>
                    <a:pt x="1041" y="79"/>
                  </a:lnTo>
                  <a:lnTo>
                    <a:pt x="1041" y="81"/>
                  </a:lnTo>
                  <a:lnTo>
                    <a:pt x="1041" y="81"/>
                  </a:lnTo>
                  <a:lnTo>
                    <a:pt x="1041" y="81"/>
                  </a:lnTo>
                  <a:lnTo>
                    <a:pt x="1043" y="81"/>
                  </a:lnTo>
                  <a:lnTo>
                    <a:pt x="1043" y="81"/>
                  </a:lnTo>
                  <a:lnTo>
                    <a:pt x="1045" y="81"/>
                  </a:lnTo>
                  <a:lnTo>
                    <a:pt x="1045" y="81"/>
                  </a:lnTo>
                  <a:lnTo>
                    <a:pt x="1045" y="81"/>
                  </a:lnTo>
                  <a:lnTo>
                    <a:pt x="1043" y="81"/>
                  </a:lnTo>
                  <a:lnTo>
                    <a:pt x="1043" y="81"/>
                  </a:lnTo>
                  <a:lnTo>
                    <a:pt x="1043" y="81"/>
                  </a:lnTo>
                  <a:lnTo>
                    <a:pt x="1043" y="81"/>
                  </a:lnTo>
                  <a:lnTo>
                    <a:pt x="1043" y="81"/>
                  </a:lnTo>
                  <a:lnTo>
                    <a:pt x="1043" y="81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1" y="84"/>
                  </a:lnTo>
                  <a:lnTo>
                    <a:pt x="1041" y="84"/>
                  </a:lnTo>
                  <a:lnTo>
                    <a:pt x="1041" y="84"/>
                  </a:lnTo>
                  <a:lnTo>
                    <a:pt x="1041" y="84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3" y="84"/>
                  </a:lnTo>
                  <a:lnTo>
                    <a:pt x="1041" y="84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38" y="86"/>
                  </a:lnTo>
                  <a:lnTo>
                    <a:pt x="1038" y="84"/>
                  </a:lnTo>
                  <a:lnTo>
                    <a:pt x="1038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6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41" y="88"/>
                  </a:lnTo>
                  <a:lnTo>
                    <a:pt x="1038" y="88"/>
                  </a:lnTo>
                  <a:lnTo>
                    <a:pt x="1038" y="88"/>
                  </a:lnTo>
                  <a:lnTo>
                    <a:pt x="1038" y="86"/>
                  </a:lnTo>
                  <a:lnTo>
                    <a:pt x="1036" y="86"/>
                  </a:lnTo>
                  <a:lnTo>
                    <a:pt x="1036" y="86"/>
                  </a:lnTo>
                  <a:lnTo>
                    <a:pt x="1036" y="88"/>
                  </a:lnTo>
                  <a:lnTo>
                    <a:pt x="1036" y="88"/>
                  </a:lnTo>
                  <a:lnTo>
                    <a:pt x="1038" y="88"/>
                  </a:lnTo>
                  <a:lnTo>
                    <a:pt x="1038" y="88"/>
                  </a:lnTo>
                  <a:lnTo>
                    <a:pt x="1038" y="88"/>
                  </a:lnTo>
                  <a:lnTo>
                    <a:pt x="1038" y="88"/>
                  </a:lnTo>
                  <a:lnTo>
                    <a:pt x="1041" y="88"/>
                  </a:lnTo>
                  <a:lnTo>
                    <a:pt x="1043" y="88"/>
                  </a:lnTo>
                  <a:lnTo>
                    <a:pt x="1043" y="88"/>
                  </a:lnTo>
                  <a:lnTo>
                    <a:pt x="1045" y="88"/>
                  </a:lnTo>
                  <a:lnTo>
                    <a:pt x="1045" y="90"/>
                  </a:lnTo>
                  <a:lnTo>
                    <a:pt x="1045" y="88"/>
                  </a:lnTo>
                  <a:lnTo>
                    <a:pt x="1045" y="88"/>
                  </a:lnTo>
                  <a:lnTo>
                    <a:pt x="1045" y="88"/>
                  </a:lnTo>
                  <a:lnTo>
                    <a:pt x="1045" y="88"/>
                  </a:lnTo>
                  <a:lnTo>
                    <a:pt x="1047" y="88"/>
                  </a:lnTo>
                  <a:lnTo>
                    <a:pt x="1050" y="88"/>
                  </a:lnTo>
                  <a:lnTo>
                    <a:pt x="1056" y="88"/>
                  </a:lnTo>
                  <a:lnTo>
                    <a:pt x="1059" y="88"/>
                  </a:lnTo>
                  <a:lnTo>
                    <a:pt x="1059" y="88"/>
                  </a:lnTo>
                  <a:lnTo>
                    <a:pt x="1059" y="88"/>
                  </a:lnTo>
                  <a:lnTo>
                    <a:pt x="1059" y="86"/>
                  </a:lnTo>
                  <a:lnTo>
                    <a:pt x="1059" y="86"/>
                  </a:lnTo>
                  <a:lnTo>
                    <a:pt x="1059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4" y="86"/>
                  </a:lnTo>
                  <a:lnTo>
                    <a:pt x="1054" y="84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9" y="84"/>
                  </a:lnTo>
                  <a:lnTo>
                    <a:pt x="1061" y="84"/>
                  </a:lnTo>
                  <a:lnTo>
                    <a:pt x="1061" y="86"/>
                  </a:lnTo>
                  <a:lnTo>
                    <a:pt x="1061" y="86"/>
                  </a:lnTo>
                  <a:lnTo>
                    <a:pt x="1063" y="84"/>
                  </a:lnTo>
                  <a:lnTo>
                    <a:pt x="1065" y="86"/>
                  </a:lnTo>
                  <a:lnTo>
                    <a:pt x="1070" y="84"/>
                  </a:lnTo>
                  <a:lnTo>
                    <a:pt x="1072" y="84"/>
                  </a:lnTo>
                  <a:lnTo>
                    <a:pt x="1074" y="84"/>
                  </a:lnTo>
                  <a:lnTo>
                    <a:pt x="1074" y="84"/>
                  </a:lnTo>
                  <a:lnTo>
                    <a:pt x="1074" y="84"/>
                  </a:lnTo>
                  <a:lnTo>
                    <a:pt x="1074" y="84"/>
                  </a:lnTo>
                  <a:lnTo>
                    <a:pt x="1074" y="84"/>
                  </a:lnTo>
                  <a:lnTo>
                    <a:pt x="1074" y="84"/>
                  </a:lnTo>
                  <a:lnTo>
                    <a:pt x="1074" y="84"/>
                  </a:lnTo>
                  <a:lnTo>
                    <a:pt x="1079" y="84"/>
                  </a:lnTo>
                  <a:lnTo>
                    <a:pt x="1079" y="84"/>
                  </a:lnTo>
                  <a:lnTo>
                    <a:pt x="1079" y="84"/>
                  </a:lnTo>
                  <a:lnTo>
                    <a:pt x="1079" y="84"/>
                  </a:lnTo>
                  <a:lnTo>
                    <a:pt x="1079" y="86"/>
                  </a:lnTo>
                  <a:lnTo>
                    <a:pt x="1081" y="86"/>
                  </a:lnTo>
                  <a:lnTo>
                    <a:pt x="1081" y="86"/>
                  </a:lnTo>
                  <a:lnTo>
                    <a:pt x="1081" y="86"/>
                  </a:lnTo>
                  <a:lnTo>
                    <a:pt x="1083" y="86"/>
                  </a:lnTo>
                  <a:lnTo>
                    <a:pt x="1083" y="86"/>
                  </a:lnTo>
                  <a:lnTo>
                    <a:pt x="1086" y="86"/>
                  </a:lnTo>
                  <a:lnTo>
                    <a:pt x="1086" y="86"/>
                  </a:lnTo>
                  <a:lnTo>
                    <a:pt x="1088" y="84"/>
                  </a:lnTo>
                  <a:lnTo>
                    <a:pt x="1090" y="84"/>
                  </a:lnTo>
                  <a:lnTo>
                    <a:pt x="1092" y="84"/>
                  </a:lnTo>
                  <a:lnTo>
                    <a:pt x="1092" y="84"/>
                  </a:lnTo>
                  <a:lnTo>
                    <a:pt x="1092" y="84"/>
                  </a:lnTo>
                  <a:lnTo>
                    <a:pt x="1092" y="84"/>
                  </a:lnTo>
                  <a:lnTo>
                    <a:pt x="1095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5" y="84"/>
                  </a:lnTo>
                  <a:lnTo>
                    <a:pt x="1095" y="84"/>
                  </a:lnTo>
                  <a:lnTo>
                    <a:pt x="1095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9" y="84"/>
                  </a:lnTo>
                  <a:lnTo>
                    <a:pt x="1099" y="84"/>
                  </a:lnTo>
                  <a:lnTo>
                    <a:pt x="1099" y="84"/>
                  </a:lnTo>
                  <a:lnTo>
                    <a:pt x="1099" y="84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101" y="86"/>
                  </a:lnTo>
                  <a:lnTo>
                    <a:pt x="1101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6" y="86"/>
                  </a:lnTo>
                  <a:lnTo>
                    <a:pt x="1108" y="86"/>
                  </a:lnTo>
                  <a:lnTo>
                    <a:pt x="1113" y="88"/>
                  </a:lnTo>
                  <a:lnTo>
                    <a:pt x="1119" y="88"/>
                  </a:lnTo>
                  <a:lnTo>
                    <a:pt x="1119" y="90"/>
                  </a:lnTo>
                  <a:lnTo>
                    <a:pt x="1117" y="90"/>
                  </a:lnTo>
                  <a:lnTo>
                    <a:pt x="1117" y="93"/>
                  </a:lnTo>
                  <a:lnTo>
                    <a:pt x="1117" y="90"/>
                  </a:lnTo>
                  <a:lnTo>
                    <a:pt x="1119" y="90"/>
                  </a:lnTo>
                  <a:lnTo>
                    <a:pt x="1119" y="90"/>
                  </a:lnTo>
                  <a:lnTo>
                    <a:pt x="1119" y="90"/>
                  </a:lnTo>
                  <a:lnTo>
                    <a:pt x="1119" y="90"/>
                  </a:lnTo>
                  <a:lnTo>
                    <a:pt x="1122" y="90"/>
                  </a:lnTo>
                  <a:lnTo>
                    <a:pt x="1122" y="90"/>
                  </a:lnTo>
                  <a:lnTo>
                    <a:pt x="1122" y="90"/>
                  </a:lnTo>
                  <a:lnTo>
                    <a:pt x="1122" y="90"/>
                  </a:lnTo>
                  <a:lnTo>
                    <a:pt x="1128" y="90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3" y="93"/>
                  </a:lnTo>
                  <a:lnTo>
                    <a:pt x="1133" y="93"/>
                  </a:lnTo>
                  <a:lnTo>
                    <a:pt x="1133" y="93"/>
                  </a:lnTo>
                  <a:lnTo>
                    <a:pt x="1133" y="93"/>
                  </a:lnTo>
                  <a:lnTo>
                    <a:pt x="1133" y="93"/>
                  </a:lnTo>
                  <a:lnTo>
                    <a:pt x="1133" y="93"/>
                  </a:lnTo>
                  <a:lnTo>
                    <a:pt x="1133" y="93"/>
                  </a:lnTo>
                  <a:lnTo>
                    <a:pt x="1130" y="95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3"/>
                  </a:lnTo>
                  <a:lnTo>
                    <a:pt x="1130" y="95"/>
                  </a:lnTo>
                  <a:lnTo>
                    <a:pt x="1133" y="95"/>
                  </a:lnTo>
                  <a:lnTo>
                    <a:pt x="1133" y="95"/>
                  </a:lnTo>
                  <a:lnTo>
                    <a:pt x="1135" y="95"/>
                  </a:lnTo>
                  <a:lnTo>
                    <a:pt x="1135" y="95"/>
                  </a:lnTo>
                  <a:lnTo>
                    <a:pt x="1137" y="95"/>
                  </a:lnTo>
                  <a:lnTo>
                    <a:pt x="1137" y="97"/>
                  </a:lnTo>
                  <a:lnTo>
                    <a:pt x="1137" y="97"/>
                  </a:lnTo>
                  <a:lnTo>
                    <a:pt x="1137" y="97"/>
                  </a:lnTo>
                  <a:lnTo>
                    <a:pt x="1135" y="97"/>
                  </a:lnTo>
                  <a:lnTo>
                    <a:pt x="1135" y="97"/>
                  </a:lnTo>
                  <a:lnTo>
                    <a:pt x="1135" y="97"/>
                  </a:lnTo>
                  <a:lnTo>
                    <a:pt x="1139" y="97"/>
                  </a:lnTo>
                  <a:lnTo>
                    <a:pt x="1139" y="97"/>
                  </a:lnTo>
                  <a:lnTo>
                    <a:pt x="1139" y="97"/>
                  </a:lnTo>
                  <a:lnTo>
                    <a:pt x="1139" y="97"/>
                  </a:lnTo>
                  <a:lnTo>
                    <a:pt x="1139" y="95"/>
                  </a:lnTo>
                  <a:lnTo>
                    <a:pt x="1139" y="95"/>
                  </a:lnTo>
                  <a:lnTo>
                    <a:pt x="1139" y="95"/>
                  </a:lnTo>
                  <a:lnTo>
                    <a:pt x="1139" y="95"/>
                  </a:lnTo>
                  <a:lnTo>
                    <a:pt x="1139" y="95"/>
                  </a:lnTo>
                  <a:lnTo>
                    <a:pt x="1139" y="95"/>
                  </a:lnTo>
                  <a:lnTo>
                    <a:pt x="1142" y="95"/>
                  </a:lnTo>
                  <a:lnTo>
                    <a:pt x="1144" y="95"/>
                  </a:lnTo>
                  <a:lnTo>
                    <a:pt x="1144" y="95"/>
                  </a:lnTo>
                  <a:lnTo>
                    <a:pt x="1142" y="95"/>
                  </a:lnTo>
                  <a:lnTo>
                    <a:pt x="1142" y="95"/>
                  </a:lnTo>
                  <a:lnTo>
                    <a:pt x="1142" y="95"/>
                  </a:lnTo>
                  <a:lnTo>
                    <a:pt x="1142" y="95"/>
                  </a:lnTo>
                  <a:lnTo>
                    <a:pt x="1139" y="95"/>
                  </a:lnTo>
                  <a:lnTo>
                    <a:pt x="1137" y="95"/>
                  </a:lnTo>
                  <a:lnTo>
                    <a:pt x="1137" y="93"/>
                  </a:lnTo>
                  <a:lnTo>
                    <a:pt x="1137" y="93"/>
                  </a:lnTo>
                  <a:lnTo>
                    <a:pt x="1135" y="93"/>
                  </a:lnTo>
                  <a:lnTo>
                    <a:pt x="1135" y="93"/>
                  </a:lnTo>
                  <a:lnTo>
                    <a:pt x="1137" y="93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9" y="95"/>
                  </a:lnTo>
                  <a:lnTo>
                    <a:pt x="1139" y="95"/>
                  </a:lnTo>
                  <a:lnTo>
                    <a:pt x="1142" y="95"/>
                  </a:lnTo>
                  <a:lnTo>
                    <a:pt x="1142" y="95"/>
                  </a:lnTo>
                  <a:lnTo>
                    <a:pt x="1142" y="95"/>
                  </a:lnTo>
                  <a:lnTo>
                    <a:pt x="1144" y="95"/>
                  </a:lnTo>
                  <a:lnTo>
                    <a:pt x="1146" y="95"/>
                  </a:lnTo>
                  <a:lnTo>
                    <a:pt x="1146" y="95"/>
                  </a:lnTo>
                  <a:lnTo>
                    <a:pt x="1146" y="95"/>
                  </a:lnTo>
                  <a:lnTo>
                    <a:pt x="1146" y="97"/>
                  </a:lnTo>
                  <a:lnTo>
                    <a:pt x="1146" y="97"/>
                  </a:lnTo>
                  <a:lnTo>
                    <a:pt x="1148" y="97"/>
                  </a:lnTo>
                  <a:lnTo>
                    <a:pt x="1148" y="97"/>
                  </a:lnTo>
                  <a:lnTo>
                    <a:pt x="1148" y="97"/>
                  </a:lnTo>
                  <a:lnTo>
                    <a:pt x="1148" y="97"/>
                  </a:lnTo>
                  <a:lnTo>
                    <a:pt x="1148" y="97"/>
                  </a:lnTo>
                  <a:lnTo>
                    <a:pt x="1148" y="97"/>
                  </a:lnTo>
                  <a:lnTo>
                    <a:pt x="1151" y="97"/>
                  </a:lnTo>
                  <a:lnTo>
                    <a:pt x="1151" y="97"/>
                  </a:lnTo>
                  <a:lnTo>
                    <a:pt x="1151" y="97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1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5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3" y="99"/>
                  </a:lnTo>
                  <a:lnTo>
                    <a:pt x="1155" y="99"/>
                  </a:lnTo>
                  <a:lnTo>
                    <a:pt x="1155" y="99"/>
                  </a:lnTo>
                  <a:lnTo>
                    <a:pt x="1155" y="99"/>
                  </a:lnTo>
                  <a:lnTo>
                    <a:pt x="1155" y="99"/>
                  </a:lnTo>
                  <a:lnTo>
                    <a:pt x="1155" y="99"/>
                  </a:lnTo>
                  <a:lnTo>
                    <a:pt x="1155" y="99"/>
                  </a:lnTo>
                  <a:lnTo>
                    <a:pt x="1155" y="99"/>
                  </a:lnTo>
                  <a:lnTo>
                    <a:pt x="1157" y="99"/>
                  </a:lnTo>
                  <a:lnTo>
                    <a:pt x="1157" y="102"/>
                  </a:lnTo>
                  <a:lnTo>
                    <a:pt x="1160" y="102"/>
                  </a:lnTo>
                  <a:lnTo>
                    <a:pt x="1160" y="102"/>
                  </a:lnTo>
                  <a:lnTo>
                    <a:pt x="1160" y="102"/>
                  </a:lnTo>
                  <a:lnTo>
                    <a:pt x="1160" y="102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2" y="104"/>
                  </a:lnTo>
                  <a:lnTo>
                    <a:pt x="1162" y="106"/>
                  </a:lnTo>
                  <a:lnTo>
                    <a:pt x="1160" y="106"/>
                  </a:lnTo>
                  <a:lnTo>
                    <a:pt x="1162" y="106"/>
                  </a:lnTo>
                  <a:lnTo>
                    <a:pt x="1160" y="106"/>
                  </a:lnTo>
                  <a:lnTo>
                    <a:pt x="1160" y="106"/>
                  </a:lnTo>
                  <a:lnTo>
                    <a:pt x="1160" y="106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60" y="104"/>
                  </a:lnTo>
                  <a:lnTo>
                    <a:pt x="1153" y="104"/>
                  </a:lnTo>
                  <a:lnTo>
                    <a:pt x="1151" y="104"/>
                  </a:lnTo>
                  <a:lnTo>
                    <a:pt x="1151" y="104"/>
                  </a:lnTo>
                  <a:lnTo>
                    <a:pt x="1151" y="104"/>
                  </a:lnTo>
                  <a:lnTo>
                    <a:pt x="1151" y="104"/>
                  </a:lnTo>
                  <a:lnTo>
                    <a:pt x="1151" y="104"/>
                  </a:lnTo>
                  <a:lnTo>
                    <a:pt x="1139" y="99"/>
                  </a:lnTo>
                  <a:lnTo>
                    <a:pt x="1137" y="99"/>
                  </a:lnTo>
                  <a:lnTo>
                    <a:pt x="1137" y="102"/>
                  </a:lnTo>
                  <a:lnTo>
                    <a:pt x="1137" y="102"/>
                  </a:lnTo>
                  <a:lnTo>
                    <a:pt x="1137" y="102"/>
                  </a:lnTo>
                  <a:lnTo>
                    <a:pt x="1137" y="102"/>
                  </a:lnTo>
                  <a:lnTo>
                    <a:pt x="1139" y="102"/>
                  </a:lnTo>
                  <a:lnTo>
                    <a:pt x="1139" y="102"/>
                  </a:lnTo>
                  <a:lnTo>
                    <a:pt x="1139" y="102"/>
                  </a:lnTo>
                  <a:lnTo>
                    <a:pt x="1139" y="102"/>
                  </a:lnTo>
                  <a:lnTo>
                    <a:pt x="1139" y="102"/>
                  </a:lnTo>
                  <a:lnTo>
                    <a:pt x="1139" y="102"/>
                  </a:lnTo>
                  <a:lnTo>
                    <a:pt x="1142" y="102"/>
                  </a:lnTo>
                  <a:lnTo>
                    <a:pt x="1142" y="102"/>
                  </a:lnTo>
                  <a:lnTo>
                    <a:pt x="1142" y="102"/>
                  </a:lnTo>
                  <a:lnTo>
                    <a:pt x="1144" y="102"/>
                  </a:lnTo>
                  <a:lnTo>
                    <a:pt x="1144" y="102"/>
                  </a:lnTo>
                  <a:lnTo>
                    <a:pt x="1146" y="102"/>
                  </a:lnTo>
                  <a:lnTo>
                    <a:pt x="1146" y="102"/>
                  </a:lnTo>
                  <a:lnTo>
                    <a:pt x="1146" y="102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8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6" y="104"/>
                  </a:lnTo>
                  <a:lnTo>
                    <a:pt x="1148" y="104"/>
                  </a:lnTo>
                  <a:lnTo>
                    <a:pt x="1148" y="104"/>
                  </a:lnTo>
                  <a:lnTo>
                    <a:pt x="1148" y="104"/>
                  </a:lnTo>
                  <a:lnTo>
                    <a:pt x="1148" y="104"/>
                  </a:lnTo>
                  <a:lnTo>
                    <a:pt x="1148" y="104"/>
                  </a:lnTo>
                  <a:lnTo>
                    <a:pt x="1148" y="104"/>
                  </a:lnTo>
                  <a:lnTo>
                    <a:pt x="1148" y="106"/>
                  </a:lnTo>
                  <a:lnTo>
                    <a:pt x="1151" y="106"/>
                  </a:lnTo>
                  <a:lnTo>
                    <a:pt x="1151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1" y="106"/>
                  </a:lnTo>
                  <a:lnTo>
                    <a:pt x="1151" y="104"/>
                  </a:lnTo>
                  <a:lnTo>
                    <a:pt x="1151" y="104"/>
                  </a:lnTo>
                  <a:lnTo>
                    <a:pt x="1153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7" y="106"/>
                  </a:lnTo>
                  <a:lnTo>
                    <a:pt x="1157" y="106"/>
                  </a:lnTo>
                  <a:lnTo>
                    <a:pt x="1162" y="106"/>
                  </a:lnTo>
                  <a:lnTo>
                    <a:pt x="1162" y="106"/>
                  </a:lnTo>
                  <a:lnTo>
                    <a:pt x="1162" y="106"/>
                  </a:lnTo>
                  <a:lnTo>
                    <a:pt x="1162" y="106"/>
                  </a:lnTo>
                  <a:lnTo>
                    <a:pt x="1164" y="106"/>
                  </a:lnTo>
                  <a:lnTo>
                    <a:pt x="1164" y="106"/>
                  </a:lnTo>
                  <a:lnTo>
                    <a:pt x="1164" y="106"/>
                  </a:lnTo>
                  <a:lnTo>
                    <a:pt x="1164" y="106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11"/>
                  </a:lnTo>
                  <a:lnTo>
                    <a:pt x="1166" y="111"/>
                  </a:lnTo>
                  <a:lnTo>
                    <a:pt x="1166" y="111"/>
                  </a:lnTo>
                  <a:lnTo>
                    <a:pt x="1166" y="111"/>
                  </a:lnTo>
                  <a:lnTo>
                    <a:pt x="1166" y="111"/>
                  </a:lnTo>
                  <a:lnTo>
                    <a:pt x="1166" y="111"/>
                  </a:lnTo>
                  <a:lnTo>
                    <a:pt x="1166" y="111"/>
                  </a:lnTo>
                  <a:lnTo>
                    <a:pt x="1166" y="113"/>
                  </a:lnTo>
                  <a:lnTo>
                    <a:pt x="1164" y="113"/>
                  </a:lnTo>
                  <a:lnTo>
                    <a:pt x="1164" y="115"/>
                  </a:lnTo>
                  <a:lnTo>
                    <a:pt x="1164" y="115"/>
                  </a:lnTo>
                  <a:lnTo>
                    <a:pt x="1164" y="115"/>
                  </a:lnTo>
                  <a:lnTo>
                    <a:pt x="1164" y="115"/>
                  </a:lnTo>
                  <a:lnTo>
                    <a:pt x="1164" y="115"/>
                  </a:lnTo>
                  <a:lnTo>
                    <a:pt x="1164" y="115"/>
                  </a:lnTo>
                  <a:lnTo>
                    <a:pt x="1160" y="117"/>
                  </a:lnTo>
                  <a:lnTo>
                    <a:pt x="1160" y="117"/>
                  </a:lnTo>
                  <a:lnTo>
                    <a:pt x="1155" y="117"/>
                  </a:lnTo>
                  <a:lnTo>
                    <a:pt x="1155" y="120"/>
                  </a:lnTo>
                  <a:lnTo>
                    <a:pt x="1157" y="120"/>
                  </a:lnTo>
                  <a:lnTo>
                    <a:pt x="1157" y="120"/>
                  </a:lnTo>
                  <a:lnTo>
                    <a:pt x="1157" y="120"/>
                  </a:lnTo>
                  <a:lnTo>
                    <a:pt x="1155" y="120"/>
                  </a:lnTo>
                  <a:lnTo>
                    <a:pt x="1155" y="120"/>
                  </a:lnTo>
                  <a:lnTo>
                    <a:pt x="1155" y="120"/>
                  </a:lnTo>
                  <a:lnTo>
                    <a:pt x="1155" y="122"/>
                  </a:lnTo>
                  <a:lnTo>
                    <a:pt x="1155" y="122"/>
                  </a:lnTo>
                  <a:lnTo>
                    <a:pt x="1155" y="122"/>
                  </a:lnTo>
                  <a:lnTo>
                    <a:pt x="1157" y="122"/>
                  </a:lnTo>
                  <a:lnTo>
                    <a:pt x="1157" y="122"/>
                  </a:lnTo>
                  <a:lnTo>
                    <a:pt x="1157" y="122"/>
                  </a:lnTo>
                  <a:lnTo>
                    <a:pt x="1155" y="122"/>
                  </a:lnTo>
                  <a:lnTo>
                    <a:pt x="1155" y="122"/>
                  </a:lnTo>
                  <a:lnTo>
                    <a:pt x="1155" y="122"/>
                  </a:lnTo>
                  <a:lnTo>
                    <a:pt x="1155" y="122"/>
                  </a:lnTo>
                  <a:lnTo>
                    <a:pt x="1151" y="122"/>
                  </a:lnTo>
                  <a:lnTo>
                    <a:pt x="1151" y="122"/>
                  </a:lnTo>
                  <a:lnTo>
                    <a:pt x="1148" y="124"/>
                  </a:lnTo>
                  <a:lnTo>
                    <a:pt x="1146" y="124"/>
                  </a:lnTo>
                  <a:lnTo>
                    <a:pt x="1146" y="124"/>
                  </a:lnTo>
                  <a:lnTo>
                    <a:pt x="1146" y="124"/>
                  </a:lnTo>
                  <a:lnTo>
                    <a:pt x="1146" y="124"/>
                  </a:lnTo>
                  <a:lnTo>
                    <a:pt x="1148" y="124"/>
                  </a:lnTo>
                  <a:lnTo>
                    <a:pt x="1148" y="124"/>
                  </a:lnTo>
                  <a:lnTo>
                    <a:pt x="1146" y="124"/>
                  </a:lnTo>
                  <a:lnTo>
                    <a:pt x="1144" y="124"/>
                  </a:lnTo>
                  <a:lnTo>
                    <a:pt x="1144" y="124"/>
                  </a:lnTo>
                  <a:lnTo>
                    <a:pt x="1142" y="126"/>
                  </a:lnTo>
                  <a:lnTo>
                    <a:pt x="1142" y="126"/>
                  </a:lnTo>
                  <a:lnTo>
                    <a:pt x="1139" y="126"/>
                  </a:lnTo>
                  <a:lnTo>
                    <a:pt x="1139" y="126"/>
                  </a:lnTo>
                  <a:lnTo>
                    <a:pt x="1139" y="126"/>
                  </a:lnTo>
                  <a:lnTo>
                    <a:pt x="1139" y="126"/>
                  </a:lnTo>
                  <a:lnTo>
                    <a:pt x="1139" y="126"/>
                  </a:lnTo>
                  <a:lnTo>
                    <a:pt x="1139" y="126"/>
                  </a:lnTo>
                  <a:lnTo>
                    <a:pt x="1142" y="126"/>
                  </a:lnTo>
                  <a:lnTo>
                    <a:pt x="1142" y="126"/>
                  </a:lnTo>
                  <a:lnTo>
                    <a:pt x="1142" y="126"/>
                  </a:lnTo>
                  <a:lnTo>
                    <a:pt x="1139" y="129"/>
                  </a:lnTo>
                  <a:lnTo>
                    <a:pt x="1137" y="129"/>
                  </a:lnTo>
                  <a:lnTo>
                    <a:pt x="1137" y="129"/>
                  </a:lnTo>
                  <a:lnTo>
                    <a:pt x="1137" y="129"/>
                  </a:lnTo>
                  <a:lnTo>
                    <a:pt x="1137" y="129"/>
                  </a:lnTo>
                  <a:lnTo>
                    <a:pt x="1135" y="129"/>
                  </a:lnTo>
                  <a:lnTo>
                    <a:pt x="1135" y="129"/>
                  </a:lnTo>
                  <a:lnTo>
                    <a:pt x="1135" y="129"/>
                  </a:lnTo>
                  <a:lnTo>
                    <a:pt x="1135" y="129"/>
                  </a:lnTo>
                  <a:lnTo>
                    <a:pt x="1135" y="129"/>
                  </a:lnTo>
                  <a:lnTo>
                    <a:pt x="1135" y="129"/>
                  </a:lnTo>
                  <a:lnTo>
                    <a:pt x="1135" y="129"/>
                  </a:lnTo>
                  <a:lnTo>
                    <a:pt x="1133" y="129"/>
                  </a:lnTo>
                  <a:lnTo>
                    <a:pt x="1133" y="129"/>
                  </a:lnTo>
                  <a:lnTo>
                    <a:pt x="1133" y="129"/>
                  </a:lnTo>
                  <a:lnTo>
                    <a:pt x="1133" y="129"/>
                  </a:lnTo>
                  <a:lnTo>
                    <a:pt x="1133" y="129"/>
                  </a:lnTo>
                  <a:lnTo>
                    <a:pt x="1135" y="129"/>
                  </a:lnTo>
                  <a:lnTo>
                    <a:pt x="1137" y="129"/>
                  </a:lnTo>
                  <a:lnTo>
                    <a:pt x="1137" y="129"/>
                  </a:lnTo>
                  <a:lnTo>
                    <a:pt x="1137" y="129"/>
                  </a:lnTo>
                  <a:lnTo>
                    <a:pt x="1139" y="129"/>
                  </a:lnTo>
                  <a:lnTo>
                    <a:pt x="1139" y="131"/>
                  </a:lnTo>
                  <a:lnTo>
                    <a:pt x="1139" y="131"/>
                  </a:lnTo>
                  <a:lnTo>
                    <a:pt x="1139" y="131"/>
                  </a:lnTo>
                  <a:lnTo>
                    <a:pt x="1139" y="131"/>
                  </a:lnTo>
                  <a:lnTo>
                    <a:pt x="1137" y="133"/>
                  </a:lnTo>
                  <a:lnTo>
                    <a:pt x="1135" y="133"/>
                  </a:lnTo>
                  <a:lnTo>
                    <a:pt x="1133" y="133"/>
                  </a:lnTo>
                  <a:lnTo>
                    <a:pt x="1130" y="135"/>
                  </a:lnTo>
                  <a:lnTo>
                    <a:pt x="1130" y="135"/>
                  </a:lnTo>
                  <a:lnTo>
                    <a:pt x="1130" y="135"/>
                  </a:lnTo>
                  <a:lnTo>
                    <a:pt x="1130" y="135"/>
                  </a:lnTo>
                  <a:lnTo>
                    <a:pt x="1128" y="135"/>
                  </a:lnTo>
                  <a:lnTo>
                    <a:pt x="1128" y="135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8" y="138"/>
                  </a:lnTo>
                  <a:lnTo>
                    <a:pt x="1126" y="138"/>
                  </a:lnTo>
                  <a:lnTo>
                    <a:pt x="1126" y="138"/>
                  </a:lnTo>
                  <a:lnTo>
                    <a:pt x="1128" y="140"/>
                  </a:lnTo>
                  <a:lnTo>
                    <a:pt x="1128" y="140"/>
                  </a:lnTo>
                  <a:lnTo>
                    <a:pt x="1128" y="140"/>
                  </a:lnTo>
                  <a:lnTo>
                    <a:pt x="1128" y="140"/>
                  </a:lnTo>
                  <a:lnTo>
                    <a:pt x="1126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0"/>
                  </a:lnTo>
                  <a:lnTo>
                    <a:pt x="1124" y="142"/>
                  </a:lnTo>
                  <a:lnTo>
                    <a:pt x="1122" y="142"/>
                  </a:lnTo>
                  <a:lnTo>
                    <a:pt x="1122" y="142"/>
                  </a:lnTo>
                  <a:lnTo>
                    <a:pt x="1119" y="142"/>
                  </a:lnTo>
                  <a:lnTo>
                    <a:pt x="1115" y="142"/>
                  </a:lnTo>
                  <a:lnTo>
                    <a:pt x="1115" y="142"/>
                  </a:lnTo>
                  <a:lnTo>
                    <a:pt x="1115" y="142"/>
                  </a:lnTo>
                  <a:lnTo>
                    <a:pt x="1115" y="142"/>
                  </a:lnTo>
                  <a:lnTo>
                    <a:pt x="1113" y="142"/>
                  </a:lnTo>
                  <a:lnTo>
                    <a:pt x="1113" y="142"/>
                  </a:lnTo>
                  <a:lnTo>
                    <a:pt x="1113" y="142"/>
                  </a:lnTo>
                  <a:lnTo>
                    <a:pt x="1113" y="142"/>
                  </a:lnTo>
                  <a:lnTo>
                    <a:pt x="1113" y="142"/>
                  </a:lnTo>
                  <a:lnTo>
                    <a:pt x="1113" y="142"/>
                  </a:lnTo>
                  <a:lnTo>
                    <a:pt x="1113" y="142"/>
                  </a:lnTo>
                  <a:lnTo>
                    <a:pt x="1115" y="144"/>
                  </a:lnTo>
                  <a:lnTo>
                    <a:pt x="1115" y="144"/>
                  </a:lnTo>
                  <a:lnTo>
                    <a:pt x="1113" y="144"/>
                  </a:lnTo>
                  <a:lnTo>
                    <a:pt x="1113" y="144"/>
                  </a:lnTo>
                  <a:lnTo>
                    <a:pt x="1113" y="144"/>
                  </a:lnTo>
                  <a:lnTo>
                    <a:pt x="1113" y="144"/>
                  </a:lnTo>
                  <a:lnTo>
                    <a:pt x="1113" y="147"/>
                  </a:lnTo>
                  <a:lnTo>
                    <a:pt x="1113" y="147"/>
                  </a:lnTo>
                  <a:lnTo>
                    <a:pt x="1113" y="147"/>
                  </a:lnTo>
                  <a:lnTo>
                    <a:pt x="1113" y="147"/>
                  </a:lnTo>
                  <a:lnTo>
                    <a:pt x="1113" y="147"/>
                  </a:lnTo>
                  <a:lnTo>
                    <a:pt x="1110" y="149"/>
                  </a:lnTo>
                  <a:lnTo>
                    <a:pt x="1110" y="149"/>
                  </a:lnTo>
                  <a:lnTo>
                    <a:pt x="1108" y="147"/>
                  </a:lnTo>
                  <a:lnTo>
                    <a:pt x="1108" y="147"/>
                  </a:lnTo>
                  <a:lnTo>
                    <a:pt x="1108" y="149"/>
                  </a:lnTo>
                  <a:lnTo>
                    <a:pt x="1106" y="147"/>
                  </a:lnTo>
                  <a:lnTo>
                    <a:pt x="1104" y="149"/>
                  </a:lnTo>
                  <a:lnTo>
                    <a:pt x="1104" y="149"/>
                  </a:lnTo>
                  <a:lnTo>
                    <a:pt x="1104" y="149"/>
                  </a:lnTo>
                  <a:lnTo>
                    <a:pt x="1104" y="149"/>
                  </a:lnTo>
                  <a:lnTo>
                    <a:pt x="1104" y="149"/>
                  </a:lnTo>
                  <a:lnTo>
                    <a:pt x="1106" y="151"/>
                  </a:lnTo>
                  <a:lnTo>
                    <a:pt x="1106" y="151"/>
                  </a:lnTo>
                  <a:lnTo>
                    <a:pt x="1106" y="151"/>
                  </a:lnTo>
                  <a:lnTo>
                    <a:pt x="1104" y="151"/>
                  </a:lnTo>
                  <a:lnTo>
                    <a:pt x="1104" y="151"/>
                  </a:lnTo>
                  <a:lnTo>
                    <a:pt x="1104" y="153"/>
                  </a:lnTo>
                  <a:lnTo>
                    <a:pt x="1106" y="153"/>
                  </a:lnTo>
                  <a:lnTo>
                    <a:pt x="1106" y="153"/>
                  </a:lnTo>
                  <a:lnTo>
                    <a:pt x="1106" y="153"/>
                  </a:lnTo>
                  <a:lnTo>
                    <a:pt x="1106" y="153"/>
                  </a:lnTo>
                  <a:lnTo>
                    <a:pt x="1106" y="153"/>
                  </a:lnTo>
                  <a:lnTo>
                    <a:pt x="1106" y="156"/>
                  </a:lnTo>
                  <a:lnTo>
                    <a:pt x="1106" y="156"/>
                  </a:lnTo>
                  <a:lnTo>
                    <a:pt x="1106" y="156"/>
                  </a:lnTo>
                  <a:lnTo>
                    <a:pt x="1104" y="156"/>
                  </a:lnTo>
                  <a:lnTo>
                    <a:pt x="1104" y="156"/>
                  </a:lnTo>
                  <a:lnTo>
                    <a:pt x="1101" y="158"/>
                  </a:lnTo>
                  <a:lnTo>
                    <a:pt x="1101" y="158"/>
                  </a:lnTo>
                  <a:lnTo>
                    <a:pt x="1099" y="158"/>
                  </a:lnTo>
                  <a:lnTo>
                    <a:pt x="1099" y="158"/>
                  </a:lnTo>
                  <a:lnTo>
                    <a:pt x="1099" y="158"/>
                  </a:lnTo>
                  <a:lnTo>
                    <a:pt x="1106" y="158"/>
                  </a:lnTo>
                  <a:lnTo>
                    <a:pt x="1106" y="158"/>
                  </a:lnTo>
                  <a:lnTo>
                    <a:pt x="1106" y="158"/>
                  </a:lnTo>
                  <a:lnTo>
                    <a:pt x="1106" y="158"/>
                  </a:lnTo>
                  <a:lnTo>
                    <a:pt x="1108" y="158"/>
                  </a:lnTo>
                  <a:lnTo>
                    <a:pt x="1108" y="158"/>
                  </a:lnTo>
                  <a:lnTo>
                    <a:pt x="1108" y="156"/>
                  </a:lnTo>
                  <a:lnTo>
                    <a:pt x="1108" y="156"/>
                  </a:lnTo>
                  <a:lnTo>
                    <a:pt x="1108" y="156"/>
                  </a:lnTo>
                  <a:lnTo>
                    <a:pt x="1110" y="156"/>
                  </a:lnTo>
                  <a:lnTo>
                    <a:pt x="1110" y="156"/>
                  </a:lnTo>
                  <a:lnTo>
                    <a:pt x="1110" y="156"/>
                  </a:lnTo>
                  <a:lnTo>
                    <a:pt x="1110" y="156"/>
                  </a:lnTo>
                  <a:lnTo>
                    <a:pt x="1110" y="156"/>
                  </a:lnTo>
                  <a:lnTo>
                    <a:pt x="1110" y="156"/>
                  </a:lnTo>
                  <a:lnTo>
                    <a:pt x="1113" y="156"/>
                  </a:lnTo>
                  <a:lnTo>
                    <a:pt x="1113" y="153"/>
                  </a:lnTo>
                  <a:lnTo>
                    <a:pt x="1113" y="153"/>
                  </a:lnTo>
                  <a:lnTo>
                    <a:pt x="1113" y="153"/>
                  </a:lnTo>
                  <a:lnTo>
                    <a:pt x="1110" y="153"/>
                  </a:lnTo>
                  <a:lnTo>
                    <a:pt x="1110" y="153"/>
                  </a:lnTo>
                  <a:lnTo>
                    <a:pt x="1110" y="153"/>
                  </a:lnTo>
                  <a:lnTo>
                    <a:pt x="1110" y="153"/>
                  </a:lnTo>
                  <a:lnTo>
                    <a:pt x="1110" y="153"/>
                  </a:lnTo>
                  <a:lnTo>
                    <a:pt x="1108" y="153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08" y="151"/>
                  </a:lnTo>
                  <a:lnTo>
                    <a:pt x="1110" y="151"/>
                  </a:lnTo>
                  <a:lnTo>
                    <a:pt x="1117" y="151"/>
                  </a:lnTo>
                  <a:lnTo>
                    <a:pt x="1117" y="151"/>
                  </a:lnTo>
                  <a:lnTo>
                    <a:pt x="1119" y="151"/>
                  </a:lnTo>
                  <a:lnTo>
                    <a:pt x="1119" y="151"/>
                  </a:lnTo>
                  <a:lnTo>
                    <a:pt x="1124" y="151"/>
                  </a:lnTo>
                  <a:lnTo>
                    <a:pt x="1126" y="151"/>
                  </a:lnTo>
                  <a:lnTo>
                    <a:pt x="1130" y="151"/>
                  </a:lnTo>
                  <a:lnTo>
                    <a:pt x="1130" y="151"/>
                  </a:lnTo>
                  <a:lnTo>
                    <a:pt x="1133" y="149"/>
                  </a:lnTo>
                  <a:lnTo>
                    <a:pt x="1133" y="149"/>
                  </a:lnTo>
                  <a:lnTo>
                    <a:pt x="1135" y="149"/>
                  </a:lnTo>
                  <a:lnTo>
                    <a:pt x="1137" y="149"/>
                  </a:lnTo>
                  <a:lnTo>
                    <a:pt x="1137" y="149"/>
                  </a:lnTo>
                  <a:lnTo>
                    <a:pt x="1137" y="149"/>
                  </a:lnTo>
                  <a:lnTo>
                    <a:pt x="1137" y="149"/>
                  </a:lnTo>
                  <a:lnTo>
                    <a:pt x="1137" y="149"/>
                  </a:lnTo>
                  <a:lnTo>
                    <a:pt x="1135" y="149"/>
                  </a:lnTo>
                  <a:lnTo>
                    <a:pt x="1135" y="149"/>
                  </a:lnTo>
                  <a:lnTo>
                    <a:pt x="1135" y="149"/>
                  </a:lnTo>
                  <a:lnTo>
                    <a:pt x="1137" y="149"/>
                  </a:lnTo>
                  <a:lnTo>
                    <a:pt x="1139" y="149"/>
                  </a:lnTo>
                  <a:lnTo>
                    <a:pt x="1139" y="147"/>
                  </a:lnTo>
                  <a:lnTo>
                    <a:pt x="1144" y="147"/>
                  </a:lnTo>
                  <a:lnTo>
                    <a:pt x="1144" y="147"/>
                  </a:lnTo>
                  <a:lnTo>
                    <a:pt x="1146" y="147"/>
                  </a:lnTo>
                  <a:lnTo>
                    <a:pt x="1146" y="147"/>
                  </a:lnTo>
                  <a:lnTo>
                    <a:pt x="1146" y="147"/>
                  </a:lnTo>
                  <a:lnTo>
                    <a:pt x="1146" y="147"/>
                  </a:lnTo>
                  <a:lnTo>
                    <a:pt x="1146" y="147"/>
                  </a:lnTo>
                  <a:lnTo>
                    <a:pt x="1146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6" y="144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7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46" y="144"/>
                  </a:lnTo>
                  <a:lnTo>
                    <a:pt x="1146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4" y="144"/>
                  </a:lnTo>
                  <a:lnTo>
                    <a:pt x="1146" y="144"/>
                  </a:lnTo>
                  <a:lnTo>
                    <a:pt x="1146" y="144"/>
                  </a:lnTo>
                  <a:lnTo>
                    <a:pt x="1148" y="144"/>
                  </a:lnTo>
                  <a:lnTo>
                    <a:pt x="1148" y="144"/>
                  </a:lnTo>
                  <a:lnTo>
                    <a:pt x="1151" y="144"/>
                  </a:lnTo>
                  <a:lnTo>
                    <a:pt x="1153" y="144"/>
                  </a:lnTo>
                  <a:lnTo>
                    <a:pt x="1155" y="144"/>
                  </a:lnTo>
                  <a:lnTo>
                    <a:pt x="1155" y="144"/>
                  </a:lnTo>
                  <a:lnTo>
                    <a:pt x="1157" y="144"/>
                  </a:lnTo>
                  <a:lnTo>
                    <a:pt x="1157" y="144"/>
                  </a:lnTo>
                  <a:lnTo>
                    <a:pt x="1157" y="144"/>
                  </a:lnTo>
                  <a:lnTo>
                    <a:pt x="1157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7" y="142"/>
                  </a:lnTo>
                  <a:lnTo>
                    <a:pt x="1160" y="142"/>
                  </a:lnTo>
                  <a:lnTo>
                    <a:pt x="1160" y="142"/>
                  </a:lnTo>
                  <a:lnTo>
                    <a:pt x="1160" y="142"/>
                  </a:lnTo>
                  <a:lnTo>
                    <a:pt x="1160" y="142"/>
                  </a:lnTo>
                  <a:lnTo>
                    <a:pt x="1160" y="142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4" y="140"/>
                  </a:lnTo>
                  <a:lnTo>
                    <a:pt x="1160" y="140"/>
                  </a:lnTo>
                  <a:lnTo>
                    <a:pt x="1160" y="140"/>
                  </a:lnTo>
                  <a:lnTo>
                    <a:pt x="1160" y="140"/>
                  </a:lnTo>
                  <a:lnTo>
                    <a:pt x="1155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6" y="140"/>
                  </a:lnTo>
                  <a:lnTo>
                    <a:pt x="1146" y="140"/>
                  </a:lnTo>
                  <a:lnTo>
                    <a:pt x="1144" y="140"/>
                  </a:lnTo>
                  <a:lnTo>
                    <a:pt x="1144" y="140"/>
                  </a:lnTo>
                  <a:lnTo>
                    <a:pt x="1144" y="140"/>
                  </a:lnTo>
                  <a:lnTo>
                    <a:pt x="1142" y="138"/>
                  </a:lnTo>
                  <a:lnTo>
                    <a:pt x="1142" y="138"/>
                  </a:lnTo>
                  <a:lnTo>
                    <a:pt x="1142" y="138"/>
                  </a:lnTo>
                  <a:lnTo>
                    <a:pt x="1144" y="138"/>
                  </a:lnTo>
                  <a:lnTo>
                    <a:pt x="1144" y="138"/>
                  </a:lnTo>
                  <a:lnTo>
                    <a:pt x="1144" y="138"/>
                  </a:lnTo>
                  <a:lnTo>
                    <a:pt x="1144" y="135"/>
                  </a:lnTo>
                  <a:lnTo>
                    <a:pt x="1144" y="135"/>
                  </a:lnTo>
                  <a:lnTo>
                    <a:pt x="1144" y="135"/>
                  </a:lnTo>
                  <a:lnTo>
                    <a:pt x="1144" y="135"/>
                  </a:lnTo>
                  <a:lnTo>
                    <a:pt x="1144" y="135"/>
                  </a:lnTo>
                  <a:lnTo>
                    <a:pt x="1144" y="135"/>
                  </a:lnTo>
                  <a:lnTo>
                    <a:pt x="1148" y="135"/>
                  </a:lnTo>
                  <a:lnTo>
                    <a:pt x="1153" y="135"/>
                  </a:lnTo>
                  <a:lnTo>
                    <a:pt x="1155" y="135"/>
                  </a:lnTo>
                  <a:lnTo>
                    <a:pt x="1157" y="135"/>
                  </a:lnTo>
                  <a:lnTo>
                    <a:pt x="1157" y="135"/>
                  </a:lnTo>
                  <a:lnTo>
                    <a:pt x="1160" y="135"/>
                  </a:lnTo>
                  <a:lnTo>
                    <a:pt x="1160" y="138"/>
                  </a:lnTo>
                  <a:lnTo>
                    <a:pt x="1162" y="135"/>
                  </a:lnTo>
                  <a:lnTo>
                    <a:pt x="1162" y="135"/>
                  </a:lnTo>
                  <a:lnTo>
                    <a:pt x="1162" y="135"/>
                  </a:lnTo>
                  <a:lnTo>
                    <a:pt x="1162" y="135"/>
                  </a:lnTo>
                  <a:lnTo>
                    <a:pt x="1162" y="135"/>
                  </a:lnTo>
                  <a:lnTo>
                    <a:pt x="1160" y="135"/>
                  </a:lnTo>
                  <a:lnTo>
                    <a:pt x="1160" y="135"/>
                  </a:lnTo>
                  <a:lnTo>
                    <a:pt x="1160" y="135"/>
                  </a:lnTo>
                  <a:lnTo>
                    <a:pt x="1160" y="133"/>
                  </a:lnTo>
                  <a:lnTo>
                    <a:pt x="1160" y="133"/>
                  </a:lnTo>
                  <a:lnTo>
                    <a:pt x="1166" y="133"/>
                  </a:lnTo>
                  <a:lnTo>
                    <a:pt x="1166" y="133"/>
                  </a:lnTo>
                  <a:lnTo>
                    <a:pt x="1166" y="135"/>
                  </a:lnTo>
                  <a:lnTo>
                    <a:pt x="1166" y="135"/>
                  </a:lnTo>
                  <a:lnTo>
                    <a:pt x="1166" y="135"/>
                  </a:lnTo>
                  <a:lnTo>
                    <a:pt x="1166" y="135"/>
                  </a:lnTo>
                  <a:lnTo>
                    <a:pt x="1164" y="135"/>
                  </a:lnTo>
                  <a:lnTo>
                    <a:pt x="1164" y="135"/>
                  </a:lnTo>
                  <a:lnTo>
                    <a:pt x="1164" y="135"/>
                  </a:lnTo>
                  <a:lnTo>
                    <a:pt x="1162" y="135"/>
                  </a:lnTo>
                  <a:lnTo>
                    <a:pt x="1162" y="135"/>
                  </a:lnTo>
                  <a:lnTo>
                    <a:pt x="1162" y="135"/>
                  </a:lnTo>
                  <a:lnTo>
                    <a:pt x="1166" y="138"/>
                  </a:lnTo>
                  <a:lnTo>
                    <a:pt x="1169" y="138"/>
                  </a:lnTo>
                  <a:lnTo>
                    <a:pt x="1175" y="140"/>
                  </a:lnTo>
                  <a:lnTo>
                    <a:pt x="1182" y="140"/>
                  </a:lnTo>
                  <a:lnTo>
                    <a:pt x="1184" y="140"/>
                  </a:lnTo>
                  <a:lnTo>
                    <a:pt x="1187" y="140"/>
                  </a:lnTo>
                  <a:lnTo>
                    <a:pt x="1189" y="140"/>
                  </a:lnTo>
                  <a:lnTo>
                    <a:pt x="1189" y="140"/>
                  </a:lnTo>
                  <a:lnTo>
                    <a:pt x="1191" y="140"/>
                  </a:lnTo>
                  <a:lnTo>
                    <a:pt x="1191" y="140"/>
                  </a:lnTo>
                  <a:lnTo>
                    <a:pt x="1191" y="140"/>
                  </a:lnTo>
                  <a:lnTo>
                    <a:pt x="1191" y="138"/>
                  </a:lnTo>
                  <a:lnTo>
                    <a:pt x="1191" y="138"/>
                  </a:lnTo>
                  <a:lnTo>
                    <a:pt x="1191" y="138"/>
                  </a:lnTo>
                  <a:lnTo>
                    <a:pt x="1191" y="138"/>
                  </a:lnTo>
                  <a:lnTo>
                    <a:pt x="1191" y="138"/>
                  </a:lnTo>
                  <a:lnTo>
                    <a:pt x="1191" y="138"/>
                  </a:lnTo>
                  <a:lnTo>
                    <a:pt x="1189" y="138"/>
                  </a:lnTo>
                  <a:lnTo>
                    <a:pt x="1189" y="138"/>
                  </a:lnTo>
                  <a:lnTo>
                    <a:pt x="1189" y="138"/>
                  </a:lnTo>
                  <a:lnTo>
                    <a:pt x="1189" y="138"/>
                  </a:lnTo>
                  <a:lnTo>
                    <a:pt x="1189" y="138"/>
                  </a:lnTo>
                  <a:lnTo>
                    <a:pt x="1189" y="135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7" y="135"/>
                  </a:lnTo>
                  <a:lnTo>
                    <a:pt x="1187" y="135"/>
                  </a:lnTo>
                  <a:lnTo>
                    <a:pt x="1187" y="135"/>
                  </a:lnTo>
                  <a:lnTo>
                    <a:pt x="1187" y="135"/>
                  </a:lnTo>
                  <a:lnTo>
                    <a:pt x="1187" y="135"/>
                  </a:lnTo>
                  <a:lnTo>
                    <a:pt x="1187" y="135"/>
                  </a:lnTo>
                  <a:lnTo>
                    <a:pt x="1184" y="135"/>
                  </a:lnTo>
                  <a:lnTo>
                    <a:pt x="1187" y="135"/>
                  </a:lnTo>
                  <a:lnTo>
                    <a:pt x="1189" y="135"/>
                  </a:lnTo>
                  <a:lnTo>
                    <a:pt x="1191" y="138"/>
                  </a:lnTo>
                  <a:lnTo>
                    <a:pt x="1193" y="138"/>
                  </a:lnTo>
                  <a:lnTo>
                    <a:pt x="1193" y="138"/>
                  </a:lnTo>
                  <a:lnTo>
                    <a:pt x="1193" y="138"/>
                  </a:lnTo>
                  <a:lnTo>
                    <a:pt x="1193" y="138"/>
                  </a:lnTo>
                  <a:lnTo>
                    <a:pt x="1193" y="138"/>
                  </a:lnTo>
                  <a:lnTo>
                    <a:pt x="1193" y="138"/>
                  </a:lnTo>
                  <a:lnTo>
                    <a:pt x="1198" y="140"/>
                  </a:lnTo>
                  <a:lnTo>
                    <a:pt x="1198" y="140"/>
                  </a:lnTo>
                  <a:lnTo>
                    <a:pt x="1200" y="140"/>
                  </a:lnTo>
                  <a:lnTo>
                    <a:pt x="1200" y="140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2"/>
                  </a:lnTo>
                  <a:lnTo>
                    <a:pt x="1202" y="144"/>
                  </a:lnTo>
                  <a:lnTo>
                    <a:pt x="1202" y="144"/>
                  </a:lnTo>
                  <a:lnTo>
                    <a:pt x="1202" y="144"/>
                  </a:lnTo>
                  <a:lnTo>
                    <a:pt x="1202" y="144"/>
                  </a:lnTo>
                  <a:lnTo>
                    <a:pt x="1202" y="144"/>
                  </a:lnTo>
                  <a:lnTo>
                    <a:pt x="1202" y="144"/>
                  </a:lnTo>
                  <a:lnTo>
                    <a:pt x="1202" y="147"/>
                  </a:lnTo>
                  <a:lnTo>
                    <a:pt x="1205" y="147"/>
                  </a:lnTo>
                  <a:lnTo>
                    <a:pt x="1205" y="147"/>
                  </a:lnTo>
                  <a:lnTo>
                    <a:pt x="1205" y="147"/>
                  </a:lnTo>
                  <a:lnTo>
                    <a:pt x="1205" y="147"/>
                  </a:lnTo>
                  <a:lnTo>
                    <a:pt x="1205" y="147"/>
                  </a:lnTo>
                  <a:lnTo>
                    <a:pt x="1207" y="147"/>
                  </a:lnTo>
                  <a:lnTo>
                    <a:pt x="1209" y="147"/>
                  </a:lnTo>
                  <a:lnTo>
                    <a:pt x="1209" y="147"/>
                  </a:lnTo>
                  <a:lnTo>
                    <a:pt x="1209" y="147"/>
                  </a:lnTo>
                  <a:lnTo>
                    <a:pt x="1209" y="147"/>
                  </a:lnTo>
                  <a:lnTo>
                    <a:pt x="1209" y="147"/>
                  </a:lnTo>
                  <a:lnTo>
                    <a:pt x="1211" y="149"/>
                  </a:lnTo>
                  <a:lnTo>
                    <a:pt x="1211" y="149"/>
                  </a:lnTo>
                  <a:lnTo>
                    <a:pt x="1211" y="149"/>
                  </a:lnTo>
                  <a:lnTo>
                    <a:pt x="1211" y="149"/>
                  </a:lnTo>
                  <a:lnTo>
                    <a:pt x="1211" y="149"/>
                  </a:lnTo>
                  <a:lnTo>
                    <a:pt x="1211" y="149"/>
                  </a:lnTo>
                  <a:lnTo>
                    <a:pt x="1214" y="149"/>
                  </a:lnTo>
                  <a:lnTo>
                    <a:pt x="1214" y="151"/>
                  </a:lnTo>
                  <a:lnTo>
                    <a:pt x="1214" y="151"/>
                  </a:lnTo>
                  <a:lnTo>
                    <a:pt x="1214" y="151"/>
                  </a:lnTo>
                  <a:lnTo>
                    <a:pt x="1216" y="151"/>
                  </a:lnTo>
                  <a:lnTo>
                    <a:pt x="1216" y="151"/>
                  </a:lnTo>
                  <a:lnTo>
                    <a:pt x="1216" y="153"/>
                  </a:lnTo>
                  <a:lnTo>
                    <a:pt x="1216" y="153"/>
                  </a:lnTo>
                  <a:lnTo>
                    <a:pt x="1216" y="153"/>
                  </a:lnTo>
                  <a:lnTo>
                    <a:pt x="1218" y="156"/>
                  </a:lnTo>
                  <a:lnTo>
                    <a:pt x="1216" y="156"/>
                  </a:lnTo>
                  <a:lnTo>
                    <a:pt x="1216" y="156"/>
                  </a:lnTo>
                  <a:lnTo>
                    <a:pt x="1216" y="156"/>
                  </a:lnTo>
                  <a:lnTo>
                    <a:pt x="1214" y="156"/>
                  </a:lnTo>
                  <a:lnTo>
                    <a:pt x="1216" y="158"/>
                  </a:lnTo>
                  <a:lnTo>
                    <a:pt x="1216" y="158"/>
                  </a:lnTo>
                  <a:lnTo>
                    <a:pt x="1216" y="158"/>
                  </a:lnTo>
                  <a:lnTo>
                    <a:pt x="1216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60"/>
                  </a:lnTo>
                  <a:lnTo>
                    <a:pt x="1220" y="160"/>
                  </a:lnTo>
                  <a:lnTo>
                    <a:pt x="1223" y="160"/>
                  </a:lnTo>
                  <a:lnTo>
                    <a:pt x="1225" y="160"/>
                  </a:lnTo>
                  <a:lnTo>
                    <a:pt x="1225" y="160"/>
                  </a:lnTo>
                  <a:lnTo>
                    <a:pt x="1234" y="162"/>
                  </a:lnTo>
                  <a:lnTo>
                    <a:pt x="1234" y="160"/>
                  </a:lnTo>
                  <a:lnTo>
                    <a:pt x="1223" y="160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8" y="158"/>
                  </a:lnTo>
                  <a:lnTo>
                    <a:pt x="1216" y="158"/>
                  </a:lnTo>
                  <a:lnTo>
                    <a:pt x="1216" y="158"/>
                  </a:lnTo>
                  <a:lnTo>
                    <a:pt x="1216" y="156"/>
                  </a:lnTo>
                  <a:lnTo>
                    <a:pt x="1216" y="156"/>
                  </a:lnTo>
                  <a:lnTo>
                    <a:pt x="1218" y="156"/>
                  </a:lnTo>
                  <a:lnTo>
                    <a:pt x="1218" y="156"/>
                  </a:lnTo>
                  <a:lnTo>
                    <a:pt x="1218" y="153"/>
                  </a:lnTo>
                  <a:lnTo>
                    <a:pt x="1218" y="153"/>
                  </a:lnTo>
                  <a:lnTo>
                    <a:pt x="1216" y="153"/>
                  </a:lnTo>
                  <a:lnTo>
                    <a:pt x="1216" y="151"/>
                  </a:lnTo>
                  <a:lnTo>
                    <a:pt x="1216" y="151"/>
                  </a:lnTo>
                  <a:lnTo>
                    <a:pt x="1214" y="151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9"/>
                  </a:lnTo>
                  <a:lnTo>
                    <a:pt x="1214" y="147"/>
                  </a:lnTo>
                  <a:lnTo>
                    <a:pt x="1216" y="149"/>
                  </a:lnTo>
                  <a:lnTo>
                    <a:pt x="1216" y="147"/>
                  </a:lnTo>
                  <a:lnTo>
                    <a:pt x="1218" y="147"/>
                  </a:lnTo>
                  <a:lnTo>
                    <a:pt x="1218" y="147"/>
                  </a:lnTo>
                  <a:lnTo>
                    <a:pt x="1216" y="147"/>
                  </a:lnTo>
                  <a:lnTo>
                    <a:pt x="1214" y="147"/>
                  </a:lnTo>
                  <a:lnTo>
                    <a:pt x="1214" y="147"/>
                  </a:lnTo>
                  <a:lnTo>
                    <a:pt x="1214" y="147"/>
                  </a:lnTo>
                  <a:lnTo>
                    <a:pt x="1211" y="147"/>
                  </a:lnTo>
                  <a:lnTo>
                    <a:pt x="1211" y="147"/>
                  </a:lnTo>
                  <a:lnTo>
                    <a:pt x="1209" y="147"/>
                  </a:lnTo>
                  <a:lnTo>
                    <a:pt x="1209" y="144"/>
                  </a:lnTo>
                  <a:lnTo>
                    <a:pt x="1207" y="144"/>
                  </a:lnTo>
                  <a:lnTo>
                    <a:pt x="1207" y="144"/>
                  </a:lnTo>
                  <a:lnTo>
                    <a:pt x="1205" y="144"/>
                  </a:lnTo>
                  <a:lnTo>
                    <a:pt x="1207" y="144"/>
                  </a:lnTo>
                  <a:lnTo>
                    <a:pt x="1209" y="144"/>
                  </a:lnTo>
                  <a:lnTo>
                    <a:pt x="1211" y="144"/>
                  </a:lnTo>
                  <a:lnTo>
                    <a:pt x="1214" y="142"/>
                  </a:lnTo>
                  <a:lnTo>
                    <a:pt x="1220" y="142"/>
                  </a:lnTo>
                  <a:lnTo>
                    <a:pt x="1223" y="142"/>
                  </a:lnTo>
                  <a:lnTo>
                    <a:pt x="1223" y="142"/>
                  </a:lnTo>
                  <a:lnTo>
                    <a:pt x="1225" y="140"/>
                  </a:lnTo>
                  <a:lnTo>
                    <a:pt x="1229" y="140"/>
                  </a:lnTo>
                  <a:lnTo>
                    <a:pt x="1236" y="140"/>
                  </a:lnTo>
                  <a:lnTo>
                    <a:pt x="1241" y="140"/>
                  </a:lnTo>
                  <a:lnTo>
                    <a:pt x="1247" y="140"/>
                  </a:lnTo>
                  <a:lnTo>
                    <a:pt x="1254" y="142"/>
                  </a:lnTo>
                  <a:lnTo>
                    <a:pt x="1261" y="142"/>
                  </a:lnTo>
                  <a:lnTo>
                    <a:pt x="1265" y="142"/>
                  </a:lnTo>
                  <a:lnTo>
                    <a:pt x="1268" y="142"/>
                  </a:lnTo>
                  <a:lnTo>
                    <a:pt x="1277" y="142"/>
                  </a:lnTo>
                  <a:lnTo>
                    <a:pt x="1281" y="142"/>
                  </a:lnTo>
                  <a:lnTo>
                    <a:pt x="1283" y="144"/>
                  </a:lnTo>
                  <a:lnTo>
                    <a:pt x="1286" y="144"/>
                  </a:lnTo>
                  <a:lnTo>
                    <a:pt x="1286" y="144"/>
                  </a:lnTo>
                  <a:lnTo>
                    <a:pt x="1286" y="144"/>
                  </a:lnTo>
                  <a:lnTo>
                    <a:pt x="1283" y="144"/>
                  </a:lnTo>
                  <a:lnTo>
                    <a:pt x="1283" y="144"/>
                  </a:lnTo>
                  <a:lnTo>
                    <a:pt x="1283" y="144"/>
                  </a:lnTo>
                  <a:lnTo>
                    <a:pt x="1283" y="144"/>
                  </a:lnTo>
                  <a:lnTo>
                    <a:pt x="1283" y="144"/>
                  </a:lnTo>
                  <a:lnTo>
                    <a:pt x="1281" y="144"/>
                  </a:lnTo>
                  <a:lnTo>
                    <a:pt x="1281" y="144"/>
                  </a:lnTo>
                  <a:lnTo>
                    <a:pt x="1281" y="144"/>
                  </a:lnTo>
                  <a:lnTo>
                    <a:pt x="1281" y="144"/>
                  </a:lnTo>
                  <a:lnTo>
                    <a:pt x="1281" y="144"/>
                  </a:lnTo>
                  <a:lnTo>
                    <a:pt x="1281" y="144"/>
                  </a:lnTo>
                  <a:lnTo>
                    <a:pt x="1279" y="144"/>
                  </a:lnTo>
                  <a:lnTo>
                    <a:pt x="1279" y="144"/>
                  </a:lnTo>
                  <a:lnTo>
                    <a:pt x="1279" y="144"/>
                  </a:lnTo>
                  <a:lnTo>
                    <a:pt x="1279" y="144"/>
                  </a:lnTo>
                  <a:lnTo>
                    <a:pt x="1279" y="144"/>
                  </a:lnTo>
                  <a:lnTo>
                    <a:pt x="1279" y="147"/>
                  </a:lnTo>
                  <a:lnTo>
                    <a:pt x="1279" y="147"/>
                  </a:lnTo>
                  <a:lnTo>
                    <a:pt x="1279" y="147"/>
                  </a:lnTo>
                  <a:lnTo>
                    <a:pt x="1279" y="147"/>
                  </a:lnTo>
                  <a:lnTo>
                    <a:pt x="1279" y="147"/>
                  </a:lnTo>
                  <a:lnTo>
                    <a:pt x="1281" y="147"/>
                  </a:lnTo>
                  <a:lnTo>
                    <a:pt x="1281" y="147"/>
                  </a:lnTo>
                  <a:lnTo>
                    <a:pt x="1281" y="147"/>
                  </a:lnTo>
                  <a:lnTo>
                    <a:pt x="1281" y="147"/>
                  </a:lnTo>
                  <a:lnTo>
                    <a:pt x="1281" y="147"/>
                  </a:lnTo>
                  <a:lnTo>
                    <a:pt x="1281" y="149"/>
                  </a:lnTo>
                  <a:lnTo>
                    <a:pt x="1281" y="149"/>
                  </a:lnTo>
                  <a:lnTo>
                    <a:pt x="1281" y="149"/>
                  </a:lnTo>
                  <a:lnTo>
                    <a:pt x="1281" y="149"/>
                  </a:lnTo>
                  <a:lnTo>
                    <a:pt x="1281" y="149"/>
                  </a:lnTo>
                  <a:lnTo>
                    <a:pt x="1283" y="149"/>
                  </a:lnTo>
                  <a:lnTo>
                    <a:pt x="1283" y="149"/>
                  </a:lnTo>
                  <a:lnTo>
                    <a:pt x="1283" y="149"/>
                  </a:lnTo>
                  <a:lnTo>
                    <a:pt x="1283" y="149"/>
                  </a:lnTo>
                  <a:lnTo>
                    <a:pt x="1283" y="149"/>
                  </a:lnTo>
                  <a:lnTo>
                    <a:pt x="1286" y="149"/>
                  </a:lnTo>
                  <a:lnTo>
                    <a:pt x="1292" y="151"/>
                  </a:lnTo>
                  <a:lnTo>
                    <a:pt x="1297" y="151"/>
                  </a:lnTo>
                  <a:lnTo>
                    <a:pt x="1299" y="153"/>
                  </a:lnTo>
                  <a:lnTo>
                    <a:pt x="1301" y="153"/>
                  </a:lnTo>
                  <a:lnTo>
                    <a:pt x="1303" y="153"/>
                  </a:lnTo>
                  <a:lnTo>
                    <a:pt x="1303" y="153"/>
                  </a:lnTo>
                  <a:lnTo>
                    <a:pt x="1303" y="153"/>
                  </a:lnTo>
                  <a:lnTo>
                    <a:pt x="1306" y="153"/>
                  </a:lnTo>
                  <a:lnTo>
                    <a:pt x="1306" y="153"/>
                  </a:lnTo>
                  <a:lnTo>
                    <a:pt x="1306" y="153"/>
                  </a:lnTo>
                  <a:lnTo>
                    <a:pt x="1306" y="153"/>
                  </a:lnTo>
                  <a:lnTo>
                    <a:pt x="1306" y="153"/>
                  </a:lnTo>
                  <a:lnTo>
                    <a:pt x="1308" y="153"/>
                  </a:lnTo>
                  <a:lnTo>
                    <a:pt x="1308" y="153"/>
                  </a:lnTo>
                  <a:lnTo>
                    <a:pt x="1308" y="156"/>
                  </a:lnTo>
                  <a:lnTo>
                    <a:pt x="1321" y="156"/>
                  </a:lnTo>
                  <a:lnTo>
                    <a:pt x="1324" y="156"/>
                  </a:lnTo>
                  <a:lnTo>
                    <a:pt x="1321" y="156"/>
                  </a:lnTo>
                  <a:lnTo>
                    <a:pt x="1310" y="156"/>
                  </a:lnTo>
                  <a:lnTo>
                    <a:pt x="1310" y="153"/>
                  </a:lnTo>
                  <a:lnTo>
                    <a:pt x="1308" y="153"/>
                  </a:lnTo>
                  <a:lnTo>
                    <a:pt x="1308" y="153"/>
                  </a:lnTo>
                  <a:lnTo>
                    <a:pt x="1308" y="153"/>
                  </a:lnTo>
                  <a:lnTo>
                    <a:pt x="1315" y="153"/>
                  </a:lnTo>
                  <a:lnTo>
                    <a:pt x="1319" y="153"/>
                  </a:lnTo>
                  <a:lnTo>
                    <a:pt x="1321" y="153"/>
                  </a:lnTo>
                  <a:lnTo>
                    <a:pt x="1326" y="156"/>
                  </a:lnTo>
                  <a:lnTo>
                    <a:pt x="1328" y="156"/>
                  </a:lnTo>
                  <a:lnTo>
                    <a:pt x="1330" y="156"/>
                  </a:lnTo>
                  <a:lnTo>
                    <a:pt x="1330" y="156"/>
                  </a:lnTo>
                  <a:lnTo>
                    <a:pt x="1333" y="153"/>
                  </a:lnTo>
                  <a:lnTo>
                    <a:pt x="1337" y="153"/>
                  </a:lnTo>
                  <a:lnTo>
                    <a:pt x="1337" y="156"/>
                  </a:lnTo>
                  <a:lnTo>
                    <a:pt x="1337" y="156"/>
                  </a:lnTo>
                  <a:lnTo>
                    <a:pt x="1339" y="153"/>
                  </a:lnTo>
                  <a:lnTo>
                    <a:pt x="1342" y="153"/>
                  </a:lnTo>
                  <a:lnTo>
                    <a:pt x="1342" y="156"/>
                  </a:lnTo>
                  <a:lnTo>
                    <a:pt x="1342" y="156"/>
                  </a:lnTo>
                  <a:lnTo>
                    <a:pt x="1342" y="156"/>
                  </a:lnTo>
                  <a:lnTo>
                    <a:pt x="1342" y="156"/>
                  </a:lnTo>
                  <a:lnTo>
                    <a:pt x="1344" y="156"/>
                  </a:lnTo>
                  <a:lnTo>
                    <a:pt x="1351" y="156"/>
                  </a:lnTo>
                  <a:lnTo>
                    <a:pt x="1353" y="158"/>
                  </a:lnTo>
                  <a:lnTo>
                    <a:pt x="1353" y="158"/>
                  </a:lnTo>
                  <a:lnTo>
                    <a:pt x="1355" y="158"/>
                  </a:lnTo>
                  <a:lnTo>
                    <a:pt x="1346" y="156"/>
                  </a:lnTo>
                  <a:lnTo>
                    <a:pt x="1346" y="156"/>
                  </a:lnTo>
                  <a:lnTo>
                    <a:pt x="1346" y="156"/>
                  </a:lnTo>
                  <a:lnTo>
                    <a:pt x="1346" y="156"/>
                  </a:lnTo>
                  <a:lnTo>
                    <a:pt x="1355" y="156"/>
                  </a:lnTo>
                  <a:lnTo>
                    <a:pt x="1357" y="156"/>
                  </a:lnTo>
                  <a:lnTo>
                    <a:pt x="1357" y="156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8" y="153"/>
                  </a:lnTo>
                  <a:lnTo>
                    <a:pt x="1346" y="153"/>
                  </a:lnTo>
                  <a:lnTo>
                    <a:pt x="1348" y="153"/>
                  </a:lnTo>
                  <a:lnTo>
                    <a:pt x="1351" y="153"/>
                  </a:lnTo>
                  <a:lnTo>
                    <a:pt x="1353" y="153"/>
                  </a:lnTo>
                  <a:lnTo>
                    <a:pt x="1353" y="153"/>
                  </a:lnTo>
                  <a:lnTo>
                    <a:pt x="1353" y="153"/>
                  </a:lnTo>
                  <a:lnTo>
                    <a:pt x="1355" y="153"/>
                  </a:lnTo>
                  <a:lnTo>
                    <a:pt x="1355" y="156"/>
                  </a:lnTo>
                  <a:lnTo>
                    <a:pt x="1360" y="156"/>
                  </a:lnTo>
                  <a:lnTo>
                    <a:pt x="1360" y="156"/>
                  </a:lnTo>
                  <a:lnTo>
                    <a:pt x="1360" y="156"/>
                  </a:lnTo>
                  <a:lnTo>
                    <a:pt x="1360" y="156"/>
                  </a:lnTo>
                  <a:lnTo>
                    <a:pt x="1360" y="156"/>
                  </a:lnTo>
                  <a:lnTo>
                    <a:pt x="1360" y="156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3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57" y="151"/>
                  </a:lnTo>
                  <a:lnTo>
                    <a:pt x="1357" y="151"/>
                  </a:lnTo>
                  <a:lnTo>
                    <a:pt x="1357" y="151"/>
                  </a:lnTo>
                  <a:lnTo>
                    <a:pt x="1357" y="151"/>
                  </a:lnTo>
                  <a:lnTo>
                    <a:pt x="1357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2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51"/>
                  </a:lnTo>
                  <a:lnTo>
                    <a:pt x="1360" y="149"/>
                  </a:lnTo>
                  <a:lnTo>
                    <a:pt x="1360" y="149"/>
                  </a:lnTo>
                  <a:lnTo>
                    <a:pt x="1360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5" y="149"/>
                  </a:lnTo>
                  <a:lnTo>
                    <a:pt x="1357" y="149"/>
                  </a:lnTo>
                  <a:lnTo>
                    <a:pt x="1357" y="149"/>
                  </a:lnTo>
                  <a:lnTo>
                    <a:pt x="1355" y="149"/>
                  </a:lnTo>
                  <a:lnTo>
                    <a:pt x="1355" y="149"/>
                  </a:lnTo>
                  <a:lnTo>
                    <a:pt x="1355" y="149"/>
                  </a:lnTo>
                  <a:lnTo>
                    <a:pt x="1353" y="149"/>
                  </a:lnTo>
                  <a:lnTo>
                    <a:pt x="1353" y="147"/>
                  </a:lnTo>
                  <a:lnTo>
                    <a:pt x="1353" y="147"/>
                  </a:lnTo>
                  <a:lnTo>
                    <a:pt x="1353" y="147"/>
                  </a:lnTo>
                  <a:lnTo>
                    <a:pt x="1353" y="147"/>
                  </a:lnTo>
                  <a:lnTo>
                    <a:pt x="1351" y="147"/>
                  </a:lnTo>
                  <a:lnTo>
                    <a:pt x="1351" y="147"/>
                  </a:lnTo>
                  <a:lnTo>
                    <a:pt x="1351" y="147"/>
                  </a:lnTo>
                  <a:lnTo>
                    <a:pt x="1348" y="147"/>
                  </a:lnTo>
                  <a:lnTo>
                    <a:pt x="1348" y="147"/>
                  </a:lnTo>
                  <a:lnTo>
                    <a:pt x="1351" y="147"/>
                  </a:lnTo>
                  <a:lnTo>
                    <a:pt x="1351" y="147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51" y="144"/>
                  </a:lnTo>
                  <a:lnTo>
                    <a:pt x="1351" y="144"/>
                  </a:lnTo>
                  <a:lnTo>
                    <a:pt x="1351" y="144"/>
                  </a:lnTo>
                  <a:lnTo>
                    <a:pt x="1351" y="147"/>
                  </a:lnTo>
                  <a:lnTo>
                    <a:pt x="1351" y="144"/>
                  </a:lnTo>
                  <a:lnTo>
                    <a:pt x="1351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8" y="144"/>
                  </a:lnTo>
                  <a:lnTo>
                    <a:pt x="1346" y="144"/>
                  </a:lnTo>
                  <a:lnTo>
                    <a:pt x="1346" y="144"/>
                  </a:lnTo>
                  <a:lnTo>
                    <a:pt x="1346" y="144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8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8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6" y="142"/>
                  </a:lnTo>
                  <a:lnTo>
                    <a:pt x="1344" y="142"/>
                  </a:lnTo>
                  <a:lnTo>
                    <a:pt x="1346" y="140"/>
                  </a:lnTo>
                  <a:lnTo>
                    <a:pt x="1346" y="140"/>
                  </a:lnTo>
                  <a:lnTo>
                    <a:pt x="1346" y="140"/>
                  </a:lnTo>
                  <a:lnTo>
                    <a:pt x="1346" y="140"/>
                  </a:lnTo>
                  <a:lnTo>
                    <a:pt x="1346" y="140"/>
                  </a:lnTo>
                  <a:lnTo>
                    <a:pt x="1348" y="140"/>
                  </a:lnTo>
                  <a:lnTo>
                    <a:pt x="1348" y="140"/>
                  </a:lnTo>
                  <a:lnTo>
                    <a:pt x="1348" y="140"/>
                  </a:lnTo>
                  <a:lnTo>
                    <a:pt x="1348" y="140"/>
                  </a:lnTo>
                  <a:lnTo>
                    <a:pt x="1348" y="142"/>
                  </a:lnTo>
                  <a:lnTo>
                    <a:pt x="1348" y="142"/>
                  </a:lnTo>
                  <a:lnTo>
                    <a:pt x="1348" y="142"/>
                  </a:lnTo>
                  <a:lnTo>
                    <a:pt x="1348" y="142"/>
                  </a:lnTo>
                  <a:lnTo>
                    <a:pt x="1348" y="142"/>
                  </a:lnTo>
                  <a:lnTo>
                    <a:pt x="1348" y="142"/>
                  </a:lnTo>
                  <a:lnTo>
                    <a:pt x="1351" y="142"/>
                  </a:lnTo>
                  <a:lnTo>
                    <a:pt x="1351" y="142"/>
                  </a:lnTo>
                  <a:lnTo>
                    <a:pt x="1348" y="142"/>
                  </a:lnTo>
                  <a:lnTo>
                    <a:pt x="1348" y="142"/>
                  </a:lnTo>
                  <a:lnTo>
                    <a:pt x="1351" y="142"/>
                  </a:lnTo>
                  <a:lnTo>
                    <a:pt x="1351" y="142"/>
                  </a:lnTo>
                  <a:lnTo>
                    <a:pt x="1353" y="142"/>
                  </a:lnTo>
                  <a:lnTo>
                    <a:pt x="1353" y="142"/>
                  </a:lnTo>
                  <a:lnTo>
                    <a:pt x="1353" y="142"/>
                  </a:lnTo>
                  <a:lnTo>
                    <a:pt x="1355" y="142"/>
                  </a:lnTo>
                  <a:lnTo>
                    <a:pt x="1355" y="142"/>
                  </a:lnTo>
                  <a:lnTo>
                    <a:pt x="1355" y="142"/>
                  </a:lnTo>
                  <a:lnTo>
                    <a:pt x="1353" y="142"/>
                  </a:lnTo>
                  <a:lnTo>
                    <a:pt x="1353" y="142"/>
                  </a:lnTo>
                  <a:lnTo>
                    <a:pt x="1353" y="142"/>
                  </a:lnTo>
                  <a:lnTo>
                    <a:pt x="1353" y="140"/>
                  </a:lnTo>
                  <a:lnTo>
                    <a:pt x="1353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1" y="140"/>
                  </a:lnTo>
                  <a:lnTo>
                    <a:pt x="1353" y="140"/>
                  </a:lnTo>
                  <a:lnTo>
                    <a:pt x="1353" y="140"/>
                  </a:lnTo>
                  <a:lnTo>
                    <a:pt x="1353" y="140"/>
                  </a:lnTo>
                  <a:lnTo>
                    <a:pt x="1353" y="140"/>
                  </a:lnTo>
                  <a:lnTo>
                    <a:pt x="1353" y="140"/>
                  </a:lnTo>
                  <a:lnTo>
                    <a:pt x="1353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40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5" y="138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7" y="138"/>
                  </a:lnTo>
                  <a:lnTo>
                    <a:pt x="1357" y="140"/>
                  </a:lnTo>
                  <a:lnTo>
                    <a:pt x="1357" y="140"/>
                  </a:lnTo>
                  <a:lnTo>
                    <a:pt x="1357" y="140"/>
                  </a:lnTo>
                  <a:lnTo>
                    <a:pt x="1357" y="140"/>
                  </a:lnTo>
                  <a:lnTo>
                    <a:pt x="1360" y="140"/>
                  </a:lnTo>
                  <a:lnTo>
                    <a:pt x="1360" y="140"/>
                  </a:lnTo>
                  <a:lnTo>
                    <a:pt x="1360" y="140"/>
                  </a:lnTo>
                  <a:lnTo>
                    <a:pt x="1360" y="140"/>
                  </a:lnTo>
                  <a:lnTo>
                    <a:pt x="1362" y="140"/>
                  </a:lnTo>
                  <a:lnTo>
                    <a:pt x="1362" y="140"/>
                  </a:lnTo>
                  <a:lnTo>
                    <a:pt x="1362" y="140"/>
                  </a:lnTo>
                  <a:lnTo>
                    <a:pt x="1362" y="140"/>
                  </a:lnTo>
                  <a:lnTo>
                    <a:pt x="1362" y="140"/>
                  </a:lnTo>
                  <a:lnTo>
                    <a:pt x="1362" y="140"/>
                  </a:lnTo>
                  <a:lnTo>
                    <a:pt x="1362" y="140"/>
                  </a:lnTo>
                  <a:lnTo>
                    <a:pt x="1364" y="140"/>
                  </a:lnTo>
                  <a:lnTo>
                    <a:pt x="1364" y="140"/>
                  </a:lnTo>
                  <a:lnTo>
                    <a:pt x="1364" y="140"/>
                  </a:lnTo>
                  <a:lnTo>
                    <a:pt x="1364" y="140"/>
                  </a:lnTo>
                  <a:lnTo>
                    <a:pt x="1364" y="140"/>
                  </a:lnTo>
                  <a:lnTo>
                    <a:pt x="1366" y="140"/>
                  </a:lnTo>
                  <a:lnTo>
                    <a:pt x="1366" y="140"/>
                  </a:lnTo>
                  <a:lnTo>
                    <a:pt x="1366" y="140"/>
                  </a:lnTo>
                  <a:lnTo>
                    <a:pt x="1366" y="140"/>
                  </a:lnTo>
                  <a:lnTo>
                    <a:pt x="1366" y="142"/>
                  </a:lnTo>
                  <a:lnTo>
                    <a:pt x="1366" y="142"/>
                  </a:lnTo>
                  <a:lnTo>
                    <a:pt x="1369" y="142"/>
                  </a:lnTo>
                  <a:lnTo>
                    <a:pt x="1369" y="142"/>
                  </a:lnTo>
                  <a:lnTo>
                    <a:pt x="1369" y="140"/>
                  </a:lnTo>
                  <a:lnTo>
                    <a:pt x="1369" y="142"/>
                  </a:lnTo>
                  <a:lnTo>
                    <a:pt x="1369" y="142"/>
                  </a:lnTo>
                  <a:lnTo>
                    <a:pt x="1369" y="142"/>
                  </a:lnTo>
                  <a:lnTo>
                    <a:pt x="1369" y="142"/>
                  </a:lnTo>
                  <a:lnTo>
                    <a:pt x="1369" y="142"/>
                  </a:lnTo>
                  <a:lnTo>
                    <a:pt x="1369" y="142"/>
                  </a:lnTo>
                  <a:lnTo>
                    <a:pt x="1369" y="140"/>
                  </a:lnTo>
                  <a:lnTo>
                    <a:pt x="1369" y="140"/>
                  </a:lnTo>
                  <a:lnTo>
                    <a:pt x="1369" y="140"/>
                  </a:lnTo>
                  <a:lnTo>
                    <a:pt x="1369" y="140"/>
                  </a:lnTo>
                  <a:lnTo>
                    <a:pt x="1369" y="140"/>
                  </a:lnTo>
                  <a:lnTo>
                    <a:pt x="1369" y="140"/>
                  </a:lnTo>
                  <a:lnTo>
                    <a:pt x="1371" y="140"/>
                  </a:lnTo>
                  <a:lnTo>
                    <a:pt x="1371" y="140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1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3" y="144"/>
                  </a:lnTo>
                  <a:lnTo>
                    <a:pt x="1373" y="142"/>
                  </a:lnTo>
                  <a:lnTo>
                    <a:pt x="1373" y="142"/>
                  </a:lnTo>
                  <a:lnTo>
                    <a:pt x="1375" y="144"/>
                  </a:lnTo>
                  <a:lnTo>
                    <a:pt x="1375" y="144"/>
                  </a:lnTo>
                  <a:lnTo>
                    <a:pt x="1375" y="144"/>
                  </a:lnTo>
                  <a:lnTo>
                    <a:pt x="1375" y="142"/>
                  </a:lnTo>
                  <a:lnTo>
                    <a:pt x="1375" y="142"/>
                  </a:lnTo>
                  <a:lnTo>
                    <a:pt x="1375" y="142"/>
                  </a:lnTo>
                  <a:lnTo>
                    <a:pt x="1375" y="142"/>
                  </a:lnTo>
                  <a:lnTo>
                    <a:pt x="1375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2"/>
                  </a:lnTo>
                  <a:lnTo>
                    <a:pt x="1378" y="144"/>
                  </a:lnTo>
                  <a:lnTo>
                    <a:pt x="1378" y="144"/>
                  </a:lnTo>
                  <a:lnTo>
                    <a:pt x="1378" y="144"/>
                  </a:lnTo>
                  <a:lnTo>
                    <a:pt x="1380" y="144"/>
                  </a:lnTo>
                  <a:lnTo>
                    <a:pt x="1380" y="144"/>
                  </a:lnTo>
                  <a:lnTo>
                    <a:pt x="1382" y="144"/>
                  </a:lnTo>
                  <a:lnTo>
                    <a:pt x="1382" y="144"/>
                  </a:lnTo>
                  <a:lnTo>
                    <a:pt x="1382" y="144"/>
                  </a:lnTo>
                  <a:lnTo>
                    <a:pt x="1382" y="144"/>
                  </a:lnTo>
                  <a:lnTo>
                    <a:pt x="1382" y="144"/>
                  </a:lnTo>
                  <a:lnTo>
                    <a:pt x="1380" y="144"/>
                  </a:lnTo>
                  <a:lnTo>
                    <a:pt x="1380" y="144"/>
                  </a:lnTo>
                  <a:lnTo>
                    <a:pt x="1382" y="144"/>
                  </a:lnTo>
                  <a:lnTo>
                    <a:pt x="1382" y="147"/>
                  </a:lnTo>
                  <a:lnTo>
                    <a:pt x="1382" y="147"/>
                  </a:lnTo>
                  <a:lnTo>
                    <a:pt x="1382" y="147"/>
                  </a:lnTo>
                  <a:lnTo>
                    <a:pt x="1384" y="147"/>
                  </a:lnTo>
                  <a:lnTo>
                    <a:pt x="1382" y="147"/>
                  </a:lnTo>
                  <a:lnTo>
                    <a:pt x="1382" y="144"/>
                  </a:lnTo>
                  <a:lnTo>
                    <a:pt x="1382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4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9" y="147"/>
                  </a:lnTo>
                  <a:lnTo>
                    <a:pt x="1389" y="144"/>
                  </a:lnTo>
                  <a:lnTo>
                    <a:pt x="1389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7" y="144"/>
                  </a:lnTo>
                  <a:lnTo>
                    <a:pt x="1389" y="144"/>
                  </a:lnTo>
                  <a:lnTo>
                    <a:pt x="1389" y="142"/>
                  </a:lnTo>
                  <a:lnTo>
                    <a:pt x="1389" y="142"/>
                  </a:lnTo>
                  <a:lnTo>
                    <a:pt x="1389" y="142"/>
                  </a:lnTo>
                  <a:lnTo>
                    <a:pt x="1391" y="142"/>
                  </a:lnTo>
                  <a:lnTo>
                    <a:pt x="1391" y="144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3" y="147"/>
                  </a:lnTo>
                  <a:lnTo>
                    <a:pt x="1393" y="144"/>
                  </a:lnTo>
                  <a:lnTo>
                    <a:pt x="1393" y="144"/>
                  </a:lnTo>
                  <a:lnTo>
                    <a:pt x="1391" y="144"/>
                  </a:lnTo>
                  <a:lnTo>
                    <a:pt x="1391" y="144"/>
                  </a:lnTo>
                  <a:lnTo>
                    <a:pt x="1391" y="144"/>
                  </a:lnTo>
                  <a:lnTo>
                    <a:pt x="1391" y="144"/>
                  </a:lnTo>
                  <a:lnTo>
                    <a:pt x="1391" y="144"/>
                  </a:lnTo>
                  <a:lnTo>
                    <a:pt x="1391" y="144"/>
                  </a:lnTo>
                  <a:lnTo>
                    <a:pt x="1391" y="144"/>
                  </a:lnTo>
                  <a:lnTo>
                    <a:pt x="1391" y="147"/>
                  </a:lnTo>
                  <a:lnTo>
                    <a:pt x="1393" y="147"/>
                  </a:lnTo>
                  <a:lnTo>
                    <a:pt x="1393" y="147"/>
                  </a:lnTo>
                  <a:lnTo>
                    <a:pt x="1393" y="147"/>
                  </a:lnTo>
                  <a:lnTo>
                    <a:pt x="1391" y="147"/>
                  </a:lnTo>
                  <a:lnTo>
                    <a:pt x="1391" y="147"/>
                  </a:lnTo>
                  <a:lnTo>
                    <a:pt x="1393" y="147"/>
                  </a:lnTo>
                  <a:lnTo>
                    <a:pt x="1396" y="147"/>
                  </a:lnTo>
                  <a:lnTo>
                    <a:pt x="1396" y="147"/>
                  </a:lnTo>
                  <a:lnTo>
                    <a:pt x="1396" y="147"/>
                  </a:lnTo>
                  <a:lnTo>
                    <a:pt x="1396" y="147"/>
                  </a:lnTo>
                  <a:lnTo>
                    <a:pt x="1396" y="147"/>
                  </a:lnTo>
                  <a:lnTo>
                    <a:pt x="1396" y="147"/>
                  </a:lnTo>
                  <a:lnTo>
                    <a:pt x="1398" y="147"/>
                  </a:lnTo>
                  <a:lnTo>
                    <a:pt x="1398" y="147"/>
                  </a:lnTo>
                  <a:lnTo>
                    <a:pt x="1398" y="147"/>
                  </a:lnTo>
                  <a:lnTo>
                    <a:pt x="1400" y="149"/>
                  </a:lnTo>
                  <a:lnTo>
                    <a:pt x="1400" y="149"/>
                  </a:lnTo>
                  <a:lnTo>
                    <a:pt x="1400" y="149"/>
                  </a:lnTo>
                  <a:lnTo>
                    <a:pt x="1400" y="149"/>
                  </a:lnTo>
                  <a:lnTo>
                    <a:pt x="1402" y="149"/>
                  </a:lnTo>
                  <a:lnTo>
                    <a:pt x="1402" y="149"/>
                  </a:lnTo>
                  <a:lnTo>
                    <a:pt x="1400" y="149"/>
                  </a:lnTo>
                  <a:lnTo>
                    <a:pt x="1402" y="149"/>
                  </a:lnTo>
                  <a:lnTo>
                    <a:pt x="1400" y="149"/>
                  </a:lnTo>
                  <a:lnTo>
                    <a:pt x="1400" y="147"/>
                  </a:lnTo>
                  <a:lnTo>
                    <a:pt x="1398" y="147"/>
                  </a:lnTo>
                  <a:lnTo>
                    <a:pt x="1398" y="147"/>
                  </a:lnTo>
                  <a:lnTo>
                    <a:pt x="1400" y="147"/>
                  </a:lnTo>
                  <a:lnTo>
                    <a:pt x="1400" y="147"/>
                  </a:lnTo>
                  <a:lnTo>
                    <a:pt x="1398" y="147"/>
                  </a:lnTo>
                  <a:lnTo>
                    <a:pt x="1398" y="147"/>
                  </a:lnTo>
                  <a:lnTo>
                    <a:pt x="1398" y="147"/>
                  </a:lnTo>
                  <a:lnTo>
                    <a:pt x="1398" y="147"/>
                  </a:lnTo>
                  <a:lnTo>
                    <a:pt x="1398" y="144"/>
                  </a:lnTo>
                  <a:lnTo>
                    <a:pt x="1398" y="144"/>
                  </a:lnTo>
                  <a:lnTo>
                    <a:pt x="1400" y="144"/>
                  </a:lnTo>
                  <a:lnTo>
                    <a:pt x="1400" y="147"/>
                  </a:lnTo>
                  <a:lnTo>
                    <a:pt x="1402" y="147"/>
                  </a:lnTo>
                  <a:lnTo>
                    <a:pt x="1402" y="147"/>
                  </a:lnTo>
                  <a:lnTo>
                    <a:pt x="1402" y="147"/>
                  </a:lnTo>
                  <a:lnTo>
                    <a:pt x="1400" y="147"/>
                  </a:lnTo>
                  <a:lnTo>
                    <a:pt x="1400" y="147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2" y="147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400" y="144"/>
                  </a:lnTo>
                  <a:lnTo>
                    <a:pt x="1398" y="144"/>
                  </a:lnTo>
                  <a:lnTo>
                    <a:pt x="1398" y="144"/>
                  </a:lnTo>
                  <a:lnTo>
                    <a:pt x="1398" y="144"/>
                  </a:lnTo>
                  <a:lnTo>
                    <a:pt x="1398" y="144"/>
                  </a:lnTo>
                  <a:lnTo>
                    <a:pt x="1400" y="144"/>
                  </a:lnTo>
                  <a:lnTo>
                    <a:pt x="1402" y="144"/>
                  </a:lnTo>
                  <a:lnTo>
                    <a:pt x="1409" y="144"/>
                  </a:lnTo>
                  <a:lnTo>
                    <a:pt x="1409" y="144"/>
                  </a:lnTo>
                  <a:lnTo>
                    <a:pt x="1416" y="144"/>
                  </a:lnTo>
                  <a:lnTo>
                    <a:pt x="1416" y="144"/>
                  </a:lnTo>
                  <a:lnTo>
                    <a:pt x="1416" y="144"/>
                  </a:lnTo>
                  <a:lnTo>
                    <a:pt x="1416" y="144"/>
                  </a:lnTo>
                  <a:lnTo>
                    <a:pt x="1416" y="144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20" y="147"/>
                  </a:lnTo>
                  <a:lnTo>
                    <a:pt x="1418" y="147"/>
                  </a:lnTo>
                  <a:lnTo>
                    <a:pt x="1418" y="147"/>
                  </a:lnTo>
                  <a:lnTo>
                    <a:pt x="1423" y="147"/>
                  </a:lnTo>
                  <a:lnTo>
                    <a:pt x="1423" y="147"/>
                  </a:lnTo>
                  <a:lnTo>
                    <a:pt x="1423" y="147"/>
                  </a:lnTo>
                  <a:lnTo>
                    <a:pt x="1423" y="147"/>
                  </a:lnTo>
                  <a:lnTo>
                    <a:pt x="1425" y="147"/>
                  </a:lnTo>
                  <a:lnTo>
                    <a:pt x="1425" y="147"/>
                  </a:lnTo>
                  <a:lnTo>
                    <a:pt x="1425" y="147"/>
                  </a:lnTo>
                  <a:lnTo>
                    <a:pt x="1425" y="147"/>
                  </a:lnTo>
                  <a:lnTo>
                    <a:pt x="1425" y="147"/>
                  </a:lnTo>
                  <a:lnTo>
                    <a:pt x="1425" y="149"/>
                  </a:lnTo>
                  <a:lnTo>
                    <a:pt x="1425" y="149"/>
                  </a:lnTo>
                  <a:lnTo>
                    <a:pt x="1427" y="149"/>
                  </a:lnTo>
                  <a:lnTo>
                    <a:pt x="1427" y="149"/>
                  </a:lnTo>
                  <a:lnTo>
                    <a:pt x="1427" y="149"/>
                  </a:lnTo>
                  <a:lnTo>
                    <a:pt x="1429" y="149"/>
                  </a:lnTo>
                  <a:lnTo>
                    <a:pt x="1429" y="149"/>
                  </a:lnTo>
                  <a:lnTo>
                    <a:pt x="1432" y="149"/>
                  </a:lnTo>
                  <a:lnTo>
                    <a:pt x="1432" y="149"/>
                  </a:lnTo>
                  <a:lnTo>
                    <a:pt x="1434" y="149"/>
                  </a:lnTo>
                  <a:lnTo>
                    <a:pt x="1434" y="149"/>
                  </a:lnTo>
                  <a:lnTo>
                    <a:pt x="1436" y="149"/>
                  </a:lnTo>
                  <a:lnTo>
                    <a:pt x="1436" y="149"/>
                  </a:lnTo>
                  <a:lnTo>
                    <a:pt x="1436" y="149"/>
                  </a:lnTo>
                  <a:lnTo>
                    <a:pt x="1436" y="151"/>
                  </a:lnTo>
                  <a:lnTo>
                    <a:pt x="1436" y="151"/>
                  </a:lnTo>
                  <a:lnTo>
                    <a:pt x="1436" y="149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6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38" y="153"/>
                  </a:lnTo>
                  <a:lnTo>
                    <a:pt x="1438" y="153"/>
                  </a:lnTo>
                  <a:lnTo>
                    <a:pt x="1438" y="153"/>
                  </a:lnTo>
                  <a:lnTo>
                    <a:pt x="1438" y="151"/>
                  </a:lnTo>
                  <a:lnTo>
                    <a:pt x="1438" y="151"/>
                  </a:lnTo>
                  <a:lnTo>
                    <a:pt x="1441" y="151"/>
                  </a:lnTo>
                  <a:lnTo>
                    <a:pt x="1441" y="151"/>
                  </a:lnTo>
                  <a:lnTo>
                    <a:pt x="1443" y="151"/>
                  </a:lnTo>
                  <a:lnTo>
                    <a:pt x="1443" y="153"/>
                  </a:lnTo>
                  <a:lnTo>
                    <a:pt x="1443" y="153"/>
                  </a:lnTo>
                  <a:lnTo>
                    <a:pt x="1443" y="153"/>
                  </a:lnTo>
                  <a:lnTo>
                    <a:pt x="1443" y="153"/>
                  </a:lnTo>
                  <a:lnTo>
                    <a:pt x="1443" y="153"/>
                  </a:lnTo>
                  <a:lnTo>
                    <a:pt x="1441" y="153"/>
                  </a:lnTo>
                  <a:lnTo>
                    <a:pt x="1438" y="156"/>
                  </a:lnTo>
                  <a:lnTo>
                    <a:pt x="1434" y="156"/>
                  </a:lnTo>
                  <a:lnTo>
                    <a:pt x="1434" y="156"/>
                  </a:lnTo>
                  <a:lnTo>
                    <a:pt x="1434" y="156"/>
                  </a:lnTo>
                  <a:lnTo>
                    <a:pt x="1436" y="158"/>
                  </a:lnTo>
                  <a:lnTo>
                    <a:pt x="1436" y="158"/>
                  </a:lnTo>
                  <a:lnTo>
                    <a:pt x="1436" y="158"/>
                  </a:lnTo>
                  <a:lnTo>
                    <a:pt x="1438" y="158"/>
                  </a:lnTo>
                  <a:lnTo>
                    <a:pt x="1454" y="160"/>
                  </a:lnTo>
                  <a:lnTo>
                    <a:pt x="1456" y="160"/>
                  </a:lnTo>
                  <a:lnTo>
                    <a:pt x="1454" y="160"/>
                  </a:lnTo>
                  <a:lnTo>
                    <a:pt x="1454" y="160"/>
                  </a:lnTo>
                  <a:lnTo>
                    <a:pt x="1454" y="160"/>
                  </a:lnTo>
                  <a:lnTo>
                    <a:pt x="1454" y="160"/>
                  </a:lnTo>
                  <a:lnTo>
                    <a:pt x="1454" y="160"/>
                  </a:lnTo>
                  <a:lnTo>
                    <a:pt x="1454" y="160"/>
                  </a:lnTo>
                  <a:lnTo>
                    <a:pt x="1450" y="160"/>
                  </a:lnTo>
                  <a:lnTo>
                    <a:pt x="1447" y="160"/>
                  </a:lnTo>
                  <a:lnTo>
                    <a:pt x="1447" y="160"/>
                  </a:lnTo>
                  <a:lnTo>
                    <a:pt x="1445" y="160"/>
                  </a:lnTo>
                  <a:lnTo>
                    <a:pt x="1445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43" y="160"/>
                  </a:lnTo>
                  <a:lnTo>
                    <a:pt x="1436" y="160"/>
                  </a:lnTo>
                  <a:lnTo>
                    <a:pt x="1436" y="160"/>
                  </a:lnTo>
                  <a:lnTo>
                    <a:pt x="1438" y="160"/>
                  </a:lnTo>
                  <a:lnTo>
                    <a:pt x="1441" y="162"/>
                  </a:lnTo>
                  <a:lnTo>
                    <a:pt x="1441" y="162"/>
                  </a:lnTo>
                  <a:lnTo>
                    <a:pt x="1443" y="162"/>
                  </a:lnTo>
                  <a:lnTo>
                    <a:pt x="1443" y="162"/>
                  </a:lnTo>
                  <a:lnTo>
                    <a:pt x="1450" y="165"/>
                  </a:lnTo>
                  <a:lnTo>
                    <a:pt x="1454" y="165"/>
                  </a:lnTo>
                  <a:lnTo>
                    <a:pt x="1456" y="165"/>
                  </a:lnTo>
                  <a:lnTo>
                    <a:pt x="1461" y="165"/>
                  </a:lnTo>
                  <a:lnTo>
                    <a:pt x="1461" y="165"/>
                  </a:lnTo>
                  <a:lnTo>
                    <a:pt x="1461" y="165"/>
                  </a:lnTo>
                  <a:lnTo>
                    <a:pt x="1461" y="165"/>
                  </a:lnTo>
                  <a:lnTo>
                    <a:pt x="1463" y="165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7" y="167"/>
                  </a:lnTo>
                  <a:lnTo>
                    <a:pt x="1467" y="167"/>
                  </a:lnTo>
                  <a:lnTo>
                    <a:pt x="1467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5" y="167"/>
                  </a:lnTo>
                  <a:lnTo>
                    <a:pt x="1467" y="169"/>
                  </a:lnTo>
                  <a:lnTo>
                    <a:pt x="1467" y="169"/>
                  </a:lnTo>
                  <a:lnTo>
                    <a:pt x="1467" y="169"/>
                  </a:lnTo>
                  <a:lnTo>
                    <a:pt x="1470" y="169"/>
                  </a:lnTo>
                  <a:lnTo>
                    <a:pt x="1470" y="169"/>
                  </a:lnTo>
                  <a:lnTo>
                    <a:pt x="1470" y="169"/>
                  </a:lnTo>
                  <a:lnTo>
                    <a:pt x="1470" y="169"/>
                  </a:lnTo>
                  <a:lnTo>
                    <a:pt x="1470" y="169"/>
                  </a:lnTo>
                  <a:lnTo>
                    <a:pt x="1470" y="169"/>
                  </a:lnTo>
                  <a:lnTo>
                    <a:pt x="1467" y="169"/>
                  </a:lnTo>
                  <a:lnTo>
                    <a:pt x="1467" y="169"/>
                  </a:lnTo>
                  <a:lnTo>
                    <a:pt x="1467" y="169"/>
                  </a:lnTo>
                  <a:lnTo>
                    <a:pt x="1467" y="169"/>
                  </a:lnTo>
                  <a:lnTo>
                    <a:pt x="1467" y="169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70" y="171"/>
                  </a:lnTo>
                  <a:lnTo>
                    <a:pt x="1470" y="171"/>
                  </a:lnTo>
                  <a:lnTo>
                    <a:pt x="1470" y="171"/>
                  </a:lnTo>
                  <a:lnTo>
                    <a:pt x="1472" y="171"/>
                  </a:lnTo>
                  <a:lnTo>
                    <a:pt x="1472" y="171"/>
                  </a:lnTo>
                  <a:lnTo>
                    <a:pt x="1472" y="171"/>
                  </a:lnTo>
                  <a:lnTo>
                    <a:pt x="1470" y="171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67" y="171"/>
                  </a:lnTo>
                  <a:lnTo>
                    <a:pt x="1465" y="171"/>
                  </a:lnTo>
                  <a:lnTo>
                    <a:pt x="1465" y="171"/>
                  </a:lnTo>
                  <a:lnTo>
                    <a:pt x="1463" y="171"/>
                  </a:lnTo>
                  <a:lnTo>
                    <a:pt x="1461" y="171"/>
                  </a:lnTo>
                  <a:lnTo>
                    <a:pt x="1461" y="169"/>
                  </a:lnTo>
                  <a:lnTo>
                    <a:pt x="1461" y="169"/>
                  </a:lnTo>
                  <a:lnTo>
                    <a:pt x="1454" y="169"/>
                  </a:lnTo>
                  <a:lnTo>
                    <a:pt x="1454" y="169"/>
                  </a:lnTo>
                  <a:lnTo>
                    <a:pt x="1454" y="169"/>
                  </a:lnTo>
                  <a:lnTo>
                    <a:pt x="1454" y="169"/>
                  </a:lnTo>
                  <a:lnTo>
                    <a:pt x="1454" y="167"/>
                  </a:lnTo>
                  <a:lnTo>
                    <a:pt x="1447" y="167"/>
                  </a:lnTo>
                  <a:lnTo>
                    <a:pt x="1441" y="165"/>
                  </a:lnTo>
                  <a:lnTo>
                    <a:pt x="1438" y="165"/>
                  </a:lnTo>
                  <a:lnTo>
                    <a:pt x="1438" y="165"/>
                  </a:lnTo>
                  <a:lnTo>
                    <a:pt x="1438" y="165"/>
                  </a:lnTo>
                  <a:lnTo>
                    <a:pt x="1438" y="165"/>
                  </a:lnTo>
                  <a:lnTo>
                    <a:pt x="1441" y="165"/>
                  </a:lnTo>
                  <a:lnTo>
                    <a:pt x="1443" y="167"/>
                  </a:lnTo>
                  <a:lnTo>
                    <a:pt x="1443" y="167"/>
                  </a:lnTo>
                  <a:lnTo>
                    <a:pt x="1443" y="167"/>
                  </a:lnTo>
                  <a:lnTo>
                    <a:pt x="1443" y="167"/>
                  </a:lnTo>
                  <a:lnTo>
                    <a:pt x="1441" y="167"/>
                  </a:lnTo>
                  <a:lnTo>
                    <a:pt x="1443" y="167"/>
                  </a:lnTo>
                  <a:lnTo>
                    <a:pt x="1445" y="167"/>
                  </a:lnTo>
                  <a:lnTo>
                    <a:pt x="1447" y="167"/>
                  </a:lnTo>
                  <a:lnTo>
                    <a:pt x="1447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0" y="169"/>
                  </a:lnTo>
                  <a:lnTo>
                    <a:pt x="1452" y="169"/>
                  </a:lnTo>
                  <a:lnTo>
                    <a:pt x="1452" y="169"/>
                  </a:lnTo>
                  <a:lnTo>
                    <a:pt x="1454" y="169"/>
                  </a:lnTo>
                  <a:lnTo>
                    <a:pt x="1454" y="169"/>
                  </a:lnTo>
                  <a:lnTo>
                    <a:pt x="1454" y="169"/>
                  </a:lnTo>
                  <a:lnTo>
                    <a:pt x="1456" y="171"/>
                  </a:lnTo>
                  <a:lnTo>
                    <a:pt x="1456" y="171"/>
                  </a:lnTo>
                  <a:lnTo>
                    <a:pt x="1456" y="171"/>
                  </a:lnTo>
                  <a:lnTo>
                    <a:pt x="1458" y="171"/>
                  </a:lnTo>
                  <a:lnTo>
                    <a:pt x="1458" y="171"/>
                  </a:lnTo>
                  <a:lnTo>
                    <a:pt x="1458" y="171"/>
                  </a:lnTo>
                  <a:lnTo>
                    <a:pt x="1458" y="174"/>
                  </a:lnTo>
                  <a:lnTo>
                    <a:pt x="1458" y="174"/>
                  </a:lnTo>
                  <a:lnTo>
                    <a:pt x="1458" y="174"/>
                  </a:lnTo>
                  <a:lnTo>
                    <a:pt x="1458" y="174"/>
                  </a:lnTo>
                  <a:lnTo>
                    <a:pt x="1458" y="174"/>
                  </a:lnTo>
                  <a:lnTo>
                    <a:pt x="1461" y="174"/>
                  </a:lnTo>
                  <a:lnTo>
                    <a:pt x="1461" y="174"/>
                  </a:lnTo>
                  <a:lnTo>
                    <a:pt x="1461" y="174"/>
                  </a:lnTo>
                  <a:lnTo>
                    <a:pt x="1461" y="174"/>
                  </a:lnTo>
                  <a:lnTo>
                    <a:pt x="1461" y="174"/>
                  </a:lnTo>
                  <a:lnTo>
                    <a:pt x="1463" y="174"/>
                  </a:lnTo>
                  <a:lnTo>
                    <a:pt x="1463" y="174"/>
                  </a:lnTo>
                  <a:lnTo>
                    <a:pt x="1463" y="174"/>
                  </a:lnTo>
                  <a:lnTo>
                    <a:pt x="1463" y="174"/>
                  </a:lnTo>
                  <a:lnTo>
                    <a:pt x="1463" y="174"/>
                  </a:lnTo>
                  <a:lnTo>
                    <a:pt x="1463" y="174"/>
                  </a:lnTo>
                  <a:lnTo>
                    <a:pt x="1465" y="176"/>
                  </a:lnTo>
                  <a:lnTo>
                    <a:pt x="1465" y="176"/>
                  </a:lnTo>
                  <a:lnTo>
                    <a:pt x="1465" y="176"/>
                  </a:lnTo>
                  <a:lnTo>
                    <a:pt x="1465" y="176"/>
                  </a:lnTo>
                  <a:lnTo>
                    <a:pt x="1465" y="176"/>
                  </a:lnTo>
                  <a:lnTo>
                    <a:pt x="1467" y="176"/>
                  </a:lnTo>
                  <a:lnTo>
                    <a:pt x="1467" y="176"/>
                  </a:lnTo>
                  <a:lnTo>
                    <a:pt x="1470" y="178"/>
                  </a:lnTo>
                  <a:lnTo>
                    <a:pt x="1472" y="178"/>
                  </a:lnTo>
                  <a:lnTo>
                    <a:pt x="1472" y="178"/>
                  </a:lnTo>
                  <a:lnTo>
                    <a:pt x="1472" y="178"/>
                  </a:lnTo>
                  <a:lnTo>
                    <a:pt x="1472" y="178"/>
                  </a:lnTo>
                  <a:lnTo>
                    <a:pt x="1474" y="178"/>
                  </a:lnTo>
                  <a:lnTo>
                    <a:pt x="1474" y="176"/>
                  </a:lnTo>
                  <a:lnTo>
                    <a:pt x="1474" y="176"/>
                  </a:lnTo>
                  <a:lnTo>
                    <a:pt x="1474" y="176"/>
                  </a:lnTo>
                  <a:lnTo>
                    <a:pt x="1472" y="176"/>
                  </a:lnTo>
                  <a:lnTo>
                    <a:pt x="1472" y="176"/>
                  </a:lnTo>
                  <a:lnTo>
                    <a:pt x="1470" y="174"/>
                  </a:lnTo>
                  <a:lnTo>
                    <a:pt x="1470" y="174"/>
                  </a:lnTo>
                  <a:lnTo>
                    <a:pt x="1470" y="174"/>
                  </a:lnTo>
                  <a:lnTo>
                    <a:pt x="1467" y="174"/>
                  </a:lnTo>
                  <a:lnTo>
                    <a:pt x="1467" y="174"/>
                  </a:lnTo>
                  <a:lnTo>
                    <a:pt x="1467" y="174"/>
                  </a:lnTo>
                  <a:lnTo>
                    <a:pt x="1467" y="174"/>
                  </a:lnTo>
                  <a:lnTo>
                    <a:pt x="1467" y="174"/>
                  </a:lnTo>
                  <a:lnTo>
                    <a:pt x="1467" y="174"/>
                  </a:lnTo>
                  <a:lnTo>
                    <a:pt x="1472" y="174"/>
                  </a:lnTo>
                  <a:lnTo>
                    <a:pt x="1474" y="176"/>
                  </a:lnTo>
                  <a:lnTo>
                    <a:pt x="1474" y="176"/>
                  </a:lnTo>
                  <a:lnTo>
                    <a:pt x="1474" y="176"/>
                  </a:lnTo>
                  <a:lnTo>
                    <a:pt x="1476" y="176"/>
                  </a:lnTo>
                  <a:lnTo>
                    <a:pt x="1476" y="176"/>
                  </a:lnTo>
                  <a:lnTo>
                    <a:pt x="1476" y="176"/>
                  </a:lnTo>
                  <a:lnTo>
                    <a:pt x="1476" y="176"/>
                  </a:lnTo>
                  <a:lnTo>
                    <a:pt x="1476" y="176"/>
                  </a:lnTo>
                  <a:lnTo>
                    <a:pt x="1479" y="178"/>
                  </a:lnTo>
                  <a:lnTo>
                    <a:pt x="1481" y="178"/>
                  </a:lnTo>
                  <a:lnTo>
                    <a:pt x="1481" y="178"/>
                  </a:lnTo>
                  <a:lnTo>
                    <a:pt x="1481" y="178"/>
                  </a:lnTo>
                  <a:lnTo>
                    <a:pt x="1476" y="178"/>
                  </a:lnTo>
                  <a:lnTo>
                    <a:pt x="1476" y="178"/>
                  </a:lnTo>
                  <a:lnTo>
                    <a:pt x="1476" y="178"/>
                  </a:lnTo>
                  <a:lnTo>
                    <a:pt x="1476" y="178"/>
                  </a:lnTo>
                  <a:lnTo>
                    <a:pt x="1476" y="178"/>
                  </a:lnTo>
                  <a:lnTo>
                    <a:pt x="1474" y="178"/>
                  </a:lnTo>
                  <a:lnTo>
                    <a:pt x="1472" y="178"/>
                  </a:lnTo>
                  <a:lnTo>
                    <a:pt x="1472" y="178"/>
                  </a:lnTo>
                  <a:lnTo>
                    <a:pt x="1472" y="178"/>
                  </a:lnTo>
                  <a:lnTo>
                    <a:pt x="1472" y="180"/>
                  </a:lnTo>
                  <a:lnTo>
                    <a:pt x="1474" y="180"/>
                  </a:lnTo>
                  <a:lnTo>
                    <a:pt x="1474" y="180"/>
                  </a:lnTo>
                  <a:lnTo>
                    <a:pt x="1476" y="180"/>
                  </a:lnTo>
                  <a:lnTo>
                    <a:pt x="1479" y="180"/>
                  </a:lnTo>
                  <a:lnTo>
                    <a:pt x="1479" y="180"/>
                  </a:lnTo>
                  <a:lnTo>
                    <a:pt x="1479" y="180"/>
                  </a:lnTo>
                  <a:lnTo>
                    <a:pt x="1481" y="180"/>
                  </a:lnTo>
                  <a:lnTo>
                    <a:pt x="1481" y="180"/>
                  </a:lnTo>
                  <a:lnTo>
                    <a:pt x="1481" y="183"/>
                  </a:lnTo>
                  <a:lnTo>
                    <a:pt x="1481" y="183"/>
                  </a:lnTo>
                  <a:lnTo>
                    <a:pt x="1483" y="183"/>
                  </a:lnTo>
                  <a:lnTo>
                    <a:pt x="1483" y="183"/>
                  </a:lnTo>
                  <a:lnTo>
                    <a:pt x="1483" y="183"/>
                  </a:lnTo>
                  <a:lnTo>
                    <a:pt x="1483" y="183"/>
                  </a:lnTo>
                  <a:lnTo>
                    <a:pt x="1483" y="183"/>
                  </a:lnTo>
                  <a:lnTo>
                    <a:pt x="1485" y="183"/>
                  </a:lnTo>
                  <a:lnTo>
                    <a:pt x="1485" y="183"/>
                  </a:lnTo>
                  <a:lnTo>
                    <a:pt x="1485" y="183"/>
                  </a:lnTo>
                  <a:lnTo>
                    <a:pt x="1485" y="185"/>
                  </a:lnTo>
                  <a:lnTo>
                    <a:pt x="1488" y="185"/>
                  </a:lnTo>
                  <a:lnTo>
                    <a:pt x="1488" y="185"/>
                  </a:lnTo>
                  <a:lnTo>
                    <a:pt x="1490" y="185"/>
                  </a:lnTo>
                  <a:lnTo>
                    <a:pt x="1490" y="187"/>
                  </a:lnTo>
                  <a:lnTo>
                    <a:pt x="1490" y="187"/>
                  </a:lnTo>
                  <a:lnTo>
                    <a:pt x="1492" y="187"/>
                  </a:lnTo>
                  <a:lnTo>
                    <a:pt x="1494" y="187"/>
                  </a:lnTo>
                  <a:lnTo>
                    <a:pt x="1494" y="187"/>
                  </a:lnTo>
                  <a:lnTo>
                    <a:pt x="1494" y="187"/>
                  </a:lnTo>
                  <a:lnTo>
                    <a:pt x="1497" y="187"/>
                  </a:lnTo>
                  <a:lnTo>
                    <a:pt x="1497" y="187"/>
                  </a:lnTo>
                  <a:lnTo>
                    <a:pt x="1497" y="187"/>
                  </a:lnTo>
                  <a:lnTo>
                    <a:pt x="1497" y="189"/>
                  </a:lnTo>
                  <a:lnTo>
                    <a:pt x="1497" y="189"/>
                  </a:lnTo>
                  <a:lnTo>
                    <a:pt x="1497" y="189"/>
                  </a:lnTo>
                  <a:lnTo>
                    <a:pt x="1497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89"/>
                  </a:lnTo>
                  <a:lnTo>
                    <a:pt x="1499" y="192"/>
                  </a:lnTo>
                  <a:lnTo>
                    <a:pt x="1499" y="192"/>
                  </a:lnTo>
                  <a:lnTo>
                    <a:pt x="1501" y="189"/>
                  </a:lnTo>
                  <a:lnTo>
                    <a:pt x="1503" y="192"/>
                  </a:lnTo>
                  <a:lnTo>
                    <a:pt x="1503" y="192"/>
                  </a:lnTo>
                  <a:lnTo>
                    <a:pt x="1503" y="192"/>
                  </a:lnTo>
                  <a:lnTo>
                    <a:pt x="1503" y="192"/>
                  </a:lnTo>
                  <a:lnTo>
                    <a:pt x="1503" y="192"/>
                  </a:lnTo>
                  <a:lnTo>
                    <a:pt x="1503" y="192"/>
                  </a:lnTo>
                  <a:lnTo>
                    <a:pt x="1506" y="192"/>
                  </a:lnTo>
                  <a:lnTo>
                    <a:pt x="1506" y="192"/>
                  </a:lnTo>
                  <a:lnTo>
                    <a:pt x="1506" y="192"/>
                  </a:lnTo>
                  <a:lnTo>
                    <a:pt x="1506" y="192"/>
                  </a:lnTo>
                  <a:lnTo>
                    <a:pt x="1506" y="192"/>
                  </a:lnTo>
                  <a:lnTo>
                    <a:pt x="1508" y="192"/>
                  </a:lnTo>
                  <a:lnTo>
                    <a:pt x="1508" y="192"/>
                  </a:lnTo>
                  <a:lnTo>
                    <a:pt x="1508" y="192"/>
                  </a:lnTo>
                  <a:lnTo>
                    <a:pt x="1508" y="192"/>
                  </a:lnTo>
                  <a:lnTo>
                    <a:pt x="1508" y="192"/>
                  </a:lnTo>
                  <a:lnTo>
                    <a:pt x="1508" y="192"/>
                  </a:lnTo>
                  <a:lnTo>
                    <a:pt x="1510" y="192"/>
                  </a:lnTo>
                  <a:lnTo>
                    <a:pt x="1510" y="194"/>
                  </a:lnTo>
                  <a:lnTo>
                    <a:pt x="1510" y="194"/>
                  </a:lnTo>
                  <a:lnTo>
                    <a:pt x="1510" y="194"/>
                  </a:lnTo>
                  <a:lnTo>
                    <a:pt x="1512" y="194"/>
                  </a:lnTo>
                  <a:lnTo>
                    <a:pt x="1515" y="194"/>
                  </a:lnTo>
                  <a:lnTo>
                    <a:pt x="1515" y="194"/>
                  </a:lnTo>
                  <a:lnTo>
                    <a:pt x="1515" y="194"/>
                  </a:lnTo>
                  <a:lnTo>
                    <a:pt x="1517" y="194"/>
                  </a:lnTo>
                  <a:lnTo>
                    <a:pt x="1517" y="194"/>
                  </a:lnTo>
                  <a:lnTo>
                    <a:pt x="1517" y="194"/>
                  </a:lnTo>
                  <a:lnTo>
                    <a:pt x="1517" y="194"/>
                  </a:lnTo>
                  <a:lnTo>
                    <a:pt x="1519" y="196"/>
                  </a:lnTo>
                  <a:lnTo>
                    <a:pt x="1519" y="196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7" y="194"/>
                  </a:lnTo>
                  <a:lnTo>
                    <a:pt x="1517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19" y="194"/>
                  </a:lnTo>
                  <a:lnTo>
                    <a:pt x="1521" y="194"/>
                  </a:lnTo>
                  <a:lnTo>
                    <a:pt x="1521" y="194"/>
                  </a:lnTo>
                  <a:lnTo>
                    <a:pt x="1521" y="194"/>
                  </a:lnTo>
                  <a:lnTo>
                    <a:pt x="1524" y="196"/>
                  </a:lnTo>
                  <a:lnTo>
                    <a:pt x="1524" y="196"/>
                  </a:lnTo>
                  <a:lnTo>
                    <a:pt x="1524" y="196"/>
                  </a:lnTo>
                  <a:lnTo>
                    <a:pt x="1524" y="196"/>
                  </a:lnTo>
                  <a:lnTo>
                    <a:pt x="1526" y="196"/>
                  </a:lnTo>
                  <a:lnTo>
                    <a:pt x="1526" y="196"/>
                  </a:lnTo>
                  <a:lnTo>
                    <a:pt x="1526" y="198"/>
                  </a:lnTo>
                  <a:lnTo>
                    <a:pt x="1528" y="198"/>
                  </a:lnTo>
                  <a:lnTo>
                    <a:pt x="1530" y="198"/>
                  </a:lnTo>
                  <a:lnTo>
                    <a:pt x="1530" y="198"/>
                  </a:lnTo>
                  <a:lnTo>
                    <a:pt x="1533" y="196"/>
                  </a:lnTo>
                  <a:lnTo>
                    <a:pt x="1533" y="194"/>
                  </a:lnTo>
                  <a:lnTo>
                    <a:pt x="1533" y="194"/>
                  </a:lnTo>
                  <a:lnTo>
                    <a:pt x="1530" y="192"/>
                  </a:lnTo>
                  <a:lnTo>
                    <a:pt x="1530" y="192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30" y="189"/>
                  </a:lnTo>
                  <a:lnTo>
                    <a:pt x="1528" y="189"/>
                  </a:lnTo>
                  <a:lnTo>
                    <a:pt x="1528" y="189"/>
                  </a:lnTo>
                  <a:lnTo>
                    <a:pt x="1528" y="187"/>
                  </a:lnTo>
                  <a:lnTo>
                    <a:pt x="1530" y="187"/>
                  </a:lnTo>
                  <a:lnTo>
                    <a:pt x="1533" y="189"/>
                  </a:lnTo>
                  <a:lnTo>
                    <a:pt x="1533" y="187"/>
                  </a:lnTo>
                  <a:lnTo>
                    <a:pt x="1533" y="187"/>
                  </a:lnTo>
                  <a:lnTo>
                    <a:pt x="1530" y="187"/>
                  </a:lnTo>
                  <a:lnTo>
                    <a:pt x="1528" y="187"/>
                  </a:lnTo>
                  <a:lnTo>
                    <a:pt x="1528" y="187"/>
                  </a:lnTo>
                  <a:lnTo>
                    <a:pt x="1528" y="187"/>
                  </a:lnTo>
                  <a:lnTo>
                    <a:pt x="1528" y="185"/>
                  </a:lnTo>
                  <a:lnTo>
                    <a:pt x="1528" y="185"/>
                  </a:lnTo>
                  <a:lnTo>
                    <a:pt x="1526" y="185"/>
                  </a:lnTo>
                  <a:lnTo>
                    <a:pt x="1526" y="185"/>
                  </a:lnTo>
                  <a:lnTo>
                    <a:pt x="1526" y="185"/>
                  </a:lnTo>
                  <a:lnTo>
                    <a:pt x="1526" y="185"/>
                  </a:lnTo>
                  <a:lnTo>
                    <a:pt x="1526" y="183"/>
                  </a:lnTo>
                  <a:lnTo>
                    <a:pt x="1526" y="183"/>
                  </a:lnTo>
                  <a:lnTo>
                    <a:pt x="1526" y="183"/>
                  </a:lnTo>
                  <a:lnTo>
                    <a:pt x="1524" y="180"/>
                  </a:lnTo>
                  <a:lnTo>
                    <a:pt x="1524" y="180"/>
                  </a:lnTo>
                  <a:lnTo>
                    <a:pt x="1524" y="178"/>
                  </a:lnTo>
                  <a:lnTo>
                    <a:pt x="1521" y="176"/>
                  </a:lnTo>
                  <a:lnTo>
                    <a:pt x="1524" y="174"/>
                  </a:lnTo>
                  <a:lnTo>
                    <a:pt x="1524" y="174"/>
                  </a:lnTo>
                  <a:lnTo>
                    <a:pt x="1524" y="174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6"/>
                  </a:lnTo>
                  <a:lnTo>
                    <a:pt x="1526" y="178"/>
                  </a:lnTo>
                  <a:lnTo>
                    <a:pt x="1528" y="178"/>
                  </a:lnTo>
                  <a:lnTo>
                    <a:pt x="1528" y="178"/>
                  </a:lnTo>
                  <a:lnTo>
                    <a:pt x="1530" y="178"/>
                  </a:lnTo>
                  <a:lnTo>
                    <a:pt x="1535" y="180"/>
                  </a:lnTo>
                  <a:lnTo>
                    <a:pt x="1535" y="180"/>
                  </a:lnTo>
                  <a:lnTo>
                    <a:pt x="1537" y="180"/>
                  </a:lnTo>
                  <a:lnTo>
                    <a:pt x="1537" y="180"/>
                  </a:lnTo>
                  <a:lnTo>
                    <a:pt x="1537" y="180"/>
                  </a:lnTo>
                  <a:lnTo>
                    <a:pt x="1537" y="180"/>
                  </a:lnTo>
                  <a:lnTo>
                    <a:pt x="1537" y="180"/>
                  </a:lnTo>
                  <a:lnTo>
                    <a:pt x="1537" y="180"/>
                  </a:lnTo>
                  <a:lnTo>
                    <a:pt x="1539" y="180"/>
                  </a:lnTo>
                  <a:lnTo>
                    <a:pt x="1546" y="183"/>
                  </a:lnTo>
                  <a:lnTo>
                    <a:pt x="1551" y="185"/>
                  </a:lnTo>
                  <a:lnTo>
                    <a:pt x="1553" y="185"/>
                  </a:lnTo>
                  <a:lnTo>
                    <a:pt x="1555" y="185"/>
                  </a:lnTo>
                  <a:lnTo>
                    <a:pt x="1560" y="185"/>
                  </a:lnTo>
                  <a:lnTo>
                    <a:pt x="1564" y="185"/>
                  </a:lnTo>
                  <a:lnTo>
                    <a:pt x="1564" y="185"/>
                  </a:lnTo>
                  <a:lnTo>
                    <a:pt x="1564" y="185"/>
                  </a:lnTo>
                  <a:lnTo>
                    <a:pt x="1564" y="185"/>
                  </a:lnTo>
                  <a:lnTo>
                    <a:pt x="1569" y="185"/>
                  </a:lnTo>
                  <a:lnTo>
                    <a:pt x="1569" y="185"/>
                  </a:lnTo>
                  <a:lnTo>
                    <a:pt x="1569" y="185"/>
                  </a:lnTo>
                  <a:lnTo>
                    <a:pt x="1569" y="187"/>
                  </a:lnTo>
                  <a:lnTo>
                    <a:pt x="1569" y="187"/>
                  </a:lnTo>
                  <a:lnTo>
                    <a:pt x="1569" y="187"/>
                  </a:lnTo>
                  <a:lnTo>
                    <a:pt x="1569" y="187"/>
                  </a:lnTo>
                  <a:lnTo>
                    <a:pt x="1569" y="187"/>
                  </a:lnTo>
                  <a:lnTo>
                    <a:pt x="1569" y="187"/>
                  </a:lnTo>
                  <a:lnTo>
                    <a:pt x="1569" y="187"/>
                  </a:lnTo>
                  <a:lnTo>
                    <a:pt x="1569" y="185"/>
                  </a:lnTo>
                  <a:lnTo>
                    <a:pt x="1569" y="185"/>
                  </a:lnTo>
                  <a:lnTo>
                    <a:pt x="1569" y="185"/>
                  </a:lnTo>
                  <a:lnTo>
                    <a:pt x="1566" y="185"/>
                  </a:lnTo>
                  <a:lnTo>
                    <a:pt x="1566" y="185"/>
                  </a:lnTo>
                  <a:lnTo>
                    <a:pt x="1566" y="185"/>
                  </a:lnTo>
                  <a:lnTo>
                    <a:pt x="1566" y="185"/>
                  </a:lnTo>
                  <a:lnTo>
                    <a:pt x="1566" y="183"/>
                  </a:lnTo>
                  <a:lnTo>
                    <a:pt x="1566" y="183"/>
                  </a:lnTo>
                  <a:lnTo>
                    <a:pt x="1566" y="183"/>
                  </a:lnTo>
                  <a:lnTo>
                    <a:pt x="1566" y="183"/>
                  </a:lnTo>
                  <a:lnTo>
                    <a:pt x="1566" y="183"/>
                  </a:lnTo>
                  <a:lnTo>
                    <a:pt x="1569" y="183"/>
                  </a:lnTo>
                  <a:lnTo>
                    <a:pt x="1569" y="183"/>
                  </a:lnTo>
                  <a:lnTo>
                    <a:pt x="1569" y="183"/>
                  </a:lnTo>
                  <a:lnTo>
                    <a:pt x="1569" y="183"/>
                  </a:lnTo>
                  <a:lnTo>
                    <a:pt x="1571" y="183"/>
                  </a:lnTo>
                  <a:lnTo>
                    <a:pt x="1571" y="183"/>
                  </a:lnTo>
                  <a:lnTo>
                    <a:pt x="1571" y="183"/>
                  </a:lnTo>
                  <a:lnTo>
                    <a:pt x="1571" y="183"/>
                  </a:lnTo>
                  <a:lnTo>
                    <a:pt x="1571" y="183"/>
                  </a:lnTo>
                  <a:lnTo>
                    <a:pt x="1573" y="183"/>
                  </a:lnTo>
                  <a:lnTo>
                    <a:pt x="1573" y="183"/>
                  </a:lnTo>
                  <a:lnTo>
                    <a:pt x="1573" y="183"/>
                  </a:lnTo>
                  <a:lnTo>
                    <a:pt x="1573" y="183"/>
                  </a:lnTo>
                  <a:lnTo>
                    <a:pt x="1571" y="183"/>
                  </a:lnTo>
                  <a:lnTo>
                    <a:pt x="1571" y="180"/>
                  </a:lnTo>
                  <a:lnTo>
                    <a:pt x="1573" y="180"/>
                  </a:lnTo>
                  <a:lnTo>
                    <a:pt x="1573" y="180"/>
                  </a:lnTo>
                  <a:lnTo>
                    <a:pt x="1575" y="180"/>
                  </a:lnTo>
                  <a:lnTo>
                    <a:pt x="1580" y="180"/>
                  </a:lnTo>
                  <a:lnTo>
                    <a:pt x="1587" y="180"/>
                  </a:lnTo>
                  <a:lnTo>
                    <a:pt x="1589" y="180"/>
                  </a:lnTo>
                  <a:lnTo>
                    <a:pt x="1589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3" y="183"/>
                  </a:lnTo>
                  <a:lnTo>
                    <a:pt x="1593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1" y="183"/>
                  </a:lnTo>
                  <a:lnTo>
                    <a:pt x="1593" y="183"/>
                  </a:lnTo>
                  <a:lnTo>
                    <a:pt x="1593" y="183"/>
                  </a:lnTo>
                  <a:lnTo>
                    <a:pt x="1593" y="183"/>
                  </a:lnTo>
                  <a:lnTo>
                    <a:pt x="1593" y="183"/>
                  </a:lnTo>
                  <a:lnTo>
                    <a:pt x="1596" y="183"/>
                  </a:lnTo>
                  <a:lnTo>
                    <a:pt x="1596" y="183"/>
                  </a:lnTo>
                  <a:lnTo>
                    <a:pt x="1598" y="183"/>
                  </a:lnTo>
                  <a:lnTo>
                    <a:pt x="1598" y="183"/>
                  </a:lnTo>
                  <a:lnTo>
                    <a:pt x="1600" y="185"/>
                  </a:lnTo>
                  <a:lnTo>
                    <a:pt x="1600" y="185"/>
                  </a:lnTo>
                  <a:lnTo>
                    <a:pt x="1600" y="185"/>
                  </a:lnTo>
                  <a:lnTo>
                    <a:pt x="1600" y="185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605" y="185"/>
                  </a:lnTo>
                  <a:lnTo>
                    <a:pt x="1607" y="185"/>
                  </a:lnTo>
                  <a:lnTo>
                    <a:pt x="1607" y="185"/>
                  </a:lnTo>
                  <a:lnTo>
                    <a:pt x="1607" y="185"/>
                  </a:lnTo>
                  <a:lnTo>
                    <a:pt x="1607" y="185"/>
                  </a:lnTo>
                  <a:lnTo>
                    <a:pt x="1609" y="185"/>
                  </a:lnTo>
                  <a:lnTo>
                    <a:pt x="1609" y="185"/>
                  </a:lnTo>
                  <a:lnTo>
                    <a:pt x="1609" y="187"/>
                  </a:lnTo>
                  <a:lnTo>
                    <a:pt x="1609" y="187"/>
                  </a:lnTo>
                  <a:lnTo>
                    <a:pt x="1609" y="187"/>
                  </a:lnTo>
                  <a:lnTo>
                    <a:pt x="1609" y="187"/>
                  </a:lnTo>
                  <a:lnTo>
                    <a:pt x="1609" y="187"/>
                  </a:lnTo>
                  <a:lnTo>
                    <a:pt x="1609" y="187"/>
                  </a:lnTo>
                  <a:lnTo>
                    <a:pt x="1611" y="187"/>
                  </a:lnTo>
                  <a:lnTo>
                    <a:pt x="1611" y="187"/>
                  </a:lnTo>
                  <a:lnTo>
                    <a:pt x="1609" y="187"/>
                  </a:lnTo>
                  <a:lnTo>
                    <a:pt x="1609" y="187"/>
                  </a:lnTo>
                  <a:lnTo>
                    <a:pt x="1611" y="187"/>
                  </a:lnTo>
                  <a:lnTo>
                    <a:pt x="1611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9"/>
                  </a:lnTo>
                  <a:lnTo>
                    <a:pt x="1616" y="189"/>
                  </a:lnTo>
                  <a:lnTo>
                    <a:pt x="1616" y="189"/>
                  </a:lnTo>
                  <a:lnTo>
                    <a:pt x="1614" y="189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7"/>
                  </a:lnTo>
                  <a:lnTo>
                    <a:pt x="1614" y="189"/>
                  </a:lnTo>
                  <a:lnTo>
                    <a:pt x="1614" y="189"/>
                  </a:lnTo>
                  <a:lnTo>
                    <a:pt x="1614" y="189"/>
                  </a:lnTo>
                  <a:lnTo>
                    <a:pt x="1616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2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20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18" y="189"/>
                  </a:lnTo>
                  <a:lnTo>
                    <a:pt x="1616" y="189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16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18" y="187"/>
                  </a:lnTo>
                  <a:lnTo>
                    <a:pt x="1618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0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7"/>
                  </a:lnTo>
                  <a:lnTo>
                    <a:pt x="1622" y="185"/>
                  </a:lnTo>
                  <a:lnTo>
                    <a:pt x="1622" y="185"/>
                  </a:lnTo>
                  <a:lnTo>
                    <a:pt x="1618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6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5"/>
                  </a:lnTo>
                  <a:lnTo>
                    <a:pt x="1614" y="183"/>
                  </a:lnTo>
                  <a:lnTo>
                    <a:pt x="1614" y="183"/>
                  </a:lnTo>
                  <a:lnTo>
                    <a:pt x="1614" y="183"/>
                  </a:lnTo>
                  <a:lnTo>
                    <a:pt x="1614" y="183"/>
                  </a:lnTo>
                  <a:lnTo>
                    <a:pt x="1614" y="183"/>
                  </a:lnTo>
                  <a:lnTo>
                    <a:pt x="1611" y="183"/>
                  </a:lnTo>
                  <a:lnTo>
                    <a:pt x="1611" y="180"/>
                  </a:lnTo>
                  <a:lnTo>
                    <a:pt x="1614" y="180"/>
                  </a:lnTo>
                  <a:lnTo>
                    <a:pt x="1618" y="180"/>
                  </a:lnTo>
                  <a:lnTo>
                    <a:pt x="1616" y="180"/>
                  </a:lnTo>
                  <a:lnTo>
                    <a:pt x="1616" y="180"/>
                  </a:lnTo>
                  <a:lnTo>
                    <a:pt x="1616" y="180"/>
                  </a:lnTo>
                  <a:lnTo>
                    <a:pt x="1618" y="180"/>
                  </a:lnTo>
                  <a:lnTo>
                    <a:pt x="1618" y="183"/>
                  </a:lnTo>
                  <a:lnTo>
                    <a:pt x="1618" y="183"/>
                  </a:lnTo>
                  <a:lnTo>
                    <a:pt x="1620" y="183"/>
                  </a:lnTo>
                  <a:lnTo>
                    <a:pt x="1620" y="180"/>
                  </a:lnTo>
                  <a:lnTo>
                    <a:pt x="1620" y="180"/>
                  </a:lnTo>
                  <a:lnTo>
                    <a:pt x="1618" y="180"/>
                  </a:lnTo>
                  <a:lnTo>
                    <a:pt x="1618" y="180"/>
                  </a:lnTo>
                  <a:lnTo>
                    <a:pt x="1618" y="180"/>
                  </a:lnTo>
                  <a:lnTo>
                    <a:pt x="1618" y="180"/>
                  </a:lnTo>
                  <a:lnTo>
                    <a:pt x="1620" y="180"/>
                  </a:lnTo>
                  <a:lnTo>
                    <a:pt x="1620" y="180"/>
                  </a:lnTo>
                  <a:lnTo>
                    <a:pt x="1622" y="180"/>
                  </a:lnTo>
                  <a:lnTo>
                    <a:pt x="1625" y="180"/>
                  </a:lnTo>
                  <a:lnTo>
                    <a:pt x="1625" y="180"/>
                  </a:lnTo>
                  <a:lnTo>
                    <a:pt x="1627" y="180"/>
                  </a:lnTo>
                  <a:lnTo>
                    <a:pt x="1627" y="183"/>
                  </a:lnTo>
                  <a:lnTo>
                    <a:pt x="1629" y="183"/>
                  </a:lnTo>
                  <a:lnTo>
                    <a:pt x="1629" y="183"/>
                  </a:lnTo>
                  <a:lnTo>
                    <a:pt x="1629" y="183"/>
                  </a:lnTo>
                  <a:lnTo>
                    <a:pt x="1629" y="183"/>
                  </a:lnTo>
                  <a:lnTo>
                    <a:pt x="1631" y="183"/>
                  </a:lnTo>
                  <a:lnTo>
                    <a:pt x="1631" y="185"/>
                  </a:lnTo>
                  <a:lnTo>
                    <a:pt x="1631" y="185"/>
                  </a:lnTo>
                  <a:lnTo>
                    <a:pt x="1631" y="185"/>
                  </a:lnTo>
                  <a:lnTo>
                    <a:pt x="1634" y="185"/>
                  </a:lnTo>
                  <a:lnTo>
                    <a:pt x="1634" y="185"/>
                  </a:lnTo>
                  <a:lnTo>
                    <a:pt x="1634" y="185"/>
                  </a:lnTo>
                  <a:lnTo>
                    <a:pt x="1634" y="185"/>
                  </a:lnTo>
                  <a:lnTo>
                    <a:pt x="1634" y="185"/>
                  </a:lnTo>
                  <a:lnTo>
                    <a:pt x="1634" y="183"/>
                  </a:lnTo>
                  <a:lnTo>
                    <a:pt x="1634" y="183"/>
                  </a:lnTo>
                  <a:lnTo>
                    <a:pt x="1634" y="183"/>
                  </a:lnTo>
                  <a:lnTo>
                    <a:pt x="1634" y="183"/>
                  </a:lnTo>
                  <a:lnTo>
                    <a:pt x="1636" y="183"/>
                  </a:lnTo>
                  <a:lnTo>
                    <a:pt x="1638" y="183"/>
                  </a:lnTo>
                  <a:lnTo>
                    <a:pt x="1638" y="183"/>
                  </a:lnTo>
                  <a:lnTo>
                    <a:pt x="1640" y="183"/>
                  </a:lnTo>
                  <a:lnTo>
                    <a:pt x="1640" y="183"/>
                  </a:lnTo>
                  <a:lnTo>
                    <a:pt x="1640" y="183"/>
                  </a:lnTo>
                  <a:lnTo>
                    <a:pt x="1640" y="183"/>
                  </a:lnTo>
                  <a:lnTo>
                    <a:pt x="1640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43" y="183"/>
                  </a:lnTo>
                  <a:lnTo>
                    <a:pt x="1638" y="180"/>
                  </a:lnTo>
                  <a:lnTo>
                    <a:pt x="1636" y="180"/>
                  </a:lnTo>
                  <a:lnTo>
                    <a:pt x="1636" y="180"/>
                  </a:lnTo>
                  <a:lnTo>
                    <a:pt x="1634" y="180"/>
                  </a:lnTo>
                  <a:lnTo>
                    <a:pt x="1634" y="180"/>
                  </a:lnTo>
                  <a:lnTo>
                    <a:pt x="1634" y="178"/>
                  </a:lnTo>
                  <a:lnTo>
                    <a:pt x="1631" y="178"/>
                  </a:lnTo>
                  <a:lnTo>
                    <a:pt x="1631" y="178"/>
                  </a:lnTo>
                  <a:lnTo>
                    <a:pt x="1631" y="178"/>
                  </a:lnTo>
                  <a:lnTo>
                    <a:pt x="1631" y="178"/>
                  </a:lnTo>
                  <a:lnTo>
                    <a:pt x="1631" y="178"/>
                  </a:lnTo>
                  <a:lnTo>
                    <a:pt x="1631" y="178"/>
                  </a:lnTo>
                  <a:lnTo>
                    <a:pt x="1629" y="178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9" y="176"/>
                  </a:lnTo>
                  <a:lnTo>
                    <a:pt x="1627" y="176"/>
                  </a:lnTo>
                  <a:lnTo>
                    <a:pt x="1627" y="176"/>
                  </a:lnTo>
                  <a:lnTo>
                    <a:pt x="1627" y="176"/>
                  </a:lnTo>
                  <a:lnTo>
                    <a:pt x="1625" y="174"/>
                  </a:lnTo>
                  <a:lnTo>
                    <a:pt x="1625" y="174"/>
                  </a:lnTo>
                  <a:lnTo>
                    <a:pt x="1620" y="174"/>
                  </a:lnTo>
                  <a:lnTo>
                    <a:pt x="1620" y="174"/>
                  </a:lnTo>
                  <a:lnTo>
                    <a:pt x="1622" y="174"/>
                  </a:lnTo>
                  <a:lnTo>
                    <a:pt x="1625" y="174"/>
                  </a:lnTo>
                  <a:lnTo>
                    <a:pt x="1625" y="174"/>
                  </a:lnTo>
                  <a:lnTo>
                    <a:pt x="1625" y="174"/>
                  </a:lnTo>
                  <a:lnTo>
                    <a:pt x="1625" y="174"/>
                  </a:lnTo>
                  <a:lnTo>
                    <a:pt x="1625" y="174"/>
                  </a:lnTo>
                  <a:lnTo>
                    <a:pt x="1625" y="171"/>
                  </a:lnTo>
                  <a:lnTo>
                    <a:pt x="1622" y="171"/>
                  </a:lnTo>
                  <a:lnTo>
                    <a:pt x="1622" y="171"/>
                  </a:lnTo>
                  <a:lnTo>
                    <a:pt x="1622" y="171"/>
                  </a:lnTo>
                  <a:lnTo>
                    <a:pt x="1622" y="169"/>
                  </a:lnTo>
                  <a:lnTo>
                    <a:pt x="1622" y="169"/>
                  </a:lnTo>
                  <a:lnTo>
                    <a:pt x="1622" y="169"/>
                  </a:lnTo>
                  <a:lnTo>
                    <a:pt x="1625" y="169"/>
                  </a:lnTo>
                  <a:lnTo>
                    <a:pt x="1627" y="169"/>
                  </a:lnTo>
                  <a:lnTo>
                    <a:pt x="1627" y="169"/>
                  </a:lnTo>
                  <a:lnTo>
                    <a:pt x="1627" y="169"/>
                  </a:lnTo>
                  <a:lnTo>
                    <a:pt x="1627" y="169"/>
                  </a:lnTo>
                  <a:lnTo>
                    <a:pt x="1627" y="169"/>
                  </a:lnTo>
                  <a:lnTo>
                    <a:pt x="1625" y="169"/>
                  </a:lnTo>
                  <a:lnTo>
                    <a:pt x="1616" y="169"/>
                  </a:lnTo>
                  <a:lnTo>
                    <a:pt x="1616" y="169"/>
                  </a:lnTo>
                  <a:lnTo>
                    <a:pt x="1616" y="169"/>
                  </a:lnTo>
                  <a:lnTo>
                    <a:pt x="1616" y="169"/>
                  </a:lnTo>
                  <a:lnTo>
                    <a:pt x="1618" y="169"/>
                  </a:lnTo>
                  <a:lnTo>
                    <a:pt x="1618" y="169"/>
                  </a:lnTo>
                  <a:lnTo>
                    <a:pt x="1616" y="169"/>
                  </a:lnTo>
                  <a:lnTo>
                    <a:pt x="1616" y="169"/>
                  </a:lnTo>
                  <a:lnTo>
                    <a:pt x="1614" y="169"/>
                  </a:lnTo>
                  <a:lnTo>
                    <a:pt x="1614" y="169"/>
                  </a:lnTo>
                  <a:lnTo>
                    <a:pt x="1614" y="169"/>
                  </a:lnTo>
                  <a:lnTo>
                    <a:pt x="1616" y="169"/>
                  </a:lnTo>
                  <a:lnTo>
                    <a:pt x="1616" y="169"/>
                  </a:lnTo>
                  <a:lnTo>
                    <a:pt x="1616" y="171"/>
                  </a:lnTo>
                  <a:lnTo>
                    <a:pt x="1616" y="171"/>
                  </a:lnTo>
                  <a:lnTo>
                    <a:pt x="1614" y="169"/>
                  </a:lnTo>
                  <a:lnTo>
                    <a:pt x="1614" y="169"/>
                  </a:lnTo>
                  <a:lnTo>
                    <a:pt x="1611" y="169"/>
                  </a:lnTo>
                  <a:lnTo>
                    <a:pt x="1609" y="169"/>
                  </a:lnTo>
                  <a:lnTo>
                    <a:pt x="1609" y="169"/>
                  </a:lnTo>
                  <a:lnTo>
                    <a:pt x="1609" y="169"/>
                  </a:lnTo>
                  <a:lnTo>
                    <a:pt x="1609" y="167"/>
                  </a:lnTo>
                  <a:lnTo>
                    <a:pt x="1609" y="167"/>
                  </a:lnTo>
                  <a:lnTo>
                    <a:pt x="1609" y="167"/>
                  </a:lnTo>
                  <a:lnTo>
                    <a:pt x="1609" y="167"/>
                  </a:lnTo>
                  <a:lnTo>
                    <a:pt x="1609" y="167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5"/>
                  </a:lnTo>
                  <a:lnTo>
                    <a:pt x="1609" y="162"/>
                  </a:lnTo>
                  <a:lnTo>
                    <a:pt x="1614" y="162"/>
                  </a:lnTo>
                  <a:lnTo>
                    <a:pt x="1618" y="165"/>
                  </a:lnTo>
                  <a:lnTo>
                    <a:pt x="1620" y="165"/>
                  </a:lnTo>
                  <a:lnTo>
                    <a:pt x="1625" y="162"/>
                  </a:lnTo>
                  <a:lnTo>
                    <a:pt x="1627" y="162"/>
                  </a:lnTo>
                  <a:lnTo>
                    <a:pt x="1627" y="162"/>
                  </a:lnTo>
                  <a:lnTo>
                    <a:pt x="1627" y="162"/>
                  </a:lnTo>
                  <a:lnTo>
                    <a:pt x="1627" y="162"/>
                  </a:lnTo>
                  <a:lnTo>
                    <a:pt x="1629" y="162"/>
                  </a:lnTo>
                  <a:lnTo>
                    <a:pt x="1629" y="162"/>
                  </a:lnTo>
                  <a:lnTo>
                    <a:pt x="1629" y="162"/>
                  </a:lnTo>
                  <a:lnTo>
                    <a:pt x="1627" y="162"/>
                  </a:lnTo>
                  <a:lnTo>
                    <a:pt x="1627" y="162"/>
                  </a:lnTo>
                  <a:lnTo>
                    <a:pt x="1627" y="162"/>
                  </a:lnTo>
                  <a:lnTo>
                    <a:pt x="1627" y="160"/>
                  </a:lnTo>
                  <a:lnTo>
                    <a:pt x="1627" y="160"/>
                  </a:lnTo>
                  <a:lnTo>
                    <a:pt x="1627" y="160"/>
                  </a:lnTo>
                  <a:lnTo>
                    <a:pt x="1627" y="160"/>
                  </a:lnTo>
                  <a:lnTo>
                    <a:pt x="1625" y="160"/>
                  </a:lnTo>
                  <a:lnTo>
                    <a:pt x="1625" y="160"/>
                  </a:lnTo>
                  <a:lnTo>
                    <a:pt x="1625" y="160"/>
                  </a:lnTo>
                  <a:lnTo>
                    <a:pt x="1622" y="160"/>
                  </a:lnTo>
                  <a:lnTo>
                    <a:pt x="1622" y="158"/>
                  </a:lnTo>
                  <a:lnTo>
                    <a:pt x="1620" y="158"/>
                  </a:lnTo>
                  <a:lnTo>
                    <a:pt x="1618" y="158"/>
                  </a:lnTo>
                  <a:lnTo>
                    <a:pt x="1618" y="158"/>
                  </a:lnTo>
                  <a:lnTo>
                    <a:pt x="1618" y="158"/>
                  </a:lnTo>
                  <a:lnTo>
                    <a:pt x="1616" y="158"/>
                  </a:lnTo>
                  <a:lnTo>
                    <a:pt x="1616" y="158"/>
                  </a:lnTo>
                  <a:lnTo>
                    <a:pt x="1616" y="158"/>
                  </a:lnTo>
                  <a:lnTo>
                    <a:pt x="1616" y="156"/>
                  </a:lnTo>
                  <a:lnTo>
                    <a:pt x="1614" y="156"/>
                  </a:lnTo>
                  <a:lnTo>
                    <a:pt x="1614" y="156"/>
                  </a:lnTo>
                  <a:lnTo>
                    <a:pt x="1614" y="156"/>
                  </a:lnTo>
                  <a:lnTo>
                    <a:pt x="1616" y="156"/>
                  </a:lnTo>
                  <a:lnTo>
                    <a:pt x="1618" y="156"/>
                  </a:lnTo>
                  <a:lnTo>
                    <a:pt x="1618" y="156"/>
                  </a:lnTo>
                  <a:lnTo>
                    <a:pt x="1618" y="156"/>
                  </a:lnTo>
                  <a:lnTo>
                    <a:pt x="1620" y="156"/>
                  </a:lnTo>
                  <a:lnTo>
                    <a:pt x="1622" y="156"/>
                  </a:lnTo>
                  <a:lnTo>
                    <a:pt x="1625" y="156"/>
                  </a:lnTo>
                  <a:lnTo>
                    <a:pt x="1627" y="158"/>
                  </a:lnTo>
                  <a:lnTo>
                    <a:pt x="1627" y="158"/>
                  </a:lnTo>
                  <a:lnTo>
                    <a:pt x="1629" y="158"/>
                  </a:lnTo>
                  <a:lnTo>
                    <a:pt x="1631" y="158"/>
                  </a:lnTo>
                  <a:lnTo>
                    <a:pt x="1634" y="158"/>
                  </a:lnTo>
                  <a:lnTo>
                    <a:pt x="1634" y="158"/>
                  </a:lnTo>
                  <a:lnTo>
                    <a:pt x="1643" y="160"/>
                  </a:lnTo>
                  <a:lnTo>
                    <a:pt x="1647" y="160"/>
                  </a:lnTo>
                  <a:lnTo>
                    <a:pt x="1649" y="160"/>
                  </a:lnTo>
                  <a:lnTo>
                    <a:pt x="1654" y="160"/>
                  </a:lnTo>
                  <a:lnTo>
                    <a:pt x="1656" y="160"/>
                  </a:lnTo>
                  <a:lnTo>
                    <a:pt x="1661" y="160"/>
                  </a:lnTo>
                  <a:lnTo>
                    <a:pt x="1663" y="160"/>
                  </a:lnTo>
                  <a:lnTo>
                    <a:pt x="1665" y="160"/>
                  </a:lnTo>
                  <a:lnTo>
                    <a:pt x="1672" y="160"/>
                  </a:lnTo>
                  <a:lnTo>
                    <a:pt x="1674" y="160"/>
                  </a:lnTo>
                  <a:lnTo>
                    <a:pt x="1681" y="162"/>
                  </a:lnTo>
                  <a:lnTo>
                    <a:pt x="1683" y="162"/>
                  </a:lnTo>
                  <a:lnTo>
                    <a:pt x="1694" y="162"/>
                  </a:lnTo>
                  <a:lnTo>
                    <a:pt x="1699" y="162"/>
                  </a:lnTo>
                  <a:lnTo>
                    <a:pt x="1703" y="165"/>
                  </a:lnTo>
                  <a:lnTo>
                    <a:pt x="1706" y="165"/>
                  </a:lnTo>
                  <a:lnTo>
                    <a:pt x="1710" y="165"/>
                  </a:lnTo>
                  <a:lnTo>
                    <a:pt x="1712" y="165"/>
                  </a:lnTo>
                  <a:lnTo>
                    <a:pt x="1715" y="165"/>
                  </a:lnTo>
                  <a:lnTo>
                    <a:pt x="1719" y="167"/>
                  </a:lnTo>
                  <a:lnTo>
                    <a:pt x="1721" y="167"/>
                  </a:lnTo>
                  <a:lnTo>
                    <a:pt x="1721" y="167"/>
                  </a:lnTo>
                  <a:lnTo>
                    <a:pt x="1721" y="167"/>
                  </a:lnTo>
                  <a:lnTo>
                    <a:pt x="1721" y="167"/>
                  </a:lnTo>
                  <a:lnTo>
                    <a:pt x="1719" y="167"/>
                  </a:lnTo>
                  <a:lnTo>
                    <a:pt x="1710" y="167"/>
                  </a:lnTo>
                  <a:lnTo>
                    <a:pt x="1708" y="167"/>
                  </a:lnTo>
                  <a:lnTo>
                    <a:pt x="1703" y="167"/>
                  </a:lnTo>
                  <a:lnTo>
                    <a:pt x="1699" y="167"/>
                  </a:lnTo>
                  <a:lnTo>
                    <a:pt x="1699" y="167"/>
                  </a:lnTo>
                  <a:lnTo>
                    <a:pt x="1699" y="167"/>
                  </a:lnTo>
                  <a:lnTo>
                    <a:pt x="1699" y="167"/>
                  </a:lnTo>
                  <a:lnTo>
                    <a:pt x="1697" y="167"/>
                  </a:lnTo>
                  <a:lnTo>
                    <a:pt x="1697" y="165"/>
                  </a:lnTo>
                  <a:lnTo>
                    <a:pt x="1697" y="165"/>
                  </a:lnTo>
                  <a:lnTo>
                    <a:pt x="1697" y="165"/>
                  </a:lnTo>
                  <a:lnTo>
                    <a:pt x="1694" y="165"/>
                  </a:lnTo>
                  <a:lnTo>
                    <a:pt x="1694" y="165"/>
                  </a:lnTo>
                  <a:lnTo>
                    <a:pt x="1694" y="165"/>
                  </a:lnTo>
                  <a:lnTo>
                    <a:pt x="1694" y="165"/>
                  </a:lnTo>
                  <a:lnTo>
                    <a:pt x="1694" y="165"/>
                  </a:lnTo>
                  <a:lnTo>
                    <a:pt x="1694" y="165"/>
                  </a:lnTo>
                  <a:lnTo>
                    <a:pt x="1694" y="165"/>
                  </a:lnTo>
                  <a:lnTo>
                    <a:pt x="1692" y="165"/>
                  </a:lnTo>
                  <a:lnTo>
                    <a:pt x="1692" y="165"/>
                  </a:lnTo>
                  <a:lnTo>
                    <a:pt x="1692" y="165"/>
                  </a:lnTo>
                  <a:lnTo>
                    <a:pt x="1690" y="165"/>
                  </a:lnTo>
                  <a:lnTo>
                    <a:pt x="1690" y="165"/>
                  </a:lnTo>
                  <a:lnTo>
                    <a:pt x="1690" y="165"/>
                  </a:lnTo>
                  <a:lnTo>
                    <a:pt x="1690" y="165"/>
                  </a:lnTo>
                  <a:lnTo>
                    <a:pt x="1688" y="167"/>
                  </a:lnTo>
                  <a:lnTo>
                    <a:pt x="1688" y="167"/>
                  </a:lnTo>
                  <a:lnTo>
                    <a:pt x="1688" y="167"/>
                  </a:lnTo>
                  <a:lnTo>
                    <a:pt x="1688" y="167"/>
                  </a:lnTo>
                  <a:lnTo>
                    <a:pt x="1688" y="167"/>
                  </a:lnTo>
                  <a:lnTo>
                    <a:pt x="1690" y="169"/>
                  </a:lnTo>
                  <a:lnTo>
                    <a:pt x="1690" y="169"/>
                  </a:lnTo>
                  <a:lnTo>
                    <a:pt x="1690" y="169"/>
                  </a:lnTo>
                  <a:lnTo>
                    <a:pt x="1688" y="169"/>
                  </a:lnTo>
                  <a:lnTo>
                    <a:pt x="1688" y="167"/>
                  </a:lnTo>
                  <a:lnTo>
                    <a:pt x="1685" y="167"/>
                  </a:lnTo>
                  <a:lnTo>
                    <a:pt x="1685" y="167"/>
                  </a:lnTo>
                  <a:lnTo>
                    <a:pt x="1685" y="167"/>
                  </a:lnTo>
                  <a:lnTo>
                    <a:pt x="1683" y="167"/>
                  </a:lnTo>
                  <a:lnTo>
                    <a:pt x="1683" y="167"/>
                  </a:lnTo>
                  <a:lnTo>
                    <a:pt x="1683" y="167"/>
                  </a:lnTo>
                  <a:lnTo>
                    <a:pt x="1683" y="167"/>
                  </a:lnTo>
                  <a:lnTo>
                    <a:pt x="1683" y="167"/>
                  </a:lnTo>
                  <a:lnTo>
                    <a:pt x="1683" y="167"/>
                  </a:lnTo>
                  <a:lnTo>
                    <a:pt x="1683" y="167"/>
                  </a:lnTo>
                  <a:lnTo>
                    <a:pt x="1683" y="169"/>
                  </a:lnTo>
                  <a:lnTo>
                    <a:pt x="1685" y="169"/>
                  </a:lnTo>
                  <a:lnTo>
                    <a:pt x="1685" y="169"/>
                  </a:lnTo>
                  <a:lnTo>
                    <a:pt x="1685" y="169"/>
                  </a:lnTo>
                  <a:lnTo>
                    <a:pt x="1685" y="169"/>
                  </a:lnTo>
                  <a:lnTo>
                    <a:pt x="1685" y="169"/>
                  </a:lnTo>
                  <a:lnTo>
                    <a:pt x="1688" y="169"/>
                  </a:lnTo>
                  <a:lnTo>
                    <a:pt x="1690" y="169"/>
                  </a:lnTo>
                  <a:lnTo>
                    <a:pt x="1690" y="169"/>
                  </a:lnTo>
                  <a:lnTo>
                    <a:pt x="1692" y="169"/>
                  </a:lnTo>
                  <a:lnTo>
                    <a:pt x="1692" y="169"/>
                  </a:lnTo>
                  <a:lnTo>
                    <a:pt x="1692" y="169"/>
                  </a:lnTo>
                  <a:lnTo>
                    <a:pt x="1692" y="169"/>
                  </a:lnTo>
                  <a:lnTo>
                    <a:pt x="1692" y="169"/>
                  </a:lnTo>
                  <a:lnTo>
                    <a:pt x="1694" y="169"/>
                  </a:lnTo>
                  <a:lnTo>
                    <a:pt x="1697" y="167"/>
                  </a:lnTo>
                  <a:lnTo>
                    <a:pt x="1701" y="167"/>
                  </a:lnTo>
                  <a:lnTo>
                    <a:pt x="1710" y="167"/>
                  </a:lnTo>
                  <a:lnTo>
                    <a:pt x="1712" y="167"/>
                  </a:lnTo>
                  <a:lnTo>
                    <a:pt x="1724" y="167"/>
                  </a:lnTo>
                  <a:lnTo>
                    <a:pt x="1724" y="167"/>
                  </a:lnTo>
                  <a:lnTo>
                    <a:pt x="1724" y="169"/>
                  </a:lnTo>
                  <a:lnTo>
                    <a:pt x="1724" y="169"/>
                  </a:lnTo>
                  <a:lnTo>
                    <a:pt x="1724" y="169"/>
                  </a:lnTo>
                  <a:lnTo>
                    <a:pt x="1724" y="171"/>
                  </a:lnTo>
                  <a:lnTo>
                    <a:pt x="1721" y="174"/>
                  </a:lnTo>
                  <a:lnTo>
                    <a:pt x="1721" y="176"/>
                  </a:lnTo>
                  <a:lnTo>
                    <a:pt x="1721" y="176"/>
                  </a:lnTo>
                  <a:lnTo>
                    <a:pt x="1719" y="176"/>
                  </a:lnTo>
                  <a:lnTo>
                    <a:pt x="1719" y="176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9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1"/>
                  </a:lnTo>
                  <a:lnTo>
                    <a:pt x="1717" y="171"/>
                  </a:lnTo>
                  <a:lnTo>
                    <a:pt x="1717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9" y="171"/>
                  </a:lnTo>
                  <a:lnTo>
                    <a:pt x="1717" y="169"/>
                  </a:lnTo>
                  <a:lnTo>
                    <a:pt x="1717" y="169"/>
                  </a:lnTo>
                  <a:lnTo>
                    <a:pt x="1717" y="169"/>
                  </a:lnTo>
                  <a:lnTo>
                    <a:pt x="1715" y="169"/>
                  </a:lnTo>
                  <a:lnTo>
                    <a:pt x="1715" y="169"/>
                  </a:lnTo>
                  <a:lnTo>
                    <a:pt x="1715" y="169"/>
                  </a:lnTo>
                  <a:lnTo>
                    <a:pt x="1715" y="169"/>
                  </a:lnTo>
                  <a:lnTo>
                    <a:pt x="1715" y="169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5" y="171"/>
                  </a:lnTo>
                  <a:lnTo>
                    <a:pt x="1712" y="171"/>
                  </a:lnTo>
                  <a:lnTo>
                    <a:pt x="1712" y="169"/>
                  </a:lnTo>
                  <a:lnTo>
                    <a:pt x="1712" y="169"/>
                  </a:lnTo>
                  <a:lnTo>
                    <a:pt x="1712" y="169"/>
                  </a:lnTo>
                  <a:lnTo>
                    <a:pt x="1710" y="169"/>
                  </a:lnTo>
                  <a:lnTo>
                    <a:pt x="1710" y="169"/>
                  </a:lnTo>
                  <a:lnTo>
                    <a:pt x="1710" y="169"/>
                  </a:lnTo>
                  <a:lnTo>
                    <a:pt x="1710" y="169"/>
                  </a:lnTo>
                  <a:lnTo>
                    <a:pt x="1710" y="169"/>
                  </a:lnTo>
                  <a:lnTo>
                    <a:pt x="1710" y="169"/>
                  </a:lnTo>
                  <a:lnTo>
                    <a:pt x="1708" y="169"/>
                  </a:lnTo>
                  <a:lnTo>
                    <a:pt x="1706" y="169"/>
                  </a:lnTo>
                  <a:lnTo>
                    <a:pt x="1706" y="169"/>
                  </a:lnTo>
                  <a:lnTo>
                    <a:pt x="1706" y="169"/>
                  </a:lnTo>
                  <a:lnTo>
                    <a:pt x="1708" y="169"/>
                  </a:lnTo>
                  <a:lnTo>
                    <a:pt x="1708" y="169"/>
                  </a:lnTo>
                  <a:lnTo>
                    <a:pt x="1708" y="169"/>
                  </a:lnTo>
                  <a:lnTo>
                    <a:pt x="1708" y="169"/>
                  </a:lnTo>
                  <a:lnTo>
                    <a:pt x="1708" y="169"/>
                  </a:lnTo>
                  <a:lnTo>
                    <a:pt x="1708" y="169"/>
                  </a:lnTo>
                  <a:lnTo>
                    <a:pt x="1708" y="169"/>
                  </a:lnTo>
                  <a:lnTo>
                    <a:pt x="1710" y="169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0" y="171"/>
                  </a:lnTo>
                  <a:lnTo>
                    <a:pt x="1712" y="171"/>
                  </a:lnTo>
                  <a:lnTo>
                    <a:pt x="1712" y="171"/>
                  </a:lnTo>
                  <a:lnTo>
                    <a:pt x="1712" y="171"/>
                  </a:lnTo>
                  <a:lnTo>
                    <a:pt x="1715" y="174"/>
                  </a:lnTo>
                  <a:lnTo>
                    <a:pt x="1715" y="174"/>
                  </a:lnTo>
                  <a:lnTo>
                    <a:pt x="1715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4"/>
                  </a:lnTo>
                  <a:lnTo>
                    <a:pt x="1717" y="176"/>
                  </a:lnTo>
                  <a:lnTo>
                    <a:pt x="1715" y="176"/>
                  </a:lnTo>
                  <a:lnTo>
                    <a:pt x="1712" y="176"/>
                  </a:lnTo>
                  <a:lnTo>
                    <a:pt x="1710" y="176"/>
                  </a:lnTo>
                  <a:lnTo>
                    <a:pt x="1710" y="176"/>
                  </a:lnTo>
                  <a:lnTo>
                    <a:pt x="1708" y="174"/>
                  </a:lnTo>
                  <a:lnTo>
                    <a:pt x="1706" y="174"/>
                  </a:lnTo>
                  <a:lnTo>
                    <a:pt x="1706" y="174"/>
                  </a:lnTo>
                  <a:lnTo>
                    <a:pt x="1703" y="174"/>
                  </a:lnTo>
                  <a:lnTo>
                    <a:pt x="1703" y="174"/>
                  </a:lnTo>
                  <a:lnTo>
                    <a:pt x="1703" y="174"/>
                  </a:lnTo>
                  <a:lnTo>
                    <a:pt x="1703" y="174"/>
                  </a:lnTo>
                  <a:lnTo>
                    <a:pt x="1703" y="174"/>
                  </a:lnTo>
                  <a:lnTo>
                    <a:pt x="1703" y="174"/>
                  </a:lnTo>
                  <a:lnTo>
                    <a:pt x="1706" y="174"/>
                  </a:lnTo>
                  <a:lnTo>
                    <a:pt x="1706" y="174"/>
                  </a:lnTo>
                  <a:lnTo>
                    <a:pt x="1706" y="176"/>
                  </a:lnTo>
                  <a:lnTo>
                    <a:pt x="1706" y="176"/>
                  </a:lnTo>
                  <a:lnTo>
                    <a:pt x="1708" y="176"/>
                  </a:lnTo>
                  <a:lnTo>
                    <a:pt x="1710" y="176"/>
                  </a:lnTo>
                  <a:lnTo>
                    <a:pt x="1710" y="176"/>
                  </a:lnTo>
                  <a:lnTo>
                    <a:pt x="1710" y="176"/>
                  </a:lnTo>
                  <a:lnTo>
                    <a:pt x="1710" y="176"/>
                  </a:lnTo>
                  <a:lnTo>
                    <a:pt x="1710" y="176"/>
                  </a:lnTo>
                  <a:lnTo>
                    <a:pt x="1710" y="178"/>
                  </a:lnTo>
                  <a:lnTo>
                    <a:pt x="1708" y="178"/>
                  </a:lnTo>
                  <a:lnTo>
                    <a:pt x="1708" y="178"/>
                  </a:lnTo>
                  <a:lnTo>
                    <a:pt x="1708" y="178"/>
                  </a:lnTo>
                  <a:lnTo>
                    <a:pt x="1708" y="178"/>
                  </a:lnTo>
                  <a:lnTo>
                    <a:pt x="1710" y="178"/>
                  </a:lnTo>
                  <a:lnTo>
                    <a:pt x="1710" y="180"/>
                  </a:lnTo>
                  <a:lnTo>
                    <a:pt x="1710" y="178"/>
                  </a:lnTo>
                  <a:lnTo>
                    <a:pt x="1710" y="178"/>
                  </a:lnTo>
                  <a:lnTo>
                    <a:pt x="1710" y="178"/>
                  </a:lnTo>
                  <a:lnTo>
                    <a:pt x="1712" y="178"/>
                  </a:lnTo>
                  <a:lnTo>
                    <a:pt x="1712" y="180"/>
                  </a:lnTo>
                  <a:lnTo>
                    <a:pt x="1712" y="180"/>
                  </a:lnTo>
                  <a:lnTo>
                    <a:pt x="1712" y="178"/>
                  </a:lnTo>
                  <a:lnTo>
                    <a:pt x="1712" y="178"/>
                  </a:lnTo>
                  <a:lnTo>
                    <a:pt x="1712" y="178"/>
                  </a:lnTo>
                  <a:lnTo>
                    <a:pt x="1715" y="180"/>
                  </a:lnTo>
                  <a:lnTo>
                    <a:pt x="1715" y="180"/>
                  </a:lnTo>
                  <a:lnTo>
                    <a:pt x="1715" y="180"/>
                  </a:lnTo>
                  <a:lnTo>
                    <a:pt x="1715" y="178"/>
                  </a:lnTo>
                  <a:lnTo>
                    <a:pt x="1715" y="178"/>
                  </a:lnTo>
                  <a:lnTo>
                    <a:pt x="1715" y="178"/>
                  </a:lnTo>
                  <a:lnTo>
                    <a:pt x="1717" y="180"/>
                  </a:lnTo>
                  <a:lnTo>
                    <a:pt x="1717" y="180"/>
                  </a:lnTo>
                  <a:lnTo>
                    <a:pt x="1717" y="180"/>
                  </a:lnTo>
                  <a:lnTo>
                    <a:pt x="1717" y="180"/>
                  </a:lnTo>
                  <a:lnTo>
                    <a:pt x="1717" y="180"/>
                  </a:lnTo>
                  <a:lnTo>
                    <a:pt x="1717" y="180"/>
                  </a:lnTo>
                  <a:lnTo>
                    <a:pt x="1717" y="180"/>
                  </a:lnTo>
                  <a:lnTo>
                    <a:pt x="1719" y="178"/>
                  </a:lnTo>
                  <a:lnTo>
                    <a:pt x="1721" y="178"/>
                  </a:lnTo>
                  <a:lnTo>
                    <a:pt x="1721" y="178"/>
                  </a:lnTo>
                  <a:lnTo>
                    <a:pt x="1724" y="178"/>
                  </a:lnTo>
                  <a:lnTo>
                    <a:pt x="1724" y="178"/>
                  </a:lnTo>
                  <a:lnTo>
                    <a:pt x="1724" y="178"/>
                  </a:lnTo>
                  <a:lnTo>
                    <a:pt x="1724" y="178"/>
                  </a:lnTo>
                  <a:lnTo>
                    <a:pt x="1724" y="176"/>
                  </a:lnTo>
                  <a:lnTo>
                    <a:pt x="1726" y="176"/>
                  </a:lnTo>
                  <a:lnTo>
                    <a:pt x="1726" y="176"/>
                  </a:lnTo>
                  <a:lnTo>
                    <a:pt x="1726" y="176"/>
                  </a:lnTo>
                  <a:lnTo>
                    <a:pt x="1726" y="176"/>
                  </a:lnTo>
                  <a:lnTo>
                    <a:pt x="1726" y="176"/>
                  </a:lnTo>
                  <a:lnTo>
                    <a:pt x="1726" y="174"/>
                  </a:lnTo>
                  <a:lnTo>
                    <a:pt x="1726" y="174"/>
                  </a:lnTo>
                  <a:lnTo>
                    <a:pt x="1726" y="174"/>
                  </a:lnTo>
                  <a:lnTo>
                    <a:pt x="1726" y="174"/>
                  </a:lnTo>
                  <a:lnTo>
                    <a:pt x="1726" y="174"/>
                  </a:lnTo>
                  <a:lnTo>
                    <a:pt x="1726" y="171"/>
                  </a:lnTo>
                  <a:lnTo>
                    <a:pt x="1724" y="171"/>
                  </a:lnTo>
                  <a:lnTo>
                    <a:pt x="1726" y="171"/>
                  </a:lnTo>
                  <a:lnTo>
                    <a:pt x="1726" y="171"/>
                  </a:lnTo>
                  <a:lnTo>
                    <a:pt x="1726" y="167"/>
                  </a:lnTo>
                  <a:lnTo>
                    <a:pt x="1726" y="167"/>
                  </a:lnTo>
                  <a:lnTo>
                    <a:pt x="1726" y="167"/>
                  </a:lnTo>
                  <a:lnTo>
                    <a:pt x="1726" y="167"/>
                  </a:lnTo>
                  <a:lnTo>
                    <a:pt x="1728" y="167"/>
                  </a:lnTo>
                  <a:lnTo>
                    <a:pt x="1730" y="167"/>
                  </a:lnTo>
                  <a:lnTo>
                    <a:pt x="1733" y="167"/>
                  </a:lnTo>
                  <a:lnTo>
                    <a:pt x="1735" y="167"/>
                  </a:lnTo>
                  <a:lnTo>
                    <a:pt x="1739" y="167"/>
                  </a:lnTo>
                  <a:lnTo>
                    <a:pt x="1744" y="167"/>
                  </a:lnTo>
                  <a:lnTo>
                    <a:pt x="1755" y="169"/>
                  </a:lnTo>
                  <a:lnTo>
                    <a:pt x="1762" y="169"/>
                  </a:lnTo>
                  <a:lnTo>
                    <a:pt x="1766" y="169"/>
                  </a:lnTo>
                  <a:lnTo>
                    <a:pt x="1769" y="171"/>
                  </a:lnTo>
                  <a:lnTo>
                    <a:pt x="1769" y="171"/>
                  </a:lnTo>
                  <a:lnTo>
                    <a:pt x="1769" y="171"/>
                  </a:lnTo>
                  <a:lnTo>
                    <a:pt x="1769" y="171"/>
                  </a:lnTo>
                  <a:lnTo>
                    <a:pt x="1771" y="171"/>
                  </a:lnTo>
                  <a:lnTo>
                    <a:pt x="1771" y="171"/>
                  </a:lnTo>
                  <a:lnTo>
                    <a:pt x="1775" y="174"/>
                  </a:lnTo>
                  <a:lnTo>
                    <a:pt x="1780" y="174"/>
                  </a:lnTo>
                  <a:lnTo>
                    <a:pt x="1780" y="174"/>
                  </a:lnTo>
                  <a:lnTo>
                    <a:pt x="1780" y="176"/>
                  </a:lnTo>
                  <a:lnTo>
                    <a:pt x="1782" y="176"/>
                  </a:lnTo>
                  <a:lnTo>
                    <a:pt x="1782" y="176"/>
                  </a:lnTo>
                  <a:lnTo>
                    <a:pt x="1780" y="178"/>
                  </a:lnTo>
                  <a:lnTo>
                    <a:pt x="1778" y="178"/>
                  </a:lnTo>
                  <a:lnTo>
                    <a:pt x="1778" y="178"/>
                  </a:lnTo>
                  <a:lnTo>
                    <a:pt x="1775" y="176"/>
                  </a:lnTo>
                  <a:lnTo>
                    <a:pt x="1773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69" y="176"/>
                  </a:lnTo>
                  <a:lnTo>
                    <a:pt x="1769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6"/>
                  </a:lnTo>
                  <a:lnTo>
                    <a:pt x="1771" y="178"/>
                  </a:lnTo>
                  <a:lnTo>
                    <a:pt x="1771" y="178"/>
                  </a:lnTo>
                  <a:lnTo>
                    <a:pt x="1771" y="178"/>
                  </a:lnTo>
                  <a:lnTo>
                    <a:pt x="1766" y="178"/>
                  </a:lnTo>
                  <a:lnTo>
                    <a:pt x="1766" y="178"/>
                  </a:lnTo>
                  <a:lnTo>
                    <a:pt x="1766" y="176"/>
                  </a:lnTo>
                  <a:lnTo>
                    <a:pt x="1764" y="176"/>
                  </a:lnTo>
                  <a:lnTo>
                    <a:pt x="1764" y="176"/>
                  </a:lnTo>
                  <a:lnTo>
                    <a:pt x="1764" y="176"/>
                  </a:lnTo>
                  <a:lnTo>
                    <a:pt x="1766" y="178"/>
                  </a:lnTo>
                  <a:lnTo>
                    <a:pt x="1766" y="178"/>
                  </a:lnTo>
                  <a:lnTo>
                    <a:pt x="1769" y="178"/>
                  </a:lnTo>
                  <a:lnTo>
                    <a:pt x="1769" y="178"/>
                  </a:lnTo>
                  <a:lnTo>
                    <a:pt x="1769" y="178"/>
                  </a:lnTo>
                  <a:lnTo>
                    <a:pt x="1769" y="178"/>
                  </a:lnTo>
                  <a:lnTo>
                    <a:pt x="1771" y="178"/>
                  </a:lnTo>
                  <a:lnTo>
                    <a:pt x="1771" y="178"/>
                  </a:lnTo>
                  <a:lnTo>
                    <a:pt x="1769" y="178"/>
                  </a:lnTo>
                  <a:lnTo>
                    <a:pt x="1769" y="178"/>
                  </a:lnTo>
                  <a:lnTo>
                    <a:pt x="1769" y="180"/>
                  </a:lnTo>
                  <a:lnTo>
                    <a:pt x="1771" y="180"/>
                  </a:lnTo>
                  <a:lnTo>
                    <a:pt x="1771" y="180"/>
                  </a:lnTo>
                  <a:lnTo>
                    <a:pt x="1771" y="180"/>
                  </a:lnTo>
                  <a:lnTo>
                    <a:pt x="1771" y="178"/>
                  </a:lnTo>
                  <a:lnTo>
                    <a:pt x="1771" y="178"/>
                  </a:lnTo>
                  <a:lnTo>
                    <a:pt x="1773" y="178"/>
                  </a:lnTo>
                  <a:lnTo>
                    <a:pt x="1773" y="178"/>
                  </a:lnTo>
                  <a:lnTo>
                    <a:pt x="1775" y="178"/>
                  </a:lnTo>
                  <a:lnTo>
                    <a:pt x="1775" y="180"/>
                  </a:lnTo>
                  <a:lnTo>
                    <a:pt x="1784" y="180"/>
                  </a:lnTo>
                  <a:lnTo>
                    <a:pt x="1784" y="180"/>
                  </a:lnTo>
                  <a:lnTo>
                    <a:pt x="1784" y="180"/>
                  </a:lnTo>
                  <a:lnTo>
                    <a:pt x="1784" y="180"/>
                  </a:lnTo>
                  <a:lnTo>
                    <a:pt x="1784" y="180"/>
                  </a:lnTo>
                  <a:lnTo>
                    <a:pt x="1784" y="180"/>
                  </a:lnTo>
                  <a:lnTo>
                    <a:pt x="1784" y="180"/>
                  </a:lnTo>
                  <a:lnTo>
                    <a:pt x="1786" y="180"/>
                  </a:lnTo>
                  <a:lnTo>
                    <a:pt x="1786" y="180"/>
                  </a:lnTo>
                  <a:lnTo>
                    <a:pt x="1786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9" y="180"/>
                  </a:lnTo>
                  <a:lnTo>
                    <a:pt x="1786" y="180"/>
                  </a:lnTo>
                  <a:lnTo>
                    <a:pt x="1786" y="180"/>
                  </a:lnTo>
                  <a:lnTo>
                    <a:pt x="1789" y="180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89" y="183"/>
                  </a:lnTo>
                  <a:lnTo>
                    <a:pt x="1791" y="183"/>
                  </a:lnTo>
                  <a:lnTo>
                    <a:pt x="1791" y="183"/>
                  </a:lnTo>
                  <a:lnTo>
                    <a:pt x="1793" y="183"/>
                  </a:lnTo>
                  <a:lnTo>
                    <a:pt x="1795" y="183"/>
                  </a:lnTo>
                  <a:lnTo>
                    <a:pt x="1795" y="183"/>
                  </a:lnTo>
                  <a:lnTo>
                    <a:pt x="1795" y="183"/>
                  </a:lnTo>
                  <a:lnTo>
                    <a:pt x="1795" y="183"/>
                  </a:lnTo>
                  <a:lnTo>
                    <a:pt x="1795" y="183"/>
                  </a:lnTo>
                  <a:lnTo>
                    <a:pt x="1795" y="183"/>
                  </a:lnTo>
                  <a:lnTo>
                    <a:pt x="1795" y="183"/>
                  </a:lnTo>
                  <a:lnTo>
                    <a:pt x="1798" y="183"/>
                  </a:lnTo>
                  <a:lnTo>
                    <a:pt x="1798" y="183"/>
                  </a:lnTo>
                  <a:lnTo>
                    <a:pt x="1798" y="183"/>
                  </a:lnTo>
                  <a:lnTo>
                    <a:pt x="1800" y="183"/>
                  </a:lnTo>
                  <a:lnTo>
                    <a:pt x="1800" y="183"/>
                  </a:lnTo>
                  <a:lnTo>
                    <a:pt x="1802" y="183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5"/>
                  </a:lnTo>
                  <a:lnTo>
                    <a:pt x="1802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9"/>
                  </a:lnTo>
                  <a:lnTo>
                    <a:pt x="1800" y="189"/>
                  </a:lnTo>
                  <a:lnTo>
                    <a:pt x="1800" y="189"/>
                  </a:lnTo>
                  <a:lnTo>
                    <a:pt x="1800" y="189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0" y="187"/>
                  </a:lnTo>
                  <a:lnTo>
                    <a:pt x="1802" y="187"/>
                  </a:lnTo>
                  <a:lnTo>
                    <a:pt x="1804" y="185"/>
                  </a:lnTo>
                  <a:lnTo>
                    <a:pt x="1802" y="185"/>
                  </a:lnTo>
                  <a:lnTo>
                    <a:pt x="1804" y="185"/>
                  </a:lnTo>
                  <a:lnTo>
                    <a:pt x="1804" y="185"/>
                  </a:lnTo>
                  <a:lnTo>
                    <a:pt x="1804" y="185"/>
                  </a:lnTo>
                  <a:lnTo>
                    <a:pt x="1804" y="185"/>
                  </a:lnTo>
                  <a:lnTo>
                    <a:pt x="1804" y="187"/>
                  </a:lnTo>
                  <a:lnTo>
                    <a:pt x="1807" y="187"/>
                  </a:lnTo>
                  <a:lnTo>
                    <a:pt x="1807" y="187"/>
                  </a:lnTo>
                  <a:lnTo>
                    <a:pt x="1807" y="187"/>
                  </a:lnTo>
                  <a:lnTo>
                    <a:pt x="1807" y="187"/>
                  </a:lnTo>
                  <a:lnTo>
                    <a:pt x="1807" y="187"/>
                  </a:lnTo>
                  <a:lnTo>
                    <a:pt x="1807" y="187"/>
                  </a:lnTo>
                  <a:lnTo>
                    <a:pt x="1807" y="185"/>
                  </a:lnTo>
                  <a:lnTo>
                    <a:pt x="1807" y="185"/>
                  </a:lnTo>
                  <a:lnTo>
                    <a:pt x="1809" y="185"/>
                  </a:lnTo>
                  <a:lnTo>
                    <a:pt x="1809" y="185"/>
                  </a:lnTo>
                  <a:lnTo>
                    <a:pt x="1811" y="185"/>
                  </a:lnTo>
                  <a:lnTo>
                    <a:pt x="1818" y="187"/>
                  </a:lnTo>
                  <a:lnTo>
                    <a:pt x="1818" y="187"/>
                  </a:lnTo>
                  <a:lnTo>
                    <a:pt x="1820" y="187"/>
                  </a:lnTo>
                  <a:lnTo>
                    <a:pt x="1820" y="187"/>
                  </a:lnTo>
                  <a:lnTo>
                    <a:pt x="1820" y="187"/>
                  </a:lnTo>
                  <a:lnTo>
                    <a:pt x="1820" y="187"/>
                  </a:lnTo>
                  <a:lnTo>
                    <a:pt x="1822" y="187"/>
                  </a:lnTo>
                  <a:lnTo>
                    <a:pt x="1822" y="187"/>
                  </a:lnTo>
                  <a:lnTo>
                    <a:pt x="1822" y="187"/>
                  </a:lnTo>
                  <a:lnTo>
                    <a:pt x="1822" y="187"/>
                  </a:lnTo>
                  <a:lnTo>
                    <a:pt x="1825" y="187"/>
                  </a:lnTo>
                  <a:lnTo>
                    <a:pt x="1825" y="187"/>
                  </a:lnTo>
                  <a:lnTo>
                    <a:pt x="1825" y="189"/>
                  </a:lnTo>
                  <a:lnTo>
                    <a:pt x="1827" y="189"/>
                  </a:lnTo>
                  <a:lnTo>
                    <a:pt x="1829" y="189"/>
                  </a:lnTo>
                  <a:lnTo>
                    <a:pt x="1831" y="189"/>
                  </a:lnTo>
                  <a:lnTo>
                    <a:pt x="1831" y="192"/>
                  </a:lnTo>
                  <a:lnTo>
                    <a:pt x="1834" y="192"/>
                  </a:lnTo>
                  <a:lnTo>
                    <a:pt x="1836" y="192"/>
                  </a:lnTo>
                  <a:lnTo>
                    <a:pt x="1836" y="192"/>
                  </a:lnTo>
                  <a:lnTo>
                    <a:pt x="1836" y="194"/>
                  </a:lnTo>
                  <a:lnTo>
                    <a:pt x="1836" y="194"/>
                  </a:lnTo>
                  <a:lnTo>
                    <a:pt x="1829" y="194"/>
                  </a:lnTo>
                  <a:lnTo>
                    <a:pt x="1831" y="194"/>
                  </a:lnTo>
                  <a:lnTo>
                    <a:pt x="1836" y="194"/>
                  </a:lnTo>
                  <a:lnTo>
                    <a:pt x="1840" y="194"/>
                  </a:lnTo>
                  <a:lnTo>
                    <a:pt x="1847" y="196"/>
                  </a:lnTo>
                  <a:lnTo>
                    <a:pt x="1847" y="196"/>
                  </a:lnTo>
                  <a:lnTo>
                    <a:pt x="1849" y="196"/>
                  </a:lnTo>
                  <a:lnTo>
                    <a:pt x="1847" y="196"/>
                  </a:lnTo>
                  <a:lnTo>
                    <a:pt x="1849" y="196"/>
                  </a:lnTo>
                  <a:lnTo>
                    <a:pt x="1852" y="196"/>
                  </a:lnTo>
                  <a:lnTo>
                    <a:pt x="1854" y="196"/>
                  </a:lnTo>
                  <a:lnTo>
                    <a:pt x="1858" y="196"/>
                  </a:lnTo>
                  <a:lnTo>
                    <a:pt x="1858" y="196"/>
                  </a:lnTo>
                  <a:lnTo>
                    <a:pt x="1858" y="196"/>
                  </a:lnTo>
                  <a:lnTo>
                    <a:pt x="1858" y="194"/>
                  </a:lnTo>
                  <a:lnTo>
                    <a:pt x="1861" y="194"/>
                  </a:lnTo>
                  <a:lnTo>
                    <a:pt x="1861" y="196"/>
                  </a:lnTo>
                  <a:lnTo>
                    <a:pt x="1863" y="194"/>
                  </a:lnTo>
                  <a:lnTo>
                    <a:pt x="1863" y="196"/>
                  </a:lnTo>
                  <a:lnTo>
                    <a:pt x="1867" y="194"/>
                  </a:lnTo>
                  <a:lnTo>
                    <a:pt x="1870" y="194"/>
                  </a:lnTo>
                  <a:lnTo>
                    <a:pt x="1870" y="194"/>
                  </a:lnTo>
                  <a:lnTo>
                    <a:pt x="1876" y="192"/>
                  </a:lnTo>
                  <a:lnTo>
                    <a:pt x="1879" y="192"/>
                  </a:lnTo>
                  <a:lnTo>
                    <a:pt x="1885" y="192"/>
                  </a:lnTo>
                  <a:lnTo>
                    <a:pt x="1885" y="192"/>
                  </a:lnTo>
                  <a:lnTo>
                    <a:pt x="1885" y="192"/>
                  </a:lnTo>
                  <a:lnTo>
                    <a:pt x="1885" y="192"/>
                  </a:lnTo>
                  <a:lnTo>
                    <a:pt x="1885" y="192"/>
                  </a:lnTo>
                  <a:lnTo>
                    <a:pt x="1888" y="192"/>
                  </a:lnTo>
                  <a:lnTo>
                    <a:pt x="1888" y="192"/>
                  </a:lnTo>
                  <a:lnTo>
                    <a:pt x="1888" y="194"/>
                  </a:lnTo>
                  <a:lnTo>
                    <a:pt x="1888" y="194"/>
                  </a:lnTo>
                  <a:lnTo>
                    <a:pt x="1888" y="194"/>
                  </a:lnTo>
                  <a:lnTo>
                    <a:pt x="1888" y="192"/>
                  </a:lnTo>
                  <a:lnTo>
                    <a:pt x="1888" y="192"/>
                  </a:lnTo>
                  <a:lnTo>
                    <a:pt x="1888" y="192"/>
                  </a:lnTo>
                  <a:lnTo>
                    <a:pt x="1888" y="192"/>
                  </a:lnTo>
                  <a:lnTo>
                    <a:pt x="1888" y="192"/>
                  </a:lnTo>
                  <a:lnTo>
                    <a:pt x="1888" y="192"/>
                  </a:lnTo>
                  <a:lnTo>
                    <a:pt x="1885" y="192"/>
                  </a:lnTo>
                  <a:lnTo>
                    <a:pt x="1888" y="192"/>
                  </a:lnTo>
                  <a:lnTo>
                    <a:pt x="1890" y="192"/>
                  </a:lnTo>
                  <a:lnTo>
                    <a:pt x="1897" y="192"/>
                  </a:lnTo>
                  <a:lnTo>
                    <a:pt x="1901" y="192"/>
                  </a:lnTo>
                  <a:lnTo>
                    <a:pt x="1912" y="192"/>
                  </a:lnTo>
                  <a:lnTo>
                    <a:pt x="1915" y="192"/>
                  </a:lnTo>
                  <a:lnTo>
                    <a:pt x="1917" y="192"/>
                  </a:lnTo>
                  <a:lnTo>
                    <a:pt x="1917" y="192"/>
                  </a:lnTo>
                  <a:lnTo>
                    <a:pt x="1919" y="192"/>
                  </a:lnTo>
                  <a:lnTo>
                    <a:pt x="1924" y="192"/>
                  </a:lnTo>
                  <a:lnTo>
                    <a:pt x="1926" y="192"/>
                  </a:lnTo>
                  <a:lnTo>
                    <a:pt x="1928" y="192"/>
                  </a:lnTo>
                  <a:lnTo>
                    <a:pt x="1930" y="194"/>
                  </a:lnTo>
                  <a:lnTo>
                    <a:pt x="1933" y="194"/>
                  </a:lnTo>
                  <a:lnTo>
                    <a:pt x="1948" y="196"/>
                  </a:lnTo>
                  <a:lnTo>
                    <a:pt x="1959" y="198"/>
                  </a:lnTo>
                  <a:lnTo>
                    <a:pt x="1964" y="201"/>
                  </a:lnTo>
                  <a:lnTo>
                    <a:pt x="1971" y="205"/>
                  </a:lnTo>
                  <a:lnTo>
                    <a:pt x="1973" y="205"/>
                  </a:lnTo>
                  <a:lnTo>
                    <a:pt x="1975" y="205"/>
                  </a:lnTo>
                  <a:lnTo>
                    <a:pt x="1975" y="205"/>
                  </a:lnTo>
                  <a:lnTo>
                    <a:pt x="1977" y="207"/>
                  </a:lnTo>
                  <a:lnTo>
                    <a:pt x="1977" y="207"/>
                  </a:lnTo>
                  <a:lnTo>
                    <a:pt x="1977" y="207"/>
                  </a:lnTo>
                  <a:lnTo>
                    <a:pt x="1977" y="207"/>
                  </a:lnTo>
                  <a:lnTo>
                    <a:pt x="1977" y="210"/>
                  </a:lnTo>
                  <a:lnTo>
                    <a:pt x="1977" y="210"/>
                  </a:lnTo>
                  <a:lnTo>
                    <a:pt x="1980" y="210"/>
                  </a:lnTo>
                  <a:lnTo>
                    <a:pt x="1977" y="210"/>
                  </a:lnTo>
                  <a:lnTo>
                    <a:pt x="1975" y="210"/>
                  </a:lnTo>
                  <a:lnTo>
                    <a:pt x="1975" y="210"/>
                  </a:lnTo>
                  <a:lnTo>
                    <a:pt x="1975" y="210"/>
                  </a:lnTo>
                  <a:lnTo>
                    <a:pt x="1975" y="210"/>
                  </a:lnTo>
                  <a:lnTo>
                    <a:pt x="1977" y="210"/>
                  </a:lnTo>
                  <a:lnTo>
                    <a:pt x="1977" y="210"/>
                  </a:lnTo>
                  <a:lnTo>
                    <a:pt x="1977" y="210"/>
                  </a:lnTo>
                  <a:lnTo>
                    <a:pt x="1980" y="210"/>
                  </a:lnTo>
                  <a:lnTo>
                    <a:pt x="1980" y="212"/>
                  </a:lnTo>
                  <a:lnTo>
                    <a:pt x="1980" y="212"/>
                  </a:lnTo>
                  <a:lnTo>
                    <a:pt x="1980" y="212"/>
                  </a:lnTo>
                  <a:lnTo>
                    <a:pt x="1980" y="212"/>
                  </a:lnTo>
                  <a:lnTo>
                    <a:pt x="1980" y="212"/>
                  </a:lnTo>
                  <a:lnTo>
                    <a:pt x="1982" y="212"/>
                  </a:lnTo>
                  <a:lnTo>
                    <a:pt x="1982" y="212"/>
                  </a:lnTo>
                  <a:lnTo>
                    <a:pt x="1982" y="212"/>
                  </a:lnTo>
                  <a:lnTo>
                    <a:pt x="1980" y="212"/>
                  </a:lnTo>
                  <a:lnTo>
                    <a:pt x="1980" y="214"/>
                  </a:lnTo>
                  <a:lnTo>
                    <a:pt x="1980" y="214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84" y="216"/>
                  </a:lnTo>
                  <a:lnTo>
                    <a:pt x="1984" y="216"/>
                  </a:lnTo>
                  <a:lnTo>
                    <a:pt x="1984" y="216"/>
                  </a:lnTo>
                  <a:lnTo>
                    <a:pt x="1984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86" y="216"/>
                  </a:lnTo>
                  <a:lnTo>
                    <a:pt x="1993" y="219"/>
                  </a:lnTo>
                  <a:lnTo>
                    <a:pt x="1993" y="219"/>
                  </a:lnTo>
                  <a:lnTo>
                    <a:pt x="1995" y="219"/>
                  </a:lnTo>
                  <a:lnTo>
                    <a:pt x="1993" y="219"/>
                  </a:lnTo>
                  <a:lnTo>
                    <a:pt x="1993" y="219"/>
                  </a:lnTo>
                  <a:lnTo>
                    <a:pt x="1995" y="219"/>
                  </a:lnTo>
                  <a:lnTo>
                    <a:pt x="1995" y="219"/>
                  </a:lnTo>
                  <a:lnTo>
                    <a:pt x="1995" y="219"/>
                  </a:lnTo>
                  <a:lnTo>
                    <a:pt x="1998" y="219"/>
                  </a:lnTo>
                  <a:lnTo>
                    <a:pt x="1998" y="219"/>
                  </a:lnTo>
                  <a:lnTo>
                    <a:pt x="1998" y="219"/>
                  </a:lnTo>
                  <a:lnTo>
                    <a:pt x="1998" y="219"/>
                  </a:lnTo>
                  <a:lnTo>
                    <a:pt x="2000" y="219"/>
                  </a:lnTo>
                  <a:lnTo>
                    <a:pt x="2000" y="219"/>
                  </a:lnTo>
                  <a:lnTo>
                    <a:pt x="2004" y="219"/>
                  </a:lnTo>
                  <a:lnTo>
                    <a:pt x="2007" y="219"/>
                  </a:lnTo>
                  <a:lnTo>
                    <a:pt x="2007" y="219"/>
                  </a:lnTo>
                  <a:lnTo>
                    <a:pt x="2007" y="219"/>
                  </a:lnTo>
                  <a:lnTo>
                    <a:pt x="2007" y="219"/>
                  </a:lnTo>
                  <a:lnTo>
                    <a:pt x="2007" y="219"/>
                  </a:lnTo>
                  <a:lnTo>
                    <a:pt x="2007" y="219"/>
                  </a:lnTo>
                  <a:lnTo>
                    <a:pt x="2009" y="221"/>
                  </a:lnTo>
                  <a:lnTo>
                    <a:pt x="2009" y="221"/>
                  </a:lnTo>
                  <a:lnTo>
                    <a:pt x="2009" y="221"/>
                  </a:lnTo>
                  <a:lnTo>
                    <a:pt x="2011" y="221"/>
                  </a:lnTo>
                  <a:lnTo>
                    <a:pt x="2011" y="221"/>
                  </a:lnTo>
                  <a:lnTo>
                    <a:pt x="2011" y="221"/>
                  </a:lnTo>
                  <a:lnTo>
                    <a:pt x="2011" y="223"/>
                  </a:lnTo>
                  <a:lnTo>
                    <a:pt x="2011" y="223"/>
                  </a:lnTo>
                  <a:lnTo>
                    <a:pt x="2013" y="223"/>
                  </a:lnTo>
                  <a:lnTo>
                    <a:pt x="2013" y="223"/>
                  </a:lnTo>
                  <a:lnTo>
                    <a:pt x="2013" y="223"/>
                  </a:lnTo>
                  <a:lnTo>
                    <a:pt x="2013" y="223"/>
                  </a:lnTo>
                  <a:lnTo>
                    <a:pt x="2016" y="225"/>
                  </a:lnTo>
                  <a:lnTo>
                    <a:pt x="2016" y="225"/>
                  </a:lnTo>
                  <a:lnTo>
                    <a:pt x="2016" y="225"/>
                  </a:lnTo>
                  <a:lnTo>
                    <a:pt x="2016" y="225"/>
                  </a:lnTo>
                  <a:lnTo>
                    <a:pt x="2016" y="225"/>
                  </a:lnTo>
                  <a:lnTo>
                    <a:pt x="2018" y="225"/>
                  </a:lnTo>
                  <a:lnTo>
                    <a:pt x="2018" y="225"/>
                  </a:lnTo>
                  <a:lnTo>
                    <a:pt x="2018" y="225"/>
                  </a:lnTo>
                  <a:lnTo>
                    <a:pt x="2018" y="225"/>
                  </a:lnTo>
                  <a:lnTo>
                    <a:pt x="2018" y="225"/>
                  </a:lnTo>
                  <a:lnTo>
                    <a:pt x="2020" y="228"/>
                  </a:lnTo>
                  <a:lnTo>
                    <a:pt x="2020" y="228"/>
                  </a:lnTo>
                  <a:lnTo>
                    <a:pt x="2020" y="228"/>
                  </a:lnTo>
                  <a:lnTo>
                    <a:pt x="2020" y="228"/>
                  </a:lnTo>
                  <a:lnTo>
                    <a:pt x="2020" y="228"/>
                  </a:lnTo>
                  <a:lnTo>
                    <a:pt x="2020" y="228"/>
                  </a:lnTo>
                  <a:lnTo>
                    <a:pt x="2022" y="228"/>
                  </a:lnTo>
                  <a:lnTo>
                    <a:pt x="2022" y="228"/>
                  </a:lnTo>
                  <a:lnTo>
                    <a:pt x="2022" y="230"/>
                  </a:lnTo>
                  <a:lnTo>
                    <a:pt x="2022" y="230"/>
                  </a:lnTo>
                  <a:lnTo>
                    <a:pt x="2022" y="230"/>
                  </a:lnTo>
                  <a:lnTo>
                    <a:pt x="2022" y="230"/>
                  </a:lnTo>
                  <a:lnTo>
                    <a:pt x="2025" y="230"/>
                  </a:lnTo>
                  <a:lnTo>
                    <a:pt x="2029" y="232"/>
                  </a:lnTo>
                  <a:lnTo>
                    <a:pt x="2031" y="232"/>
                  </a:lnTo>
                  <a:lnTo>
                    <a:pt x="2034" y="232"/>
                  </a:lnTo>
                  <a:lnTo>
                    <a:pt x="2034" y="232"/>
                  </a:lnTo>
                  <a:lnTo>
                    <a:pt x="2034" y="232"/>
                  </a:lnTo>
                  <a:lnTo>
                    <a:pt x="2034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4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6" y="237"/>
                  </a:lnTo>
                  <a:lnTo>
                    <a:pt x="2038" y="239"/>
                  </a:lnTo>
                  <a:lnTo>
                    <a:pt x="2038" y="239"/>
                  </a:lnTo>
                  <a:lnTo>
                    <a:pt x="2038" y="239"/>
                  </a:lnTo>
                  <a:lnTo>
                    <a:pt x="2038" y="239"/>
                  </a:lnTo>
                  <a:lnTo>
                    <a:pt x="2038" y="239"/>
                  </a:lnTo>
                  <a:lnTo>
                    <a:pt x="2040" y="241"/>
                  </a:lnTo>
                  <a:lnTo>
                    <a:pt x="2040" y="241"/>
                  </a:lnTo>
                  <a:lnTo>
                    <a:pt x="2038" y="241"/>
                  </a:lnTo>
                  <a:lnTo>
                    <a:pt x="2036" y="241"/>
                  </a:lnTo>
                  <a:lnTo>
                    <a:pt x="2036" y="241"/>
                  </a:lnTo>
                  <a:lnTo>
                    <a:pt x="2038" y="241"/>
                  </a:lnTo>
                  <a:lnTo>
                    <a:pt x="2038" y="241"/>
                  </a:lnTo>
                  <a:lnTo>
                    <a:pt x="2040" y="241"/>
                  </a:lnTo>
                  <a:lnTo>
                    <a:pt x="2040" y="241"/>
                  </a:lnTo>
                  <a:lnTo>
                    <a:pt x="2040" y="241"/>
                  </a:lnTo>
                  <a:lnTo>
                    <a:pt x="2040" y="241"/>
                  </a:lnTo>
                  <a:lnTo>
                    <a:pt x="2040" y="241"/>
                  </a:lnTo>
                  <a:lnTo>
                    <a:pt x="2040" y="239"/>
                  </a:lnTo>
                  <a:lnTo>
                    <a:pt x="2040" y="239"/>
                  </a:lnTo>
                  <a:lnTo>
                    <a:pt x="2040" y="239"/>
                  </a:lnTo>
                  <a:lnTo>
                    <a:pt x="2040" y="239"/>
                  </a:lnTo>
                  <a:lnTo>
                    <a:pt x="2038" y="239"/>
                  </a:lnTo>
                  <a:lnTo>
                    <a:pt x="2038" y="237"/>
                  </a:lnTo>
                  <a:lnTo>
                    <a:pt x="2038" y="237"/>
                  </a:lnTo>
                  <a:lnTo>
                    <a:pt x="2038" y="237"/>
                  </a:lnTo>
                  <a:lnTo>
                    <a:pt x="2038" y="237"/>
                  </a:lnTo>
                  <a:lnTo>
                    <a:pt x="2038" y="237"/>
                  </a:lnTo>
                  <a:lnTo>
                    <a:pt x="2038" y="237"/>
                  </a:lnTo>
                  <a:lnTo>
                    <a:pt x="2038" y="234"/>
                  </a:lnTo>
                  <a:lnTo>
                    <a:pt x="2038" y="234"/>
                  </a:lnTo>
                  <a:lnTo>
                    <a:pt x="2038" y="234"/>
                  </a:lnTo>
                  <a:lnTo>
                    <a:pt x="2038" y="234"/>
                  </a:lnTo>
                  <a:lnTo>
                    <a:pt x="2038" y="234"/>
                  </a:lnTo>
                  <a:lnTo>
                    <a:pt x="2038" y="234"/>
                  </a:lnTo>
                  <a:lnTo>
                    <a:pt x="2036" y="232"/>
                  </a:lnTo>
                  <a:lnTo>
                    <a:pt x="2036" y="232"/>
                  </a:lnTo>
                  <a:lnTo>
                    <a:pt x="2036" y="232"/>
                  </a:lnTo>
                  <a:lnTo>
                    <a:pt x="2034" y="232"/>
                  </a:lnTo>
                  <a:lnTo>
                    <a:pt x="2034" y="232"/>
                  </a:lnTo>
                  <a:lnTo>
                    <a:pt x="2031" y="230"/>
                  </a:lnTo>
                  <a:lnTo>
                    <a:pt x="2031" y="230"/>
                  </a:lnTo>
                  <a:lnTo>
                    <a:pt x="2031" y="230"/>
                  </a:lnTo>
                  <a:lnTo>
                    <a:pt x="2031" y="230"/>
                  </a:lnTo>
                  <a:lnTo>
                    <a:pt x="2031" y="230"/>
                  </a:lnTo>
                  <a:lnTo>
                    <a:pt x="2029" y="230"/>
                  </a:lnTo>
                  <a:lnTo>
                    <a:pt x="2029" y="230"/>
                  </a:lnTo>
                  <a:lnTo>
                    <a:pt x="2029" y="230"/>
                  </a:lnTo>
                  <a:lnTo>
                    <a:pt x="2029" y="228"/>
                  </a:lnTo>
                  <a:lnTo>
                    <a:pt x="2027" y="228"/>
                  </a:lnTo>
                  <a:lnTo>
                    <a:pt x="2027" y="228"/>
                  </a:lnTo>
                  <a:lnTo>
                    <a:pt x="2025" y="228"/>
                  </a:lnTo>
                  <a:lnTo>
                    <a:pt x="2025" y="225"/>
                  </a:lnTo>
                  <a:lnTo>
                    <a:pt x="2025" y="225"/>
                  </a:lnTo>
                  <a:lnTo>
                    <a:pt x="2025" y="225"/>
                  </a:lnTo>
                  <a:lnTo>
                    <a:pt x="2025" y="225"/>
                  </a:lnTo>
                  <a:lnTo>
                    <a:pt x="2025" y="225"/>
                  </a:lnTo>
                  <a:lnTo>
                    <a:pt x="2025" y="225"/>
                  </a:lnTo>
                  <a:lnTo>
                    <a:pt x="2025" y="225"/>
                  </a:lnTo>
                  <a:lnTo>
                    <a:pt x="2022" y="225"/>
                  </a:lnTo>
                  <a:lnTo>
                    <a:pt x="2022" y="225"/>
                  </a:lnTo>
                  <a:lnTo>
                    <a:pt x="2022" y="225"/>
                  </a:lnTo>
                  <a:lnTo>
                    <a:pt x="2025" y="223"/>
                  </a:lnTo>
                  <a:lnTo>
                    <a:pt x="2025" y="223"/>
                  </a:lnTo>
                  <a:lnTo>
                    <a:pt x="2022" y="223"/>
                  </a:lnTo>
                  <a:lnTo>
                    <a:pt x="2022" y="223"/>
                  </a:lnTo>
                  <a:lnTo>
                    <a:pt x="2025" y="223"/>
                  </a:lnTo>
                  <a:lnTo>
                    <a:pt x="2025" y="223"/>
                  </a:lnTo>
                  <a:lnTo>
                    <a:pt x="2025" y="223"/>
                  </a:lnTo>
                  <a:lnTo>
                    <a:pt x="2025" y="221"/>
                  </a:lnTo>
                  <a:lnTo>
                    <a:pt x="2025" y="221"/>
                  </a:lnTo>
                  <a:lnTo>
                    <a:pt x="2025" y="221"/>
                  </a:lnTo>
                  <a:lnTo>
                    <a:pt x="2025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21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7" y="219"/>
                  </a:lnTo>
                  <a:lnTo>
                    <a:pt x="2029" y="219"/>
                  </a:lnTo>
                  <a:lnTo>
                    <a:pt x="2029" y="219"/>
                  </a:lnTo>
                  <a:lnTo>
                    <a:pt x="2031" y="219"/>
                  </a:lnTo>
                  <a:lnTo>
                    <a:pt x="2034" y="219"/>
                  </a:lnTo>
                  <a:lnTo>
                    <a:pt x="2034" y="219"/>
                  </a:lnTo>
                  <a:lnTo>
                    <a:pt x="2036" y="219"/>
                  </a:lnTo>
                  <a:lnTo>
                    <a:pt x="2038" y="219"/>
                  </a:lnTo>
                  <a:lnTo>
                    <a:pt x="2038" y="219"/>
                  </a:lnTo>
                  <a:lnTo>
                    <a:pt x="2038" y="219"/>
                  </a:lnTo>
                  <a:lnTo>
                    <a:pt x="2040" y="219"/>
                  </a:lnTo>
                  <a:lnTo>
                    <a:pt x="2043" y="219"/>
                  </a:lnTo>
                  <a:lnTo>
                    <a:pt x="2043" y="219"/>
                  </a:lnTo>
                  <a:lnTo>
                    <a:pt x="2043" y="219"/>
                  </a:lnTo>
                  <a:lnTo>
                    <a:pt x="2045" y="219"/>
                  </a:lnTo>
                  <a:lnTo>
                    <a:pt x="2045" y="219"/>
                  </a:lnTo>
                  <a:lnTo>
                    <a:pt x="2047" y="219"/>
                  </a:lnTo>
                  <a:lnTo>
                    <a:pt x="2049" y="219"/>
                  </a:lnTo>
                  <a:lnTo>
                    <a:pt x="2049" y="216"/>
                  </a:lnTo>
                  <a:lnTo>
                    <a:pt x="2052" y="216"/>
                  </a:lnTo>
                  <a:lnTo>
                    <a:pt x="2052" y="216"/>
                  </a:lnTo>
                  <a:lnTo>
                    <a:pt x="2052" y="216"/>
                  </a:lnTo>
                  <a:lnTo>
                    <a:pt x="2052" y="216"/>
                  </a:lnTo>
                  <a:lnTo>
                    <a:pt x="2054" y="216"/>
                  </a:lnTo>
                  <a:lnTo>
                    <a:pt x="2054" y="219"/>
                  </a:lnTo>
                  <a:lnTo>
                    <a:pt x="2054" y="219"/>
                  </a:lnTo>
                  <a:lnTo>
                    <a:pt x="2056" y="219"/>
                  </a:lnTo>
                  <a:lnTo>
                    <a:pt x="2058" y="219"/>
                  </a:lnTo>
                  <a:lnTo>
                    <a:pt x="2061" y="221"/>
                  </a:lnTo>
                  <a:lnTo>
                    <a:pt x="2063" y="221"/>
                  </a:lnTo>
                  <a:lnTo>
                    <a:pt x="2081" y="221"/>
                  </a:lnTo>
                  <a:lnTo>
                    <a:pt x="2083" y="221"/>
                  </a:lnTo>
                  <a:lnTo>
                    <a:pt x="2083" y="221"/>
                  </a:lnTo>
                  <a:lnTo>
                    <a:pt x="2085" y="221"/>
                  </a:lnTo>
                  <a:lnTo>
                    <a:pt x="2088" y="221"/>
                  </a:lnTo>
                  <a:lnTo>
                    <a:pt x="2090" y="221"/>
                  </a:lnTo>
                  <a:lnTo>
                    <a:pt x="2097" y="221"/>
                  </a:lnTo>
                  <a:lnTo>
                    <a:pt x="2099" y="223"/>
                  </a:lnTo>
                  <a:lnTo>
                    <a:pt x="2099" y="223"/>
                  </a:lnTo>
                  <a:lnTo>
                    <a:pt x="2099" y="223"/>
                  </a:lnTo>
                  <a:lnTo>
                    <a:pt x="2103" y="223"/>
                  </a:lnTo>
                  <a:lnTo>
                    <a:pt x="2103" y="223"/>
                  </a:lnTo>
                  <a:lnTo>
                    <a:pt x="2106" y="219"/>
                  </a:lnTo>
                  <a:lnTo>
                    <a:pt x="2106" y="219"/>
                  </a:lnTo>
                  <a:lnTo>
                    <a:pt x="2106" y="219"/>
                  </a:lnTo>
                  <a:lnTo>
                    <a:pt x="2106" y="216"/>
                  </a:lnTo>
                  <a:lnTo>
                    <a:pt x="2106" y="216"/>
                  </a:lnTo>
                  <a:lnTo>
                    <a:pt x="2108" y="216"/>
                  </a:lnTo>
                  <a:lnTo>
                    <a:pt x="2108" y="216"/>
                  </a:lnTo>
                  <a:lnTo>
                    <a:pt x="2108" y="216"/>
                  </a:lnTo>
                  <a:lnTo>
                    <a:pt x="2110" y="219"/>
                  </a:lnTo>
                  <a:lnTo>
                    <a:pt x="2112" y="219"/>
                  </a:lnTo>
                  <a:lnTo>
                    <a:pt x="2112" y="219"/>
                  </a:lnTo>
                  <a:lnTo>
                    <a:pt x="2112" y="219"/>
                  </a:lnTo>
                  <a:lnTo>
                    <a:pt x="2112" y="219"/>
                  </a:lnTo>
                  <a:lnTo>
                    <a:pt x="2112" y="219"/>
                  </a:lnTo>
                  <a:lnTo>
                    <a:pt x="2115" y="219"/>
                  </a:lnTo>
                  <a:lnTo>
                    <a:pt x="2115" y="219"/>
                  </a:lnTo>
                  <a:lnTo>
                    <a:pt x="2112" y="219"/>
                  </a:lnTo>
                  <a:lnTo>
                    <a:pt x="2112" y="219"/>
                  </a:lnTo>
                  <a:lnTo>
                    <a:pt x="2112" y="219"/>
                  </a:lnTo>
                  <a:lnTo>
                    <a:pt x="2115" y="219"/>
                  </a:lnTo>
                  <a:lnTo>
                    <a:pt x="2117" y="221"/>
                  </a:lnTo>
                  <a:lnTo>
                    <a:pt x="2121" y="221"/>
                  </a:lnTo>
                  <a:lnTo>
                    <a:pt x="2121" y="221"/>
                  </a:lnTo>
                  <a:lnTo>
                    <a:pt x="2121" y="221"/>
                  </a:lnTo>
                  <a:lnTo>
                    <a:pt x="2121" y="221"/>
                  </a:lnTo>
                  <a:lnTo>
                    <a:pt x="2121" y="221"/>
                  </a:lnTo>
                  <a:lnTo>
                    <a:pt x="2121" y="223"/>
                  </a:lnTo>
                  <a:lnTo>
                    <a:pt x="2123" y="223"/>
                  </a:lnTo>
                  <a:lnTo>
                    <a:pt x="2123" y="223"/>
                  </a:lnTo>
                  <a:lnTo>
                    <a:pt x="2123" y="223"/>
                  </a:lnTo>
                  <a:lnTo>
                    <a:pt x="2123" y="223"/>
                  </a:lnTo>
                  <a:lnTo>
                    <a:pt x="2123" y="223"/>
                  </a:lnTo>
                  <a:lnTo>
                    <a:pt x="2126" y="225"/>
                  </a:lnTo>
                  <a:lnTo>
                    <a:pt x="2126" y="225"/>
                  </a:lnTo>
                  <a:lnTo>
                    <a:pt x="2128" y="225"/>
                  </a:lnTo>
                  <a:lnTo>
                    <a:pt x="2128" y="225"/>
                  </a:lnTo>
                  <a:lnTo>
                    <a:pt x="2128" y="225"/>
                  </a:lnTo>
                  <a:lnTo>
                    <a:pt x="2130" y="228"/>
                  </a:lnTo>
                  <a:lnTo>
                    <a:pt x="2130" y="228"/>
                  </a:lnTo>
                  <a:lnTo>
                    <a:pt x="2130" y="228"/>
                  </a:lnTo>
                  <a:lnTo>
                    <a:pt x="2132" y="228"/>
                  </a:lnTo>
                  <a:lnTo>
                    <a:pt x="2132" y="228"/>
                  </a:lnTo>
                  <a:lnTo>
                    <a:pt x="2137" y="228"/>
                  </a:lnTo>
                  <a:lnTo>
                    <a:pt x="2141" y="228"/>
                  </a:lnTo>
                  <a:lnTo>
                    <a:pt x="2144" y="230"/>
                  </a:lnTo>
                  <a:lnTo>
                    <a:pt x="2146" y="230"/>
                  </a:lnTo>
                  <a:lnTo>
                    <a:pt x="2148" y="230"/>
                  </a:lnTo>
                  <a:lnTo>
                    <a:pt x="2148" y="230"/>
                  </a:lnTo>
                  <a:lnTo>
                    <a:pt x="2150" y="230"/>
                  </a:lnTo>
                  <a:lnTo>
                    <a:pt x="2153" y="230"/>
                  </a:lnTo>
                  <a:lnTo>
                    <a:pt x="2155" y="232"/>
                  </a:lnTo>
                  <a:lnTo>
                    <a:pt x="2157" y="232"/>
                  </a:lnTo>
                  <a:lnTo>
                    <a:pt x="2159" y="234"/>
                  </a:lnTo>
                  <a:lnTo>
                    <a:pt x="2159" y="237"/>
                  </a:lnTo>
                  <a:lnTo>
                    <a:pt x="2162" y="237"/>
                  </a:lnTo>
                  <a:lnTo>
                    <a:pt x="2162" y="237"/>
                  </a:lnTo>
                  <a:lnTo>
                    <a:pt x="2166" y="237"/>
                  </a:lnTo>
                  <a:lnTo>
                    <a:pt x="2175" y="237"/>
                  </a:lnTo>
                  <a:lnTo>
                    <a:pt x="2175" y="237"/>
                  </a:lnTo>
                  <a:lnTo>
                    <a:pt x="2175" y="237"/>
                  </a:lnTo>
                  <a:lnTo>
                    <a:pt x="2177" y="237"/>
                  </a:lnTo>
                  <a:lnTo>
                    <a:pt x="2177" y="237"/>
                  </a:lnTo>
                  <a:lnTo>
                    <a:pt x="2180" y="237"/>
                  </a:lnTo>
                  <a:lnTo>
                    <a:pt x="2180" y="237"/>
                  </a:lnTo>
                  <a:lnTo>
                    <a:pt x="2182" y="237"/>
                  </a:lnTo>
                  <a:lnTo>
                    <a:pt x="2182" y="237"/>
                  </a:lnTo>
                  <a:lnTo>
                    <a:pt x="2180" y="237"/>
                  </a:lnTo>
                  <a:lnTo>
                    <a:pt x="2177" y="237"/>
                  </a:lnTo>
                  <a:lnTo>
                    <a:pt x="2177" y="237"/>
                  </a:lnTo>
                  <a:lnTo>
                    <a:pt x="2177" y="237"/>
                  </a:lnTo>
                  <a:lnTo>
                    <a:pt x="2177" y="237"/>
                  </a:lnTo>
                  <a:lnTo>
                    <a:pt x="2177" y="237"/>
                  </a:lnTo>
                  <a:lnTo>
                    <a:pt x="2175" y="237"/>
                  </a:lnTo>
                  <a:lnTo>
                    <a:pt x="2175" y="234"/>
                  </a:lnTo>
                  <a:lnTo>
                    <a:pt x="2175" y="234"/>
                  </a:lnTo>
                  <a:lnTo>
                    <a:pt x="2175" y="234"/>
                  </a:lnTo>
                  <a:lnTo>
                    <a:pt x="2175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80" y="234"/>
                  </a:lnTo>
                  <a:lnTo>
                    <a:pt x="2180" y="234"/>
                  </a:lnTo>
                  <a:lnTo>
                    <a:pt x="2180" y="237"/>
                  </a:lnTo>
                  <a:lnTo>
                    <a:pt x="2180" y="237"/>
                  </a:lnTo>
                  <a:lnTo>
                    <a:pt x="2180" y="237"/>
                  </a:lnTo>
                  <a:lnTo>
                    <a:pt x="2180" y="237"/>
                  </a:lnTo>
                  <a:lnTo>
                    <a:pt x="2180" y="237"/>
                  </a:lnTo>
                  <a:lnTo>
                    <a:pt x="2180" y="234"/>
                  </a:lnTo>
                  <a:lnTo>
                    <a:pt x="2180" y="234"/>
                  </a:lnTo>
                  <a:lnTo>
                    <a:pt x="2180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4"/>
                  </a:lnTo>
                  <a:lnTo>
                    <a:pt x="2177" y="232"/>
                  </a:lnTo>
                  <a:lnTo>
                    <a:pt x="2177" y="232"/>
                  </a:lnTo>
                  <a:lnTo>
                    <a:pt x="2177" y="232"/>
                  </a:lnTo>
                  <a:lnTo>
                    <a:pt x="2177" y="232"/>
                  </a:lnTo>
                  <a:lnTo>
                    <a:pt x="2177" y="232"/>
                  </a:lnTo>
                  <a:lnTo>
                    <a:pt x="2177" y="232"/>
                  </a:lnTo>
                  <a:lnTo>
                    <a:pt x="2177" y="232"/>
                  </a:lnTo>
                  <a:lnTo>
                    <a:pt x="2180" y="232"/>
                  </a:lnTo>
                  <a:lnTo>
                    <a:pt x="2180" y="232"/>
                  </a:lnTo>
                  <a:lnTo>
                    <a:pt x="2182" y="232"/>
                  </a:lnTo>
                  <a:lnTo>
                    <a:pt x="2180" y="232"/>
                  </a:lnTo>
                  <a:lnTo>
                    <a:pt x="2180" y="232"/>
                  </a:lnTo>
                  <a:lnTo>
                    <a:pt x="2177" y="232"/>
                  </a:lnTo>
                  <a:lnTo>
                    <a:pt x="2177" y="230"/>
                  </a:lnTo>
                  <a:lnTo>
                    <a:pt x="2177" y="230"/>
                  </a:lnTo>
                  <a:lnTo>
                    <a:pt x="2175" y="230"/>
                  </a:lnTo>
                  <a:lnTo>
                    <a:pt x="2175" y="230"/>
                  </a:lnTo>
                  <a:lnTo>
                    <a:pt x="2175" y="230"/>
                  </a:lnTo>
                  <a:lnTo>
                    <a:pt x="2173" y="230"/>
                  </a:lnTo>
                  <a:lnTo>
                    <a:pt x="2173" y="230"/>
                  </a:lnTo>
                  <a:lnTo>
                    <a:pt x="2173" y="228"/>
                  </a:lnTo>
                  <a:lnTo>
                    <a:pt x="2173" y="228"/>
                  </a:lnTo>
                  <a:lnTo>
                    <a:pt x="2173" y="228"/>
                  </a:lnTo>
                  <a:lnTo>
                    <a:pt x="2171" y="228"/>
                  </a:lnTo>
                  <a:lnTo>
                    <a:pt x="2171" y="228"/>
                  </a:lnTo>
                  <a:lnTo>
                    <a:pt x="2171" y="228"/>
                  </a:lnTo>
                  <a:lnTo>
                    <a:pt x="2171" y="228"/>
                  </a:lnTo>
                  <a:lnTo>
                    <a:pt x="2171" y="228"/>
                  </a:lnTo>
                  <a:lnTo>
                    <a:pt x="2168" y="225"/>
                  </a:lnTo>
                  <a:lnTo>
                    <a:pt x="2168" y="225"/>
                  </a:lnTo>
                  <a:lnTo>
                    <a:pt x="2166" y="225"/>
                  </a:lnTo>
                  <a:lnTo>
                    <a:pt x="2166" y="225"/>
                  </a:lnTo>
                  <a:lnTo>
                    <a:pt x="2164" y="225"/>
                  </a:lnTo>
                  <a:lnTo>
                    <a:pt x="2164" y="225"/>
                  </a:lnTo>
                  <a:lnTo>
                    <a:pt x="2164" y="223"/>
                  </a:lnTo>
                  <a:lnTo>
                    <a:pt x="2162" y="223"/>
                  </a:lnTo>
                  <a:lnTo>
                    <a:pt x="2162" y="223"/>
                  </a:lnTo>
                  <a:lnTo>
                    <a:pt x="2162" y="223"/>
                  </a:lnTo>
                  <a:lnTo>
                    <a:pt x="2162" y="223"/>
                  </a:lnTo>
                  <a:lnTo>
                    <a:pt x="2162" y="223"/>
                  </a:lnTo>
                  <a:lnTo>
                    <a:pt x="2159" y="223"/>
                  </a:lnTo>
                  <a:lnTo>
                    <a:pt x="2159" y="223"/>
                  </a:lnTo>
                  <a:lnTo>
                    <a:pt x="2159" y="223"/>
                  </a:lnTo>
                  <a:lnTo>
                    <a:pt x="2159" y="223"/>
                  </a:lnTo>
                  <a:lnTo>
                    <a:pt x="2159" y="221"/>
                  </a:lnTo>
                  <a:lnTo>
                    <a:pt x="2157" y="221"/>
                  </a:lnTo>
                  <a:lnTo>
                    <a:pt x="2157" y="221"/>
                  </a:lnTo>
                  <a:lnTo>
                    <a:pt x="2155" y="221"/>
                  </a:lnTo>
                  <a:lnTo>
                    <a:pt x="2155" y="221"/>
                  </a:lnTo>
                  <a:lnTo>
                    <a:pt x="2153" y="221"/>
                  </a:lnTo>
                  <a:lnTo>
                    <a:pt x="2153" y="221"/>
                  </a:lnTo>
                  <a:lnTo>
                    <a:pt x="2150" y="221"/>
                  </a:lnTo>
                  <a:lnTo>
                    <a:pt x="2148" y="221"/>
                  </a:lnTo>
                  <a:lnTo>
                    <a:pt x="2148" y="221"/>
                  </a:lnTo>
                  <a:lnTo>
                    <a:pt x="2148" y="219"/>
                  </a:lnTo>
                  <a:lnTo>
                    <a:pt x="2146" y="219"/>
                  </a:lnTo>
                  <a:lnTo>
                    <a:pt x="2146" y="219"/>
                  </a:lnTo>
                  <a:lnTo>
                    <a:pt x="2146" y="219"/>
                  </a:lnTo>
                  <a:lnTo>
                    <a:pt x="2146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50" y="216"/>
                  </a:lnTo>
                  <a:lnTo>
                    <a:pt x="2150" y="216"/>
                  </a:lnTo>
                  <a:lnTo>
                    <a:pt x="2150" y="216"/>
                  </a:lnTo>
                  <a:lnTo>
                    <a:pt x="2150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8" y="216"/>
                  </a:lnTo>
                  <a:lnTo>
                    <a:pt x="2146" y="214"/>
                  </a:lnTo>
                  <a:lnTo>
                    <a:pt x="2146" y="214"/>
                  </a:lnTo>
                  <a:lnTo>
                    <a:pt x="2146" y="214"/>
                  </a:lnTo>
                  <a:lnTo>
                    <a:pt x="2144" y="214"/>
                  </a:lnTo>
                  <a:lnTo>
                    <a:pt x="2144" y="214"/>
                  </a:lnTo>
                  <a:lnTo>
                    <a:pt x="2144" y="212"/>
                  </a:lnTo>
                  <a:lnTo>
                    <a:pt x="2144" y="212"/>
                  </a:lnTo>
                  <a:lnTo>
                    <a:pt x="2141" y="212"/>
                  </a:lnTo>
                  <a:lnTo>
                    <a:pt x="2141" y="212"/>
                  </a:lnTo>
                  <a:lnTo>
                    <a:pt x="2141" y="212"/>
                  </a:lnTo>
                  <a:lnTo>
                    <a:pt x="2141" y="212"/>
                  </a:lnTo>
                  <a:lnTo>
                    <a:pt x="2139" y="210"/>
                  </a:lnTo>
                  <a:lnTo>
                    <a:pt x="2139" y="210"/>
                  </a:lnTo>
                  <a:lnTo>
                    <a:pt x="2139" y="210"/>
                  </a:lnTo>
                  <a:lnTo>
                    <a:pt x="2137" y="210"/>
                  </a:lnTo>
                  <a:lnTo>
                    <a:pt x="2137" y="210"/>
                  </a:lnTo>
                  <a:lnTo>
                    <a:pt x="2137" y="210"/>
                  </a:lnTo>
                  <a:lnTo>
                    <a:pt x="2137" y="210"/>
                  </a:lnTo>
                  <a:lnTo>
                    <a:pt x="2139" y="210"/>
                  </a:lnTo>
                  <a:lnTo>
                    <a:pt x="2148" y="210"/>
                  </a:lnTo>
                  <a:lnTo>
                    <a:pt x="2153" y="212"/>
                  </a:lnTo>
                  <a:lnTo>
                    <a:pt x="2157" y="212"/>
                  </a:lnTo>
                  <a:lnTo>
                    <a:pt x="2164" y="212"/>
                  </a:lnTo>
                  <a:lnTo>
                    <a:pt x="2164" y="212"/>
                  </a:lnTo>
                  <a:lnTo>
                    <a:pt x="2175" y="212"/>
                  </a:lnTo>
                  <a:lnTo>
                    <a:pt x="2175" y="212"/>
                  </a:lnTo>
                  <a:lnTo>
                    <a:pt x="2175" y="212"/>
                  </a:lnTo>
                  <a:lnTo>
                    <a:pt x="2177" y="212"/>
                  </a:lnTo>
                  <a:lnTo>
                    <a:pt x="2177" y="212"/>
                  </a:lnTo>
                  <a:lnTo>
                    <a:pt x="2180" y="214"/>
                  </a:lnTo>
                  <a:lnTo>
                    <a:pt x="2180" y="214"/>
                  </a:lnTo>
                  <a:lnTo>
                    <a:pt x="2186" y="216"/>
                  </a:lnTo>
                  <a:lnTo>
                    <a:pt x="2189" y="216"/>
                  </a:lnTo>
                  <a:lnTo>
                    <a:pt x="2189" y="216"/>
                  </a:lnTo>
                  <a:lnTo>
                    <a:pt x="2189" y="216"/>
                  </a:lnTo>
                  <a:lnTo>
                    <a:pt x="2189" y="216"/>
                  </a:lnTo>
                  <a:lnTo>
                    <a:pt x="2189" y="216"/>
                  </a:lnTo>
                  <a:lnTo>
                    <a:pt x="2189" y="216"/>
                  </a:lnTo>
                  <a:lnTo>
                    <a:pt x="2189" y="216"/>
                  </a:lnTo>
                  <a:lnTo>
                    <a:pt x="2191" y="216"/>
                  </a:lnTo>
                  <a:lnTo>
                    <a:pt x="2191" y="216"/>
                  </a:lnTo>
                  <a:lnTo>
                    <a:pt x="2193" y="216"/>
                  </a:lnTo>
                  <a:lnTo>
                    <a:pt x="2193" y="216"/>
                  </a:lnTo>
                  <a:lnTo>
                    <a:pt x="2191" y="216"/>
                  </a:lnTo>
                  <a:lnTo>
                    <a:pt x="2191" y="216"/>
                  </a:lnTo>
                  <a:lnTo>
                    <a:pt x="2191" y="216"/>
                  </a:lnTo>
                  <a:lnTo>
                    <a:pt x="2191" y="214"/>
                  </a:lnTo>
                  <a:lnTo>
                    <a:pt x="2189" y="214"/>
                  </a:lnTo>
                  <a:lnTo>
                    <a:pt x="2189" y="214"/>
                  </a:lnTo>
                  <a:lnTo>
                    <a:pt x="2186" y="214"/>
                  </a:lnTo>
                  <a:lnTo>
                    <a:pt x="2186" y="214"/>
                  </a:lnTo>
                  <a:lnTo>
                    <a:pt x="2186" y="214"/>
                  </a:lnTo>
                  <a:lnTo>
                    <a:pt x="2186" y="214"/>
                  </a:lnTo>
                  <a:lnTo>
                    <a:pt x="2186" y="214"/>
                  </a:lnTo>
                  <a:lnTo>
                    <a:pt x="2186" y="214"/>
                  </a:lnTo>
                  <a:lnTo>
                    <a:pt x="2186" y="214"/>
                  </a:lnTo>
                  <a:lnTo>
                    <a:pt x="2184" y="214"/>
                  </a:lnTo>
                  <a:lnTo>
                    <a:pt x="2184" y="214"/>
                  </a:lnTo>
                  <a:lnTo>
                    <a:pt x="2184" y="214"/>
                  </a:lnTo>
                  <a:lnTo>
                    <a:pt x="2184" y="214"/>
                  </a:lnTo>
                  <a:lnTo>
                    <a:pt x="2184" y="214"/>
                  </a:lnTo>
                  <a:lnTo>
                    <a:pt x="2186" y="214"/>
                  </a:lnTo>
                  <a:lnTo>
                    <a:pt x="2189" y="214"/>
                  </a:lnTo>
                  <a:lnTo>
                    <a:pt x="2193" y="214"/>
                  </a:lnTo>
                  <a:lnTo>
                    <a:pt x="2193" y="214"/>
                  </a:lnTo>
                  <a:lnTo>
                    <a:pt x="2193" y="214"/>
                  </a:lnTo>
                  <a:lnTo>
                    <a:pt x="2193" y="214"/>
                  </a:lnTo>
                  <a:lnTo>
                    <a:pt x="2193" y="214"/>
                  </a:lnTo>
                  <a:lnTo>
                    <a:pt x="2195" y="214"/>
                  </a:lnTo>
                  <a:lnTo>
                    <a:pt x="2195" y="214"/>
                  </a:lnTo>
                  <a:lnTo>
                    <a:pt x="2195" y="214"/>
                  </a:lnTo>
                  <a:lnTo>
                    <a:pt x="2195" y="214"/>
                  </a:lnTo>
                  <a:lnTo>
                    <a:pt x="2195" y="214"/>
                  </a:lnTo>
                  <a:lnTo>
                    <a:pt x="2195" y="214"/>
                  </a:lnTo>
                  <a:lnTo>
                    <a:pt x="2195" y="214"/>
                  </a:lnTo>
                  <a:lnTo>
                    <a:pt x="2198" y="214"/>
                  </a:lnTo>
                  <a:lnTo>
                    <a:pt x="2198" y="216"/>
                  </a:lnTo>
                  <a:lnTo>
                    <a:pt x="2198" y="214"/>
                  </a:lnTo>
                  <a:lnTo>
                    <a:pt x="2198" y="214"/>
                  </a:lnTo>
                  <a:lnTo>
                    <a:pt x="2198" y="214"/>
                  </a:lnTo>
                  <a:lnTo>
                    <a:pt x="2198" y="214"/>
                  </a:lnTo>
                  <a:lnTo>
                    <a:pt x="2200" y="214"/>
                  </a:lnTo>
                  <a:lnTo>
                    <a:pt x="2202" y="214"/>
                  </a:lnTo>
                  <a:lnTo>
                    <a:pt x="2202" y="214"/>
                  </a:lnTo>
                  <a:lnTo>
                    <a:pt x="2204" y="214"/>
                  </a:lnTo>
                  <a:lnTo>
                    <a:pt x="2211" y="214"/>
                  </a:lnTo>
                  <a:lnTo>
                    <a:pt x="2216" y="214"/>
                  </a:lnTo>
                  <a:lnTo>
                    <a:pt x="2218" y="214"/>
                  </a:lnTo>
                  <a:lnTo>
                    <a:pt x="2218" y="214"/>
                  </a:lnTo>
                  <a:lnTo>
                    <a:pt x="2218" y="214"/>
                  </a:lnTo>
                  <a:lnTo>
                    <a:pt x="2218" y="214"/>
                  </a:lnTo>
                  <a:lnTo>
                    <a:pt x="2216" y="214"/>
                  </a:lnTo>
                  <a:lnTo>
                    <a:pt x="2218" y="216"/>
                  </a:lnTo>
                  <a:lnTo>
                    <a:pt x="2220" y="214"/>
                  </a:lnTo>
                  <a:lnTo>
                    <a:pt x="2220" y="214"/>
                  </a:lnTo>
                  <a:lnTo>
                    <a:pt x="2220" y="214"/>
                  </a:lnTo>
                  <a:lnTo>
                    <a:pt x="2220" y="214"/>
                  </a:lnTo>
                  <a:lnTo>
                    <a:pt x="2220" y="214"/>
                  </a:lnTo>
                  <a:lnTo>
                    <a:pt x="2220" y="214"/>
                  </a:lnTo>
                  <a:lnTo>
                    <a:pt x="2222" y="214"/>
                  </a:lnTo>
                  <a:lnTo>
                    <a:pt x="2225" y="214"/>
                  </a:lnTo>
                  <a:lnTo>
                    <a:pt x="2227" y="214"/>
                  </a:lnTo>
                  <a:lnTo>
                    <a:pt x="2227" y="214"/>
                  </a:lnTo>
                  <a:lnTo>
                    <a:pt x="2229" y="214"/>
                  </a:lnTo>
                  <a:lnTo>
                    <a:pt x="2229" y="214"/>
                  </a:lnTo>
                  <a:lnTo>
                    <a:pt x="2229" y="214"/>
                  </a:lnTo>
                  <a:lnTo>
                    <a:pt x="2231" y="214"/>
                  </a:lnTo>
                  <a:lnTo>
                    <a:pt x="2231" y="214"/>
                  </a:lnTo>
                  <a:lnTo>
                    <a:pt x="2231" y="214"/>
                  </a:lnTo>
                  <a:lnTo>
                    <a:pt x="2234" y="216"/>
                  </a:lnTo>
                  <a:lnTo>
                    <a:pt x="2234" y="216"/>
                  </a:lnTo>
                  <a:lnTo>
                    <a:pt x="2236" y="216"/>
                  </a:lnTo>
                  <a:lnTo>
                    <a:pt x="2236" y="216"/>
                  </a:lnTo>
                  <a:lnTo>
                    <a:pt x="2236" y="216"/>
                  </a:lnTo>
                  <a:lnTo>
                    <a:pt x="2236" y="216"/>
                  </a:lnTo>
                  <a:lnTo>
                    <a:pt x="2236" y="216"/>
                  </a:lnTo>
                  <a:lnTo>
                    <a:pt x="2236" y="216"/>
                  </a:lnTo>
                  <a:lnTo>
                    <a:pt x="2236" y="216"/>
                  </a:lnTo>
                  <a:lnTo>
                    <a:pt x="2240" y="216"/>
                  </a:lnTo>
                  <a:lnTo>
                    <a:pt x="2240" y="219"/>
                  </a:lnTo>
                  <a:lnTo>
                    <a:pt x="2243" y="219"/>
                  </a:lnTo>
                  <a:lnTo>
                    <a:pt x="2243" y="219"/>
                  </a:lnTo>
                  <a:lnTo>
                    <a:pt x="2245" y="219"/>
                  </a:lnTo>
                  <a:lnTo>
                    <a:pt x="2247" y="219"/>
                  </a:lnTo>
                  <a:lnTo>
                    <a:pt x="2247" y="219"/>
                  </a:lnTo>
                  <a:lnTo>
                    <a:pt x="2252" y="219"/>
                  </a:lnTo>
                  <a:lnTo>
                    <a:pt x="2254" y="221"/>
                  </a:lnTo>
                  <a:lnTo>
                    <a:pt x="2258" y="221"/>
                  </a:lnTo>
                  <a:lnTo>
                    <a:pt x="2263" y="221"/>
                  </a:lnTo>
                  <a:lnTo>
                    <a:pt x="2265" y="221"/>
                  </a:lnTo>
                  <a:lnTo>
                    <a:pt x="2263" y="221"/>
                  </a:lnTo>
                  <a:lnTo>
                    <a:pt x="2263" y="221"/>
                  </a:lnTo>
                  <a:lnTo>
                    <a:pt x="2263" y="221"/>
                  </a:lnTo>
                  <a:lnTo>
                    <a:pt x="2265" y="221"/>
                  </a:lnTo>
                  <a:lnTo>
                    <a:pt x="2265" y="221"/>
                  </a:lnTo>
                  <a:lnTo>
                    <a:pt x="2267" y="221"/>
                  </a:lnTo>
                  <a:lnTo>
                    <a:pt x="2270" y="223"/>
                  </a:lnTo>
                  <a:lnTo>
                    <a:pt x="2274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76" y="223"/>
                  </a:lnTo>
                  <a:lnTo>
                    <a:pt x="2285" y="223"/>
                  </a:lnTo>
                  <a:lnTo>
                    <a:pt x="2287" y="225"/>
                  </a:lnTo>
                  <a:lnTo>
                    <a:pt x="2287" y="225"/>
                  </a:lnTo>
                  <a:lnTo>
                    <a:pt x="2287" y="225"/>
                  </a:lnTo>
                  <a:lnTo>
                    <a:pt x="2290" y="225"/>
                  </a:lnTo>
                  <a:lnTo>
                    <a:pt x="2290" y="225"/>
                  </a:lnTo>
                  <a:lnTo>
                    <a:pt x="2292" y="225"/>
                  </a:lnTo>
                  <a:lnTo>
                    <a:pt x="2292" y="225"/>
                  </a:lnTo>
                  <a:lnTo>
                    <a:pt x="2292" y="225"/>
                  </a:lnTo>
                  <a:lnTo>
                    <a:pt x="2290" y="225"/>
                  </a:lnTo>
                  <a:lnTo>
                    <a:pt x="2290" y="225"/>
                  </a:lnTo>
                  <a:lnTo>
                    <a:pt x="2290" y="225"/>
                  </a:lnTo>
                  <a:lnTo>
                    <a:pt x="2290" y="225"/>
                  </a:lnTo>
                  <a:lnTo>
                    <a:pt x="2287" y="225"/>
                  </a:lnTo>
                  <a:lnTo>
                    <a:pt x="2287" y="225"/>
                  </a:lnTo>
                  <a:lnTo>
                    <a:pt x="2287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5" y="225"/>
                  </a:lnTo>
                  <a:lnTo>
                    <a:pt x="2287" y="225"/>
                  </a:lnTo>
                  <a:lnTo>
                    <a:pt x="2287" y="225"/>
                  </a:lnTo>
                  <a:lnTo>
                    <a:pt x="2287" y="228"/>
                  </a:lnTo>
                  <a:lnTo>
                    <a:pt x="2290" y="228"/>
                  </a:lnTo>
                  <a:lnTo>
                    <a:pt x="2290" y="225"/>
                  </a:lnTo>
                  <a:lnTo>
                    <a:pt x="2292" y="228"/>
                  </a:lnTo>
                  <a:lnTo>
                    <a:pt x="2292" y="228"/>
                  </a:lnTo>
                  <a:lnTo>
                    <a:pt x="2294" y="225"/>
                  </a:lnTo>
                  <a:lnTo>
                    <a:pt x="2296" y="228"/>
                  </a:lnTo>
                  <a:lnTo>
                    <a:pt x="2299" y="228"/>
                  </a:lnTo>
                  <a:lnTo>
                    <a:pt x="2301" y="228"/>
                  </a:lnTo>
                  <a:lnTo>
                    <a:pt x="2317" y="232"/>
                  </a:lnTo>
                  <a:lnTo>
                    <a:pt x="2314" y="232"/>
                  </a:lnTo>
                  <a:lnTo>
                    <a:pt x="2314" y="232"/>
                  </a:lnTo>
                  <a:lnTo>
                    <a:pt x="2310" y="230"/>
                  </a:lnTo>
                  <a:lnTo>
                    <a:pt x="2308" y="230"/>
                  </a:lnTo>
                  <a:lnTo>
                    <a:pt x="2308" y="230"/>
                  </a:lnTo>
                  <a:lnTo>
                    <a:pt x="2305" y="230"/>
                  </a:lnTo>
                  <a:lnTo>
                    <a:pt x="2308" y="230"/>
                  </a:lnTo>
                  <a:lnTo>
                    <a:pt x="2308" y="230"/>
                  </a:lnTo>
                  <a:lnTo>
                    <a:pt x="2310" y="232"/>
                  </a:lnTo>
                  <a:lnTo>
                    <a:pt x="2310" y="232"/>
                  </a:lnTo>
                  <a:lnTo>
                    <a:pt x="2310" y="232"/>
                  </a:lnTo>
                  <a:lnTo>
                    <a:pt x="2312" y="232"/>
                  </a:lnTo>
                  <a:lnTo>
                    <a:pt x="2312" y="232"/>
                  </a:lnTo>
                  <a:lnTo>
                    <a:pt x="2314" y="232"/>
                  </a:lnTo>
                  <a:lnTo>
                    <a:pt x="2314" y="232"/>
                  </a:lnTo>
                  <a:lnTo>
                    <a:pt x="2317" y="232"/>
                  </a:lnTo>
                  <a:lnTo>
                    <a:pt x="2319" y="234"/>
                  </a:lnTo>
                  <a:lnTo>
                    <a:pt x="2321" y="234"/>
                  </a:lnTo>
                  <a:lnTo>
                    <a:pt x="2323" y="237"/>
                  </a:lnTo>
                  <a:lnTo>
                    <a:pt x="2326" y="237"/>
                  </a:lnTo>
                  <a:lnTo>
                    <a:pt x="2328" y="239"/>
                  </a:lnTo>
                  <a:lnTo>
                    <a:pt x="2330" y="241"/>
                  </a:lnTo>
                  <a:lnTo>
                    <a:pt x="2330" y="241"/>
                  </a:lnTo>
                  <a:lnTo>
                    <a:pt x="2332" y="243"/>
                  </a:lnTo>
                  <a:lnTo>
                    <a:pt x="2335" y="243"/>
                  </a:lnTo>
                  <a:lnTo>
                    <a:pt x="2337" y="246"/>
                  </a:lnTo>
                  <a:lnTo>
                    <a:pt x="2339" y="246"/>
                  </a:lnTo>
                  <a:lnTo>
                    <a:pt x="2341" y="248"/>
                  </a:lnTo>
                  <a:lnTo>
                    <a:pt x="2344" y="248"/>
                  </a:lnTo>
                  <a:lnTo>
                    <a:pt x="2344" y="250"/>
                  </a:lnTo>
                  <a:lnTo>
                    <a:pt x="2346" y="252"/>
                  </a:lnTo>
                  <a:lnTo>
                    <a:pt x="2348" y="252"/>
                  </a:lnTo>
                  <a:lnTo>
                    <a:pt x="2350" y="255"/>
                  </a:lnTo>
                  <a:lnTo>
                    <a:pt x="2353" y="255"/>
                  </a:lnTo>
                  <a:lnTo>
                    <a:pt x="2355" y="257"/>
                  </a:lnTo>
                  <a:lnTo>
                    <a:pt x="2355" y="257"/>
                  </a:lnTo>
                  <a:lnTo>
                    <a:pt x="2357" y="259"/>
                  </a:lnTo>
                  <a:lnTo>
                    <a:pt x="2359" y="259"/>
                  </a:lnTo>
                  <a:lnTo>
                    <a:pt x="2362" y="261"/>
                  </a:lnTo>
                  <a:lnTo>
                    <a:pt x="2364" y="264"/>
                  </a:lnTo>
                  <a:lnTo>
                    <a:pt x="2366" y="264"/>
                  </a:lnTo>
                  <a:lnTo>
                    <a:pt x="2368" y="266"/>
                  </a:lnTo>
                  <a:lnTo>
                    <a:pt x="2368" y="266"/>
                  </a:lnTo>
                  <a:lnTo>
                    <a:pt x="2371" y="268"/>
                  </a:lnTo>
                  <a:lnTo>
                    <a:pt x="2373" y="268"/>
                  </a:lnTo>
                  <a:lnTo>
                    <a:pt x="2375" y="270"/>
                  </a:lnTo>
                  <a:lnTo>
                    <a:pt x="2377" y="270"/>
                  </a:lnTo>
                  <a:lnTo>
                    <a:pt x="2380" y="273"/>
                  </a:lnTo>
                  <a:lnTo>
                    <a:pt x="2380" y="275"/>
                  </a:lnTo>
                  <a:lnTo>
                    <a:pt x="2382" y="275"/>
                  </a:lnTo>
                  <a:lnTo>
                    <a:pt x="2384" y="277"/>
                  </a:lnTo>
                  <a:lnTo>
                    <a:pt x="2386" y="277"/>
                  </a:lnTo>
                  <a:lnTo>
                    <a:pt x="2389" y="279"/>
                  </a:lnTo>
                  <a:lnTo>
                    <a:pt x="2391" y="279"/>
                  </a:lnTo>
                  <a:lnTo>
                    <a:pt x="2393" y="282"/>
                  </a:lnTo>
                  <a:lnTo>
                    <a:pt x="2393" y="282"/>
                  </a:lnTo>
                  <a:lnTo>
                    <a:pt x="2395" y="284"/>
                  </a:lnTo>
                  <a:lnTo>
                    <a:pt x="2398" y="286"/>
                  </a:lnTo>
                  <a:lnTo>
                    <a:pt x="2400" y="286"/>
                  </a:lnTo>
                  <a:lnTo>
                    <a:pt x="2402" y="288"/>
                  </a:lnTo>
                  <a:lnTo>
                    <a:pt x="2404" y="288"/>
                  </a:lnTo>
                  <a:lnTo>
                    <a:pt x="2404" y="291"/>
                  </a:lnTo>
                  <a:lnTo>
                    <a:pt x="2407" y="291"/>
                  </a:lnTo>
                  <a:lnTo>
                    <a:pt x="2409" y="293"/>
                  </a:lnTo>
                  <a:lnTo>
                    <a:pt x="2411" y="295"/>
                  </a:lnTo>
                  <a:lnTo>
                    <a:pt x="2413" y="295"/>
                  </a:lnTo>
                  <a:lnTo>
                    <a:pt x="2416" y="297"/>
                  </a:lnTo>
                  <a:lnTo>
                    <a:pt x="2416" y="297"/>
                  </a:lnTo>
                  <a:lnTo>
                    <a:pt x="2418" y="300"/>
                  </a:lnTo>
                  <a:lnTo>
                    <a:pt x="2420" y="300"/>
                  </a:lnTo>
                  <a:lnTo>
                    <a:pt x="2422" y="302"/>
                  </a:lnTo>
                  <a:lnTo>
                    <a:pt x="2425" y="302"/>
                  </a:lnTo>
                  <a:lnTo>
                    <a:pt x="2427" y="304"/>
                  </a:lnTo>
                  <a:lnTo>
                    <a:pt x="2427" y="306"/>
                  </a:lnTo>
                  <a:lnTo>
                    <a:pt x="2429" y="306"/>
                  </a:lnTo>
                  <a:lnTo>
                    <a:pt x="2431" y="309"/>
                  </a:lnTo>
                  <a:lnTo>
                    <a:pt x="2434" y="309"/>
                  </a:lnTo>
                  <a:lnTo>
                    <a:pt x="2436" y="311"/>
                  </a:lnTo>
                  <a:lnTo>
                    <a:pt x="2436" y="311"/>
                  </a:lnTo>
                  <a:lnTo>
                    <a:pt x="2438" y="313"/>
                  </a:lnTo>
                  <a:lnTo>
                    <a:pt x="2438" y="313"/>
                  </a:lnTo>
                  <a:lnTo>
                    <a:pt x="2438" y="313"/>
                  </a:lnTo>
                  <a:lnTo>
                    <a:pt x="2436" y="313"/>
                  </a:lnTo>
                  <a:lnTo>
                    <a:pt x="2436" y="313"/>
                  </a:lnTo>
                  <a:lnTo>
                    <a:pt x="2438" y="315"/>
                  </a:lnTo>
                  <a:lnTo>
                    <a:pt x="2438" y="318"/>
                  </a:lnTo>
                  <a:lnTo>
                    <a:pt x="2438" y="318"/>
                  </a:lnTo>
                  <a:lnTo>
                    <a:pt x="2436" y="318"/>
                  </a:lnTo>
                  <a:lnTo>
                    <a:pt x="2436" y="318"/>
                  </a:lnTo>
                  <a:lnTo>
                    <a:pt x="2434" y="318"/>
                  </a:lnTo>
                  <a:lnTo>
                    <a:pt x="2434" y="320"/>
                  </a:lnTo>
                  <a:lnTo>
                    <a:pt x="2434" y="320"/>
                  </a:lnTo>
                  <a:lnTo>
                    <a:pt x="2434" y="320"/>
                  </a:lnTo>
                  <a:lnTo>
                    <a:pt x="2431" y="320"/>
                  </a:lnTo>
                  <a:lnTo>
                    <a:pt x="2431" y="322"/>
                  </a:lnTo>
                  <a:lnTo>
                    <a:pt x="2429" y="322"/>
                  </a:lnTo>
                  <a:lnTo>
                    <a:pt x="2429" y="322"/>
                  </a:lnTo>
                  <a:lnTo>
                    <a:pt x="2429" y="322"/>
                  </a:lnTo>
                  <a:lnTo>
                    <a:pt x="2429" y="322"/>
                  </a:lnTo>
                  <a:lnTo>
                    <a:pt x="2431" y="322"/>
                  </a:lnTo>
                  <a:lnTo>
                    <a:pt x="2431" y="322"/>
                  </a:lnTo>
                  <a:lnTo>
                    <a:pt x="2431" y="322"/>
                  </a:lnTo>
                  <a:lnTo>
                    <a:pt x="2431" y="322"/>
                  </a:lnTo>
                  <a:lnTo>
                    <a:pt x="2429" y="322"/>
                  </a:lnTo>
                  <a:lnTo>
                    <a:pt x="2429" y="320"/>
                  </a:lnTo>
                  <a:lnTo>
                    <a:pt x="2429" y="320"/>
                  </a:lnTo>
                  <a:lnTo>
                    <a:pt x="2429" y="320"/>
                  </a:lnTo>
                  <a:lnTo>
                    <a:pt x="2427" y="322"/>
                  </a:lnTo>
                  <a:lnTo>
                    <a:pt x="2422" y="322"/>
                  </a:lnTo>
                  <a:lnTo>
                    <a:pt x="2422" y="322"/>
                  </a:lnTo>
                  <a:lnTo>
                    <a:pt x="2422" y="322"/>
                  </a:lnTo>
                  <a:lnTo>
                    <a:pt x="2422" y="322"/>
                  </a:lnTo>
                  <a:lnTo>
                    <a:pt x="2422" y="322"/>
                  </a:lnTo>
                  <a:lnTo>
                    <a:pt x="2422" y="322"/>
                  </a:lnTo>
                  <a:lnTo>
                    <a:pt x="2420" y="322"/>
                  </a:lnTo>
                  <a:lnTo>
                    <a:pt x="2418" y="322"/>
                  </a:lnTo>
                  <a:lnTo>
                    <a:pt x="2418" y="322"/>
                  </a:lnTo>
                  <a:lnTo>
                    <a:pt x="2418" y="322"/>
                  </a:lnTo>
                  <a:lnTo>
                    <a:pt x="2418" y="322"/>
                  </a:lnTo>
                  <a:lnTo>
                    <a:pt x="2418" y="320"/>
                  </a:lnTo>
                  <a:lnTo>
                    <a:pt x="2416" y="320"/>
                  </a:lnTo>
                  <a:lnTo>
                    <a:pt x="2416" y="320"/>
                  </a:lnTo>
                  <a:lnTo>
                    <a:pt x="2413" y="320"/>
                  </a:lnTo>
                  <a:lnTo>
                    <a:pt x="2413" y="320"/>
                  </a:lnTo>
                  <a:lnTo>
                    <a:pt x="2411" y="320"/>
                  </a:lnTo>
                  <a:lnTo>
                    <a:pt x="2411" y="320"/>
                  </a:lnTo>
                  <a:lnTo>
                    <a:pt x="2411" y="320"/>
                  </a:lnTo>
                  <a:lnTo>
                    <a:pt x="2411" y="320"/>
                  </a:lnTo>
                  <a:lnTo>
                    <a:pt x="2411" y="320"/>
                  </a:lnTo>
                  <a:lnTo>
                    <a:pt x="2411" y="320"/>
                  </a:lnTo>
                  <a:lnTo>
                    <a:pt x="2409" y="320"/>
                  </a:lnTo>
                  <a:lnTo>
                    <a:pt x="2409" y="320"/>
                  </a:lnTo>
                  <a:lnTo>
                    <a:pt x="2407" y="320"/>
                  </a:lnTo>
                  <a:lnTo>
                    <a:pt x="2407" y="318"/>
                  </a:lnTo>
                  <a:lnTo>
                    <a:pt x="2407" y="318"/>
                  </a:lnTo>
                  <a:lnTo>
                    <a:pt x="2407" y="318"/>
                  </a:lnTo>
                  <a:lnTo>
                    <a:pt x="2407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4" y="318"/>
                  </a:lnTo>
                  <a:lnTo>
                    <a:pt x="2402" y="318"/>
                  </a:lnTo>
                  <a:lnTo>
                    <a:pt x="2402" y="318"/>
                  </a:lnTo>
                  <a:lnTo>
                    <a:pt x="2402" y="315"/>
                  </a:lnTo>
                  <a:lnTo>
                    <a:pt x="2402" y="315"/>
                  </a:lnTo>
                  <a:lnTo>
                    <a:pt x="2402" y="315"/>
                  </a:lnTo>
                  <a:lnTo>
                    <a:pt x="2402" y="315"/>
                  </a:lnTo>
                  <a:lnTo>
                    <a:pt x="2402" y="315"/>
                  </a:lnTo>
                  <a:lnTo>
                    <a:pt x="2402" y="315"/>
                  </a:lnTo>
                  <a:lnTo>
                    <a:pt x="2400" y="315"/>
                  </a:lnTo>
                  <a:lnTo>
                    <a:pt x="2400" y="315"/>
                  </a:lnTo>
                  <a:lnTo>
                    <a:pt x="2398" y="315"/>
                  </a:lnTo>
                  <a:lnTo>
                    <a:pt x="2398" y="315"/>
                  </a:lnTo>
                  <a:lnTo>
                    <a:pt x="2398" y="315"/>
                  </a:lnTo>
                  <a:lnTo>
                    <a:pt x="2395" y="315"/>
                  </a:lnTo>
                  <a:lnTo>
                    <a:pt x="2395" y="313"/>
                  </a:lnTo>
                  <a:lnTo>
                    <a:pt x="2395" y="313"/>
                  </a:lnTo>
                  <a:lnTo>
                    <a:pt x="2391" y="313"/>
                  </a:lnTo>
                  <a:lnTo>
                    <a:pt x="2391" y="313"/>
                  </a:lnTo>
                  <a:lnTo>
                    <a:pt x="2389" y="313"/>
                  </a:lnTo>
                  <a:lnTo>
                    <a:pt x="2389" y="313"/>
                  </a:lnTo>
                  <a:lnTo>
                    <a:pt x="2389" y="313"/>
                  </a:lnTo>
                  <a:lnTo>
                    <a:pt x="2386" y="313"/>
                  </a:lnTo>
                  <a:lnTo>
                    <a:pt x="2386" y="313"/>
                  </a:lnTo>
                  <a:lnTo>
                    <a:pt x="2384" y="313"/>
                  </a:lnTo>
                  <a:lnTo>
                    <a:pt x="2384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0" y="313"/>
                  </a:lnTo>
                  <a:lnTo>
                    <a:pt x="2380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0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2" y="313"/>
                  </a:lnTo>
                  <a:lnTo>
                    <a:pt x="2384" y="313"/>
                  </a:lnTo>
                  <a:lnTo>
                    <a:pt x="2384" y="313"/>
                  </a:lnTo>
                  <a:lnTo>
                    <a:pt x="2384" y="315"/>
                  </a:lnTo>
                  <a:lnTo>
                    <a:pt x="2384" y="315"/>
                  </a:lnTo>
                  <a:lnTo>
                    <a:pt x="2386" y="315"/>
                  </a:lnTo>
                  <a:lnTo>
                    <a:pt x="2391" y="313"/>
                  </a:lnTo>
                  <a:lnTo>
                    <a:pt x="2391" y="313"/>
                  </a:lnTo>
                  <a:lnTo>
                    <a:pt x="2391" y="313"/>
                  </a:lnTo>
                  <a:lnTo>
                    <a:pt x="2393" y="315"/>
                  </a:lnTo>
                  <a:lnTo>
                    <a:pt x="2393" y="315"/>
                  </a:lnTo>
                  <a:lnTo>
                    <a:pt x="2393" y="315"/>
                  </a:lnTo>
                  <a:lnTo>
                    <a:pt x="2393" y="315"/>
                  </a:lnTo>
                  <a:lnTo>
                    <a:pt x="2395" y="315"/>
                  </a:lnTo>
                  <a:lnTo>
                    <a:pt x="2398" y="315"/>
                  </a:lnTo>
                  <a:lnTo>
                    <a:pt x="2398" y="315"/>
                  </a:lnTo>
                  <a:lnTo>
                    <a:pt x="2398" y="315"/>
                  </a:lnTo>
                  <a:lnTo>
                    <a:pt x="2398" y="315"/>
                  </a:lnTo>
                  <a:lnTo>
                    <a:pt x="2398" y="315"/>
                  </a:lnTo>
                  <a:lnTo>
                    <a:pt x="2400" y="315"/>
                  </a:lnTo>
                  <a:lnTo>
                    <a:pt x="2400" y="318"/>
                  </a:lnTo>
                  <a:lnTo>
                    <a:pt x="2400" y="318"/>
                  </a:lnTo>
                  <a:lnTo>
                    <a:pt x="2400" y="318"/>
                  </a:lnTo>
                  <a:lnTo>
                    <a:pt x="2400" y="318"/>
                  </a:lnTo>
                  <a:lnTo>
                    <a:pt x="2400" y="318"/>
                  </a:lnTo>
                  <a:lnTo>
                    <a:pt x="2402" y="318"/>
                  </a:lnTo>
                  <a:lnTo>
                    <a:pt x="2402" y="318"/>
                  </a:lnTo>
                  <a:lnTo>
                    <a:pt x="2402" y="318"/>
                  </a:lnTo>
                  <a:lnTo>
                    <a:pt x="2402" y="318"/>
                  </a:lnTo>
                  <a:lnTo>
                    <a:pt x="2402" y="320"/>
                  </a:lnTo>
                  <a:lnTo>
                    <a:pt x="2400" y="320"/>
                  </a:lnTo>
                  <a:lnTo>
                    <a:pt x="2400" y="320"/>
                  </a:lnTo>
                  <a:lnTo>
                    <a:pt x="2400" y="320"/>
                  </a:lnTo>
                  <a:lnTo>
                    <a:pt x="2400" y="320"/>
                  </a:lnTo>
                  <a:lnTo>
                    <a:pt x="2400" y="320"/>
                  </a:lnTo>
                  <a:lnTo>
                    <a:pt x="2400" y="320"/>
                  </a:lnTo>
                  <a:lnTo>
                    <a:pt x="2398" y="318"/>
                  </a:lnTo>
                  <a:lnTo>
                    <a:pt x="2395" y="318"/>
                  </a:lnTo>
                  <a:lnTo>
                    <a:pt x="2395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91" y="318"/>
                  </a:lnTo>
                  <a:lnTo>
                    <a:pt x="2389" y="318"/>
                  </a:lnTo>
                  <a:lnTo>
                    <a:pt x="2389" y="318"/>
                  </a:lnTo>
                  <a:lnTo>
                    <a:pt x="2389" y="318"/>
                  </a:lnTo>
                  <a:lnTo>
                    <a:pt x="2389" y="318"/>
                  </a:lnTo>
                  <a:lnTo>
                    <a:pt x="2386" y="318"/>
                  </a:lnTo>
                  <a:lnTo>
                    <a:pt x="2384" y="318"/>
                  </a:lnTo>
                  <a:lnTo>
                    <a:pt x="2384" y="315"/>
                  </a:lnTo>
                  <a:lnTo>
                    <a:pt x="2382" y="315"/>
                  </a:lnTo>
                  <a:lnTo>
                    <a:pt x="2382" y="315"/>
                  </a:lnTo>
                  <a:lnTo>
                    <a:pt x="2382" y="315"/>
                  </a:lnTo>
                  <a:lnTo>
                    <a:pt x="2380" y="315"/>
                  </a:lnTo>
                  <a:lnTo>
                    <a:pt x="2380" y="315"/>
                  </a:lnTo>
                  <a:lnTo>
                    <a:pt x="2380" y="315"/>
                  </a:lnTo>
                  <a:lnTo>
                    <a:pt x="2380" y="315"/>
                  </a:lnTo>
                  <a:lnTo>
                    <a:pt x="2380" y="315"/>
                  </a:lnTo>
                  <a:lnTo>
                    <a:pt x="2377" y="315"/>
                  </a:lnTo>
                  <a:lnTo>
                    <a:pt x="2377" y="315"/>
                  </a:lnTo>
                  <a:lnTo>
                    <a:pt x="2380" y="315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77" y="320"/>
                  </a:lnTo>
                  <a:lnTo>
                    <a:pt x="2375" y="318"/>
                  </a:lnTo>
                  <a:lnTo>
                    <a:pt x="2375" y="318"/>
                  </a:lnTo>
                  <a:lnTo>
                    <a:pt x="2373" y="320"/>
                  </a:lnTo>
                  <a:lnTo>
                    <a:pt x="2373" y="320"/>
                  </a:lnTo>
                  <a:lnTo>
                    <a:pt x="2371" y="320"/>
                  </a:lnTo>
                  <a:lnTo>
                    <a:pt x="2371" y="320"/>
                  </a:lnTo>
                  <a:lnTo>
                    <a:pt x="2371" y="320"/>
                  </a:lnTo>
                  <a:lnTo>
                    <a:pt x="2371" y="320"/>
                  </a:lnTo>
                  <a:lnTo>
                    <a:pt x="2368" y="320"/>
                  </a:lnTo>
                  <a:lnTo>
                    <a:pt x="2368" y="320"/>
                  </a:lnTo>
                  <a:lnTo>
                    <a:pt x="2366" y="320"/>
                  </a:lnTo>
                  <a:lnTo>
                    <a:pt x="2366" y="320"/>
                  </a:lnTo>
                  <a:lnTo>
                    <a:pt x="2366" y="322"/>
                  </a:lnTo>
                  <a:lnTo>
                    <a:pt x="2366" y="322"/>
                  </a:lnTo>
                  <a:lnTo>
                    <a:pt x="2362" y="320"/>
                  </a:lnTo>
                  <a:lnTo>
                    <a:pt x="2362" y="322"/>
                  </a:lnTo>
                  <a:lnTo>
                    <a:pt x="2364" y="322"/>
                  </a:lnTo>
                  <a:lnTo>
                    <a:pt x="2366" y="322"/>
                  </a:lnTo>
                  <a:lnTo>
                    <a:pt x="2368" y="320"/>
                  </a:lnTo>
                  <a:lnTo>
                    <a:pt x="2371" y="320"/>
                  </a:lnTo>
                  <a:lnTo>
                    <a:pt x="2373" y="320"/>
                  </a:lnTo>
                  <a:lnTo>
                    <a:pt x="2377" y="320"/>
                  </a:lnTo>
                  <a:lnTo>
                    <a:pt x="2377" y="320"/>
                  </a:lnTo>
                  <a:lnTo>
                    <a:pt x="2377" y="320"/>
                  </a:lnTo>
                  <a:lnTo>
                    <a:pt x="2380" y="320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8"/>
                  </a:lnTo>
                  <a:lnTo>
                    <a:pt x="2380" y="315"/>
                  </a:lnTo>
                  <a:lnTo>
                    <a:pt x="2380" y="315"/>
                  </a:lnTo>
                  <a:lnTo>
                    <a:pt x="2380" y="315"/>
                  </a:lnTo>
                  <a:lnTo>
                    <a:pt x="2382" y="315"/>
                  </a:lnTo>
                  <a:lnTo>
                    <a:pt x="2384" y="318"/>
                  </a:lnTo>
                  <a:lnTo>
                    <a:pt x="2386" y="318"/>
                  </a:lnTo>
                  <a:lnTo>
                    <a:pt x="2386" y="318"/>
                  </a:lnTo>
                  <a:lnTo>
                    <a:pt x="2389" y="320"/>
                  </a:lnTo>
                  <a:lnTo>
                    <a:pt x="2389" y="320"/>
                  </a:lnTo>
                  <a:lnTo>
                    <a:pt x="2389" y="320"/>
                  </a:lnTo>
                  <a:lnTo>
                    <a:pt x="2389" y="320"/>
                  </a:lnTo>
                  <a:lnTo>
                    <a:pt x="2391" y="320"/>
                  </a:lnTo>
                  <a:lnTo>
                    <a:pt x="2391" y="320"/>
                  </a:lnTo>
                  <a:lnTo>
                    <a:pt x="2391" y="320"/>
                  </a:lnTo>
                  <a:lnTo>
                    <a:pt x="2391" y="320"/>
                  </a:lnTo>
                  <a:lnTo>
                    <a:pt x="2391" y="320"/>
                  </a:lnTo>
                  <a:lnTo>
                    <a:pt x="2393" y="320"/>
                  </a:lnTo>
                  <a:lnTo>
                    <a:pt x="2393" y="320"/>
                  </a:lnTo>
                  <a:lnTo>
                    <a:pt x="2393" y="320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1" y="322"/>
                  </a:lnTo>
                  <a:lnTo>
                    <a:pt x="2391" y="322"/>
                  </a:lnTo>
                  <a:lnTo>
                    <a:pt x="2391" y="322"/>
                  </a:lnTo>
                  <a:lnTo>
                    <a:pt x="2391" y="322"/>
                  </a:lnTo>
                  <a:lnTo>
                    <a:pt x="2391" y="324"/>
                  </a:lnTo>
                  <a:lnTo>
                    <a:pt x="2391" y="324"/>
                  </a:lnTo>
                  <a:lnTo>
                    <a:pt x="2393" y="324"/>
                  </a:lnTo>
                  <a:lnTo>
                    <a:pt x="2393" y="324"/>
                  </a:lnTo>
                  <a:lnTo>
                    <a:pt x="2391" y="324"/>
                  </a:lnTo>
                  <a:lnTo>
                    <a:pt x="2391" y="324"/>
                  </a:lnTo>
                  <a:lnTo>
                    <a:pt x="2391" y="324"/>
                  </a:lnTo>
                  <a:lnTo>
                    <a:pt x="2391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2"/>
                  </a:lnTo>
                  <a:lnTo>
                    <a:pt x="2393" y="320"/>
                  </a:lnTo>
                  <a:lnTo>
                    <a:pt x="2395" y="322"/>
                  </a:lnTo>
                  <a:lnTo>
                    <a:pt x="2395" y="322"/>
                  </a:lnTo>
                  <a:lnTo>
                    <a:pt x="2400" y="322"/>
                  </a:lnTo>
                  <a:lnTo>
                    <a:pt x="2400" y="322"/>
                  </a:lnTo>
                  <a:lnTo>
                    <a:pt x="2402" y="324"/>
                  </a:lnTo>
                  <a:lnTo>
                    <a:pt x="2402" y="324"/>
                  </a:lnTo>
                  <a:lnTo>
                    <a:pt x="2402" y="324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2"/>
                  </a:lnTo>
                  <a:lnTo>
                    <a:pt x="2402" y="320"/>
                  </a:lnTo>
                  <a:lnTo>
                    <a:pt x="2402" y="320"/>
                  </a:lnTo>
                  <a:lnTo>
                    <a:pt x="2404" y="320"/>
                  </a:lnTo>
                  <a:lnTo>
                    <a:pt x="2404" y="320"/>
                  </a:lnTo>
                  <a:lnTo>
                    <a:pt x="2404" y="320"/>
                  </a:lnTo>
                  <a:lnTo>
                    <a:pt x="2404" y="320"/>
                  </a:lnTo>
                  <a:lnTo>
                    <a:pt x="2404" y="320"/>
                  </a:lnTo>
                  <a:lnTo>
                    <a:pt x="2407" y="320"/>
                  </a:lnTo>
                  <a:lnTo>
                    <a:pt x="2409" y="320"/>
                  </a:lnTo>
                  <a:lnTo>
                    <a:pt x="2409" y="322"/>
                  </a:lnTo>
                  <a:lnTo>
                    <a:pt x="2409" y="322"/>
                  </a:lnTo>
                  <a:lnTo>
                    <a:pt x="2411" y="322"/>
                  </a:lnTo>
                  <a:lnTo>
                    <a:pt x="2411" y="322"/>
                  </a:lnTo>
                  <a:lnTo>
                    <a:pt x="2411" y="322"/>
                  </a:lnTo>
                  <a:lnTo>
                    <a:pt x="2411" y="322"/>
                  </a:lnTo>
                  <a:lnTo>
                    <a:pt x="2411" y="322"/>
                  </a:lnTo>
                  <a:lnTo>
                    <a:pt x="2411" y="322"/>
                  </a:lnTo>
                  <a:lnTo>
                    <a:pt x="2411" y="324"/>
                  </a:lnTo>
                  <a:lnTo>
                    <a:pt x="2411" y="324"/>
                  </a:lnTo>
                  <a:lnTo>
                    <a:pt x="2411" y="324"/>
                  </a:lnTo>
                  <a:lnTo>
                    <a:pt x="2411" y="324"/>
                  </a:lnTo>
                  <a:lnTo>
                    <a:pt x="2413" y="324"/>
                  </a:lnTo>
                  <a:lnTo>
                    <a:pt x="2413" y="324"/>
                  </a:lnTo>
                  <a:lnTo>
                    <a:pt x="2416" y="327"/>
                  </a:lnTo>
                  <a:lnTo>
                    <a:pt x="2418" y="327"/>
                  </a:lnTo>
                  <a:lnTo>
                    <a:pt x="2420" y="327"/>
                  </a:lnTo>
                  <a:lnTo>
                    <a:pt x="2422" y="329"/>
                  </a:lnTo>
                  <a:lnTo>
                    <a:pt x="2422" y="329"/>
                  </a:lnTo>
                  <a:lnTo>
                    <a:pt x="2425" y="329"/>
                  </a:lnTo>
                  <a:lnTo>
                    <a:pt x="2425" y="329"/>
                  </a:lnTo>
                  <a:lnTo>
                    <a:pt x="2427" y="329"/>
                  </a:lnTo>
                  <a:lnTo>
                    <a:pt x="2429" y="331"/>
                  </a:lnTo>
                  <a:lnTo>
                    <a:pt x="2431" y="331"/>
                  </a:lnTo>
                  <a:lnTo>
                    <a:pt x="2436" y="331"/>
                  </a:lnTo>
                  <a:lnTo>
                    <a:pt x="2436" y="331"/>
                  </a:lnTo>
                  <a:lnTo>
                    <a:pt x="2434" y="331"/>
                  </a:lnTo>
                  <a:lnTo>
                    <a:pt x="2431" y="331"/>
                  </a:lnTo>
                  <a:lnTo>
                    <a:pt x="2431" y="329"/>
                  </a:lnTo>
                  <a:lnTo>
                    <a:pt x="2434" y="329"/>
                  </a:lnTo>
                  <a:lnTo>
                    <a:pt x="2434" y="329"/>
                  </a:lnTo>
                  <a:lnTo>
                    <a:pt x="2434" y="329"/>
                  </a:lnTo>
                  <a:lnTo>
                    <a:pt x="2434" y="329"/>
                  </a:lnTo>
                  <a:lnTo>
                    <a:pt x="2434" y="329"/>
                  </a:lnTo>
                  <a:lnTo>
                    <a:pt x="2434" y="329"/>
                  </a:lnTo>
                  <a:lnTo>
                    <a:pt x="2431" y="329"/>
                  </a:lnTo>
                  <a:lnTo>
                    <a:pt x="2431" y="327"/>
                  </a:lnTo>
                  <a:lnTo>
                    <a:pt x="2431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29" y="327"/>
                  </a:lnTo>
                  <a:lnTo>
                    <a:pt x="2438" y="331"/>
                  </a:lnTo>
                  <a:lnTo>
                    <a:pt x="2438" y="331"/>
                  </a:lnTo>
                  <a:lnTo>
                    <a:pt x="2440" y="331"/>
                  </a:lnTo>
                  <a:lnTo>
                    <a:pt x="2440" y="331"/>
                  </a:lnTo>
                  <a:lnTo>
                    <a:pt x="2447" y="333"/>
                  </a:lnTo>
                  <a:lnTo>
                    <a:pt x="2447" y="336"/>
                  </a:lnTo>
                  <a:lnTo>
                    <a:pt x="2447" y="336"/>
                  </a:lnTo>
                  <a:lnTo>
                    <a:pt x="2445" y="333"/>
                  </a:lnTo>
                  <a:lnTo>
                    <a:pt x="2445" y="333"/>
                  </a:lnTo>
                  <a:lnTo>
                    <a:pt x="2445" y="333"/>
                  </a:lnTo>
                  <a:lnTo>
                    <a:pt x="2445" y="336"/>
                  </a:lnTo>
                  <a:lnTo>
                    <a:pt x="2445" y="336"/>
                  </a:lnTo>
                  <a:lnTo>
                    <a:pt x="2445" y="336"/>
                  </a:lnTo>
                  <a:lnTo>
                    <a:pt x="2445" y="336"/>
                  </a:lnTo>
                  <a:lnTo>
                    <a:pt x="2445" y="336"/>
                  </a:lnTo>
                  <a:lnTo>
                    <a:pt x="2447" y="336"/>
                  </a:lnTo>
                  <a:lnTo>
                    <a:pt x="2447" y="336"/>
                  </a:lnTo>
                  <a:lnTo>
                    <a:pt x="2447" y="336"/>
                  </a:lnTo>
                  <a:lnTo>
                    <a:pt x="2445" y="336"/>
                  </a:lnTo>
                  <a:lnTo>
                    <a:pt x="2445" y="336"/>
                  </a:lnTo>
                  <a:lnTo>
                    <a:pt x="2447" y="336"/>
                  </a:lnTo>
                  <a:lnTo>
                    <a:pt x="2447" y="336"/>
                  </a:lnTo>
                  <a:lnTo>
                    <a:pt x="2447" y="336"/>
                  </a:lnTo>
                  <a:lnTo>
                    <a:pt x="2449" y="336"/>
                  </a:lnTo>
                  <a:lnTo>
                    <a:pt x="2451" y="336"/>
                  </a:lnTo>
                  <a:lnTo>
                    <a:pt x="2451" y="336"/>
                  </a:lnTo>
                  <a:lnTo>
                    <a:pt x="2449" y="336"/>
                  </a:lnTo>
                  <a:lnTo>
                    <a:pt x="2449" y="336"/>
                  </a:lnTo>
                  <a:lnTo>
                    <a:pt x="2449" y="336"/>
                  </a:lnTo>
                  <a:lnTo>
                    <a:pt x="2449" y="336"/>
                  </a:lnTo>
                  <a:lnTo>
                    <a:pt x="2449" y="336"/>
                  </a:lnTo>
                  <a:lnTo>
                    <a:pt x="2451" y="338"/>
                  </a:lnTo>
                  <a:lnTo>
                    <a:pt x="2454" y="338"/>
                  </a:lnTo>
                  <a:lnTo>
                    <a:pt x="2454" y="338"/>
                  </a:lnTo>
                  <a:lnTo>
                    <a:pt x="2454" y="338"/>
                  </a:lnTo>
                  <a:lnTo>
                    <a:pt x="2454" y="338"/>
                  </a:lnTo>
                  <a:lnTo>
                    <a:pt x="2454" y="338"/>
                  </a:lnTo>
                  <a:lnTo>
                    <a:pt x="2456" y="340"/>
                  </a:lnTo>
                  <a:lnTo>
                    <a:pt x="2456" y="340"/>
                  </a:lnTo>
                  <a:lnTo>
                    <a:pt x="2458" y="340"/>
                  </a:lnTo>
                  <a:lnTo>
                    <a:pt x="2460" y="342"/>
                  </a:lnTo>
                  <a:lnTo>
                    <a:pt x="2463" y="344"/>
                  </a:lnTo>
                  <a:lnTo>
                    <a:pt x="2460" y="342"/>
                  </a:lnTo>
                  <a:lnTo>
                    <a:pt x="2460" y="342"/>
                  </a:lnTo>
                  <a:lnTo>
                    <a:pt x="2460" y="342"/>
                  </a:lnTo>
                  <a:lnTo>
                    <a:pt x="2460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60" y="342"/>
                  </a:lnTo>
                  <a:lnTo>
                    <a:pt x="2460" y="344"/>
                  </a:lnTo>
                  <a:lnTo>
                    <a:pt x="2460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0" y="344"/>
                  </a:lnTo>
                  <a:lnTo>
                    <a:pt x="2460" y="344"/>
                  </a:lnTo>
                  <a:lnTo>
                    <a:pt x="2460" y="344"/>
                  </a:lnTo>
                  <a:lnTo>
                    <a:pt x="2460" y="344"/>
                  </a:lnTo>
                  <a:lnTo>
                    <a:pt x="2460" y="344"/>
                  </a:lnTo>
                  <a:lnTo>
                    <a:pt x="2460" y="344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2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6" y="344"/>
                  </a:lnTo>
                  <a:lnTo>
                    <a:pt x="2456" y="342"/>
                  </a:lnTo>
                  <a:lnTo>
                    <a:pt x="2456" y="342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6" y="344"/>
                  </a:lnTo>
                  <a:lnTo>
                    <a:pt x="2458" y="344"/>
                  </a:lnTo>
                  <a:lnTo>
                    <a:pt x="2458" y="347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58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5" y="344"/>
                  </a:lnTo>
                  <a:lnTo>
                    <a:pt x="2465" y="344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7"/>
                  </a:lnTo>
                  <a:lnTo>
                    <a:pt x="2465" y="349"/>
                  </a:lnTo>
                  <a:lnTo>
                    <a:pt x="2467" y="349"/>
                  </a:lnTo>
                  <a:lnTo>
                    <a:pt x="2467" y="349"/>
                  </a:lnTo>
                  <a:lnTo>
                    <a:pt x="2469" y="347"/>
                  </a:lnTo>
                  <a:lnTo>
                    <a:pt x="2469" y="347"/>
                  </a:lnTo>
                  <a:lnTo>
                    <a:pt x="2467" y="347"/>
                  </a:lnTo>
                  <a:lnTo>
                    <a:pt x="2467" y="347"/>
                  </a:lnTo>
                  <a:lnTo>
                    <a:pt x="2465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3" y="344"/>
                  </a:lnTo>
                  <a:lnTo>
                    <a:pt x="2465" y="344"/>
                  </a:lnTo>
                  <a:lnTo>
                    <a:pt x="2465" y="344"/>
                  </a:lnTo>
                  <a:lnTo>
                    <a:pt x="2465" y="344"/>
                  </a:lnTo>
                  <a:lnTo>
                    <a:pt x="2465" y="347"/>
                  </a:lnTo>
                  <a:lnTo>
                    <a:pt x="2467" y="347"/>
                  </a:lnTo>
                  <a:lnTo>
                    <a:pt x="2474" y="349"/>
                  </a:lnTo>
                  <a:lnTo>
                    <a:pt x="2474" y="349"/>
                  </a:lnTo>
                  <a:lnTo>
                    <a:pt x="2472" y="349"/>
                  </a:lnTo>
                  <a:lnTo>
                    <a:pt x="2469" y="349"/>
                  </a:lnTo>
                  <a:lnTo>
                    <a:pt x="2469" y="349"/>
                  </a:lnTo>
                  <a:lnTo>
                    <a:pt x="2472" y="349"/>
                  </a:lnTo>
                  <a:lnTo>
                    <a:pt x="2474" y="349"/>
                  </a:lnTo>
                  <a:lnTo>
                    <a:pt x="2474" y="351"/>
                  </a:lnTo>
                  <a:lnTo>
                    <a:pt x="2476" y="351"/>
                  </a:lnTo>
                  <a:lnTo>
                    <a:pt x="2476" y="351"/>
                  </a:lnTo>
                  <a:lnTo>
                    <a:pt x="2478" y="351"/>
                  </a:lnTo>
                  <a:lnTo>
                    <a:pt x="2481" y="351"/>
                  </a:lnTo>
                  <a:lnTo>
                    <a:pt x="2481" y="351"/>
                  </a:lnTo>
                  <a:lnTo>
                    <a:pt x="2481" y="351"/>
                  </a:lnTo>
                  <a:lnTo>
                    <a:pt x="2481" y="351"/>
                  </a:lnTo>
                  <a:lnTo>
                    <a:pt x="2481" y="351"/>
                  </a:lnTo>
                  <a:lnTo>
                    <a:pt x="2483" y="351"/>
                  </a:lnTo>
                  <a:lnTo>
                    <a:pt x="2483" y="353"/>
                  </a:lnTo>
                  <a:lnTo>
                    <a:pt x="2485" y="353"/>
                  </a:lnTo>
                  <a:lnTo>
                    <a:pt x="2485" y="353"/>
                  </a:lnTo>
                  <a:lnTo>
                    <a:pt x="2485" y="353"/>
                  </a:lnTo>
                  <a:lnTo>
                    <a:pt x="2485" y="353"/>
                  </a:lnTo>
                  <a:lnTo>
                    <a:pt x="2485" y="353"/>
                  </a:lnTo>
                  <a:lnTo>
                    <a:pt x="2487" y="353"/>
                  </a:lnTo>
                  <a:lnTo>
                    <a:pt x="2487" y="353"/>
                  </a:lnTo>
                  <a:lnTo>
                    <a:pt x="2487" y="353"/>
                  </a:lnTo>
                  <a:lnTo>
                    <a:pt x="2490" y="356"/>
                  </a:lnTo>
                  <a:lnTo>
                    <a:pt x="2490" y="356"/>
                  </a:lnTo>
                  <a:lnTo>
                    <a:pt x="2490" y="356"/>
                  </a:lnTo>
                  <a:lnTo>
                    <a:pt x="2490" y="356"/>
                  </a:lnTo>
                  <a:lnTo>
                    <a:pt x="2487" y="356"/>
                  </a:lnTo>
                  <a:lnTo>
                    <a:pt x="2487" y="356"/>
                  </a:lnTo>
                  <a:lnTo>
                    <a:pt x="2487" y="356"/>
                  </a:lnTo>
                  <a:lnTo>
                    <a:pt x="2487" y="356"/>
                  </a:lnTo>
                  <a:lnTo>
                    <a:pt x="2487" y="356"/>
                  </a:lnTo>
                  <a:lnTo>
                    <a:pt x="2487" y="356"/>
                  </a:lnTo>
                  <a:lnTo>
                    <a:pt x="2487" y="356"/>
                  </a:lnTo>
                  <a:lnTo>
                    <a:pt x="2490" y="358"/>
                  </a:lnTo>
                  <a:lnTo>
                    <a:pt x="2492" y="358"/>
                  </a:lnTo>
                  <a:lnTo>
                    <a:pt x="2492" y="358"/>
                  </a:lnTo>
                  <a:lnTo>
                    <a:pt x="2494" y="358"/>
                  </a:lnTo>
                  <a:lnTo>
                    <a:pt x="2496" y="360"/>
                  </a:lnTo>
                  <a:lnTo>
                    <a:pt x="2496" y="360"/>
                  </a:lnTo>
                  <a:lnTo>
                    <a:pt x="2499" y="360"/>
                  </a:lnTo>
                  <a:lnTo>
                    <a:pt x="2499" y="360"/>
                  </a:lnTo>
                  <a:lnTo>
                    <a:pt x="2499" y="360"/>
                  </a:lnTo>
                  <a:lnTo>
                    <a:pt x="2499" y="360"/>
                  </a:lnTo>
                  <a:lnTo>
                    <a:pt x="2501" y="360"/>
                  </a:lnTo>
                  <a:lnTo>
                    <a:pt x="2501" y="362"/>
                  </a:lnTo>
                  <a:lnTo>
                    <a:pt x="2501" y="362"/>
                  </a:lnTo>
                  <a:lnTo>
                    <a:pt x="2501" y="362"/>
                  </a:lnTo>
                  <a:lnTo>
                    <a:pt x="2501" y="362"/>
                  </a:lnTo>
                  <a:lnTo>
                    <a:pt x="2501" y="362"/>
                  </a:lnTo>
                  <a:lnTo>
                    <a:pt x="2501" y="362"/>
                  </a:lnTo>
                  <a:lnTo>
                    <a:pt x="2503" y="362"/>
                  </a:lnTo>
                  <a:lnTo>
                    <a:pt x="2503" y="362"/>
                  </a:lnTo>
                  <a:lnTo>
                    <a:pt x="2503" y="362"/>
                  </a:lnTo>
                  <a:lnTo>
                    <a:pt x="2503" y="362"/>
                  </a:lnTo>
                  <a:lnTo>
                    <a:pt x="2503" y="365"/>
                  </a:lnTo>
                  <a:lnTo>
                    <a:pt x="2503" y="365"/>
                  </a:lnTo>
                  <a:lnTo>
                    <a:pt x="2503" y="365"/>
                  </a:lnTo>
                  <a:lnTo>
                    <a:pt x="2503" y="365"/>
                  </a:lnTo>
                  <a:lnTo>
                    <a:pt x="2503" y="365"/>
                  </a:lnTo>
                  <a:lnTo>
                    <a:pt x="2505" y="365"/>
                  </a:lnTo>
                  <a:lnTo>
                    <a:pt x="2505" y="365"/>
                  </a:lnTo>
                  <a:lnTo>
                    <a:pt x="2505" y="365"/>
                  </a:lnTo>
                  <a:lnTo>
                    <a:pt x="2505" y="365"/>
                  </a:lnTo>
                  <a:lnTo>
                    <a:pt x="2503" y="365"/>
                  </a:lnTo>
                  <a:lnTo>
                    <a:pt x="2503" y="365"/>
                  </a:lnTo>
                  <a:lnTo>
                    <a:pt x="2503" y="365"/>
                  </a:lnTo>
                  <a:lnTo>
                    <a:pt x="2503" y="367"/>
                  </a:lnTo>
                  <a:lnTo>
                    <a:pt x="2505" y="367"/>
                  </a:lnTo>
                  <a:lnTo>
                    <a:pt x="2505" y="367"/>
                  </a:lnTo>
                  <a:lnTo>
                    <a:pt x="2505" y="367"/>
                  </a:lnTo>
                  <a:lnTo>
                    <a:pt x="2503" y="367"/>
                  </a:lnTo>
                  <a:lnTo>
                    <a:pt x="2503" y="367"/>
                  </a:lnTo>
                  <a:lnTo>
                    <a:pt x="2501" y="367"/>
                  </a:lnTo>
                  <a:lnTo>
                    <a:pt x="2501" y="367"/>
                  </a:lnTo>
                  <a:lnTo>
                    <a:pt x="2503" y="369"/>
                  </a:lnTo>
                  <a:lnTo>
                    <a:pt x="2503" y="369"/>
                  </a:lnTo>
                  <a:lnTo>
                    <a:pt x="2505" y="369"/>
                  </a:lnTo>
                  <a:lnTo>
                    <a:pt x="2505" y="369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8" y="371"/>
                  </a:lnTo>
                  <a:lnTo>
                    <a:pt x="2508" y="371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5" y="371"/>
                  </a:lnTo>
                  <a:lnTo>
                    <a:pt x="2503" y="371"/>
                  </a:lnTo>
                  <a:lnTo>
                    <a:pt x="2501" y="369"/>
                  </a:lnTo>
                  <a:lnTo>
                    <a:pt x="2499" y="369"/>
                  </a:lnTo>
                  <a:lnTo>
                    <a:pt x="2499" y="369"/>
                  </a:lnTo>
                  <a:lnTo>
                    <a:pt x="2492" y="369"/>
                  </a:lnTo>
                  <a:lnTo>
                    <a:pt x="2490" y="367"/>
                  </a:lnTo>
                  <a:lnTo>
                    <a:pt x="2487" y="367"/>
                  </a:lnTo>
                  <a:lnTo>
                    <a:pt x="2487" y="367"/>
                  </a:lnTo>
                  <a:lnTo>
                    <a:pt x="2485" y="367"/>
                  </a:lnTo>
                  <a:lnTo>
                    <a:pt x="2483" y="367"/>
                  </a:lnTo>
                  <a:lnTo>
                    <a:pt x="2483" y="367"/>
                  </a:lnTo>
                  <a:lnTo>
                    <a:pt x="2478" y="367"/>
                  </a:lnTo>
                  <a:lnTo>
                    <a:pt x="2476" y="365"/>
                  </a:lnTo>
                  <a:lnTo>
                    <a:pt x="2469" y="365"/>
                  </a:lnTo>
                  <a:lnTo>
                    <a:pt x="2469" y="365"/>
                  </a:lnTo>
                  <a:lnTo>
                    <a:pt x="2469" y="365"/>
                  </a:lnTo>
                  <a:lnTo>
                    <a:pt x="2469" y="365"/>
                  </a:lnTo>
                  <a:lnTo>
                    <a:pt x="2467" y="365"/>
                  </a:lnTo>
                  <a:lnTo>
                    <a:pt x="2467" y="365"/>
                  </a:lnTo>
                  <a:lnTo>
                    <a:pt x="2467" y="365"/>
                  </a:lnTo>
                  <a:lnTo>
                    <a:pt x="2467" y="365"/>
                  </a:lnTo>
                  <a:lnTo>
                    <a:pt x="2467" y="362"/>
                  </a:lnTo>
                  <a:lnTo>
                    <a:pt x="2467" y="362"/>
                  </a:lnTo>
                  <a:lnTo>
                    <a:pt x="2467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5" y="360"/>
                  </a:lnTo>
                  <a:lnTo>
                    <a:pt x="2465" y="360"/>
                  </a:lnTo>
                  <a:lnTo>
                    <a:pt x="2465" y="360"/>
                  </a:lnTo>
                  <a:lnTo>
                    <a:pt x="2465" y="360"/>
                  </a:lnTo>
                  <a:lnTo>
                    <a:pt x="2465" y="360"/>
                  </a:lnTo>
                  <a:lnTo>
                    <a:pt x="2465" y="360"/>
                  </a:lnTo>
                  <a:lnTo>
                    <a:pt x="2465" y="360"/>
                  </a:lnTo>
                  <a:lnTo>
                    <a:pt x="2463" y="360"/>
                  </a:lnTo>
                  <a:lnTo>
                    <a:pt x="2463" y="360"/>
                  </a:lnTo>
                  <a:lnTo>
                    <a:pt x="2463" y="360"/>
                  </a:lnTo>
                  <a:lnTo>
                    <a:pt x="2463" y="362"/>
                  </a:lnTo>
                  <a:lnTo>
                    <a:pt x="2463" y="362"/>
                  </a:lnTo>
                  <a:lnTo>
                    <a:pt x="2465" y="362"/>
                  </a:lnTo>
                  <a:lnTo>
                    <a:pt x="2465" y="362"/>
                  </a:lnTo>
                  <a:lnTo>
                    <a:pt x="2463" y="362"/>
                  </a:lnTo>
                  <a:lnTo>
                    <a:pt x="2463" y="362"/>
                  </a:lnTo>
                  <a:lnTo>
                    <a:pt x="2460" y="362"/>
                  </a:lnTo>
                  <a:lnTo>
                    <a:pt x="2460" y="362"/>
                  </a:lnTo>
                  <a:lnTo>
                    <a:pt x="2460" y="360"/>
                  </a:lnTo>
                  <a:lnTo>
                    <a:pt x="2460" y="360"/>
                  </a:lnTo>
                  <a:lnTo>
                    <a:pt x="2458" y="360"/>
                  </a:lnTo>
                  <a:lnTo>
                    <a:pt x="2458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6" y="360"/>
                  </a:lnTo>
                  <a:lnTo>
                    <a:pt x="2458" y="360"/>
                  </a:lnTo>
                  <a:lnTo>
                    <a:pt x="2458" y="360"/>
                  </a:lnTo>
                  <a:lnTo>
                    <a:pt x="2458" y="360"/>
                  </a:lnTo>
                  <a:lnTo>
                    <a:pt x="2458" y="362"/>
                  </a:lnTo>
                  <a:lnTo>
                    <a:pt x="2458" y="362"/>
                  </a:lnTo>
                  <a:lnTo>
                    <a:pt x="2460" y="362"/>
                  </a:lnTo>
                  <a:lnTo>
                    <a:pt x="2460" y="362"/>
                  </a:lnTo>
                  <a:lnTo>
                    <a:pt x="2460" y="362"/>
                  </a:lnTo>
                  <a:lnTo>
                    <a:pt x="2460" y="362"/>
                  </a:lnTo>
                  <a:lnTo>
                    <a:pt x="2460" y="365"/>
                  </a:lnTo>
                  <a:lnTo>
                    <a:pt x="2460" y="365"/>
                  </a:lnTo>
                  <a:lnTo>
                    <a:pt x="2463" y="365"/>
                  </a:lnTo>
                  <a:lnTo>
                    <a:pt x="2463" y="365"/>
                  </a:lnTo>
                  <a:lnTo>
                    <a:pt x="2463" y="365"/>
                  </a:lnTo>
                  <a:lnTo>
                    <a:pt x="2465" y="365"/>
                  </a:lnTo>
                  <a:lnTo>
                    <a:pt x="2465" y="365"/>
                  </a:lnTo>
                  <a:lnTo>
                    <a:pt x="2465" y="365"/>
                  </a:lnTo>
                  <a:lnTo>
                    <a:pt x="2465" y="365"/>
                  </a:lnTo>
                  <a:lnTo>
                    <a:pt x="2467" y="365"/>
                  </a:lnTo>
                  <a:lnTo>
                    <a:pt x="2467" y="365"/>
                  </a:lnTo>
                  <a:lnTo>
                    <a:pt x="2467" y="367"/>
                  </a:lnTo>
                  <a:lnTo>
                    <a:pt x="2465" y="367"/>
                  </a:lnTo>
                  <a:lnTo>
                    <a:pt x="2463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7"/>
                  </a:lnTo>
                  <a:lnTo>
                    <a:pt x="2460" y="369"/>
                  </a:lnTo>
                  <a:lnTo>
                    <a:pt x="2460" y="369"/>
                  </a:lnTo>
                  <a:lnTo>
                    <a:pt x="2460" y="369"/>
                  </a:lnTo>
                  <a:lnTo>
                    <a:pt x="2460" y="369"/>
                  </a:lnTo>
                  <a:lnTo>
                    <a:pt x="2460" y="369"/>
                  </a:lnTo>
                  <a:lnTo>
                    <a:pt x="2460" y="371"/>
                  </a:lnTo>
                  <a:lnTo>
                    <a:pt x="2460" y="371"/>
                  </a:lnTo>
                  <a:lnTo>
                    <a:pt x="2454" y="374"/>
                  </a:lnTo>
                  <a:lnTo>
                    <a:pt x="2451" y="374"/>
                  </a:lnTo>
                  <a:lnTo>
                    <a:pt x="2451" y="376"/>
                  </a:lnTo>
                  <a:lnTo>
                    <a:pt x="2451" y="376"/>
                  </a:lnTo>
                  <a:lnTo>
                    <a:pt x="2451" y="376"/>
                  </a:lnTo>
                  <a:lnTo>
                    <a:pt x="2451" y="376"/>
                  </a:lnTo>
                  <a:lnTo>
                    <a:pt x="2451" y="376"/>
                  </a:lnTo>
                  <a:lnTo>
                    <a:pt x="2451" y="376"/>
                  </a:lnTo>
                  <a:lnTo>
                    <a:pt x="2451" y="376"/>
                  </a:lnTo>
                  <a:lnTo>
                    <a:pt x="2449" y="376"/>
                  </a:lnTo>
                  <a:lnTo>
                    <a:pt x="2449" y="376"/>
                  </a:lnTo>
                  <a:lnTo>
                    <a:pt x="2449" y="376"/>
                  </a:lnTo>
                  <a:lnTo>
                    <a:pt x="2447" y="374"/>
                  </a:lnTo>
                  <a:lnTo>
                    <a:pt x="2447" y="374"/>
                  </a:lnTo>
                  <a:lnTo>
                    <a:pt x="2447" y="374"/>
                  </a:lnTo>
                  <a:lnTo>
                    <a:pt x="2449" y="376"/>
                  </a:lnTo>
                  <a:lnTo>
                    <a:pt x="2449" y="376"/>
                  </a:lnTo>
                  <a:lnTo>
                    <a:pt x="2451" y="378"/>
                  </a:lnTo>
                  <a:lnTo>
                    <a:pt x="2449" y="378"/>
                  </a:lnTo>
                  <a:lnTo>
                    <a:pt x="2447" y="378"/>
                  </a:lnTo>
                  <a:lnTo>
                    <a:pt x="2447" y="380"/>
                  </a:lnTo>
                  <a:lnTo>
                    <a:pt x="2447" y="380"/>
                  </a:lnTo>
                  <a:lnTo>
                    <a:pt x="2447" y="380"/>
                  </a:lnTo>
                  <a:lnTo>
                    <a:pt x="2447" y="378"/>
                  </a:lnTo>
                  <a:lnTo>
                    <a:pt x="2445" y="378"/>
                  </a:lnTo>
                  <a:lnTo>
                    <a:pt x="2445" y="378"/>
                  </a:lnTo>
                  <a:lnTo>
                    <a:pt x="2445" y="378"/>
                  </a:lnTo>
                  <a:lnTo>
                    <a:pt x="2443" y="378"/>
                  </a:lnTo>
                  <a:lnTo>
                    <a:pt x="2443" y="378"/>
                  </a:lnTo>
                  <a:lnTo>
                    <a:pt x="2443" y="378"/>
                  </a:lnTo>
                  <a:lnTo>
                    <a:pt x="2443" y="378"/>
                  </a:lnTo>
                  <a:lnTo>
                    <a:pt x="2443" y="378"/>
                  </a:lnTo>
                  <a:lnTo>
                    <a:pt x="2445" y="380"/>
                  </a:lnTo>
                  <a:lnTo>
                    <a:pt x="2445" y="380"/>
                  </a:lnTo>
                  <a:lnTo>
                    <a:pt x="2447" y="380"/>
                  </a:lnTo>
                  <a:lnTo>
                    <a:pt x="2447" y="380"/>
                  </a:lnTo>
                  <a:lnTo>
                    <a:pt x="2447" y="380"/>
                  </a:lnTo>
                  <a:lnTo>
                    <a:pt x="2447" y="380"/>
                  </a:lnTo>
                  <a:lnTo>
                    <a:pt x="2447" y="380"/>
                  </a:lnTo>
                  <a:lnTo>
                    <a:pt x="2445" y="383"/>
                  </a:lnTo>
                  <a:lnTo>
                    <a:pt x="2445" y="383"/>
                  </a:lnTo>
                  <a:lnTo>
                    <a:pt x="2443" y="383"/>
                  </a:lnTo>
                  <a:lnTo>
                    <a:pt x="2443" y="383"/>
                  </a:lnTo>
                  <a:lnTo>
                    <a:pt x="2443" y="383"/>
                  </a:lnTo>
                  <a:lnTo>
                    <a:pt x="2443" y="383"/>
                  </a:lnTo>
                  <a:lnTo>
                    <a:pt x="2443" y="383"/>
                  </a:lnTo>
                  <a:lnTo>
                    <a:pt x="2443" y="380"/>
                  </a:lnTo>
                  <a:lnTo>
                    <a:pt x="2443" y="380"/>
                  </a:lnTo>
                  <a:lnTo>
                    <a:pt x="2443" y="380"/>
                  </a:lnTo>
                  <a:lnTo>
                    <a:pt x="2440" y="380"/>
                  </a:lnTo>
                  <a:lnTo>
                    <a:pt x="2443" y="383"/>
                  </a:lnTo>
                  <a:lnTo>
                    <a:pt x="2440" y="383"/>
                  </a:lnTo>
                  <a:lnTo>
                    <a:pt x="2440" y="383"/>
                  </a:lnTo>
                  <a:lnTo>
                    <a:pt x="2440" y="383"/>
                  </a:lnTo>
                  <a:lnTo>
                    <a:pt x="2440" y="383"/>
                  </a:lnTo>
                  <a:lnTo>
                    <a:pt x="2440" y="383"/>
                  </a:lnTo>
                  <a:lnTo>
                    <a:pt x="2440" y="383"/>
                  </a:lnTo>
                  <a:lnTo>
                    <a:pt x="2440" y="383"/>
                  </a:lnTo>
                  <a:lnTo>
                    <a:pt x="2438" y="383"/>
                  </a:lnTo>
                  <a:lnTo>
                    <a:pt x="2438" y="380"/>
                  </a:lnTo>
                  <a:lnTo>
                    <a:pt x="2438" y="380"/>
                  </a:lnTo>
                  <a:lnTo>
                    <a:pt x="2438" y="380"/>
                  </a:lnTo>
                  <a:lnTo>
                    <a:pt x="2438" y="383"/>
                  </a:lnTo>
                  <a:lnTo>
                    <a:pt x="2436" y="383"/>
                  </a:lnTo>
                  <a:lnTo>
                    <a:pt x="2436" y="383"/>
                  </a:lnTo>
                  <a:lnTo>
                    <a:pt x="2438" y="383"/>
                  </a:lnTo>
                  <a:lnTo>
                    <a:pt x="2438" y="383"/>
                  </a:lnTo>
                  <a:lnTo>
                    <a:pt x="2438" y="383"/>
                  </a:lnTo>
                  <a:lnTo>
                    <a:pt x="2438" y="383"/>
                  </a:lnTo>
                  <a:lnTo>
                    <a:pt x="2440" y="383"/>
                  </a:lnTo>
                  <a:lnTo>
                    <a:pt x="2438" y="383"/>
                  </a:lnTo>
                  <a:lnTo>
                    <a:pt x="2438" y="383"/>
                  </a:lnTo>
                  <a:lnTo>
                    <a:pt x="2438" y="383"/>
                  </a:lnTo>
                  <a:lnTo>
                    <a:pt x="2438" y="383"/>
                  </a:lnTo>
                  <a:lnTo>
                    <a:pt x="2440" y="385"/>
                  </a:lnTo>
                  <a:lnTo>
                    <a:pt x="2440" y="385"/>
                  </a:lnTo>
                  <a:lnTo>
                    <a:pt x="2438" y="385"/>
                  </a:lnTo>
                  <a:lnTo>
                    <a:pt x="2438" y="385"/>
                  </a:lnTo>
                  <a:lnTo>
                    <a:pt x="2438" y="385"/>
                  </a:lnTo>
                  <a:lnTo>
                    <a:pt x="2438" y="385"/>
                  </a:lnTo>
                  <a:lnTo>
                    <a:pt x="2438" y="385"/>
                  </a:lnTo>
                  <a:lnTo>
                    <a:pt x="2438" y="385"/>
                  </a:lnTo>
                  <a:lnTo>
                    <a:pt x="2436" y="385"/>
                  </a:lnTo>
                  <a:lnTo>
                    <a:pt x="2436" y="385"/>
                  </a:lnTo>
                  <a:lnTo>
                    <a:pt x="2434" y="385"/>
                  </a:lnTo>
                  <a:lnTo>
                    <a:pt x="2431" y="383"/>
                  </a:lnTo>
                  <a:lnTo>
                    <a:pt x="2431" y="383"/>
                  </a:lnTo>
                  <a:lnTo>
                    <a:pt x="2431" y="383"/>
                  </a:lnTo>
                  <a:lnTo>
                    <a:pt x="2431" y="383"/>
                  </a:lnTo>
                  <a:lnTo>
                    <a:pt x="2431" y="385"/>
                  </a:lnTo>
                  <a:lnTo>
                    <a:pt x="2431" y="385"/>
                  </a:lnTo>
                  <a:lnTo>
                    <a:pt x="2431" y="385"/>
                  </a:lnTo>
                  <a:lnTo>
                    <a:pt x="2434" y="385"/>
                  </a:lnTo>
                  <a:lnTo>
                    <a:pt x="2434" y="385"/>
                  </a:lnTo>
                  <a:lnTo>
                    <a:pt x="2434" y="385"/>
                  </a:lnTo>
                  <a:lnTo>
                    <a:pt x="2434" y="387"/>
                  </a:lnTo>
                  <a:lnTo>
                    <a:pt x="2434" y="387"/>
                  </a:lnTo>
                  <a:lnTo>
                    <a:pt x="2434" y="387"/>
                  </a:lnTo>
                  <a:lnTo>
                    <a:pt x="2436" y="387"/>
                  </a:lnTo>
                  <a:lnTo>
                    <a:pt x="2436" y="387"/>
                  </a:lnTo>
                  <a:lnTo>
                    <a:pt x="2436" y="387"/>
                  </a:lnTo>
                  <a:lnTo>
                    <a:pt x="2434" y="387"/>
                  </a:lnTo>
                  <a:lnTo>
                    <a:pt x="2434" y="387"/>
                  </a:lnTo>
                  <a:lnTo>
                    <a:pt x="2434" y="387"/>
                  </a:lnTo>
                  <a:lnTo>
                    <a:pt x="2434" y="387"/>
                  </a:lnTo>
                  <a:lnTo>
                    <a:pt x="2434" y="389"/>
                  </a:lnTo>
                  <a:lnTo>
                    <a:pt x="2434" y="389"/>
                  </a:lnTo>
                  <a:lnTo>
                    <a:pt x="2434" y="389"/>
                  </a:lnTo>
                  <a:lnTo>
                    <a:pt x="2434" y="392"/>
                  </a:lnTo>
                  <a:lnTo>
                    <a:pt x="2434" y="392"/>
                  </a:lnTo>
                  <a:lnTo>
                    <a:pt x="2431" y="392"/>
                  </a:lnTo>
                  <a:lnTo>
                    <a:pt x="2431" y="392"/>
                  </a:lnTo>
                  <a:lnTo>
                    <a:pt x="2431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9" y="389"/>
                  </a:lnTo>
                  <a:lnTo>
                    <a:pt x="2427" y="389"/>
                  </a:lnTo>
                  <a:lnTo>
                    <a:pt x="2427" y="389"/>
                  </a:lnTo>
                  <a:lnTo>
                    <a:pt x="2427" y="392"/>
                  </a:lnTo>
                  <a:lnTo>
                    <a:pt x="2429" y="392"/>
                  </a:lnTo>
                  <a:lnTo>
                    <a:pt x="2431" y="392"/>
                  </a:lnTo>
                  <a:lnTo>
                    <a:pt x="2431" y="392"/>
                  </a:lnTo>
                  <a:lnTo>
                    <a:pt x="2431" y="392"/>
                  </a:lnTo>
                  <a:lnTo>
                    <a:pt x="2431" y="392"/>
                  </a:lnTo>
                  <a:lnTo>
                    <a:pt x="2431" y="392"/>
                  </a:lnTo>
                  <a:lnTo>
                    <a:pt x="2434" y="392"/>
                  </a:lnTo>
                  <a:lnTo>
                    <a:pt x="2434" y="392"/>
                  </a:lnTo>
                  <a:lnTo>
                    <a:pt x="2434" y="394"/>
                  </a:lnTo>
                  <a:lnTo>
                    <a:pt x="2434" y="394"/>
                  </a:lnTo>
                  <a:lnTo>
                    <a:pt x="2431" y="394"/>
                  </a:lnTo>
                  <a:lnTo>
                    <a:pt x="2429" y="392"/>
                  </a:lnTo>
                  <a:lnTo>
                    <a:pt x="2429" y="392"/>
                  </a:lnTo>
                  <a:lnTo>
                    <a:pt x="2429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4"/>
                  </a:lnTo>
                  <a:lnTo>
                    <a:pt x="2431" y="396"/>
                  </a:lnTo>
                  <a:lnTo>
                    <a:pt x="2431" y="396"/>
                  </a:lnTo>
                  <a:lnTo>
                    <a:pt x="2431" y="396"/>
                  </a:lnTo>
                  <a:lnTo>
                    <a:pt x="2427" y="394"/>
                  </a:lnTo>
                  <a:lnTo>
                    <a:pt x="2427" y="396"/>
                  </a:lnTo>
                  <a:lnTo>
                    <a:pt x="2427" y="396"/>
                  </a:lnTo>
                  <a:lnTo>
                    <a:pt x="2427" y="396"/>
                  </a:lnTo>
                  <a:lnTo>
                    <a:pt x="2429" y="396"/>
                  </a:lnTo>
                  <a:lnTo>
                    <a:pt x="2429" y="396"/>
                  </a:lnTo>
                  <a:lnTo>
                    <a:pt x="2429" y="396"/>
                  </a:lnTo>
                  <a:lnTo>
                    <a:pt x="2429" y="396"/>
                  </a:lnTo>
                  <a:lnTo>
                    <a:pt x="2427" y="396"/>
                  </a:lnTo>
                  <a:lnTo>
                    <a:pt x="2427" y="396"/>
                  </a:lnTo>
                  <a:lnTo>
                    <a:pt x="2427" y="396"/>
                  </a:lnTo>
                  <a:lnTo>
                    <a:pt x="2429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4" y="398"/>
                  </a:lnTo>
                  <a:lnTo>
                    <a:pt x="2434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31" y="398"/>
                  </a:lnTo>
                  <a:lnTo>
                    <a:pt x="2429" y="398"/>
                  </a:lnTo>
                  <a:lnTo>
                    <a:pt x="2427" y="398"/>
                  </a:lnTo>
                  <a:lnTo>
                    <a:pt x="2425" y="398"/>
                  </a:lnTo>
                  <a:lnTo>
                    <a:pt x="2425" y="398"/>
                  </a:lnTo>
                  <a:lnTo>
                    <a:pt x="2429" y="398"/>
                  </a:lnTo>
                  <a:lnTo>
                    <a:pt x="2429" y="398"/>
                  </a:lnTo>
                  <a:lnTo>
                    <a:pt x="2429" y="401"/>
                  </a:lnTo>
                  <a:lnTo>
                    <a:pt x="2431" y="401"/>
                  </a:lnTo>
                  <a:lnTo>
                    <a:pt x="2431" y="401"/>
                  </a:lnTo>
                  <a:lnTo>
                    <a:pt x="2431" y="401"/>
                  </a:lnTo>
                  <a:lnTo>
                    <a:pt x="2431" y="401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31" y="403"/>
                  </a:lnTo>
                  <a:lnTo>
                    <a:pt x="2431" y="403"/>
                  </a:lnTo>
                  <a:lnTo>
                    <a:pt x="2431" y="403"/>
                  </a:lnTo>
                  <a:lnTo>
                    <a:pt x="2429" y="403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27" y="401"/>
                  </a:lnTo>
                  <a:lnTo>
                    <a:pt x="2427" y="401"/>
                  </a:lnTo>
                  <a:lnTo>
                    <a:pt x="2427" y="401"/>
                  </a:lnTo>
                  <a:lnTo>
                    <a:pt x="2427" y="401"/>
                  </a:lnTo>
                  <a:lnTo>
                    <a:pt x="2427" y="401"/>
                  </a:lnTo>
                  <a:lnTo>
                    <a:pt x="2429" y="401"/>
                  </a:lnTo>
                  <a:lnTo>
                    <a:pt x="2429" y="401"/>
                  </a:lnTo>
                  <a:lnTo>
                    <a:pt x="2429" y="403"/>
                  </a:lnTo>
                  <a:lnTo>
                    <a:pt x="2429" y="403"/>
                  </a:lnTo>
                  <a:lnTo>
                    <a:pt x="2429" y="403"/>
                  </a:lnTo>
                  <a:lnTo>
                    <a:pt x="2429" y="403"/>
                  </a:lnTo>
                  <a:lnTo>
                    <a:pt x="2429" y="403"/>
                  </a:lnTo>
                  <a:lnTo>
                    <a:pt x="2429" y="403"/>
                  </a:lnTo>
                  <a:lnTo>
                    <a:pt x="2429" y="403"/>
                  </a:lnTo>
                  <a:lnTo>
                    <a:pt x="2427" y="403"/>
                  </a:lnTo>
                  <a:lnTo>
                    <a:pt x="2427" y="403"/>
                  </a:lnTo>
                  <a:lnTo>
                    <a:pt x="2427" y="403"/>
                  </a:lnTo>
                  <a:lnTo>
                    <a:pt x="2427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3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7" y="405"/>
                  </a:lnTo>
                  <a:lnTo>
                    <a:pt x="2427" y="405"/>
                  </a:lnTo>
                  <a:lnTo>
                    <a:pt x="2427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7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2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5"/>
                  </a:lnTo>
                  <a:lnTo>
                    <a:pt x="2425" y="407"/>
                  </a:lnTo>
                  <a:lnTo>
                    <a:pt x="2425" y="407"/>
                  </a:lnTo>
                  <a:lnTo>
                    <a:pt x="2425" y="407"/>
                  </a:lnTo>
                  <a:lnTo>
                    <a:pt x="2427" y="407"/>
                  </a:lnTo>
                  <a:lnTo>
                    <a:pt x="2425" y="407"/>
                  </a:lnTo>
                  <a:lnTo>
                    <a:pt x="2425" y="407"/>
                  </a:lnTo>
                  <a:lnTo>
                    <a:pt x="2425" y="410"/>
                  </a:lnTo>
                  <a:lnTo>
                    <a:pt x="2425" y="410"/>
                  </a:lnTo>
                  <a:lnTo>
                    <a:pt x="2425" y="410"/>
                  </a:lnTo>
                  <a:lnTo>
                    <a:pt x="2425" y="410"/>
                  </a:lnTo>
                  <a:lnTo>
                    <a:pt x="2422" y="410"/>
                  </a:lnTo>
                  <a:lnTo>
                    <a:pt x="2422" y="410"/>
                  </a:lnTo>
                  <a:lnTo>
                    <a:pt x="2422" y="410"/>
                  </a:lnTo>
                  <a:lnTo>
                    <a:pt x="2422" y="410"/>
                  </a:lnTo>
                  <a:lnTo>
                    <a:pt x="2420" y="410"/>
                  </a:lnTo>
                  <a:lnTo>
                    <a:pt x="2420" y="410"/>
                  </a:lnTo>
                  <a:lnTo>
                    <a:pt x="2418" y="410"/>
                  </a:lnTo>
                  <a:lnTo>
                    <a:pt x="2418" y="410"/>
                  </a:lnTo>
                  <a:lnTo>
                    <a:pt x="2418" y="410"/>
                  </a:lnTo>
                  <a:lnTo>
                    <a:pt x="2420" y="410"/>
                  </a:lnTo>
                  <a:lnTo>
                    <a:pt x="2420" y="410"/>
                  </a:lnTo>
                  <a:lnTo>
                    <a:pt x="2420" y="410"/>
                  </a:lnTo>
                  <a:lnTo>
                    <a:pt x="2420" y="410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18" y="412"/>
                  </a:lnTo>
                  <a:lnTo>
                    <a:pt x="2418" y="412"/>
                  </a:lnTo>
                  <a:lnTo>
                    <a:pt x="2418" y="412"/>
                  </a:lnTo>
                  <a:lnTo>
                    <a:pt x="2416" y="412"/>
                  </a:lnTo>
                  <a:lnTo>
                    <a:pt x="2418" y="412"/>
                  </a:lnTo>
                  <a:lnTo>
                    <a:pt x="2418" y="412"/>
                  </a:lnTo>
                  <a:lnTo>
                    <a:pt x="2418" y="412"/>
                  </a:lnTo>
                  <a:lnTo>
                    <a:pt x="2418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2"/>
                  </a:lnTo>
                  <a:lnTo>
                    <a:pt x="2420" y="414"/>
                  </a:lnTo>
                  <a:lnTo>
                    <a:pt x="2420" y="414"/>
                  </a:lnTo>
                  <a:lnTo>
                    <a:pt x="2420" y="414"/>
                  </a:lnTo>
                  <a:lnTo>
                    <a:pt x="2422" y="414"/>
                  </a:lnTo>
                  <a:lnTo>
                    <a:pt x="2422" y="414"/>
                  </a:lnTo>
                  <a:lnTo>
                    <a:pt x="2422" y="414"/>
                  </a:lnTo>
                  <a:lnTo>
                    <a:pt x="2422" y="414"/>
                  </a:lnTo>
                  <a:lnTo>
                    <a:pt x="2422" y="414"/>
                  </a:lnTo>
                  <a:lnTo>
                    <a:pt x="2422" y="414"/>
                  </a:lnTo>
                  <a:lnTo>
                    <a:pt x="2420" y="416"/>
                  </a:lnTo>
                  <a:lnTo>
                    <a:pt x="2422" y="416"/>
                  </a:lnTo>
                  <a:lnTo>
                    <a:pt x="2422" y="416"/>
                  </a:lnTo>
                  <a:lnTo>
                    <a:pt x="2425" y="419"/>
                  </a:lnTo>
                  <a:lnTo>
                    <a:pt x="2427" y="421"/>
                  </a:lnTo>
                  <a:lnTo>
                    <a:pt x="2427" y="421"/>
                  </a:lnTo>
                  <a:lnTo>
                    <a:pt x="2427" y="423"/>
                  </a:lnTo>
                  <a:lnTo>
                    <a:pt x="2427" y="423"/>
                  </a:lnTo>
                  <a:lnTo>
                    <a:pt x="2427" y="423"/>
                  </a:lnTo>
                  <a:lnTo>
                    <a:pt x="2427" y="423"/>
                  </a:lnTo>
                  <a:lnTo>
                    <a:pt x="2425" y="423"/>
                  </a:lnTo>
                  <a:lnTo>
                    <a:pt x="2425" y="423"/>
                  </a:lnTo>
                  <a:lnTo>
                    <a:pt x="2425" y="423"/>
                  </a:lnTo>
                  <a:lnTo>
                    <a:pt x="2422" y="421"/>
                  </a:lnTo>
                  <a:lnTo>
                    <a:pt x="2422" y="421"/>
                  </a:lnTo>
                  <a:lnTo>
                    <a:pt x="2422" y="421"/>
                  </a:lnTo>
                  <a:lnTo>
                    <a:pt x="2422" y="421"/>
                  </a:lnTo>
                  <a:lnTo>
                    <a:pt x="2422" y="421"/>
                  </a:lnTo>
                  <a:lnTo>
                    <a:pt x="2422" y="421"/>
                  </a:lnTo>
                  <a:lnTo>
                    <a:pt x="2420" y="421"/>
                  </a:lnTo>
                  <a:lnTo>
                    <a:pt x="2420" y="421"/>
                  </a:lnTo>
                  <a:lnTo>
                    <a:pt x="2420" y="421"/>
                  </a:lnTo>
                  <a:lnTo>
                    <a:pt x="2418" y="421"/>
                  </a:lnTo>
                  <a:lnTo>
                    <a:pt x="2418" y="421"/>
                  </a:lnTo>
                  <a:lnTo>
                    <a:pt x="2418" y="419"/>
                  </a:lnTo>
                  <a:lnTo>
                    <a:pt x="2416" y="419"/>
                  </a:lnTo>
                  <a:lnTo>
                    <a:pt x="2413" y="419"/>
                  </a:lnTo>
                  <a:lnTo>
                    <a:pt x="2413" y="416"/>
                  </a:lnTo>
                  <a:lnTo>
                    <a:pt x="2411" y="416"/>
                  </a:lnTo>
                  <a:lnTo>
                    <a:pt x="2411" y="416"/>
                  </a:lnTo>
                  <a:lnTo>
                    <a:pt x="2413" y="416"/>
                  </a:lnTo>
                  <a:lnTo>
                    <a:pt x="2413" y="416"/>
                  </a:lnTo>
                  <a:lnTo>
                    <a:pt x="2411" y="416"/>
                  </a:lnTo>
                  <a:lnTo>
                    <a:pt x="2411" y="416"/>
                  </a:lnTo>
                  <a:lnTo>
                    <a:pt x="2411" y="416"/>
                  </a:lnTo>
                  <a:lnTo>
                    <a:pt x="2411" y="416"/>
                  </a:lnTo>
                  <a:lnTo>
                    <a:pt x="2411" y="416"/>
                  </a:lnTo>
                  <a:lnTo>
                    <a:pt x="2409" y="416"/>
                  </a:lnTo>
                  <a:lnTo>
                    <a:pt x="2409" y="414"/>
                  </a:lnTo>
                  <a:lnTo>
                    <a:pt x="2409" y="414"/>
                  </a:lnTo>
                  <a:lnTo>
                    <a:pt x="2407" y="414"/>
                  </a:lnTo>
                  <a:lnTo>
                    <a:pt x="2407" y="414"/>
                  </a:lnTo>
                  <a:lnTo>
                    <a:pt x="2407" y="414"/>
                  </a:lnTo>
                  <a:lnTo>
                    <a:pt x="2407" y="414"/>
                  </a:lnTo>
                  <a:lnTo>
                    <a:pt x="2407" y="414"/>
                  </a:lnTo>
                  <a:lnTo>
                    <a:pt x="2404" y="414"/>
                  </a:lnTo>
                  <a:lnTo>
                    <a:pt x="2404" y="412"/>
                  </a:lnTo>
                  <a:lnTo>
                    <a:pt x="2404" y="412"/>
                  </a:lnTo>
                  <a:lnTo>
                    <a:pt x="2404" y="412"/>
                  </a:lnTo>
                  <a:lnTo>
                    <a:pt x="2402" y="412"/>
                  </a:lnTo>
                  <a:lnTo>
                    <a:pt x="2402" y="412"/>
                  </a:lnTo>
                  <a:lnTo>
                    <a:pt x="2400" y="412"/>
                  </a:lnTo>
                  <a:lnTo>
                    <a:pt x="2400" y="412"/>
                  </a:lnTo>
                  <a:lnTo>
                    <a:pt x="2400" y="412"/>
                  </a:lnTo>
                  <a:lnTo>
                    <a:pt x="2395" y="410"/>
                  </a:lnTo>
                  <a:lnTo>
                    <a:pt x="2393" y="410"/>
                  </a:lnTo>
                  <a:lnTo>
                    <a:pt x="2393" y="410"/>
                  </a:lnTo>
                  <a:lnTo>
                    <a:pt x="2393" y="410"/>
                  </a:lnTo>
                  <a:lnTo>
                    <a:pt x="2393" y="410"/>
                  </a:lnTo>
                  <a:lnTo>
                    <a:pt x="2393" y="410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07"/>
                  </a:lnTo>
                  <a:lnTo>
                    <a:pt x="2391" y="410"/>
                  </a:lnTo>
                  <a:lnTo>
                    <a:pt x="2391" y="410"/>
                  </a:lnTo>
                  <a:lnTo>
                    <a:pt x="2391" y="410"/>
                  </a:lnTo>
                  <a:lnTo>
                    <a:pt x="2391" y="410"/>
                  </a:lnTo>
                  <a:lnTo>
                    <a:pt x="2391" y="407"/>
                  </a:lnTo>
                  <a:lnTo>
                    <a:pt x="2389" y="407"/>
                  </a:lnTo>
                  <a:lnTo>
                    <a:pt x="2389" y="410"/>
                  </a:lnTo>
                  <a:lnTo>
                    <a:pt x="2391" y="410"/>
                  </a:lnTo>
                  <a:lnTo>
                    <a:pt x="2391" y="410"/>
                  </a:lnTo>
                  <a:lnTo>
                    <a:pt x="2391" y="410"/>
                  </a:lnTo>
                  <a:lnTo>
                    <a:pt x="2386" y="410"/>
                  </a:lnTo>
                  <a:lnTo>
                    <a:pt x="2384" y="410"/>
                  </a:lnTo>
                  <a:lnTo>
                    <a:pt x="2384" y="410"/>
                  </a:lnTo>
                  <a:lnTo>
                    <a:pt x="2384" y="410"/>
                  </a:lnTo>
                  <a:lnTo>
                    <a:pt x="2384" y="410"/>
                  </a:lnTo>
                  <a:lnTo>
                    <a:pt x="2382" y="410"/>
                  </a:lnTo>
                  <a:lnTo>
                    <a:pt x="2382" y="410"/>
                  </a:lnTo>
                  <a:lnTo>
                    <a:pt x="2380" y="410"/>
                  </a:lnTo>
                  <a:lnTo>
                    <a:pt x="2380" y="407"/>
                  </a:lnTo>
                  <a:lnTo>
                    <a:pt x="2380" y="407"/>
                  </a:lnTo>
                  <a:lnTo>
                    <a:pt x="2375" y="407"/>
                  </a:lnTo>
                  <a:lnTo>
                    <a:pt x="2375" y="410"/>
                  </a:lnTo>
                  <a:lnTo>
                    <a:pt x="2373" y="410"/>
                  </a:lnTo>
                  <a:lnTo>
                    <a:pt x="2371" y="410"/>
                  </a:lnTo>
                  <a:lnTo>
                    <a:pt x="2371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0"/>
                  </a:lnTo>
                  <a:lnTo>
                    <a:pt x="2368" y="412"/>
                  </a:lnTo>
                  <a:lnTo>
                    <a:pt x="2368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4" y="412"/>
                  </a:lnTo>
                  <a:lnTo>
                    <a:pt x="2364" y="412"/>
                  </a:lnTo>
                  <a:lnTo>
                    <a:pt x="2364" y="412"/>
                  </a:lnTo>
                  <a:lnTo>
                    <a:pt x="2364" y="412"/>
                  </a:lnTo>
                  <a:lnTo>
                    <a:pt x="2366" y="412"/>
                  </a:lnTo>
                  <a:lnTo>
                    <a:pt x="2366" y="412"/>
                  </a:lnTo>
                  <a:lnTo>
                    <a:pt x="2364" y="412"/>
                  </a:lnTo>
                  <a:lnTo>
                    <a:pt x="2364" y="412"/>
                  </a:lnTo>
                  <a:lnTo>
                    <a:pt x="2364" y="412"/>
                  </a:lnTo>
                  <a:lnTo>
                    <a:pt x="2364" y="412"/>
                  </a:lnTo>
                  <a:lnTo>
                    <a:pt x="2364" y="414"/>
                  </a:lnTo>
                  <a:lnTo>
                    <a:pt x="2364" y="414"/>
                  </a:lnTo>
                  <a:lnTo>
                    <a:pt x="2364" y="414"/>
                  </a:lnTo>
                  <a:lnTo>
                    <a:pt x="2362" y="414"/>
                  </a:lnTo>
                  <a:lnTo>
                    <a:pt x="2362" y="414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59" y="412"/>
                  </a:lnTo>
                  <a:lnTo>
                    <a:pt x="2362" y="414"/>
                  </a:lnTo>
                  <a:lnTo>
                    <a:pt x="2362" y="414"/>
                  </a:lnTo>
                  <a:lnTo>
                    <a:pt x="2362" y="414"/>
                  </a:lnTo>
                  <a:lnTo>
                    <a:pt x="2362" y="414"/>
                  </a:lnTo>
                  <a:lnTo>
                    <a:pt x="2362" y="414"/>
                  </a:lnTo>
                  <a:lnTo>
                    <a:pt x="2359" y="414"/>
                  </a:lnTo>
                  <a:lnTo>
                    <a:pt x="2359" y="414"/>
                  </a:lnTo>
                  <a:lnTo>
                    <a:pt x="2359" y="414"/>
                  </a:lnTo>
                  <a:lnTo>
                    <a:pt x="2362" y="414"/>
                  </a:lnTo>
                  <a:lnTo>
                    <a:pt x="2362" y="416"/>
                  </a:lnTo>
                  <a:lnTo>
                    <a:pt x="2362" y="416"/>
                  </a:lnTo>
                  <a:lnTo>
                    <a:pt x="2362" y="416"/>
                  </a:lnTo>
                  <a:lnTo>
                    <a:pt x="2362" y="416"/>
                  </a:lnTo>
                  <a:lnTo>
                    <a:pt x="2362" y="416"/>
                  </a:lnTo>
                  <a:lnTo>
                    <a:pt x="2362" y="419"/>
                  </a:lnTo>
                  <a:lnTo>
                    <a:pt x="2362" y="421"/>
                  </a:lnTo>
                  <a:lnTo>
                    <a:pt x="2362" y="423"/>
                  </a:lnTo>
                  <a:lnTo>
                    <a:pt x="2362" y="425"/>
                  </a:lnTo>
                  <a:lnTo>
                    <a:pt x="2362" y="425"/>
                  </a:lnTo>
                  <a:lnTo>
                    <a:pt x="2362" y="425"/>
                  </a:lnTo>
                  <a:lnTo>
                    <a:pt x="2359" y="425"/>
                  </a:lnTo>
                  <a:lnTo>
                    <a:pt x="2359" y="425"/>
                  </a:lnTo>
                  <a:lnTo>
                    <a:pt x="2357" y="423"/>
                  </a:lnTo>
                  <a:lnTo>
                    <a:pt x="2357" y="423"/>
                  </a:lnTo>
                  <a:lnTo>
                    <a:pt x="2357" y="423"/>
                  </a:lnTo>
                  <a:lnTo>
                    <a:pt x="2357" y="421"/>
                  </a:lnTo>
                  <a:lnTo>
                    <a:pt x="2355" y="421"/>
                  </a:lnTo>
                  <a:lnTo>
                    <a:pt x="2355" y="421"/>
                  </a:lnTo>
                  <a:lnTo>
                    <a:pt x="2355" y="421"/>
                  </a:lnTo>
                  <a:lnTo>
                    <a:pt x="2355" y="421"/>
                  </a:lnTo>
                  <a:lnTo>
                    <a:pt x="2355" y="421"/>
                  </a:lnTo>
                  <a:lnTo>
                    <a:pt x="2353" y="419"/>
                  </a:lnTo>
                  <a:lnTo>
                    <a:pt x="2353" y="419"/>
                  </a:lnTo>
                  <a:lnTo>
                    <a:pt x="2353" y="419"/>
                  </a:lnTo>
                  <a:lnTo>
                    <a:pt x="2353" y="416"/>
                  </a:lnTo>
                  <a:lnTo>
                    <a:pt x="2353" y="416"/>
                  </a:lnTo>
                  <a:lnTo>
                    <a:pt x="2353" y="416"/>
                  </a:lnTo>
                  <a:lnTo>
                    <a:pt x="2350" y="416"/>
                  </a:lnTo>
                  <a:lnTo>
                    <a:pt x="2350" y="414"/>
                  </a:lnTo>
                  <a:lnTo>
                    <a:pt x="2348" y="414"/>
                  </a:lnTo>
                  <a:lnTo>
                    <a:pt x="2348" y="414"/>
                  </a:lnTo>
                  <a:lnTo>
                    <a:pt x="2348" y="414"/>
                  </a:lnTo>
                  <a:lnTo>
                    <a:pt x="2346" y="412"/>
                  </a:lnTo>
                  <a:lnTo>
                    <a:pt x="2346" y="412"/>
                  </a:lnTo>
                  <a:lnTo>
                    <a:pt x="2348" y="412"/>
                  </a:lnTo>
                  <a:lnTo>
                    <a:pt x="2348" y="412"/>
                  </a:lnTo>
                  <a:lnTo>
                    <a:pt x="2348" y="412"/>
                  </a:lnTo>
                  <a:lnTo>
                    <a:pt x="2348" y="412"/>
                  </a:lnTo>
                  <a:lnTo>
                    <a:pt x="2346" y="412"/>
                  </a:lnTo>
                  <a:lnTo>
                    <a:pt x="2346" y="412"/>
                  </a:lnTo>
                  <a:lnTo>
                    <a:pt x="2346" y="412"/>
                  </a:lnTo>
                  <a:lnTo>
                    <a:pt x="2346" y="412"/>
                  </a:lnTo>
                  <a:lnTo>
                    <a:pt x="2346" y="410"/>
                  </a:lnTo>
                  <a:lnTo>
                    <a:pt x="2346" y="410"/>
                  </a:lnTo>
                  <a:lnTo>
                    <a:pt x="2346" y="410"/>
                  </a:lnTo>
                  <a:lnTo>
                    <a:pt x="2346" y="412"/>
                  </a:lnTo>
                  <a:lnTo>
                    <a:pt x="2346" y="412"/>
                  </a:lnTo>
                  <a:lnTo>
                    <a:pt x="2346" y="412"/>
                  </a:lnTo>
                  <a:lnTo>
                    <a:pt x="2344" y="410"/>
                  </a:lnTo>
                  <a:lnTo>
                    <a:pt x="2344" y="410"/>
                  </a:lnTo>
                  <a:lnTo>
                    <a:pt x="2341" y="412"/>
                  </a:lnTo>
                  <a:lnTo>
                    <a:pt x="2341" y="412"/>
                  </a:lnTo>
                  <a:lnTo>
                    <a:pt x="2341" y="412"/>
                  </a:lnTo>
                  <a:lnTo>
                    <a:pt x="2341" y="412"/>
                  </a:lnTo>
                  <a:lnTo>
                    <a:pt x="2341" y="414"/>
                  </a:lnTo>
                  <a:lnTo>
                    <a:pt x="2344" y="414"/>
                  </a:lnTo>
                  <a:lnTo>
                    <a:pt x="2341" y="412"/>
                  </a:lnTo>
                  <a:lnTo>
                    <a:pt x="2344" y="412"/>
                  </a:lnTo>
                  <a:lnTo>
                    <a:pt x="2344" y="412"/>
                  </a:lnTo>
                  <a:lnTo>
                    <a:pt x="2344" y="412"/>
                  </a:lnTo>
                  <a:lnTo>
                    <a:pt x="2344" y="412"/>
                  </a:lnTo>
                  <a:lnTo>
                    <a:pt x="2344" y="412"/>
                  </a:lnTo>
                  <a:lnTo>
                    <a:pt x="2344" y="412"/>
                  </a:lnTo>
                  <a:lnTo>
                    <a:pt x="2344" y="414"/>
                  </a:lnTo>
                  <a:lnTo>
                    <a:pt x="2341" y="414"/>
                  </a:lnTo>
                  <a:lnTo>
                    <a:pt x="2341" y="414"/>
                  </a:lnTo>
                  <a:lnTo>
                    <a:pt x="2341" y="414"/>
                  </a:lnTo>
                  <a:lnTo>
                    <a:pt x="2341" y="416"/>
                  </a:lnTo>
                  <a:lnTo>
                    <a:pt x="2341" y="416"/>
                  </a:lnTo>
                  <a:lnTo>
                    <a:pt x="2339" y="416"/>
                  </a:lnTo>
                  <a:lnTo>
                    <a:pt x="2339" y="416"/>
                  </a:lnTo>
                  <a:lnTo>
                    <a:pt x="2337" y="416"/>
                  </a:lnTo>
                  <a:lnTo>
                    <a:pt x="2337" y="416"/>
                  </a:lnTo>
                  <a:lnTo>
                    <a:pt x="2337" y="416"/>
                  </a:lnTo>
                  <a:lnTo>
                    <a:pt x="2337" y="416"/>
                  </a:lnTo>
                  <a:lnTo>
                    <a:pt x="2339" y="416"/>
                  </a:lnTo>
                  <a:lnTo>
                    <a:pt x="2339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2" y="419"/>
                  </a:lnTo>
                  <a:lnTo>
                    <a:pt x="2332" y="419"/>
                  </a:lnTo>
                  <a:lnTo>
                    <a:pt x="2332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21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5" y="419"/>
                  </a:lnTo>
                  <a:lnTo>
                    <a:pt x="2337" y="419"/>
                  </a:lnTo>
                  <a:lnTo>
                    <a:pt x="2337" y="419"/>
                  </a:lnTo>
                  <a:lnTo>
                    <a:pt x="2337" y="421"/>
                  </a:lnTo>
                  <a:lnTo>
                    <a:pt x="2337" y="421"/>
                  </a:lnTo>
                  <a:lnTo>
                    <a:pt x="2339" y="421"/>
                  </a:lnTo>
                  <a:lnTo>
                    <a:pt x="2339" y="421"/>
                  </a:lnTo>
                  <a:lnTo>
                    <a:pt x="2339" y="421"/>
                  </a:lnTo>
                  <a:lnTo>
                    <a:pt x="2339" y="421"/>
                  </a:lnTo>
                  <a:lnTo>
                    <a:pt x="2339" y="421"/>
                  </a:lnTo>
                  <a:lnTo>
                    <a:pt x="2339" y="423"/>
                  </a:lnTo>
                  <a:lnTo>
                    <a:pt x="2341" y="425"/>
                  </a:lnTo>
                  <a:lnTo>
                    <a:pt x="2339" y="425"/>
                  </a:lnTo>
                  <a:lnTo>
                    <a:pt x="2339" y="425"/>
                  </a:lnTo>
                  <a:lnTo>
                    <a:pt x="2339" y="425"/>
                  </a:lnTo>
                  <a:lnTo>
                    <a:pt x="2339" y="425"/>
                  </a:lnTo>
                  <a:lnTo>
                    <a:pt x="2339" y="425"/>
                  </a:lnTo>
                  <a:lnTo>
                    <a:pt x="2339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5"/>
                  </a:lnTo>
                  <a:lnTo>
                    <a:pt x="2337" y="423"/>
                  </a:lnTo>
                  <a:lnTo>
                    <a:pt x="2335" y="423"/>
                  </a:lnTo>
                  <a:lnTo>
                    <a:pt x="2335" y="423"/>
                  </a:lnTo>
                  <a:lnTo>
                    <a:pt x="2335" y="423"/>
                  </a:lnTo>
                  <a:lnTo>
                    <a:pt x="2332" y="423"/>
                  </a:lnTo>
                  <a:lnTo>
                    <a:pt x="2332" y="421"/>
                  </a:lnTo>
                  <a:lnTo>
                    <a:pt x="2330" y="421"/>
                  </a:lnTo>
                  <a:lnTo>
                    <a:pt x="2328" y="421"/>
                  </a:lnTo>
                  <a:lnTo>
                    <a:pt x="2326" y="419"/>
                  </a:lnTo>
                  <a:lnTo>
                    <a:pt x="2326" y="419"/>
                  </a:lnTo>
                  <a:lnTo>
                    <a:pt x="2326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19"/>
                  </a:lnTo>
                  <a:lnTo>
                    <a:pt x="2323" y="421"/>
                  </a:lnTo>
                  <a:lnTo>
                    <a:pt x="2323" y="421"/>
                  </a:lnTo>
                  <a:lnTo>
                    <a:pt x="2326" y="421"/>
                  </a:lnTo>
                  <a:lnTo>
                    <a:pt x="2326" y="421"/>
                  </a:lnTo>
                  <a:lnTo>
                    <a:pt x="2323" y="421"/>
                  </a:lnTo>
                  <a:lnTo>
                    <a:pt x="2323" y="421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6" y="423"/>
                  </a:lnTo>
                  <a:lnTo>
                    <a:pt x="2326" y="425"/>
                  </a:lnTo>
                  <a:lnTo>
                    <a:pt x="2326" y="425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1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3"/>
                  </a:lnTo>
                  <a:lnTo>
                    <a:pt x="2323" y="421"/>
                  </a:lnTo>
                  <a:lnTo>
                    <a:pt x="2323" y="421"/>
                  </a:lnTo>
                  <a:lnTo>
                    <a:pt x="2323" y="421"/>
                  </a:lnTo>
                  <a:lnTo>
                    <a:pt x="2321" y="421"/>
                  </a:lnTo>
                  <a:lnTo>
                    <a:pt x="2321" y="421"/>
                  </a:lnTo>
                  <a:lnTo>
                    <a:pt x="2321" y="421"/>
                  </a:lnTo>
                  <a:lnTo>
                    <a:pt x="2319" y="421"/>
                  </a:lnTo>
                  <a:lnTo>
                    <a:pt x="2319" y="421"/>
                  </a:lnTo>
                  <a:lnTo>
                    <a:pt x="2319" y="421"/>
                  </a:lnTo>
                  <a:lnTo>
                    <a:pt x="2317" y="421"/>
                  </a:lnTo>
                  <a:lnTo>
                    <a:pt x="2317" y="421"/>
                  </a:lnTo>
                  <a:lnTo>
                    <a:pt x="2317" y="421"/>
                  </a:lnTo>
                  <a:lnTo>
                    <a:pt x="2317" y="421"/>
                  </a:lnTo>
                  <a:lnTo>
                    <a:pt x="2317" y="421"/>
                  </a:lnTo>
                  <a:lnTo>
                    <a:pt x="2317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2" y="421"/>
                  </a:lnTo>
                  <a:lnTo>
                    <a:pt x="2312" y="421"/>
                  </a:lnTo>
                  <a:lnTo>
                    <a:pt x="2312" y="421"/>
                  </a:lnTo>
                  <a:lnTo>
                    <a:pt x="2312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7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4" y="421"/>
                  </a:lnTo>
                  <a:lnTo>
                    <a:pt x="2317" y="421"/>
                  </a:lnTo>
                  <a:lnTo>
                    <a:pt x="2317" y="421"/>
                  </a:lnTo>
                  <a:lnTo>
                    <a:pt x="2317" y="423"/>
                  </a:lnTo>
                  <a:lnTo>
                    <a:pt x="2317" y="423"/>
                  </a:lnTo>
                  <a:lnTo>
                    <a:pt x="2317" y="423"/>
                  </a:lnTo>
                  <a:lnTo>
                    <a:pt x="2317" y="423"/>
                  </a:lnTo>
                  <a:lnTo>
                    <a:pt x="2317" y="423"/>
                  </a:lnTo>
                  <a:lnTo>
                    <a:pt x="2314" y="423"/>
                  </a:lnTo>
                  <a:lnTo>
                    <a:pt x="2314" y="423"/>
                  </a:lnTo>
                  <a:lnTo>
                    <a:pt x="2314" y="423"/>
                  </a:lnTo>
                  <a:lnTo>
                    <a:pt x="2314" y="423"/>
                  </a:lnTo>
                  <a:lnTo>
                    <a:pt x="2314" y="425"/>
                  </a:lnTo>
                  <a:lnTo>
                    <a:pt x="2312" y="425"/>
                  </a:lnTo>
                  <a:lnTo>
                    <a:pt x="2314" y="425"/>
                  </a:lnTo>
                  <a:lnTo>
                    <a:pt x="2314" y="425"/>
                  </a:lnTo>
                  <a:lnTo>
                    <a:pt x="2314" y="425"/>
                  </a:lnTo>
                  <a:lnTo>
                    <a:pt x="2314" y="428"/>
                  </a:lnTo>
                  <a:lnTo>
                    <a:pt x="2317" y="428"/>
                  </a:lnTo>
                  <a:lnTo>
                    <a:pt x="2317" y="428"/>
                  </a:lnTo>
                  <a:lnTo>
                    <a:pt x="2317" y="428"/>
                  </a:lnTo>
                  <a:lnTo>
                    <a:pt x="2317" y="428"/>
                  </a:lnTo>
                  <a:lnTo>
                    <a:pt x="2319" y="430"/>
                  </a:lnTo>
                  <a:lnTo>
                    <a:pt x="2319" y="430"/>
                  </a:lnTo>
                  <a:lnTo>
                    <a:pt x="2319" y="430"/>
                  </a:lnTo>
                  <a:lnTo>
                    <a:pt x="2319" y="430"/>
                  </a:lnTo>
                  <a:lnTo>
                    <a:pt x="2319" y="430"/>
                  </a:lnTo>
                  <a:lnTo>
                    <a:pt x="2317" y="430"/>
                  </a:lnTo>
                  <a:lnTo>
                    <a:pt x="2317" y="430"/>
                  </a:lnTo>
                  <a:lnTo>
                    <a:pt x="2317" y="430"/>
                  </a:lnTo>
                  <a:lnTo>
                    <a:pt x="2317" y="430"/>
                  </a:lnTo>
                  <a:lnTo>
                    <a:pt x="2317" y="430"/>
                  </a:lnTo>
                  <a:lnTo>
                    <a:pt x="2317" y="432"/>
                  </a:lnTo>
                  <a:lnTo>
                    <a:pt x="2317" y="430"/>
                  </a:lnTo>
                  <a:lnTo>
                    <a:pt x="2317" y="432"/>
                  </a:lnTo>
                  <a:lnTo>
                    <a:pt x="2317" y="432"/>
                  </a:lnTo>
                  <a:lnTo>
                    <a:pt x="2319" y="432"/>
                  </a:lnTo>
                  <a:lnTo>
                    <a:pt x="2319" y="432"/>
                  </a:lnTo>
                  <a:lnTo>
                    <a:pt x="2319" y="432"/>
                  </a:lnTo>
                  <a:lnTo>
                    <a:pt x="2319" y="432"/>
                  </a:lnTo>
                  <a:lnTo>
                    <a:pt x="2319" y="432"/>
                  </a:lnTo>
                  <a:lnTo>
                    <a:pt x="2321" y="434"/>
                  </a:lnTo>
                  <a:lnTo>
                    <a:pt x="2323" y="434"/>
                  </a:lnTo>
                  <a:lnTo>
                    <a:pt x="2323" y="434"/>
                  </a:lnTo>
                  <a:lnTo>
                    <a:pt x="2323" y="434"/>
                  </a:lnTo>
                  <a:lnTo>
                    <a:pt x="2323" y="434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9"/>
                  </a:lnTo>
                  <a:lnTo>
                    <a:pt x="2326" y="439"/>
                  </a:lnTo>
                  <a:lnTo>
                    <a:pt x="2326" y="439"/>
                  </a:lnTo>
                  <a:lnTo>
                    <a:pt x="2326" y="439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6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7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6" y="439"/>
                  </a:lnTo>
                  <a:lnTo>
                    <a:pt x="2326" y="439"/>
                  </a:lnTo>
                  <a:lnTo>
                    <a:pt x="2326" y="439"/>
                  </a:lnTo>
                  <a:lnTo>
                    <a:pt x="2328" y="439"/>
                  </a:lnTo>
                  <a:lnTo>
                    <a:pt x="2328" y="439"/>
                  </a:lnTo>
                  <a:lnTo>
                    <a:pt x="2328" y="441"/>
                  </a:lnTo>
                  <a:lnTo>
                    <a:pt x="2330" y="441"/>
                  </a:lnTo>
                  <a:lnTo>
                    <a:pt x="2330" y="441"/>
                  </a:lnTo>
                  <a:lnTo>
                    <a:pt x="2330" y="441"/>
                  </a:lnTo>
                  <a:lnTo>
                    <a:pt x="2330" y="441"/>
                  </a:lnTo>
                  <a:lnTo>
                    <a:pt x="2330" y="443"/>
                  </a:lnTo>
                  <a:lnTo>
                    <a:pt x="2330" y="443"/>
                  </a:lnTo>
                  <a:lnTo>
                    <a:pt x="2330" y="443"/>
                  </a:lnTo>
                  <a:lnTo>
                    <a:pt x="2330" y="441"/>
                  </a:lnTo>
                  <a:lnTo>
                    <a:pt x="2330" y="441"/>
                  </a:lnTo>
                  <a:lnTo>
                    <a:pt x="2330" y="441"/>
                  </a:lnTo>
                  <a:lnTo>
                    <a:pt x="2330" y="441"/>
                  </a:lnTo>
                  <a:lnTo>
                    <a:pt x="2328" y="441"/>
                  </a:lnTo>
                  <a:lnTo>
                    <a:pt x="2328" y="441"/>
                  </a:lnTo>
                  <a:lnTo>
                    <a:pt x="2326" y="441"/>
                  </a:lnTo>
                  <a:lnTo>
                    <a:pt x="2326" y="441"/>
                  </a:lnTo>
                  <a:lnTo>
                    <a:pt x="2326" y="441"/>
                  </a:lnTo>
                  <a:lnTo>
                    <a:pt x="2326" y="441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39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3" y="441"/>
                  </a:lnTo>
                  <a:lnTo>
                    <a:pt x="2326" y="441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30" y="443"/>
                  </a:lnTo>
                  <a:lnTo>
                    <a:pt x="2330" y="443"/>
                  </a:lnTo>
                  <a:lnTo>
                    <a:pt x="2328" y="443"/>
                  </a:lnTo>
                  <a:lnTo>
                    <a:pt x="2328" y="446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3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6" y="446"/>
                  </a:lnTo>
                  <a:lnTo>
                    <a:pt x="2326" y="446"/>
                  </a:lnTo>
                  <a:lnTo>
                    <a:pt x="2326" y="446"/>
                  </a:lnTo>
                  <a:lnTo>
                    <a:pt x="2326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6"/>
                  </a:lnTo>
                  <a:lnTo>
                    <a:pt x="2328" y="448"/>
                  </a:lnTo>
                  <a:lnTo>
                    <a:pt x="2328" y="448"/>
                  </a:lnTo>
                  <a:lnTo>
                    <a:pt x="2326" y="450"/>
                  </a:lnTo>
                  <a:lnTo>
                    <a:pt x="2326" y="450"/>
                  </a:lnTo>
                  <a:lnTo>
                    <a:pt x="2328" y="452"/>
                  </a:lnTo>
                  <a:lnTo>
                    <a:pt x="2328" y="455"/>
                  </a:lnTo>
                  <a:lnTo>
                    <a:pt x="2328" y="455"/>
                  </a:lnTo>
                  <a:lnTo>
                    <a:pt x="2332" y="461"/>
                  </a:lnTo>
                  <a:lnTo>
                    <a:pt x="2332" y="461"/>
                  </a:lnTo>
                  <a:lnTo>
                    <a:pt x="2335" y="464"/>
                  </a:lnTo>
                  <a:lnTo>
                    <a:pt x="2335" y="464"/>
                  </a:lnTo>
                  <a:lnTo>
                    <a:pt x="2335" y="464"/>
                  </a:lnTo>
                  <a:lnTo>
                    <a:pt x="2339" y="466"/>
                  </a:lnTo>
                  <a:lnTo>
                    <a:pt x="2341" y="468"/>
                  </a:lnTo>
                  <a:lnTo>
                    <a:pt x="2344" y="468"/>
                  </a:lnTo>
                  <a:lnTo>
                    <a:pt x="2346" y="468"/>
                  </a:lnTo>
                  <a:lnTo>
                    <a:pt x="2346" y="470"/>
                  </a:lnTo>
                  <a:lnTo>
                    <a:pt x="2348" y="470"/>
                  </a:lnTo>
                  <a:lnTo>
                    <a:pt x="2350" y="470"/>
                  </a:lnTo>
                  <a:lnTo>
                    <a:pt x="2350" y="470"/>
                  </a:lnTo>
                  <a:lnTo>
                    <a:pt x="2350" y="473"/>
                  </a:lnTo>
                  <a:lnTo>
                    <a:pt x="2350" y="473"/>
                  </a:lnTo>
                  <a:lnTo>
                    <a:pt x="2350" y="473"/>
                  </a:lnTo>
                  <a:lnTo>
                    <a:pt x="2350" y="473"/>
                  </a:lnTo>
                  <a:lnTo>
                    <a:pt x="2350" y="473"/>
                  </a:lnTo>
                  <a:lnTo>
                    <a:pt x="2350" y="473"/>
                  </a:lnTo>
                  <a:lnTo>
                    <a:pt x="2350" y="473"/>
                  </a:lnTo>
                  <a:lnTo>
                    <a:pt x="2350" y="470"/>
                  </a:lnTo>
                  <a:lnTo>
                    <a:pt x="2350" y="470"/>
                  </a:lnTo>
                  <a:lnTo>
                    <a:pt x="2348" y="468"/>
                  </a:lnTo>
                  <a:lnTo>
                    <a:pt x="2348" y="468"/>
                  </a:lnTo>
                  <a:lnTo>
                    <a:pt x="2348" y="468"/>
                  </a:lnTo>
                  <a:lnTo>
                    <a:pt x="2348" y="468"/>
                  </a:lnTo>
                  <a:lnTo>
                    <a:pt x="2348" y="466"/>
                  </a:lnTo>
                  <a:lnTo>
                    <a:pt x="2348" y="466"/>
                  </a:lnTo>
                  <a:lnTo>
                    <a:pt x="2348" y="466"/>
                  </a:lnTo>
                  <a:lnTo>
                    <a:pt x="2348" y="466"/>
                  </a:lnTo>
                  <a:lnTo>
                    <a:pt x="2348" y="466"/>
                  </a:lnTo>
                  <a:lnTo>
                    <a:pt x="2348" y="466"/>
                  </a:lnTo>
                  <a:lnTo>
                    <a:pt x="2350" y="466"/>
                  </a:lnTo>
                  <a:lnTo>
                    <a:pt x="2350" y="466"/>
                  </a:lnTo>
                  <a:lnTo>
                    <a:pt x="2350" y="466"/>
                  </a:lnTo>
                  <a:lnTo>
                    <a:pt x="2350" y="466"/>
                  </a:lnTo>
                  <a:lnTo>
                    <a:pt x="2350" y="466"/>
                  </a:lnTo>
                  <a:lnTo>
                    <a:pt x="2350" y="466"/>
                  </a:lnTo>
                  <a:lnTo>
                    <a:pt x="2353" y="466"/>
                  </a:lnTo>
                  <a:lnTo>
                    <a:pt x="2353" y="466"/>
                  </a:lnTo>
                  <a:lnTo>
                    <a:pt x="2353" y="466"/>
                  </a:lnTo>
                  <a:lnTo>
                    <a:pt x="2353" y="468"/>
                  </a:lnTo>
                  <a:lnTo>
                    <a:pt x="2353" y="466"/>
                  </a:lnTo>
                  <a:lnTo>
                    <a:pt x="2353" y="468"/>
                  </a:lnTo>
                  <a:lnTo>
                    <a:pt x="2353" y="468"/>
                  </a:lnTo>
                  <a:lnTo>
                    <a:pt x="2359" y="468"/>
                  </a:lnTo>
                  <a:lnTo>
                    <a:pt x="2359" y="468"/>
                  </a:lnTo>
                  <a:lnTo>
                    <a:pt x="2362" y="468"/>
                  </a:lnTo>
                  <a:lnTo>
                    <a:pt x="2362" y="468"/>
                  </a:lnTo>
                  <a:lnTo>
                    <a:pt x="2364" y="470"/>
                  </a:lnTo>
                  <a:lnTo>
                    <a:pt x="2364" y="470"/>
                  </a:lnTo>
                  <a:lnTo>
                    <a:pt x="2366" y="470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3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6" y="475"/>
                  </a:lnTo>
                  <a:lnTo>
                    <a:pt x="2368" y="477"/>
                  </a:lnTo>
                  <a:lnTo>
                    <a:pt x="2368" y="477"/>
                  </a:lnTo>
                  <a:lnTo>
                    <a:pt x="2366" y="477"/>
                  </a:lnTo>
                  <a:lnTo>
                    <a:pt x="2366" y="477"/>
                  </a:lnTo>
                  <a:lnTo>
                    <a:pt x="2366" y="479"/>
                  </a:lnTo>
                  <a:lnTo>
                    <a:pt x="2366" y="479"/>
                  </a:lnTo>
                  <a:lnTo>
                    <a:pt x="2366" y="479"/>
                  </a:lnTo>
                  <a:lnTo>
                    <a:pt x="2368" y="482"/>
                  </a:lnTo>
                  <a:lnTo>
                    <a:pt x="2368" y="482"/>
                  </a:lnTo>
                  <a:lnTo>
                    <a:pt x="2368" y="482"/>
                  </a:lnTo>
                  <a:lnTo>
                    <a:pt x="2371" y="484"/>
                  </a:lnTo>
                  <a:lnTo>
                    <a:pt x="2371" y="484"/>
                  </a:lnTo>
                  <a:lnTo>
                    <a:pt x="2373" y="486"/>
                  </a:lnTo>
                  <a:lnTo>
                    <a:pt x="2375" y="486"/>
                  </a:lnTo>
                  <a:lnTo>
                    <a:pt x="2375" y="486"/>
                  </a:lnTo>
                  <a:lnTo>
                    <a:pt x="2375" y="488"/>
                  </a:lnTo>
                  <a:lnTo>
                    <a:pt x="2377" y="488"/>
                  </a:lnTo>
                  <a:lnTo>
                    <a:pt x="2377" y="488"/>
                  </a:lnTo>
                  <a:lnTo>
                    <a:pt x="2377" y="488"/>
                  </a:lnTo>
                  <a:lnTo>
                    <a:pt x="2380" y="491"/>
                  </a:lnTo>
                  <a:lnTo>
                    <a:pt x="2380" y="491"/>
                  </a:lnTo>
                  <a:lnTo>
                    <a:pt x="2380" y="493"/>
                  </a:lnTo>
                  <a:lnTo>
                    <a:pt x="2382" y="493"/>
                  </a:lnTo>
                  <a:lnTo>
                    <a:pt x="2384" y="493"/>
                  </a:lnTo>
                  <a:lnTo>
                    <a:pt x="2384" y="493"/>
                  </a:lnTo>
                  <a:lnTo>
                    <a:pt x="2384" y="493"/>
                  </a:lnTo>
                  <a:lnTo>
                    <a:pt x="2384" y="493"/>
                  </a:lnTo>
                  <a:lnTo>
                    <a:pt x="2384" y="493"/>
                  </a:lnTo>
                  <a:lnTo>
                    <a:pt x="2386" y="493"/>
                  </a:lnTo>
                  <a:lnTo>
                    <a:pt x="2386" y="493"/>
                  </a:lnTo>
                  <a:lnTo>
                    <a:pt x="2386" y="493"/>
                  </a:lnTo>
                  <a:lnTo>
                    <a:pt x="2389" y="493"/>
                  </a:lnTo>
                  <a:lnTo>
                    <a:pt x="2389" y="493"/>
                  </a:lnTo>
                  <a:lnTo>
                    <a:pt x="2389" y="493"/>
                  </a:lnTo>
                  <a:lnTo>
                    <a:pt x="2389" y="493"/>
                  </a:lnTo>
                  <a:lnTo>
                    <a:pt x="2389" y="493"/>
                  </a:lnTo>
                  <a:lnTo>
                    <a:pt x="2391" y="493"/>
                  </a:lnTo>
                  <a:lnTo>
                    <a:pt x="2391" y="495"/>
                  </a:lnTo>
                  <a:lnTo>
                    <a:pt x="2391" y="495"/>
                  </a:lnTo>
                  <a:lnTo>
                    <a:pt x="2391" y="495"/>
                  </a:lnTo>
                  <a:lnTo>
                    <a:pt x="2391" y="495"/>
                  </a:lnTo>
                  <a:lnTo>
                    <a:pt x="2391" y="495"/>
                  </a:lnTo>
                  <a:lnTo>
                    <a:pt x="2393" y="497"/>
                  </a:lnTo>
                  <a:lnTo>
                    <a:pt x="2393" y="497"/>
                  </a:lnTo>
                  <a:lnTo>
                    <a:pt x="2393" y="497"/>
                  </a:lnTo>
                  <a:lnTo>
                    <a:pt x="2395" y="497"/>
                  </a:lnTo>
                  <a:lnTo>
                    <a:pt x="2395" y="497"/>
                  </a:lnTo>
                  <a:lnTo>
                    <a:pt x="2395" y="500"/>
                  </a:lnTo>
                  <a:lnTo>
                    <a:pt x="2395" y="500"/>
                  </a:lnTo>
                  <a:lnTo>
                    <a:pt x="2395" y="500"/>
                  </a:lnTo>
                  <a:lnTo>
                    <a:pt x="2395" y="500"/>
                  </a:lnTo>
                  <a:lnTo>
                    <a:pt x="2395" y="500"/>
                  </a:lnTo>
                  <a:lnTo>
                    <a:pt x="2398" y="500"/>
                  </a:lnTo>
                  <a:lnTo>
                    <a:pt x="2398" y="500"/>
                  </a:lnTo>
                  <a:lnTo>
                    <a:pt x="2398" y="500"/>
                  </a:lnTo>
                  <a:lnTo>
                    <a:pt x="2398" y="500"/>
                  </a:lnTo>
                  <a:lnTo>
                    <a:pt x="2398" y="500"/>
                  </a:lnTo>
                  <a:lnTo>
                    <a:pt x="2400" y="502"/>
                  </a:lnTo>
                  <a:lnTo>
                    <a:pt x="2400" y="502"/>
                  </a:lnTo>
                  <a:lnTo>
                    <a:pt x="2402" y="502"/>
                  </a:lnTo>
                  <a:lnTo>
                    <a:pt x="2402" y="502"/>
                  </a:lnTo>
                  <a:lnTo>
                    <a:pt x="2402" y="504"/>
                  </a:lnTo>
                  <a:lnTo>
                    <a:pt x="2402" y="504"/>
                  </a:lnTo>
                  <a:lnTo>
                    <a:pt x="2404" y="504"/>
                  </a:lnTo>
                  <a:lnTo>
                    <a:pt x="2404" y="504"/>
                  </a:lnTo>
                  <a:lnTo>
                    <a:pt x="2404" y="504"/>
                  </a:lnTo>
                  <a:lnTo>
                    <a:pt x="2404" y="506"/>
                  </a:lnTo>
                  <a:lnTo>
                    <a:pt x="2404" y="506"/>
                  </a:lnTo>
                  <a:lnTo>
                    <a:pt x="2402" y="506"/>
                  </a:lnTo>
                  <a:lnTo>
                    <a:pt x="2402" y="506"/>
                  </a:lnTo>
                  <a:lnTo>
                    <a:pt x="2402" y="506"/>
                  </a:lnTo>
                  <a:lnTo>
                    <a:pt x="2402" y="506"/>
                  </a:lnTo>
                  <a:lnTo>
                    <a:pt x="2402" y="509"/>
                  </a:lnTo>
                  <a:lnTo>
                    <a:pt x="2402" y="509"/>
                  </a:lnTo>
                  <a:lnTo>
                    <a:pt x="2404" y="509"/>
                  </a:lnTo>
                  <a:lnTo>
                    <a:pt x="2404" y="509"/>
                  </a:lnTo>
                  <a:lnTo>
                    <a:pt x="2404" y="509"/>
                  </a:lnTo>
                  <a:lnTo>
                    <a:pt x="2402" y="509"/>
                  </a:lnTo>
                  <a:lnTo>
                    <a:pt x="2402" y="509"/>
                  </a:lnTo>
                  <a:lnTo>
                    <a:pt x="2402" y="509"/>
                  </a:lnTo>
                  <a:lnTo>
                    <a:pt x="2402" y="509"/>
                  </a:lnTo>
                  <a:lnTo>
                    <a:pt x="2400" y="509"/>
                  </a:lnTo>
                  <a:lnTo>
                    <a:pt x="2400" y="509"/>
                  </a:lnTo>
                  <a:lnTo>
                    <a:pt x="2398" y="509"/>
                  </a:lnTo>
                  <a:lnTo>
                    <a:pt x="2398" y="509"/>
                  </a:lnTo>
                  <a:lnTo>
                    <a:pt x="2395" y="506"/>
                  </a:lnTo>
                  <a:lnTo>
                    <a:pt x="2395" y="506"/>
                  </a:lnTo>
                  <a:lnTo>
                    <a:pt x="2393" y="506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4"/>
                  </a:lnTo>
                  <a:lnTo>
                    <a:pt x="2391" y="502"/>
                  </a:lnTo>
                  <a:lnTo>
                    <a:pt x="2391" y="502"/>
                  </a:lnTo>
                  <a:lnTo>
                    <a:pt x="2391" y="502"/>
                  </a:lnTo>
                  <a:lnTo>
                    <a:pt x="2391" y="502"/>
                  </a:lnTo>
                  <a:lnTo>
                    <a:pt x="2391" y="502"/>
                  </a:lnTo>
                  <a:lnTo>
                    <a:pt x="2393" y="500"/>
                  </a:lnTo>
                  <a:lnTo>
                    <a:pt x="2393" y="500"/>
                  </a:lnTo>
                  <a:lnTo>
                    <a:pt x="2393" y="500"/>
                  </a:lnTo>
                  <a:lnTo>
                    <a:pt x="2393" y="500"/>
                  </a:lnTo>
                  <a:lnTo>
                    <a:pt x="2393" y="497"/>
                  </a:lnTo>
                  <a:lnTo>
                    <a:pt x="2391" y="497"/>
                  </a:lnTo>
                  <a:lnTo>
                    <a:pt x="2391" y="497"/>
                  </a:lnTo>
                  <a:lnTo>
                    <a:pt x="2389" y="497"/>
                  </a:lnTo>
                  <a:lnTo>
                    <a:pt x="2391" y="500"/>
                  </a:lnTo>
                  <a:lnTo>
                    <a:pt x="2391" y="500"/>
                  </a:lnTo>
                  <a:lnTo>
                    <a:pt x="2391" y="500"/>
                  </a:lnTo>
                  <a:lnTo>
                    <a:pt x="2389" y="500"/>
                  </a:lnTo>
                  <a:lnTo>
                    <a:pt x="2386" y="500"/>
                  </a:lnTo>
                  <a:lnTo>
                    <a:pt x="2386" y="500"/>
                  </a:lnTo>
                  <a:lnTo>
                    <a:pt x="2386" y="500"/>
                  </a:lnTo>
                  <a:lnTo>
                    <a:pt x="2386" y="500"/>
                  </a:lnTo>
                  <a:lnTo>
                    <a:pt x="2386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0"/>
                  </a:lnTo>
                  <a:lnTo>
                    <a:pt x="2384" y="502"/>
                  </a:lnTo>
                  <a:lnTo>
                    <a:pt x="2384" y="502"/>
                  </a:lnTo>
                  <a:lnTo>
                    <a:pt x="2384" y="502"/>
                  </a:lnTo>
                  <a:lnTo>
                    <a:pt x="2384" y="502"/>
                  </a:lnTo>
                  <a:lnTo>
                    <a:pt x="2382" y="502"/>
                  </a:lnTo>
                  <a:lnTo>
                    <a:pt x="2384" y="502"/>
                  </a:lnTo>
                  <a:lnTo>
                    <a:pt x="2386" y="502"/>
                  </a:lnTo>
                  <a:lnTo>
                    <a:pt x="2386" y="502"/>
                  </a:lnTo>
                  <a:lnTo>
                    <a:pt x="2389" y="502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9" y="504"/>
                  </a:lnTo>
                  <a:lnTo>
                    <a:pt x="2386" y="506"/>
                  </a:lnTo>
                  <a:lnTo>
                    <a:pt x="2386" y="506"/>
                  </a:lnTo>
                  <a:lnTo>
                    <a:pt x="2386" y="506"/>
                  </a:lnTo>
                  <a:lnTo>
                    <a:pt x="2386" y="506"/>
                  </a:lnTo>
                  <a:lnTo>
                    <a:pt x="2384" y="506"/>
                  </a:lnTo>
                  <a:lnTo>
                    <a:pt x="2384" y="506"/>
                  </a:lnTo>
                  <a:lnTo>
                    <a:pt x="2384" y="509"/>
                  </a:lnTo>
                  <a:lnTo>
                    <a:pt x="2384" y="509"/>
                  </a:lnTo>
                  <a:lnTo>
                    <a:pt x="2384" y="509"/>
                  </a:lnTo>
                  <a:lnTo>
                    <a:pt x="2386" y="509"/>
                  </a:lnTo>
                  <a:lnTo>
                    <a:pt x="2386" y="509"/>
                  </a:lnTo>
                  <a:lnTo>
                    <a:pt x="2386" y="509"/>
                  </a:lnTo>
                  <a:lnTo>
                    <a:pt x="2386" y="509"/>
                  </a:lnTo>
                  <a:lnTo>
                    <a:pt x="2386" y="511"/>
                  </a:lnTo>
                  <a:lnTo>
                    <a:pt x="2386" y="511"/>
                  </a:lnTo>
                  <a:lnTo>
                    <a:pt x="2389" y="513"/>
                  </a:lnTo>
                  <a:lnTo>
                    <a:pt x="2389" y="513"/>
                  </a:lnTo>
                  <a:lnTo>
                    <a:pt x="2389" y="513"/>
                  </a:lnTo>
                  <a:lnTo>
                    <a:pt x="2389" y="515"/>
                  </a:lnTo>
                  <a:lnTo>
                    <a:pt x="2389" y="515"/>
                  </a:lnTo>
                  <a:lnTo>
                    <a:pt x="2391" y="518"/>
                  </a:lnTo>
                  <a:lnTo>
                    <a:pt x="2391" y="518"/>
                  </a:lnTo>
                  <a:lnTo>
                    <a:pt x="2391" y="518"/>
                  </a:lnTo>
                  <a:lnTo>
                    <a:pt x="2391" y="518"/>
                  </a:lnTo>
                  <a:lnTo>
                    <a:pt x="2391" y="520"/>
                  </a:lnTo>
                  <a:lnTo>
                    <a:pt x="2393" y="520"/>
                  </a:lnTo>
                  <a:lnTo>
                    <a:pt x="2393" y="522"/>
                  </a:lnTo>
                  <a:lnTo>
                    <a:pt x="2393" y="522"/>
                  </a:lnTo>
                  <a:lnTo>
                    <a:pt x="2395" y="524"/>
                  </a:lnTo>
                  <a:lnTo>
                    <a:pt x="2398" y="524"/>
                  </a:lnTo>
                  <a:lnTo>
                    <a:pt x="2398" y="524"/>
                  </a:lnTo>
                  <a:lnTo>
                    <a:pt x="2398" y="524"/>
                  </a:lnTo>
                  <a:lnTo>
                    <a:pt x="2400" y="527"/>
                  </a:lnTo>
                  <a:lnTo>
                    <a:pt x="2402" y="529"/>
                  </a:lnTo>
                  <a:lnTo>
                    <a:pt x="2402" y="529"/>
                  </a:lnTo>
                  <a:lnTo>
                    <a:pt x="2407" y="531"/>
                  </a:lnTo>
                  <a:lnTo>
                    <a:pt x="2407" y="531"/>
                  </a:lnTo>
                  <a:lnTo>
                    <a:pt x="2409" y="531"/>
                  </a:lnTo>
                  <a:lnTo>
                    <a:pt x="2409" y="531"/>
                  </a:lnTo>
                  <a:lnTo>
                    <a:pt x="2413" y="533"/>
                  </a:lnTo>
                  <a:lnTo>
                    <a:pt x="2413" y="533"/>
                  </a:lnTo>
                  <a:lnTo>
                    <a:pt x="2416" y="536"/>
                  </a:lnTo>
                  <a:lnTo>
                    <a:pt x="2416" y="536"/>
                  </a:lnTo>
                  <a:lnTo>
                    <a:pt x="2416" y="536"/>
                  </a:lnTo>
                  <a:lnTo>
                    <a:pt x="2416" y="536"/>
                  </a:lnTo>
                  <a:lnTo>
                    <a:pt x="2416" y="536"/>
                  </a:lnTo>
                  <a:lnTo>
                    <a:pt x="2416" y="536"/>
                  </a:lnTo>
                  <a:lnTo>
                    <a:pt x="2416" y="536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38"/>
                  </a:lnTo>
                  <a:lnTo>
                    <a:pt x="2418" y="540"/>
                  </a:lnTo>
                  <a:lnTo>
                    <a:pt x="2418" y="540"/>
                  </a:lnTo>
                  <a:lnTo>
                    <a:pt x="2418" y="540"/>
                  </a:lnTo>
                  <a:lnTo>
                    <a:pt x="2418" y="540"/>
                  </a:lnTo>
                  <a:lnTo>
                    <a:pt x="2418" y="540"/>
                  </a:lnTo>
                  <a:lnTo>
                    <a:pt x="2418" y="540"/>
                  </a:lnTo>
                  <a:lnTo>
                    <a:pt x="2418" y="540"/>
                  </a:lnTo>
                  <a:lnTo>
                    <a:pt x="2416" y="540"/>
                  </a:lnTo>
                  <a:lnTo>
                    <a:pt x="2416" y="540"/>
                  </a:lnTo>
                  <a:lnTo>
                    <a:pt x="2416" y="540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8" y="542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6" y="542"/>
                  </a:lnTo>
                  <a:lnTo>
                    <a:pt x="2413" y="542"/>
                  </a:lnTo>
                  <a:lnTo>
                    <a:pt x="2411" y="542"/>
                  </a:lnTo>
                  <a:lnTo>
                    <a:pt x="2411" y="545"/>
                  </a:lnTo>
                  <a:lnTo>
                    <a:pt x="2409" y="545"/>
                  </a:lnTo>
                  <a:lnTo>
                    <a:pt x="2409" y="542"/>
                  </a:lnTo>
                  <a:lnTo>
                    <a:pt x="2409" y="542"/>
                  </a:lnTo>
                  <a:lnTo>
                    <a:pt x="2409" y="542"/>
                  </a:lnTo>
                  <a:lnTo>
                    <a:pt x="2407" y="542"/>
                  </a:lnTo>
                  <a:lnTo>
                    <a:pt x="2407" y="542"/>
                  </a:lnTo>
                  <a:lnTo>
                    <a:pt x="2407" y="542"/>
                  </a:lnTo>
                  <a:lnTo>
                    <a:pt x="2407" y="542"/>
                  </a:lnTo>
                  <a:lnTo>
                    <a:pt x="2404" y="542"/>
                  </a:lnTo>
                  <a:lnTo>
                    <a:pt x="2402" y="542"/>
                  </a:lnTo>
                  <a:lnTo>
                    <a:pt x="2400" y="542"/>
                  </a:lnTo>
                  <a:lnTo>
                    <a:pt x="2398" y="542"/>
                  </a:lnTo>
                  <a:lnTo>
                    <a:pt x="2398" y="542"/>
                  </a:lnTo>
                  <a:lnTo>
                    <a:pt x="2398" y="542"/>
                  </a:lnTo>
                  <a:lnTo>
                    <a:pt x="2398" y="545"/>
                  </a:lnTo>
                  <a:lnTo>
                    <a:pt x="2398" y="545"/>
                  </a:lnTo>
                  <a:lnTo>
                    <a:pt x="2398" y="547"/>
                  </a:lnTo>
                  <a:lnTo>
                    <a:pt x="2398" y="547"/>
                  </a:lnTo>
                  <a:lnTo>
                    <a:pt x="2395" y="549"/>
                  </a:lnTo>
                  <a:lnTo>
                    <a:pt x="2395" y="549"/>
                  </a:lnTo>
                  <a:lnTo>
                    <a:pt x="2395" y="549"/>
                  </a:lnTo>
                  <a:lnTo>
                    <a:pt x="2395" y="549"/>
                  </a:lnTo>
                  <a:lnTo>
                    <a:pt x="2395" y="549"/>
                  </a:lnTo>
                  <a:lnTo>
                    <a:pt x="2395" y="549"/>
                  </a:lnTo>
                  <a:lnTo>
                    <a:pt x="2395" y="551"/>
                  </a:lnTo>
                  <a:lnTo>
                    <a:pt x="2395" y="551"/>
                  </a:lnTo>
                  <a:lnTo>
                    <a:pt x="2395" y="554"/>
                  </a:lnTo>
                  <a:lnTo>
                    <a:pt x="2395" y="554"/>
                  </a:lnTo>
                  <a:lnTo>
                    <a:pt x="2395" y="554"/>
                  </a:lnTo>
                  <a:lnTo>
                    <a:pt x="2398" y="556"/>
                  </a:lnTo>
                  <a:lnTo>
                    <a:pt x="2400" y="560"/>
                  </a:lnTo>
                  <a:lnTo>
                    <a:pt x="2402" y="560"/>
                  </a:lnTo>
                  <a:lnTo>
                    <a:pt x="2402" y="563"/>
                  </a:lnTo>
                  <a:lnTo>
                    <a:pt x="2402" y="563"/>
                  </a:lnTo>
                  <a:lnTo>
                    <a:pt x="2402" y="563"/>
                  </a:lnTo>
                  <a:lnTo>
                    <a:pt x="2402" y="563"/>
                  </a:lnTo>
                  <a:lnTo>
                    <a:pt x="2402" y="563"/>
                  </a:lnTo>
                  <a:lnTo>
                    <a:pt x="2404" y="563"/>
                  </a:lnTo>
                  <a:lnTo>
                    <a:pt x="2404" y="563"/>
                  </a:lnTo>
                  <a:lnTo>
                    <a:pt x="2407" y="565"/>
                  </a:lnTo>
                  <a:lnTo>
                    <a:pt x="2404" y="563"/>
                  </a:lnTo>
                  <a:lnTo>
                    <a:pt x="2404" y="563"/>
                  </a:lnTo>
                  <a:lnTo>
                    <a:pt x="2404" y="563"/>
                  </a:lnTo>
                  <a:lnTo>
                    <a:pt x="2404" y="563"/>
                  </a:lnTo>
                  <a:lnTo>
                    <a:pt x="2404" y="563"/>
                  </a:lnTo>
                  <a:lnTo>
                    <a:pt x="2404" y="563"/>
                  </a:lnTo>
                  <a:lnTo>
                    <a:pt x="2407" y="565"/>
                  </a:lnTo>
                  <a:lnTo>
                    <a:pt x="2407" y="565"/>
                  </a:lnTo>
                  <a:lnTo>
                    <a:pt x="2409" y="567"/>
                  </a:lnTo>
                  <a:lnTo>
                    <a:pt x="2409" y="567"/>
                  </a:lnTo>
                  <a:lnTo>
                    <a:pt x="2409" y="567"/>
                  </a:lnTo>
                  <a:lnTo>
                    <a:pt x="2407" y="567"/>
                  </a:lnTo>
                  <a:lnTo>
                    <a:pt x="2407" y="565"/>
                  </a:lnTo>
                  <a:lnTo>
                    <a:pt x="2407" y="565"/>
                  </a:lnTo>
                  <a:lnTo>
                    <a:pt x="2404" y="565"/>
                  </a:lnTo>
                  <a:lnTo>
                    <a:pt x="2404" y="565"/>
                  </a:lnTo>
                  <a:lnTo>
                    <a:pt x="2404" y="565"/>
                  </a:lnTo>
                  <a:lnTo>
                    <a:pt x="2404" y="565"/>
                  </a:lnTo>
                  <a:lnTo>
                    <a:pt x="2407" y="565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7" y="567"/>
                  </a:lnTo>
                  <a:lnTo>
                    <a:pt x="2409" y="567"/>
                  </a:lnTo>
                  <a:lnTo>
                    <a:pt x="2409" y="567"/>
                  </a:lnTo>
                  <a:lnTo>
                    <a:pt x="2409" y="567"/>
                  </a:lnTo>
                  <a:lnTo>
                    <a:pt x="2409" y="567"/>
                  </a:lnTo>
                  <a:lnTo>
                    <a:pt x="2409" y="569"/>
                  </a:lnTo>
                  <a:lnTo>
                    <a:pt x="2409" y="569"/>
                  </a:lnTo>
                  <a:lnTo>
                    <a:pt x="2411" y="569"/>
                  </a:lnTo>
                  <a:lnTo>
                    <a:pt x="2411" y="569"/>
                  </a:lnTo>
                  <a:lnTo>
                    <a:pt x="2411" y="569"/>
                  </a:lnTo>
                  <a:lnTo>
                    <a:pt x="2411" y="569"/>
                  </a:lnTo>
                  <a:lnTo>
                    <a:pt x="2411" y="569"/>
                  </a:lnTo>
                  <a:lnTo>
                    <a:pt x="2411" y="569"/>
                  </a:lnTo>
                  <a:lnTo>
                    <a:pt x="2411" y="569"/>
                  </a:lnTo>
                  <a:lnTo>
                    <a:pt x="2413" y="569"/>
                  </a:lnTo>
                  <a:lnTo>
                    <a:pt x="2413" y="569"/>
                  </a:lnTo>
                  <a:lnTo>
                    <a:pt x="2413" y="569"/>
                  </a:lnTo>
                  <a:lnTo>
                    <a:pt x="2413" y="572"/>
                  </a:lnTo>
                  <a:lnTo>
                    <a:pt x="2413" y="572"/>
                  </a:lnTo>
                  <a:lnTo>
                    <a:pt x="2413" y="572"/>
                  </a:lnTo>
                  <a:lnTo>
                    <a:pt x="2413" y="572"/>
                  </a:lnTo>
                  <a:lnTo>
                    <a:pt x="2413" y="572"/>
                  </a:lnTo>
                  <a:lnTo>
                    <a:pt x="2416" y="572"/>
                  </a:lnTo>
                  <a:lnTo>
                    <a:pt x="2416" y="572"/>
                  </a:lnTo>
                  <a:lnTo>
                    <a:pt x="2413" y="572"/>
                  </a:lnTo>
                  <a:lnTo>
                    <a:pt x="2416" y="572"/>
                  </a:lnTo>
                  <a:lnTo>
                    <a:pt x="2416" y="572"/>
                  </a:lnTo>
                  <a:lnTo>
                    <a:pt x="2416" y="572"/>
                  </a:lnTo>
                  <a:lnTo>
                    <a:pt x="2416" y="572"/>
                  </a:lnTo>
                  <a:lnTo>
                    <a:pt x="2416" y="572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20" y="576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8" y="574"/>
                  </a:lnTo>
                  <a:lnTo>
                    <a:pt x="2416" y="574"/>
                  </a:lnTo>
                  <a:lnTo>
                    <a:pt x="2413" y="574"/>
                  </a:lnTo>
                  <a:lnTo>
                    <a:pt x="2411" y="574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11" y="572"/>
                  </a:lnTo>
                  <a:lnTo>
                    <a:pt x="2409" y="572"/>
                  </a:lnTo>
                  <a:lnTo>
                    <a:pt x="2409" y="572"/>
                  </a:lnTo>
                  <a:lnTo>
                    <a:pt x="2409" y="572"/>
                  </a:lnTo>
                  <a:lnTo>
                    <a:pt x="2407" y="572"/>
                  </a:lnTo>
                  <a:lnTo>
                    <a:pt x="2407" y="572"/>
                  </a:lnTo>
                  <a:lnTo>
                    <a:pt x="2407" y="572"/>
                  </a:lnTo>
                  <a:lnTo>
                    <a:pt x="2407" y="572"/>
                  </a:lnTo>
                  <a:lnTo>
                    <a:pt x="2407" y="574"/>
                  </a:lnTo>
                  <a:lnTo>
                    <a:pt x="2407" y="574"/>
                  </a:lnTo>
                  <a:lnTo>
                    <a:pt x="2404" y="574"/>
                  </a:lnTo>
                  <a:lnTo>
                    <a:pt x="2404" y="574"/>
                  </a:lnTo>
                  <a:lnTo>
                    <a:pt x="2404" y="574"/>
                  </a:lnTo>
                  <a:lnTo>
                    <a:pt x="2404" y="574"/>
                  </a:lnTo>
                  <a:lnTo>
                    <a:pt x="2404" y="574"/>
                  </a:lnTo>
                  <a:lnTo>
                    <a:pt x="2404" y="574"/>
                  </a:lnTo>
                  <a:lnTo>
                    <a:pt x="2404" y="574"/>
                  </a:lnTo>
                  <a:lnTo>
                    <a:pt x="2402" y="574"/>
                  </a:lnTo>
                  <a:lnTo>
                    <a:pt x="2402" y="576"/>
                  </a:lnTo>
                  <a:lnTo>
                    <a:pt x="2400" y="578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395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6"/>
                  </a:lnTo>
                  <a:lnTo>
                    <a:pt x="2393" y="578"/>
                  </a:lnTo>
                  <a:lnTo>
                    <a:pt x="2393" y="578"/>
                  </a:lnTo>
                  <a:lnTo>
                    <a:pt x="2393" y="578"/>
                  </a:lnTo>
                  <a:lnTo>
                    <a:pt x="2393" y="578"/>
                  </a:lnTo>
                  <a:lnTo>
                    <a:pt x="2393" y="578"/>
                  </a:lnTo>
                  <a:lnTo>
                    <a:pt x="2393" y="578"/>
                  </a:lnTo>
                  <a:lnTo>
                    <a:pt x="2393" y="578"/>
                  </a:lnTo>
                  <a:lnTo>
                    <a:pt x="2395" y="578"/>
                  </a:lnTo>
                  <a:lnTo>
                    <a:pt x="2395" y="581"/>
                  </a:lnTo>
                  <a:lnTo>
                    <a:pt x="2395" y="581"/>
                  </a:lnTo>
                  <a:lnTo>
                    <a:pt x="2398" y="581"/>
                  </a:lnTo>
                  <a:lnTo>
                    <a:pt x="2395" y="578"/>
                  </a:lnTo>
                  <a:lnTo>
                    <a:pt x="2395" y="578"/>
                  </a:lnTo>
                  <a:lnTo>
                    <a:pt x="2395" y="578"/>
                  </a:lnTo>
                  <a:lnTo>
                    <a:pt x="2395" y="578"/>
                  </a:lnTo>
                  <a:lnTo>
                    <a:pt x="2395" y="578"/>
                  </a:lnTo>
                  <a:lnTo>
                    <a:pt x="2395" y="578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398" y="578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398" y="581"/>
                  </a:lnTo>
                  <a:lnTo>
                    <a:pt x="2398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400" y="581"/>
                  </a:lnTo>
                  <a:lnTo>
                    <a:pt x="2398" y="581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0" y="583"/>
                  </a:lnTo>
                  <a:lnTo>
                    <a:pt x="2402" y="583"/>
                  </a:lnTo>
                  <a:lnTo>
                    <a:pt x="2402" y="583"/>
                  </a:lnTo>
                  <a:lnTo>
                    <a:pt x="2402" y="583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0" y="585"/>
                  </a:lnTo>
                  <a:lnTo>
                    <a:pt x="2400" y="585"/>
                  </a:lnTo>
                  <a:lnTo>
                    <a:pt x="2400" y="585"/>
                  </a:lnTo>
                  <a:lnTo>
                    <a:pt x="2400" y="585"/>
                  </a:lnTo>
                  <a:lnTo>
                    <a:pt x="2400" y="585"/>
                  </a:lnTo>
                  <a:lnTo>
                    <a:pt x="2402" y="585"/>
                  </a:lnTo>
                  <a:lnTo>
                    <a:pt x="2402" y="585"/>
                  </a:lnTo>
                  <a:lnTo>
                    <a:pt x="2402" y="587"/>
                  </a:lnTo>
                  <a:lnTo>
                    <a:pt x="2402" y="587"/>
                  </a:lnTo>
                  <a:lnTo>
                    <a:pt x="2402" y="587"/>
                  </a:lnTo>
                  <a:lnTo>
                    <a:pt x="2404" y="587"/>
                  </a:lnTo>
                  <a:lnTo>
                    <a:pt x="2404" y="587"/>
                  </a:lnTo>
                  <a:lnTo>
                    <a:pt x="2404" y="587"/>
                  </a:lnTo>
                  <a:lnTo>
                    <a:pt x="2404" y="587"/>
                  </a:lnTo>
                  <a:lnTo>
                    <a:pt x="2404" y="587"/>
                  </a:lnTo>
                  <a:lnTo>
                    <a:pt x="2404" y="587"/>
                  </a:lnTo>
                  <a:lnTo>
                    <a:pt x="2404" y="587"/>
                  </a:lnTo>
                  <a:lnTo>
                    <a:pt x="2404" y="590"/>
                  </a:lnTo>
                  <a:lnTo>
                    <a:pt x="2404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4" y="590"/>
                  </a:lnTo>
                  <a:lnTo>
                    <a:pt x="2404" y="590"/>
                  </a:lnTo>
                  <a:lnTo>
                    <a:pt x="2404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4" y="592"/>
                  </a:lnTo>
                  <a:lnTo>
                    <a:pt x="2407" y="592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7" y="590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09" y="592"/>
                  </a:lnTo>
                  <a:lnTo>
                    <a:pt x="2411" y="594"/>
                  </a:lnTo>
                  <a:lnTo>
                    <a:pt x="2411" y="594"/>
                  </a:lnTo>
                  <a:lnTo>
                    <a:pt x="2411" y="594"/>
                  </a:lnTo>
                  <a:lnTo>
                    <a:pt x="2411" y="594"/>
                  </a:lnTo>
                  <a:lnTo>
                    <a:pt x="2411" y="594"/>
                  </a:lnTo>
                  <a:lnTo>
                    <a:pt x="2409" y="594"/>
                  </a:lnTo>
                  <a:lnTo>
                    <a:pt x="2409" y="594"/>
                  </a:lnTo>
                  <a:lnTo>
                    <a:pt x="2409" y="594"/>
                  </a:lnTo>
                  <a:lnTo>
                    <a:pt x="2409" y="594"/>
                  </a:lnTo>
                  <a:lnTo>
                    <a:pt x="2409" y="594"/>
                  </a:lnTo>
                  <a:lnTo>
                    <a:pt x="2409" y="596"/>
                  </a:lnTo>
                  <a:lnTo>
                    <a:pt x="2409" y="596"/>
                  </a:lnTo>
                  <a:lnTo>
                    <a:pt x="2411" y="596"/>
                  </a:lnTo>
                  <a:lnTo>
                    <a:pt x="2411" y="596"/>
                  </a:lnTo>
                  <a:lnTo>
                    <a:pt x="2411" y="596"/>
                  </a:lnTo>
                  <a:lnTo>
                    <a:pt x="2411" y="596"/>
                  </a:lnTo>
                  <a:lnTo>
                    <a:pt x="2411" y="596"/>
                  </a:lnTo>
                  <a:lnTo>
                    <a:pt x="2411" y="596"/>
                  </a:lnTo>
                  <a:lnTo>
                    <a:pt x="2411" y="596"/>
                  </a:lnTo>
                  <a:lnTo>
                    <a:pt x="2409" y="596"/>
                  </a:lnTo>
                  <a:lnTo>
                    <a:pt x="2409" y="596"/>
                  </a:lnTo>
                  <a:lnTo>
                    <a:pt x="2409" y="596"/>
                  </a:lnTo>
                  <a:lnTo>
                    <a:pt x="2409" y="596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599"/>
                  </a:lnTo>
                  <a:lnTo>
                    <a:pt x="2411" y="601"/>
                  </a:lnTo>
                  <a:lnTo>
                    <a:pt x="2413" y="601"/>
                  </a:lnTo>
                  <a:lnTo>
                    <a:pt x="2413" y="601"/>
                  </a:lnTo>
                  <a:lnTo>
                    <a:pt x="2413" y="601"/>
                  </a:lnTo>
                  <a:lnTo>
                    <a:pt x="2413" y="601"/>
                  </a:lnTo>
                  <a:lnTo>
                    <a:pt x="2413" y="603"/>
                  </a:lnTo>
                  <a:lnTo>
                    <a:pt x="2413" y="603"/>
                  </a:lnTo>
                  <a:lnTo>
                    <a:pt x="2413" y="603"/>
                  </a:lnTo>
                  <a:lnTo>
                    <a:pt x="2413" y="603"/>
                  </a:lnTo>
                  <a:lnTo>
                    <a:pt x="2413" y="605"/>
                  </a:lnTo>
                  <a:lnTo>
                    <a:pt x="2413" y="605"/>
                  </a:lnTo>
                  <a:lnTo>
                    <a:pt x="2411" y="605"/>
                  </a:lnTo>
                  <a:lnTo>
                    <a:pt x="2411" y="605"/>
                  </a:lnTo>
                  <a:lnTo>
                    <a:pt x="2413" y="605"/>
                  </a:lnTo>
                  <a:lnTo>
                    <a:pt x="2413" y="605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08"/>
                  </a:lnTo>
                  <a:lnTo>
                    <a:pt x="2413" y="610"/>
                  </a:lnTo>
                  <a:lnTo>
                    <a:pt x="2411" y="610"/>
                  </a:lnTo>
                  <a:lnTo>
                    <a:pt x="2411" y="610"/>
                  </a:lnTo>
                  <a:lnTo>
                    <a:pt x="2411" y="610"/>
                  </a:lnTo>
                  <a:lnTo>
                    <a:pt x="2409" y="610"/>
                  </a:lnTo>
                  <a:lnTo>
                    <a:pt x="2409" y="612"/>
                  </a:lnTo>
                  <a:lnTo>
                    <a:pt x="2409" y="612"/>
                  </a:lnTo>
                  <a:lnTo>
                    <a:pt x="2411" y="614"/>
                  </a:lnTo>
                  <a:lnTo>
                    <a:pt x="2411" y="614"/>
                  </a:lnTo>
                  <a:lnTo>
                    <a:pt x="2411" y="614"/>
                  </a:lnTo>
                  <a:lnTo>
                    <a:pt x="2411" y="614"/>
                  </a:lnTo>
                  <a:lnTo>
                    <a:pt x="2411" y="614"/>
                  </a:lnTo>
                  <a:lnTo>
                    <a:pt x="2409" y="614"/>
                  </a:lnTo>
                  <a:lnTo>
                    <a:pt x="2409" y="617"/>
                  </a:lnTo>
                  <a:lnTo>
                    <a:pt x="2409" y="617"/>
                  </a:lnTo>
                  <a:lnTo>
                    <a:pt x="2409" y="617"/>
                  </a:lnTo>
                  <a:lnTo>
                    <a:pt x="2409" y="617"/>
                  </a:lnTo>
                  <a:lnTo>
                    <a:pt x="2409" y="619"/>
                  </a:lnTo>
                  <a:lnTo>
                    <a:pt x="2409" y="619"/>
                  </a:lnTo>
                  <a:lnTo>
                    <a:pt x="2409" y="619"/>
                  </a:lnTo>
                  <a:lnTo>
                    <a:pt x="2409" y="621"/>
                  </a:lnTo>
                  <a:lnTo>
                    <a:pt x="2407" y="621"/>
                  </a:lnTo>
                  <a:lnTo>
                    <a:pt x="2407" y="621"/>
                  </a:lnTo>
                  <a:lnTo>
                    <a:pt x="2407" y="623"/>
                  </a:lnTo>
                  <a:lnTo>
                    <a:pt x="2407" y="623"/>
                  </a:lnTo>
                  <a:lnTo>
                    <a:pt x="2407" y="623"/>
                  </a:lnTo>
                  <a:lnTo>
                    <a:pt x="2407" y="623"/>
                  </a:lnTo>
                  <a:lnTo>
                    <a:pt x="2407" y="623"/>
                  </a:lnTo>
                  <a:lnTo>
                    <a:pt x="2407" y="623"/>
                  </a:lnTo>
                  <a:lnTo>
                    <a:pt x="2407" y="623"/>
                  </a:lnTo>
                  <a:lnTo>
                    <a:pt x="2407" y="626"/>
                  </a:lnTo>
                  <a:lnTo>
                    <a:pt x="2407" y="626"/>
                  </a:lnTo>
                  <a:lnTo>
                    <a:pt x="2407" y="626"/>
                  </a:lnTo>
                  <a:lnTo>
                    <a:pt x="2407" y="626"/>
                  </a:lnTo>
                  <a:lnTo>
                    <a:pt x="2407" y="626"/>
                  </a:lnTo>
                  <a:lnTo>
                    <a:pt x="2407" y="623"/>
                  </a:lnTo>
                  <a:lnTo>
                    <a:pt x="2404" y="623"/>
                  </a:lnTo>
                  <a:lnTo>
                    <a:pt x="2404" y="623"/>
                  </a:lnTo>
                  <a:lnTo>
                    <a:pt x="2404" y="621"/>
                  </a:lnTo>
                  <a:lnTo>
                    <a:pt x="2404" y="621"/>
                  </a:lnTo>
                  <a:lnTo>
                    <a:pt x="2404" y="621"/>
                  </a:lnTo>
                  <a:lnTo>
                    <a:pt x="2404" y="621"/>
                  </a:lnTo>
                  <a:lnTo>
                    <a:pt x="2402" y="621"/>
                  </a:lnTo>
                  <a:lnTo>
                    <a:pt x="2402" y="621"/>
                  </a:lnTo>
                  <a:lnTo>
                    <a:pt x="2402" y="619"/>
                  </a:lnTo>
                  <a:lnTo>
                    <a:pt x="2400" y="619"/>
                  </a:lnTo>
                  <a:lnTo>
                    <a:pt x="2400" y="619"/>
                  </a:lnTo>
                  <a:lnTo>
                    <a:pt x="2398" y="617"/>
                  </a:lnTo>
                  <a:lnTo>
                    <a:pt x="2398" y="617"/>
                  </a:lnTo>
                  <a:lnTo>
                    <a:pt x="2398" y="617"/>
                  </a:lnTo>
                  <a:lnTo>
                    <a:pt x="2398" y="617"/>
                  </a:lnTo>
                  <a:lnTo>
                    <a:pt x="2395" y="617"/>
                  </a:lnTo>
                  <a:lnTo>
                    <a:pt x="2395" y="617"/>
                  </a:lnTo>
                  <a:lnTo>
                    <a:pt x="2395" y="617"/>
                  </a:lnTo>
                  <a:lnTo>
                    <a:pt x="2395" y="617"/>
                  </a:lnTo>
                  <a:lnTo>
                    <a:pt x="2395" y="614"/>
                  </a:lnTo>
                  <a:lnTo>
                    <a:pt x="2393" y="614"/>
                  </a:lnTo>
                  <a:lnTo>
                    <a:pt x="2393" y="614"/>
                  </a:lnTo>
                  <a:lnTo>
                    <a:pt x="2393" y="612"/>
                  </a:lnTo>
                  <a:lnTo>
                    <a:pt x="2393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91" y="612"/>
                  </a:lnTo>
                  <a:lnTo>
                    <a:pt x="2389" y="610"/>
                  </a:lnTo>
                  <a:lnTo>
                    <a:pt x="2389" y="610"/>
                  </a:lnTo>
                  <a:lnTo>
                    <a:pt x="2389" y="610"/>
                  </a:lnTo>
                  <a:lnTo>
                    <a:pt x="2389" y="610"/>
                  </a:lnTo>
                  <a:lnTo>
                    <a:pt x="2389" y="610"/>
                  </a:lnTo>
                  <a:lnTo>
                    <a:pt x="2386" y="608"/>
                  </a:lnTo>
                  <a:lnTo>
                    <a:pt x="2386" y="608"/>
                  </a:lnTo>
                  <a:lnTo>
                    <a:pt x="2384" y="605"/>
                  </a:lnTo>
                  <a:lnTo>
                    <a:pt x="2380" y="601"/>
                  </a:lnTo>
                  <a:lnTo>
                    <a:pt x="2373" y="596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6" y="590"/>
                  </a:lnTo>
                  <a:lnTo>
                    <a:pt x="2366" y="590"/>
                  </a:lnTo>
                  <a:lnTo>
                    <a:pt x="2364" y="587"/>
                  </a:lnTo>
                  <a:lnTo>
                    <a:pt x="2364" y="587"/>
                  </a:lnTo>
                  <a:lnTo>
                    <a:pt x="2366" y="587"/>
                  </a:lnTo>
                  <a:lnTo>
                    <a:pt x="2366" y="587"/>
                  </a:lnTo>
                  <a:lnTo>
                    <a:pt x="2366" y="587"/>
                  </a:lnTo>
                  <a:lnTo>
                    <a:pt x="2366" y="590"/>
                  </a:lnTo>
                  <a:lnTo>
                    <a:pt x="2366" y="590"/>
                  </a:lnTo>
                  <a:lnTo>
                    <a:pt x="2366" y="590"/>
                  </a:lnTo>
                  <a:lnTo>
                    <a:pt x="2366" y="590"/>
                  </a:lnTo>
                  <a:lnTo>
                    <a:pt x="2366" y="590"/>
                  </a:lnTo>
                  <a:lnTo>
                    <a:pt x="2366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90"/>
                  </a:lnTo>
                  <a:lnTo>
                    <a:pt x="2368" y="587"/>
                  </a:lnTo>
                  <a:lnTo>
                    <a:pt x="2366" y="587"/>
                  </a:lnTo>
                  <a:lnTo>
                    <a:pt x="2366" y="587"/>
                  </a:lnTo>
                  <a:lnTo>
                    <a:pt x="2364" y="587"/>
                  </a:lnTo>
                  <a:lnTo>
                    <a:pt x="2364" y="587"/>
                  </a:lnTo>
                  <a:lnTo>
                    <a:pt x="2364" y="587"/>
                  </a:lnTo>
                  <a:lnTo>
                    <a:pt x="2364" y="587"/>
                  </a:lnTo>
                  <a:lnTo>
                    <a:pt x="2364" y="587"/>
                  </a:lnTo>
                  <a:lnTo>
                    <a:pt x="2362" y="587"/>
                  </a:lnTo>
                  <a:lnTo>
                    <a:pt x="2362" y="587"/>
                  </a:lnTo>
                  <a:lnTo>
                    <a:pt x="2362" y="585"/>
                  </a:lnTo>
                  <a:lnTo>
                    <a:pt x="2357" y="583"/>
                  </a:lnTo>
                  <a:lnTo>
                    <a:pt x="2355" y="581"/>
                  </a:lnTo>
                  <a:lnTo>
                    <a:pt x="2353" y="578"/>
                  </a:lnTo>
                  <a:lnTo>
                    <a:pt x="2350" y="576"/>
                  </a:lnTo>
                  <a:lnTo>
                    <a:pt x="2346" y="572"/>
                  </a:lnTo>
                  <a:lnTo>
                    <a:pt x="2344" y="572"/>
                  </a:lnTo>
                  <a:lnTo>
                    <a:pt x="2344" y="572"/>
                  </a:lnTo>
                  <a:lnTo>
                    <a:pt x="2344" y="569"/>
                  </a:lnTo>
                  <a:lnTo>
                    <a:pt x="2337" y="565"/>
                  </a:lnTo>
                  <a:lnTo>
                    <a:pt x="2335" y="563"/>
                  </a:lnTo>
                  <a:lnTo>
                    <a:pt x="2335" y="563"/>
                  </a:lnTo>
                  <a:lnTo>
                    <a:pt x="2332" y="560"/>
                  </a:lnTo>
                  <a:lnTo>
                    <a:pt x="2332" y="560"/>
                  </a:lnTo>
                  <a:lnTo>
                    <a:pt x="2332" y="560"/>
                  </a:lnTo>
                  <a:lnTo>
                    <a:pt x="2330" y="560"/>
                  </a:lnTo>
                  <a:lnTo>
                    <a:pt x="2330" y="558"/>
                  </a:lnTo>
                  <a:lnTo>
                    <a:pt x="2330" y="558"/>
                  </a:lnTo>
                  <a:lnTo>
                    <a:pt x="2330" y="558"/>
                  </a:lnTo>
                  <a:lnTo>
                    <a:pt x="2328" y="558"/>
                  </a:lnTo>
                  <a:lnTo>
                    <a:pt x="2328" y="556"/>
                  </a:lnTo>
                  <a:lnTo>
                    <a:pt x="2326" y="556"/>
                  </a:lnTo>
                  <a:lnTo>
                    <a:pt x="2326" y="556"/>
                  </a:lnTo>
                  <a:lnTo>
                    <a:pt x="2326" y="554"/>
                  </a:lnTo>
                  <a:lnTo>
                    <a:pt x="2323" y="554"/>
                  </a:lnTo>
                  <a:lnTo>
                    <a:pt x="2319" y="549"/>
                  </a:lnTo>
                  <a:lnTo>
                    <a:pt x="2312" y="545"/>
                  </a:lnTo>
                  <a:lnTo>
                    <a:pt x="2303" y="538"/>
                  </a:lnTo>
                  <a:lnTo>
                    <a:pt x="2303" y="538"/>
                  </a:lnTo>
                  <a:lnTo>
                    <a:pt x="2303" y="536"/>
                  </a:lnTo>
                  <a:lnTo>
                    <a:pt x="2301" y="536"/>
                  </a:lnTo>
                  <a:lnTo>
                    <a:pt x="2301" y="536"/>
                  </a:lnTo>
                  <a:lnTo>
                    <a:pt x="2301" y="533"/>
                  </a:lnTo>
                  <a:lnTo>
                    <a:pt x="2290" y="524"/>
                  </a:lnTo>
                  <a:lnTo>
                    <a:pt x="2287" y="524"/>
                  </a:lnTo>
                  <a:lnTo>
                    <a:pt x="2287" y="524"/>
                  </a:lnTo>
                  <a:lnTo>
                    <a:pt x="2287" y="524"/>
                  </a:lnTo>
                  <a:lnTo>
                    <a:pt x="2287" y="522"/>
                  </a:lnTo>
                  <a:lnTo>
                    <a:pt x="2287" y="522"/>
                  </a:lnTo>
                  <a:lnTo>
                    <a:pt x="2285" y="520"/>
                  </a:lnTo>
                  <a:lnTo>
                    <a:pt x="2285" y="520"/>
                  </a:lnTo>
                  <a:lnTo>
                    <a:pt x="2285" y="520"/>
                  </a:lnTo>
                  <a:lnTo>
                    <a:pt x="2283" y="520"/>
                  </a:lnTo>
                  <a:lnTo>
                    <a:pt x="2283" y="518"/>
                  </a:lnTo>
                  <a:lnTo>
                    <a:pt x="2283" y="518"/>
                  </a:lnTo>
                  <a:lnTo>
                    <a:pt x="2283" y="518"/>
                  </a:lnTo>
                  <a:lnTo>
                    <a:pt x="2276" y="511"/>
                  </a:lnTo>
                  <a:lnTo>
                    <a:pt x="2276" y="511"/>
                  </a:lnTo>
                  <a:lnTo>
                    <a:pt x="2276" y="511"/>
                  </a:lnTo>
                  <a:lnTo>
                    <a:pt x="2276" y="509"/>
                  </a:lnTo>
                  <a:lnTo>
                    <a:pt x="2276" y="509"/>
                  </a:lnTo>
                  <a:lnTo>
                    <a:pt x="2274" y="509"/>
                  </a:lnTo>
                  <a:lnTo>
                    <a:pt x="2274" y="509"/>
                  </a:lnTo>
                  <a:lnTo>
                    <a:pt x="2274" y="509"/>
                  </a:lnTo>
                  <a:lnTo>
                    <a:pt x="2274" y="509"/>
                  </a:lnTo>
                  <a:lnTo>
                    <a:pt x="2274" y="509"/>
                  </a:lnTo>
                  <a:lnTo>
                    <a:pt x="2274" y="506"/>
                  </a:lnTo>
                  <a:lnTo>
                    <a:pt x="2274" y="506"/>
                  </a:lnTo>
                  <a:lnTo>
                    <a:pt x="2274" y="506"/>
                  </a:lnTo>
                  <a:lnTo>
                    <a:pt x="2274" y="506"/>
                  </a:lnTo>
                  <a:lnTo>
                    <a:pt x="2274" y="506"/>
                  </a:lnTo>
                  <a:lnTo>
                    <a:pt x="2274" y="506"/>
                  </a:lnTo>
                  <a:lnTo>
                    <a:pt x="2274" y="506"/>
                  </a:lnTo>
                  <a:lnTo>
                    <a:pt x="2272" y="504"/>
                  </a:lnTo>
                  <a:lnTo>
                    <a:pt x="2272" y="504"/>
                  </a:lnTo>
                  <a:lnTo>
                    <a:pt x="2267" y="497"/>
                  </a:lnTo>
                  <a:lnTo>
                    <a:pt x="2267" y="497"/>
                  </a:lnTo>
                  <a:lnTo>
                    <a:pt x="2265" y="495"/>
                  </a:lnTo>
                  <a:lnTo>
                    <a:pt x="2265" y="495"/>
                  </a:lnTo>
                  <a:lnTo>
                    <a:pt x="2265" y="495"/>
                  </a:lnTo>
                  <a:lnTo>
                    <a:pt x="2265" y="493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3"/>
                  </a:lnTo>
                  <a:lnTo>
                    <a:pt x="2265" y="493"/>
                  </a:lnTo>
                  <a:lnTo>
                    <a:pt x="2265" y="493"/>
                  </a:lnTo>
                  <a:lnTo>
                    <a:pt x="2265" y="493"/>
                  </a:lnTo>
                  <a:lnTo>
                    <a:pt x="2265" y="493"/>
                  </a:lnTo>
                  <a:lnTo>
                    <a:pt x="2265" y="493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91"/>
                  </a:lnTo>
                  <a:lnTo>
                    <a:pt x="2265" y="488"/>
                  </a:lnTo>
                  <a:lnTo>
                    <a:pt x="2267" y="488"/>
                  </a:lnTo>
                  <a:lnTo>
                    <a:pt x="2267" y="488"/>
                  </a:lnTo>
                  <a:lnTo>
                    <a:pt x="2267" y="488"/>
                  </a:lnTo>
                  <a:lnTo>
                    <a:pt x="2267" y="488"/>
                  </a:lnTo>
                  <a:lnTo>
                    <a:pt x="2267" y="486"/>
                  </a:lnTo>
                  <a:lnTo>
                    <a:pt x="2265" y="486"/>
                  </a:lnTo>
                  <a:lnTo>
                    <a:pt x="2265" y="486"/>
                  </a:lnTo>
                  <a:lnTo>
                    <a:pt x="2265" y="486"/>
                  </a:lnTo>
                  <a:lnTo>
                    <a:pt x="2265" y="484"/>
                  </a:lnTo>
                  <a:lnTo>
                    <a:pt x="2265" y="486"/>
                  </a:lnTo>
                  <a:lnTo>
                    <a:pt x="2267" y="486"/>
                  </a:lnTo>
                  <a:lnTo>
                    <a:pt x="2267" y="486"/>
                  </a:lnTo>
                  <a:lnTo>
                    <a:pt x="2267" y="486"/>
                  </a:lnTo>
                  <a:lnTo>
                    <a:pt x="2267" y="486"/>
                  </a:lnTo>
                  <a:lnTo>
                    <a:pt x="2270" y="486"/>
                  </a:lnTo>
                  <a:lnTo>
                    <a:pt x="2270" y="486"/>
                  </a:lnTo>
                  <a:lnTo>
                    <a:pt x="2270" y="486"/>
                  </a:lnTo>
                  <a:lnTo>
                    <a:pt x="2267" y="486"/>
                  </a:lnTo>
                  <a:lnTo>
                    <a:pt x="2267" y="486"/>
                  </a:lnTo>
                  <a:lnTo>
                    <a:pt x="2267" y="484"/>
                  </a:lnTo>
                  <a:lnTo>
                    <a:pt x="2267" y="484"/>
                  </a:lnTo>
                  <a:lnTo>
                    <a:pt x="2267" y="484"/>
                  </a:lnTo>
                  <a:lnTo>
                    <a:pt x="2267" y="482"/>
                  </a:lnTo>
                  <a:lnTo>
                    <a:pt x="2267" y="482"/>
                  </a:lnTo>
                  <a:lnTo>
                    <a:pt x="2265" y="479"/>
                  </a:lnTo>
                  <a:lnTo>
                    <a:pt x="2265" y="477"/>
                  </a:lnTo>
                  <a:lnTo>
                    <a:pt x="2265" y="477"/>
                  </a:lnTo>
                  <a:lnTo>
                    <a:pt x="2265" y="477"/>
                  </a:lnTo>
                  <a:lnTo>
                    <a:pt x="2263" y="475"/>
                  </a:lnTo>
                  <a:lnTo>
                    <a:pt x="2261" y="475"/>
                  </a:lnTo>
                  <a:lnTo>
                    <a:pt x="2258" y="473"/>
                  </a:lnTo>
                  <a:lnTo>
                    <a:pt x="2258" y="473"/>
                  </a:lnTo>
                  <a:lnTo>
                    <a:pt x="2256" y="470"/>
                  </a:lnTo>
                  <a:lnTo>
                    <a:pt x="2254" y="470"/>
                  </a:lnTo>
                  <a:lnTo>
                    <a:pt x="2254" y="470"/>
                  </a:lnTo>
                  <a:lnTo>
                    <a:pt x="2254" y="470"/>
                  </a:lnTo>
                  <a:lnTo>
                    <a:pt x="2254" y="470"/>
                  </a:lnTo>
                  <a:lnTo>
                    <a:pt x="2254" y="468"/>
                  </a:lnTo>
                  <a:lnTo>
                    <a:pt x="2254" y="468"/>
                  </a:lnTo>
                  <a:lnTo>
                    <a:pt x="2256" y="468"/>
                  </a:lnTo>
                  <a:lnTo>
                    <a:pt x="2256" y="470"/>
                  </a:lnTo>
                  <a:lnTo>
                    <a:pt x="2256" y="470"/>
                  </a:lnTo>
                  <a:lnTo>
                    <a:pt x="2261" y="470"/>
                  </a:lnTo>
                  <a:lnTo>
                    <a:pt x="2263" y="470"/>
                  </a:lnTo>
                  <a:lnTo>
                    <a:pt x="2263" y="470"/>
                  </a:lnTo>
                  <a:lnTo>
                    <a:pt x="2265" y="470"/>
                  </a:lnTo>
                  <a:lnTo>
                    <a:pt x="2265" y="468"/>
                  </a:lnTo>
                  <a:lnTo>
                    <a:pt x="2263" y="468"/>
                  </a:lnTo>
                  <a:lnTo>
                    <a:pt x="2263" y="468"/>
                  </a:lnTo>
                  <a:lnTo>
                    <a:pt x="2263" y="468"/>
                  </a:lnTo>
                  <a:lnTo>
                    <a:pt x="2263" y="468"/>
                  </a:lnTo>
                  <a:lnTo>
                    <a:pt x="2263" y="466"/>
                  </a:lnTo>
                  <a:lnTo>
                    <a:pt x="2263" y="466"/>
                  </a:lnTo>
                  <a:lnTo>
                    <a:pt x="2263" y="466"/>
                  </a:lnTo>
                  <a:lnTo>
                    <a:pt x="2263" y="466"/>
                  </a:lnTo>
                  <a:lnTo>
                    <a:pt x="2263" y="466"/>
                  </a:lnTo>
                  <a:lnTo>
                    <a:pt x="2263" y="466"/>
                  </a:lnTo>
                  <a:lnTo>
                    <a:pt x="2261" y="464"/>
                  </a:lnTo>
                  <a:lnTo>
                    <a:pt x="2263" y="464"/>
                  </a:lnTo>
                  <a:lnTo>
                    <a:pt x="2263" y="464"/>
                  </a:lnTo>
                  <a:lnTo>
                    <a:pt x="2265" y="466"/>
                  </a:lnTo>
                  <a:lnTo>
                    <a:pt x="2265" y="466"/>
                  </a:lnTo>
                  <a:lnTo>
                    <a:pt x="2267" y="466"/>
                  </a:lnTo>
                  <a:lnTo>
                    <a:pt x="2270" y="466"/>
                  </a:lnTo>
                  <a:lnTo>
                    <a:pt x="2272" y="466"/>
                  </a:lnTo>
                  <a:lnTo>
                    <a:pt x="2272" y="464"/>
                  </a:lnTo>
                  <a:lnTo>
                    <a:pt x="2274" y="466"/>
                  </a:lnTo>
                  <a:lnTo>
                    <a:pt x="2274" y="466"/>
                  </a:lnTo>
                  <a:lnTo>
                    <a:pt x="2274" y="466"/>
                  </a:lnTo>
                  <a:lnTo>
                    <a:pt x="2276" y="466"/>
                  </a:lnTo>
                  <a:lnTo>
                    <a:pt x="2274" y="466"/>
                  </a:lnTo>
                  <a:lnTo>
                    <a:pt x="2274" y="466"/>
                  </a:lnTo>
                  <a:lnTo>
                    <a:pt x="2274" y="466"/>
                  </a:lnTo>
                  <a:lnTo>
                    <a:pt x="2272" y="464"/>
                  </a:lnTo>
                  <a:lnTo>
                    <a:pt x="2272" y="464"/>
                  </a:lnTo>
                  <a:lnTo>
                    <a:pt x="2272" y="464"/>
                  </a:lnTo>
                  <a:lnTo>
                    <a:pt x="2272" y="464"/>
                  </a:lnTo>
                  <a:lnTo>
                    <a:pt x="2272" y="464"/>
                  </a:lnTo>
                  <a:lnTo>
                    <a:pt x="2272" y="464"/>
                  </a:lnTo>
                  <a:lnTo>
                    <a:pt x="2272" y="464"/>
                  </a:lnTo>
                  <a:lnTo>
                    <a:pt x="2272" y="461"/>
                  </a:lnTo>
                  <a:lnTo>
                    <a:pt x="2272" y="461"/>
                  </a:lnTo>
                  <a:lnTo>
                    <a:pt x="2274" y="459"/>
                  </a:lnTo>
                  <a:lnTo>
                    <a:pt x="2274" y="459"/>
                  </a:lnTo>
                  <a:lnTo>
                    <a:pt x="2274" y="457"/>
                  </a:lnTo>
                  <a:lnTo>
                    <a:pt x="2274" y="457"/>
                  </a:lnTo>
                  <a:lnTo>
                    <a:pt x="2274" y="457"/>
                  </a:lnTo>
                  <a:lnTo>
                    <a:pt x="2276" y="457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9" y="455"/>
                  </a:lnTo>
                  <a:lnTo>
                    <a:pt x="2279" y="455"/>
                  </a:lnTo>
                  <a:lnTo>
                    <a:pt x="2279" y="455"/>
                  </a:lnTo>
                  <a:lnTo>
                    <a:pt x="2279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5"/>
                  </a:lnTo>
                  <a:lnTo>
                    <a:pt x="2276" y="452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50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8"/>
                  </a:lnTo>
                  <a:lnTo>
                    <a:pt x="2276" y="446"/>
                  </a:lnTo>
                  <a:lnTo>
                    <a:pt x="2276" y="446"/>
                  </a:lnTo>
                  <a:lnTo>
                    <a:pt x="2276" y="446"/>
                  </a:lnTo>
                  <a:lnTo>
                    <a:pt x="2276" y="446"/>
                  </a:lnTo>
                  <a:lnTo>
                    <a:pt x="2276" y="446"/>
                  </a:lnTo>
                  <a:lnTo>
                    <a:pt x="2276" y="446"/>
                  </a:lnTo>
                  <a:lnTo>
                    <a:pt x="2276" y="446"/>
                  </a:lnTo>
                  <a:lnTo>
                    <a:pt x="2274" y="443"/>
                  </a:lnTo>
                  <a:lnTo>
                    <a:pt x="2274" y="443"/>
                  </a:lnTo>
                  <a:lnTo>
                    <a:pt x="2274" y="443"/>
                  </a:lnTo>
                  <a:lnTo>
                    <a:pt x="2274" y="443"/>
                  </a:lnTo>
                  <a:lnTo>
                    <a:pt x="2272" y="443"/>
                  </a:lnTo>
                  <a:lnTo>
                    <a:pt x="2272" y="443"/>
                  </a:lnTo>
                  <a:lnTo>
                    <a:pt x="2272" y="441"/>
                  </a:lnTo>
                  <a:lnTo>
                    <a:pt x="2272" y="441"/>
                  </a:lnTo>
                  <a:lnTo>
                    <a:pt x="2272" y="441"/>
                  </a:lnTo>
                  <a:lnTo>
                    <a:pt x="2272" y="441"/>
                  </a:lnTo>
                  <a:lnTo>
                    <a:pt x="2274" y="437"/>
                  </a:lnTo>
                  <a:lnTo>
                    <a:pt x="2274" y="437"/>
                  </a:lnTo>
                  <a:lnTo>
                    <a:pt x="2272" y="437"/>
                  </a:lnTo>
                  <a:lnTo>
                    <a:pt x="2272" y="437"/>
                  </a:lnTo>
                  <a:lnTo>
                    <a:pt x="2274" y="437"/>
                  </a:lnTo>
                  <a:lnTo>
                    <a:pt x="2274" y="437"/>
                  </a:lnTo>
                  <a:lnTo>
                    <a:pt x="2274" y="437"/>
                  </a:lnTo>
                  <a:lnTo>
                    <a:pt x="2274" y="434"/>
                  </a:lnTo>
                  <a:lnTo>
                    <a:pt x="2274" y="432"/>
                  </a:lnTo>
                  <a:lnTo>
                    <a:pt x="2274" y="432"/>
                  </a:lnTo>
                  <a:lnTo>
                    <a:pt x="2272" y="432"/>
                  </a:lnTo>
                  <a:lnTo>
                    <a:pt x="2272" y="432"/>
                  </a:lnTo>
                  <a:lnTo>
                    <a:pt x="2272" y="432"/>
                  </a:lnTo>
                  <a:lnTo>
                    <a:pt x="2272" y="432"/>
                  </a:lnTo>
                  <a:lnTo>
                    <a:pt x="2272" y="430"/>
                  </a:lnTo>
                  <a:lnTo>
                    <a:pt x="2272" y="430"/>
                  </a:lnTo>
                  <a:lnTo>
                    <a:pt x="2274" y="430"/>
                  </a:lnTo>
                  <a:lnTo>
                    <a:pt x="2274" y="430"/>
                  </a:lnTo>
                  <a:lnTo>
                    <a:pt x="2274" y="430"/>
                  </a:lnTo>
                  <a:lnTo>
                    <a:pt x="2276" y="430"/>
                  </a:lnTo>
                  <a:lnTo>
                    <a:pt x="2276" y="430"/>
                  </a:lnTo>
                  <a:lnTo>
                    <a:pt x="2276" y="430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8"/>
                  </a:lnTo>
                  <a:lnTo>
                    <a:pt x="2276" y="425"/>
                  </a:lnTo>
                  <a:lnTo>
                    <a:pt x="2276" y="425"/>
                  </a:lnTo>
                  <a:lnTo>
                    <a:pt x="2276" y="425"/>
                  </a:lnTo>
                  <a:lnTo>
                    <a:pt x="2276" y="423"/>
                  </a:lnTo>
                  <a:lnTo>
                    <a:pt x="2276" y="421"/>
                  </a:lnTo>
                  <a:lnTo>
                    <a:pt x="2276" y="421"/>
                  </a:lnTo>
                  <a:lnTo>
                    <a:pt x="2276" y="421"/>
                  </a:lnTo>
                  <a:lnTo>
                    <a:pt x="2276" y="419"/>
                  </a:lnTo>
                  <a:lnTo>
                    <a:pt x="2276" y="419"/>
                  </a:lnTo>
                  <a:lnTo>
                    <a:pt x="2276" y="419"/>
                  </a:lnTo>
                  <a:lnTo>
                    <a:pt x="2276" y="419"/>
                  </a:lnTo>
                  <a:lnTo>
                    <a:pt x="2276" y="419"/>
                  </a:lnTo>
                  <a:lnTo>
                    <a:pt x="2276" y="419"/>
                  </a:lnTo>
                  <a:lnTo>
                    <a:pt x="2276" y="419"/>
                  </a:lnTo>
                  <a:lnTo>
                    <a:pt x="2279" y="419"/>
                  </a:lnTo>
                  <a:lnTo>
                    <a:pt x="2279" y="419"/>
                  </a:lnTo>
                  <a:lnTo>
                    <a:pt x="2279" y="419"/>
                  </a:lnTo>
                  <a:lnTo>
                    <a:pt x="2279" y="416"/>
                  </a:lnTo>
                  <a:lnTo>
                    <a:pt x="2279" y="416"/>
                  </a:lnTo>
                  <a:lnTo>
                    <a:pt x="2279" y="416"/>
                  </a:lnTo>
                  <a:lnTo>
                    <a:pt x="2276" y="414"/>
                  </a:lnTo>
                  <a:lnTo>
                    <a:pt x="2276" y="414"/>
                  </a:lnTo>
                  <a:lnTo>
                    <a:pt x="2276" y="414"/>
                  </a:lnTo>
                  <a:lnTo>
                    <a:pt x="2276" y="414"/>
                  </a:lnTo>
                  <a:lnTo>
                    <a:pt x="2276" y="414"/>
                  </a:lnTo>
                  <a:lnTo>
                    <a:pt x="2276" y="414"/>
                  </a:lnTo>
                  <a:lnTo>
                    <a:pt x="2276" y="414"/>
                  </a:lnTo>
                  <a:lnTo>
                    <a:pt x="2274" y="414"/>
                  </a:lnTo>
                  <a:lnTo>
                    <a:pt x="2274" y="414"/>
                  </a:lnTo>
                  <a:lnTo>
                    <a:pt x="2274" y="412"/>
                  </a:lnTo>
                  <a:lnTo>
                    <a:pt x="2274" y="412"/>
                  </a:lnTo>
                  <a:lnTo>
                    <a:pt x="2274" y="412"/>
                  </a:lnTo>
                  <a:lnTo>
                    <a:pt x="2276" y="412"/>
                  </a:lnTo>
                  <a:lnTo>
                    <a:pt x="2276" y="410"/>
                  </a:lnTo>
                  <a:lnTo>
                    <a:pt x="2276" y="410"/>
                  </a:lnTo>
                  <a:lnTo>
                    <a:pt x="2276" y="410"/>
                  </a:lnTo>
                  <a:lnTo>
                    <a:pt x="2279" y="410"/>
                  </a:lnTo>
                  <a:lnTo>
                    <a:pt x="2279" y="410"/>
                  </a:lnTo>
                  <a:lnTo>
                    <a:pt x="2279" y="410"/>
                  </a:lnTo>
                  <a:lnTo>
                    <a:pt x="2279" y="410"/>
                  </a:lnTo>
                  <a:lnTo>
                    <a:pt x="2279" y="407"/>
                  </a:lnTo>
                  <a:lnTo>
                    <a:pt x="2279" y="407"/>
                  </a:lnTo>
                  <a:lnTo>
                    <a:pt x="2279" y="407"/>
                  </a:lnTo>
                  <a:lnTo>
                    <a:pt x="2279" y="407"/>
                  </a:lnTo>
                  <a:lnTo>
                    <a:pt x="2279" y="407"/>
                  </a:lnTo>
                  <a:lnTo>
                    <a:pt x="2281" y="407"/>
                  </a:lnTo>
                  <a:lnTo>
                    <a:pt x="2281" y="407"/>
                  </a:lnTo>
                  <a:lnTo>
                    <a:pt x="2281" y="407"/>
                  </a:lnTo>
                  <a:lnTo>
                    <a:pt x="2281" y="407"/>
                  </a:lnTo>
                  <a:lnTo>
                    <a:pt x="2281" y="407"/>
                  </a:lnTo>
                  <a:lnTo>
                    <a:pt x="2281" y="407"/>
                  </a:lnTo>
                  <a:lnTo>
                    <a:pt x="2281" y="407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1" y="405"/>
                  </a:lnTo>
                  <a:lnTo>
                    <a:pt x="2283" y="405"/>
                  </a:lnTo>
                  <a:lnTo>
                    <a:pt x="2283" y="405"/>
                  </a:lnTo>
                  <a:lnTo>
                    <a:pt x="2285" y="405"/>
                  </a:lnTo>
                  <a:lnTo>
                    <a:pt x="2283" y="405"/>
                  </a:lnTo>
                  <a:lnTo>
                    <a:pt x="2283" y="405"/>
                  </a:lnTo>
                  <a:lnTo>
                    <a:pt x="2283" y="403"/>
                  </a:lnTo>
                  <a:lnTo>
                    <a:pt x="2283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5" y="403"/>
                  </a:lnTo>
                  <a:lnTo>
                    <a:pt x="2287" y="403"/>
                  </a:lnTo>
                  <a:lnTo>
                    <a:pt x="2287" y="403"/>
                  </a:lnTo>
                  <a:lnTo>
                    <a:pt x="2287" y="405"/>
                  </a:lnTo>
                  <a:lnTo>
                    <a:pt x="2287" y="405"/>
                  </a:lnTo>
                  <a:lnTo>
                    <a:pt x="2287" y="405"/>
                  </a:lnTo>
                  <a:lnTo>
                    <a:pt x="2290" y="405"/>
                  </a:lnTo>
                  <a:lnTo>
                    <a:pt x="2290" y="405"/>
                  </a:lnTo>
                  <a:lnTo>
                    <a:pt x="2287" y="405"/>
                  </a:lnTo>
                  <a:lnTo>
                    <a:pt x="2287" y="405"/>
                  </a:lnTo>
                  <a:lnTo>
                    <a:pt x="2287" y="405"/>
                  </a:lnTo>
                  <a:lnTo>
                    <a:pt x="2287" y="403"/>
                  </a:lnTo>
                  <a:lnTo>
                    <a:pt x="2287" y="403"/>
                  </a:lnTo>
                  <a:lnTo>
                    <a:pt x="2287" y="403"/>
                  </a:lnTo>
                  <a:lnTo>
                    <a:pt x="2287" y="403"/>
                  </a:lnTo>
                  <a:lnTo>
                    <a:pt x="2287" y="403"/>
                  </a:lnTo>
                  <a:lnTo>
                    <a:pt x="2287" y="403"/>
                  </a:lnTo>
                  <a:lnTo>
                    <a:pt x="2290" y="403"/>
                  </a:lnTo>
                  <a:lnTo>
                    <a:pt x="2290" y="403"/>
                  </a:lnTo>
                  <a:lnTo>
                    <a:pt x="2290" y="403"/>
                  </a:lnTo>
                  <a:lnTo>
                    <a:pt x="2292" y="403"/>
                  </a:lnTo>
                  <a:lnTo>
                    <a:pt x="2292" y="403"/>
                  </a:lnTo>
                  <a:lnTo>
                    <a:pt x="2292" y="403"/>
                  </a:lnTo>
                  <a:lnTo>
                    <a:pt x="2292" y="403"/>
                  </a:lnTo>
                  <a:lnTo>
                    <a:pt x="2292" y="401"/>
                  </a:lnTo>
                  <a:lnTo>
                    <a:pt x="2292" y="401"/>
                  </a:lnTo>
                  <a:lnTo>
                    <a:pt x="2290" y="401"/>
                  </a:lnTo>
                  <a:lnTo>
                    <a:pt x="2292" y="401"/>
                  </a:lnTo>
                  <a:lnTo>
                    <a:pt x="2290" y="401"/>
                  </a:lnTo>
                  <a:lnTo>
                    <a:pt x="2290" y="401"/>
                  </a:lnTo>
                  <a:lnTo>
                    <a:pt x="2290" y="401"/>
                  </a:lnTo>
                  <a:lnTo>
                    <a:pt x="2287" y="401"/>
                  </a:lnTo>
                  <a:lnTo>
                    <a:pt x="2285" y="401"/>
                  </a:lnTo>
                  <a:lnTo>
                    <a:pt x="2283" y="398"/>
                  </a:lnTo>
                  <a:lnTo>
                    <a:pt x="2283" y="398"/>
                  </a:lnTo>
                  <a:lnTo>
                    <a:pt x="2283" y="398"/>
                  </a:lnTo>
                  <a:lnTo>
                    <a:pt x="2283" y="398"/>
                  </a:lnTo>
                  <a:lnTo>
                    <a:pt x="2285" y="398"/>
                  </a:lnTo>
                  <a:lnTo>
                    <a:pt x="2285" y="398"/>
                  </a:lnTo>
                  <a:lnTo>
                    <a:pt x="2283" y="398"/>
                  </a:lnTo>
                  <a:lnTo>
                    <a:pt x="2283" y="396"/>
                  </a:lnTo>
                  <a:lnTo>
                    <a:pt x="2283" y="396"/>
                  </a:lnTo>
                  <a:lnTo>
                    <a:pt x="2283" y="396"/>
                  </a:lnTo>
                  <a:lnTo>
                    <a:pt x="2283" y="396"/>
                  </a:lnTo>
                  <a:lnTo>
                    <a:pt x="2285" y="394"/>
                  </a:lnTo>
                  <a:lnTo>
                    <a:pt x="2285" y="394"/>
                  </a:lnTo>
                  <a:lnTo>
                    <a:pt x="2285" y="394"/>
                  </a:lnTo>
                  <a:lnTo>
                    <a:pt x="2285" y="394"/>
                  </a:lnTo>
                  <a:lnTo>
                    <a:pt x="2285" y="394"/>
                  </a:lnTo>
                  <a:lnTo>
                    <a:pt x="2285" y="394"/>
                  </a:lnTo>
                  <a:lnTo>
                    <a:pt x="2285" y="394"/>
                  </a:lnTo>
                  <a:lnTo>
                    <a:pt x="2285" y="392"/>
                  </a:lnTo>
                  <a:lnTo>
                    <a:pt x="2285" y="392"/>
                  </a:lnTo>
                  <a:lnTo>
                    <a:pt x="2283" y="392"/>
                  </a:lnTo>
                  <a:lnTo>
                    <a:pt x="2281" y="392"/>
                  </a:lnTo>
                  <a:lnTo>
                    <a:pt x="2281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9" y="389"/>
                  </a:lnTo>
                  <a:lnTo>
                    <a:pt x="2276" y="389"/>
                  </a:lnTo>
                  <a:lnTo>
                    <a:pt x="2276" y="389"/>
                  </a:lnTo>
                  <a:lnTo>
                    <a:pt x="2276" y="387"/>
                  </a:lnTo>
                  <a:lnTo>
                    <a:pt x="2276" y="387"/>
                  </a:lnTo>
                  <a:lnTo>
                    <a:pt x="2274" y="387"/>
                  </a:lnTo>
                  <a:lnTo>
                    <a:pt x="2274" y="387"/>
                  </a:lnTo>
                  <a:lnTo>
                    <a:pt x="2274" y="385"/>
                  </a:lnTo>
                  <a:lnTo>
                    <a:pt x="2274" y="385"/>
                  </a:lnTo>
                  <a:lnTo>
                    <a:pt x="2274" y="385"/>
                  </a:lnTo>
                  <a:lnTo>
                    <a:pt x="2274" y="385"/>
                  </a:lnTo>
                  <a:lnTo>
                    <a:pt x="2274" y="385"/>
                  </a:lnTo>
                  <a:lnTo>
                    <a:pt x="2276" y="385"/>
                  </a:lnTo>
                  <a:lnTo>
                    <a:pt x="2274" y="385"/>
                  </a:lnTo>
                  <a:lnTo>
                    <a:pt x="2274" y="383"/>
                  </a:lnTo>
                  <a:lnTo>
                    <a:pt x="2274" y="383"/>
                  </a:lnTo>
                  <a:lnTo>
                    <a:pt x="2274" y="383"/>
                  </a:lnTo>
                  <a:lnTo>
                    <a:pt x="2272" y="383"/>
                  </a:lnTo>
                  <a:lnTo>
                    <a:pt x="2272" y="383"/>
                  </a:lnTo>
                  <a:lnTo>
                    <a:pt x="2272" y="380"/>
                  </a:lnTo>
                  <a:lnTo>
                    <a:pt x="2272" y="380"/>
                  </a:lnTo>
                  <a:lnTo>
                    <a:pt x="2272" y="380"/>
                  </a:lnTo>
                  <a:lnTo>
                    <a:pt x="2272" y="380"/>
                  </a:lnTo>
                  <a:lnTo>
                    <a:pt x="2272" y="380"/>
                  </a:lnTo>
                  <a:lnTo>
                    <a:pt x="2270" y="380"/>
                  </a:lnTo>
                  <a:lnTo>
                    <a:pt x="2270" y="380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8"/>
                  </a:lnTo>
                  <a:lnTo>
                    <a:pt x="2267" y="376"/>
                  </a:lnTo>
                  <a:lnTo>
                    <a:pt x="2267" y="376"/>
                  </a:lnTo>
                  <a:lnTo>
                    <a:pt x="2265" y="376"/>
                  </a:lnTo>
                  <a:lnTo>
                    <a:pt x="2265" y="376"/>
                  </a:lnTo>
                  <a:lnTo>
                    <a:pt x="2265" y="376"/>
                  </a:lnTo>
                  <a:lnTo>
                    <a:pt x="2265" y="376"/>
                  </a:lnTo>
                  <a:lnTo>
                    <a:pt x="2265" y="376"/>
                  </a:lnTo>
                  <a:lnTo>
                    <a:pt x="2265" y="376"/>
                  </a:lnTo>
                  <a:lnTo>
                    <a:pt x="2265" y="374"/>
                  </a:lnTo>
                  <a:lnTo>
                    <a:pt x="2263" y="374"/>
                  </a:lnTo>
                  <a:lnTo>
                    <a:pt x="2263" y="374"/>
                  </a:lnTo>
                  <a:lnTo>
                    <a:pt x="2263" y="374"/>
                  </a:lnTo>
                  <a:lnTo>
                    <a:pt x="2263" y="374"/>
                  </a:lnTo>
                  <a:lnTo>
                    <a:pt x="2263" y="374"/>
                  </a:lnTo>
                  <a:lnTo>
                    <a:pt x="2261" y="374"/>
                  </a:lnTo>
                  <a:lnTo>
                    <a:pt x="2261" y="374"/>
                  </a:lnTo>
                  <a:lnTo>
                    <a:pt x="2261" y="371"/>
                  </a:lnTo>
                  <a:lnTo>
                    <a:pt x="2261" y="371"/>
                  </a:lnTo>
                  <a:lnTo>
                    <a:pt x="2261" y="371"/>
                  </a:lnTo>
                  <a:lnTo>
                    <a:pt x="2261" y="371"/>
                  </a:lnTo>
                  <a:lnTo>
                    <a:pt x="2261" y="371"/>
                  </a:lnTo>
                  <a:lnTo>
                    <a:pt x="2261" y="371"/>
                  </a:lnTo>
                  <a:lnTo>
                    <a:pt x="2261" y="371"/>
                  </a:lnTo>
                  <a:lnTo>
                    <a:pt x="2263" y="371"/>
                  </a:lnTo>
                  <a:lnTo>
                    <a:pt x="2263" y="371"/>
                  </a:lnTo>
                  <a:lnTo>
                    <a:pt x="2263" y="369"/>
                  </a:lnTo>
                  <a:lnTo>
                    <a:pt x="2263" y="369"/>
                  </a:lnTo>
                  <a:lnTo>
                    <a:pt x="2263" y="369"/>
                  </a:lnTo>
                  <a:lnTo>
                    <a:pt x="2263" y="369"/>
                  </a:lnTo>
                  <a:lnTo>
                    <a:pt x="2263" y="369"/>
                  </a:lnTo>
                  <a:lnTo>
                    <a:pt x="2263" y="369"/>
                  </a:lnTo>
                  <a:lnTo>
                    <a:pt x="2263" y="367"/>
                  </a:lnTo>
                  <a:lnTo>
                    <a:pt x="2265" y="367"/>
                  </a:lnTo>
                  <a:lnTo>
                    <a:pt x="2270" y="369"/>
                  </a:lnTo>
                  <a:lnTo>
                    <a:pt x="2270" y="369"/>
                  </a:lnTo>
                  <a:lnTo>
                    <a:pt x="2272" y="369"/>
                  </a:lnTo>
                  <a:lnTo>
                    <a:pt x="2272" y="369"/>
                  </a:lnTo>
                  <a:lnTo>
                    <a:pt x="2274" y="369"/>
                  </a:lnTo>
                  <a:lnTo>
                    <a:pt x="2274" y="369"/>
                  </a:lnTo>
                  <a:lnTo>
                    <a:pt x="2276" y="369"/>
                  </a:lnTo>
                  <a:lnTo>
                    <a:pt x="2276" y="369"/>
                  </a:lnTo>
                  <a:lnTo>
                    <a:pt x="2276" y="369"/>
                  </a:lnTo>
                  <a:lnTo>
                    <a:pt x="2279" y="371"/>
                  </a:lnTo>
                  <a:lnTo>
                    <a:pt x="2279" y="371"/>
                  </a:lnTo>
                  <a:lnTo>
                    <a:pt x="2279" y="371"/>
                  </a:lnTo>
                  <a:lnTo>
                    <a:pt x="2281" y="371"/>
                  </a:lnTo>
                  <a:lnTo>
                    <a:pt x="2279" y="371"/>
                  </a:lnTo>
                  <a:lnTo>
                    <a:pt x="2279" y="371"/>
                  </a:lnTo>
                  <a:lnTo>
                    <a:pt x="2279" y="369"/>
                  </a:lnTo>
                  <a:lnTo>
                    <a:pt x="2276" y="369"/>
                  </a:lnTo>
                  <a:lnTo>
                    <a:pt x="2276" y="369"/>
                  </a:lnTo>
                  <a:lnTo>
                    <a:pt x="2274" y="369"/>
                  </a:lnTo>
                  <a:lnTo>
                    <a:pt x="2272" y="369"/>
                  </a:lnTo>
                  <a:lnTo>
                    <a:pt x="2272" y="367"/>
                  </a:lnTo>
                  <a:lnTo>
                    <a:pt x="2274" y="367"/>
                  </a:lnTo>
                  <a:lnTo>
                    <a:pt x="2279" y="367"/>
                  </a:lnTo>
                  <a:lnTo>
                    <a:pt x="2279" y="369"/>
                  </a:lnTo>
                  <a:lnTo>
                    <a:pt x="2281" y="369"/>
                  </a:lnTo>
                  <a:lnTo>
                    <a:pt x="2281" y="369"/>
                  </a:lnTo>
                  <a:lnTo>
                    <a:pt x="2281" y="369"/>
                  </a:lnTo>
                  <a:lnTo>
                    <a:pt x="2281" y="369"/>
                  </a:lnTo>
                  <a:lnTo>
                    <a:pt x="2276" y="367"/>
                  </a:lnTo>
                  <a:lnTo>
                    <a:pt x="2274" y="367"/>
                  </a:lnTo>
                  <a:lnTo>
                    <a:pt x="2270" y="367"/>
                  </a:lnTo>
                  <a:lnTo>
                    <a:pt x="2270" y="367"/>
                  </a:lnTo>
                  <a:lnTo>
                    <a:pt x="2267" y="367"/>
                  </a:lnTo>
                  <a:lnTo>
                    <a:pt x="2265" y="367"/>
                  </a:lnTo>
                  <a:lnTo>
                    <a:pt x="2263" y="365"/>
                  </a:lnTo>
                  <a:lnTo>
                    <a:pt x="2263" y="365"/>
                  </a:lnTo>
                  <a:lnTo>
                    <a:pt x="2261" y="365"/>
                  </a:lnTo>
                  <a:lnTo>
                    <a:pt x="2261" y="365"/>
                  </a:lnTo>
                  <a:lnTo>
                    <a:pt x="2261" y="365"/>
                  </a:lnTo>
                  <a:lnTo>
                    <a:pt x="2258" y="365"/>
                  </a:lnTo>
                  <a:lnTo>
                    <a:pt x="2258" y="362"/>
                  </a:lnTo>
                  <a:lnTo>
                    <a:pt x="2258" y="362"/>
                  </a:lnTo>
                  <a:lnTo>
                    <a:pt x="2256" y="362"/>
                  </a:lnTo>
                  <a:lnTo>
                    <a:pt x="2254" y="362"/>
                  </a:lnTo>
                  <a:lnTo>
                    <a:pt x="2254" y="362"/>
                  </a:lnTo>
                  <a:lnTo>
                    <a:pt x="2254" y="362"/>
                  </a:lnTo>
                  <a:lnTo>
                    <a:pt x="2252" y="362"/>
                  </a:lnTo>
                  <a:lnTo>
                    <a:pt x="2252" y="365"/>
                  </a:lnTo>
                  <a:lnTo>
                    <a:pt x="2249" y="365"/>
                  </a:lnTo>
                  <a:lnTo>
                    <a:pt x="2249" y="365"/>
                  </a:lnTo>
                  <a:lnTo>
                    <a:pt x="2249" y="365"/>
                  </a:lnTo>
                  <a:lnTo>
                    <a:pt x="2249" y="365"/>
                  </a:lnTo>
                  <a:lnTo>
                    <a:pt x="2249" y="365"/>
                  </a:lnTo>
                  <a:lnTo>
                    <a:pt x="2249" y="365"/>
                  </a:lnTo>
                  <a:lnTo>
                    <a:pt x="2249" y="365"/>
                  </a:lnTo>
                  <a:lnTo>
                    <a:pt x="2247" y="365"/>
                  </a:lnTo>
                  <a:lnTo>
                    <a:pt x="2247" y="365"/>
                  </a:lnTo>
                  <a:lnTo>
                    <a:pt x="2247" y="365"/>
                  </a:lnTo>
                  <a:lnTo>
                    <a:pt x="2245" y="365"/>
                  </a:lnTo>
                  <a:lnTo>
                    <a:pt x="2245" y="365"/>
                  </a:lnTo>
                  <a:lnTo>
                    <a:pt x="2243" y="365"/>
                  </a:lnTo>
                  <a:lnTo>
                    <a:pt x="2243" y="367"/>
                  </a:lnTo>
                  <a:lnTo>
                    <a:pt x="2243" y="367"/>
                  </a:lnTo>
                  <a:lnTo>
                    <a:pt x="2243" y="367"/>
                  </a:lnTo>
                  <a:lnTo>
                    <a:pt x="2243" y="367"/>
                  </a:lnTo>
                  <a:lnTo>
                    <a:pt x="2240" y="367"/>
                  </a:lnTo>
                  <a:lnTo>
                    <a:pt x="2240" y="367"/>
                  </a:lnTo>
                  <a:lnTo>
                    <a:pt x="2240" y="367"/>
                  </a:lnTo>
                  <a:lnTo>
                    <a:pt x="2240" y="367"/>
                  </a:lnTo>
                  <a:lnTo>
                    <a:pt x="2243" y="369"/>
                  </a:lnTo>
                  <a:lnTo>
                    <a:pt x="2240" y="369"/>
                  </a:lnTo>
                  <a:lnTo>
                    <a:pt x="2243" y="369"/>
                  </a:lnTo>
                  <a:lnTo>
                    <a:pt x="2243" y="369"/>
                  </a:lnTo>
                  <a:lnTo>
                    <a:pt x="2243" y="369"/>
                  </a:lnTo>
                  <a:lnTo>
                    <a:pt x="2243" y="369"/>
                  </a:lnTo>
                  <a:lnTo>
                    <a:pt x="2243" y="369"/>
                  </a:lnTo>
                  <a:lnTo>
                    <a:pt x="2245" y="369"/>
                  </a:lnTo>
                  <a:lnTo>
                    <a:pt x="2245" y="369"/>
                  </a:lnTo>
                  <a:lnTo>
                    <a:pt x="2245" y="369"/>
                  </a:lnTo>
                  <a:lnTo>
                    <a:pt x="2247" y="371"/>
                  </a:lnTo>
                  <a:lnTo>
                    <a:pt x="2247" y="371"/>
                  </a:lnTo>
                  <a:lnTo>
                    <a:pt x="2247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1"/>
                  </a:lnTo>
                  <a:lnTo>
                    <a:pt x="2245" y="374"/>
                  </a:lnTo>
                  <a:lnTo>
                    <a:pt x="2245" y="374"/>
                  </a:lnTo>
                  <a:lnTo>
                    <a:pt x="2247" y="374"/>
                  </a:lnTo>
                  <a:lnTo>
                    <a:pt x="2247" y="374"/>
                  </a:lnTo>
                  <a:lnTo>
                    <a:pt x="2247" y="374"/>
                  </a:lnTo>
                  <a:lnTo>
                    <a:pt x="2247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49" y="376"/>
                  </a:lnTo>
                  <a:lnTo>
                    <a:pt x="2252" y="376"/>
                  </a:lnTo>
                  <a:lnTo>
                    <a:pt x="2252" y="376"/>
                  </a:lnTo>
                  <a:lnTo>
                    <a:pt x="2252" y="376"/>
                  </a:lnTo>
                  <a:lnTo>
                    <a:pt x="2252" y="376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78"/>
                  </a:lnTo>
                  <a:lnTo>
                    <a:pt x="2252" y="380"/>
                  </a:lnTo>
                  <a:lnTo>
                    <a:pt x="2252" y="380"/>
                  </a:lnTo>
                  <a:lnTo>
                    <a:pt x="2252" y="380"/>
                  </a:lnTo>
                  <a:lnTo>
                    <a:pt x="2254" y="380"/>
                  </a:lnTo>
                  <a:lnTo>
                    <a:pt x="2254" y="380"/>
                  </a:lnTo>
                  <a:lnTo>
                    <a:pt x="2254" y="380"/>
                  </a:lnTo>
                  <a:lnTo>
                    <a:pt x="2254" y="380"/>
                  </a:lnTo>
                  <a:lnTo>
                    <a:pt x="2254" y="380"/>
                  </a:lnTo>
                  <a:lnTo>
                    <a:pt x="2254" y="380"/>
                  </a:lnTo>
                  <a:lnTo>
                    <a:pt x="2254" y="383"/>
                  </a:lnTo>
                  <a:lnTo>
                    <a:pt x="2254" y="383"/>
                  </a:lnTo>
                  <a:lnTo>
                    <a:pt x="2254" y="383"/>
                  </a:lnTo>
                  <a:lnTo>
                    <a:pt x="2256" y="383"/>
                  </a:lnTo>
                  <a:lnTo>
                    <a:pt x="2256" y="383"/>
                  </a:lnTo>
                  <a:lnTo>
                    <a:pt x="2258" y="383"/>
                  </a:lnTo>
                  <a:lnTo>
                    <a:pt x="2261" y="383"/>
                  </a:lnTo>
                  <a:lnTo>
                    <a:pt x="2263" y="385"/>
                  </a:lnTo>
                  <a:lnTo>
                    <a:pt x="2263" y="385"/>
                  </a:lnTo>
                  <a:lnTo>
                    <a:pt x="2263" y="385"/>
                  </a:lnTo>
                  <a:lnTo>
                    <a:pt x="2263" y="385"/>
                  </a:lnTo>
                  <a:lnTo>
                    <a:pt x="2263" y="385"/>
                  </a:lnTo>
                  <a:lnTo>
                    <a:pt x="2263" y="385"/>
                  </a:lnTo>
                  <a:lnTo>
                    <a:pt x="2263" y="385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7"/>
                  </a:lnTo>
                  <a:lnTo>
                    <a:pt x="2263" y="389"/>
                  </a:lnTo>
                  <a:lnTo>
                    <a:pt x="2263" y="389"/>
                  </a:lnTo>
                  <a:lnTo>
                    <a:pt x="2263" y="387"/>
                  </a:lnTo>
                  <a:lnTo>
                    <a:pt x="2261" y="387"/>
                  </a:lnTo>
                  <a:lnTo>
                    <a:pt x="2261" y="387"/>
                  </a:lnTo>
                  <a:lnTo>
                    <a:pt x="2261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7"/>
                  </a:lnTo>
                  <a:lnTo>
                    <a:pt x="2258" y="385"/>
                  </a:lnTo>
                  <a:lnTo>
                    <a:pt x="2258" y="385"/>
                  </a:lnTo>
                  <a:lnTo>
                    <a:pt x="2258" y="385"/>
                  </a:lnTo>
                  <a:lnTo>
                    <a:pt x="2258" y="385"/>
                  </a:lnTo>
                  <a:lnTo>
                    <a:pt x="2258" y="385"/>
                  </a:lnTo>
                  <a:lnTo>
                    <a:pt x="2258" y="385"/>
                  </a:lnTo>
                  <a:lnTo>
                    <a:pt x="2256" y="385"/>
                  </a:lnTo>
                  <a:lnTo>
                    <a:pt x="2254" y="385"/>
                  </a:lnTo>
                  <a:lnTo>
                    <a:pt x="2254" y="385"/>
                  </a:lnTo>
                  <a:lnTo>
                    <a:pt x="2254" y="385"/>
                  </a:lnTo>
                  <a:lnTo>
                    <a:pt x="2254" y="385"/>
                  </a:lnTo>
                  <a:lnTo>
                    <a:pt x="2252" y="385"/>
                  </a:lnTo>
                  <a:lnTo>
                    <a:pt x="2254" y="385"/>
                  </a:lnTo>
                  <a:lnTo>
                    <a:pt x="2254" y="385"/>
                  </a:lnTo>
                  <a:lnTo>
                    <a:pt x="2256" y="385"/>
                  </a:lnTo>
                  <a:lnTo>
                    <a:pt x="2256" y="387"/>
                  </a:lnTo>
                  <a:lnTo>
                    <a:pt x="2256" y="387"/>
                  </a:lnTo>
                  <a:lnTo>
                    <a:pt x="2256" y="387"/>
                  </a:lnTo>
                  <a:lnTo>
                    <a:pt x="2254" y="387"/>
                  </a:lnTo>
                  <a:lnTo>
                    <a:pt x="2252" y="385"/>
                  </a:lnTo>
                  <a:lnTo>
                    <a:pt x="2252" y="385"/>
                  </a:lnTo>
                  <a:lnTo>
                    <a:pt x="2249" y="385"/>
                  </a:lnTo>
                  <a:lnTo>
                    <a:pt x="2249" y="385"/>
                  </a:lnTo>
                  <a:lnTo>
                    <a:pt x="2249" y="385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7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89"/>
                  </a:lnTo>
                  <a:lnTo>
                    <a:pt x="2249" y="392"/>
                  </a:lnTo>
                  <a:lnTo>
                    <a:pt x="2249" y="392"/>
                  </a:lnTo>
                  <a:lnTo>
                    <a:pt x="2249" y="392"/>
                  </a:lnTo>
                  <a:lnTo>
                    <a:pt x="2249" y="392"/>
                  </a:lnTo>
                  <a:lnTo>
                    <a:pt x="2247" y="389"/>
                  </a:lnTo>
                  <a:lnTo>
                    <a:pt x="2247" y="389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9" y="392"/>
                  </a:lnTo>
                  <a:lnTo>
                    <a:pt x="2249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2"/>
                  </a:lnTo>
                  <a:lnTo>
                    <a:pt x="2247" y="394"/>
                  </a:lnTo>
                  <a:lnTo>
                    <a:pt x="2247" y="394"/>
                  </a:lnTo>
                  <a:lnTo>
                    <a:pt x="2245" y="394"/>
                  </a:lnTo>
                  <a:lnTo>
                    <a:pt x="2245" y="394"/>
                  </a:lnTo>
                  <a:lnTo>
                    <a:pt x="2247" y="394"/>
                  </a:lnTo>
                  <a:lnTo>
                    <a:pt x="2247" y="394"/>
                  </a:lnTo>
                  <a:lnTo>
                    <a:pt x="2247" y="394"/>
                  </a:lnTo>
                  <a:lnTo>
                    <a:pt x="2247" y="394"/>
                  </a:lnTo>
                  <a:lnTo>
                    <a:pt x="2247" y="394"/>
                  </a:lnTo>
                  <a:lnTo>
                    <a:pt x="2247" y="396"/>
                  </a:lnTo>
                  <a:lnTo>
                    <a:pt x="2247" y="396"/>
                  </a:lnTo>
                  <a:lnTo>
                    <a:pt x="2247" y="396"/>
                  </a:lnTo>
                  <a:lnTo>
                    <a:pt x="2247" y="394"/>
                  </a:lnTo>
                  <a:lnTo>
                    <a:pt x="2247" y="394"/>
                  </a:lnTo>
                  <a:lnTo>
                    <a:pt x="2245" y="396"/>
                  </a:lnTo>
                  <a:lnTo>
                    <a:pt x="2245" y="396"/>
                  </a:lnTo>
                  <a:lnTo>
                    <a:pt x="2245" y="396"/>
                  </a:lnTo>
                  <a:lnTo>
                    <a:pt x="2247" y="396"/>
                  </a:lnTo>
                  <a:lnTo>
                    <a:pt x="2245" y="396"/>
                  </a:lnTo>
                  <a:lnTo>
                    <a:pt x="2245" y="396"/>
                  </a:lnTo>
                  <a:lnTo>
                    <a:pt x="2245" y="396"/>
                  </a:lnTo>
                  <a:lnTo>
                    <a:pt x="2245" y="396"/>
                  </a:lnTo>
                  <a:lnTo>
                    <a:pt x="2247" y="396"/>
                  </a:lnTo>
                  <a:lnTo>
                    <a:pt x="2247" y="396"/>
                  </a:lnTo>
                  <a:lnTo>
                    <a:pt x="2247" y="396"/>
                  </a:lnTo>
                  <a:lnTo>
                    <a:pt x="2247" y="396"/>
                  </a:lnTo>
                  <a:lnTo>
                    <a:pt x="2247" y="396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398"/>
                  </a:lnTo>
                  <a:lnTo>
                    <a:pt x="2245" y="401"/>
                  </a:lnTo>
                  <a:lnTo>
                    <a:pt x="2245" y="401"/>
                  </a:lnTo>
                  <a:lnTo>
                    <a:pt x="2245" y="401"/>
                  </a:lnTo>
                  <a:lnTo>
                    <a:pt x="2245" y="401"/>
                  </a:lnTo>
                  <a:lnTo>
                    <a:pt x="2245" y="401"/>
                  </a:lnTo>
                  <a:lnTo>
                    <a:pt x="2245" y="401"/>
                  </a:lnTo>
                  <a:lnTo>
                    <a:pt x="2245" y="401"/>
                  </a:lnTo>
                  <a:lnTo>
                    <a:pt x="2245" y="403"/>
                  </a:lnTo>
                  <a:lnTo>
                    <a:pt x="2245" y="403"/>
                  </a:lnTo>
                  <a:lnTo>
                    <a:pt x="2245" y="405"/>
                  </a:lnTo>
                  <a:lnTo>
                    <a:pt x="2247" y="405"/>
                  </a:lnTo>
                  <a:lnTo>
                    <a:pt x="2247" y="405"/>
                  </a:lnTo>
                  <a:lnTo>
                    <a:pt x="2247" y="405"/>
                  </a:lnTo>
                  <a:lnTo>
                    <a:pt x="2245" y="405"/>
                  </a:lnTo>
                  <a:lnTo>
                    <a:pt x="2245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5" y="405"/>
                  </a:lnTo>
                  <a:lnTo>
                    <a:pt x="2245" y="405"/>
                  </a:lnTo>
                  <a:lnTo>
                    <a:pt x="2245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3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5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40" y="407"/>
                  </a:lnTo>
                  <a:lnTo>
                    <a:pt x="2238" y="407"/>
                  </a:lnTo>
                  <a:lnTo>
                    <a:pt x="2238" y="407"/>
                  </a:lnTo>
                  <a:lnTo>
                    <a:pt x="2238" y="407"/>
                  </a:lnTo>
                  <a:lnTo>
                    <a:pt x="2238" y="407"/>
                  </a:lnTo>
                  <a:lnTo>
                    <a:pt x="2236" y="407"/>
                  </a:lnTo>
                  <a:lnTo>
                    <a:pt x="2238" y="407"/>
                  </a:lnTo>
                  <a:lnTo>
                    <a:pt x="2238" y="407"/>
                  </a:lnTo>
                  <a:lnTo>
                    <a:pt x="2238" y="405"/>
                  </a:lnTo>
                  <a:lnTo>
                    <a:pt x="2238" y="405"/>
                  </a:lnTo>
                  <a:lnTo>
                    <a:pt x="2238" y="405"/>
                  </a:lnTo>
                  <a:lnTo>
                    <a:pt x="2236" y="405"/>
                  </a:lnTo>
                  <a:lnTo>
                    <a:pt x="2236" y="405"/>
                  </a:lnTo>
                  <a:lnTo>
                    <a:pt x="2236" y="405"/>
                  </a:lnTo>
                  <a:lnTo>
                    <a:pt x="2236" y="405"/>
                  </a:lnTo>
                  <a:lnTo>
                    <a:pt x="2234" y="403"/>
                  </a:lnTo>
                  <a:lnTo>
                    <a:pt x="2234" y="403"/>
                  </a:lnTo>
                  <a:lnTo>
                    <a:pt x="2234" y="403"/>
                  </a:lnTo>
                  <a:lnTo>
                    <a:pt x="2234" y="403"/>
                  </a:lnTo>
                  <a:lnTo>
                    <a:pt x="2234" y="403"/>
                  </a:lnTo>
                  <a:lnTo>
                    <a:pt x="2234" y="403"/>
                  </a:lnTo>
                  <a:lnTo>
                    <a:pt x="2234" y="403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401"/>
                  </a:lnTo>
                  <a:lnTo>
                    <a:pt x="2234" y="398"/>
                  </a:lnTo>
                  <a:lnTo>
                    <a:pt x="2234" y="398"/>
                  </a:lnTo>
                  <a:lnTo>
                    <a:pt x="2234" y="398"/>
                  </a:lnTo>
                  <a:lnTo>
                    <a:pt x="2234" y="398"/>
                  </a:lnTo>
                  <a:lnTo>
                    <a:pt x="2234" y="398"/>
                  </a:lnTo>
                  <a:lnTo>
                    <a:pt x="2231" y="398"/>
                  </a:lnTo>
                  <a:lnTo>
                    <a:pt x="2231" y="398"/>
                  </a:lnTo>
                  <a:lnTo>
                    <a:pt x="2231" y="398"/>
                  </a:lnTo>
                  <a:lnTo>
                    <a:pt x="2231" y="398"/>
                  </a:lnTo>
                  <a:lnTo>
                    <a:pt x="2231" y="398"/>
                  </a:lnTo>
                  <a:lnTo>
                    <a:pt x="2229" y="398"/>
                  </a:lnTo>
                  <a:lnTo>
                    <a:pt x="2227" y="398"/>
                  </a:lnTo>
                  <a:lnTo>
                    <a:pt x="2227" y="398"/>
                  </a:lnTo>
                  <a:lnTo>
                    <a:pt x="2227" y="398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7" y="401"/>
                  </a:lnTo>
                  <a:lnTo>
                    <a:pt x="2225" y="401"/>
                  </a:lnTo>
                  <a:lnTo>
                    <a:pt x="2225" y="401"/>
                  </a:lnTo>
                  <a:lnTo>
                    <a:pt x="2225" y="401"/>
                  </a:lnTo>
                  <a:lnTo>
                    <a:pt x="2225" y="401"/>
                  </a:lnTo>
                  <a:lnTo>
                    <a:pt x="2225" y="401"/>
                  </a:lnTo>
                  <a:lnTo>
                    <a:pt x="2225" y="401"/>
                  </a:lnTo>
                  <a:lnTo>
                    <a:pt x="2225" y="401"/>
                  </a:lnTo>
                  <a:lnTo>
                    <a:pt x="2225" y="398"/>
                  </a:lnTo>
                  <a:lnTo>
                    <a:pt x="2225" y="398"/>
                  </a:lnTo>
                  <a:lnTo>
                    <a:pt x="2225" y="398"/>
                  </a:lnTo>
                  <a:lnTo>
                    <a:pt x="2225" y="398"/>
                  </a:lnTo>
                  <a:lnTo>
                    <a:pt x="2222" y="398"/>
                  </a:lnTo>
                  <a:lnTo>
                    <a:pt x="2222" y="398"/>
                  </a:lnTo>
                  <a:lnTo>
                    <a:pt x="2222" y="396"/>
                  </a:lnTo>
                  <a:lnTo>
                    <a:pt x="2222" y="396"/>
                  </a:lnTo>
                  <a:lnTo>
                    <a:pt x="2222" y="396"/>
                  </a:lnTo>
                  <a:lnTo>
                    <a:pt x="2222" y="396"/>
                  </a:lnTo>
                  <a:lnTo>
                    <a:pt x="2222" y="396"/>
                  </a:lnTo>
                  <a:lnTo>
                    <a:pt x="2220" y="396"/>
                  </a:lnTo>
                  <a:lnTo>
                    <a:pt x="2220" y="396"/>
                  </a:lnTo>
                  <a:lnTo>
                    <a:pt x="2220" y="394"/>
                  </a:lnTo>
                  <a:lnTo>
                    <a:pt x="2220" y="394"/>
                  </a:lnTo>
                  <a:lnTo>
                    <a:pt x="2220" y="394"/>
                  </a:lnTo>
                  <a:lnTo>
                    <a:pt x="2220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6" y="394"/>
                  </a:lnTo>
                  <a:lnTo>
                    <a:pt x="2216" y="394"/>
                  </a:lnTo>
                  <a:lnTo>
                    <a:pt x="2216" y="394"/>
                  </a:lnTo>
                  <a:lnTo>
                    <a:pt x="2216" y="394"/>
                  </a:lnTo>
                  <a:lnTo>
                    <a:pt x="2216" y="394"/>
                  </a:lnTo>
                  <a:lnTo>
                    <a:pt x="2216" y="394"/>
                  </a:lnTo>
                  <a:lnTo>
                    <a:pt x="2216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8" y="394"/>
                  </a:lnTo>
                  <a:lnTo>
                    <a:pt x="2216" y="392"/>
                  </a:lnTo>
                  <a:lnTo>
                    <a:pt x="2216" y="392"/>
                  </a:lnTo>
                  <a:lnTo>
                    <a:pt x="2216" y="392"/>
                  </a:lnTo>
                  <a:lnTo>
                    <a:pt x="2216" y="392"/>
                  </a:lnTo>
                  <a:lnTo>
                    <a:pt x="2216" y="392"/>
                  </a:lnTo>
                  <a:lnTo>
                    <a:pt x="2216" y="392"/>
                  </a:lnTo>
                  <a:lnTo>
                    <a:pt x="2218" y="392"/>
                  </a:lnTo>
                  <a:lnTo>
                    <a:pt x="2218" y="392"/>
                  </a:lnTo>
                  <a:lnTo>
                    <a:pt x="2218" y="392"/>
                  </a:lnTo>
                  <a:lnTo>
                    <a:pt x="2216" y="392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9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6" y="387"/>
                  </a:lnTo>
                  <a:lnTo>
                    <a:pt x="2213" y="385"/>
                  </a:lnTo>
                  <a:lnTo>
                    <a:pt x="2213" y="385"/>
                  </a:lnTo>
                  <a:lnTo>
                    <a:pt x="2213" y="385"/>
                  </a:lnTo>
                  <a:lnTo>
                    <a:pt x="2213" y="385"/>
                  </a:lnTo>
                  <a:lnTo>
                    <a:pt x="2213" y="385"/>
                  </a:lnTo>
                  <a:lnTo>
                    <a:pt x="2213" y="385"/>
                  </a:lnTo>
                  <a:lnTo>
                    <a:pt x="2213" y="383"/>
                  </a:lnTo>
                  <a:lnTo>
                    <a:pt x="2213" y="383"/>
                  </a:lnTo>
                  <a:lnTo>
                    <a:pt x="2213" y="383"/>
                  </a:lnTo>
                  <a:lnTo>
                    <a:pt x="2213" y="383"/>
                  </a:lnTo>
                  <a:lnTo>
                    <a:pt x="2211" y="383"/>
                  </a:lnTo>
                  <a:lnTo>
                    <a:pt x="2211" y="383"/>
                  </a:lnTo>
                  <a:lnTo>
                    <a:pt x="2211" y="383"/>
                  </a:lnTo>
                  <a:lnTo>
                    <a:pt x="2211" y="383"/>
                  </a:lnTo>
                  <a:lnTo>
                    <a:pt x="2211" y="380"/>
                  </a:lnTo>
                  <a:lnTo>
                    <a:pt x="2211" y="380"/>
                  </a:lnTo>
                  <a:lnTo>
                    <a:pt x="2211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80"/>
                  </a:lnTo>
                  <a:lnTo>
                    <a:pt x="2209" y="378"/>
                  </a:lnTo>
                  <a:lnTo>
                    <a:pt x="2209" y="378"/>
                  </a:lnTo>
                  <a:lnTo>
                    <a:pt x="2207" y="378"/>
                  </a:lnTo>
                  <a:lnTo>
                    <a:pt x="2207" y="378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7" y="380"/>
                  </a:lnTo>
                  <a:lnTo>
                    <a:pt x="2204" y="383"/>
                  </a:lnTo>
                  <a:lnTo>
                    <a:pt x="2204" y="383"/>
                  </a:lnTo>
                  <a:lnTo>
                    <a:pt x="2204" y="383"/>
                  </a:lnTo>
                  <a:lnTo>
                    <a:pt x="2204" y="383"/>
                  </a:lnTo>
                  <a:lnTo>
                    <a:pt x="2204" y="383"/>
                  </a:lnTo>
                  <a:lnTo>
                    <a:pt x="2204" y="383"/>
                  </a:lnTo>
                  <a:lnTo>
                    <a:pt x="2207" y="383"/>
                  </a:lnTo>
                  <a:lnTo>
                    <a:pt x="2207" y="383"/>
                  </a:lnTo>
                  <a:lnTo>
                    <a:pt x="2207" y="385"/>
                  </a:lnTo>
                  <a:lnTo>
                    <a:pt x="2207" y="385"/>
                  </a:lnTo>
                  <a:lnTo>
                    <a:pt x="2204" y="385"/>
                  </a:lnTo>
                  <a:lnTo>
                    <a:pt x="2204" y="385"/>
                  </a:lnTo>
                  <a:lnTo>
                    <a:pt x="2204" y="385"/>
                  </a:lnTo>
                  <a:lnTo>
                    <a:pt x="2204" y="385"/>
                  </a:lnTo>
                  <a:lnTo>
                    <a:pt x="2204" y="385"/>
                  </a:lnTo>
                  <a:lnTo>
                    <a:pt x="2204" y="385"/>
                  </a:lnTo>
                  <a:lnTo>
                    <a:pt x="2204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2" y="385"/>
                  </a:lnTo>
                  <a:lnTo>
                    <a:pt x="2200" y="385"/>
                  </a:lnTo>
                  <a:lnTo>
                    <a:pt x="2200" y="385"/>
                  </a:lnTo>
                  <a:lnTo>
                    <a:pt x="2200" y="385"/>
                  </a:lnTo>
                  <a:lnTo>
                    <a:pt x="2200" y="385"/>
                  </a:lnTo>
                  <a:lnTo>
                    <a:pt x="2200" y="385"/>
                  </a:lnTo>
                  <a:lnTo>
                    <a:pt x="2200" y="383"/>
                  </a:lnTo>
                  <a:lnTo>
                    <a:pt x="2200" y="383"/>
                  </a:lnTo>
                  <a:lnTo>
                    <a:pt x="2200" y="383"/>
                  </a:lnTo>
                  <a:lnTo>
                    <a:pt x="2198" y="383"/>
                  </a:lnTo>
                  <a:lnTo>
                    <a:pt x="2198" y="383"/>
                  </a:lnTo>
                  <a:lnTo>
                    <a:pt x="2198" y="383"/>
                  </a:lnTo>
                  <a:lnTo>
                    <a:pt x="2198" y="383"/>
                  </a:lnTo>
                  <a:lnTo>
                    <a:pt x="2198" y="383"/>
                  </a:lnTo>
                  <a:lnTo>
                    <a:pt x="2198" y="383"/>
                  </a:lnTo>
                  <a:lnTo>
                    <a:pt x="2198" y="383"/>
                  </a:lnTo>
                  <a:lnTo>
                    <a:pt x="2195" y="383"/>
                  </a:lnTo>
                  <a:lnTo>
                    <a:pt x="2195" y="383"/>
                  </a:lnTo>
                  <a:lnTo>
                    <a:pt x="2195" y="383"/>
                  </a:lnTo>
                  <a:lnTo>
                    <a:pt x="2195" y="380"/>
                  </a:lnTo>
                  <a:lnTo>
                    <a:pt x="2193" y="380"/>
                  </a:lnTo>
                  <a:lnTo>
                    <a:pt x="2193" y="380"/>
                  </a:lnTo>
                  <a:lnTo>
                    <a:pt x="2191" y="380"/>
                  </a:lnTo>
                  <a:lnTo>
                    <a:pt x="2191" y="380"/>
                  </a:lnTo>
                  <a:lnTo>
                    <a:pt x="2189" y="380"/>
                  </a:lnTo>
                  <a:lnTo>
                    <a:pt x="2189" y="380"/>
                  </a:lnTo>
                  <a:lnTo>
                    <a:pt x="2186" y="380"/>
                  </a:lnTo>
                  <a:lnTo>
                    <a:pt x="2186" y="380"/>
                  </a:lnTo>
                  <a:lnTo>
                    <a:pt x="2186" y="380"/>
                  </a:lnTo>
                  <a:lnTo>
                    <a:pt x="2186" y="380"/>
                  </a:lnTo>
                  <a:lnTo>
                    <a:pt x="2186" y="380"/>
                  </a:lnTo>
                  <a:lnTo>
                    <a:pt x="2186" y="380"/>
                  </a:lnTo>
                  <a:lnTo>
                    <a:pt x="2186" y="380"/>
                  </a:lnTo>
                  <a:lnTo>
                    <a:pt x="2186" y="383"/>
                  </a:lnTo>
                  <a:lnTo>
                    <a:pt x="2186" y="383"/>
                  </a:lnTo>
                  <a:lnTo>
                    <a:pt x="2186" y="383"/>
                  </a:lnTo>
                  <a:lnTo>
                    <a:pt x="2186" y="383"/>
                  </a:lnTo>
                  <a:lnTo>
                    <a:pt x="2184" y="380"/>
                  </a:lnTo>
                  <a:lnTo>
                    <a:pt x="2184" y="380"/>
                  </a:lnTo>
                  <a:lnTo>
                    <a:pt x="2182" y="383"/>
                  </a:lnTo>
                  <a:lnTo>
                    <a:pt x="2182" y="383"/>
                  </a:lnTo>
                  <a:lnTo>
                    <a:pt x="2182" y="383"/>
                  </a:lnTo>
                  <a:lnTo>
                    <a:pt x="2182" y="383"/>
                  </a:lnTo>
                  <a:lnTo>
                    <a:pt x="2180" y="383"/>
                  </a:lnTo>
                  <a:lnTo>
                    <a:pt x="2180" y="383"/>
                  </a:lnTo>
                  <a:lnTo>
                    <a:pt x="2180" y="383"/>
                  </a:lnTo>
                  <a:lnTo>
                    <a:pt x="2177" y="383"/>
                  </a:lnTo>
                  <a:lnTo>
                    <a:pt x="2177" y="383"/>
                  </a:lnTo>
                  <a:lnTo>
                    <a:pt x="2177" y="383"/>
                  </a:lnTo>
                  <a:lnTo>
                    <a:pt x="2175" y="385"/>
                  </a:lnTo>
                  <a:lnTo>
                    <a:pt x="2175" y="385"/>
                  </a:lnTo>
                  <a:lnTo>
                    <a:pt x="2175" y="383"/>
                  </a:lnTo>
                  <a:lnTo>
                    <a:pt x="2173" y="383"/>
                  </a:lnTo>
                  <a:lnTo>
                    <a:pt x="2173" y="383"/>
                  </a:lnTo>
                  <a:lnTo>
                    <a:pt x="2173" y="383"/>
                  </a:lnTo>
                  <a:lnTo>
                    <a:pt x="2171" y="383"/>
                  </a:lnTo>
                  <a:lnTo>
                    <a:pt x="2164" y="383"/>
                  </a:lnTo>
                  <a:lnTo>
                    <a:pt x="2164" y="383"/>
                  </a:lnTo>
                  <a:lnTo>
                    <a:pt x="2164" y="383"/>
                  </a:lnTo>
                  <a:lnTo>
                    <a:pt x="2164" y="383"/>
                  </a:lnTo>
                  <a:lnTo>
                    <a:pt x="2164" y="385"/>
                  </a:lnTo>
                  <a:lnTo>
                    <a:pt x="2164" y="385"/>
                  </a:lnTo>
                  <a:lnTo>
                    <a:pt x="2164" y="385"/>
                  </a:lnTo>
                  <a:lnTo>
                    <a:pt x="2164" y="385"/>
                  </a:lnTo>
                  <a:lnTo>
                    <a:pt x="2164" y="385"/>
                  </a:lnTo>
                  <a:lnTo>
                    <a:pt x="2162" y="385"/>
                  </a:lnTo>
                  <a:lnTo>
                    <a:pt x="2162" y="385"/>
                  </a:lnTo>
                  <a:lnTo>
                    <a:pt x="2162" y="385"/>
                  </a:lnTo>
                  <a:lnTo>
                    <a:pt x="2162" y="387"/>
                  </a:lnTo>
                  <a:lnTo>
                    <a:pt x="2162" y="387"/>
                  </a:lnTo>
                  <a:lnTo>
                    <a:pt x="2162" y="387"/>
                  </a:lnTo>
                  <a:lnTo>
                    <a:pt x="2159" y="387"/>
                  </a:lnTo>
                  <a:lnTo>
                    <a:pt x="2159" y="387"/>
                  </a:lnTo>
                  <a:lnTo>
                    <a:pt x="2159" y="387"/>
                  </a:lnTo>
                  <a:lnTo>
                    <a:pt x="2159" y="387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59" y="389"/>
                  </a:lnTo>
                  <a:lnTo>
                    <a:pt x="2162" y="392"/>
                  </a:lnTo>
                  <a:lnTo>
                    <a:pt x="2164" y="392"/>
                  </a:lnTo>
                  <a:lnTo>
                    <a:pt x="2164" y="392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6" y="394"/>
                  </a:lnTo>
                  <a:lnTo>
                    <a:pt x="2166" y="394"/>
                  </a:lnTo>
                  <a:lnTo>
                    <a:pt x="2166" y="394"/>
                  </a:lnTo>
                  <a:lnTo>
                    <a:pt x="2166" y="396"/>
                  </a:lnTo>
                  <a:lnTo>
                    <a:pt x="2166" y="396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4"/>
                  </a:lnTo>
                  <a:lnTo>
                    <a:pt x="2164" y="396"/>
                  </a:lnTo>
                  <a:lnTo>
                    <a:pt x="2164" y="396"/>
                  </a:lnTo>
                  <a:lnTo>
                    <a:pt x="2162" y="396"/>
                  </a:lnTo>
                  <a:lnTo>
                    <a:pt x="2162" y="398"/>
                  </a:lnTo>
                  <a:lnTo>
                    <a:pt x="2162" y="398"/>
                  </a:lnTo>
                  <a:lnTo>
                    <a:pt x="2162" y="401"/>
                  </a:lnTo>
                  <a:lnTo>
                    <a:pt x="2162" y="401"/>
                  </a:lnTo>
                  <a:lnTo>
                    <a:pt x="2162" y="401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2" y="403"/>
                  </a:lnTo>
                  <a:lnTo>
                    <a:pt x="2164" y="403"/>
                  </a:lnTo>
                  <a:lnTo>
                    <a:pt x="2164" y="403"/>
                  </a:lnTo>
                  <a:lnTo>
                    <a:pt x="2164" y="403"/>
                  </a:lnTo>
                  <a:lnTo>
                    <a:pt x="2164" y="403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6" y="405"/>
                  </a:lnTo>
                  <a:lnTo>
                    <a:pt x="2166" y="405"/>
                  </a:lnTo>
                  <a:lnTo>
                    <a:pt x="2166" y="405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4" y="405"/>
                  </a:lnTo>
                  <a:lnTo>
                    <a:pt x="2164" y="407"/>
                  </a:lnTo>
                  <a:lnTo>
                    <a:pt x="2164" y="407"/>
                  </a:lnTo>
                  <a:lnTo>
                    <a:pt x="2162" y="407"/>
                  </a:lnTo>
                  <a:lnTo>
                    <a:pt x="2162" y="407"/>
                  </a:lnTo>
                  <a:lnTo>
                    <a:pt x="2162" y="407"/>
                  </a:lnTo>
                  <a:lnTo>
                    <a:pt x="2162" y="407"/>
                  </a:lnTo>
                  <a:lnTo>
                    <a:pt x="2162" y="407"/>
                  </a:lnTo>
                  <a:lnTo>
                    <a:pt x="2162" y="407"/>
                  </a:lnTo>
                  <a:lnTo>
                    <a:pt x="2162" y="407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64" y="410"/>
                  </a:lnTo>
                  <a:lnTo>
                    <a:pt x="2164" y="410"/>
                  </a:lnTo>
                  <a:lnTo>
                    <a:pt x="2164" y="410"/>
                  </a:lnTo>
                  <a:lnTo>
                    <a:pt x="2164" y="410"/>
                  </a:lnTo>
                  <a:lnTo>
                    <a:pt x="2164" y="410"/>
                  </a:lnTo>
                  <a:lnTo>
                    <a:pt x="2164" y="410"/>
                  </a:lnTo>
                  <a:lnTo>
                    <a:pt x="2164" y="410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62" y="410"/>
                  </a:lnTo>
                  <a:lnTo>
                    <a:pt x="2159" y="412"/>
                  </a:lnTo>
                  <a:lnTo>
                    <a:pt x="2159" y="412"/>
                  </a:lnTo>
                  <a:lnTo>
                    <a:pt x="2159" y="412"/>
                  </a:lnTo>
                  <a:lnTo>
                    <a:pt x="2159" y="412"/>
                  </a:lnTo>
                  <a:lnTo>
                    <a:pt x="2159" y="414"/>
                  </a:lnTo>
                  <a:lnTo>
                    <a:pt x="2159" y="414"/>
                  </a:lnTo>
                  <a:lnTo>
                    <a:pt x="2157" y="414"/>
                  </a:lnTo>
                  <a:lnTo>
                    <a:pt x="2159" y="414"/>
                  </a:lnTo>
                  <a:lnTo>
                    <a:pt x="2157" y="416"/>
                  </a:lnTo>
                  <a:lnTo>
                    <a:pt x="2157" y="416"/>
                  </a:lnTo>
                  <a:lnTo>
                    <a:pt x="2159" y="416"/>
                  </a:lnTo>
                  <a:lnTo>
                    <a:pt x="2159" y="416"/>
                  </a:lnTo>
                  <a:lnTo>
                    <a:pt x="2159" y="416"/>
                  </a:lnTo>
                  <a:lnTo>
                    <a:pt x="2159" y="416"/>
                  </a:lnTo>
                  <a:lnTo>
                    <a:pt x="2159" y="419"/>
                  </a:lnTo>
                  <a:lnTo>
                    <a:pt x="2159" y="421"/>
                  </a:lnTo>
                  <a:lnTo>
                    <a:pt x="2159" y="421"/>
                  </a:lnTo>
                  <a:lnTo>
                    <a:pt x="2159" y="421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5"/>
                  </a:lnTo>
                  <a:lnTo>
                    <a:pt x="2162" y="425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62" y="423"/>
                  </a:lnTo>
                  <a:lnTo>
                    <a:pt x="2159" y="423"/>
                  </a:lnTo>
                  <a:lnTo>
                    <a:pt x="2157" y="423"/>
                  </a:lnTo>
                  <a:lnTo>
                    <a:pt x="2159" y="423"/>
                  </a:lnTo>
                  <a:lnTo>
                    <a:pt x="2159" y="425"/>
                  </a:lnTo>
                  <a:lnTo>
                    <a:pt x="2159" y="425"/>
                  </a:lnTo>
                  <a:lnTo>
                    <a:pt x="2159" y="425"/>
                  </a:lnTo>
                  <a:lnTo>
                    <a:pt x="2162" y="425"/>
                  </a:lnTo>
                  <a:lnTo>
                    <a:pt x="2162" y="428"/>
                  </a:lnTo>
                  <a:lnTo>
                    <a:pt x="2162" y="428"/>
                  </a:lnTo>
                  <a:lnTo>
                    <a:pt x="2162" y="428"/>
                  </a:lnTo>
                  <a:lnTo>
                    <a:pt x="2164" y="428"/>
                  </a:lnTo>
                  <a:lnTo>
                    <a:pt x="2168" y="430"/>
                  </a:lnTo>
                  <a:lnTo>
                    <a:pt x="2168" y="430"/>
                  </a:lnTo>
                  <a:lnTo>
                    <a:pt x="2168" y="430"/>
                  </a:lnTo>
                  <a:lnTo>
                    <a:pt x="2166" y="430"/>
                  </a:lnTo>
                  <a:lnTo>
                    <a:pt x="2166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0"/>
                  </a:lnTo>
                  <a:lnTo>
                    <a:pt x="2164" y="432"/>
                  </a:lnTo>
                  <a:lnTo>
                    <a:pt x="2164" y="432"/>
                  </a:lnTo>
                  <a:lnTo>
                    <a:pt x="2164" y="432"/>
                  </a:lnTo>
                  <a:lnTo>
                    <a:pt x="2164" y="432"/>
                  </a:lnTo>
                  <a:lnTo>
                    <a:pt x="2166" y="432"/>
                  </a:lnTo>
                  <a:lnTo>
                    <a:pt x="2166" y="432"/>
                  </a:lnTo>
                  <a:lnTo>
                    <a:pt x="2166" y="432"/>
                  </a:lnTo>
                  <a:lnTo>
                    <a:pt x="2171" y="434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68" y="432"/>
                  </a:lnTo>
                  <a:lnTo>
                    <a:pt x="2168" y="432"/>
                  </a:lnTo>
                  <a:lnTo>
                    <a:pt x="2168" y="432"/>
                  </a:lnTo>
                  <a:lnTo>
                    <a:pt x="2168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3" y="434"/>
                  </a:lnTo>
                  <a:lnTo>
                    <a:pt x="2173" y="434"/>
                  </a:lnTo>
                  <a:lnTo>
                    <a:pt x="2173" y="434"/>
                  </a:lnTo>
                  <a:lnTo>
                    <a:pt x="2173" y="434"/>
                  </a:lnTo>
                  <a:lnTo>
                    <a:pt x="2173" y="434"/>
                  </a:lnTo>
                  <a:lnTo>
                    <a:pt x="2173" y="434"/>
                  </a:lnTo>
                  <a:lnTo>
                    <a:pt x="2173" y="434"/>
                  </a:lnTo>
                  <a:lnTo>
                    <a:pt x="2175" y="434"/>
                  </a:lnTo>
                  <a:lnTo>
                    <a:pt x="2173" y="434"/>
                  </a:lnTo>
                  <a:lnTo>
                    <a:pt x="2173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1" y="432"/>
                  </a:lnTo>
                  <a:lnTo>
                    <a:pt x="2173" y="432"/>
                  </a:lnTo>
                  <a:lnTo>
                    <a:pt x="2173" y="432"/>
                  </a:lnTo>
                  <a:lnTo>
                    <a:pt x="2173" y="432"/>
                  </a:lnTo>
                  <a:lnTo>
                    <a:pt x="2173" y="432"/>
                  </a:lnTo>
                  <a:lnTo>
                    <a:pt x="2177" y="432"/>
                  </a:lnTo>
                  <a:lnTo>
                    <a:pt x="2177" y="432"/>
                  </a:lnTo>
                  <a:lnTo>
                    <a:pt x="2177" y="432"/>
                  </a:lnTo>
                  <a:lnTo>
                    <a:pt x="2180" y="432"/>
                  </a:lnTo>
                  <a:lnTo>
                    <a:pt x="2180" y="434"/>
                  </a:lnTo>
                  <a:lnTo>
                    <a:pt x="2180" y="434"/>
                  </a:lnTo>
                  <a:lnTo>
                    <a:pt x="2180" y="432"/>
                  </a:lnTo>
                  <a:lnTo>
                    <a:pt x="2180" y="432"/>
                  </a:lnTo>
                  <a:lnTo>
                    <a:pt x="2180" y="432"/>
                  </a:lnTo>
                  <a:lnTo>
                    <a:pt x="2180" y="432"/>
                  </a:lnTo>
                  <a:lnTo>
                    <a:pt x="2180" y="432"/>
                  </a:lnTo>
                  <a:lnTo>
                    <a:pt x="2180" y="432"/>
                  </a:lnTo>
                  <a:lnTo>
                    <a:pt x="2180" y="432"/>
                  </a:lnTo>
                  <a:lnTo>
                    <a:pt x="2182" y="432"/>
                  </a:lnTo>
                  <a:lnTo>
                    <a:pt x="2182" y="434"/>
                  </a:lnTo>
                  <a:lnTo>
                    <a:pt x="2184" y="434"/>
                  </a:lnTo>
                  <a:lnTo>
                    <a:pt x="2184" y="434"/>
                  </a:lnTo>
                  <a:lnTo>
                    <a:pt x="2184" y="434"/>
                  </a:lnTo>
                  <a:lnTo>
                    <a:pt x="2186" y="434"/>
                  </a:lnTo>
                  <a:lnTo>
                    <a:pt x="2186" y="434"/>
                  </a:lnTo>
                  <a:lnTo>
                    <a:pt x="2189" y="437"/>
                  </a:lnTo>
                  <a:lnTo>
                    <a:pt x="2189" y="437"/>
                  </a:lnTo>
                  <a:lnTo>
                    <a:pt x="2189" y="437"/>
                  </a:lnTo>
                  <a:lnTo>
                    <a:pt x="2189" y="437"/>
                  </a:lnTo>
                  <a:lnTo>
                    <a:pt x="2189" y="437"/>
                  </a:lnTo>
                  <a:lnTo>
                    <a:pt x="2191" y="437"/>
                  </a:lnTo>
                  <a:lnTo>
                    <a:pt x="2191" y="439"/>
                  </a:lnTo>
                  <a:lnTo>
                    <a:pt x="2189" y="439"/>
                  </a:lnTo>
                  <a:lnTo>
                    <a:pt x="2191" y="439"/>
                  </a:lnTo>
                  <a:lnTo>
                    <a:pt x="2191" y="439"/>
                  </a:lnTo>
                  <a:lnTo>
                    <a:pt x="2191" y="439"/>
                  </a:lnTo>
                  <a:lnTo>
                    <a:pt x="2191" y="439"/>
                  </a:lnTo>
                  <a:lnTo>
                    <a:pt x="2189" y="439"/>
                  </a:lnTo>
                  <a:lnTo>
                    <a:pt x="2189" y="439"/>
                  </a:lnTo>
                  <a:lnTo>
                    <a:pt x="2186" y="439"/>
                  </a:lnTo>
                  <a:lnTo>
                    <a:pt x="2184" y="439"/>
                  </a:lnTo>
                  <a:lnTo>
                    <a:pt x="2184" y="439"/>
                  </a:lnTo>
                  <a:lnTo>
                    <a:pt x="2184" y="439"/>
                  </a:lnTo>
                  <a:lnTo>
                    <a:pt x="2184" y="439"/>
                  </a:lnTo>
                  <a:lnTo>
                    <a:pt x="2186" y="441"/>
                  </a:lnTo>
                  <a:lnTo>
                    <a:pt x="2186" y="441"/>
                  </a:lnTo>
                  <a:lnTo>
                    <a:pt x="2184" y="441"/>
                  </a:lnTo>
                  <a:lnTo>
                    <a:pt x="2184" y="441"/>
                  </a:lnTo>
                  <a:lnTo>
                    <a:pt x="2184" y="441"/>
                  </a:lnTo>
                  <a:lnTo>
                    <a:pt x="2184" y="441"/>
                  </a:lnTo>
                  <a:lnTo>
                    <a:pt x="2182" y="439"/>
                  </a:lnTo>
                  <a:lnTo>
                    <a:pt x="2182" y="439"/>
                  </a:lnTo>
                  <a:lnTo>
                    <a:pt x="2182" y="439"/>
                  </a:lnTo>
                  <a:lnTo>
                    <a:pt x="2180" y="439"/>
                  </a:lnTo>
                  <a:lnTo>
                    <a:pt x="2177" y="439"/>
                  </a:lnTo>
                  <a:lnTo>
                    <a:pt x="2177" y="439"/>
                  </a:lnTo>
                  <a:lnTo>
                    <a:pt x="2177" y="439"/>
                  </a:lnTo>
                  <a:lnTo>
                    <a:pt x="2177" y="439"/>
                  </a:lnTo>
                  <a:lnTo>
                    <a:pt x="2177" y="439"/>
                  </a:lnTo>
                  <a:lnTo>
                    <a:pt x="2177" y="441"/>
                  </a:lnTo>
                  <a:lnTo>
                    <a:pt x="2180" y="441"/>
                  </a:lnTo>
                  <a:lnTo>
                    <a:pt x="2180" y="441"/>
                  </a:lnTo>
                  <a:lnTo>
                    <a:pt x="2177" y="441"/>
                  </a:lnTo>
                  <a:lnTo>
                    <a:pt x="2180" y="441"/>
                  </a:lnTo>
                  <a:lnTo>
                    <a:pt x="2177" y="441"/>
                  </a:lnTo>
                  <a:lnTo>
                    <a:pt x="2177" y="441"/>
                  </a:lnTo>
                  <a:lnTo>
                    <a:pt x="2177" y="441"/>
                  </a:lnTo>
                  <a:lnTo>
                    <a:pt x="2175" y="441"/>
                  </a:lnTo>
                  <a:lnTo>
                    <a:pt x="2175" y="441"/>
                  </a:lnTo>
                  <a:lnTo>
                    <a:pt x="2175" y="441"/>
                  </a:lnTo>
                  <a:lnTo>
                    <a:pt x="2175" y="441"/>
                  </a:lnTo>
                  <a:lnTo>
                    <a:pt x="2175" y="441"/>
                  </a:lnTo>
                  <a:lnTo>
                    <a:pt x="2173" y="441"/>
                  </a:lnTo>
                  <a:lnTo>
                    <a:pt x="2173" y="441"/>
                  </a:lnTo>
                  <a:lnTo>
                    <a:pt x="2173" y="441"/>
                  </a:lnTo>
                  <a:lnTo>
                    <a:pt x="2173" y="441"/>
                  </a:lnTo>
                  <a:lnTo>
                    <a:pt x="2171" y="441"/>
                  </a:lnTo>
                  <a:lnTo>
                    <a:pt x="2168" y="439"/>
                  </a:lnTo>
                  <a:lnTo>
                    <a:pt x="2168" y="439"/>
                  </a:lnTo>
                  <a:lnTo>
                    <a:pt x="2168" y="439"/>
                  </a:lnTo>
                  <a:lnTo>
                    <a:pt x="2166" y="439"/>
                  </a:lnTo>
                  <a:lnTo>
                    <a:pt x="2166" y="439"/>
                  </a:lnTo>
                  <a:lnTo>
                    <a:pt x="2166" y="439"/>
                  </a:lnTo>
                  <a:lnTo>
                    <a:pt x="2166" y="439"/>
                  </a:lnTo>
                  <a:lnTo>
                    <a:pt x="2166" y="439"/>
                  </a:lnTo>
                  <a:lnTo>
                    <a:pt x="2166" y="439"/>
                  </a:lnTo>
                  <a:lnTo>
                    <a:pt x="2166" y="437"/>
                  </a:lnTo>
                  <a:lnTo>
                    <a:pt x="2164" y="439"/>
                  </a:lnTo>
                  <a:lnTo>
                    <a:pt x="2164" y="439"/>
                  </a:lnTo>
                  <a:lnTo>
                    <a:pt x="2164" y="439"/>
                  </a:lnTo>
                  <a:lnTo>
                    <a:pt x="2162" y="439"/>
                  </a:lnTo>
                  <a:lnTo>
                    <a:pt x="2162" y="439"/>
                  </a:lnTo>
                  <a:lnTo>
                    <a:pt x="2162" y="439"/>
                  </a:lnTo>
                  <a:lnTo>
                    <a:pt x="2159" y="439"/>
                  </a:lnTo>
                  <a:lnTo>
                    <a:pt x="2159" y="439"/>
                  </a:lnTo>
                  <a:lnTo>
                    <a:pt x="2159" y="439"/>
                  </a:lnTo>
                  <a:lnTo>
                    <a:pt x="2159" y="439"/>
                  </a:lnTo>
                  <a:lnTo>
                    <a:pt x="2162" y="439"/>
                  </a:lnTo>
                  <a:lnTo>
                    <a:pt x="2162" y="439"/>
                  </a:lnTo>
                  <a:lnTo>
                    <a:pt x="2159" y="439"/>
                  </a:lnTo>
                  <a:lnTo>
                    <a:pt x="2159" y="439"/>
                  </a:lnTo>
                  <a:lnTo>
                    <a:pt x="2159" y="441"/>
                  </a:lnTo>
                  <a:lnTo>
                    <a:pt x="2162" y="441"/>
                  </a:lnTo>
                  <a:lnTo>
                    <a:pt x="2162" y="441"/>
                  </a:lnTo>
                  <a:lnTo>
                    <a:pt x="2162" y="441"/>
                  </a:lnTo>
                  <a:lnTo>
                    <a:pt x="2162" y="441"/>
                  </a:lnTo>
                  <a:lnTo>
                    <a:pt x="2162" y="441"/>
                  </a:lnTo>
                  <a:lnTo>
                    <a:pt x="2162" y="441"/>
                  </a:lnTo>
                  <a:lnTo>
                    <a:pt x="2159" y="441"/>
                  </a:lnTo>
                  <a:lnTo>
                    <a:pt x="2159" y="441"/>
                  </a:lnTo>
                  <a:lnTo>
                    <a:pt x="2157" y="441"/>
                  </a:lnTo>
                  <a:lnTo>
                    <a:pt x="2157" y="441"/>
                  </a:lnTo>
                  <a:lnTo>
                    <a:pt x="2157" y="441"/>
                  </a:lnTo>
                  <a:lnTo>
                    <a:pt x="2157" y="441"/>
                  </a:lnTo>
                  <a:lnTo>
                    <a:pt x="2157" y="443"/>
                  </a:lnTo>
                  <a:lnTo>
                    <a:pt x="2157" y="443"/>
                  </a:lnTo>
                  <a:lnTo>
                    <a:pt x="2157" y="443"/>
                  </a:lnTo>
                  <a:lnTo>
                    <a:pt x="2157" y="443"/>
                  </a:lnTo>
                  <a:lnTo>
                    <a:pt x="2159" y="443"/>
                  </a:lnTo>
                  <a:lnTo>
                    <a:pt x="2159" y="443"/>
                  </a:lnTo>
                  <a:lnTo>
                    <a:pt x="2159" y="443"/>
                  </a:lnTo>
                  <a:lnTo>
                    <a:pt x="2159" y="446"/>
                  </a:lnTo>
                  <a:lnTo>
                    <a:pt x="2159" y="446"/>
                  </a:lnTo>
                  <a:lnTo>
                    <a:pt x="2159" y="446"/>
                  </a:lnTo>
                  <a:lnTo>
                    <a:pt x="2159" y="446"/>
                  </a:lnTo>
                  <a:lnTo>
                    <a:pt x="2159" y="446"/>
                  </a:lnTo>
                  <a:lnTo>
                    <a:pt x="2157" y="446"/>
                  </a:lnTo>
                  <a:lnTo>
                    <a:pt x="2157" y="446"/>
                  </a:lnTo>
                  <a:lnTo>
                    <a:pt x="2157" y="446"/>
                  </a:lnTo>
                  <a:lnTo>
                    <a:pt x="2157" y="446"/>
                  </a:lnTo>
                  <a:lnTo>
                    <a:pt x="2157" y="446"/>
                  </a:lnTo>
                  <a:lnTo>
                    <a:pt x="2157" y="446"/>
                  </a:lnTo>
                  <a:lnTo>
                    <a:pt x="2155" y="446"/>
                  </a:lnTo>
                  <a:lnTo>
                    <a:pt x="2155" y="443"/>
                  </a:lnTo>
                  <a:lnTo>
                    <a:pt x="2153" y="443"/>
                  </a:lnTo>
                  <a:lnTo>
                    <a:pt x="2153" y="443"/>
                  </a:lnTo>
                  <a:lnTo>
                    <a:pt x="2150" y="443"/>
                  </a:lnTo>
                  <a:lnTo>
                    <a:pt x="2148" y="443"/>
                  </a:lnTo>
                  <a:lnTo>
                    <a:pt x="2148" y="443"/>
                  </a:lnTo>
                  <a:lnTo>
                    <a:pt x="2148" y="441"/>
                  </a:lnTo>
                  <a:lnTo>
                    <a:pt x="2148" y="441"/>
                  </a:lnTo>
                  <a:lnTo>
                    <a:pt x="2146" y="441"/>
                  </a:lnTo>
                  <a:lnTo>
                    <a:pt x="2146" y="441"/>
                  </a:lnTo>
                  <a:lnTo>
                    <a:pt x="2146" y="441"/>
                  </a:lnTo>
                  <a:lnTo>
                    <a:pt x="2146" y="441"/>
                  </a:lnTo>
                  <a:lnTo>
                    <a:pt x="2146" y="443"/>
                  </a:lnTo>
                  <a:lnTo>
                    <a:pt x="2148" y="443"/>
                  </a:lnTo>
                  <a:lnTo>
                    <a:pt x="2148" y="443"/>
                  </a:lnTo>
                  <a:lnTo>
                    <a:pt x="2146" y="443"/>
                  </a:lnTo>
                  <a:lnTo>
                    <a:pt x="2146" y="443"/>
                  </a:lnTo>
                  <a:lnTo>
                    <a:pt x="2144" y="443"/>
                  </a:lnTo>
                  <a:lnTo>
                    <a:pt x="2144" y="443"/>
                  </a:lnTo>
                  <a:lnTo>
                    <a:pt x="2146" y="446"/>
                  </a:lnTo>
                  <a:lnTo>
                    <a:pt x="2146" y="446"/>
                  </a:lnTo>
                  <a:lnTo>
                    <a:pt x="2139" y="446"/>
                  </a:lnTo>
                  <a:lnTo>
                    <a:pt x="2139" y="446"/>
                  </a:lnTo>
                  <a:lnTo>
                    <a:pt x="2137" y="446"/>
                  </a:lnTo>
                  <a:lnTo>
                    <a:pt x="2137" y="446"/>
                  </a:lnTo>
                  <a:lnTo>
                    <a:pt x="2135" y="446"/>
                  </a:lnTo>
                  <a:lnTo>
                    <a:pt x="2135" y="446"/>
                  </a:lnTo>
                  <a:lnTo>
                    <a:pt x="2135" y="446"/>
                  </a:lnTo>
                  <a:lnTo>
                    <a:pt x="2135" y="446"/>
                  </a:lnTo>
                  <a:lnTo>
                    <a:pt x="2135" y="446"/>
                  </a:lnTo>
                  <a:lnTo>
                    <a:pt x="2135" y="446"/>
                  </a:lnTo>
                  <a:lnTo>
                    <a:pt x="2135" y="446"/>
                  </a:lnTo>
                  <a:lnTo>
                    <a:pt x="2132" y="446"/>
                  </a:lnTo>
                  <a:lnTo>
                    <a:pt x="2132" y="446"/>
                  </a:lnTo>
                  <a:lnTo>
                    <a:pt x="2132" y="446"/>
                  </a:lnTo>
                  <a:lnTo>
                    <a:pt x="2132" y="446"/>
                  </a:lnTo>
                  <a:lnTo>
                    <a:pt x="2132" y="446"/>
                  </a:lnTo>
                  <a:lnTo>
                    <a:pt x="2132" y="446"/>
                  </a:lnTo>
                  <a:lnTo>
                    <a:pt x="2130" y="443"/>
                  </a:lnTo>
                  <a:lnTo>
                    <a:pt x="2130" y="443"/>
                  </a:lnTo>
                  <a:lnTo>
                    <a:pt x="2128" y="443"/>
                  </a:lnTo>
                  <a:lnTo>
                    <a:pt x="2128" y="443"/>
                  </a:lnTo>
                  <a:lnTo>
                    <a:pt x="2128" y="443"/>
                  </a:lnTo>
                  <a:lnTo>
                    <a:pt x="2128" y="443"/>
                  </a:lnTo>
                  <a:lnTo>
                    <a:pt x="2128" y="443"/>
                  </a:lnTo>
                  <a:lnTo>
                    <a:pt x="2128" y="443"/>
                  </a:lnTo>
                  <a:lnTo>
                    <a:pt x="2126" y="443"/>
                  </a:lnTo>
                  <a:lnTo>
                    <a:pt x="2126" y="443"/>
                  </a:lnTo>
                  <a:lnTo>
                    <a:pt x="2126" y="441"/>
                  </a:lnTo>
                  <a:lnTo>
                    <a:pt x="2123" y="441"/>
                  </a:lnTo>
                  <a:lnTo>
                    <a:pt x="2123" y="441"/>
                  </a:lnTo>
                  <a:lnTo>
                    <a:pt x="2123" y="441"/>
                  </a:lnTo>
                  <a:lnTo>
                    <a:pt x="2123" y="441"/>
                  </a:lnTo>
                  <a:lnTo>
                    <a:pt x="2126" y="441"/>
                  </a:lnTo>
                  <a:lnTo>
                    <a:pt x="2126" y="441"/>
                  </a:lnTo>
                  <a:lnTo>
                    <a:pt x="2126" y="441"/>
                  </a:lnTo>
                  <a:lnTo>
                    <a:pt x="2126" y="441"/>
                  </a:lnTo>
                  <a:lnTo>
                    <a:pt x="2128" y="441"/>
                  </a:lnTo>
                  <a:lnTo>
                    <a:pt x="2128" y="441"/>
                  </a:lnTo>
                  <a:lnTo>
                    <a:pt x="2128" y="441"/>
                  </a:lnTo>
                  <a:lnTo>
                    <a:pt x="2128" y="439"/>
                  </a:lnTo>
                  <a:lnTo>
                    <a:pt x="2128" y="439"/>
                  </a:lnTo>
                  <a:lnTo>
                    <a:pt x="2128" y="439"/>
                  </a:lnTo>
                  <a:lnTo>
                    <a:pt x="2130" y="439"/>
                  </a:lnTo>
                  <a:lnTo>
                    <a:pt x="2132" y="439"/>
                  </a:lnTo>
                  <a:lnTo>
                    <a:pt x="2132" y="439"/>
                  </a:lnTo>
                  <a:lnTo>
                    <a:pt x="2135" y="441"/>
                  </a:lnTo>
                  <a:lnTo>
                    <a:pt x="2135" y="441"/>
                  </a:lnTo>
                  <a:lnTo>
                    <a:pt x="2135" y="439"/>
                  </a:lnTo>
                  <a:lnTo>
                    <a:pt x="2135" y="439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37" y="439"/>
                  </a:lnTo>
                  <a:lnTo>
                    <a:pt x="2139" y="439"/>
                  </a:lnTo>
                  <a:lnTo>
                    <a:pt x="2139" y="439"/>
                  </a:lnTo>
                  <a:lnTo>
                    <a:pt x="2139" y="439"/>
                  </a:lnTo>
                  <a:lnTo>
                    <a:pt x="2139" y="439"/>
                  </a:lnTo>
                  <a:lnTo>
                    <a:pt x="2141" y="439"/>
                  </a:lnTo>
                  <a:lnTo>
                    <a:pt x="2141" y="439"/>
                  </a:lnTo>
                  <a:lnTo>
                    <a:pt x="2141" y="439"/>
                  </a:lnTo>
                  <a:lnTo>
                    <a:pt x="2141" y="439"/>
                  </a:lnTo>
                  <a:lnTo>
                    <a:pt x="2141" y="439"/>
                  </a:lnTo>
                  <a:lnTo>
                    <a:pt x="2141" y="439"/>
                  </a:lnTo>
                  <a:lnTo>
                    <a:pt x="2139" y="437"/>
                  </a:lnTo>
                  <a:lnTo>
                    <a:pt x="2137" y="437"/>
                  </a:lnTo>
                  <a:lnTo>
                    <a:pt x="2137" y="437"/>
                  </a:lnTo>
                  <a:lnTo>
                    <a:pt x="2137" y="437"/>
                  </a:lnTo>
                  <a:lnTo>
                    <a:pt x="2137" y="437"/>
                  </a:lnTo>
                  <a:lnTo>
                    <a:pt x="2137" y="437"/>
                  </a:lnTo>
                  <a:lnTo>
                    <a:pt x="2135" y="437"/>
                  </a:lnTo>
                  <a:lnTo>
                    <a:pt x="2135" y="437"/>
                  </a:lnTo>
                  <a:lnTo>
                    <a:pt x="2135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2" y="437"/>
                  </a:lnTo>
                  <a:lnTo>
                    <a:pt x="2130" y="437"/>
                  </a:lnTo>
                  <a:lnTo>
                    <a:pt x="2130" y="437"/>
                  </a:lnTo>
                  <a:lnTo>
                    <a:pt x="2130" y="437"/>
                  </a:lnTo>
                  <a:lnTo>
                    <a:pt x="2130" y="437"/>
                  </a:lnTo>
                  <a:lnTo>
                    <a:pt x="2128" y="437"/>
                  </a:lnTo>
                  <a:lnTo>
                    <a:pt x="2128" y="437"/>
                  </a:lnTo>
                  <a:lnTo>
                    <a:pt x="2128" y="437"/>
                  </a:lnTo>
                  <a:lnTo>
                    <a:pt x="2128" y="437"/>
                  </a:lnTo>
                  <a:lnTo>
                    <a:pt x="2128" y="434"/>
                  </a:lnTo>
                  <a:lnTo>
                    <a:pt x="2128" y="434"/>
                  </a:lnTo>
                  <a:lnTo>
                    <a:pt x="2128" y="434"/>
                  </a:lnTo>
                  <a:lnTo>
                    <a:pt x="2128" y="434"/>
                  </a:lnTo>
                  <a:lnTo>
                    <a:pt x="2126" y="434"/>
                  </a:lnTo>
                  <a:lnTo>
                    <a:pt x="2126" y="434"/>
                  </a:lnTo>
                  <a:lnTo>
                    <a:pt x="2126" y="434"/>
                  </a:lnTo>
                  <a:lnTo>
                    <a:pt x="2123" y="432"/>
                  </a:lnTo>
                  <a:lnTo>
                    <a:pt x="2123" y="432"/>
                  </a:lnTo>
                  <a:lnTo>
                    <a:pt x="2123" y="432"/>
                  </a:lnTo>
                  <a:lnTo>
                    <a:pt x="2123" y="432"/>
                  </a:lnTo>
                  <a:lnTo>
                    <a:pt x="2121" y="432"/>
                  </a:lnTo>
                  <a:lnTo>
                    <a:pt x="2121" y="432"/>
                  </a:lnTo>
                  <a:lnTo>
                    <a:pt x="2121" y="432"/>
                  </a:lnTo>
                  <a:lnTo>
                    <a:pt x="2121" y="432"/>
                  </a:lnTo>
                  <a:lnTo>
                    <a:pt x="2121" y="432"/>
                  </a:lnTo>
                  <a:lnTo>
                    <a:pt x="2119" y="432"/>
                  </a:lnTo>
                  <a:lnTo>
                    <a:pt x="2119" y="432"/>
                  </a:lnTo>
                  <a:lnTo>
                    <a:pt x="2119" y="432"/>
                  </a:lnTo>
                  <a:lnTo>
                    <a:pt x="2119" y="432"/>
                  </a:lnTo>
                  <a:lnTo>
                    <a:pt x="2119" y="430"/>
                  </a:lnTo>
                  <a:lnTo>
                    <a:pt x="2119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7" y="430"/>
                  </a:lnTo>
                  <a:lnTo>
                    <a:pt x="2115" y="430"/>
                  </a:lnTo>
                  <a:lnTo>
                    <a:pt x="2115" y="430"/>
                  </a:lnTo>
                  <a:lnTo>
                    <a:pt x="2112" y="430"/>
                  </a:lnTo>
                  <a:lnTo>
                    <a:pt x="2112" y="430"/>
                  </a:lnTo>
                  <a:lnTo>
                    <a:pt x="2112" y="430"/>
                  </a:lnTo>
                  <a:lnTo>
                    <a:pt x="2110" y="430"/>
                  </a:lnTo>
                  <a:lnTo>
                    <a:pt x="2110" y="430"/>
                  </a:lnTo>
                  <a:lnTo>
                    <a:pt x="2110" y="430"/>
                  </a:lnTo>
                  <a:lnTo>
                    <a:pt x="2110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2" y="432"/>
                  </a:lnTo>
                  <a:lnTo>
                    <a:pt x="2110" y="432"/>
                  </a:lnTo>
                  <a:lnTo>
                    <a:pt x="2110" y="434"/>
                  </a:lnTo>
                  <a:lnTo>
                    <a:pt x="2110" y="434"/>
                  </a:lnTo>
                  <a:lnTo>
                    <a:pt x="2108" y="432"/>
                  </a:lnTo>
                  <a:lnTo>
                    <a:pt x="2108" y="432"/>
                  </a:lnTo>
                  <a:lnTo>
                    <a:pt x="2108" y="432"/>
                  </a:lnTo>
                  <a:lnTo>
                    <a:pt x="2108" y="432"/>
                  </a:lnTo>
                  <a:lnTo>
                    <a:pt x="2108" y="432"/>
                  </a:lnTo>
                  <a:lnTo>
                    <a:pt x="2108" y="432"/>
                  </a:lnTo>
                  <a:lnTo>
                    <a:pt x="2106" y="432"/>
                  </a:lnTo>
                  <a:lnTo>
                    <a:pt x="2106" y="432"/>
                  </a:lnTo>
                  <a:lnTo>
                    <a:pt x="2103" y="432"/>
                  </a:lnTo>
                  <a:lnTo>
                    <a:pt x="2106" y="432"/>
                  </a:lnTo>
                  <a:lnTo>
                    <a:pt x="2106" y="432"/>
                  </a:lnTo>
                  <a:lnTo>
                    <a:pt x="2108" y="432"/>
                  </a:lnTo>
                  <a:lnTo>
                    <a:pt x="2108" y="432"/>
                  </a:lnTo>
                  <a:lnTo>
                    <a:pt x="2108" y="430"/>
                  </a:lnTo>
                  <a:lnTo>
                    <a:pt x="2106" y="430"/>
                  </a:lnTo>
                  <a:lnTo>
                    <a:pt x="2106" y="430"/>
                  </a:lnTo>
                  <a:lnTo>
                    <a:pt x="2106" y="432"/>
                  </a:lnTo>
                  <a:lnTo>
                    <a:pt x="2103" y="432"/>
                  </a:lnTo>
                  <a:lnTo>
                    <a:pt x="2103" y="430"/>
                  </a:lnTo>
                  <a:lnTo>
                    <a:pt x="2103" y="430"/>
                  </a:lnTo>
                  <a:lnTo>
                    <a:pt x="2103" y="430"/>
                  </a:lnTo>
                  <a:lnTo>
                    <a:pt x="2103" y="430"/>
                  </a:lnTo>
                  <a:lnTo>
                    <a:pt x="2101" y="430"/>
                  </a:lnTo>
                  <a:lnTo>
                    <a:pt x="2101" y="430"/>
                  </a:lnTo>
                  <a:lnTo>
                    <a:pt x="2101" y="430"/>
                  </a:lnTo>
                  <a:lnTo>
                    <a:pt x="2101" y="430"/>
                  </a:lnTo>
                  <a:lnTo>
                    <a:pt x="2099" y="430"/>
                  </a:lnTo>
                  <a:lnTo>
                    <a:pt x="2099" y="430"/>
                  </a:lnTo>
                  <a:lnTo>
                    <a:pt x="2097" y="430"/>
                  </a:lnTo>
                  <a:lnTo>
                    <a:pt x="2097" y="430"/>
                  </a:lnTo>
                  <a:lnTo>
                    <a:pt x="2094" y="428"/>
                  </a:lnTo>
                  <a:lnTo>
                    <a:pt x="2092" y="428"/>
                  </a:lnTo>
                  <a:lnTo>
                    <a:pt x="2085" y="428"/>
                  </a:lnTo>
                  <a:lnTo>
                    <a:pt x="2083" y="425"/>
                  </a:lnTo>
                  <a:lnTo>
                    <a:pt x="2081" y="425"/>
                  </a:lnTo>
                  <a:lnTo>
                    <a:pt x="2081" y="428"/>
                  </a:lnTo>
                  <a:lnTo>
                    <a:pt x="2081" y="428"/>
                  </a:lnTo>
                  <a:lnTo>
                    <a:pt x="2079" y="428"/>
                  </a:lnTo>
                  <a:lnTo>
                    <a:pt x="2079" y="425"/>
                  </a:lnTo>
                  <a:lnTo>
                    <a:pt x="2079" y="425"/>
                  </a:lnTo>
                  <a:lnTo>
                    <a:pt x="2079" y="428"/>
                  </a:lnTo>
                  <a:lnTo>
                    <a:pt x="2079" y="428"/>
                  </a:lnTo>
                  <a:lnTo>
                    <a:pt x="2079" y="428"/>
                  </a:lnTo>
                  <a:lnTo>
                    <a:pt x="2079" y="428"/>
                  </a:lnTo>
                  <a:lnTo>
                    <a:pt x="2079" y="430"/>
                  </a:lnTo>
                  <a:lnTo>
                    <a:pt x="2076" y="430"/>
                  </a:lnTo>
                  <a:lnTo>
                    <a:pt x="2076" y="430"/>
                  </a:lnTo>
                  <a:lnTo>
                    <a:pt x="2076" y="430"/>
                  </a:lnTo>
                  <a:lnTo>
                    <a:pt x="2076" y="430"/>
                  </a:lnTo>
                  <a:lnTo>
                    <a:pt x="2079" y="430"/>
                  </a:lnTo>
                  <a:lnTo>
                    <a:pt x="2079" y="430"/>
                  </a:lnTo>
                  <a:lnTo>
                    <a:pt x="2079" y="430"/>
                  </a:lnTo>
                  <a:lnTo>
                    <a:pt x="2079" y="430"/>
                  </a:lnTo>
                  <a:lnTo>
                    <a:pt x="2079" y="430"/>
                  </a:lnTo>
                  <a:lnTo>
                    <a:pt x="2079" y="430"/>
                  </a:lnTo>
                  <a:lnTo>
                    <a:pt x="2081" y="432"/>
                  </a:lnTo>
                  <a:lnTo>
                    <a:pt x="2081" y="432"/>
                  </a:lnTo>
                  <a:lnTo>
                    <a:pt x="2083" y="432"/>
                  </a:lnTo>
                  <a:lnTo>
                    <a:pt x="2083" y="432"/>
                  </a:lnTo>
                  <a:lnTo>
                    <a:pt x="2083" y="432"/>
                  </a:lnTo>
                  <a:lnTo>
                    <a:pt x="2083" y="432"/>
                  </a:lnTo>
                  <a:lnTo>
                    <a:pt x="2083" y="432"/>
                  </a:lnTo>
                  <a:lnTo>
                    <a:pt x="2083" y="432"/>
                  </a:lnTo>
                  <a:lnTo>
                    <a:pt x="2081" y="432"/>
                  </a:lnTo>
                  <a:lnTo>
                    <a:pt x="2081" y="432"/>
                  </a:lnTo>
                  <a:lnTo>
                    <a:pt x="2081" y="432"/>
                  </a:lnTo>
                  <a:lnTo>
                    <a:pt x="2081" y="432"/>
                  </a:lnTo>
                  <a:lnTo>
                    <a:pt x="2081" y="432"/>
                  </a:lnTo>
                  <a:lnTo>
                    <a:pt x="2081" y="434"/>
                  </a:lnTo>
                  <a:lnTo>
                    <a:pt x="2081" y="432"/>
                  </a:lnTo>
                  <a:lnTo>
                    <a:pt x="2079" y="432"/>
                  </a:lnTo>
                  <a:lnTo>
                    <a:pt x="2079" y="432"/>
                  </a:lnTo>
                  <a:lnTo>
                    <a:pt x="2079" y="432"/>
                  </a:lnTo>
                  <a:lnTo>
                    <a:pt x="2079" y="432"/>
                  </a:lnTo>
                  <a:lnTo>
                    <a:pt x="2079" y="432"/>
                  </a:lnTo>
                  <a:lnTo>
                    <a:pt x="2079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6" y="432"/>
                  </a:lnTo>
                  <a:lnTo>
                    <a:pt x="2074" y="432"/>
                  </a:lnTo>
                  <a:lnTo>
                    <a:pt x="2076" y="432"/>
                  </a:lnTo>
                  <a:lnTo>
                    <a:pt x="2076" y="434"/>
                  </a:lnTo>
                  <a:lnTo>
                    <a:pt x="2076" y="434"/>
                  </a:lnTo>
                  <a:lnTo>
                    <a:pt x="2076" y="434"/>
                  </a:lnTo>
                  <a:lnTo>
                    <a:pt x="2076" y="434"/>
                  </a:lnTo>
                  <a:lnTo>
                    <a:pt x="2076" y="434"/>
                  </a:lnTo>
                  <a:lnTo>
                    <a:pt x="2079" y="434"/>
                  </a:lnTo>
                  <a:lnTo>
                    <a:pt x="2079" y="434"/>
                  </a:lnTo>
                  <a:lnTo>
                    <a:pt x="2079" y="434"/>
                  </a:lnTo>
                  <a:lnTo>
                    <a:pt x="2079" y="434"/>
                  </a:lnTo>
                  <a:lnTo>
                    <a:pt x="2079" y="434"/>
                  </a:lnTo>
                  <a:lnTo>
                    <a:pt x="2079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1" y="434"/>
                  </a:lnTo>
                  <a:lnTo>
                    <a:pt x="2083" y="434"/>
                  </a:lnTo>
                  <a:lnTo>
                    <a:pt x="2083" y="437"/>
                  </a:lnTo>
                  <a:lnTo>
                    <a:pt x="2083" y="437"/>
                  </a:lnTo>
                  <a:lnTo>
                    <a:pt x="2085" y="437"/>
                  </a:lnTo>
                  <a:lnTo>
                    <a:pt x="2083" y="437"/>
                  </a:lnTo>
                  <a:lnTo>
                    <a:pt x="2083" y="437"/>
                  </a:lnTo>
                  <a:lnTo>
                    <a:pt x="2083" y="437"/>
                  </a:lnTo>
                  <a:lnTo>
                    <a:pt x="2081" y="437"/>
                  </a:lnTo>
                  <a:lnTo>
                    <a:pt x="2081" y="437"/>
                  </a:lnTo>
                  <a:lnTo>
                    <a:pt x="2081" y="439"/>
                  </a:lnTo>
                  <a:lnTo>
                    <a:pt x="2079" y="437"/>
                  </a:lnTo>
                  <a:lnTo>
                    <a:pt x="2076" y="437"/>
                  </a:lnTo>
                  <a:lnTo>
                    <a:pt x="2076" y="437"/>
                  </a:lnTo>
                  <a:lnTo>
                    <a:pt x="2074" y="437"/>
                  </a:lnTo>
                  <a:lnTo>
                    <a:pt x="2074" y="437"/>
                  </a:lnTo>
                  <a:lnTo>
                    <a:pt x="2074" y="437"/>
                  </a:lnTo>
                  <a:lnTo>
                    <a:pt x="2074" y="437"/>
                  </a:lnTo>
                  <a:lnTo>
                    <a:pt x="2074" y="437"/>
                  </a:lnTo>
                  <a:lnTo>
                    <a:pt x="2074" y="437"/>
                  </a:lnTo>
                  <a:lnTo>
                    <a:pt x="2074" y="437"/>
                  </a:lnTo>
                  <a:lnTo>
                    <a:pt x="2072" y="437"/>
                  </a:lnTo>
                  <a:lnTo>
                    <a:pt x="2072" y="434"/>
                  </a:lnTo>
                  <a:lnTo>
                    <a:pt x="2072" y="434"/>
                  </a:lnTo>
                  <a:lnTo>
                    <a:pt x="2072" y="434"/>
                  </a:lnTo>
                  <a:lnTo>
                    <a:pt x="2070" y="434"/>
                  </a:lnTo>
                  <a:lnTo>
                    <a:pt x="2070" y="434"/>
                  </a:lnTo>
                  <a:lnTo>
                    <a:pt x="2067" y="434"/>
                  </a:lnTo>
                  <a:lnTo>
                    <a:pt x="2063" y="434"/>
                  </a:lnTo>
                  <a:lnTo>
                    <a:pt x="2063" y="434"/>
                  </a:lnTo>
                  <a:lnTo>
                    <a:pt x="2063" y="434"/>
                  </a:lnTo>
                  <a:lnTo>
                    <a:pt x="2063" y="437"/>
                  </a:lnTo>
                  <a:lnTo>
                    <a:pt x="2065" y="437"/>
                  </a:lnTo>
                  <a:lnTo>
                    <a:pt x="2065" y="437"/>
                  </a:lnTo>
                  <a:lnTo>
                    <a:pt x="2065" y="437"/>
                  </a:lnTo>
                  <a:lnTo>
                    <a:pt x="2065" y="437"/>
                  </a:lnTo>
                  <a:lnTo>
                    <a:pt x="2063" y="437"/>
                  </a:lnTo>
                  <a:lnTo>
                    <a:pt x="2063" y="437"/>
                  </a:lnTo>
                  <a:lnTo>
                    <a:pt x="2063" y="437"/>
                  </a:lnTo>
                  <a:lnTo>
                    <a:pt x="2063" y="437"/>
                  </a:lnTo>
                  <a:lnTo>
                    <a:pt x="2061" y="437"/>
                  </a:lnTo>
                  <a:lnTo>
                    <a:pt x="2061" y="437"/>
                  </a:lnTo>
                  <a:lnTo>
                    <a:pt x="2061" y="437"/>
                  </a:lnTo>
                  <a:lnTo>
                    <a:pt x="2061" y="437"/>
                  </a:lnTo>
                  <a:lnTo>
                    <a:pt x="2061" y="437"/>
                  </a:lnTo>
                  <a:lnTo>
                    <a:pt x="2061" y="437"/>
                  </a:lnTo>
                  <a:lnTo>
                    <a:pt x="2061" y="439"/>
                  </a:lnTo>
                  <a:lnTo>
                    <a:pt x="2061" y="439"/>
                  </a:lnTo>
                  <a:lnTo>
                    <a:pt x="2061" y="439"/>
                  </a:lnTo>
                  <a:lnTo>
                    <a:pt x="2058" y="437"/>
                  </a:lnTo>
                  <a:lnTo>
                    <a:pt x="2058" y="437"/>
                  </a:lnTo>
                  <a:lnTo>
                    <a:pt x="2056" y="437"/>
                  </a:lnTo>
                  <a:lnTo>
                    <a:pt x="2056" y="437"/>
                  </a:lnTo>
                  <a:lnTo>
                    <a:pt x="2056" y="437"/>
                  </a:lnTo>
                  <a:lnTo>
                    <a:pt x="2056" y="437"/>
                  </a:lnTo>
                  <a:lnTo>
                    <a:pt x="2056" y="437"/>
                  </a:lnTo>
                  <a:lnTo>
                    <a:pt x="2054" y="437"/>
                  </a:lnTo>
                  <a:lnTo>
                    <a:pt x="2054" y="437"/>
                  </a:lnTo>
                  <a:lnTo>
                    <a:pt x="2054" y="437"/>
                  </a:lnTo>
                  <a:lnTo>
                    <a:pt x="2054" y="437"/>
                  </a:lnTo>
                  <a:lnTo>
                    <a:pt x="2054" y="437"/>
                  </a:lnTo>
                  <a:lnTo>
                    <a:pt x="2054" y="437"/>
                  </a:lnTo>
                  <a:lnTo>
                    <a:pt x="2052" y="437"/>
                  </a:lnTo>
                  <a:lnTo>
                    <a:pt x="2049" y="434"/>
                  </a:lnTo>
                  <a:lnTo>
                    <a:pt x="2049" y="434"/>
                  </a:lnTo>
                  <a:lnTo>
                    <a:pt x="2047" y="434"/>
                  </a:lnTo>
                  <a:lnTo>
                    <a:pt x="2047" y="434"/>
                  </a:lnTo>
                  <a:lnTo>
                    <a:pt x="2043" y="434"/>
                  </a:lnTo>
                  <a:lnTo>
                    <a:pt x="2043" y="434"/>
                  </a:lnTo>
                  <a:lnTo>
                    <a:pt x="2043" y="434"/>
                  </a:lnTo>
                  <a:lnTo>
                    <a:pt x="2043" y="434"/>
                  </a:lnTo>
                  <a:lnTo>
                    <a:pt x="2043" y="434"/>
                  </a:lnTo>
                  <a:lnTo>
                    <a:pt x="2040" y="434"/>
                  </a:lnTo>
                  <a:lnTo>
                    <a:pt x="2040" y="434"/>
                  </a:lnTo>
                  <a:lnTo>
                    <a:pt x="2040" y="434"/>
                  </a:lnTo>
                  <a:lnTo>
                    <a:pt x="2040" y="434"/>
                  </a:lnTo>
                  <a:lnTo>
                    <a:pt x="2038" y="432"/>
                  </a:lnTo>
                  <a:lnTo>
                    <a:pt x="2038" y="432"/>
                  </a:lnTo>
                  <a:lnTo>
                    <a:pt x="2038" y="432"/>
                  </a:lnTo>
                  <a:lnTo>
                    <a:pt x="2036" y="434"/>
                  </a:lnTo>
                  <a:lnTo>
                    <a:pt x="2036" y="434"/>
                  </a:lnTo>
                  <a:lnTo>
                    <a:pt x="2038" y="434"/>
                  </a:lnTo>
                  <a:lnTo>
                    <a:pt x="2038" y="437"/>
                  </a:lnTo>
                  <a:lnTo>
                    <a:pt x="2038" y="437"/>
                  </a:lnTo>
                  <a:lnTo>
                    <a:pt x="2038" y="437"/>
                  </a:lnTo>
                  <a:lnTo>
                    <a:pt x="2040" y="437"/>
                  </a:lnTo>
                  <a:lnTo>
                    <a:pt x="2040" y="437"/>
                  </a:lnTo>
                  <a:lnTo>
                    <a:pt x="2040" y="439"/>
                  </a:lnTo>
                  <a:lnTo>
                    <a:pt x="2040" y="439"/>
                  </a:lnTo>
                  <a:lnTo>
                    <a:pt x="2040" y="439"/>
                  </a:lnTo>
                  <a:lnTo>
                    <a:pt x="2040" y="439"/>
                  </a:lnTo>
                  <a:lnTo>
                    <a:pt x="2043" y="439"/>
                  </a:lnTo>
                  <a:lnTo>
                    <a:pt x="2040" y="439"/>
                  </a:lnTo>
                  <a:lnTo>
                    <a:pt x="2040" y="439"/>
                  </a:lnTo>
                  <a:lnTo>
                    <a:pt x="2040" y="439"/>
                  </a:lnTo>
                  <a:lnTo>
                    <a:pt x="2038" y="439"/>
                  </a:lnTo>
                  <a:lnTo>
                    <a:pt x="2038" y="439"/>
                  </a:lnTo>
                  <a:lnTo>
                    <a:pt x="2038" y="439"/>
                  </a:lnTo>
                  <a:lnTo>
                    <a:pt x="2036" y="439"/>
                  </a:lnTo>
                  <a:lnTo>
                    <a:pt x="2036" y="439"/>
                  </a:lnTo>
                  <a:lnTo>
                    <a:pt x="2036" y="439"/>
                  </a:lnTo>
                  <a:lnTo>
                    <a:pt x="2036" y="439"/>
                  </a:lnTo>
                  <a:lnTo>
                    <a:pt x="2036" y="439"/>
                  </a:lnTo>
                  <a:lnTo>
                    <a:pt x="2034" y="439"/>
                  </a:lnTo>
                  <a:lnTo>
                    <a:pt x="2034" y="439"/>
                  </a:lnTo>
                  <a:lnTo>
                    <a:pt x="2034" y="439"/>
                  </a:lnTo>
                  <a:lnTo>
                    <a:pt x="2031" y="439"/>
                  </a:lnTo>
                  <a:lnTo>
                    <a:pt x="2031" y="439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7"/>
                  </a:lnTo>
                  <a:lnTo>
                    <a:pt x="2031" y="434"/>
                  </a:lnTo>
                  <a:lnTo>
                    <a:pt x="2031" y="434"/>
                  </a:lnTo>
                  <a:lnTo>
                    <a:pt x="2031" y="434"/>
                  </a:lnTo>
                  <a:lnTo>
                    <a:pt x="2029" y="434"/>
                  </a:lnTo>
                  <a:lnTo>
                    <a:pt x="2029" y="434"/>
                  </a:lnTo>
                  <a:lnTo>
                    <a:pt x="2029" y="434"/>
                  </a:lnTo>
                  <a:lnTo>
                    <a:pt x="2029" y="434"/>
                  </a:lnTo>
                  <a:lnTo>
                    <a:pt x="2027" y="434"/>
                  </a:lnTo>
                  <a:lnTo>
                    <a:pt x="2027" y="434"/>
                  </a:lnTo>
                  <a:lnTo>
                    <a:pt x="2027" y="434"/>
                  </a:lnTo>
                  <a:lnTo>
                    <a:pt x="2027" y="434"/>
                  </a:lnTo>
                  <a:lnTo>
                    <a:pt x="2027" y="434"/>
                  </a:lnTo>
                  <a:lnTo>
                    <a:pt x="2025" y="434"/>
                  </a:lnTo>
                  <a:lnTo>
                    <a:pt x="2025" y="434"/>
                  </a:lnTo>
                  <a:lnTo>
                    <a:pt x="2025" y="434"/>
                  </a:lnTo>
                  <a:lnTo>
                    <a:pt x="2025" y="434"/>
                  </a:lnTo>
                  <a:lnTo>
                    <a:pt x="2025" y="434"/>
                  </a:lnTo>
                  <a:lnTo>
                    <a:pt x="2025" y="434"/>
                  </a:lnTo>
                  <a:lnTo>
                    <a:pt x="2022" y="434"/>
                  </a:lnTo>
                  <a:lnTo>
                    <a:pt x="2022" y="434"/>
                  </a:lnTo>
                  <a:lnTo>
                    <a:pt x="2020" y="434"/>
                  </a:lnTo>
                  <a:lnTo>
                    <a:pt x="2020" y="434"/>
                  </a:lnTo>
                  <a:lnTo>
                    <a:pt x="2020" y="434"/>
                  </a:lnTo>
                  <a:lnTo>
                    <a:pt x="2020" y="434"/>
                  </a:lnTo>
                  <a:lnTo>
                    <a:pt x="2018" y="434"/>
                  </a:lnTo>
                  <a:lnTo>
                    <a:pt x="2018" y="434"/>
                  </a:lnTo>
                  <a:lnTo>
                    <a:pt x="2016" y="434"/>
                  </a:lnTo>
                  <a:lnTo>
                    <a:pt x="2013" y="434"/>
                  </a:lnTo>
                  <a:lnTo>
                    <a:pt x="2011" y="434"/>
                  </a:lnTo>
                  <a:lnTo>
                    <a:pt x="2011" y="434"/>
                  </a:lnTo>
                  <a:lnTo>
                    <a:pt x="2011" y="434"/>
                  </a:lnTo>
                  <a:lnTo>
                    <a:pt x="2011" y="434"/>
                  </a:lnTo>
                  <a:lnTo>
                    <a:pt x="2011" y="434"/>
                  </a:lnTo>
                  <a:lnTo>
                    <a:pt x="2009" y="434"/>
                  </a:lnTo>
                  <a:lnTo>
                    <a:pt x="2009" y="434"/>
                  </a:lnTo>
                  <a:lnTo>
                    <a:pt x="2009" y="434"/>
                  </a:lnTo>
                  <a:lnTo>
                    <a:pt x="2009" y="434"/>
                  </a:lnTo>
                  <a:lnTo>
                    <a:pt x="2007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4" y="434"/>
                  </a:lnTo>
                  <a:lnTo>
                    <a:pt x="2002" y="434"/>
                  </a:lnTo>
                  <a:lnTo>
                    <a:pt x="2002" y="434"/>
                  </a:lnTo>
                  <a:lnTo>
                    <a:pt x="2000" y="434"/>
                  </a:lnTo>
                  <a:lnTo>
                    <a:pt x="1995" y="434"/>
                  </a:lnTo>
                  <a:lnTo>
                    <a:pt x="1993" y="434"/>
                  </a:lnTo>
                  <a:lnTo>
                    <a:pt x="1991" y="437"/>
                  </a:lnTo>
                  <a:lnTo>
                    <a:pt x="1991" y="437"/>
                  </a:lnTo>
                  <a:lnTo>
                    <a:pt x="1989" y="437"/>
                  </a:lnTo>
                  <a:lnTo>
                    <a:pt x="1989" y="437"/>
                  </a:lnTo>
                  <a:lnTo>
                    <a:pt x="1989" y="434"/>
                  </a:lnTo>
                  <a:lnTo>
                    <a:pt x="1986" y="434"/>
                  </a:lnTo>
                  <a:lnTo>
                    <a:pt x="1984" y="434"/>
                  </a:lnTo>
                  <a:lnTo>
                    <a:pt x="1984" y="434"/>
                  </a:lnTo>
                  <a:lnTo>
                    <a:pt x="1984" y="434"/>
                  </a:lnTo>
                  <a:lnTo>
                    <a:pt x="1984" y="434"/>
                  </a:lnTo>
                  <a:lnTo>
                    <a:pt x="1984" y="434"/>
                  </a:lnTo>
                  <a:lnTo>
                    <a:pt x="1982" y="437"/>
                  </a:lnTo>
                  <a:lnTo>
                    <a:pt x="1980" y="437"/>
                  </a:lnTo>
                  <a:lnTo>
                    <a:pt x="1977" y="439"/>
                  </a:lnTo>
                  <a:lnTo>
                    <a:pt x="1975" y="441"/>
                  </a:lnTo>
                  <a:lnTo>
                    <a:pt x="1973" y="441"/>
                  </a:lnTo>
                  <a:lnTo>
                    <a:pt x="1973" y="443"/>
                  </a:lnTo>
                  <a:lnTo>
                    <a:pt x="1973" y="443"/>
                  </a:lnTo>
                  <a:lnTo>
                    <a:pt x="1973" y="443"/>
                  </a:lnTo>
                  <a:lnTo>
                    <a:pt x="1973" y="443"/>
                  </a:lnTo>
                  <a:lnTo>
                    <a:pt x="1975" y="448"/>
                  </a:lnTo>
                  <a:lnTo>
                    <a:pt x="1975" y="450"/>
                  </a:lnTo>
                  <a:lnTo>
                    <a:pt x="1973" y="450"/>
                  </a:lnTo>
                  <a:lnTo>
                    <a:pt x="1973" y="452"/>
                  </a:lnTo>
                  <a:lnTo>
                    <a:pt x="1971" y="455"/>
                  </a:lnTo>
                  <a:lnTo>
                    <a:pt x="1971" y="455"/>
                  </a:lnTo>
                  <a:lnTo>
                    <a:pt x="1971" y="455"/>
                  </a:lnTo>
                  <a:lnTo>
                    <a:pt x="1968" y="455"/>
                  </a:lnTo>
                  <a:lnTo>
                    <a:pt x="1968" y="457"/>
                  </a:lnTo>
                  <a:lnTo>
                    <a:pt x="1968" y="457"/>
                  </a:lnTo>
                  <a:lnTo>
                    <a:pt x="1968" y="457"/>
                  </a:lnTo>
                  <a:lnTo>
                    <a:pt x="1968" y="457"/>
                  </a:lnTo>
                  <a:lnTo>
                    <a:pt x="1968" y="457"/>
                  </a:lnTo>
                  <a:lnTo>
                    <a:pt x="1968" y="459"/>
                  </a:lnTo>
                  <a:lnTo>
                    <a:pt x="1968" y="459"/>
                  </a:lnTo>
                  <a:lnTo>
                    <a:pt x="1968" y="461"/>
                  </a:lnTo>
                  <a:lnTo>
                    <a:pt x="1968" y="464"/>
                  </a:lnTo>
                  <a:lnTo>
                    <a:pt x="1971" y="466"/>
                  </a:lnTo>
                  <a:lnTo>
                    <a:pt x="1971" y="468"/>
                  </a:lnTo>
                  <a:lnTo>
                    <a:pt x="1973" y="468"/>
                  </a:lnTo>
                  <a:lnTo>
                    <a:pt x="1973" y="468"/>
                  </a:lnTo>
                  <a:lnTo>
                    <a:pt x="1973" y="468"/>
                  </a:lnTo>
                  <a:lnTo>
                    <a:pt x="1973" y="470"/>
                  </a:lnTo>
                  <a:lnTo>
                    <a:pt x="1973" y="470"/>
                  </a:lnTo>
                  <a:lnTo>
                    <a:pt x="1973" y="470"/>
                  </a:lnTo>
                  <a:lnTo>
                    <a:pt x="1971" y="470"/>
                  </a:lnTo>
                  <a:lnTo>
                    <a:pt x="1971" y="470"/>
                  </a:lnTo>
                  <a:lnTo>
                    <a:pt x="1971" y="470"/>
                  </a:lnTo>
                  <a:lnTo>
                    <a:pt x="1971" y="470"/>
                  </a:lnTo>
                  <a:lnTo>
                    <a:pt x="1971" y="470"/>
                  </a:lnTo>
                  <a:lnTo>
                    <a:pt x="1968" y="470"/>
                  </a:lnTo>
                  <a:lnTo>
                    <a:pt x="1968" y="470"/>
                  </a:lnTo>
                  <a:lnTo>
                    <a:pt x="1968" y="470"/>
                  </a:lnTo>
                  <a:lnTo>
                    <a:pt x="1968" y="470"/>
                  </a:lnTo>
                  <a:lnTo>
                    <a:pt x="1968" y="470"/>
                  </a:lnTo>
                  <a:lnTo>
                    <a:pt x="1968" y="473"/>
                  </a:lnTo>
                  <a:lnTo>
                    <a:pt x="1966" y="473"/>
                  </a:lnTo>
                  <a:lnTo>
                    <a:pt x="1966" y="473"/>
                  </a:lnTo>
                  <a:lnTo>
                    <a:pt x="1968" y="473"/>
                  </a:lnTo>
                  <a:lnTo>
                    <a:pt x="1968" y="475"/>
                  </a:lnTo>
                  <a:lnTo>
                    <a:pt x="1968" y="475"/>
                  </a:lnTo>
                  <a:lnTo>
                    <a:pt x="1968" y="477"/>
                  </a:lnTo>
                  <a:lnTo>
                    <a:pt x="1966" y="477"/>
                  </a:lnTo>
                  <a:lnTo>
                    <a:pt x="1966" y="477"/>
                  </a:lnTo>
                  <a:lnTo>
                    <a:pt x="1966" y="477"/>
                  </a:lnTo>
                  <a:lnTo>
                    <a:pt x="1966" y="477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6" y="479"/>
                  </a:lnTo>
                  <a:lnTo>
                    <a:pt x="1964" y="479"/>
                  </a:lnTo>
                  <a:lnTo>
                    <a:pt x="1964" y="482"/>
                  </a:lnTo>
                  <a:lnTo>
                    <a:pt x="1964" y="482"/>
                  </a:lnTo>
                  <a:lnTo>
                    <a:pt x="1964" y="482"/>
                  </a:lnTo>
                  <a:lnTo>
                    <a:pt x="1964" y="482"/>
                  </a:lnTo>
                  <a:lnTo>
                    <a:pt x="1964" y="482"/>
                  </a:lnTo>
                  <a:lnTo>
                    <a:pt x="1962" y="482"/>
                  </a:lnTo>
                  <a:lnTo>
                    <a:pt x="1962" y="482"/>
                  </a:lnTo>
                  <a:lnTo>
                    <a:pt x="1962" y="482"/>
                  </a:lnTo>
                  <a:lnTo>
                    <a:pt x="1962" y="484"/>
                  </a:lnTo>
                  <a:lnTo>
                    <a:pt x="1962" y="484"/>
                  </a:lnTo>
                  <a:lnTo>
                    <a:pt x="1964" y="484"/>
                  </a:lnTo>
                  <a:lnTo>
                    <a:pt x="1962" y="484"/>
                  </a:lnTo>
                  <a:lnTo>
                    <a:pt x="1962" y="484"/>
                  </a:lnTo>
                  <a:lnTo>
                    <a:pt x="1962" y="484"/>
                  </a:lnTo>
                  <a:lnTo>
                    <a:pt x="1962" y="484"/>
                  </a:lnTo>
                  <a:lnTo>
                    <a:pt x="1962" y="484"/>
                  </a:lnTo>
                  <a:lnTo>
                    <a:pt x="1962" y="484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62" y="486"/>
                  </a:lnTo>
                  <a:lnTo>
                    <a:pt x="1959" y="488"/>
                  </a:lnTo>
                  <a:lnTo>
                    <a:pt x="1959" y="488"/>
                  </a:lnTo>
                  <a:lnTo>
                    <a:pt x="1959" y="488"/>
                  </a:lnTo>
                  <a:lnTo>
                    <a:pt x="1959" y="488"/>
                  </a:lnTo>
                  <a:lnTo>
                    <a:pt x="1959" y="488"/>
                  </a:lnTo>
                  <a:lnTo>
                    <a:pt x="1959" y="488"/>
                  </a:lnTo>
                  <a:lnTo>
                    <a:pt x="1959" y="491"/>
                  </a:lnTo>
                  <a:lnTo>
                    <a:pt x="1959" y="491"/>
                  </a:lnTo>
                  <a:lnTo>
                    <a:pt x="1959" y="491"/>
                  </a:lnTo>
                  <a:lnTo>
                    <a:pt x="1959" y="491"/>
                  </a:lnTo>
                  <a:lnTo>
                    <a:pt x="1959" y="491"/>
                  </a:lnTo>
                  <a:lnTo>
                    <a:pt x="1959" y="491"/>
                  </a:lnTo>
                  <a:lnTo>
                    <a:pt x="1959" y="491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3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9" y="495"/>
                  </a:lnTo>
                  <a:lnTo>
                    <a:pt x="1957" y="497"/>
                  </a:lnTo>
                  <a:lnTo>
                    <a:pt x="1959" y="497"/>
                  </a:lnTo>
                  <a:lnTo>
                    <a:pt x="1959" y="497"/>
                  </a:lnTo>
                  <a:lnTo>
                    <a:pt x="1959" y="497"/>
                  </a:lnTo>
                  <a:lnTo>
                    <a:pt x="1959" y="497"/>
                  </a:lnTo>
                  <a:lnTo>
                    <a:pt x="1959" y="497"/>
                  </a:lnTo>
                  <a:lnTo>
                    <a:pt x="1959" y="497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64" y="500"/>
                  </a:lnTo>
                  <a:lnTo>
                    <a:pt x="1962" y="500"/>
                  </a:lnTo>
                  <a:lnTo>
                    <a:pt x="1964" y="500"/>
                  </a:lnTo>
                  <a:lnTo>
                    <a:pt x="1964" y="500"/>
                  </a:lnTo>
                  <a:lnTo>
                    <a:pt x="1964" y="500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59" y="500"/>
                  </a:lnTo>
                  <a:lnTo>
                    <a:pt x="1959" y="500"/>
                  </a:lnTo>
                  <a:lnTo>
                    <a:pt x="1959" y="500"/>
                  </a:lnTo>
                  <a:lnTo>
                    <a:pt x="1962" y="500"/>
                  </a:lnTo>
                  <a:lnTo>
                    <a:pt x="1962" y="500"/>
                  </a:lnTo>
                  <a:lnTo>
                    <a:pt x="1962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2"/>
                  </a:lnTo>
                  <a:lnTo>
                    <a:pt x="1959" y="504"/>
                  </a:lnTo>
                  <a:lnTo>
                    <a:pt x="1959" y="504"/>
                  </a:lnTo>
                  <a:lnTo>
                    <a:pt x="1959" y="504"/>
                  </a:lnTo>
                  <a:lnTo>
                    <a:pt x="1959" y="504"/>
                  </a:lnTo>
                  <a:lnTo>
                    <a:pt x="1959" y="504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9" y="506"/>
                  </a:lnTo>
                  <a:lnTo>
                    <a:pt x="1957" y="509"/>
                  </a:lnTo>
                  <a:lnTo>
                    <a:pt x="1957" y="509"/>
                  </a:lnTo>
                  <a:lnTo>
                    <a:pt x="1957" y="509"/>
                  </a:lnTo>
                  <a:lnTo>
                    <a:pt x="1957" y="509"/>
                  </a:lnTo>
                  <a:lnTo>
                    <a:pt x="1957" y="509"/>
                  </a:lnTo>
                  <a:lnTo>
                    <a:pt x="1957" y="509"/>
                  </a:lnTo>
                  <a:lnTo>
                    <a:pt x="1957" y="509"/>
                  </a:lnTo>
                  <a:lnTo>
                    <a:pt x="1957" y="511"/>
                  </a:lnTo>
                  <a:lnTo>
                    <a:pt x="1959" y="511"/>
                  </a:lnTo>
                  <a:lnTo>
                    <a:pt x="1959" y="511"/>
                  </a:lnTo>
                  <a:lnTo>
                    <a:pt x="1959" y="511"/>
                  </a:lnTo>
                  <a:lnTo>
                    <a:pt x="1959" y="511"/>
                  </a:lnTo>
                  <a:lnTo>
                    <a:pt x="1959" y="511"/>
                  </a:lnTo>
                  <a:lnTo>
                    <a:pt x="1959" y="511"/>
                  </a:lnTo>
                  <a:lnTo>
                    <a:pt x="1959" y="511"/>
                  </a:lnTo>
                  <a:lnTo>
                    <a:pt x="1957" y="511"/>
                  </a:lnTo>
                  <a:lnTo>
                    <a:pt x="1957" y="511"/>
                  </a:lnTo>
                  <a:lnTo>
                    <a:pt x="1957" y="511"/>
                  </a:lnTo>
                  <a:lnTo>
                    <a:pt x="1957" y="511"/>
                  </a:lnTo>
                  <a:lnTo>
                    <a:pt x="1957" y="511"/>
                  </a:lnTo>
                  <a:lnTo>
                    <a:pt x="1957" y="511"/>
                  </a:lnTo>
                  <a:lnTo>
                    <a:pt x="1955" y="513"/>
                  </a:lnTo>
                  <a:lnTo>
                    <a:pt x="1955" y="513"/>
                  </a:lnTo>
                  <a:lnTo>
                    <a:pt x="1955" y="513"/>
                  </a:lnTo>
                  <a:lnTo>
                    <a:pt x="1955" y="513"/>
                  </a:lnTo>
                  <a:lnTo>
                    <a:pt x="1955" y="515"/>
                  </a:lnTo>
                  <a:lnTo>
                    <a:pt x="1955" y="515"/>
                  </a:lnTo>
                  <a:lnTo>
                    <a:pt x="1955" y="515"/>
                  </a:lnTo>
                  <a:lnTo>
                    <a:pt x="1955" y="515"/>
                  </a:lnTo>
                  <a:lnTo>
                    <a:pt x="1955" y="515"/>
                  </a:lnTo>
                  <a:lnTo>
                    <a:pt x="1953" y="515"/>
                  </a:lnTo>
                  <a:lnTo>
                    <a:pt x="1953" y="515"/>
                  </a:lnTo>
                  <a:lnTo>
                    <a:pt x="1953" y="515"/>
                  </a:lnTo>
                  <a:lnTo>
                    <a:pt x="1953" y="518"/>
                  </a:lnTo>
                  <a:lnTo>
                    <a:pt x="1953" y="518"/>
                  </a:lnTo>
                  <a:lnTo>
                    <a:pt x="1953" y="518"/>
                  </a:lnTo>
                  <a:lnTo>
                    <a:pt x="1953" y="518"/>
                  </a:lnTo>
                  <a:lnTo>
                    <a:pt x="1953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18"/>
                  </a:lnTo>
                  <a:lnTo>
                    <a:pt x="1951" y="520"/>
                  </a:lnTo>
                  <a:lnTo>
                    <a:pt x="1951" y="520"/>
                  </a:lnTo>
                  <a:lnTo>
                    <a:pt x="1951" y="520"/>
                  </a:lnTo>
                  <a:lnTo>
                    <a:pt x="1951" y="520"/>
                  </a:lnTo>
                  <a:lnTo>
                    <a:pt x="1951" y="520"/>
                  </a:lnTo>
                  <a:lnTo>
                    <a:pt x="1948" y="520"/>
                  </a:lnTo>
                  <a:lnTo>
                    <a:pt x="1948" y="520"/>
                  </a:lnTo>
                  <a:lnTo>
                    <a:pt x="1948" y="520"/>
                  </a:lnTo>
                  <a:lnTo>
                    <a:pt x="1948" y="522"/>
                  </a:lnTo>
                  <a:lnTo>
                    <a:pt x="1951" y="522"/>
                  </a:lnTo>
                  <a:lnTo>
                    <a:pt x="1951" y="522"/>
                  </a:lnTo>
                  <a:lnTo>
                    <a:pt x="1951" y="522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51" y="524"/>
                  </a:lnTo>
                  <a:lnTo>
                    <a:pt x="1948" y="524"/>
                  </a:lnTo>
                  <a:lnTo>
                    <a:pt x="1948" y="524"/>
                  </a:lnTo>
                  <a:lnTo>
                    <a:pt x="1948" y="524"/>
                  </a:lnTo>
                  <a:lnTo>
                    <a:pt x="1948" y="527"/>
                  </a:lnTo>
                  <a:lnTo>
                    <a:pt x="1948" y="527"/>
                  </a:lnTo>
                  <a:lnTo>
                    <a:pt x="1948" y="527"/>
                  </a:lnTo>
                  <a:lnTo>
                    <a:pt x="1948" y="527"/>
                  </a:lnTo>
                  <a:lnTo>
                    <a:pt x="1948" y="527"/>
                  </a:lnTo>
                  <a:lnTo>
                    <a:pt x="1946" y="527"/>
                  </a:lnTo>
                  <a:lnTo>
                    <a:pt x="1946" y="527"/>
                  </a:lnTo>
                  <a:lnTo>
                    <a:pt x="1946" y="529"/>
                  </a:lnTo>
                  <a:lnTo>
                    <a:pt x="1946" y="529"/>
                  </a:lnTo>
                  <a:lnTo>
                    <a:pt x="1946" y="529"/>
                  </a:lnTo>
                  <a:lnTo>
                    <a:pt x="1944" y="529"/>
                  </a:lnTo>
                  <a:lnTo>
                    <a:pt x="1944" y="529"/>
                  </a:lnTo>
                  <a:lnTo>
                    <a:pt x="1944" y="529"/>
                  </a:lnTo>
                  <a:lnTo>
                    <a:pt x="1942" y="531"/>
                  </a:lnTo>
                  <a:lnTo>
                    <a:pt x="1942" y="533"/>
                  </a:lnTo>
                  <a:lnTo>
                    <a:pt x="1942" y="533"/>
                  </a:lnTo>
                  <a:lnTo>
                    <a:pt x="1942" y="533"/>
                  </a:lnTo>
                  <a:lnTo>
                    <a:pt x="1942" y="533"/>
                  </a:lnTo>
                  <a:lnTo>
                    <a:pt x="1942" y="533"/>
                  </a:lnTo>
                  <a:lnTo>
                    <a:pt x="1942" y="536"/>
                  </a:lnTo>
                  <a:lnTo>
                    <a:pt x="1942" y="536"/>
                  </a:lnTo>
                  <a:lnTo>
                    <a:pt x="1942" y="536"/>
                  </a:lnTo>
                  <a:lnTo>
                    <a:pt x="1946" y="538"/>
                  </a:lnTo>
                  <a:lnTo>
                    <a:pt x="1946" y="538"/>
                  </a:lnTo>
                  <a:lnTo>
                    <a:pt x="1946" y="538"/>
                  </a:lnTo>
                  <a:lnTo>
                    <a:pt x="1946" y="538"/>
                  </a:lnTo>
                  <a:lnTo>
                    <a:pt x="1946" y="538"/>
                  </a:lnTo>
                  <a:lnTo>
                    <a:pt x="1946" y="538"/>
                  </a:lnTo>
                  <a:lnTo>
                    <a:pt x="1946" y="538"/>
                  </a:lnTo>
                  <a:lnTo>
                    <a:pt x="1948" y="538"/>
                  </a:lnTo>
                  <a:lnTo>
                    <a:pt x="1955" y="540"/>
                  </a:lnTo>
                  <a:lnTo>
                    <a:pt x="1955" y="540"/>
                  </a:lnTo>
                  <a:lnTo>
                    <a:pt x="1955" y="540"/>
                  </a:lnTo>
                  <a:lnTo>
                    <a:pt x="1955" y="540"/>
                  </a:lnTo>
                  <a:lnTo>
                    <a:pt x="1957" y="540"/>
                  </a:lnTo>
                  <a:lnTo>
                    <a:pt x="1957" y="542"/>
                  </a:lnTo>
                  <a:lnTo>
                    <a:pt x="1957" y="542"/>
                  </a:lnTo>
                  <a:lnTo>
                    <a:pt x="1957" y="542"/>
                  </a:lnTo>
                  <a:lnTo>
                    <a:pt x="1959" y="542"/>
                  </a:lnTo>
                  <a:lnTo>
                    <a:pt x="1962" y="542"/>
                  </a:lnTo>
                  <a:lnTo>
                    <a:pt x="1964" y="540"/>
                  </a:lnTo>
                  <a:lnTo>
                    <a:pt x="1964" y="540"/>
                  </a:lnTo>
                  <a:lnTo>
                    <a:pt x="1966" y="540"/>
                  </a:lnTo>
                  <a:lnTo>
                    <a:pt x="1966" y="540"/>
                  </a:lnTo>
                  <a:lnTo>
                    <a:pt x="1966" y="540"/>
                  </a:lnTo>
                  <a:lnTo>
                    <a:pt x="1966" y="540"/>
                  </a:lnTo>
                  <a:lnTo>
                    <a:pt x="1966" y="540"/>
                  </a:lnTo>
                  <a:lnTo>
                    <a:pt x="1971" y="540"/>
                  </a:lnTo>
                  <a:lnTo>
                    <a:pt x="1971" y="540"/>
                  </a:lnTo>
                  <a:lnTo>
                    <a:pt x="1971" y="540"/>
                  </a:lnTo>
                  <a:lnTo>
                    <a:pt x="1971" y="540"/>
                  </a:lnTo>
                  <a:lnTo>
                    <a:pt x="1971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3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5" y="540"/>
                  </a:lnTo>
                  <a:lnTo>
                    <a:pt x="1977" y="540"/>
                  </a:lnTo>
                  <a:lnTo>
                    <a:pt x="1977" y="542"/>
                  </a:lnTo>
                  <a:lnTo>
                    <a:pt x="1977" y="542"/>
                  </a:lnTo>
                  <a:lnTo>
                    <a:pt x="1977" y="542"/>
                  </a:lnTo>
                  <a:lnTo>
                    <a:pt x="1977" y="542"/>
                  </a:lnTo>
                  <a:lnTo>
                    <a:pt x="1977" y="542"/>
                  </a:lnTo>
                  <a:lnTo>
                    <a:pt x="1977" y="542"/>
                  </a:lnTo>
                  <a:lnTo>
                    <a:pt x="1977" y="542"/>
                  </a:lnTo>
                  <a:lnTo>
                    <a:pt x="1977" y="545"/>
                  </a:lnTo>
                  <a:lnTo>
                    <a:pt x="1977" y="545"/>
                  </a:lnTo>
                  <a:lnTo>
                    <a:pt x="1977" y="545"/>
                  </a:lnTo>
                  <a:lnTo>
                    <a:pt x="1980" y="545"/>
                  </a:lnTo>
                  <a:lnTo>
                    <a:pt x="1980" y="545"/>
                  </a:lnTo>
                  <a:lnTo>
                    <a:pt x="1980" y="545"/>
                  </a:lnTo>
                  <a:lnTo>
                    <a:pt x="1980" y="545"/>
                  </a:lnTo>
                  <a:lnTo>
                    <a:pt x="1980" y="545"/>
                  </a:lnTo>
                  <a:lnTo>
                    <a:pt x="1977" y="545"/>
                  </a:lnTo>
                  <a:lnTo>
                    <a:pt x="1977" y="545"/>
                  </a:lnTo>
                  <a:lnTo>
                    <a:pt x="1977" y="545"/>
                  </a:lnTo>
                  <a:lnTo>
                    <a:pt x="1977" y="545"/>
                  </a:lnTo>
                  <a:lnTo>
                    <a:pt x="1977" y="545"/>
                  </a:lnTo>
                  <a:lnTo>
                    <a:pt x="1980" y="547"/>
                  </a:lnTo>
                  <a:lnTo>
                    <a:pt x="1980" y="547"/>
                  </a:lnTo>
                  <a:lnTo>
                    <a:pt x="1980" y="547"/>
                  </a:lnTo>
                  <a:lnTo>
                    <a:pt x="1980" y="547"/>
                  </a:lnTo>
                  <a:lnTo>
                    <a:pt x="1982" y="547"/>
                  </a:lnTo>
                  <a:lnTo>
                    <a:pt x="1982" y="547"/>
                  </a:lnTo>
                  <a:lnTo>
                    <a:pt x="1982" y="547"/>
                  </a:lnTo>
                  <a:lnTo>
                    <a:pt x="1982" y="547"/>
                  </a:lnTo>
                  <a:lnTo>
                    <a:pt x="1982" y="547"/>
                  </a:lnTo>
                  <a:lnTo>
                    <a:pt x="1980" y="547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2" y="549"/>
                  </a:lnTo>
                  <a:lnTo>
                    <a:pt x="1984" y="551"/>
                  </a:lnTo>
                  <a:lnTo>
                    <a:pt x="1984" y="551"/>
                  </a:lnTo>
                  <a:lnTo>
                    <a:pt x="1984" y="551"/>
                  </a:lnTo>
                  <a:lnTo>
                    <a:pt x="1984" y="551"/>
                  </a:lnTo>
                  <a:lnTo>
                    <a:pt x="1984" y="551"/>
                  </a:lnTo>
                  <a:lnTo>
                    <a:pt x="1984" y="551"/>
                  </a:lnTo>
                  <a:lnTo>
                    <a:pt x="1986" y="554"/>
                  </a:lnTo>
                  <a:lnTo>
                    <a:pt x="1986" y="554"/>
                  </a:lnTo>
                  <a:lnTo>
                    <a:pt x="1986" y="554"/>
                  </a:lnTo>
                  <a:lnTo>
                    <a:pt x="1984" y="554"/>
                  </a:lnTo>
                  <a:lnTo>
                    <a:pt x="1986" y="556"/>
                  </a:lnTo>
                  <a:lnTo>
                    <a:pt x="1986" y="556"/>
                  </a:lnTo>
                  <a:lnTo>
                    <a:pt x="1986" y="556"/>
                  </a:lnTo>
                  <a:lnTo>
                    <a:pt x="1986" y="556"/>
                  </a:lnTo>
                  <a:lnTo>
                    <a:pt x="1986" y="556"/>
                  </a:lnTo>
                  <a:lnTo>
                    <a:pt x="1986" y="556"/>
                  </a:lnTo>
                  <a:lnTo>
                    <a:pt x="1989" y="558"/>
                  </a:lnTo>
                  <a:lnTo>
                    <a:pt x="1989" y="558"/>
                  </a:lnTo>
                  <a:lnTo>
                    <a:pt x="1989" y="558"/>
                  </a:lnTo>
                  <a:lnTo>
                    <a:pt x="1989" y="558"/>
                  </a:lnTo>
                  <a:lnTo>
                    <a:pt x="1991" y="560"/>
                  </a:lnTo>
                  <a:lnTo>
                    <a:pt x="1991" y="560"/>
                  </a:lnTo>
                  <a:lnTo>
                    <a:pt x="1991" y="560"/>
                  </a:lnTo>
                  <a:lnTo>
                    <a:pt x="1991" y="560"/>
                  </a:lnTo>
                  <a:lnTo>
                    <a:pt x="1991" y="560"/>
                  </a:lnTo>
                  <a:lnTo>
                    <a:pt x="1991" y="560"/>
                  </a:lnTo>
                  <a:lnTo>
                    <a:pt x="1991" y="560"/>
                  </a:lnTo>
                  <a:lnTo>
                    <a:pt x="1991" y="558"/>
                  </a:lnTo>
                  <a:lnTo>
                    <a:pt x="1991" y="558"/>
                  </a:lnTo>
                  <a:lnTo>
                    <a:pt x="1991" y="558"/>
                  </a:lnTo>
                  <a:lnTo>
                    <a:pt x="1991" y="558"/>
                  </a:lnTo>
                  <a:lnTo>
                    <a:pt x="1993" y="558"/>
                  </a:lnTo>
                  <a:lnTo>
                    <a:pt x="1993" y="558"/>
                  </a:lnTo>
                  <a:lnTo>
                    <a:pt x="1993" y="558"/>
                  </a:lnTo>
                  <a:lnTo>
                    <a:pt x="1993" y="558"/>
                  </a:lnTo>
                  <a:lnTo>
                    <a:pt x="1993" y="558"/>
                  </a:lnTo>
                  <a:lnTo>
                    <a:pt x="1993" y="558"/>
                  </a:lnTo>
                  <a:lnTo>
                    <a:pt x="1995" y="558"/>
                  </a:lnTo>
                  <a:lnTo>
                    <a:pt x="1995" y="558"/>
                  </a:lnTo>
                  <a:lnTo>
                    <a:pt x="1998" y="558"/>
                  </a:lnTo>
                  <a:lnTo>
                    <a:pt x="1998" y="558"/>
                  </a:lnTo>
                  <a:lnTo>
                    <a:pt x="1998" y="558"/>
                  </a:lnTo>
                  <a:lnTo>
                    <a:pt x="1998" y="558"/>
                  </a:lnTo>
                  <a:lnTo>
                    <a:pt x="1995" y="556"/>
                  </a:lnTo>
                  <a:lnTo>
                    <a:pt x="1995" y="556"/>
                  </a:lnTo>
                  <a:lnTo>
                    <a:pt x="1995" y="556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3" y="554"/>
                  </a:lnTo>
                  <a:lnTo>
                    <a:pt x="1993" y="554"/>
                  </a:lnTo>
                  <a:lnTo>
                    <a:pt x="1993" y="554"/>
                  </a:lnTo>
                  <a:lnTo>
                    <a:pt x="1991" y="554"/>
                  </a:lnTo>
                  <a:lnTo>
                    <a:pt x="1989" y="551"/>
                  </a:lnTo>
                  <a:lnTo>
                    <a:pt x="1989" y="551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9"/>
                  </a:lnTo>
                  <a:lnTo>
                    <a:pt x="1991" y="547"/>
                  </a:lnTo>
                  <a:lnTo>
                    <a:pt x="1991" y="547"/>
                  </a:lnTo>
                  <a:lnTo>
                    <a:pt x="1991" y="547"/>
                  </a:lnTo>
                  <a:lnTo>
                    <a:pt x="1993" y="547"/>
                  </a:lnTo>
                  <a:lnTo>
                    <a:pt x="1993" y="547"/>
                  </a:lnTo>
                  <a:lnTo>
                    <a:pt x="1993" y="547"/>
                  </a:lnTo>
                  <a:lnTo>
                    <a:pt x="1993" y="547"/>
                  </a:lnTo>
                  <a:lnTo>
                    <a:pt x="1995" y="547"/>
                  </a:lnTo>
                  <a:lnTo>
                    <a:pt x="1995" y="547"/>
                  </a:lnTo>
                  <a:lnTo>
                    <a:pt x="1998" y="547"/>
                  </a:lnTo>
                  <a:lnTo>
                    <a:pt x="1998" y="547"/>
                  </a:lnTo>
                  <a:lnTo>
                    <a:pt x="1998" y="547"/>
                  </a:lnTo>
                  <a:lnTo>
                    <a:pt x="1998" y="547"/>
                  </a:lnTo>
                  <a:lnTo>
                    <a:pt x="1998" y="547"/>
                  </a:lnTo>
                  <a:lnTo>
                    <a:pt x="1998" y="549"/>
                  </a:lnTo>
                  <a:lnTo>
                    <a:pt x="1998" y="549"/>
                  </a:lnTo>
                  <a:lnTo>
                    <a:pt x="1998" y="549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4"/>
                  </a:lnTo>
                  <a:lnTo>
                    <a:pt x="1998" y="554"/>
                  </a:lnTo>
                  <a:lnTo>
                    <a:pt x="1998" y="554"/>
                  </a:lnTo>
                  <a:lnTo>
                    <a:pt x="1998" y="554"/>
                  </a:lnTo>
                  <a:lnTo>
                    <a:pt x="1998" y="554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8" y="551"/>
                  </a:lnTo>
                  <a:lnTo>
                    <a:pt x="1995" y="551"/>
                  </a:lnTo>
                  <a:lnTo>
                    <a:pt x="1995" y="551"/>
                  </a:lnTo>
                  <a:lnTo>
                    <a:pt x="1995" y="551"/>
                  </a:lnTo>
                  <a:lnTo>
                    <a:pt x="1995" y="551"/>
                  </a:lnTo>
                  <a:lnTo>
                    <a:pt x="1995" y="551"/>
                  </a:lnTo>
                  <a:lnTo>
                    <a:pt x="1995" y="551"/>
                  </a:lnTo>
                  <a:lnTo>
                    <a:pt x="1995" y="551"/>
                  </a:lnTo>
                  <a:lnTo>
                    <a:pt x="1993" y="551"/>
                  </a:lnTo>
                  <a:lnTo>
                    <a:pt x="1993" y="551"/>
                  </a:lnTo>
                  <a:lnTo>
                    <a:pt x="1993" y="551"/>
                  </a:lnTo>
                  <a:lnTo>
                    <a:pt x="1995" y="551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5" y="554"/>
                  </a:lnTo>
                  <a:lnTo>
                    <a:pt x="1998" y="554"/>
                  </a:lnTo>
                  <a:lnTo>
                    <a:pt x="1998" y="554"/>
                  </a:lnTo>
                  <a:lnTo>
                    <a:pt x="1998" y="554"/>
                  </a:lnTo>
                  <a:lnTo>
                    <a:pt x="2002" y="556"/>
                  </a:lnTo>
                  <a:lnTo>
                    <a:pt x="2002" y="556"/>
                  </a:lnTo>
                  <a:lnTo>
                    <a:pt x="2002" y="556"/>
                  </a:lnTo>
                  <a:lnTo>
                    <a:pt x="2002" y="556"/>
                  </a:lnTo>
                  <a:lnTo>
                    <a:pt x="2002" y="556"/>
                  </a:lnTo>
                  <a:lnTo>
                    <a:pt x="2002" y="556"/>
                  </a:lnTo>
                  <a:lnTo>
                    <a:pt x="2002" y="556"/>
                  </a:lnTo>
                  <a:lnTo>
                    <a:pt x="2004" y="556"/>
                  </a:lnTo>
                  <a:lnTo>
                    <a:pt x="2004" y="556"/>
                  </a:lnTo>
                  <a:lnTo>
                    <a:pt x="2004" y="556"/>
                  </a:lnTo>
                  <a:lnTo>
                    <a:pt x="2004" y="556"/>
                  </a:lnTo>
                  <a:lnTo>
                    <a:pt x="2007" y="556"/>
                  </a:lnTo>
                  <a:lnTo>
                    <a:pt x="2007" y="556"/>
                  </a:lnTo>
                  <a:lnTo>
                    <a:pt x="2007" y="556"/>
                  </a:lnTo>
                  <a:lnTo>
                    <a:pt x="2007" y="556"/>
                  </a:lnTo>
                  <a:lnTo>
                    <a:pt x="2007" y="556"/>
                  </a:lnTo>
                  <a:lnTo>
                    <a:pt x="2007" y="556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4" y="558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0"/>
                  </a:lnTo>
                  <a:lnTo>
                    <a:pt x="2007" y="563"/>
                  </a:lnTo>
                  <a:lnTo>
                    <a:pt x="2007" y="563"/>
                  </a:lnTo>
                  <a:lnTo>
                    <a:pt x="2007" y="563"/>
                  </a:lnTo>
                  <a:lnTo>
                    <a:pt x="2007" y="563"/>
                  </a:lnTo>
                  <a:lnTo>
                    <a:pt x="2004" y="563"/>
                  </a:lnTo>
                  <a:lnTo>
                    <a:pt x="2004" y="563"/>
                  </a:lnTo>
                  <a:lnTo>
                    <a:pt x="2004" y="563"/>
                  </a:lnTo>
                  <a:lnTo>
                    <a:pt x="2004" y="563"/>
                  </a:lnTo>
                  <a:lnTo>
                    <a:pt x="2004" y="563"/>
                  </a:lnTo>
                  <a:lnTo>
                    <a:pt x="2004" y="563"/>
                  </a:lnTo>
                  <a:lnTo>
                    <a:pt x="2004" y="563"/>
                  </a:lnTo>
                  <a:lnTo>
                    <a:pt x="2002" y="563"/>
                  </a:lnTo>
                  <a:lnTo>
                    <a:pt x="2002" y="563"/>
                  </a:lnTo>
                  <a:lnTo>
                    <a:pt x="2002" y="565"/>
                  </a:lnTo>
                  <a:lnTo>
                    <a:pt x="2002" y="565"/>
                  </a:lnTo>
                  <a:lnTo>
                    <a:pt x="2004" y="565"/>
                  </a:lnTo>
                  <a:lnTo>
                    <a:pt x="2004" y="565"/>
                  </a:lnTo>
                  <a:lnTo>
                    <a:pt x="2007" y="565"/>
                  </a:lnTo>
                  <a:lnTo>
                    <a:pt x="2007" y="565"/>
                  </a:lnTo>
                  <a:lnTo>
                    <a:pt x="2009" y="565"/>
                  </a:lnTo>
                  <a:lnTo>
                    <a:pt x="2011" y="565"/>
                  </a:lnTo>
                  <a:lnTo>
                    <a:pt x="2016" y="565"/>
                  </a:lnTo>
                  <a:lnTo>
                    <a:pt x="2016" y="563"/>
                  </a:lnTo>
                  <a:lnTo>
                    <a:pt x="2018" y="563"/>
                  </a:lnTo>
                  <a:lnTo>
                    <a:pt x="2018" y="563"/>
                  </a:lnTo>
                  <a:lnTo>
                    <a:pt x="2018" y="560"/>
                  </a:lnTo>
                  <a:lnTo>
                    <a:pt x="2018" y="560"/>
                  </a:lnTo>
                  <a:lnTo>
                    <a:pt x="2018" y="560"/>
                  </a:lnTo>
                  <a:lnTo>
                    <a:pt x="2018" y="560"/>
                  </a:lnTo>
                  <a:lnTo>
                    <a:pt x="2018" y="558"/>
                  </a:lnTo>
                  <a:lnTo>
                    <a:pt x="2018" y="558"/>
                  </a:lnTo>
                  <a:lnTo>
                    <a:pt x="2018" y="556"/>
                  </a:lnTo>
                  <a:lnTo>
                    <a:pt x="2018" y="556"/>
                  </a:lnTo>
                  <a:lnTo>
                    <a:pt x="2018" y="556"/>
                  </a:lnTo>
                  <a:lnTo>
                    <a:pt x="2018" y="556"/>
                  </a:lnTo>
                  <a:lnTo>
                    <a:pt x="2018" y="554"/>
                  </a:lnTo>
                  <a:lnTo>
                    <a:pt x="2020" y="554"/>
                  </a:lnTo>
                  <a:lnTo>
                    <a:pt x="2020" y="556"/>
                  </a:lnTo>
                  <a:lnTo>
                    <a:pt x="2020" y="556"/>
                  </a:lnTo>
                  <a:lnTo>
                    <a:pt x="2020" y="556"/>
                  </a:lnTo>
                  <a:lnTo>
                    <a:pt x="2020" y="556"/>
                  </a:lnTo>
                  <a:lnTo>
                    <a:pt x="2022" y="558"/>
                  </a:lnTo>
                  <a:lnTo>
                    <a:pt x="2022" y="558"/>
                  </a:lnTo>
                  <a:lnTo>
                    <a:pt x="2022" y="560"/>
                  </a:lnTo>
                  <a:lnTo>
                    <a:pt x="2022" y="563"/>
                  </a:lnTo>
                  <a:lnTo>
                    <a:pt x="2022" y="563"/>
                  </a:lnTo>
                  <a:lnTo>
                    <a:pt x="2022" y="563"/>
                  </a:lnTo>
                  <a:lnTo>
                    <a:pt x="2022" y="563"/>
                  </a:lnTo>
                  <a:lnTo>
                    <a:pt x="2022" y="563"/>
                  </a:lnTo>
                  <a:lnTo>
                    <a:pt x="2022" y="563"/>
                  </a:lnTo>
                  <a:lnTo>
                    <a:pt x="2022" y="565"/>
                  </a:lnTo>
                  <a:lnTo>
                    <a:pt x="2022" y="565"/>
                  </a:lnTo>
                  <a:lnTo>
                    <a:pt x="2022" y="565"/>
                  </a:lnTo>
                  <a:lnTo>
                    <a:pt x="2022" y="565"/>
                  </a:lnTo>
                  <a:lnTo>
                    <a:pt x="2022" y="565"/>
                  </a:lnTo>
                  <a:lnTo>
                    <a:pt x="2022" y="565"/>
                  </a:lnTo>
                  <a:lnTo>
                    <a:pt x="2022" y="567"/>
                  </a:lnTo>
                  <a:lnTo>
                    <a:pt x="2022" y="567"/>
                  </a:lnTo>
                  <a:lnTo>
                    <a:pt x="2022" y="567"/>
                  </a:lnTo>
                  <a:lnTo>
                    <a:pt x="2022" y="565"/>
                  </a:lnTo>
                  <a:lnTo>
                    <a:pt x="2022" y="565"/>
                  </a:lnTo>
                  <a:lnTo>
                    <a:pt x="2025" y="565"/>
                  </a:lnTo>
                  <a:lnTo>
                    <a:pt x="2027" y="565"/>
                  </a:lnTo>
                  <a:lnTo>
                    <a:pt x="2027" y="565"/>
                  </a:lnTo>
                  <a:lnTo>
                    <a:pt x="2027" y="565"/>
                  </a:lnTo>
                  <a:lnTo>
                    <a:pt x="2027" y="565"/>
                  </a:lnTo>
                  <a:lnTo>
                    <a:pt x="2027" y="565"/>
                  </a:lnTo>
                  <a:lnTo>
                    <a:pt x="2025" y="560"/>
                  </a:lnTo>
                  <a:lnTo>
                    <a:pt x="2025" y="558"/>
                  </a:lnTo>
                  <a:lnTo>
                    <a:pt x="2025" y="558"/>
                  </a:lnTo>
                  <a:lnTo>
                    <a:pt x="2025" y="558"/>
                  </a:lnTo>
                  <a:lnTo>
                    <a:pt x="2022" y="558"/>
                  </a:lnTo>
                  <a:lnTo>
                    <a:pt x="2022" y="558"/>
                  </a:lnTo>
                  <a:lnTo>
                    <a:pt x="2022" y="556"/>
                  </a:lnTo>
                  <a:lnTo>
                    <a:pt x="2022" y="556"/>
                  </a:lnTo>
                  <a:lnTo>
                    <a:pt x="2022" y="554"/>
                  </a:lnTo>
                  <a:lnTo>
                    <a:pt x="2022" y="554"/>
                  </a:lnTo>
                  <a:lnTo>
                    <a:pt x="2020" y="551"/>
                  </a:lnTo>
                  <a:lnTo>
                    <a:pt x="2020" y="554"/>
                  </a:lnTo>
                  <a:lnTo>
                    <a:pt x="2018" y="554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51"/>
                  </a:lnTo>
                  <a:lnTo>
                    <a:pt x="2018" y="549"/>
                  </a:lnTo>
                  <a:lnTo>
                    <a:pt x="2018" y="549"/>
                  </a:lnTo>
                  <a:lnTo>
                    <a:pt x="2018" y="549"/>
                  </a:lnTo>
                  <a:lnTo>
                    <a:pt x="2018" y="549"/>
                  </a:lnTo>
                  <a:lnTo>
                    <a:pt x="2016" y="549"/>
                  </a:lnTo>
                  <a:lnTo>
                    <a:pt x="2016" y="549"/>
                  </a:lnTo>
                  <a:lnTo>
                    <a:pt x="2013" y="547"/>
                  </a:lnTo>
                  <a:lnTo>
                    <a:pt x="2016" y="547"/>
                  </a:lnTo>
                  <a:lnTo>
                    <a:pt x="2016" y="547"/>
                  </a:lnTo>
                  <a:lnTo>
                    <a:pt x="2016" y="547"/>
                  </a:lnTo>
                  <a:lnTo>
                    <a:pt x="2020" y="549"/>
                  </a:lnTo>
                  <a:lnTo>
                    <a:pt x="2025" y="549"/>
                  </a:lnTo>
                  <a:lnTo>
                    <a:pt x="2025" y="549"/>
                  </a:lnTo>
                  <a:lnTo>
                    <a:pt x="2027" y="551"/>
                  </a:lnTo>
                  <a:lnTo>
                    <a:pt x="2029" y="549"/>
                  </a:lnTo>
                  <a:lnTo>
                    <a:pt x="2034" y="549"/>
                  </a:lnTo>
                  <a:lnTo>
                    <a:pt x="2034" y="547"/>
                  </a:lnTo>
                  <a:lnTo>
                    <a:pt x="2034" y="547"/>
                  </a:lnTo>
                  <a:lnTo>
                    <a:pt x="2034" y="547"/>
                  </a:lnTo>
                  <a:lnTo>
                    <a:pt x="2034" y="547"/>
                  </a:lnTo>
                  <a:lnTo>
                    <a:pt x="2036" y="549"/>
                  </a:lnTo>
                  <a:lnTo>
                    <a:pt x="2036" y="549"/>
                  </a:lnTo>
                  <a:lnTo>
                    <a:pt x="2036" y="549"/>
                  </a:lnTo>
                  <a:lnTo>
                    <a:pt x="2036" y="549"/>
                  </a:lnTo>
                  <a:lnTo>
                    <a:pt x="2036" y="549"/>
                  </a:lnTo>
                  <a:lnTo>
                    <a:pt x="2038" y="551"/>
                  </a:lnTo>
                  <a:lnTo>
                    <a:pt x="2038" y="551"/>
                  </a:lnTo>
                  <a:lnTo>
                    <a:pt x="2038" y="551"/>
                  </a:lnTo>
                  <a:lnTo>
                    <a:pt x="2038" y="549"/>
                  </a:lnTo>
                  <a:lnTo>
                    <a:pt x="2038" y="549"/>
                  </a:lnTo>
                  <a:lnTo>
                    <a:pt x="2038" y="551"/>
                  </a:lnTo>
                  <a:lnTo>
                    <a:pt x="2038" y="551"/>
                  </a:lnTo>
                  <a:lnTo>
                    <a:pt x="2043" y="551"/>
                  </a:lnTo>
                  <a:lnTo>
                    <a:pt x="2043" y="551"/>
                  </a:lnTo>
                  <a:lnTo>
                    <a:pt x="2043" y="551"/>
                  </a:lnTo>
                  <a:lnTo>
                    <a:pt x="2047" y="554"/>
                  </a:lnTo>
                  <a:lnTo>
                    <a:pt x="2047" y="554"/>
                  </a:lnTo>
                  <a:lnTo>
                    <a:pt x="2047" y="554"/>
                  </a:lnTo>
                  <a:lnTo>
                    <a:pt x="2047" y="554"/>
                  </a:lnTo>
                  <a:lnTo>
                    <a:pt x="2047" y="554"/>
                  </a:lnTo>
                  <a:lnTo>
                    <a:pt x="2049" y="554"/>
                  </a:lnTo>
                  <a:lnTo>
                    <a:pt x="2049" y="556"/>
                  </a:lnTo>
                  <a:lnTo>
                    <a:pt x="2049" y="556"/>
                  </a:lnTo>
                  <a:lnTo>
                    <a:pt x="2049" y="556"/>
                  </a:lnTo>
                  <a:lnTo>
                    <a:pt x="2049" y="556"/>
                  </a:lnTo>
                  <a:lnTo>
                    <a:pt x="2052" y="556"/>
                  </a:lnTo>
                  <a:lnTo>
                    <a:pt x="2052" y="556"/>
                  </a:lnTo>
                  <a:lnTo>
                    <a:pt x="2052" y="556"/>
                  </a:lnTo>
                  <a:lnTo>
                    <a:pt x="2052" y="556"/>
                  </a:lnTo>
                  <a:lnTo>
                    <a:pt x="2052" y="556"/>
                  </a:lnTo>
                  <a:lnTo>
                    <a:pt x="2052" y="558"/>
                  </a:lnTo>
                  <a:lnTo>
                    <a:pt x="2052" y="558"/>
                  </a:lnTo>
                  <a:lnTo>
                    <a:pt x="2054" y="560"/>
                  </a:lnTo>
                  <a:lnTo>
                    <a:pt x="2056" y="560"/>
                  </a:lnTo>
                  <a:lnTo>
                    <a:pt x="2056" y="560"/>
                  </a:lnTo>
                  <a:lnTo>
                    <a:pt x="2058" y="560"/>
                  </a:lnTo>
                  <a:lnTo>
                    <a:pt x="2058" y="560"/>
                  </a:lnTo>
                  <a:lnTo>
                    <a:pt x="2058" y="560"/>
                  </a:lnTo>
                  <a:lnTo>
                    <a:pt x="2058" y="560"/>
                  </a:lnTo>
                  <a:lnTo>
                    <a:pt x="2061" y="560"/>
                  </a:lnTo>
                  <a:lnTo>
                    <a:pt x="2061" y="560"/>
                  </a:lnTo>
                  <a:lnTo>
                    <a:pt x="2061" y="563"/>
                  </a:lnTo>
                  <a:lnTo>
                    <a:pt x="2061" y="563"/>
                  </a:lnTo>
                  <a:lnTo>
                    <a:pt x="2061" y="563"/>
                  </a:lnTo>
                  <a:lnTo>
                    <a:pt x="2061" y="563"/>
                  </a:lnTo>
                  <a:lnTo>
                    <a:pt x="2063" y="563"/>
                  </a:lnTo>
                  <a:lnTo>
                    <a:pt x="2063" y="563"/>
                  </a:lnTo>
                  <a:lnTo>
                    <a:pt x="2065" y="565"/>
                  </a:lnTo>
                  <a:lnTo>
                    <a:pt x="2072" y="567"/>
                  </a:lnTo>
                  <a:lnTo>
                    <a:pt x="2074" y="567"/>
                  </a:lnTo>
                  <a:lnTo>
                    <a:pt x="2074" y="567"/>
                  </a:lnTo>
                  <a:lnTo>
                    <a:pt x="2074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2" y="567"/>
                  </a:lnTo>
                  <a:lnTo>
                    <a:pt x="2074" y="567"/>
                  </a:lnTo>
                  <a:lnTo>
                    <a:pt x="2074" y="567"/>
                  </a:lnTo>
                  <a:lnTo>
                    <a:pt x="2074" y="567"/>
                  </a:lnTo>
                  <a:lnTo>
                    <a:pt x="2074" y="567"/>
                  </a:lnTo>
                  <a:lnTo>
                    <a:pt x="2076" y="569"/>
                  </a:lnTo>
                  <a:lnTo>
                    <a:pt x="2076" y="569"/>
                  </a:lnTo>
                  <a:lnTo>
                    <a:pt x="2076" y="569"/>
                  </a:lnTo>
                  <a:lnTo>
                    <a:pt x="2076" y="569"/>
                  </a:lnTo>
                  <a:lnTo>
                    <a:pt x="2079" y="569"/>
                  </a:lnTo>
                  <a:lnTo>
                    <a:pt x="2079" y="569"/>
                  </a:lnTo>
                  <a:lnTo>
                    <a:pt x="2079" y="569"/>
                  </a:lnTo>
                  <a:lnTo>
                    <a:pt x="2079" y="569"/>
                  </a:lnTo>
                  <a:lnTo>
                    <a:pt x="2081" y="569"/>
                  </a:lnTo>
                  <a:lnTo>
                    <a:pt x="2083" y="569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3" y="572"/>
                  </a:lnTo>
                  <a:lnTo>
                    <a:pt x="2085" y="572"/>
                  </a:lnTo>
                  <a:lnTo>
                    <a:pt x="2085" y="572"/>
                  </a:lnTo>
                  <a:lnTo>
                    <a:pt x="2085" y="572"/>
                  </a:lnTo>
                  <a:lnTo>
                    <a:pt x="2085" y="572"/>
                  </a:lnTo>
                  <a:lnTo>
                    <a:pt x="2085" y="572"/>
                  </a:lnTo>
                  <a:lnTo>
                    <a:pt x="2085" y="574"/>
                  </a:lnTo>
                  <a:lnTo>
                    <a:pt x="2085" y="574"/>
                  </a:lnTo>
                  <a:lnTo>
                    <a:pt x="2085" y="574"/>
                  </a:lnTo>
                  <a:lnTo>
                    <a:pt x="2085" y="574"/>
                  </a:lnTo>
                  <a:lnTo>
                    <a:pt x="2085" y="574"/>
                  </a:lnTo>
                  <a:lnTo>
                    <a:pt x="2088" y="574"/>
                  </a:lnTo>
                  <a:lnTo>
                    <a:pt x="2088" y="574"/>
                  </a:lnTo>
                  <a:lnTo>
                    <a:pt x="2085" y="574"/>
                  </a:lnTo>
                  <a:lnTo>
                    <a:pt x="2085" y="574"/>
                  </a:lnTo>
                  <a:lnTo>
                    <a:pt x="2085" y="576"/>
                  </a:lnTo>
                  <a:lnTo>
                    <a:pt x="2088" y="576"/>
                  </a:lnTo>
                  <a:lnTo>
                    <a:pt x="2088" y="576"/>
                  </a:lnTo>
                  <a:lnTo>
                    <a:pt x="2088" y="576"/>
                  </a:lnTo>
                  <a:lnTo>
                    <a:pt x="2088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3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6"/>
                  </a:lnTo>
                  <a:lnTo>
                    <a:pt x="2085" y="578"/>
                  </a:lnTo>
                  <a:lnTo>
                    <a:pt x="2085" y="578"/>
                  </a:lnTo>
                  <a:lnTo>
                    <a:pt x="2085" y="578"/>
                  </a:lnTo>
                  <a:lnTo>
                    <a:pt x="2085" y="578"/>
                  </a:lnTo>
                  <a:lnTo>
                    <a:pt x="2085" y="578"/>
                  </a:lnTo>
                  <a:lnTo>
                    <a:pt x="2081" y="576"/>
                  </a:lnTo>
                  <a:lnTo>
                    <a:pt x="2081" y="576"/>
                  </a:lnTo>
                  <a:lnTo>
                    <a:pt x="2081" y="576"/>
                  </a:lnTo>
                  <a:lnTo>
                    <a:pt x="2079" y="576"/>
                  </a:lnTo>
                  <a:lnTo>
                    <a:pt x="2079" y="576"/>
                  </a:lnTo>
                  <a:lnTo>
                    <a:pt x="2079" y="576"/>
                  </a:lnTo>
                  <a:lnTo>
                    <a:pt x="2076" y="574"/>
                  </a:lnTo>
                  <a:lnTo>
                    <a:pt x="2076" y="574"/>
                  </a:lnTo>
                  <a:lnTo>
                    <a:pt x="2076" y="574"/>
                  </a:lnTo>
                  <a:lnTo>
                    <a:pt x="2074" y="574"/>
                  </a:lnTo>
                  <a:lnTo>
                    <a:pt x="2074" y="574"/>
                  </a:lnTo>
                  <a:lnTo>
                    <a:pt x="2076" y="576"/>
                  </a:lnTo>
                  <a:lnTo>
                    <a:pt x="2079" y="576"/>
                  </a:lnTo>
                  <a:lnTo>
                    <a:pt x="2079" y="576"/>
                  </a:lnTo>
                  <a:lnTo>
                    <a:pt x="2079" y="576"/>
                  </a:lnTo>
                  <a:lnTo>
                    <a:pt x="2081" y="576"/>
                  </a:lnTo>
                  <a:lnTo>
                    <a:pt x="2081" y="576"/>
                  </a:lnTo>
                  <a:lnTo>
                    <a:pt x="2081" y="578"/>
                  </a:lnTo>
                  <a:lnTo>
                    <a:pt x="2081" y="578"/>
                  </a:lnTo>
                  <a:lnTo>
                    <a:pt x="2081" y="578"/>
                  </a:lnTo>
                  <a:lnTo>
                    <a:pt x="2081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3" y="578"/>
                  </a:lnTo>
                  <a:lnTo>
                    <a:pt x="2085" y="578"/>
                  </a:lnTo>
                  <a:lnTo>
                    <a:pt x="2085" y="578"/>
                  </a:lnTo>
                  <a:lnTo>
                    <a:pt x="2085" y="581"/>
                  </a:lnTo>
                  <a:lnTo>
                    <a:pt x="2085" y="581"/>
                  </a:lnTo>
                  <a:lnTo>
                    <a:pt x="2085" y="581"/>
                  </a:lnTo>
                  <a:lnTo>
                    <a:pt x="2085" y="581"/>
                  </a:lnTo>
                  <a:lnTo>
                    <a:pt x="2088" y="581"/>
                  </a:lnTo>
                  <a:lnTo>
                    <a:pt x="2088" y="581"/>
                  </a:lnTo>
                  <a:lnTo>
                    <a:pt x="2088" y="581"/>
                  </a:lnTo>
                  <a:lnTo>
                    <a:pt x="2088" y="581"/>
                  </a:lnTo>
                  <a:lnTo>
                    <a:pt x="2088" y="581"/>
                  </a:lnTo>
                  <a:lnTo>
                    <a:pt x="2090" y="581"/>
                  </a:lnTo>
                  <a:lnTo>
                    <a:pt x="2090" y="581"/>
                  </a:lnTo>
                  <a:lnTo>
                    <a:pt x="2090" y="583"/>
                  </a:lnTo>
                  <a:lnTo>
                    <a:pt x="2090" y="583"/>
                  </a:lnTo>
                  <a:lnTo>
                    <a:pt x="2090" y="583"/>
                  </a:lnTo>
                  <a:lnTo>
                    <a:pt x="2090" y="583"/>
                  </a:lnTo>
                  <a:lnTo>
                    <a:pt x="2092" y="583"/>
                  </a:lnTo>
                  <a:lnTo>
                    <a:pt x="2092" y="583"/>
                  </a:lnTo>
                  <a:lnTo>
                    <a:pt x="2092" y="583"/>
                  </a:lnTo>
                  <a:lnTo>
                    <a:pt x="2092" y="585"/>
                  </a:lnTo>
                  <a:lnTo>
                    <a:pt x="2094" y="585"/>
                  </a:lnTo>
                  <a:lnTo>
                    <a:pt x="2094" y="585"/>
                  </a:lnTo>
                  <a:lnTo>
                    <a:pt x="2094" y="585"/>
                  </a:lnTo>
                  <a:lnTo>
                    <a:pt x="2094" y="585"/>
                  </a:lnTo>
                  <a:lnTo>
                    <a:pt x="2094" y="585"/>
                  </a:lnTo>
                  <a:lnTo>
                    <a:pt x="2094" y="585"/>
                  </a:lnTo>
                  <a:lnTo>
                    <a:pt x="2094" y="587"/>
                  </a:lnTo>
                  <a:lnTo>
                    <a:pt x="2094" y="587"/>
                  </a:lnTo>
                  <a:lnTo>
                    <a:pt x="2094" y="587"/>
                  </a:lnTo>
                  <a:lnTo>
                    <a:pt x="2094" y="587"/>
                  </a:lnTo>
                  <a:lnTo>
                    <a:pt x="2094" y="587"/>
                  </a:lnTo>
                  <a:lnTo>
                    <a:pt x="2094" y="590"/>
                  </a:lnTo>
                  <a:lnTo>
                    <a:pt x="2094" y="590"/>
                  </a:lnTo>
                  <a:lnTo>
                    <a:pt x="2094" y="590"/>
                  </a:lnTo>
                  <a:lnTo>
                    <a:pt x="2094" y="590"/>
                  </a:lnTo>
                  <a:lnTo>
                    <a:pt x="2097" y="592"/>
                  </a:lnTo>
                  <a:lnTo>
                    <a:pt x="2099" y="592"/>
                  </a:lnTo>
                  <a:lnTo>
                    <a:pt x="2099" y="592"/>
                  </a:lnTo>
                  <a:lnTo>
                    <a:pt x="2099" y="592"/>
                  </a:lnTo>
                  <a:lnTo>
                    <a:pt x="2101" y="594"/>
                  </a:lnTo>
                  <a:lnTo>
                    <a:pt x="2101" y="594"/>
                  </a:lnTo>
                  <a:lnTo>
                    <a:pt x="2103" y="594"/>
                  </a:lnTo>
                  <a:lnTo>
                    <a:pt x="2103" y="594"/>
                  </a:lnTo>
                  <a:lnTo>
                    <a:pt x="2103" y="594"/>
                  </a:lnTo>
                  <a:lnTo>
                    <a:pt x="2103" y="594"/>
                  </a:lnTo>
                  <a:lnTo>
                    <a:pt x="2103" y="594"/>
                  </a:lnTo>
                  <a:lnTo>
                    <a:pt x="2106" y="594"/>
                  </a:lnTo>
                  <a:lnTo>
                    <a:pt x="2106" y="596"/>
                  </a:lnTo>
                  <a:lnTo>
                    <a:pt x="2106" y="596"/>
                  </a:lnTo>
                  <a:lnTo>
                    <a:pt x="2106" y="594"/>
                  </a:lnTo>
                  <a:lnTo>
                    <a:pt x="2106" y="594"/>
                  </a:lnTo>
                  <a:lnTo>
                    <a:pt x="2106" y="594"/>
                  </a:lnTo>
                  <a:lnTo>
                    <a:pt x="2108" y="594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8" y="596"/>
                  </a:lnTo>
                  <a:lnTo>
                    <a:pt x="2106" y="596"/>
                  </a:lnTo>
                  <a:lnTo>
                    <a:pt x="2106" y="596"/>
                  </a:lnTo>
                  <a:lnTo>
                    <a:pt x="2106" y="599"/>
                  </a:lnTo>
                  <a:lnTo>
                    <a:pt x="2106" y="599"/>
                  </a:lnTo>
                  <a:lnTo>
                    <a:pt x="2106" y="599"/>
                  </a:lnTo>
                  <a:lnTo>
                    <a:pt x="2106" y="599"/>
                  </a:lnTo>
                  <a:lnTo>
                    <a:pt x="2106" y="599"/>
                  </a:lnTo>
                  <a:lnTo>
                    <a:pt x="2106" y="599"/>
                  </a:lnTo>
                  <a:lnTo>
                    <a:pt x="2106" y="599"/>
                  </a:lnTo>
                  <a:lnTo>
                    <a:pt x="2108" y="601"/>
                  </a:lnTo>
                  <a:lnTo>
                    <a:pt x="2108" y="601"/>
                  </a:lnTo>
                  <a:lnTo>
                    <a:pt x="2108" y="601"/>
                  </a:lnTo>
                  <a:lnTo>
                    <a:pt x="2108" y="601"/>
                  </a:lnTo>
                  <a:lnTo>
                    <a:pt x="2110" y="601"/>
                  </a:lnTo>
                  <a:lnTo>
                    <a:pt x="2110" y="601"/>
                  </a:lnTo>
                  <a:lnTo>
                    <a:pt x="2110" y="601"/>
                  </a:lnTo>
                  <a:lnTo>
                    <a:pt x="2110" y="603"/>
                  </a:lnTo>
                  <a:lnTo>
                    <a:pt x="2110" y="603"/>
                  </a:lnTo>
                  <a:lnTo>
                    <a:pt x="2110" y="603"/>
                  </a:lnTo>
                  <a:lnTo>
                    <a:pt x="2110" y="603"/>
                  </a:lnTo>
                  <a:lnTo>
                    <a:pt x="2108" y="603"/>
                  </a:lnTo>
                  <a:lnTo>
                    <a:pt x="2108" y="603"/>
                  </a:lnTo>
                  <a:lnTo>
                    <a:pt x="2108" y="605"/>
                  </a:lnTo>
                  <a:lnTo>
                    <a:pt x="2108" y="605"/>
                  </a:lnTo>
                  <a:lnTo>
                    <a:pt x="2110" y="605"/>
                  </a:lnTo>
                  <a:lnTo>
                    <a:pt x="2110" y="605"/>
                  </a:lnTo>
                  <a:lnTo>
                    <a:pt x="2110" y="608"/>
                  </a:lnTo>
                  <a:lnTo>
                    <a:pt x="2110" y="608"/>
                  </a:lnTo>
                  <a:lnTo>
                    <a:pt x="2110" y="608"/>
                  </a:lnTo>
                  <a:lnTo>
                    <a:pt x="2110" y="608"/>
                  </a:lnTo>
                  <a:lnTo>
                    <a:pt x="2108" y="608"/>
                  </a:lnTo>
                  <a:lnTo>
                    <a:pt x="2108" y="608"/>
                  </a:lnTo>
                  <a:lnTo>
                    <a:pt x="2108" y="610"/>
                  </a:lnTo>
                  <a:lnTo>
                    <a:pt x="2108" y="610"/>
                  </a:lnTo>
                  <a:lnTo>
                    <a:pt x="2108" y="610"/>
                  </a:lnTo>
                  <a:lnTo>
                    <a:pt x="2108" y="610"/>
                  </a:lnTo>
                  <a:lnTo>
                    <a:pt x="2110" y="612"/>
                  </a:lnTo>
                  <a:lnTo>
                    <a:pt x="2110" y="612"/>
                  </a:lnTo>
                  <a:lnTo>
                    <a:pt x="2110" y="612"/>
                  </a:lnTo>
                  <a:lnTo>
                    <a:pt x="2110" y="612"/>
                  </a:lnTo>
                  <a:lnTo>
                    <a:pt x="2110" y="612"/>
                  </a:lnTo>
                  <a:lnTo>
                    <a:pt x="2108" y="612"/>
                  </a:lnTo>
                  <a:lnTo>
                    <a:pt x="2108" y="612"/>
                  </a:lnTo>
                  <a:lnTo>
                    <a:pt x="2108" y="612"/>
                  </a:lnTo>
                  <a:lnTo>
                    <a:pt x="2108" y="612"/>
                  </a:lnTo>
                  <a:lnTo>
                    <a:pt x="2108" y="612"/>
                  </a:lnTo>
                  <a:lnTo>
                    <a:pt x="2108" y="612"/>
                  </a:lnTo>
                  <a:lnTo>
                    <a:pt x="2108" y="612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2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10" y="614"/>
                  </a:lnTo>
                  <a:lnTo>
                    <a:pt x="2108" y="614"/>
                  </a:lnTo>
                  <a:lnTo>
                    <a:pt x="2108" y="617"/>
                  </a:lnTo>
                  <a:lnTo>
                    <a:pt x="2110" y="617"/>
                  </a:lnTo>
                  <a:lnTo>
                    <a:pt x="2110" y="617"/>
                  </a:lnTo>
                  <a:lnTo>
                    <a:pt x="2110" y="617"/>
                  </a:lnTo>
                  <a:lnTo>
                    <a:pt x="2110" y="617"/>
                  </a:lnTo>
                  <a:lnTo>
                    <a:pt x="2110" y="617"/>
                  </a:lnTo>
                  <a:lnTo>
                    <a:pt x="2110" y="617"/>
                  </a:lnTo>
                  <a:lnTo>
                    <a:pt x="2110" y="619"/>
                  </a:lnTo>
                  <a:lnTo>
                    <a:pt x="2110" y="619"/>
                  </a:lnTo>
                  <a:lnTo>
                    <a:pt x="2110" y="619"/>
                  </a:lnTo>
                  <a:lnTo>
                    <a:pt x="2110" y="619"/>
                  </a:lnTo>
                  <a:lnTo>
                    <a:pt x="2110" y="619"/>
                  </a:lnTo>
                  <a:lnTo>
                    <a:pt x="2112" y="619"/>
                  </a:lnTo>
                  <a:lnTo>
                    <a:pt x="2112" y="621"/>
                  </a:lnTo>
                  <a:lnTo>
                    <a:pt x="2112" y="621"/>
                  </a:lnTo>
                  <a:lnTo>
                    <a:pt x="2112" y="621"/>
                  </a:lnTo>
                  <a:lnTo>
                    <a:pt x="2115" y="621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3"/>
                  </a:lnTo>
                  <a:lnTo>
                    <a:pt x="2115" y="626"/>
                  </a:lnTo>
                  <a:lnTo>
                    <a:pt x="2115" y="626"/>
                  </a:lnTo>
                  <a:lnTo>
                    <a:pt x="2115" y="626"/>
                  </a:lnTo>
                  <a:lnTo>
                    <a:pt x="2115" y="626"/>
                  </a:lnTo>
                  <a:lnTo>
                    <a:pt x="2115" y="626"/>
                  </a:lnTo>
                  <a:lnTo>
                    <a:pt x="2115" y="626"/>
                  </a:lnTo>
                  <a:lnTo>
                    <a:pt x="2115" y="626"/>
                  </a:lnTo>
                  <a:lnTo>
                    <a:pt x="2115" y="628"/>
                  </a:lnTo>
                  <a:lnTo>
                    <a:pt x="2115" y="628"/>
                  </a:lnTo>
                  <a:lnTo>
                    <a:pt x="2115" y="628"/>
                  </a:lnTo>
                  <a:lnTo>
                    <a:pt x="2115" y="628"/>
                  </a:lnTo>
                  <a:lnTo>
                    <a:pt x="2117" y="628"/>
                  </a:lnTo>
                  <a:lnTo>
                    <a:pt x="2115" y="628"/>
                  </a:lnTo>
                  <a:lnTo>
                    <a:pt x="2115" y="628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7" y="630"/>
                  </a:lnTo>
                  <a:lnTo>
                    <a:pt x="2119" y="632"/>
                  </a:lnTo>
                  <a:lnTo>
                    <a:pt x="2119" y="632"/>
                  </a:lnTo>
                  <a:lnTo>
                    <a:pt x="2119" y="632"/>
                  </a:lnTo>
                  <a:lnTo>
                    <a:pt x="2119" y="632"/>
                  </a:lnTo>
                  <a:lnTo>
                    <a:pt x="2119" y="635"/>
                  </a:lnTo>
                  <a:lnTo>
                    <a:pt x="2119" y="635"/>
                  </a:lnTo>
                  <a:lnTo>
                    <a:pt x="2119" y="635"/>
                  </a:lnTo>
                  <a:lnTo>
                    <a:pt x="2121" y="635"/>
                  </a:lnTo>
                  <a:lnTo>
                    <a:pt x="2121" y="637"/>
                  </a:lnTo>
                  <a:lnTo>
                    <a:pt x="2121" y="637"/>
                  </a:lnTo>
                  <a:lnTo>
                    <a:pt x="2121" y="637"/>
                  </a:lnTo>
                  <a:lnTo>
                    <a:pt x="2121" y="637"/>
                  </a:lnTo>
                  <a:lnTo>
                    <a:pt x="2123" y="637"/>
                  </a:lnTo>
                  <a:lnTo>
                    <a:pt x="2123" y="637"/>
                  </a:lnTo>
                  <a:lnTo>
                    <a:pt x="2123" y="639"/>
                  </a:lnTo>
                  <a:lnTo>
                    <a:pt x="2123" y="639"/>
                  </a:lnTo>
                  <a:lnTo>
                    <a:pt x="2123" y="639"/>
                  </a:lnTo>
                  <a:lnTo>
                    <a:pt x="2123" y="639"/>
                  </a:lnTo>
                  <a:lnTo>
                    <a:pt x="2126" y="639"/>
                  </a:lnTo>
                  <a:lnTo>
                    <a:pt x="2126" y="639"/>
                  </a:lnTo>
                  <a:lnTo>
                    <a:pt x="2126" y="641"/>
                  </a:lnTo>
                  <a:lnTo>
                    <a:pt x="2126" y="641"/>
                  </a:lnTo>
                  <a:lnTo>
                    <a:pt x="2126" y="641"/>
                  </a:lnTo>
                  <a:lnTo>
                    <a:pt x="2126" y="641"/>
                  </a:lnTo>
                  <a:lnTo>
                    <a:pt x="2128" y="644"/>
                  </a:lnTo>
                  <a:lnTo>
                    <a:pt x="2128" y="644"/>
                  </a:lnTo>
                  <a:lnTo>
                    <a:pt x="2128" y="644"/>
                  </a:lnTo>
                  <a:lnTo>
                    <a:pt x="2130" y="644"/>
                  </a:lnTo>
                  <a:lnTo>
                    <a:pt x="2130" y="644"/>
                  </a:lnTo>
                  <a:lnTo>
                    <a:pt x="2130" y="644"/>
                  </a:lnTo>
                  <a:lnTo>
                    <a:pt x="2130" y="644"/>
                  </a:lnTo>
                  <a:lnTo>
                    <a:pt x="2130" y="644"/>
                  </a:lnTo>
                  <a:lnTo>
                    <a:pt x="2130" y="644"/>
                  </a:lnTo>
                  <a:lnTo>
                    <a:pt x="2130" y="644"/>
                  </a:lnTo>
                  <a:lnTo>
                    <a:pt x="2132" y="644"/>
                  </a:lnTo>
                  <a:lnTo>
                    <a:pt x="2132" y="646"/>
                  </a:lnTo>
                  <a:lnTo>
                    <a:pt x="2130" y="646"/>
                  </a:lnTo>
                  <a:lnTo>
                    <a:pt x="2130" y="646"/>
                  </a:lnTo>
                  <a:lnTo>
                    <a:pt x="2130" y="646"/>
                  </a:lnTo>
                  <a:lnTo>
                    <a:pt x="2130" y="646"/>
                  </a:lnTo>
                  <a:lnTo>
                    <a:pt x="2130" y="646"/>
                  </a:lnTo>
                  <a:lnTo>
                    <a:pt x="2130" y="648"/>
                  </a:lnTo>
                  <a:lnTo>
                    <a:pt x="2130" y="648"/>
                  </a:lnTo>
                  <a:lnTo>
                    <a:pt x="2130" y="648"/>
                  </a:lnTo>
                  <a:lnTo>
                    <a:pt x="2130" y="648"/>
                  </a:lnTo>
                  <a:lnTo>
                    <a:pt x="2130" y="648"/>
                  </a:lnTo>
                  <a:lnTo>
                    <a:pt x="2130" y="648"/>
                  </a:lnTo>
                  <a:lnTo>
                    <a:pt x="2130" y="648"/>
                  </a:lnTo>
                  <a:lnTo>
                    <a:pt x="2130" y="650"/>
                  </a:lnTo>
                  <a:lnTo>
                    <a:pt x="2132" y="650"/>
                  </a:lnTo>
                  <a:lnTo>
                    <a:pt x="2132" y="650"/>
                  </a:lnTo>
                  <a:lnTo>
                    <a:pt x="2132" y="650"/>
                  </a:lnTo>
                  <a:lnTo>
                    <a:pt x="2135" y="650"/>
                  </a:lnTo>
                  <a:lnTo>
                    <a:pt x="2135" y="650"/>
                  </a:lnTo>
                  <a:lnTo>
                    <a:pt x="2135" y="653"/>
                  </a:lnTo>
                  <a:lnTo>
                    <a:pt x="2135" y="653"/>
                  </a:lnTo>
                  <a:lnTo>
                    <a:pt x="2135" y="653"/>
                  </a:lnTo>
                  <a:lnTo>
                    <a:pt x="2135" y="653"/>
                  </a:lnTo>
                  <a:lnTo>
                    <a:pt x="2135" y="653"/>
                  </a:lnTo>
                  <a:lnTo>
                    <a:pt x="2135" y="653"/>
                  </a:lnTo>
                  <a:lnTo>
                    <a:pt x="2137" y="655"/>
                  </a:lnTo>
                  <a:lnTo>
                    <a:pt x="2137" y="655"/>
                  </a:lnTo>
                  <a:lnTo>
                    <a:pt x="2137" y="655"/>
                  </a:lnTo>
                  <a:lnTo>
                    <a:pt x="2139" y="655"/>
                  </a:lnTo>
                  <a:lnTo>
                    <a:pt x="2139" y="657"/>
                  </a:lnTo>
                  <a:lnTo>
                    <a:pt x="2139" y="657"/>
                  </a:lnTo>
                  <a:lnTo>
                    <a:pt x="2139" y="657"/>
                  </a:lnTo>
                  <a:lnTo>
                    <a:pt x="2139" y="657"/>
                  </a:lnTo>
                  <a:lnTo>
                    <a:pt x="2139" y="657"/>
                  </a:lnTo>
                  <a:lnTo>
                    <a:pt x="2139" y="657"/>
                  </a:lnTo>
                  <a:lnTo>
                    <a:pt x="2139" y="657"/>
                  </a:lnTo>
                  <a:lnTo>
                    <a:pt x="2139" y="659"/>
                  </a:lnTo>
                  <a:lnTo>
                    <a:pt x="2139" y="659"/>
                  </a:lnTo>
                  <a:lnTo>
                    <a:pt x="2139" y="659"/>
                  </a:lnTo>
                  <a:lnTo>
                    <a:pt x="2139" y="662"/>
                  </a:lnTo>
                  <a:lnTo>
                    <a:pt x="2141" y="662"/>
                  </a:lnTo>
                  <a:lnTo>
                    <a:pt x="2141" y="662"/>
                  </a:lnTo>
                  <a:lnTo>
                    <a:pt x="2139" y="662"/>
                  </a:lnTo>
                  <a:lnTo>
                    <a:pt x="2139" y="662"/>
                  </a:lnTo>
                  <a:lnTo>
                    <a:pt x="2139" y="664"/>
                  </a:lnTo>
                  <a:lnTo>
                    <a:pt x="2139" y="664"/>
                  </a:lnTo>
                  <a:lnTo>
                    <a:pt x="2139" y="664"/>
                  </a:lnTo>
                  <a:lnTo>
                    <a:pt x="2139" y="662"/>
                  </a:lnTo>
                  <a:lnTo>
                    <a:pt x="2139" y="664"/>
                  </a:lnTo>
                  <a:lnTo>
                    <a:pt x="2141" y="664"/>
                  </a:lnTo>
                  <a:lnTo>
                    <a:pt x="2139" y="664"/>
                  </a:lnTo>
                  <a:lnTo>
                    <a:pt x="2139" y="664"/>
                  </a:lnTo>
                  <a:lnTo>
                    <a:pt x="2139" y="664"/>
                  </a:lnTo>
                  <a:lnTo>
                    <a:pt x="2139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4"/>
                  </a:lnTo>
                  <a:lnTo>
                    <a:pt x="2141" y="666"/>
                  </a:lnTo>
                  <a:lnTo>
                    <a:pt x="2141" y="666"/>
                  </a:lnTo>
                  <a:lnTo>
                    <a:pt x="2141" y="666"/>
                  </a:lnTo>
                  <a:lnTo>
                    <a:pt x="2141" y="666"/>
                  </a:lnTo>
                  <a:lnTo>
                    <a:pt x="2141" y="666"/>
                  </a:lnTo>
                  <a:lnTo>
                    <a:pt x="2144" y="666"/>
                  </a:lnTo>
                  <a:lnTo>
                    <a:pt x="2144" y="666"/>
                  </a:lnTo>
                  <a:lnTo>
                    <a:pt x="2141" y="666"/>
                  </a:lnTo>
                  <a:lnTo>
                    <a:pt x="2141" y="666"/>
                  </a:lnTo>
                  <a:lnTo>
                    <a:pt x="2141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1" y="668"/>
                  </a:lnTo>
                  <a:lnTo>
                    <a:pt x="2141" y="668"/>
                  </a:lnTo>
                  <a:lnTo>
                    <a:pt x="2141" y="668"/>
                  </a:lnTo>
                  <a:lnTo>
                    <a:pt x="2141" y="668"/>
                  </a:lnTo>
                  <a:lnTo>
                    <a:pt x="2141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71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4" y="668"/>
                  </a:lnTo>
                  <a:lnTo>
                    <a:pt x="2146" y="668"/>
                  </a:lnTo>
                  <a:lnTo>
                    <a:pt x="2146" y="668"/>
                  </a:lnTo>
                  <a:lnTo>
                    <a:pt x="2146" y="668"/>
                  </a:lnTo>
                  <a:lnTo>
                    <a:pt x="2146" y="671"/>
                  </a:lnTo>
                  <a:lnTo>
                    <a:pt x="2146" y="671"/>
                  </a:lnTo>
                  <a:lnTo>
                    <a:pt x="2146" y="671"/>
                  </a:lnTo>
                  <a:lnTo>
                    <a:pt x="2146" y="673"/>
                  </a:lnTo>
                  <a:lnTo>
                    <a:pt x="2146" y="673"/>
                  </a:lnTo>
                  <a:lnTo>
                    <a:pt x="2146" y="673"/>
                  </a:lnTo>
                  <a:lnTo>
                    <a:pt x="2146" y="673"/>
                  </a:lnTo>
                  <a:lnTo>
                    <a:pt x="2146" y="673"/>
                  </a:lnTo>
                  <a:lnTo>
                    <a:pt x="2146" y="673"/>
                  </a:lnTo>
                  <a:lnTo>
                    <a:pt x="2146" y="673"/>
                  </a:lnTo>
                  <a:lnTo>
                    <a:pt x="2146" y="675"/>
                  </a:lnTo>
                  <a:lnTo>
                    <a:pt x="2146" y="675"/>
                  </a:lnTo>
                  <a:lnTo>
                    <a:pt x="2146" y="675"/>
                  </a:lnTo>
                  <a:lnTo>
                    <a:pt x="2146" y="675"/>
                  </a:lnTo>
                  <a:lnTo>
                    <a:pt x="2148" y="677"/>
                  </a:lnTo>
                  <a:lnTo>
                    <a:pt x="2148" y="677"/>
                  </a:lnTo>
                  <a:lnTo>
                    <a:pt x="2148" y="680"/>
                  </a:lnTo>
                  <a:lnTo>
                    <a:pt x="2148" y="680"/>
                  </a:lnTo>
                  <a:lnTo>
                    <a:pt x="2148" y="680"/>
                  </a:lnTo>
                  <a:lnTo>
                    <a:pt x="2148" y="680"/>
                  </a:lnTo>
                  <a:lnTo>
                    <a:pt x="2150" y="680"/>
                  </a:lnTo>
                  <a:lnTo>
                    <a:pt x="2150" y="680"/>
                  </a:lnTo>
                  <a:lnTo>
                    <a:pt x="2150" y="682"/>
                  </a:lnTo>
                  <a:lnTo>
                    <a:pt x="2150" y="682"/>
                  </a:lnTo>
                  <a:lnTo>
                    <a:pt x="2150" y="682"/>
                  </a:lnTo>
                  <a:lnTo>
                    <a:pt x="2150" y="682"/>
                  </a:lnTo>
                  <a:lnTo>
                    <a:pt x="2150" y="682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50" y="684"/>
                  </a:lnTo>
                  <a:lnTo>
                    <a:pt x="2148" y="684"/>
                  </a:lnTo>
                  <a:lnTo>
                    <a:pt x="2148" y="686"/>
                  </a:lnTo>
                  <a:lnTo>
                    <a:pt x="2148" y="689"/>
                  </a:lnTo>
                  <a:lnTo>
                    <a:pt x="2148" y="689"/>
                  </a:lnTo>
                  <a:lnTo>
                    <a:pt x="2148" y="689"/>
                  </a:lnTo>
                  <a:lnTo>
                    <a:pt x="2148" y="689"/>
                  </a:lnTo>
                  <a:lnTo>
                    <a:pt x="2148" y="689"/>
                  </a:lnTo>
                  <a:lnTo>
                    <a:pt x="2148" y="691"/>
                  </a:lnTo>
                  <a:lnTo>
                    <a:pt x="2148" y="691"/>
                  </a:lnTo>
                  <a:lnTo>
                    <a:pt x="2146" y="693"/>
                  </a:lnTo>
                  <a:lnTo>
                    <a:pt x="2146" y="693"/>
                  </a:lnTo>
                  <a:lnTo>
                    <a:pt x="2146" y="693"/>
                  </a:lnTo>
                  <a:lnTo>
                    <a:pt x="2146" y="693"/>
                  </a:lnTo>
                  <a:lnTo>
                    <a:pt x="2146" y="693"/>
                  </a:lnTo>
                  <a:lnTo>
                    <a:pt x="2146" y="695"/>
                  </a:lnTo>
                  <a:lnTo>
                    <a:pt x="2144" y="698"/>
                  </a:lnTo>
                  <a:lnTo>
                    <a:pt x="2144" y="698"/>
                  </a:lnTo>
                  <a:lnTo>
                    <a:pt x="2146" y="698"/>
                  </a:lnTo>
                  <a:lnTo>
                    <a:pt x="2146" y="700"/>
                  </a:lnTo>
                  <a:lnTo>
                    <a:pt x="2146" y="700"/>
                  </a:lnTo>
                  <a:lnTo>
                    <a:pt x="2146" y="700"/>
                  </a:lnTo>
                  <a:lnTo>
                    <a:pt x="2146" y="700"/>
                  </a:lnTo>
                  <a:lnTo>
                    <a:pt x="2146" y="700"/>
                  </a:lnTo>
                  <a:lnTo>
                    <a:pt x="2146" y="700"/>
                  </a:lnTo>
                  <a:lnTo>
                    <a:pt x="2146" y="700"/>
                  </a:lnTo>
                  <a:lnTo>
                    <a:pt x="2146" y="702"/>
                  </a:lnTo>
                  <a:lnTo>
                    <a:pt x="2146" y="702"/>
                  </a:lnTo>
                  <a:lnTo>
                    <a:pt x="2146" y="702"/>
                  </a:lnTo>
                  <a:lnTo>
                    <a:pt x="2146" y="702"/>
                  </a:lnTo>
                  <a:lnTo>
                    <a:pt x="2146" y="704"/>
                  </a:lnTo>
                  <a:lnTo>
                    <a:pt x="2146" y="704"/>
                  </a:lnTo>
                  <a:lnTo>
                    <a:pt x="2146" y="704"/>
                  </a:lnTo>
                  <a:lnTo>
                    <a:pt x="2146" y="704"/>
                  </a:lnTo>
                  <a:lnTo>
                    <a:pt x="2146" y="704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7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6" y="709"/>
                  </a:lnTo>
                  <a:lnTo>
                    <a:pt x="2144" y="713"/>
                  </a:lnTo>
                  <a:lnTo>
                    <a:pt x="2144" y="713"/>
                  </a:lnTo>
                  <a:lnTo>
                    <a:pt x="2144" y="713"/>
                  </a:lnTo>
                  <a:lnTo>
                    <a:pt x="2144" y="716"/>
                  </a:lnTo>
                  <a:lnTo>
                    <a:pt x="2144" y="716"/>
                  </a:lnTo>
                  <a:lnTo>
                    <a:pt x="2144" y="718"/>
                  </a:lnTo>
                  <a:lnTo>
                    <a:pt x="2146" y="718"/>
                  </a:lnTo>
                  <a:lnTo>
                    <a:pt x="2146" y="718"/>
                  </a:lnTo>
                  <a:lnTo>
                    <a:pt x="2146" y="718"/>
                  </a:lnTo>
                  <a:lnTo>
                    <a:pt x="2146" y="718"/>
                  </a:lnTo>
                  <a:lnTo>
                    <a:pt x="2146" y="718"/>
                  </a:lnTo>
                  <a:lnTo>
                    <a:pt x="2146" y="720"/>
                  </a:lnTo>
                  <a:lnTo>
                    <a:pt x="2146" y="722"/>
                  </a:lnTo>
                  <a:lnTo>
                    <a:pt x="2146" y="722"/>
                  </a:lnTo>
                  <a:lnTo>
                    <a:pt x="2146" y="722"/>
                  </a:lnTo>
                  <a:lnTo>
                    <a:pt x="2146" y="722"/>
                  </a:lnTo>
                  <a:lnTo>
                    <a:pt x="2146" y="724"/>
                  </a:lnTo>
                  <a:lnTo>
                    <a:pt x="2148" y="724"/>
                  </a:lnTo>
                  <a:lnTo>
                    <a:pt x="2148" y="727"/>
                  </a:lnTo>
                  <a:lnTo>
                    <a:pt x="2148" y="727"/>
                  </a:lnTo>
                  <a:lnTo>
                    <a:pt x="2146" y="727"/>
                  </a:lnTo>
                  <a:lnTo>
                    <a:pt x="2146" y="729"/>
                  </a:lnTo>
                  <a:lnTo>
                    <a:pt x="2148" y="731"/>
                  </a:lnTo>
                  <a:lnTo>
                    <a:pt x="2148" y="733"/>
                  </a:lnTo>
                  <a:lnTo>
                    <a:pt x="2148" y="733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6"/>
                  </a:lnTo>
                  <a:lnTo>
                    <a:pt x="2148" y="738"/>
                  </a:lnTo>
                  <a:lnTo>
                    <a:pt x="2148" y="738"/>
                  </a:lnTo>
                  <a:lnTo>
                    <a:pt x="2148" y="738"/>
                  </a:lnTo>
                  <a:lnTo>
                    <a:pt x="2148" y="738"/>
                  </a:lnTo>
                  <a:lnTo>
                    <a:pt x="2148" y="738"/>
                  </a:lnTo>
                  <a:lnTo>
                    <a:pt x="2146" y="740"/>
                  </a:lnTo>
                  <a:lnTo>
                    <a:pt x="2146" y="740"/>
                  </a:lnTo>
                  <a:lnTo>
                    <a:pt x="2148" y="740"/>
                  </a:lnTo>
                  <a:lnTo>
                    <a:pt x="2146" y="742"/>
                  </a:lnTo>
                  <a:lnTo>
                    <a:pt x="2148" y="742"/>
                  </a:lnTo>
                  <a:lnTo>
                    <a:pt x="2148" y="745"/>
                  </a:lnTo>
                  <a:lnTo>
                    <a:pt x="2146" y="745"/>
                  </a:lnTo>
                  <a:lnTo>
                    <a:pt x="2146" y="747"/>
                  </a:lnTo>
                  <a:lnTo>
                    <a:pt x="2146" y="747"/>
                  </a:lnTo>
                  <a:lnTo>
                    <a:pt x="2146" y="747"/>
                  </a:lnTo>
                  <a:lnTo>
                    <a:pt x="2144" y="749"/>
                  </a:lnTo>
                  <a:lnTo>
                    <a:pt x="2144" y="751"/>
                  </a:lnTo>
                  <a:lnTo>
                    <a:pt x="2144" y="751"/>
                  </a:lnTo>
                  <a:lnTo>
                    <a:pt x="2144" y="751"/>
                  </a:lnTo>
                  <a:lnTo>
                    <a:pt x="2144" y="751"/>
                  </a:lnTo>
                  <a:lnTo>
                    <a:pt x="2144" y="754"/>
                  </a:lnTo>
                  <a:lnTo>
                    <a:pt x="2144" y="754"/>
                  </a:lnTo>
                  <a:lnTo>
                    <a:pt x="2144" y="754"/>
                  </a:lnTo>
                  <a:lnTo>
                    <a:pt x="2144" y="754"/>
                  </a:lnTo>
                  <a:lnTo>
                    <a:pt x="2141" y="756"/>
                  </a:lnTo>
                  <a:lnTo>
                    <a:pt x="2141" y="758"/>
                  </a:lnTo>
                  <a:lnTo>
                    <a:pt x="2141" y="758"/>
                  </a:lnTo>
                  <a:lnTo>
                    <a:pt x="2141" y="758"/>
                  </a:lnTo>
                  <a:lnTo>
                    <a:pt x="2141" y="758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41" y="760"/>
                  </a:lnTo>
                  <a:lnTo>
                    <a:pt x="2139" y="760"/>
                  </a:lnTo>
                  <a:lnTo>
                    <a:pt x="2139" y="760"/>
                  </a:lnTo>
                  <a:lnTo>
                    <a:pt x="2139" y="760"/>
                  </a:lnTo>
                  <a:lnTo>
                    <a:pt x="2139" y="763"/>
                  </a:lnTo>
                  <a:lnTo>
                    <a:pt x="2139" y="763"/>
                  </a:lnTo>
                  <a:lnTo>
                    <a:pt x="2139" y="763"/>
                  </a:lnTo>
                  <a:lnTo>
                    <a:pt x="2139" y="763"/>
                  </a:lnTo>
                  <a:lnTo>
                    <a:pt x="2139" y="763"/>
                  </a:lnTo>
                  <a:lnTo>
                    <a:pt x="2139" y="763"/>
                  </a:lnTo>
                  <a:lnTo>
                    <a:pt x="2139" y="763"/>
                  </a:lnTo>
                  <a:lnTo>
                    <a:pt x="2139" y="765"/>
                  </a:lnTo>
                  <a:lnTo>
                    <a:pt x="2139" y="763"/>
                  </a:lnTo>
                  <a:lnTo>
                    <a:pt x="2139" y="765"/>
                  </a:lnTo>
                  <a:lnTo>
                    <a:pt x="2141" y="765"/>
                  </a:lnTo>
                  <a:lnTo>
                    <a:pt x="2141" y="765"/>
                  </a:lnTo>
                  <a:lnTo>
                    <a:pt x="2139" y="765"/>
                  </a:lnTo>
                  <a:lnTo>
                    <a:pt x="2139" y="765"/>
                  </a:lnTo>
                  <a:lnTo>
                    <a:pt x="2139" y="765"/>
                  </a:lnTo>
                  <a:lnTo>
                    <a:pt x="2139" y="765"/>
                  </a:lnTo>
                  <a:lnTo>
                    <a:pt x="2139" y="765"/>
                  </a:lnTo>
                  <a:lnTo>
                    <a:pt x="2139" y="765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7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69"/>
                  </a:lnTo>
                  <a:lnTo>
                    <a:pt x="2139" y="772"/>
                  </a:lnTo>
                  <a:lnTo>
                    <a:pt x="2139" y="772"/>
                  </a:lnTo>
                  <a:lnTo>
                    <a:pt x="2139" y="772"/>
                  </a:lnTo>
                  <a:lnTo>
                    <a:pt x="2139" y="772"/>
                  </a:lnTo>
                  <a:lnTo>
                    <a:pt x="2139" y="772"/>
                  </a:lnTo>
                  <a:lnTo>
                    <a:pt x="2139" y="772"/>
                  </a:lnTo>
                  <a:lnTo>
                    <a:pt x="2139" y="774"/>
                  </a:lnTo>
                  <a:lnTo>
                    <a:pt x="2139" y="774"/>
                  </a:lnTo>
                  <a:lnTo>
                    <a:pt x="2139" y="774"/>
                  </a:lnTo>
                  <a:lnTo>
                    <a:pt x="2139" y="774"/>
                  </a:lnTo>
                  <a:lnTo>
                    <a:pt x="2139" y="774"/>
                  </a:lnTo>
                  <a:lnTo>
                    <a:pt x="2137" y="774"/>
                  </a:lnTo>
                  <a:lnTo>
                    <a:pt x="2137" y="774"/>
                  </a:lnTo>
                  <a:lnTo>
                    <a:pt x="2137" y="774"/>
                  </a:lnTo>
                  <a:lnTo>
                    <a:pt x="2137" y="774"/>
                  </a:lnTo>
                  <a:lnTo>
                    <a:pt x="2137" y="774"/>
                  </a:lnTo>
                  <a:lnTo>
                    <a:pt x="2137" y="776"/>
                  </a:lnTo>
                  <a:lnTo>
                    <a:pt x="2137" y="776"/>
                  </a:lnTo>
                  <a:lnTo>
                    <a:pt x="2137" y="776"/>
                  </a:lnTo>
                  <a:lnTo>
                    <a:pt x="2135" y="776"/>
                  </a:lnTo>
                  <a:lnTo>
                    <a:pt x="2135" y="776"/>
                  </a:lnTo>
                  <a:lnTo>
                    <a:pt x="2135" y="776"/>
                  </a:lnTo>
                  <a:lnTo>
                    <a:pt x="2135" y="776"/>
                  </a:lnTo>
                  <a:lnTo>
                    <a:pt x="2135" y="776"/>
                  </a:lnTo>
                  <a:lnTo>
                    <a:pt x="2135" y="776"/>
                  </a:lnTo>
                  <a:lnTo>
                    <a:pt x="2135" y="778"/>
                  </a:lnTo>
                  <a:lnTo>
                    <a:pt x="2135" y="778"/>
                  </a:lnTo>
                  <a:lnTo>
                    <a:pt x="2137" y="778"/>
                  </a:lnTo>
                  <a:lnTo>
                    <a:pt x="2137" y="778"/>
                  </a:lnTo>
                  <a:lnTo>
                    <a:pt x="2135" y="778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1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5" y="783"/>
                  </a:lnTo>
                  <a:lnTo>
                    <a:pt x="2137" y="785"/>
                  </a:lnTo>
                  <a:lnTo>
                    <a:pt x="2137" y="785"/>
                  </a:lnTo>
                  <a:lnTo>
                    <a:pt x="2137" y="785"/>
                  </a:lnTo>
                  <a:lnTo>
                    <a:pt x="2135" y="785"/>
                  </a:lnTo>
                  <a:lnTo>
                    <a:pt x="2135" y="785"/>
                  </a:lnTo>
                  <a:lnTo>
                    <a:pt x="2135" y="785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5" y="787"/>
                  </a:lnTo>
                  <a:lnTo>
                    <a:pt x="2137" y="787"/>
                  </a:lnTo>
                  <a:lnTo>
                    <a:pt x="2137" y="787"/>
                  </a:lnTo>
                  <a:lnTo>
                    <a:pt x="2137" y="787"/>
                  </a:lnTo>
                  <a:lnTo>
                    <a:pt x="2137" y="787"/>
                  </a:lnTo>
                  <a:lnTo>
                    <a:pt x="2137" y="790"/>
                  </a:lnTo>
                  <a:lnTo>
                    <a:pt x="2137" y="790"/>
                  </a:lnTo>
                  <a:lnTo>
                    <a:pt x="2137" y="790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7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5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2" y="792"/>
                  </a:lnTo>
                  <a:lnTo>
                    <a:pt x="2135" y="792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4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6"/>
                  </a:lnTo>
                  <a:lnTo>
                    <a:pt x="2135" y="799"/>
                  </a:lnTo>
                  <a:lnTo>
                    <a:pt x="2132" y="799"/>
                  </a:lnTo>
                  <a:lnTo>
                    <a:pt x="2132" y="799"/>
                  </a:lnTo>
                  <a:lnTo>
                    <a:pt x="2132" y="799"/>
                  </a:lnTo>
                  <a:lnTo>
                    <a:pt x="2132" y="799"/>
                  </a:lnTo>
                  <a:lnTo>
                    <a:pt x="2132" y="799"/>
                  </a:lnTo>
                  <a:lnTo>
                    <a:pt x="2132" y="799"/>
                  </a:lnTo>
                  <a:lnTo>
                    <a:pt x="2130" y="801"/>
                  </a:lnTo>
                  <a:lnTo>
                    <a:pt x="2130" y="801"/>
                  </a:lnTo>
                  <a:lnTo>
                    <a:pt x="2130" y="801"/>
                  </a:lnTo>
                  <a:lnTo>
                    <a:pt x="2130" y="801"/>
                  </a:lnTo>
                  <a:lnTo>
                    <a:pt x="2130" y="801"/>
                  </a:lnTo>
                  <a:lnTo>
                    <a:pt x="2130" y="803"/>
                  </a:lnTo>
                  <a:lnTo>
                    <a:pt x="2130" y="803"/>
                  </a:lnTo>
                  <a:lnTo>
                    <a:pt x="2130" y="803"/>
                  </a:lnTo>
                  <a:lnTo>
                    <a:pt x="2128" y="803"/>
                  </a:lnTo>
                  <a:lnTo>
                    <a:pt x="2128" y="803"/>
                  </a:lnTo>
                  <a:lnTo>
                    <a:pt x="2128" y="803"/>
                  </a:lnTo>
                  <a:lnTo>
                    <a:pt x="2128" y="803"/>
                  </a:lnTo>
                  <a:lnTo>
                    <a:pt x="2128" y="803"/>
                  </a:lnTo>
                  <a:lnTo>
                    <a:pt x="2128" y="803"/>
                  </a:lnTo>
                  <a:lnTo>
                    <a:pt x="2128" y="803"/>
                  </a:lnTo>
                  <a:lnTo>
                    <a:pt x="2128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6" y="805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08"/>
                  </a:lnTo>
                  <a:lnTo>
                    <a:pt x="2123" y="810"/>
                  </a:lnTo>
                  <a:lnTo>
                    <a:pt x="2123" y="810"/>
                  </a:lnTo>
                  <a:lnTo>
                    <a:pt x="2121" y="810"/>
                  </a:lnTo>
                  <a:lnTo>
                    <a:pt x="2121" y="810"/>
                  </a:lnTo>
                  <a:lnTo>
                    <a:pt x="2121" y="812"/>
                  </a:lnTo>
                  <a:lnTo>
                    <a:pt x="2121" y="812"/>
                  </a:lnTo>
                  <a:lnTo>
                    <a:pt x="2121" y="812"/>
                  </a:lnTo>
                  <a:lnTo>
                    <a:pt x="2119" y="812"/>
                  </a:lnTo>
                  <a:lnTo>
                    <a:pt x="2119" y="812"/>
                  </a:lnTo>
                  <a:lnTo>
                    <a:pt x="2119" y="812"/>
                  </a:lnTo>
                  <a:lnTo>
                    <a:pt x="2119" y="812"/>
                  </a:lnTo>
                  <a:lnTo>
                    <a:pt x="2119" y="812"/>
                  </a:lnTo>
                  <a:lnTo>
                    <a:pt x="2119" y="812"/>
                  </a:lnTo>
                  <a:lnTo>
                    <a:pt x="2117" y="812"/>
                  </a:lnTo>
                  <a:lnTo>
                    <a:pt x="2119" y="814"/>
                  </a:lnTo>
                  <a:lnTo>
                    <a:pt x="2119" y="814"/>
                  </a:lnTo>
                  <a:lnTo>
                    <a:pt x="2117" y="814"/>
                  </a:lnTo>
                  <a:lnTo>
                    <a:pt x="2117" y="812"/>
                  </a:lnTo>
                  <a:lnTo>
                    <a:pt x="2117" y="812"/>
                  </a:lnTo>
                  <a:lnTo>
                    <a:pt x="2117" y="812"/>
                  </a:lnTo>
                  <a:lnTo>
                    <a:pt x="2117" y="812"/>
                  </a:lnTo>
                  <a:lnTo>
                    <a:pt x="2117" y="812"/>
                  </a:lnTo>
                  <a:lnTo>
                    <a:pt x="2115" y="812"/>
                  </a:lnTo>
                  <a:lnTo>
                    <a:pt x="2115" y="812"/>
                  </a:lnTo>
                  <a:lnTo>
                    <a:pt x="2115" y="812"/>
                  </a:lnTo>
                  <a:lnTo>
                    <a:pt x="2115" y="812"/>
                  </a:lnTo>
                  <a:lnTo>
                    <a:pt x="2115" y="812"/>
                  </a:lnTo>
                  <a:lnTo>
                    <a:pt x="2115" y="812"/>
                  </a:lnTo>
                  <a:lnTo>
                    <a:pt x="2115" y="814"/>
                  </a:lnTo>
                  <a:lnTo>
                    <a:pt x="2115" y="814"/>
                  </a:lnTo>
                  <a:lnTo>
                    <a:pt x="2115" y="812"/>
                  </a:lnTo>
                  <a:lnTo>
                    <a:pt x="2115" y="814"/>
                  </a:lnTo>
                  <a:lnTo>
                    <a:pt x="2115" y="814"/>
                  </a:lnTo>
                  <a:lnTo>
                    <a:pt x="2115" y="814"/>
                  </a:lnTo>
                  <a:lnTo>
                    <a:pt x="2115" y="814"/>
                  </a:lnTo>
                  <a:lnTo>
                    <a:pt x="2115" y="814"/>
                  </a:lnTo>
                  <a:lnTo>
                    <a:pt x="2115" y="814"/>
                  </a:lnTo>
                  <a:lnTo>
                    <a:pt x="2112" y="814"/>
                  </a:lnTo>
                  <a:lnTo>
                    <a:pt x="2112" y="814"/>
                  </a:lnTo>
                  <a:lnTo>
                    <a:pt x="2112" y="814"/>
                  </a:lnTo>
                  <a:lnTo>
                    <a:pt x="2112" y="814"/>
                  </a:lnTo>
                  <a:lnTo>
                    <a:pt x="2110" y="814"/>
                  </a:lnTo>
                  <a:lnTo>
                    <a:pt x="2110" y="814"/>
                  </a:lnTo>
                  <a:lnTo>
                    <a:pt x="2110" y="814"/>
                  </a:lnTo>
                  <a:lnTo>
                    <a:pt x="2110" y="817"/>
                  </a:lnTo>
                  <a:lnTo>
                    <a:pt x="2110" y="817"/>
                  </a:lnTo>
                  <a:lnTo>
                    <a:pt x="2110" y="817"/>
                  </a:lnTo>
                  <a:lnTo>
                    <a:pt x="2108" y="817"/>
                  </a:lnTo>
                  <a:lnTo>
                    <a:pt x="2108" y="817"/>
                  </a:lnTo>
                  <a:lnTo>
                    <a:pt x="2106" y="817"/>
                  </a:lnTo>
                  <a:lnTo>
                    <a:pt x="2106" y="817"/>
                  </a:lnTo>
                  <a:lnTo>
                    <a:pt x="2106" y="817"/>
                  </a:lnTo>
                  <a:lnTo>
                    <a:pt x="2106" y="817"/>
                  </a:lnTo>
                  <a:lnTo>
                    <a:pt x="2106" y="814"/>
                  </a:lnTo>
                  <a:lnTo>
                    <a:pt x="2106" y="814"/>
                  </a:lnTo>
                  <a:lnTo>
                    <a:pt x="2106" y="814"/>
                  </a:lnTo>
                  <a:lnTo>
                    <a:pt x="2108" y="814"/>
                  </a:lnTo>
                  <a:lnTo>
                    <a:pt x="2108" y="814"/>
                  </a:lnTo>
                  <a:lnTo>
                    <a:pt x="2108" y="814"/>
                  </a:lnTo>
                  <a:lnTo>
                    <a:pt x="2106" y="814"/>
                  </a:lnTo>
                  <a:lnTo>
                    <a:pt x="2106" y="814"/>
                  </a:lnTo>
                  <a:lnTo>
                    <a:pt x="2106" y="814"/>
                  </a:lnTo>
                  <a:lnTo>
                    <a:pt x="2106" y="814"/>
                  </a:lnTo>
                  <a:lnTo>
                    <a:pt x="2106" y="814"/>
                  </a:lnTo>
                  <a:lnTo>
                    <a:pt x="2103" y="812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3" y="814"/>
                  </a:lnTo>
                  <a:lnTo>
                    <a:pt x="2101" y="814"/>
                  </a:lnTo>
                  <a:lnTo>
                    <a:pt x="2101" y="814"/>
                  </a:lnTo>
                  <a:lnTo>
                    <a:pt x="2101" y="814"/>
                  </a:lnTo>
                  <a:lnTo>
                    <a:pt x="2101" y="814"/>
                  </a:lnTo>
                  <a:lnTo>
                    <a:pt x="2101" y="814"/>
                  </a:lnTo>
                  <a:lnTo>
                    <a:pt x="2101" y="814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9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7" y="812"/>
                  </a:lnTo>
                  <a:lnTo>
                    <a:pt x="2094" y="812"/>
                  </a:lnTo>
                  <a:lnTo>
                    <a:pt x="2094" y="812"/>
                  </a:lnTo>
                  <a:lnTo>
                    <a:pt x="2094" y="812"/>
                  </a:lnTo>
                  <a:lnTo>
                    <a:pt x="2094" y="812"/>
                  </a:lnTo>
                  <a:lnTo>
                    <a:pt x="2094" y="812"/>
                  </a:lnTo>
                  <a:lnTo>
                    <a:pt x="2094" y="812"/>
                  </a:lnTo>
                  <a:lnTo>
                    <a:pt x="2094" y="810"/>
                  </a:lnTo>
                  <a:lnTo>
                    <a:pt x="2092" y="810"/>
                  </a:lnTo>
                  <a:lnTo>
                    <a:pt x="2092" y="810"/>
                  </a:lnTo>
                  <a:lnTo>
                    <a:pt x="2092" y="810"/>
                  </a:lnTo>
                  <a:lnTo>
                    <a:pt x="2092" y="810"/>
                  </a:lnTo>
                  <a:lnTo>
                    <a:pt x="2092" y="810"/>
                  </a:lnTo>
                  <a:lnTo>
                    <a:pt x="2092" y="810"/>
                  </a:lnTo>
                  <a:lnTo>
                    <a:pt x="2092" y="810"/>
                  </a:lnTo>
                  <a:lnTo>
                    <a:pt x="2092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2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2"/>
                  </a:lnTo>
                  <a:lnTo>
                    <a:pt x="2090" y="810"/>
                  </a:lnTo>
                  <a:lnTo>
                    <a:pt x="2088" y="810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8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5" y="805"/>
                  </a:lnTo>
                  <a:lnTo>
                    <a:pt x="2085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8" y="805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5" y="803"/>
                  </a:lnTo>
                  <a:lnTo>
                    <a:pt x="2083" y="801"/>
                  </a:lnTo>
                  <a:lnTo>
                    <a:pt x="2083" y="801"/>
                  </a:lnTo>
                  <a:lnTo>
                    <a:pt x="2083" y="801"/>
                  </a:lnTo>
                  <a:lnTo>
                    <a:pt x="2083" y="803"/>
                  </a:lnTo>
                  <a:lnTo>
                    <a:pt x="2083" y="803"/>
                  </a:lnTo>
                  <a:lnTo>
                    <a:pt x="2083" y="803"/>
                  </a:lnTo>
                  <a:lnTo>
                    <a:pt x="2083" y="803"/>
                  </a:lnTo>
                  <a:lnTo>
                    <a:pt x="2083" y="803"/>
                  </a:lnTo>
                  <a:lnTo>
                    <a:pt x="2083" y="803"/>
                  </a:lnTo>
                  <a:lnTo>
                    <a:pt x="2083" y="805"/>
                  </a:lnTo>
                  <a:lnTo>
                    <a:pt x="2083" y="805"/>
                  </a:lnTo>
                  <a:lnTo>
                    <a:pt x="2081" y="805"/>
                  </a:lnTo>
                  <a:lnTo>
                    <a:pt x="2081" y="805"/>
                  </a:lnTo>
                  <a:lnTo>
                    <a:pt x="2081" y="805"/>
                  </a:lnTo>
                  <a:lnTo>
                    <a:pt x="2081" y="805"/>
                  </a:lnTo>
                  <a:lnTo>
                    <a:pt x="2081" y="808"/>
                  </a:lnTo>
                  <a:lnTo>
                    <a:pt x="2081" y="808"/>
                  </a:lnTo>
                  <a:lnTo>
                    <a:pt x="2081" y="808"/>
                  </a:lnTo>
                  <a:lnTo>
                    <a:pt x="2081" y="808"/>
                  </a:lnTo>
                  <a:lnTo>
                    <a:pt x="2081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5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8"/>
                  </a:lnTo>
                  <a:lnTo>
                    <a:pt x="2079" y="805"/>
                  </a:lnTo>
                  <a:lnTo>
                    <a:pt x="2079" y="805"/>
                  </a:lnTo>
                  <a:lnTo>
                    <a:pt x="2079" y="805"/>
                  </a:lnTo>
                  <a:lnTo>
                    <a:pt x="2079" y="805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1"/>
                  </a:lnTo>
                  <a:lnTo>
                    <a:pt x="2079" y="801"/>
                  </a:lnTo>
                  <a:lnTo>
                    <a:pt x="2079" y="801"/>
                  </a:lnTo>
                  <a:lnTo>
                    <a:pt x="2079" y="801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9" y="803"/>
                  </a:lnTo>
                  <a:lnTo>
                    <a:pt x="2076" y="801"/>
                  </a:lnTo>
                  <a:lnTo>
                    <a:pt x="2076" y="801"/>
                  </a:lnTo>
                  <a:close/>
                  <a:moveTo>
                    <a:pt x="928" y="41"/>
                  </a:moveTo>
                  <a:lnTo>
                    <a:pt x="928" y="41"/>
                  </a:lnTo>
                  <a:lnTo>
                    <a:pt x="928" y="41"/>
                  </a:lnTo>
                  <a:lnTo>
                    <a:pt x="928" y="41"/>
                  </a:lnTo>
                  <a:lnTo>
                    <a:pt x="928" y="41"/>
                  </a:lnTo>
                  <a:lnTo>
                    <a:pt x="928" y="41"/>
                  </a:lnTo>
                  <a:lnTo>
                    <a:pt x="928" y="43"/>
                  </a:lnTo>
                  <a:lnTo>
                    <a:pt x="928" y="43"/>
                  </a:lnTo>
                  <a:lnTo>
                    <a:pt x="928" y="43"/>
                  </a:lnTo>
                  <a:lnTo>
                    <a:pt x="931" y="43"/>
                  </a:lnTo>
                  <a:lnTo>
                    <a:pt x="931" y="43"/>
                  </a:lnTo>
                  <a:lnTo>
                    <a:pt x="928" y="43"/>
                  </a:lnTo>
                  <a:lnTo>
                    <a:pt x="928" y="43"/>
                  </a:lnTo>
                  <a:lnTo>
                    <a:pt x="931" y="43"/>
                  </a:lnTo>
                  <a:lnTo>
                    <a:pt x="931" y="43"/>
                  </a:lnTo>
                  <a:lnTo>
                    <a:pt x="931" y="43"/>
                  </a:lnTo>
                  <a:lnTo>
                    <a:pt x="931" y="43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5"/>
                  </a:lnTo>
                  <a:lnTo>
                    <a:pt x="931" y="48"/>
                  </a:lnTo>
                  <a:lnTo>
                    <a:pt x="931" y="48"/>
                  </a:lnTo>
                  <a:lnTo>
                    <a:pt x="931" y="48"/>
                  </a:lnTo>
                  <a:lnTo>
                    <a:pt x="931" y="48"/>
                  </a:lnTo>
                  <a:lnTo>
                    <a:pt x="931" y="48"/>
                  </a:lnTo>
                  <a:lnTo>
                    <a:pt x="931" y="48"/>
                  </a:lnTo>
                  <a:lnTo>
                    <a:pt x="931" y="48"/>
                  </a:lnTo>
                  <a:lnTo>
                    <a:pt x="933" y="48"/>
                  </a:lnTo>
                  <a:lnTo>
                    <a:pt x="933" y="48"/>
                  </a:lnTo>
                  <a:lnTo>
                    <a:pt x="933" y="48"/>
                  </a:lnTo>
                  <a:lnTo>
                    <a:pt x="933" y="45"/>
                  </a:lnTo>
                  <a:lnTo>
                    <a:pt x="933" y="45"/>
                  </a:lnTo>
                  <a:lnTo>
                    <a:pt x="933" y="45"/>
                  </a:lnTo>
                  <a:lnTo>
                    <a:pt x="933" y="45"/>
                  </a:lnTo>
                  <a:lnTo>
                    <a:pt x="933" y="45"/>
                  </a:lnTo>
                  <a:lnTo>
                    <a:pt x="933" y="45"/>
                  </a:lnTo>
                  <a:lnTo>
                    <a:pt x="933" y="43"/>
                  </a:lnTo>
                  <a:lnTo>
                    <a:pt x="933" y="43"/>
                  </a:lnTo>
                  <a:lnTo>
                    <a:pt x="933" y="43"/>
                  </a:lnTo>
                  <a:lnTo>
                    <a:pt x="935" y="43"/>
                  </a:lnTo>
                  <a:lnTo>
                    <a:pt x="937" y="43"/>
                  </a:lnTo>
                  <a:lnTo>
                    <a:pt x="937" y="43"/>
                  </a:lnTo>
                  <a:lnTo>
                    <a:pt x="937" y="43"/>
                  </a:lnTo>
                  <a:lnTo>
                    <a:pt x="937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1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0" y="43"/>
                  </a:lnTo>
                  <a:lnTo>
                    <a:pt x="942" y="43"/>
                  </a:lnTo>
                  <a:lnTo>
                    <a:pt x="942" y="43"/>
                  </a:lnTo>
                  <a:lnTo>
                    <a:pt x="942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6" y="43"/>
                  </a:lnTo>
                  <a:lnTo>
                    <a:pt x="949" y="43"/>
                  </a:lnTo>
                  <a:lnTo>
                    <a:pt x="949" y="45"/>
                  </a:lnTo>
                  <a:lnTo>
                    <a:pt x="949" y="45"/>
                  </a:lnTo>
                  <a:lnTo>
                    <a:pt x="949" y="45"/>
                  </a:lnTo>
                  <a:lnTo>
                    <a:pt x="953" y="45"/>
                  </a:lnTo>
                  <a:lnTo>
                    <a:pt x="955" y="45"/>
                  </a:lnTo>
                  <a:lnTo>
                    <a:pt x="958" y="45"/>
                  </a:lnTo>
                  <a:lnTo>
                    <a:pt x="958" y="48"/>
                  </a:lnTo>
                  <a:lnTo>
                    <a:pt x="958" y="48"/>
                  </a:lnTo>
                  <a:lnTo>
                    <a:pt x="958" y="48"/>
                  </a:lnTo>
                  <a:lnTo>
                    <a:pt x="958" y="48"/>
                  </a:lnTo>
                  <a:lnTo>
                    <a:pt x="958" y="48"/>
                  </a:lnTo>
                  <a:lnTo>
                    <a:pt x="958" y="48"/>
                  </a:lnTo>
                  <a:lnTo>
                    <a:pt x="958" y="48"/>
                  </a:lnTo>
                  <a:lnTo>
                    <a:pt x="960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50"/>
                  </a:lnTo>
                  <a:lnTo>
                    <a:pt x="962" y="50"/>
                  </a:lnTo>
                  <a:lnTo>
                    <a:pt x="964" y="48"/>
                  </a:lnTo>
                  <a:lnTo>
                    <a:pt x="964" y="48"/>
                  </a:lnTo>
                  <a:lnTo>
                    <a:pt x="964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2" y="48"/>
                  </a:lnTo>
                  <a:lnTo>
                    <a:pt x="964" y="48"/>
                  </a:lnTo>
                  <a:lnTo>
                    <a:pt x="966" y="48"/>
                  </a:lnTo>
                  <a:lnTo>
                    <a:pt x="969" y="48"/>
                  </a:lnTo>
                  <a:lnTo>
                    <a:pt x="969" y="48"/>
                  </a:lnTo>
                  <a:lnTo>
                    <a:pt x="971" y="50"/>
                  </a:lnTo>
                  <a:lnTo>
                    <a:pt x="971" y="50"/>
                  </a:lnTo>
                  <a:lnTo>
                    <a:pt x="971" y="50"/>
                  </a:lnTo>
                  <a:lnTo>
                    <a:pt x="973" y="50"/>
                  </a:lnTo>
                  <a:lnTo>
                    <a:pt x="973" y="50"/>
                  </a:lnTo>
                  <a:lnTo>
                    <a:pt x="973" y="50"/>
                  </a:lnTo>
                  <a:lnTo>
                    <a:pt x="975" y="50"/>
                  </a:lnTo>
                  <a:lnTo>
                    <a:pt x="975" y="52"/>
                  </a:lnTo>
                  <a:lnTo>
                    <a:pt x="975" y="52"/>
                  </a:lnTo>
                  <a:lnTo>
                    <a:pt x="975" y="52"/>
                  </a:lnTo>
                  <a:lnTo>
                    <a:pt x="975" y="52"/>
                  </a:lnTo>
                  <a:lnTo>
                    <a:pt x="978" y="52"/>
                  </a:lnTo>
                  <a:lnTo>
                    <a:pt x="978" y="52"/>
                  </a:lnTo>
                  <a:lnTo>
                    <a:pt x="978" y="52"/>
                  </a:lnTo>
                  <a:lnTo>
                    <a:pt x="978" y="52"/>
                  </a:lnTo>
                  <a:lnTo>
                    <a:pt x="978" y="52"/>
                  </a:lnTo>
                  <a:lnTo>
                    <a:pt x="978" y="54"/>
                  </a:lnTo>
                  <a:lnTo>
                    <a:pt x="978" y="54"/>
                  </a:lnTo>
                  <a:lnTo>
                    <a:pt x="978" y="54"/>
                  </a:lnTo>
                  <a:lnTo>
                    <a:pt x="975" y="54"/>
                  </a:lnTo>
                  <a:lnTo>
                    <a:pt x="975" y="57"/>
                  </a:lnTo>
                  <a:lnTo>
                    <a:pt x="975" y="57"/>
                  </a:lnTo>
                  <a:lnTo>
                    <a:pt x="973" y="57"/>
                  </a:lnTo>
                  <a:lnTo>
                    <a:pt x="973" y="57"/>
                  </a:lnTo>
                  <a:lnTo>
                    <a:pt x="973" y="57"/>
                  </a:lnTo>
                  <a:lnTo>
                    <a:pt x="971" y="57"/>
                  </a:lnTo>
                  <a:lnTo>
                    <a:pt x="969" y="57"/>
                  </a:lnTo>
                  <a:lnTo>
                    <a:pt x="969" y="57"/>
                  </a:lnTo>
                  <a:lnTo>
                    <a:pt x="966" y="57"/>
                  </a:lnTo>
                  <a:lnTo>
                    <a:pt x="966" y="57"/>
                  </a:lnTo>
                  <a:lnTo>
                    <a:pt x="966" y="57"/>
                  </a:lnTo>
                  <a:lnTo>
                    <a:pt x="964" y="57"/>
                  </a:lnTo>
                  <a:lnTo>
                    <a:pt x="962" y="59"/>
                  </a:lnTo>
                  <a:lnTo>
                    <a:pt x="958" y="59"/>
                  </a:lnTo>
                  <a:lnTo>
                    <a:pt x="955" y="59"/>
                  </a:lnTo>
                  <a:lnTo>
                    <a:pt x="953" y="59"/>
                  </a:lnTo>
                  <a:lnTo>
                    <a:pt x="953" y="59"/>
                  </a:lnTo>
                  <a:lnTo>
                    <a:pt x="951" y="59"/>
                  </a:lnTo>
                  <a:lnTo>
                    <a:pt x="951" y="59"/>
                  </a:lnTo>
                  <a:lnTo>
                    <a:pt x="953" y="59"/>
                  </a:lnTo>
                  <a:lnTo>
                    <a:pt x="953" y="59"/>
                  </a:lnTo>
                  <a:lnTo>
                    <a:pt x="953" y="59"/>
                  </a:lnTo>
                  <a:lnTo>
                    <a:pt x="953" y="59"/>
                  </a:lnTo>
                  <a:lnTo>
                    <a:pt x="951" y="59"/>
                  </a:lnTo>
                  <a:lnTo>
                    <a:pt x="951" y="59"/>
                  </a:lnTo>
                  <a:lnTo>
                    <a:pt x="951" y="59"/>
                  </a:lnTo>
                  <a:lnTo>
                    <a:pt x="951" y="59"/>
                  </a:lnTo>
                  <a:lnTo>
                    <a:pt x="949" y="59"/>
                  </a:lnTo>
                  <a:lnTo>
                    <a:pt x="949" y="59"/>
                  </a:lnTo>
                  <a:lnTo>
                    <a:pt x="949" y="59"/>
                  </a:lnTo>
                  <a:lnTo>
                    <a:pt x="944" y="59"/>
                  </a:lnTo>
                  <a:lnTo>
                    <a:pt x="942" y="59"/>
                  </a:lnTo>
                  <a:lnTo>
                    <a:pt x="942" y="59"/>
                  </a:lnTo>
                  <a:lnTo>
                    <a:pt x="942" y="59"/>
                  </a:lnTo>
                  <a:lnTo>
                    <a:pt x="942" y="59"/>
                  </a:lnTo>
                  <a:lnTo>
                    <a:pt x="942" y="59"/>
                  </a:lnTo>
                  <a:lnTo>
                    <a:pt x="940" y="59"/>
                  </a:lnTo>
                  <a:lnTo>
                    <a:pt x="940" y="59"/>
                  </a:lnTo>
                  <a:lnTo>
                    <a:pt x="935" y="59"/>
                  </a:lnTo>
                  <a:lnTo>
                    <a:pt x="931" y="59"/>
                  </a:lnTo>
                  <a:lnTo>
                    <a:pt x="931" y="59"/>
                  </a:lnTo>
                  <a:lnTo>
                    <a:pt x="928" y="59"/>
                  </a:lnTo>
                  <a:lnTo>
                    <a:pt x="924" y="61"/>
                  </a:lnTo>
                  <a:lnTo>
                    <a:pt x="924" y="61"/>
                  </a:lnTo>
                  <a:lnTo>
                    <a:pt x="922" y="61"/>
                  </a:lnTo>
                  <a:lnTo>
                    <a:pt x="919" y="63"/>
                  </a:lnTo>
                  <a:lnTo>
                    <a:pt x="917" y="63"/>
                  </a:lnTo>
                  <a:lnTo>
                    <a:pt x="915" y="63"/>
                  </a:lnTo>
                  <a:lnTo>
                    <a:pt x="913" y="63"/>
                  </a:lnTo>
                  <a:lnTo>
                    <a:pt x="913" y="63"/>
                  </a:lnTo>
                  <a:lnTo>
                    <a:pt x="913" y="63"/>
                  </a:lnTo>
                  <a:lnTo>
                    <a:pt x="910" y="63"/>
                  </a:lnTo>
                  <a:lnTo>
                    <a:pt x="910" y="63"/>
                  </a:lnTo>
                  <a:lnTo>
                    <a:pt x="910" y="63"/>
                  </a:lnTo>
                  <a:lnTo>
                    <a:pt x="910" y="63"/>
                  </a:lnTo>
                  <a:lnTo>
                    <a:pt x="910" y="63"/>
                  </a:lnTo>
                  <a:lnTo>
                    <a:pt x="910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61"/>
                  </a:lnTo>
                  <a:lnTo>
                    <a:pt x="908" y="59"/>
                  </a:lnTo>
                  <a:lnTo>
                    <a:pt x="908" y="59"/>
                  </a:lnTo>
                  <a:lnTo>
                    <a:pt x="908" y="59"/>
                  </a:lnTo>
                  <a:lnTo>
                    <a:pt x="908" y="59"/>
                  </a:lnTo>
                  <a:lnTo>
                    <a:pt x="908" y="59"/>
                  </a:lnTo>
                  <a:lnTo>
                    <a:pt x="908" y="57"/>
                  </a:lnTo>
                  <a:lnTo>
                    <a:pt x="910" y="57"/>
                  </a:lnTo>
                  <a:lnTo>
                    <a:pt x="910" y="57"/>
                  </a:lnTo>
                  <a:lnTo>
                    <a:pt x="910" y="57"/>
                  </a:lnTo>
                  <a:lnTo>
                    <a:pt x="910" y="57"/>
                  </a:lnTo>
                  <a:lnTo>
                    <a:pt x="910" y="57"/>
                  </a:lnTo>
                  <a:lnTo>
                    <a:pt x="910" y="57"/>
                  </a:lnTo>
                  <a:lnTo>
                    <a:pt x="910" y="57"/>
                  </a:lnTo>
                  <a:lnTo>
                    <a:pt x="908" y="54"/>
                  </a:lnTo>
                  <a:lnTo>
                    <a:pt x="908" y="54"/>
                  </a:lnTo>
                  <a:lnTo>
                    <a:pt x="908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08" y="54"/>
                  </a:lnTo>
                  <a:lnTo>
                    <a:pt x="910" y="54"/>
                  </a:lnTo>
                  <a:lnTo>
                    <a:pt x="908" y="54"/>
                  </a:lnTo>
                  <a:lnTo>
                    <a:pt x="908" y="54"/>
                  </a:lnTo>
                  <a:lnTo>
                    <a:pt x="908" y="54"/>
                  </a:lnTo>
                  <a:lnTo>
                    <a:pt x="908" y="54"/>
                  </a:lnTo>
                  <a:lnTo>
                    <a:pt x="908" y="54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8" y="52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6" y="50"/>
                  </a:lnTo>
                  <a:lnTo>
                    <a:pt x="908" y="48"/>
                  </a:lnTo>
                  <a:lnTo>
                    <a:pt x="908" y="48"/>
                  </a:lnTo>
                  <a:lnTo>
                    <a:pt x="908" y="48"/>
                  </a:lnTo>
                  <a:lnTo>
                    <a:pt x="910" y="50"/>
                  </a:lnTo>
                  <a:lnTo>
                    <a:pt x="915" y="50"/>
                  </a:lnTo>
                  <a:lnTo>
                    <a:pt x="915" y="50"/>
                  </a:lnTo>
                  <a:lnTo>
                    <a:pt x="915" y="50"/>
                  </a:lnTo>
                  <a:lnTo>
                    <a:pt x="915" y="50"/>
                  </a:lnTo>
                  <a:lnTo>
                    <a:pt x="915" y="50"/>
                  </a:lnTo>
                  <a:lnTo>
                    <a:pt x="915" y="50"/>
                  </a:lnTo>
                  <a:lnTo>
                    <a:pt x="917" y="50"/>
                  </a:lnTo>
                  <a:lnTo>
                    <a:pt x="917" y="50"/>
                  </a:lnTo>
                  <a:lnTo>
                    <a:pt x="915" y="50"/>
                  </a:lnTo>
                  <a:lnTo>
                    <a:pt x="915" y="48"/>
                  </a:lnTo>
                  <a:lnTo>
                    <a:pt x="913" y="48"/>
                  </a:lnTo>
                  <a:lnTo>
                    <a:pt x="913" y="48"/>
                  </a:lnTo>
                  <a:lnTo>
                    <a:pt x="910" y="48"/>
                  </a:lnTo>
                  <a:lnTo>
                    <a:pt x="910" y="48"/>
                  </a:lnTo>
                  <a:lnTo>
                    <a:pt x="910" y="48"/>
                  </a:lnTo>
                  <a:lnTo>
                    <a:pt x="910" y="48"/>
                  </a:lnTo>
                  <a:lnTo>
                    <a:pt x="908" y="48"/>
                  </a:lnTo>
                  <a:lnTo>
                    <a:pt x="908" y="48"/>
                  </a:lnTo>
                  <a:lnTo>
                    <a:pt x="908" y="48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08" y="45"/>
                  </a:lnTo>
                  <a:lnTo>
                    <a:pt x="917" y="45"/>
                  </a:lnTo>
                  <a:lnTo>
                    <a:pt x="917" y="45"/>
                  </a:lnTo>
                  <a:lnTo>
                    <a:pt x="917" y="45"/>
                  </a:lnTo>
                  <a:lnTo>
                    <a:pt x="915" y="45"/>
                  </a:lnTo>
                  <a:lnTo>
                    <a:pt x="910" y="43"/>
                  </a:lnTo>
                  <a:lnTo>
                    <a:pt x="908" y="43"/>
                  </a:lnTo>
                  <a:lnTo>
                    <a:pt x="908" y="43"/>
                  </a:lnTo>
                  <a:lnTo>
                    <a:pt x="908" y="43"/>
                  </a:lnTo>
                  <a:lnTo>
                    <a:pt x="906" y="43"/>
                  </a:lnTo>
                  <a:lnTo>
                    <a:pt x="906" y="43"/>
                  </a:lnTo>
                  <a:lnTo>
                    <a:pt x="906" y="43"/>
                  </a:lnTo>
                  <a:lnTo>
                    <a:pt x="908" y="43"/>
                  </a:lnTo>
                  <a:lnTo>
                    <a:pt x="908" y="43"/>
                  </a:lnTo>
                  <a:lnTo>
                    <a:pt x="906" y="43"/>
                  </a:lnTo>
                  <a:lnTo>
                    <a:pt x="906" y="43"/>
                  </a:lnTo>
                  <a:lnTo>
                    <a:pt x="906" y="41"/>
                  </a:lnTo>
                  <a:lnTo>
                    <a:pt x="906" y="41"/>
                  </a:lnTo>
                  <a:lnTo>
                    <a:pt x="908" y="41"/>
                  </a:lnTo>
                  <a:lnTo>
                    <a:pt x="908" y="41"/>
                  </a:lnTo>
                  <a:lnTo>
                    <a:pt x="906" y="41"/>
                  </a:lnTo>
                  <a:lnTo>
                    <a:pt x="906" y="41"/>
                  </a:lnTo>
                  <a:lnTo>
                    <a:pt x="908" y="41"/>
                  </a:lnTo>
                  <a:lnTo>
                    <a:pt x="908" y="41"/>
                  </a:lnTo>
                  <a:lnTo>
                    <a:pt x="910" y="41"/>
                  </a:lnTo>
                  <a:lnTo>
                    <a:pt x="910" y="41"/>
                  </a:lnTo>
                  <a:lnTo>
                    <a:pt x="910" y="41"/>
                  </a:lnTo>
                  <a:lnTo>
                    <a:pt x="910" y="41"/>
                  </a:lnTo>
                  <a:lnTo>
                    <a:pt x="910" y="41"/>
                  </a:lnTo>
                  <a:lnTo>
                    <a:pt x="910" y="41"/>
                  </a:lnTo>
                  <a:lnTo>
                    <a:pt x="908" y="41"/>
                  </a:lnTo>
                  <a:lnTo>
                    <a:pt x="908" y="41"/>
                  </a:lnTo>
                  <a:lnTo>
                    <a:pt x="908" y="39"/>
                  </a:lnTo>
                  <a:lnTo>
                    <a:pt x="908" y="39"/>
                  </a:lnTo>
                  <a:lnTo>
                    <a:pt x="908" y="39"/>
                  </a:lnTo>
                  <a:lnTo>
                    <a:pt x="908" y="39"/>
                  </a:lnTo>
                  <a:lnTo>
                    <a:pt x="908" y="39"/>
                  </a:lnTo>
                  <a:lnTo>
                    <a:pt x="908" y="39"/>
                  </a:lnTo>
                  <a:lnTo>
                    <a:pt x="908" y="39"/>
                  </a:lnTo>
                  <a:lnTo>
                    <a:pt x="910" y="39"/>
                  </a:lnTo>
                  <a:lnTo>
                    <a:pt x="913" y="39"/>
                  </a:lnTo>
                  <a:lnTo>
                    <a:pt x="913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41"/>
                  </a:lnTo>
                  <a:lnTo>
                    <a:pt x="915" y="41"/>
                  </a:lnTo>
                  <a:lnTo>
                    <a:pt x="915" y="41"/>
                  </a:lnTo>
                  <a:lnTo>
                    <a:pt x="915" y="41"/>
                  </a:lnTo>
                  <a:lnTo>
                    <a:pt x="915" y="41"/>
                  </a:lnTo>
                  <a:lnTo>
                    <a:pt x="915" y="41"/>
                  </a:lnTo>
                  <a:lnTo>
                    <a:pt x="917" y="41"/>
                  </a:lnTo>
                  <a:lnTo>
                    <a:pt x="919" y="41"/>
                  </a:lnTo>
                  <a:lnTo>
                    <a:pt x="919" y="41"/>
                  </a:lnTo>
                  <a:lnTo>
                    <a:pt x="919" y="41"/>
                  </a:lnTo>
                  <a:lnTo>
                    <a:pt x="917" y="41"/>
                  </a:lnTo>
                  <a:lnTo>
                    <a:pt x="917" y="41"/>
                  </a:lnTo>
                  <a:lnTo>
                    <a:pt x="917" y="41"/>
                  </a:lnTo>
                  <a:lnTo>
                    <a:pt x="917" y="39"/>
                  </a:lnTo>
                  <a:lnTo>
                    <a:pt x="917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5" y="39"/>
                  </a:lnTo>
                  <a:lnTo>
                    <a:pt x="917" y="39"/>
                  </a:lnTo>
                  <a:lnTo>
                    <a:pt x="917" y="39"/>
                  </a:lnTo>
                  <a:lnTo>
                    <a:pt x="919" y="39"/>
                  </a:lnTo>
                  <a:lnTo>
                    <a:pt x="922" y="39"/>
                  </a:lnTo>
                  <a:lnTo>
                    <a:pt x="924" y="39"/>
                  </a:lnTo>
                  <a:lnTo>
                    <a:pt x="926" y="39"/>
                  </a:lnTo>
                  <a:lnTo>
                    <a:pt x="926" y="39"/>
                  </a:lnTo>
                  <a:lnTo>
                    <a:pt x="926" y="39"/>
                  </a:lnTo>
                  <a:lnTo>
                    <a:pt x="926" y="39"/>
                  </a:lnTo>
                  <a:lnTo>
                    <a:pt x="931" y="39"/>
                  </a:lnTo>
                  <a:lnTo>
                    <a:pt x="931" y="39"/>
                  </a:lnTo>
                  <a:lnTo>
                    <a:pt x="931" y="41"/>
                  </a:lnTo>
                  <a:lnTo>
                    <a:pt x="931" y="41"/>
                  </a:lnTo>
                  <a:lnTo>
                    <a:pt x="931" y="41"/>
                  </a:lnTo>
                  <a:lnTo>
                    <a:pt x="928" y="41"/>
                  </a:lnTo>
                  <a:lnTo>
                    <a:pt x="928" y="41"/>
                  </a:lnTo>
                  <a:close/>
                  <a:moveTo>
                    <a:pt x="794" y="39"/>
                  </a:moveTo>
                  <a:lnTo>
                    <a:pt x="794" y="39"/>
                  </a:lnTo>
                  <a:lnTo>
                    <a:pt x="794" y="39"/>
                  </a:lnTo>
                  <a:lnTo>
                    <a:pt x="791" y="39"/>
                  </a:lnTo>
                  <a:lnTo>
                    <a:pt x="791" y="39"/>
                  </a:lnTo>
                  <a:lnTo>
                    <a:pt x="791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89" y="39"/>
                  </a:lnTo>
                  <a:lnTo>
                    <a:pt x="791" y="36"/>
                  </a:lnTo>
                  <a:lnTo>
                    <a:pt x="791" y="39"/>
                  </a:lnTo>
                  <a:lnTo>
                    <a:pt x="794" y="39"/>
                  </a:lnTo>
                  <a:close/>
                  <a:moveTo>
                    <a:pt x="785" y="39"/>
                  </a:moveTo>
                  <a:lnTo>
                    <a:pt x="785" y="39"/>
                  </a:lnTo>
                  <a:lnTo>
                    <a:pt x="785" y="39"/>
                  </a:lnTo>
                  <a:lnTo>
                    <a:pt x="785" y="39"/>
                  </a:lnTo>
                  <a:lnTo>
                    <a:pt x="785" y="39"/>
                  </a:lnTo>
                  <a:lnTo>
                    <a:pt x="785" y="39"/>
                  </a:lnTo>
                  <a:lnTo>
                    <a:pt x="785" y="39"/>
                  </a:lnTo>
                  <a:lnTo>
                    <a:pt x="778" y="39"/>
                  </a:lnTo>
                  <a:lnTo>
                    <a:pt x="780" y="39"/>
                  </a:lnTo>
                  <a:lnTo>
                    <a:pt x="780" y="39"/>
                  </a:lnTo>
                  <a:lnTo>
                    <a:pt x="782" y="39"/>
                  </a:lnTo>
                  <a:lnTo>
                    <a:pt x="782" y="39"/>
                  </a:lnTo>
                  <a:lnTo>
                    <a:pt x="782" y="36"/>
                  </a:lnTo>
                  <a:lnTo>
                    <a:pt x="782" y="36"/>
                  </a:lnTo>
                  <a:lnTo>
                    <a:pt x="785" y="36"/>
                  </a:lnTo>
                  <a:lnTo>
                    <a:pt x="787" y="39"/>
                  </a:lnTo>
                  <a:lnTo>
                    <a:pt x="787" y="39"/>
                  </a:lnTo>
                  <a:lnTo>
                    <a:pt x="785" y="39"/>
                  </a:lnTo>
                  <a:lnTo>
                    <a:pt x="785" y="39"/>
                  </a:lnTo>
                  <a:close/>
                  <a:moveTo>
                    <a:pt x="881" y="34"/>
                  </a:moveTo>
                  <a:lnTo>
                    <a:pt x="883" y="34"/>
                  </a:lnTo>
                  <a:lnTo>
                    <a:pt x="883" y="34"/>
                  </a:lnTo>
                  <a:lnTo>
                    <a:pt x="883" y="34"/>
                  </a:lnTo>
                  <a:lnTo>
                    <a:pt x="883" y="34"/>
                  </a:lnTo>
                  <a:lnTo>
                    <a:pt x="883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81" y="34"/>
                  </a:lnTo>
                  <a:lnTo>
                    <a:pt x="881" y="34"/>
                  </a:lnTo>
                  <a:close/>
                  <a:moveTo>
                    <a:pt x="335" y="30"/>
                  </a:moveTo>
                  <a:lnTo>
                    <a:pt x="335" y="30"/>
                  </a:lnTo>
                  <a:lnTo>
                    <a:pt x="335" y="30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7" y="30"/>
                  </a:lnTo>
                  <a:lnTo>
                    <a:pt x="335" y="30"/>
                  </a:lnTo>
                  <a:lnTo>
                    <a:pt x="335" y="30"/>
                  </a:lnTo>
                  <a:lnTo>
                    <a:pt x="333" y="30"/>
                  </a:lnTo>
                  <a:lnTo>
                    <a:pt x="333" y="30"/>
                  </a:lnTo>
                  <a:lnTo>
                    <a:pt x="333" y="30"/>
                  </a:lnTo>
                  <a:lnTo>
                    <a:pt x="333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33" y="27"/>
                  </a:lnTo>
                  <a:lnTo>
                    <a:pt x="333" y="27"/>
                  </a:lnTo>
                  <a:lnTo>
                    <a:pt x="333" y="27"/>
                  </a:lnTo>
                  <a:lnTo>
                    <a:pt x="333" y="27"/>
                  </a:lnTo>
                  <a:lnTo>
                    <a:pt x="333" y="30"/>
                  </a:lnTo>
                  <a:lnTo>
                    <a:pt x="333" y="30"/>
                  </a:lnTo>
                  <a:lnTo>
                    <a:pt x="335" y="30"/>
                  </a:lnTo>
                  <a:lnTo>
                    <a:pt x="335" y="30"/>
                  </a:lnTo>
                  <a:close/>
                  <a:moveTo>
                    <a:pt x="796" y="27"/>
                  </a:moveTo>
                  <a:lnTo>
                    <a:pt x="796" y="30"/>
                  </a:lnTo>
                  <a:lnTo>
                    <a:pt x="794" y="30"/>
                  </a:lnTo>
                  <a:lnTo>
                    <a:pt x="794" y="27"/>
                  </a:lnTo>
                  <a:lnTo>
                    <a:pt x="794" y="27"/>
                  </a:lnTo>
                  <a:lnTo>
                    <a:pt x="794" y="27"/>
                  </a:lnTo>
                  <a:lnTo>
                    <a:pt x="794" y="27"/>
                  </a:lnTo>
                  <a:lnTo>
                    <a:pt x="796" y="27"/>
                  </a:lnTo>
                  <a:lnTo>
                    <a:pt x="796" y="27"/>
                  </a:lnTo>
                  <a:lnTo>
                    <a:pt x="798" y="27"/>
                  </a:lnTo>
                  <a:lnTo>
                    <a:pt x="798" y="27"/>
                  </a:lnTo>
                  <a:lnTo>
                    <a:pt x="798" y="27"/>
                  </a:lnTo>
                  <a:lnTo>
                    <a:pt x="798" y="27"/>
                  </a:lnTo>
                  <a:lnTo>
                    <a:pt x="796" y="27"/>
                  </a:lnTo>
                  <a:lnTo>
                    <a:pt x="796" y="27"/>
                  </a:lnTo>
                  <a:lnTo>
                    <a:pt x="796" y="27"/>
                  </a:lnTo>
                  <a:lnTo>
                    <a:pt x="796" y="27"/>
                  </a:lnTo>
                  <a:lnTo>
                    <a:pt x="796" y="27"/>
                  </a:lnTo>
                  <a:lnTo>
                    <a:pt x="796" y="27"/>
                  </a:lnTo>
                  <a:close/>
                  <a:moveTo>
                    <a:pt x="753" y="27"/>
                  </a:moveTo>
                  <a:lnTo>
                    <a:pt x="762" y="27"/>
                  </a:lnTo>
                  <a:lnTo>
                    <a:pt x="764" y="27"/>
                  </a:lnTo>
                  <a:lnTo>
                    <a:pt x="769" y="27"/>
                  </a:lnTo>
                  <a:lnTo>
                    <a:pt x="773" y="27"/>
                  </a:lnTo>
                  <a:lnTo>
                    <a:pt x="778" y="27"/>
                  </a:lnTo>
                  <a:lnTo>
                    <a:pt x="791" y="30"/>
                  </a:lnTo>
                  <a:lnTo>
                    <a:pt x="791" y="30"/>
                  </a:lnTo>
                  <a:lnTo>
                    <a:pt x="794" y="30"/>
                  </a:lnTo>
                  <a:lnTo>
                    <a:pt x="794" y="30"/>
                  </a:lnTo>
                  <a:lnTo>
                    <a:pt x="794" y="30"/>
                  </a:lnTo>
                  <a:lnTo>
                    <a:pt x="794" y="30"/>
                  </a:lnTo>
                  <a:lnTo>
                    <a:pt x="794" y="32"/>
                  </a:lnTo>
                  <a:lnTo>
                    <a:pt x="791" y="32"/>
                  </a:lnTo>
                  <a:lnTo>
                    <a:pt x="791" y="32"/>
                  </a:lnTo>
                  <a:lnTo>
                    <a:pt x="789" y="32"/>
                  </a:lnTo>
                  <a:lnTo>
                    <a:pt x="789" y="32"/>
                  </a:lnTo>
                  <a:lnTo>
                    <a:pt x="782" y="34"/>
                  </a:lnTo>
                  <a:lnTo>
                    <a:pt x="773" y="34"/>
                  </a:lnTo>
                  <a:lnTo>
                    <a:pt x="773" y="34"/>
                  </a:lnTo>
                  <a:lnTo>
                    <a:pt x="773" y="34"/>
                  </a:lnTo>
                  <a:lnTo>
                    <a:pt x="773" y="34"/>
                  </a:lnTo>
                  <a:lnTo>
                    <a:pt x="773" y="34"/>
                  </a:lnTo>
                  <a:lnTo>
                    <a:pt x="773" y="32"/>
                  </a:lnTo>
                  <a:lnTo>
                    <a:pt x="773" y="32"/>
                  </a:lnTo>
                  <a:lnTo>
                    <a:pt x="773" y="32"/>
                  </a:lnTo>
                  <a:lnTo>
                    <a:pt x="776" y="32"/>
                  </a:lnTo>
                  <a:lnTo>
                    <a:pt x="776" y="32"/>
                  </a:lnTo>
                  <a:lnTo>
                    <a:pt x="778" y="32"/>
                  </a:lnTo>
                  <a:lnTo>
                    <a:pt x="778" y="32"/>
                  </a:lnTo>
                  <a:lnTo>
                    <a:pt x="778" y="32"/>
                  </a:lnTo>
                  <a:lnTo>
                    <a:pt x="778" y="32"/>
                  </a:lnTo>
                  <a:lnTo>
                    <a:pt x="778" y="32"/>
                  </a:lnTo>
                  <a:lnTo>
                    <a:pt x="778" y="32"/>
                  </a:lnTo>
                  <a:lnTo>
                    <a:pt x="773" y="32"/>
                  </a:lnTo>
                  <a:lnTo>
                    <a:pt x="760" y="30"/>
                  </a:lnTo>
                  <a:lnTo>
                    <a:pt x="760" y="30"/>
                  </a:lnTo>
                  <a:lnTo>
                    <a:pt x="758" y="30"/>
                  </a:lnTo>
                  <a:lnTo>
                    <a:pt x="758" y="30"/>
                  </a:lnTo>
                  <a:lnTo>
                    <a:pt x="760" y="30"/>
                  </a:lnTo>
                  <a:lnTo>
                    <a:pt x="760" y="30"/>
                  </a:lnTo>
                  <a:lnTo>
                    <a:pt x="760" y="30"/>
                  </a:lnTo>
                  <a:lnTo>
                    <a:pt x="760" y="30"/>
                  </a:lnTo>
                  <a:lnTo>
                    <a:pt x="758" y="30"/>
                  </a:lnTo>
                  <a:lnTo>
                    <a:pt x="755" y="30"/>
                  </a:lnTo>
                  <a:lnTo>
                    <a:pt x="758" y="30"/>
                  </a:lnTo>
                  <a:lnTo>
                    <a:pt x="758" y="27"/>
                  </a:lnTo>
                  <a:lnTo>
                    <a:pt x="758" y="27"/>
                  </a:lnTo>
                  <a:lnTo>
                    <a:pt x="758" y="27"/>
                  </a:lnTo>
                  <a:lnTo>
                    <a:pt x="758" y="27"/>
                  </a:lnTo>
                  <a:lnTo>
                    <a:pt x="755" y="27"/>
                  </a:lnTo>
                  <a:lnTo>
                    <a:pt x="755" y="27"/>
                  </a:lnTo>
                  <a:lnTo>
                    <a:pt x="755" y="27"/>
                  </a:lnTo>
                  <a:lnTo>
                    <a:pt x="753" y="27"/>
                  </a:lnTo>
                  <a:lnTo>
                    <a:pt x="753" y="27"/>
                  </a:lnTo>
                  <a:lnTo>
                    <a:pt x="753" y="27"/>
                  </a:lnTo>
                  <a:lnTo>
                    <a:pt x="753" y="27"/>
                  </a:lnTo>
                  <a:close/>
                  <a:moveTo>
                    <a:pt x="236" y="27"/>
                  </a:moveTo>
                  <a:lnTo>
                    <a:pt x="236" y="27"/>
                  </a:lnTo>
                  <a:lnTo>
                    <a:pt x="239" y="27"/>
                  </a:lnTo>
                  <a:lnTo>
                    <a:pt x="239" y="30"/>
                  </a:lnTo>
                  <a:lnTo>
                    <a:pt x="239" y="30"/>
                  </a:lnTo>
                  <a:lnTo>
                    <a:pt x="239" y="30"/>
                  </a:lnTo>
                  <a:lnTo>
                    <a:pt x="239" y="30"/>
                  </a:lnTo>
                  <a:lnTo>
                    <a:pt x="239" y="30"/>
                  </a:lnTo>
                  <a:lnTo>
                    <a:pt x="241" y="30"/>
                  </a:lnTo>
                  <a:lnTo>
                    <a:pt x="241" y="30"/>
                  </a:lnTo>
                  <a:lnTo>
                    <a:pt x="239" y="30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3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27" y="27"/>
                  </a:lnTo>
                  <a:lnTo>
                    <a:pt x="230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6" y="27"/>
                  </a:lnTo>
                  <a:close/>
                  <a:moveTo>
                    <a:pt x="346" y="30"/>
                  </a:moveTo>
                  <a:lnTo>
                    <a:pt x="344" y="30"/>
                  </a:lnTo>
                  <a:lnTo>
                    <a:pt x="344" y="30"/>
                  </a:lnTo>
                  <a:lnTo>
                    <a:pt x="344" y="30"/>
                  </a:lnTo>
                  <a:lnTo>
                    <a:pt x="344" y="30"/>
                  </a:lnTo>
                  <a:lnTo>
                    <a:pt x="344" y="30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0" y="30"/>
                  </a:lnTo>
                  <a:lnTo>
                    <a:pt x="340" y="30"/>
                  </a:lnTo>
                  <a:lnTo>
                    <a:pt x="340" y="30"/>
                  </a:lnTo>
                  <a:lnTo>
                    <a:pt x="340" y="30"/>
                  </a:lnTo>
                  <a:lnTo>
                    <a:pt x="337" y="27"/>
                  </a:lnTo>
                  <a:lnTo>
                    <a:pt x="335" y="27"/>
                  </a:lnTo>
                  <a:lnTo>
                    <a:pt x="333" y="27"/>
                  </a:lnTo>
                  <a:lnTo>
                    <a:pt x="333" y="27"/>
                  </a:lnTo>
                  <a:lnTo>
                    <a:pt x="335" y="27"/>
                  </a:lnTo>
                  <a:lnTo>
                    <a:pt x="342" y="25"/>
                  </a:lnTo>
                  <a:lnTo>
                    <a:pt x="344" y="27"/>
                  </a:lnTo>
                  <a:lnTo>
                    <a:pt x="346" y="27"/>
                  </a:lnTo>
                  <a:lnTo>
                    <a:pt x="346" y="27"/>
                  </a:lnTo>
                  <a:lnTo>
                    <a:pt x="346" y="27"/>
                  </a:lnTo>
                  <a:lnTo>
                    <a:pt x="346" y="27"/>
                  </a:lnTo>
                  <a:lnTo>
                    <a:pt x="346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9" y="27"/>
                  </a:lnTo>
                  <a:lnTo>
                    <a:pt x="346" y="30"/>
                  </a:lnTo>
                  <a:close/>
                  <a:moveTo>
                    <a:pt x="841" y="25"/>
                  </a:moveTo>
                  <a:lnTo>
                    <a:pt x="841" y="25"/>
                  </a:lnTo>
                  <a:lnTo>
                    <a:pt x="841" y="25"/>
                  </a:lnTo>
                  <a:lnTo>
                    <a:pt x="841" y="25"/>
                  </a:lnTo>
                  <a:lnTo>
                    <a:pt x="843" y="25"/>
                  </a:lnTo>
                  <a:lnTo>
                    <a:pt x="843" y="27"/>
                  </a:lnTo>
                  <a:lnTo>
                    <a:pt x="843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7" y="27"/>
                  </a:lnTo>
                  <a:lnTo>
                    <a:pt x="847" y="27"/>
                  </a:lnTo>
                  <a:lnTo>
                    <a:pt x="847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5" y="27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0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5" y="32"/>
                  </a:lnTo>
                  <a:lnTo>
                    <a:pt x="843" y="32"/>
                  </a:lnTo>
                  <a:lnTo>
                    <a:pt x="843" y="32"/>
                  </a:lnTo>
                  <a:lnTo>
                    <a:pt x="843" y="34"/>
                  </a:lnTo>
                  <a:lnTo>
                    <a:pt x="843" y="34"/>
                  </a:lnTo>
                  <a:lnTo>
                    <a:pt x="843" y="34"/>
                  </a:lnTo>
                  <a:lnTo>
                    <a:pt x="845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7" y="30"/>
                  </a:lnTo>
                  <a:lnTo>
                    <a:pt x="847" y="30"/>
                  </a:lnTo>
                  <a:lnTo>
                    <a:pt x="850" y="30"/>
                  </a:lnTo>
                  <a:lnTo>
                    <a:pt x="850" y="30"/>
                  </a:lnTo>
                  <a:lnTo>
                    <a:pt x="847" y="30"/>
                  </a:lnTo>
                  <a:lnTo>
                    <a:pt x="847" y="30"/>
                  </a:lnTo>
                  <a:lnTo>
                    <a:pt x="847" y="30"/>
                  </a:lnTo>
                  <a:lnTo>
                    <a:pt x="850" y="30"/>
                  </a:lnTo>
                  <a:lnTo>
                    <a:pt x="852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30"/>
                  </a:lnTo>
                  <a:lnTo>
                    <a:pt x="854" y="27"/>
                  </a:lnTo>
                  <a:lnTo>
                    <a:pt x="854" y="27"/>
                  </a:lnTo>
                  <a:lnTo>
                    <a:pt x="852" y="27"/>
                  </a:lnTo>
                  <a:lnTo>
                    <a:pt x="852" y="27"/>
                  </a:lnTo>
                  <a:lnTo>
                    <a:pt x="852" y="27"/>
                  </a:lnTo>
                  <a:lnTo>
                    <a:pt x="852" y="27"/>
                  </a:lnTo>
                  <a:lnTo>
                    <a:pt x="852" y="27"/>
                  </a:lnTo>
                  <a:lnTo>
                    <a:pt x="856" y="27"/>
                  </a:lnTo>
                  <a:lnTo>
                    <a:pt x="861" y="27"/>
                  </a:lnTo>
                  <a:lnTo>
                    <a:pt x="863" y="27"/>
                  </a:lnTo>
                  <a:lnTo>
                    <a:pt x="861" y="27"/>
                  </a:lnTo>
                  <a:lnTo>
                    <a:pt x="861" y="27"/>
                  </a:lnTo>
                  <a:lnTo>
                    <a:pt x="861" y="27"/>
                  </a:lnTo>
                  <a:lnTo>
                    <a:pt x="861" y="27"/>
                  </a:lnTo>
                  <a:lnTo>
                    <a:pt x="863" y="27"/>
                  </a:lnTo>
                  <a:lnTo>
                    <a:pt x="863" y="27"/>
                  </a:lnTo>
                  <a:lnTo>
                    <a:pt x="863" y="27"/>
                  </a:lnTo>
                  <a:lnTo>
                    <a:pt x="863" y="27"/>
                  </a:lnTo>
                  <a:lnTo>
                    <a:pt x="865" y="27"/>
                  </a:lnTo>
                  <a:lnTo>
                    <a:pt x="865" y="27"/>
                  </a:lnTo>
                  <a:lnTo>
                    <a:pt x="865" y="27"/>
                  </a:lnTo>
                  <a:lnTo>
                    <a:pt x="868" y="30"/>
                  </a:lnTo>
                  <a:lnTo>
                    <a:pt x="868" y="30"/>
                  </a:lnTo>
                  <a:lnTo>
                    <a:pt x="868" y="30"/>
                  </a:lnTo>
                  <a:lnTo>
                    <a:pt x="868" y="30"/>
                  </a:lnTo>
                  <a:lnTo>
                    <a:pt x="868" y="30"/>
                  </a:lnTo>
                  <a:lnTo>
                    <a:pt x="868" y="30"/>
                  </a:lnTo>
                  <a:lnTo>
                    <a:pt x="870" y="30"/>
                  </a:lnTo>
                  <a:lnTo>
                    <a:pt x="870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2" y="30"/>
                  </a:lnTo>
                  <a:lnTo>
                    <a:pt x="874" y="30"/>
                  </a:lnTo>
                  <a:lnTo>
                    <a:pt x="874" y="30"/>
                  </a:lnTo>
                  <a:lnTo>
                    <a:pt x="874" y="30"/>
                  </a:lnTo>
                  <a:lnTo>
                    <a:pt x="874" y="30"/>
                  </a:lnTo>
                  <a:lnTo>
                    <a:pt x="877" y="30"/>
                  </a:lnTo>
                  <a:lnTo>
                    <a:pt x="877" y="32"/>
                  </a:lnTo>
                  <a:lnTo>
                    <a:pt x="877" y="32"/>
                  </a:lnTo>
                  <a:lnTo>
                    <a:pt x="877" y="32"/>
                  </a:lnTo>
                  <a:lnTo>
                    <a:pt x="879" y="32"/>
                  </a:lnTo>
                  <a:lnTo>
                    <a:pt x="879" y="32"/>
                  </a:lnTo>
                  <a:lnTo>
                    <a:pt x="879" y="32"/>
                  </a:lnTo>
                  <a:lnTo>
                    <a:pt x="877" y="32"/>
                  </a:lnTo>
                  <a:lnTo>
                    <a:pt x="877" y="32"/>
                  </a:lnTo>
                  <a:lnTo>
                    <a:pt x="877" y="32"/>
                  </a:lnTo>
                  <a:lnTo>
                    <a:pt x="877" y="32"/>
                  </a:lnTo>
                  <a:lnTo>
                    <a:pt x="879" y="32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79" y="36"/>
                  </a:lnTo>
                  <a:lnTo>
                    <a:pt x="879" y="36"/>
                  </a:lnTo>
                  <a:lnTo>
                    <a:pt x="881" y="36"/>
                  </a:lnTo>
                  <a:lnTo>
                    <a:pt x="881" y="36"/>
                  </a:lnTo>
                  <a:lnTo>
                    <a:pt x="881" y="36"/>
                  </a:lnTo>
                  <a:lnTo>
                    <a:pt x="881" y="36"/>
                  </a:lnTo>
                  <a:lnTo>
                    <a:pt x="881" y="36"/>
                  </a:lnTo>
                  <a:lnTo>
                    <a:pt x="881" y="36"/>
                  </a:lnTo>
                  <a:lnTo>
                    <a:pt x="881" y="36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39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3" y="41"/>
                  </a:lnTo>
                  <a:lnTo>
                    <a:pt x="881" y="41"/>
                  </a:lnTo>
                  <a:lnTo>
                    <a:pt x="877" y="39"/>
                  </a:lnTo>
                  <a:lnTo>
                    <a:pt x="877" y="39"/>
                  </a:lnTo>
                  <a:lnTo>
                    <a:pt x="877" y="41"/>
                  </a:lnTo>
                  <a:lnTo>
                    <a:pt x="877" y="41"/>
                  </a:lnTo>
                  <a:lnTo>
                    <a:pt x="886" y="43"/>
                  </a:lnTo>
                  <a:lnTo>
                    <a:pt x="888" y="43"/>
                  </a:lnTo>
                  <a:lnTo>
                    <a:pt x="886" y="43"/>
                  </a:lnTo>
                  <a:lnTo>
                    <a:pt x="886" y="43"/>
                  </a:lnTo>
                  <a:lnTo>
                    <a:pt x="886" y="43"/>
                  </a:lnTo>
                  <a:lnTo>
                    <a:pt x="886" y="43"/>
                  </a:lnTo>
                  <a:lnTo>
                    <a:pt x="890" y="43"/>
                  </a:lnTo>
                  <a:lnTo>
                    <a:pt x="892" y="43"/>
                  </a:lnTo>
                  <a:lnTo>
                    <a:pt x="892" y="43"/>
                  </a:lnTo>
                  <a:lnTo>
                    <a:pt x="892" y="43"/>
                  </a:lnTo>
                  <a:lnTo>
                    <a:pt x="892" y="43"/>
                  </a:lnTo>
                  <a:lnTo>
                    <a:pt x="892" y="45"/>
                  </a:lnTo>
                  <a:lnTo>
                    <a:pt x="892" y="45"/>
                  </a:lnTo>
                  <a:lnTo>
                    <a:pt x="895" y="45"/>
                  </a:lnTo>
                  <a:lnTo>
                    <a:pt x="895" y="45"/>
                  </a:lnTo>
                  <a:lnTo>
                    <a:pt x="897" y="45"/>
                  </a:lnTo>
                  <a:lnTo>
                    <a:pt x="895" y="45"/>
                  </a:lnTo>
                  <a:lnTo>
                    <a:pt x="895" y="48"/>
                  </a:lnTo>
                  <a:lnTo>
                    <a:pt x="895" y="48"/>
                  </a:lnTo>
                  <a:lnTo>
                    <a:pt x="892" y="48"/>
                  </a:lnTo>
                  <a:lnTo>
                    <a:pt x="892" y="48"/>
                  </a:lnTo>
                  <a:lnTo>
                    <a:pt x="892" y="48"/>
                  </a:lnTo>
                  <a:lnTo>
                    <a:pt x="888" y="48"/>
                  </a:lnTo>
                  <a:lnTo>
                    <a:pt x="886" y="48"/>
                  </a:lnTo>
                  <a:lnTo>
                    <a:pt x="881" y="48"/>
                  </a:lnTo>
                  <a:lnTo>
                    <a:pt x="881" y="48"/>
                  </a:lnTo>
                  <a:lnTo>
                    <a:pt x="881" y="48"/>
                  </a:lnTo>
                  <a:lnTo>
                    <a:pt x="881" y="48"/>
                  </a:lnTo>
                  <a:lnTo>
                    <a:pt x="881" y="48"/>
                  </a:lnTo>
                  <a:lnTo>
                    <a:pt x="881" y="48"/>
                  </a:lnTo>
                  <a:lnTo>
                    <a:pt x="879" y="48"/>
                  </a:lnTo>
                  <a:lnTo>
                    <a:pt x="877" y="48"/>
                  </a:lnTo>
                  <a:lnTo>
                    <a:pt x="874" y="48"/>
                  </a:lnTo>
                  <a:lnTo>
                    <a:pt x="874" y="48"/>
                  </a:lnTo>
                  <a:lnTo>
                    <a:pt x="874" y="48"/>
                  </a:lnTo>
                  <a:lnTo>
                    <a:pt x="872" y="48"/>
                  </a:lnTo>
                  <a:lnTo>
                    <a:pt x="870" y="48"/>
                  </a:lnTo>
                  <a:lnTo>
                    <a:pt x="870" y="48"/>
                  </a:lnTo>
                  <a:lnTo>
                    <a:pt x="870" y="48"/>
                  </a:lnTo>
                  <a:lnTo>
                    <a:pt x="868" y="48"/>
                  </a:lnTo>
                  <a:lnTo>
                    <a:pt x="865" y="48"/>
                  </a:lnTo>
                  <a:lnTo>
                    <a:pt x="865" y="48"/>
                  </a:lnTo>
                  <a:lnTo>
                    <a:pt x="865" y="48"/>
                  </a:lnTo>
                  <a:lnTo>
                    <a:pt x="868" y="48"/>
                  </a:lnTo>
                  <a:lnTo>
                    <a:pt x="868" y="48"/>
                  </a:lnTo>
                  <a:lnTo>
                    <a:pt x="865" y="48"/>
                  </a:lnTo>
                  <a:lnTo>
                    <a:pt x="863" y="48"/>
                  </a:lnTo>
                  <a:lnTo>
                    <a:pt x="861" y="48"/>
                  </a:lnTo>
                  <a:lnTo>
                    <a:pt x="861" y="48"/>
                  </a:lnTo>
                  <a:lnTo>
                    <a:pt x="861" y="48"/>
                  </a:lnTo>
                  <a:lnTo>
                    <a:pt x="861" y="48"/>
                  </a:lnTo>
                  <a:lnTo>
                    <a:pt x="856" y="45"/>
                  </a:lnTo>
                  <a:lnTo>
                    <a:pt x="854" y="45"/>
                  </a:lnTo>
                  <a:lnTo>
                    <a:pt x="854" y="45"/>
                  </a:lnTo>
                  <a:lnTo>
                    <a:pt x="854" y="45"/>
                  </a:lnTo>
                  <a:lnTo>
                    <a:pt x="854" y="45"/>
                  </a:lnTo>
                  <a:lnTo>
                    <a:pt x="854" y="45"/>
                  </a:lnTo>
                  <a:lnTo>
                    <a:pt x="845" y="45"/>
                  </a:lnTo>
                  <a:lnTo>
                    <a:pt x="847" y="45"/>
                  </a:lnTo>
                  <a:lnTo>
                    <a:pt x="847" y="45"/>
                  </a:lnTo>
                  <a:lnTo>
                    <a:pt x="847" y="45"/>
                  </a:lnTo>
                  <a:lnTo>
                    <a:pt x="847" y="45"/>
                  </a:lnTo>
                  <a:lnTo>
                    <a:pt x="841" y="45"/>
                  </a:lnTo>
                  <a:lnTo>
                    <a:pt x="841" y="45"/>
                  </a:lnTo>
                  <a:lnTo>
                    <a:pt x="838" y="45"/>
                  </a:lnTo>
                  <a:lnTo>
                    <a:pt x="838" y="45"/>
                  </a:lnTo>
                  <a:lnTo>
                    <a:pt x="838" y="45"/>
                  </a:lnTo>
                  <a:lnTo>
                    <a:pt x="838" y="45"/>
                  </a:lnTo>
                  <a:lnTo>
                    <a:pt x="836" y="45"/>
                  </a:lnTo>
                  <a:lnTo>
                    <a:pt x="836" y="45"/>
                  </a:lnTo>
                  <a:lnTo>
                    <a:pt x="836" y="43"/>
                  </a:lnTo>
                  <a:lnTo>
                    <a:pt x="836" y="43"/>
                  </a:lnTo>
                  <a:lnTo>
                    <a:pt x="836" y="43"/>
                  </a:lnTo>
                  <a:lnTo>
                    <a:pt x="836" y="43"/>
                  </a:lnTo>
                  <a:lnTo>
                    <a:pt x="836" y="43"/>
                  </a:lnTo>
                  <a:lnTo>
                    <a:pt x="834" y="43"/>
                  </a:lnTo>
                  <a:lnTo>
                    <a:pt x="834" y="43"/>
                  </a:lnTo>
                  <a:lnTo>
                    <a:pt x="834" y="43"/>
                  </a:lnTo>
                  <a:lnTo>
                    <a:pt x="834" y="43"/>
                  </a:lnTo>
                  <a:lnTo>
                    <a:pt x="834" y="43"/>
                  </a:lnTo>
                  <a:lnTo>
                    <a:pt x="832" y="43"/>
                  </a:lnTo>
                  <a:lnTo>
                    <a:pt x="832" y="43"/>
                  </a:lnTo>
                  <a:lnTo>
                    <a:pt x="832" y="43"/>
                  </a:lnTo>
                  <a:lnTo>
                    <a:pt x="829" y="43"/>
                  </a:lnTo>
                  <a:lnTo>
                    <a:pt x="829" y="45"/>
                  </a:lnTo>
                  <a:lnTo>
                    <a:pt x="829" y="45"/>
                  </a:lnTo>
                  <a:lnTo>
                    <a:pt x="827" y="43"/>
                  </a:lnTo>
                  <a:lnTo>
                    <a:pt x="827" y="43"/>
                  </a:lnTo>
                  <a:lnTo>
                    <a:pt x="827" y="43"/>
                  </a:lnTo>
                  <a:lnTo>
                    <a:pt x="825" y="43"/>
                  </a:lnTo>
                  <a:lnTo>
                    <a:pt x="825" y="43"/>
                  </a:lnTo>
                  <a:lnTo>
                    <a:pt x="820" y="43"/>
                  </a:lnTo>
                  <a:lnTo>
                    <a:pt x="820" y="43"/>
                  </a:lnTo>
                  <a:lnTo>
                    <a:pt x="820" y="43"/>
                  </a:lnTo>
                  <a:lnTo>
                    <a:pt x="820" y="43"/>
                  </a:lnTo>
                  <a:lnTo>
                    <a:pt x="820" y="41"/>
                  </a:lnTo>
                  <a:lnTo>
                    <a:pt x="820" y="41"/>
                  </a:lnTo>
                  <a:lnTo>
                    <a:pt x="816" y="41"/>
                  </a:lnTo>
                  <a:lnTo>
                    <a:pt x="816" y="41"/>
                  </a:lnTo>
                  <a:lnTo>
                    <a:pt x="814" y="41"/>
                  </a:lnTo>
                  <a:lnTo>
                    <a:pt x="814" y="41"/>
                  </a:lnTo>
                  <a:lnTo>
                    <a:pt x="814" y="41"/>
                  </a:lnTo>
                  <a:lnTo>
                    <a:pt x="814" y="39"/>
                  </a:lnTo>
                  <a:lnTo>
                    <a:pt x="814" y="39"/>
                  </a:lnTo>
                  <a:lnTo>
                    <a:pt x="814" y="39"/>
                  </a:lnTo>
                  <a:lnTo>
                    <a:pt x="811" y="39"/>
                  </a:lnTo>
                  <a:lnTo>
                    <a:pt x="811" y="39"/>
                  </a:lnTo>
                  <a:lnTo>
                    <a:pt x="811" y="39"/>
                  </a:lnTo>
                  <a:lnTo>
                    <a:pt x="811" y="39"/>
                  </a:lnTo>
                  <a:lnTo>
                    <a:pt x="811" y="39"/>
                  </a:lnTo>
                  <a:lnTo>
                    <a:pt x="811" y="39"/>
                  </a:lnTo>
                  <a:lnTo>
                    <a:pt x="811" y="39"/>
                  </a:lnTo>
                  <a:lnTo>
                    <a:pt x="811" y="36"/>
                  </a:lnTo>
                  <a:lnTo>
                    <a:pt x="809" y="36"/>
                  </a:lnTo>
                  <a:lnTo>
                    <a:pt x="809" y="36"/>
                  </a:lnTo>
                  <a:lnTo>
                    <a:pt x="807" y="36"/>
                  </a:lnTo>
                  <a:lnTo>
                    <a:pt x="807" y="36"/>
                  </a:lnTo>
                  <a:lnTo>
                    <a:pt x="807" y="36"/>
                  </a:lnTo>
                  <a:lnTo>
                    <a:pt x="807" y="39"/>
                  </a:lnTo>
                  <a:lnTo>
                    <a:pt x="807" y="39"/>
                  </a:lnTo>
                  <a:lnTo>
                    <a:pt x="802" y="36"/>
                  </a:lnTo>
                  <a:lnTo>
                    <a:pt x="802" y="36"/>
                  </a:lnTo>
                  <a:lnTo>
                    <a:pt x="802" y="36"/>
                  </a:lnTo>
                  <a:lnTo>
                    <a:pt x="805" y="36"/>
                  </a:lnTo>
                  <a:lnTo>
                    <a:pt x="805" y="36"/>
                  </a:lnTo>
                  <a:lnTo>
                    <a:pt x="805" y="36"/>
                  </a:lnTo>
                  <a:lnTo>
                    <a:pt x="802" y="36"/>
                  </a:lnTo>
                  <a:lnTo>
                    <a:pt x="802" y="36"/>
                  </a:lnTo>
                  <a:lnTo>
                    <a:pt x="802" y="36"/>
                  </a:lnTo>
                  <a:lnTo>
                    <a:pt x="800" y="36"/>
                  </a:lnTo>
                  <a:lnTo>
                    <a:pt x="800" y="36"/>
                  </a:lnTo>
                  <a:lnTo>
                    <a:pt x="800" y="36"/>
                  </a:lnTo>
                  <a:lnTo>
                    <a:pt x="800" y="36"/>
                  </a:lnTo>
                  <a:lnTo>
                    <a:pt x="800" y="36"/>
                  </a:lnTo>
                  <a:lnTo>
                    <a:pt x="800" y="34"/>
                  </a:lnTo>
                  <a:lnTo>
                    <a:pt x="800" y="34"/>
                  </a:lnTo>
                  <a:lnTo>
                    <a:pt x="800" y="34"/>
                  </a:lnTo>
                  <a:lnTo>
                    <a:pt x="800" y="34"/>
                  </a:lnTo>
                  <a:lnTo>
                    <a:pt x="800" y="34"/>
                  </a:lnTo>
                  <a:lnTo>
                    <a:pt x="800" y="34"/>
                  </a:lnTo>
                  <a:lnTo>
                    <a:pt x="800" y="34"/>
                  </a:lnTo>
                  <a:lnTo>
                    <a:pt x="800" y="36"/>
                  </a:lnTo>
                  <a:lnTo>
                    <a:pt x="800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800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8" y="36"/>
                  </a:lnTo>
                  <a:lnTo>
                    <a:pt x="796" y="36"/>
                  </a:lnTo>
                  <a:lnTo>
                    <a:pt x="796" y="36"/>
                  </a:lnTo>
                  <a:lnTo>
                    <a:pt x="794" y="36"/>
                  </a:lnTo>
                  <a:lnTo>
                    <a:pt x="794" y="36"/>
                  </a:lnTo>
                  <a:lnTo>
                    <a:pt x="796" y="36"/>
                  </a:lnTo>
                  <a:lnTo>
                    <a:pt x="796" y="36"/>
                  </a:lnTo>
                  <a:lnTo>
                    <a:pt x="796" y="36"/>
                  </a:lnTo>
                  <a:lnTo>
                    <a:pt x="794" y="36"/>
                  </a:lnTo>
                  <a:lnTo>
                    <a:pt x="794" y="36"/>
                  </a:lnTo>
                  <a:lnTo>
                    <a:pt x="791" y="36"/>
                  </a:lnTo>
                  <a:lnTo>
                    <a:pt x="791" y="36"/>
                  </a:lnTo>
                  <a:lnTo>
                    <a:pt x="791" y="36"/>
                  </a:lnTo>
                  <a:lnTo>
                    <a:pt x="789" y="36"/>
                  </a:lnTo>
                  <a:lnTo>
                    <a:pt x="789" y="34"/>
                  </a:lnTo>
                  <a:lnTo>
                    <a:pt x="789" y="34"/>
                  </a:lnTo>
                  <a:lnTo>
                    <a:pt x="794" y="36"/>
                  </a:lnTo>
                  <a:lnTo>
                    <a:pt x="794" y="36"/>
                  </a:lnTo>
                  <a:lnTo>
                    <a:pt x="798" y="34"/>
                  </a:lnTo>
                  <a:lnTo>
                    <a:pt x="798" y="34"/>
                  </a:lnTo>
                  <a:lnTo>
                    <a:pt x="798" y="34"/>
                  </a:lnTo>
                  <a:lnTo>
                    <a:pt x="798" y="34"/>
                  </a:lnTo>
                  <a:lnTo>
                    <a:pt x="798" y="34"/>
                  </a:lnTo>
                  <a:lnTo>
                    <a:pt x="798" y="34"/>
                  </a:lnTo>
                  <a:lnTo>
                    <a:pt x="798" y="34"/>
                  </a:lnTo>
                  <a:lnTo>
                    <a:pt x="798" y="32"/>
                  </a:lnTo>
                  <a:lnTo>
                    <a:pt x="802" y="32"/>
                  </a:lnTo>
                  <a:lnTo>
                    <a:pt x="807" y="32"/>
                  </a:lnTo>
                  <a:lnTo>
                    <a:pt x="807" y="32"/>
                  </a:lnTo>
                  <a:lnTo>
                    <a:pt x="807" y="32"/>
                  </a:lnTo>
                  <a:lnTo>
                    <a:pt x="805" y="30"/>
                  </a:lnTo>
                  <a:lnTo>
                    <a:pt x="805" y="30"/>
                  </a:lnTo>
                  <a:lnTo>
                    <a:pt x="802" y="30"/>
                  </a:lnTo>
                  <a:lnTo>
                    <a:pt x="802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30"/>
                  </a:lnTo>
                  <a:lnTo>
                    <a:pt x="800" y="27"/>
                  </a:lnTo>
                  <a:lnTo>
                    <a:pt x="800" y="27"/>
                  </a:lnTo>
                  <a:lnTo>
                    <a:pt x="800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5" y="27"/>
                  </a:lnTo>
                  <a:lnTo>
                    <a:pt x="807" y="27"/>
                  </a:lnTo>
                  <a:lnTo>
                    <a:pt x="807" y="27"/>
                  </a:lnTo>
                  <a:lnTo>
                    <a:pt x="807" y="27"/>
                  </a:lnTo>
                  <a:lnTo>
                    <a:pt x="807" y="27"/>
                  </a:lnTo>
                  <a:lnTo>
                    <a:pt x="809" y="27"/>
                  </a:lnTo>
                  <a:lnTo>
                    <a:pt x="809" y="27"/>
                  </a:lnTo>
                  <a:lnTo>
                    <a:pt x="809" y="27"/>
                  </a:lnTo>
                  <a:lnTo>
                    <a:pt x="811" y="27"/>
                  </a:lnTo>
                  <a:lnTo>
                    <a:pt x="811" y="27"/>
                  </a:lnTo>
                  <a:lnTo>
                    <a:pt x="811" y="27"/>
                  </a:lnTo>
                  <a:lnTo>
                    <a:pt x="811" y="27"/>
                  </a:lnTo>
                  <a:lnTo>
                    <a:pt x="811" y="27"/>
                  </a:lnTo>
                  <a:lnTo>
                    <a:pt x="811" y="27"/>
                  </a:lnTo>
                  <a:lnTo>
                    <a:pt x="811" y="27"/>
                  </a:lnTo>
                  <a:lnTo>
                    <a:pt x="811" y="25"/>
                  </a:lnTo>
                  <a:lnTo>
                    <a:pt x="820" y="25"/>
                  </a:lnTo>
                  <a:lnTo>
                    <a:pt x="820" y="25"/>
                  </a:lnTo>
                  <a:lnTo>
                    <a:pt x="820" y="27"/>
                  </a:lnTo>
                  <a:lnTo>
                    <a:pt x="820" y="27"/>
                  </a:lnTo>
                  <a:lnTo>
                    <a:pt x="820" y="27"/>
                  </a:lnTo>
                  <a:lnTo>
                    <a:pt x="820" y="27"/>
                  </a:lnTo>
                  <a:lnTo>
                    <a:pt x="820" y="25"/>
                  </a:lnTo>
                  <a:lnTo>
                    <a:pt x="820" y="25"/>
                  </a:lnTo>
                  <a:lnTo>
                    <a:pt x="823" y="25"/>
                  </a:lnTo>
                  <a:lnTo>
                    <a:pt x="823" y="27"/>
                  </a:lnTo>
                  <a:lnTo>
                    <a:pt x="823" y="27"/>
                  </a:lnTo>
                  <a:lnTo>
                    <a:pt x="825" y="27"/>
                  </a:lnTo>
                  <a:lnTo>
                    <a:pt x="825" y="25"/>
                  </a:lnTo>
                  <a:lnTo>
                    <a:pt x="825" y="25"/>
                  </a:lnTo>
                  <a:lnTo>
                    <a:pt x="825" y="25"/>
                  </a:lnTo>
                  <a:lnTo>
                    <a:pt x="825" y="25"/>
                  </a:lnTo>
                  <a:lnTo>
                    <a:pt x="825" y="25"/>
                  </a:lnTo>
                  <a:lnTo>
                    <a:pt x="827" y="25"/>
                  </a:lnTo>
                  <a:lnTo>
                    <a:pt x="827" y="25"/>
                  </a:lnTo>
                  <a:lnTo>
                    <a:pt x="829" y="25"/>
                  </a:lnTo>
                  <a:lnTo>
                    <a:pt x="832" y="25"/>
                  </a:lnTo>
                  <a:lnTo>
                    <a:pt x="838" y="25"/>
                  </a:lnTo>
                  <a:lnTo>
                    <a:pt x="841" y="25"/>
                  </a:lnTo>
                  <a:lnTo>
                    <a:pt x="841" y="25"/>
                  </a:lnTo>
                  <a:lnTo>
                    <a:pt x="841" y="25"/>
                  </a:lnTo>
                  <a:close/>
                  <a:moveTo>
                    <a:pt x="351" y="25"/>
                  </a:moveTo>
                  <a:lnTo>
                    <a:pt x="351" y="25"/>
                  </a:lnTo>
                  <a:lnTo>
                    <a:pt x="349" y="25"/>
                  </a:lnTo>
                  <a:lnTo>
                    <a:pt x="346" y="25"/>
                  </a:lnTo>
                  <a:lnTo>
                    <a:pt x="346" y="25"/>
                  </a:lnTo>
                  <a:lnTo>
                    <a:pt x="346" y="25"/>
                  </a:lnTo>
                  <a:lnTo>
                    <a:pt x="349" y="25"/>
                  </a:lnTo>
                  <a:lnTo>
                    <a:pt x="349" y="25"/>
                  </a:lnTo>
                  <a:lnTo>
                    <a:pt x="351" y="25"/>
                  </a:lnTo>
                  <a:lnTo>
                    <a:pt x="351" y="25"/>
                  </a:lnTo>
                  <a:lnTo>
                    <a:pt x="351" y="25"/>
                  </a:lnTo>
                  <a:lnTo>
                    <a:pt x="351" y="25"/>
                  </a:lnTo>
                  <a:close/>
                  <a:moveTo>
                    <a:pt x="221" y="27"/>
                  </a:moveTo>
                  <a:lnTo>
                    <a:pt x="218" y="27"/>
                  </a:lnTo>
                  <a:lnTo>
                    <a:pt x="218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4" y="25"/>
                  </a:lnTo>
                  <a:lnTo>
                    <a:pt x="214" y="25"/>
                  </a:lnTo>
                  <a:lnTo>
                    <a:pt x="212" y="25"/>
                  </a:lnTo>
                  <a:lnTo>
                    <a:pt x="212" y="25"/>
                  </a:lnTo>
                  <a:lnTo>
                    <a:pt x="212" y="25"/>
                  </a:lnTo>
                  <a:lnTo>
                    <a:pt x="216" y="25"/>
                  </a:lnTo>
                  <a:lnTo>
                    <a:pt x="216" y="25"/>
                  </a:lnTo>
                  <a:lnTo>
                    <a:pt x="216" y="25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5"/>
                  </a:lnTo>
                  <a:lnTo>
                    <a:pt x="223" y="25"/>
                  </a:lnTo>
                  <a:lnTo>
                    <a:pt x="221" y="25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lnTo>
                    <a:pt x="221" y="27"/>
                  </a:lnTo>
                  <a:close/>
                  <a:moveTo>
                    <a:pt x="272" y="25"/>
                  </a:move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0" y="25"/>
                  </a:lnTo>
                  <a:lnTo>
                    <a:pt x="270" y="25"/>
                  </a:lnTo>
                  <a:lnTo>
                    <a:pt x="270" y="23"/>
                  </a:lnTo>
                  <a:lnTo>
                    <a:pt x="270" y="23"/>
                  </a:lnTo>
                  <a:lnTo>
                    <a:pt x="270" y="23"/>
                  </a:lnTo>
                  <a:lnTo>
                    <a:pt x="270" y="23"/>
                  </a:lnTo>
                  <a:lnTo>
                    <a:pt x="270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5"/>
                  </a:lnTo>
                  <a:lnTo>
                    <a:pt x="275" y="25"/>
                  </a:lnTo>
                  <a:lnTo>
                    <a:pt x="275" y="25"/>
                  </a:lnTo>
                  <a:lnTo>
                    <a:pt x="275" y="25"/>
                  </a:lnTo>
                  <a:lnTo>
                    <a:pt x="275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lnTo>
                    <a:pt x="272" y="25"/>
                  </a:lnTo>
                  <a:close/>
                  <a:moveTo>
                    <a:pt x="288" y="23"/>
                  </a:moveTo>
                  <a:lnTo>
                    <a:pt x="288" y="23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4" y="25"/>
                  </a:lnTo>
                  <a:lnTo>
                    <a:pt x="284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6" y="23"/>
                  </a:lnTo>
                  <a:lnTo>
                    <a:pt x="286" y="23"/>
                  </a:lnTo>
                  <a:lnTo>
                    <a:pt x="286" y="23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lnTo>
                    <a:pt x="288" y="23"/>
                  </a:lnTo>
                  <a:close/>
                  <a:moveTo>
                    <a:pt x="308" y="23"/>
                  </a:move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297" y="27"/>
                  </a:lnTo>
                  <a:lnTo>
                    <a:pt x="295" y="27"/>
                  </a:lnTo>
                  <a:lnTo>
                    <a:pt x="293" y="27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5" y="25"/>
                  </a:lnTo>
                  <a:lnTo>
                    <a:pt x="295" y="25"/>
                  </a:lnTo>
                  <a:lnTo>
                    <a:pt x="295" y="25"/>
                  </a:lnTo>
                  <a:lnTo>
                    <a:pt x="295" y="25"/>
                  </a:lnTo>
                  <a:lnTo>
                    <a:pt x="295" y="25"/>
                  </a:lnTo>
                  <a:lnTo>
                    <a:pt x="295" y="25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29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6" y="23"/>
                  </a:lnTo>
                  <a:lnTo>
                    <a:pt x="308" y="23"/>
                  </a:lnTo>
                  <a:close/>
                  <a:moveTo>
                    <a:pt x="762" y="21"/>
                  </a:moveTo>
                  <a:lnTo>
                    <a:pt x="762" y="21"/>
                  </a:lnTo>
                  <a:lnTo>
                    <a:pt x="762" y="21"/>
                  </a:lnTo>
                  <a:lnTo>
                    <a:pt x="762" y="21"/>
                  </a:lnTo>
                  <a:close/>
                  <a:moveTo>
                    <a:pt x="259" y="21"/>
                  </a:moveTo>
                  <a:lnTo>
                    <a:pt x="259" y="23"/>
                  </a:lnTo>
                  <a:lnTo>
                    <a:pt x="259" y="23"/>
                  </a:lnTo>
                  <a:lnTo>
                    <a:pt x="263" y="23"/>
                  </a:lnTo>
                  <a:lnTo>
                    <a:pt x="268" y="23"/>
                  </a:lnTo>
                  <a:lnTo>
                    <a:pt x="268" y="23"/>
                  </a:lnTo>
                  <a:lnTo>
                    <a:pt x="268" y="23"/>
                  </a:lnTo>
                  <a:lnTo>
                    <a:pt x="268" y="25"/>
                  </a:lnTo>
                  <a:lnTo>
                    <a:pt x="266" y="25"/>
                  </a:lnTo>
                  <a:lnTo>
                    <a:pt x="266" y="25"/>
                  </a:lnTo>
                  <a:lnTo>
                    <a:pt x="266" y="25"/>
                  </a:lnTo>
                  <a:lnTo>
                    <a:pt x="266" y="25"/>
                  </a:lnTo>
                  <a:lnTo>
                    <a:pt x="266" y="25"/>
                  </a:lnTo>
                  <a:lnTo>
                    <a:pt x="266" y="25"/>
                  </a:lnTo>
                  <a:lnTo>
                    <a:pt x="266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63" y="25"/>
                  </a:lnTo>
                  <a:lnTo>
                    <a:pt x="252" y="25"/>
                  </a:lnTo>
                  <a:lnTo>
                    <a:pt x="252" y="25"/>
                  </a:lnTo>
                  <a:lnTo>
                    <a:pt x="252" y="25"/>
                  </a:lnTo>
                  <a:lnTo>
                    <a:pt x="248" y="25"/>
                  </a:lnTo>
                  <a:lnTo>
                    <a:pt x="248" y="25"/>
                  </a:lnTo>
                  <a:lnTo>
                    <a:pt x="245" y="23"/>
                  </a:lnTo>
                  <a:lnTo>
                    <a:pt x="245" y="23"/>
                  </a:lnTo>
                  <a:lnTo>
                    <a:pt x="245" y="23"/>
                  </a:lnTo>
                  <a:lnTo>
                    <a:pt x="248" y="23"/>
                  </a:lnTo>
                  <a:lnTo>
                    <a:pt x="250" y="23"/>
                  </a:lnTo>
                  <a:lnTo>
                    <a:pt x="250" y="23"/>
                  </a:lnTo>
                  <a:lnTo>
                    <a:pt x="250" y="23"/>
                  </a:lnTo>
                  <a:lnTo>
                    <a:pt x="250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0" y="23"/>
                  </a:lnTo>
                  <a:lnTo>
                    <a:pt x="250" y="23"/>
                  </a:lnTo>
                  <a:lnTo>
                    <a:pt x="252" y="23"/>
                  </a:lnTo>
                  <a:lnTo>
                    <a:pt x="252" y="21"/>
                  </a:lnTo>
                  <a:lnTo>
                    <a:pt x="252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4" y="21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21"/>
                  </a:lnTo>
                  <a:close/>
                  <a:moveTo>
                    <a:pt x="284" y="21"/>
                  </a:moveTo>
                  <a:lnTo>
                    <a:pt x="284" y="21"/>
                  </a:lnTo>
                  <a:lnTo>
                    <a:pt x="284" y="21"/>
                  </a:lnTo>
                  <a:lnTo>
                    <a:pt x="284" y="21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1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84" y="21"/>
                  </a:lnTo>
                  <a:lnTo>
                    <a:pt x="284" y="21"/>
                  </a:lnTo>
                  <a:lnTo>
                    <a:pt x="284" y="21"/>
                  </a:lnTo>
                  <a:lnTo>
                    <a:pt x="284" y="21"/>
                  </a:lnTo>
                  <a:close/>
                  <a:moveTo>
                    <a:pt x="277" y="23"/>
                  </a:moveTo>
                  <a:lnTo>
                    <a:pt x="275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3"/>
                  </a:lnTo>
                  <a:lnTo>
                    <a:pt x="272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7" y="21"/>
                  </a:lnTo>
                  <a:lnTo>
                    <a:pt x="277" y="21"/>
                  </a:lnTo>
                  <a:lnTo>
                    <a:pt x="277" y="23"/>
                  </a:lnTo>
                  <a:lnTo>
                    <a:pt x="277" y="23"/>
                  </a:lnTo>
                  <a:close/>
                  <a:moveTo>
                    <a:pt x="337" y="23"/>
                  </a:moveTo>
                  <a:lnTo>
                    <a:pt x="337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2" y="23"/>
                  </a:lnTo>
                  <a:lnTo>
                    <a:pt x="322" y="23"/>
                  </a:lnTo>
                  <a:lnTo>
                    <a:pt x="322" y="23"/>
                  </a:lnTo>
                  <a:lnTo>
                    <a:pt x="322" y="23"/>
                  </a:lnTo>
                  <a:lnTo>
                    <a:pt x="322" y="23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8" y="25"/>
                  </a:lnTo>
                  <a:lnTo>
                    <a:pt x="326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2" y="25"/>
                  </a:lnTo>
                  <a:lnTo>
                    <a:pt x="324" y="27"/>
                  </a:lnTo>
                  <a:lnTo>
                    <a:pt x="322" y="27"/>
                  </a:lnTo>
                  <a:lnTo>
                    <a:pt x="319" y="27"/>
                  </a:lnTo>
                  <a:lnTo>
                    <a:pt x="317" y="25"/>
                  </a:lnTo>
                  <a:lnTo>
                    <a:pt x="317" y="25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3" y="25"/>
                  </a:lnTo>
                  <a:lnTo>
                    <a:pt x="313" y="25"/>
                  </a:lnTo>
                  <a:lnTo>
                    <a:pt x="313" y="25"/>
                  </a:lnTo>
                  <a:lnTo>
                    <a:pt x="313" y="25"/>
                  </a:lnTo>
                  <a:lnTo>
                    <a:pt x="313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08" y="23"/>
                  </a:lnTo>
                  <a:lnTo>
                    <a:pt x="310" y="23"/>
                  </a:lnTo>
                  <a:lnTo>
                    <a:pt x="308" y="21"/>
                  </a:lnTo>
                  <a:lnTo>
                    <a:pt x="308" y="21"/>
                  </a:lnTo>
                  <a:lnTo>
                    <a:pt x="304" y="21"/>
                  </a:lnTo>
                  <a:lnTo>
                    <a:pt x="324" y="21"/>
                  </a:lnTo>
                  <a:lnTo>
                    <a:pt x="326" y="21"/>
                  </a:lnTo>
                  <a:lnTo>
                    <a:pt x="328" y="21"/>
                  </a:lnTo>
                  <a:lnTo>
                    <a:pt x="328" y="21"/>
                  </a:lnTo>
                  <a:lnTo>
                    <a:pt x="331" y="21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37" y="23"/>
                  </a:lnTo>
                  <a:close/>
                  <a:moveTo>
                    <a:pt x="279" y="21"/>
                  </a:moveTo>
                  <a:lnTo>
                    <a:pt x="279" y="21"/>
                  </a:lnTo>
                  <a:lnTo>
                    <a:pt x="277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5" y="21"/>
                  </a:lnTo>
                  <a:lnTo>
                    <a:pt x="277" y="21"/>
                  </a:lnTo>
                  <a:lnTo>
                    <a:pt x="279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79" y="21"/>
                  </a:lnTo>
                  <a:close/>
                  <a:moveTo>
                    <a:pt x="268" y="18"/>
                  </a:moveTo>
                  <a:lnTo>
                    <a:pt x="270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70" y="21"/>
                  </a:lnTo>
                  <a:lnTo>
                    <a:pt x="270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2" y="21"/>
                  </a:lnTo>
                  <a:lnTo>
                    <a:pt x="270" y="21"/>
                  </a:lnTo>
                  <a:lnTo>
                    <a:pt x="270" y="21"/>
                  </a:lnTo>
                  <a:lnTo>
                    <a:pt x="263" y="21"/>
                  </a:lnTo>
                  <a:lnTo>
                    <a:pt x="266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3" y="21"/>
                  </a:lnTo>
                  <a:lnTo>
                    <a:pt x="266" y="21"/>
                  </a:lnTo>
                  <a:lnTo>
                    <a:pt x="266" y="21"/>
                  </a:lnTo>
                  <a:lnTo>
                    <a:pt x="266" y="21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8" y="18"/>
                  </a:lnTo>
                  <a:close/>
                  <a:moveTo>
                    <a:pt x="297" y="16"/>
                  </a:moveTo>
                  <a:lnTo>
                    <a:pt x="301" y="16"/>
                  </a:lnTo>
                  <a:lnTo>
                    <a:pt x="301" y="16"/>
                  </a:lnTo>
                  <a:lnTo>
                    <a:pt x="301" y="16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295" y="18"/>
                  </a:lnTo>
                  <a:lnTo>
                    <a:pt x="295" y="18"/>
                  </a:lnTo>
                  <a:lnTo>
                    <a:pt x="295" y="18"/>
                  </a:lnTo>
                  <a:lnTo>
                    <a:pt x="295" y="18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8" y="18"/>
                  </a:lnTo>
                  <a:lnTo>
                    <a:pt x="286" y="18"/>
                  </a:lnTo>
                  <a:lnTo>
                    <a:pt x="286" y="18"/>
                  </a:lnTo>
                  <a:lnTo>
                    <a:pt x="286" y="18"/>
                  </a:lnTo>
                  <a:lnTo>
                    <a:pt x="286" y="16"/>
                  </a:lnTo>
                  <a:lnTo>
                    <a:pt x="284" y="16"/>
                  </a:lnTo>
                  <a:lnTo>
                    <a:pt x="281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6" y="16"/>
                  </a:lnTo>
                  <a:lnTo>
                    <a:pt x="286" y="16"/>
                  </a:lnTo>
                  <a:lnTo>
                    <a:pt x="286" y="16"/>
                  </a:lnTo>
                  <a:lnTo>
                    <a:pt x="286" y="16"/>
                  </a:lnTo>
                  <a:lnTo>
                    <a:pt x="295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97" y="16"/>
                  </a:lnTo>
                  <a:close/>
                  <a:moveTo>
                    <a:pt x="185" y="16"/>
                  </a:moveTo>
                  <a:lnTo>
                    <a:pt x="187" y="16"/>
                  </a:lnTo>
                  <a:lnTo>
                    <a:pt x="189" y="16"/>
                  </a:lnTo>
                  <a:lnTo>
                    <a:pt x="191" y="16"/>
                  </a:lnTo>
                  <a:lnTo>
                    <a:pt x="194" y="16"/>
                  </a:lnTo>
                  <a:lnTo>
                    <a:pt x="194" y="16"/>
                  </a:lnTo>
                  <a:lnTo>
                    <a:pt x="191" y="16"/>
                  </a:lnTo>
                  <a:lnTo>
                    <a:pt x="191" y="16"/>
                  </a:lnTo>
                  <a:lnTo>
                    <a:pt x="194" y="16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6" y="18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87" y="18"/>
                  </a:lnTo>
                  <a:lnTo>
                    <a:pt x="187" y="18"/>
                  </a:lnTo>
                  <a:lnTo>
                    <a:pt x="187" y="16"/>
                  </a:lnTo>
                  <a:lnTo>
                    <a:pt x="187" y="16"/>
                  </a:lnTo>
                  <a:lnTo>
                    <a:pt x="187" y="16"/>
                  </a:lnTo>
                  <a:lnTo>
                    <a:pt x="185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6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78" y="16"/>
                  </a:lnTo>
                  <a:lnTo>
                    <a:pt x="178" y="18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78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1" y="18"/>
                  </a:lnTo>
                  <a:lnTo>
                    <a:pt x="171" y="18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64" y="21"/>
                  </a:lnTo>
                  <a:lnTo>
                    <a:pt x="164" y="21"/>
                  </a:lnTo>
                  <a:lnTo>
                    <a:pt x="164" y="21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21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67" y="16"/>
                  </a:lnTo>
                  <a:lnTo>
                    <a:pt x="167" y="16"/>
                  </a:lnTo>
                  <a:lnTo>
                    <a:pt x="167" y="16"/>
                  </a:lnTo>
                  <a:lnTo>
                    <a:pt x="164" y="16"/>
                  </a:lnTo>
                  <a:lnTo>
                    <a:pt x="167" y="16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6" y="16"/>
                  </a:lnTo>
                  <a:lnTo>
                    <a:pt x="176" y="16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3" y="14"/>
                  </a:lnTo>
                  <a:lnTo>
                    <a:pt x="178" y="14"/>
                  </a:lnTo>
                  <a:lnTo>
                    <a:pt x="185" y="16"/>
                  </a:lnTo>
                  <a:close/>
                  <a:moveTo>
                    <a:pt x="335" y="21"/>
                  </a:moveTo>
                  <a:lnTo>
                    <a:pt x="335" y="21"/>
                  </a:lnTo>
                  <a:lnTo>
                    <a:pt x="335" y="21"/>
                  </a:lnTo>
                  <a:lnTo>
                    <a:pt x="335" y="21"/>
                  </a:lnTo>
                  <a:lnTo>
                    <a:pt x="335" y="18"/>
                  </a:lnTo>
                  <a:lnTo>
                    <a:pt x="335" y="18"/>
                  </a:lnTo>
                  <a:lnTo>
                    <a:pt x="335" y="18"/>
                  </a:lnTo>
                  <a:lnTo>
                    <a:pt x="335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8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5" y="16"/>
                  </a:lnTo>
                  <a:lnTo>
                    <a:pt x="335" y="16"/>
                  </a:lnTo>
                  <a:lnTo>
                    <a:pt x="333" y="16"/>
                  </a:lnTo>
                  <a:lnTo>
                    <a:pt x="335" y="16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37" y="14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4" y="16"/>
                  </a:lnTo>
                  <a:lnTo>
                    <a:pt x="340" y="16"/>
                  </a:lnTo>
                  <a:lnTo>
                    <a:pt x="340" y="16"/>
                  </a:lnTo>
                  <a:lnTo>
                    <a:pt x="344" y="16"/>
                  </a:lnTo>
                  <a:lnTo>
                    <a:pt x="344" y="16"/>
                  </a:lnTo>
                  <a:lnTo>
                    <a:pt x="344" y="16"/>
                  </a:lnTo>
                  <a:lnTo>
                    <a:pt x="344" y="16"/>
                  </a:lnTo>
                  <a:lnTo>
                    <a:pt x="344" y="16"/>
                  </a:lnTo>
                  <a:lnTo>
                    <a:pt x="344" y="16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60" y="14"/>
                  </a:lnTo>
                  <a:lnTo>
                    <a:pt x="360" y="14"/>
                  </a:lnTo>
                  <a:lnTo>
                    <a:pt x="360" y="14"/>
                  </a:lnTo>
                  <a:lnTo>
                    <a:pt x="360" y="14"/>
                  </a:lnTo>
                  <a:lnTo>
                    <a:pt x="360" y="14"/>
                  </a:lnTo>
                  <a:lnTo>
                    <a:pt x="367" y="14"/>
                  </a:lnTo>
                  <a:lnTo>
                    <a:pt x="369" y="16"/>
                  </a:lnTo>
                  <a:lnTo>
                    <a:pt x="369" y="16"/>
                  </a:lnTo>
                  <a:lnTo>
                    <a:pt x="369" y="16"/>
                  </a:lnTo>
                  <a:lnTo>
                    <a:pt x="369" y="16"/>
                  </a:lnTo>
                  <a:lnTo>
                    <a:pt x="369" y="16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69" y="16"/>
                  </a:lnTo>
                  <a:lnTo>
                    <a:pt x="369" y="16"/>
                  </a:lnTo>
                  <a:lnTo>
                    <a:pt x="369" y="18"/>
                  </a:lnTo>
                  <a:lnTo>
                    <a:pt x="369" y="18"/>
                  </a:lnTo>
                  <a:lnTo>
                    <a:pt x="369" y="18"/>
                  </a:lnTo>
                  <a:lnTo>
                    <a:pt x="369" y="18"/>
                  </a:lnTo>
                  <a:lnTo>
                    <a:pt x="369" y="18"/>
                  </a:lnTo>
                  <a:lnTo>
                    <a:pt x="364" y="18"/>
                  </a:lnTo>
                  <a:lnTo>
                    <a:pt x="364" y="18"/>
                  </a:lnTo>
                  <a:lnTo>
                    <a:pt x="364" y="18"/>
                  </a:lnTo>
                  <a:lnTo>
                    <a:pt x="364" y="18"/>
                  </a:lnTo>
                  <a:lnTo>
                    <a:pt x="364" y="18"/>
                  </a:lnTo>
                  <a:lnTo>
                    <a:pt x="364" y="18"/>
                  </a:lnTo>
                  <a:lnTo>
                    <a:pt x="364" y="18"/>
                  </a:lnTo>
                  <a:lnTo>
                    <a:pt x="364" y="21"/>
                  </a:lnTo>
                  <a:lnTo>
                    <a:pt x="360" y="21"/>
                  </a:lnTo>
                  <a:lnTo>
                    <a:pt x="360" y="21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2" y="21"/>
                  </a:lnTo>
                  <a:lnTo>
                    <a:pt x="360" y="21"/>
                  </a:lnTo>
                  <a:lnTo>
                    <a:pt x="360" y="21"/>
                  </a:lnTo>
                  <a:lnTo>
                    <a:pt x="358" y="21"/>
                  </a:lnTo>
                  <a:lnTo>
                    <a:pt x="351" y="21"/>
                  </a:lnTo>
                  <a:lnTo>
                    <a:pt x="349" y="21"/>
                  </a:lnTo>
                  <a:lnTo>
                    <a:pt x="346" y="21"/>
                  </a:lnTo>
                  <a:lnTo>
                    <a:pt x="346" y="21"/>
                  </a:lnTo>
                  <a:lnTo>
                    <a:pt x="346" y="21"/>
                  </a:lnTo>
                  <a:lnTo>
                    <a:pt x="346" y="21"/>
                  </a:lnTo>
                  <a:lnTo>
                    <a:pt x="344" y="21"/>
                  </a:lnTo>
                  <a:lnTo>
                    <a:pt x="344" y="21"/>
                  </a:lnTo>
                  <a:lnTo>
                    <a:pt x="342" y="21"/>
                  </a:lnTo>
                  <a:lnTo>
                    <a:pt x="340" y="21"/>
                  </a:lnTo>
                  <a:lnTo>
                    <a:pt x="337" y="21"/>
                  </a:lnTo>
                  <a:lnTo>
                    <a:pt x="333" y="21"/>
                  </a:lnTo>
                  <a:lnTo>
                    <a:pt x="333" y="21"/>
                  </a:lnTo>
                  <a:lnTo>
                    <a:pt x="335" y="18"/>
                  </a:lnTo>
                  <a:lnTo>
                    <a:pt x="335" y="18"/>
                  </a:lnTo>
                  <a:lnTo>
                    <a:pt x="335" y="21"/>
                  </a:lnTo>
                  <a:close/>
                  <a:moveTo>
                    <a:pt x="326" y="16"/>
                  </a:moveTo>
                  <a:lnTo>
                    <a:pt x="326" y="16"/>
                  </a:lnTo>
                  <a:lnTo>
                    <a:pt x="326" y="16"/>
                  </a:lnTo>
                  <a:lnTo>
                    <a:pt x="324" y="16"/>
                  </a:lnTo>
                  <a:lnTo>
                    <a:pt x="324" y="16"/>
                  </a:lnTo>
                  <a:lnTo>
                    <a:pt x="322" y="16"/>
                  </a:lnTo>
                  <a:lnTo>
                    <a:pt x="319" y="16"/>
                  </a:lnTo>
                  <a:lnTo>
                    <a:pt x="317" y="16"/>
                  </a:lnTo>
                  <a:lnTo>
                    <a:pt x="315" y="16"/>
                  </a:lnTo>
                  <a:lnTo>
                    <a:pt x="313" y="16"/>
                  </a:lnTo>
                  <a:lnTo>
                    <a:pt x="313" y="16"/>
                  </a:lnTo>
                  <a:lnTo>
                    <a:pt x="313" y="16"/>
                  </a:lnTo>
                  <a:lnTo>
                    <a:pt x="313" y="16"/>
                  </a:lnTo>
                  <a:lnTo>
                    <a:pt x="313" y="16"/>
                  </a:lnTo>
                  <a:lnTo>
                    <a:pt x="313" y="14"/>
                  </a:lnTo>
                  <a:lnTo>
                    <a:pt x="315" y="14"/>
                  </a:lnTo>
                  <a:lnTo>
                    <a:pt x="315" y="14"/>
                  </a:lnTo>
                  <a:lnTo>
                    <a:pt x="322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6"/>
                  </a:lnTo>
                  <a:lnTo>
                    <a:pt x="328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6"/>
                  </a:lnTo>
                  <a:close/>
                  <a:moveTo>
                    <a:pt x="279" y="14"/>
                  </a:moveTo>
                  <a:lnTo>
                    <a:pt x="288" y="16"/>
                  </a:lnTo>
                  <a:lnTo>
                    <a:pt x="288" y="16"/>
                  </a:lnTo>
                  <a:lnTo>
                    <a:pt x="286" y="16"/>
                  </a:lnTo>
                  <a:lnTo>
                    <a:pt x="275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0" y="16"/>
                  </a:lnTo>
                  <a:lnTo>
                    <a:pt x="270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6"/>
                  </a:lnTo>
                  <a:lnTo>
                    <a:pt x="263" y="14"/>
                  </a:lnTo>
                  <a:lnTo>
                    <a:pt x="266" y="14"/>
                  </a:lnTo>
                  <a:lnTo>
                    <a:pt x="268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6"/>
                  </a:lnTo>
                  <a:lnTo>
                    <a:pt x="275" y="14"/>
                  </a:lnTo>
                  <a:lnTo>
                    <a:pt x="275" y="14"/>
                  </a:lnTo>
                  <a:lnTo>
                    <a:pt x="275" y="14"/>
                  </a:lnTo>
                  <a:lnTo>
                    <a:pt x="275" y="14"/>
                  </a:lnTo>
                  <a:lnTo>
                    <a:pt x="275" y="14"/>
                  </a:lnTo>
                  <a:lnTo>
                    <a:pt x="277" y="14"/>
                  </a:lnTo>
                  <a:lnTo>
                    <a:pt x="279" y="14"/>
                  </a:lnTo>
                  <a:lnTo>
                    <a:pt x="279" y="14"/>
                  </a:lnTo>
                  <a:close/>
                  <a:moveTo>
                    <a:pt x="212" y="14"/>
                  </a:moveTo>
                  <a:lnTo>
                    <a:pt x="212" y="14"/>
                  </a:lnTo>
                  <a:lnTo>
                    <a:pt x="221" y="14"/>
                  </a:lnTo>
                  <a:lnTo>
                    <a:pt x="221" y="14"/>
                  </a:lnTo>
                  <a:lnTo>
                    <a:pt x="221" y="14"/>
                  </a:lnTo>
                  <a:lnTo>
                    <a:pt x="221" y="14"/>
                  </a:lnTo>
                  <a:lnTo>
                    <a:pt x="223" y="14"/>
                  </a:lnTo>
                  <a:lnTo>
                    <a:pt x="225" y="14"/>
                  </a:lnTo>
                  <a:lnTo>
                    <a:pt x="225" y="14"/>
                  </a:lnTo>
                  <a:lnTo>
                    <a:pt x="223" y="16"/>
                  </a:lnTo>
                  <a:lnTo>
                    <a:pt x="221" y="16"/>
                  </a:lnTo>
                  <a:lnTo>
                    <a:pt x="221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21" y="16"/>
                  </a:lnTo>
                  <a:lnTo>
                    <a:pt x="221" y="16"/>
                  </a:lnTo>
                  <a:lnTo>
                    <a:pt x="221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5" y="16"/>
                  </a:lnTo>
                  <a:lnTo>
                    <a:pt x="225" y="16"/>
                  </a:lnTo>
                  <a:lnTo>
                    <a:pt x="225" y="16"/>
                  </a:lnTo>
                  <a:lnTo>
                    <a:pt x="225" y="16"/>
                  </a:lnTo>
                  <a:lnTo>
                    <a:pt x="225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30" y="16"/>
                  </a:lnTo>
                  <a:lnTo>
                    <a:pt x="230" y="16"/>
                  </a:lnTo>
                  <a:lnTo>
                    <a:pt x="230" y="16"/>
                  </a:lnTo>
                  <a:lnTo>
                    <a:pt x="232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18"/>
                  </a:lnTo>
                  <a:lnTo>
                    <a:pt x="227" y="18"/>
                  </a:lnTo>
                  <a:lnTo>
                    <a:pt x="227" y="18"/>
                  </a:lnTo>
                  <a:lnTo>
                    <a:pt x="227" y="18"/>
                  </a:lnTo>
                  <a:lnTo>
                    <a:pt x="227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2" y="21"/>
                  </a:lnTo>
                  <a:lnTo>
                    <a:pt x="209" y="21"/>
                  </a:lnTo>
                  <a:lnTo>
                    <a:pt x="212" y="21"/>
                  </a:lnTo>
                  <a:lnTo>
                    <a:pt x="212" y="21"/>
                  </a:lnTo>
                  <a:lnTo>
                    <a:pt x="212" y="21"/>
                  </a:lnTo>
                  <a:lnTo>
                    <a:pt x="212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14" y="21"/>
                  </a:lnTo>
                  <a:lnTo>
                    <a:pt x="209" y="23"/>
                  </a:lnTo>
                  <a:lnTo>
                    <a:pt x="200" y="23"/>
                  </a:lnTo>
                  <a:lnTo>
                    <a:pt x="200" y="23"/>
                  </a:lnTo>
                  <a:lnTo>
                    <a:pt x="200" y="23"/>
                  </a:lnTo>
                  <a:lnTo>
                    <a:pt x="200" y="23"/>
                  </a:lnTo>
                  <a:lnTo>
                    <a:pt x="198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3" y="23"/>
                  </a:lnTo>
                  <a:lnTo>
                    <a:pt x="203" y="23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7" y="25"/>
                  </a:lnTo>
                  <a:lnTo>
                    <a:pt x="207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5" y="25"/>
                  </a:lnTo>
                  <a:lnTo>
                    <a:pt x="203" y="25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198" y="27"/>
                  </a:lnTo>
                  <a:lnTo>
                    <a:pt x="198" y="27"/>
                  </a:lnTo>
                  <a:lnTo>
                    <a:pt x="196" y="27"/>
                  </a:lnTo>
                  <a:lnTo>
                    <a:pt x="196" y="25"/>
                  </a:lnTo>
                  <a:lnTo>
                    <a:pt x="196" y="25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89" y="27"/>
                  </a:lnTo>
                  <a:lnTo>
                    <a:pt x="189" y="27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7" y="27"/>
                  </a:lnTo>
                  <a:lnTo>
                    <a:pt x="187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91" y="25"/>
                  </a:lnTo>
                  <a:lnTo>
                    <a:pt x="194" y="25"/>
                  </a:lnTo>
                  <a:lnTo>
                    <a:pt x="191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89" y="25"/>
                  </a:lnTo>
                  <a:lnTo>
                    <a:pt x="187" y="25"/>
                  </a:lnTo>
                  <a:lnTo>
                    <a:pt x="187" y="25"/>
                  </a:lnTo>
                  <a:lnTo>
                    <a:pt x="185" y="25"/>
                  </a:lnTo>
                  <a:lnTo>
                    <a:pt x="182" y="25"/>
                  </a:lnTo>
                  <a:lnTo>
                    <a:pt x="182" y="25"/>
                  </a:lnTo>
                  <a:lnTo>
                    <a:pt x="185" y="25"/>
                  </a:lnTo>
                  <a:lnTo>
                    <a:pt x="182" y="25"/>
                  </a:lnTo>
                  <a:lnTo>
                    <a:pt x="180" y="25"/>
                  </a:lnTo>
                  <a:lnTo>
                    <a:pt x="178" y="25"/>
                  </a:lnTo>
                  <a:lnTo>
                    <a:pt x="178" y="25"/>
                  </a:lnTo>
                  <a:lnTo>
                    <a:pt x="178" y="25"/>
                  </a:lnTo>
                  <a:lnTo>
                    <a:pt x="178" y="25"/>
                  </a:lnTo>
                  <a:lnTo>
                    <a:pt x="176" y="25"/>
                  </a:lnTo>
                  <a:lnTo>
                    <a:pt x="173" y="23"/>
                  </a:lnTo>
                  <a:lnTo>
                    <a:pt x="173" y="23"/>
                  </a:lnTo>
                  <a:lnTo>
                    <a:pt x="173" y="23"/>
                  </a:lnTo>
                  <a:lnTo>
                    <a:pt x="178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0" y="23"/>
                  </a:lnTo>
                  <a:lnTo>
                    <a:pt x="180" y="23"/>
                  </a:lnTo>
                  <a:lnTo>
                    <a:pt x="180" y="23"/>
                  </a:lnTo>
                  <a:lnTo>
                    <a:pt x="182" y="23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91" y="23"/>
                  </a:lnTo>
                  <a:lnTo>
                    <a:pt x="189" y="23"/>
                  </a:lnTo>
                  <a:lnTo>
                    <a:pt x="191" y="23"/>
                  </a:lnTo>
                  <a:lnTo>
                    <a:pt x="194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89" y="23"/>
                  </a:lnTo>
                  <a:lnTo>
                    <a:pt x="187" y="23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85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89" y="21"/>
                  </a:lnTo>
                  <a:lnTo>
                    <a:pt x="189" y="21"/>
                  </a:lnTo>
                  <a:lnTo>
                    <a:pt x="187" y="21"/>
                  </a:lnTo>
                  <a:lnTo>
                    <a:pt x="182" y="21"/>
                  </a:lnTo>
                  <a:lnTo>
                    <a:pt x="180" y="21"/>
                  </a:lnTo>
                  <a:lnTo>
                    <a:pt x="182" y="21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18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6" y="18"/>
                  </a:lnTo>
                  <a:lnTo>
                    <a:pt x="196" y="21"/>
                  </a:lnTo>
                  <a:lnTo>
                    <a:pt x="196" y="21"/>
                  </a:lnTo>
                  <a:lnTo>
                    <a:pt x="196" y="21"/>
                  </a:lnTo>
                  <a:lnTo>
                    <a:pt x="196" y="21"/>
                  </a:lnTo>
                  <a:lnTo>
                    <a:pt x="196" y="21"/>
                  </a:lnTo>
                  <a:lnTo>
                    <a:pt x="198" y="21"/>
                  </a:lnTo>
                  <a:lnTo>
                    <a:pt x="198" y="21"/>
                  </a:lnTo>
                  <a:lnTo>
                    <a:pt x="200" y="21"/>
                  </a:lnTo>
                  <a:lnTo>
                    <a:pt x="200" y="21"/>
                  </a:lnTo>
                  <a:lnTo>
                    <a:pt x="200" y="21"/>
                  </a:lnTo>
                  <a:lnTo>
                    <a:pt x="200" y="21"/>
                  </a:lnTo>
                  <a:lnTo>
                    <a:pt x="200" y="21"/>
                  </a:lnTo>
                  <a:lnTo>
                    <a:pt x="203" y="21"/>
                  </a:lnTo>
                  <a:lnTo>
                    <a:pt x="203" y="21"/>
                  </a:lnTo>
                  <a:lnTo>
                    <a:pt x="205" y="21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3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5" y="18"/>
                  </a:lnTo>
                  <a:lnTo>
                    <a:pt x="203" y="18"/>
                  </a:lnTo>
                  <a:lnTo>
                    <a:pt x="205" y="18"/>
                  </a:lnTo>
                  <a:lnTo>
                    <a:pt x="207" y="18"/>
                  </a:lnTo>
                  <a:lnTo>
                    <a:pt x="209" y="18"/>
                  </a:lnTo>
                  <a:lnTo>
                    <a:pt x="209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8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3" y="16"/>
                  </a:lnTo>
                  <a:lnTo>
                    <a:pt x="200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198" y="16"/>
                  </a:lnTo>
                  <a:lnTo>
                    <a:pt x="200" y="16"/>
                  </a:lnTo>
                  <a:lnTo>
                    <a:pt x="200" y="16"/>
                  </a:lnTo>
                  <a:lnTo>
                    <a:pt x="200" y="16"/>
                  </a:lnTo>
                  <a:lnTo>
                    <a:pt x="198" y="1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14" y="14"/>
                  </a:lnTo>
                  <a:lnTo>
                    <a:pt x="214" y="14"/>
                  </a:lnTo>
                  <a:lnTo>
                    <a:pt x="216" y="14"/>
                  </a:lnTo>
                  <a:lnTo>
                    <a:pt x="216" y="14"/>
                  </a:lnTo>
                  <a:lnTo>
                    <a:pt x="216" y="14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12" y="14"/>
                  </a:lnTo>
                  <a:close/>
                  <a:moveTo>
                    <a:pt x="319" y="14"/>
                  </a:moveTo>
                  <a:lnTo>
                    <a:pt x="317" y="14"/>
                  </a:lnTo>
                  <a:lnTo>
                    <a:pt x="315" y="14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08" y="12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10" y="12"/>
                  </a:lnTo>
                  <a:lnTo>
                    <a:pt x="319" y="12"/>
                  </a:lnTo>
                  <a:lnTo>
                    <a:pt x="322" y="12"/>
                  </a:lnTo>
                  <a:lnTo>
                    <a:pt x="319" y="12"/>
                  </a:lnTo>
                  <a:lnTo>
                    <a:pt x="319" y="14"/>
                  </a:lnTo>
                  <a:lnTo>
                    <a:pt x="319" y="14"/>
                  </a:lnTo>
                  <a:close/>
                  <a:moveTo>
                    <a:pt x="358" y="12"/>
                  </a:moveTo>
                  <a:lnTo>
                    <a:pt x="351" y="14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0" y="14"/>
                  </a:lnTo>
                  <a:lnTo>
                    <a:pt x="337" y="12"/>
                  </a:lnTo>
                  <a:lnTo>
                    <a:pt x="337" y="12"/>
                  </a:lnTo>
                  <a:lnTo>
                    <a:pt x="340" y="12"/>
                  </a:lnTo>
                  <a:lnTo>
                    <a:pt x="340" y="12"/>
                  </a:lnTo>
                  <a:lnTo>
                    <a:pt x="342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lnTo>
                    <a:pt x="358" y="12"/>
                  </a:lnTo>
                  <a:close/>
                  <a:moveTo>
                    <a:pt x="288" y="12"/>
                  </a:moveTo>
                  <a:lnTo>
                    <a:pt x="288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5" y="12"/>
                  </a:lnTo>
                  <a:lnTo>
                    <a:pt x="297" y="12"/>
                  </a:lnTo>
                  <a:lnTo>
                    <a:pt x="301" y="12"/>
                  </a:lnTo>
                  <a:lnTo>
                    <a:pt x="301" y="12"/>
                  </a:lnTo>
                  <a:lnTo>
                    <a:pt x="308" y="12"/>
                  </a:lnTo>
                  <a:lnTo>
                    <a:pt x="308" y="12"/>
                  </a:lnTo>
                  <a:lnTo>
                    <a:pt x="308" y="12"/>
                  </a:lnTo>
                  <a:lnTo>
                    <a:pt x="308" y="12"/>
                  </a:lnTo>
                  <a:lnTo>
                    <a:pt x="308" y="14"/>
                  </a:lnTo>
                  <a:lnTo>
                    <a:pt x="317" y="14"/>
                  </a:lnTo>
                  <a:lnTo>
                    <a:pt x="317" y="14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13" y="14"/>
                  </a:lnTo>
                  <a:lnTo>
                    <a:pt x="308" y="14"/>
                  </a:lnTo>
                  <a:lnTo>
                    <a:pt x="306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4" y="14"/>
                  </a:lnTo>
                  <a:lnTo>
                    <a:pt x="301" y="14"/>
                  </a:lnTo>
                  <a:lnTo>
                    <a:pt x="301" y="14"/>
                  </a:lnTo>
                  <a:lnTo>
                    <a:pt x="299" y="14"/>
                  </a:lnTo>
                  <a:lnTo>
                    <a:pt x="299" y="14"/>
                  </a:lnTo>
                  <a:lnTo>
                    <a:pt x="299" y="14"/>
                  </a:lnTo>
                  <a:lnTo>
                    <a:pt x="299" y="14"/>
                  </a:lnTo>
                  <a:lnTo>
                    <a:pt x="297" y="12"/>
                  </a:lnTo>
                  <a:lnTo>
                    <a:pt x="297" y="12"/>
                  </a:lnTo>
                  <a:lnTo>
                    <a:pt x="297" y="12"/>
                  </a:lnTo>
                  <a:lnTo>
                    <a:pt x="297" y="12"/>
                  </a:lnTo>
                  <a:lnTo>
                    <a:pt x="297" y="12"/>
                  </a:lnTo>
                  <a:lnTo>
                    <a:pt x="297" y="12"/>
                  </a:lnTo>
                  <a:lnTo>
                    <a:pt x="297" y="12"/>
                  </a:lnTo>
                  <a:lnTo>
                    <a:pt x="288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8" y="12"/>
                  </a:lnTo>
                  <a:close/>
                  <a:moveTo>
                    <a:pt x="279" y="12"/>
                  </a:moveTo>
                  <a:lnTo>
                    <a:pt x="281" y="12"/>
                  </a:lnTo>
                  <a:lnTo>
                    <a:pt x="286" y="12"/>
                  </a:lnTo>
                  <a:lnTo>
                    <a:pt x="295" y="14"/>
                  </a:lnTo>
                  <a:lnTo>
                    <a:pt x="295" y="14"/>
                  </a:lnTo>
                  <a:lnTo>
                    <a:pt x="310" y="16"/>
                  </a:lnTo>
                  <a:lnTo>
                    <a:pt x="310" y="16"/>
                  </a:lnTo>
                  <a:lnTo>
                    <a:pt x="310" y="16"/>
                  </a:lnTo>
                  <a:lnTo>
                    <a:pt x="310" y="16"/>
                  </a:lnTo>
                  <a:lnTo>
                    <a:pt x="310" y="16"/>
                  </a:lnTo>
                  <a:lnTo>
                    <a:pt x="310" y="16"/>
                  </a:lnTo>
                  <a:lnTo>
                    <a:pt x="310" y="16"/>
                  </a:lnTo>
                  <a:lnTo>
                    <a:pt x="304" y="16"/>
                  </a:lnTo>
                  <a:lnTo>
                    <a:pt x="304" y="16"/>
                  </a:lnTo>
                  <a:lnTo>
                    <a:pt x="299" y="16"/>
                  </a:lnTo>
                  <a:lnTo>
                    <a:pt x="299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6" y="14"/>
                  </a:lnTo>
                  <a:lnTo>
                    <a:pt x="284" y="14"/>
                  </a:lnTo>
                  <a:lnTo>
                    <a:pt x="284" y="14"/>
                  </a:lnTo>
                  <a:lnTo>
                    <a:pt x="281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9" y="14"/>
                  </a:lnTo>
                  <a:lnTo>
                    <a:pt x="277" y="14"/>
                  </a:lnTo>
                  <a:lnTo>
                    <a:pt x="277" y="14"/>
                  </a:lnTo>
                  <a:lnTo>
                    <a:pt x="275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72" y="12"/>
                  </a:lnTo>
                  <a:lnTo>
                    <a:pt x="268" y="12"/>
                  </a:lnTo>
                  <a:lnTo>
                    <a:pt x="266" y="12"/>
                  </a:lnTo>
                  <a:lnTo>
                    <a:pt x="266" y="12"/>
                  </a:lnTo>
                  <a:lnTo>
                    <a:pt x="266" y="12"/>
                  </a:lnTo>
                  <a:lnTo>
                    <a:pt x="266" y="12"/>
                  </a:lnTo>
                  <a:lnTo>
                    <a:pt x="266" y="12"/>
                  </a:lnTo>
                  <a:lnTo>
                    <a:pt x="266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6" y="12"/>
                  </a:lnTo>
                  <a:lnTo>
                    <a:pt x="266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68" y="12"/>
                  </a:lnTo>
                  <a:lnTo>
                    <a:pt x="270" y="12"/>
                  </a:lnTo>
                  <a:lnTo>
                    <a:pt x="277" y="12"/>
                  </a:lnTo>
                  <a:lnTo>
                    <a:pt x="279" y="12"/>
                  </a:lnTo>
                  <a:close/>
                  <a:moveTo>
                    <a:pt x="218" y="12"/>
                  </a:moveTo>
                  <a:lnTo>
                    <a:pt x="218" y="12"/>
                  </a:lnTo>
                  <a:lnTo>
                    <a:pt x="218" y="12"/>
                  </a:lnTo>
                  <a:lnTo>
                    <a:pt x="216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2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2" y="12"/>
                  </a:lnTo>
                  <a:lnTo>
                    <a:pt x="212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9"/>
                  </a:lnTo>
                  <a:lnTo>
                    <a:pt x="214" y="9"/>
                  </a:lnTo>
                  <a:lnTo>
                    <a:pt x="214" y="9"/>
                  </a:lnTo>
                  <a:lnTo>
                    <a:pt x="214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21" y="12"/>
                  </a:lnTo>
                  <a:lnTo>
                    <a:pt x="221" y="12"/>
                  </a:lnTo>
                  <a:lnTo>
                    <a:pt x="221" y="12"/>
                  </a:lnTo>
                  <a:lnTo>
                    <a:pt x="221" y="12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2"/>
                  </a:lnTo>
                  <a:close/>
                  <a:moveTo>
                    <a:pt x="396" y="9"/>
                  </a:moveTo>
                  <a:lnTo>
                    <a:pt x="396" y="9"/>
                  </a:lnTo>
                  <a:lnTo>
                    <a:pt x="398" y="9"/>
                  </a:lnTo>
                  <a:lnTo>
                    <a:pt x="403" y="9"/>
                  </a:lnTo>
                  <a:lnTo>
                    <a:pt x="403" y="12"/>
                  </a:lnTo>
                  <a:lnTo>
                    <a:pt x="405" y="12"/>
                  </a:lnTo>
                  <a:lnTo>
                    <a:pt x="407" y="12"/>
                  </a:lnTo>
                  <a:lnTo>
                    <a:pt x="407" y="12"/>
                  </a:lnTo>
                  <a:lnTo>
                    <a:pt x="407" y="12"/>
                  </a:lnTo>
                  <a:lnTo>
                    <a:pt x="405" y="12"/>
                  </a:lnTo>
                  <a:lnTo>
                    <a:pt x="407" y="12"/>
                  </a:lnTo>
                  <a:lnTo>
                    <a:pt x="407" y="12"/>
                  </a:lnTo>
                  <a:lnTo>
                    <a:pt x="407" y="14"/>
                  </a:lnTo>
                  <a:lnTo>
                    <a:pt x="409" y="14"/>
                  </a:lnTo>
                  <a:lnTo>
                    <a:pt x="409" y="14"/>
                  </a:lnTo>
                  <a:lnTo>
                    <a:pt x="409" y="14"/>
                  </a:lnTo>
                  <a:lnTo>
                    <a:pt x="409" y="14"/>
                  </a:lnTo>
                  <a:lnTo>
                    <a:pt x="405" y="14"/>
                  </a:lnTo>
                  <a:lnTo>
                    <a:pt x="405" y="14"/>
                  </a:lnTo>
                  <a:lnTo>
                    <a:pt x="405" y="16"/>
                  </a:lnTo>
                  <a:lnTo>
                    <a:pt x="405" y="16"/>
                  </a:lnTo>
                  <a:lnTo>
                    <a:pt x="405" y="16"/>
                  </a:lnTo>
                  <a:lnTo>
                    <a:pt x="405" y="16"/>
                  </a:lnTo>
                  <a:lnTo>
                    <a:pt x="400" y="16"/>
                  </a:lnTo>
                  <a:lnTo>
                    <a:pt x="400" y="16"/>
                  </a:lnTo>
                  <a:lnTo>
                    <a:pt x="398" y="16"/>
                  </a:lnTo>
                  <a:lnTo>
                    <a:pt x="398" y="16"/>
                  </a:lnTo>
                  <a:lnTo>
                    <a:pt x="389" y="16"/>
                  </a:lnTo>
                  <a:lnTo>
                    <a:pt x="389" y="16"/>
                  </a:lnTo>
                  <a:lnTo>
                    <a:pt x="382" y="18"/>
                  </a:lnTo>
                  <a:lnTo>
                    <a:pt x="373" y="16"/>
                  </a:lnTo>
                  <a:lnTo>
                    <a:pt x="373" y="16"/>
                  </a:lnTo>
                  <a:lnTo>
                    <a:pt x="373" y="16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1" y="14"/>
                  </a:lnTo>
                  <a:lnTo>
                    <a:pt x="371" y="14"/>
                  </a:lnTo>
                  <a:lnTo>
                    <a:pt x="376" y="14"/>
                  </a:lnTo>
                  <a:lnTo>
                    <a:pt x="376" y="14"/>
                  </a:lnTo>
                  <a:lnTo>
                    <a:pt x="376" y="14"/>
                  </a:lnTo>
                  <a:lnTo>
                    <a:pt x="378" y="14"/>
                  </a:lnTo>
                  <a:lnTo>
                    <a:pt x="378" y="14"/>
                  </a:lnTo>
                  <a:lnTo>
                    <a:pt x="389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391" y="9"/>
                  </a:lnTo>
                  <a:lnTo>
                    <a:pt x="391" y="9"/>
                  </a:lnTo>
                  <a:lnTo>
                    <a:pt x="396" y="9"/>
                  </a:lnTo>
                  <a:close/>
                  <a:moveTo>
                    <a:pt x="333" y="9"/>
                  </a:moveTo>
                  <a:lnTo>
                    <a:pt x="333" y="9"/>
                  </a:lnTo>
                  <a:lnTo>
                    <a:pt x="322" y="9"/>
                  </a:lnTo>
                  <a:lnTo>
                    <a:pt x="322" y="9"/>
                  </a:lnTo>
                  <a:lnTo>
                    <a:pt x="322" y="9"/>
                  </a:lnTo>
                  <a:lnTo>
                    <a:pt x="324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9"/>
                  </a:lnTo>
                  <a:lnTo>
                    <a:pt x="333" y="9"/>
                  </a:lnTo>
                  <a:close/>
                  <a:moveTo>
                    <a:pt x="740" y="12"/>
                  </a:moveTo>
                  <a:lnTo>
                    <a:pt x="737" y="12"/>
                  </a:lnTo>
                  <a:lnTo>
                    <a:pt x="722" y="12"/>
                  </a:lnTo>
                  <a:lnTo>
                    <a:pt x="722" y="12"/>
                  </a:lnTo>
                  <a:lnTo>
                    <a:pt x="719" y="12"/>
                  </a:lnTo>
                  <a:lnTo>
                    <a:pt x="719" y="12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19" y="9"/>
                  </a:lnTo>
                  <a:lnTo>
                    <a:pt x="737" y="9"/>
                  </a:lnTo>
                  <a:lnTo>
                    <a:pt x="740" y="9"/>
                  </a:lnTo>
                  <a:lnTo>
                    <a:pt x="740" y="9"/>
                  </a:lnTo>
                  <a:lnTo>
                    <a:pt x="740" y="9"/>
                  </a:lnTo>
                  <a:lnTo>
                    <a:pt x="740" y="12"/>
                  </a:lnTo>
                  <a:lnTo>
                    <a:pt x="740" y="12"/>
                  </a:lnTo>
                  <a:lnTo>
                    <a:pt x="740" y="12"/>
                  </a:lnTo>
                  <a:lnTo>
                    <a:pt x="740" y="12"/>
                  </a:lnTo>
                  <a:close/>
                  <a:moveTo>
                    <a:pt x="306" y="9"/>
                  </a:moveTo>
                  <a:lnTo>
                    <a:pt x="304" y="12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7" y="9"/>
                  </a:lnTo>
                  <a:lnTo>
                    <a:pt x="299" y="9"/>
                  </a:lnTo>
                  <a:lnTo>
                    <a:pt x="301" y="9"/>
                  </a:lnTo>
                  <a:lnTo>
                    <a:pt x="301" y="9"/>
                  </a:lnTo>
                  <a:lnTo>
                    <a:pt x="304" y="9"/>
                  </a:lnTo>
                  <a:lnTo>
                    <a:pt x="306" y="9"/>
                  </a:lnTo>
                  <a:lnTo>
                    <a:pt x="306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6" y="9"/>
                  </a:lnTo>
                  <a:close/>
                  <a:moveTo>
                    <a:pt x="762" y="21"/>
                  </a:moveTo>
                  <a:lnTo>
                    <a:pt x="769" y="23"/>
                  </a:lnTo>
                  <a:lnTo>
                    <a:pt x="769" y="23"/>
                  </a:lnTo>
                  <a:lnTo>
                    <a:pt x="762" y="21"/>
                  </a:lnTo>
                  <a:lnTo>
                    <a:pt x="760" y="21"/>
                  </a:lnTo>
                  <a:lnTo>
                    <a:pt x="758" y="21"/>
                  </a:lnTo>
                  <a:lnTo>
                    <a:pt x="758" y="21"/>
                  </a:lnTo>
                  <a:lnTo>
                    <a:pt x="758" y="21"/>
                  </a:lnTo>
                  <a:lnTo>
                    <a:pt x="762" y="21"/>
                  </a:lnTo>
                  <a:lnTo>
                    <a:pt x="769" y="21"/>
                  </a:lnTo>
                  <a:lnTo>
                    <a:pt x="769" y="21"/>
                  </a:lnTo>
                  <a:lnTo>
                    <a:pt x="769" y="21"/>
                  </a:lnTo>
                  <a:lnTo>
                    <a:pt x="769" y="21"/>
                  </a:lnTo>
                  <a:lnTo>
                    <a:pt x="769" y="21"/>
                  </a:lnTo>
                  <a:lnTo>
                    <a:pt x="769" y="18"/>
                  </a:lnTo>
                  <a:lnTo>
                    <a:pt x="769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7" y="18"/>
                  </a:lnTo>
                  <a:lnTo>
                    <a:pt x="769" y="16"/>
                  </a:lnTo>
                  <a:lnTo>
                    <a:pt x="769" y="16"/>
                  </a:lnTo>
                  <a:lnTo>
                    <a:pt x="769" y="16"/>
                  </a:lnTo>
                  <a:lnTo>
                    <a:pt x="764" y="16"/>
                  </a:lnTo>
                  <a:lnTo>
                    <a:pt x="762" y="16"/>
                  </a:lnTo>
                  <a:lnTo>
                    <a:pt x="762" y="16"/>
                  </a:lnTo>
                  <a:lnTo>
                    <a:pt x="762" y="16"/>
                  </a:lnTo>
                  <a:lnTo>
                    <a:pt x="762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6"/>
                  </a:lnTo>
                  <a:lnTo>
                    <a:pt x="760" y="14"/>
                  </a:lnTo>
                  <a:lnTo>
                    <a:pt x="760" y="14"/>
                  </a:lnTo>
                  <a:lnTo>
                    <a:pt x="760" y="14"/>
                  </a:lnTo>
                  <a:lnTo>
                    <a:pt x="762" y="14"/>
                  </a:lnTo>
                  <a:lnTo>
                    <a:pt x="760" y="14"/>
                  </a:lnTo>
                  <a:lnTo>
                    <a:pt x="760" y="14"/>
                  </a:lnTo>
                  <a:lnTo>
                    <a:pt x="760" y="14"/>
                  </a:lnTo>
                  <a:lnTo>
                    <a:pt x="760" y="14"/>
                  </a:lnTo>
                  <a:lnTo>
                    <a:pt x="760" y="14"/>
                  </a:lnTo>
                  <a:lnTo>
                    <a:pt x="762" y="14"/>
                  </a:lnTo>
                  <a:lnTo>
                    <a:pt x="762" y="14"/>
                  </a:lnTo>
                  <a:lnTo>
                    <a:pt x="764" y="14"/>
                  </a:lnTo>
                  <a:lnTo>
                    <a:pt x="764" y="14"/>
                  </a:lnTo>
                  <a:lnTo>
                    <a:pt x="764" y="14"/>
                  </a:lnTo>
                  <a:lnTo>
                    <a:pt x="764" y="14"/>
                  </a:lnTo>
                  <a:lnTo>
                    <a:pt x="762" y="14"/>
                  </a:lnTo>
                  <a:lnTo>
                    <a:pt x="762" y="12"/>
                  </a:lnTo>
                  <a:lnTo>
                    <a:pt x="762" y="12"/>
                  </a:lnTo>
                  <a:lnTo>
                    <a:pt x="762" y="12"/>
                  </a:lnTo>
                  <a:lnTo>
                    <a:pt x="767" y="12"/>
                  </a:lnTo>
                  <a:lnTo>
                    <a:pt x="769" y="12"/>
                  </a:lnTo>
                  <a:lnTo>
                    <a:pt x="769" y="12"/>
                  </a:lnTo>
                  <a:lnTo>
                    <a:pt x="769" y="12"/>
                  </a:lnTo>
                  <a:lnTo>
                    <a:pt x="769" y="12"/>
                  </a:lnTo>
                  <a:lnTo>
                    <a:pt x="769" y="12"/>
                  </a:lnTo>
                  <a:lnTo>
                    <a:pt x="769" y="12"/>
                  </a:lnTo>
                  <a:lnTo>
                    <a:pt x="769" y="12"/>
                  </a:lnTo>
                  <a:lnTo>
                    <a:pt x="773" y="12"/>
                  </a:lnTo>
                  <a:lnTo>
                    <a:pt x="776" y="12"/>
                  </a:lnTo>
                  <a:lnTo>
                    <a:pt x="778" y="12"/>
                  </a:lnTo>
                  <a:lnTo>
                    <a:pt x="780" y="12"/>
                  </a:lnTo>
                  <a:lnTo>
                    <a:pt x="782" y="9"/>
                  </a:lnTo>
                  <a:lnTo>
                    <a:pt x="785" y="9"/>
                  </a:lnTo>
                  <a:lnTo>
                    <a:pt x="785" y="9"/>
                  </a:lnTo>
                  <a:lnTo>
                    <a:pt x="785" y="9"/>
                  </a:lnTo>
                  <a:lnTo>
                    <a:pt x="789" y="9"/>
                  </a:lnTo>
                  <a:lnTo>
                    <a:pt x="789" y="9"/>
                  </a:lnTo>
                  <a:lnTo>
                    <a:pt x="782" y="9"/>
                  </a:lnTo>
                  <a:lnTo>
                    <a:pt x="782" y="9"/>
                  </a:lnTo>
                  <a:lnTo>
                    <a:pt x="782" y="9"/>
                  </a:lnTo>
                  <a:lnTo>
                    <a:pt x="791" y="7"/>
                  </a:lnTo>
                  <a:lnTo>
                    <a:pt x="794" y="9"/>
                  </a:lnTo>
                  <a:lnTo>
                    <a:pt x="794" y="9"/>
                  </a:lnTo>
                  <a:lnTo>
                    <a:pt x="796" y="9"/>
                  </a:lnTo>
                  <a:lnTo>
                    <a:pt x="796" y="9"/>
                  </a:lnTo>
                  <a:lnTo>
                    <a:pt x="796" y="9"/>
                  </a:lnTo>
                  <a:lnTo>
                    <a:pt x="796" y="9"/>
                  </a:lnTo>
                  <a:lnTo>
                    <a:pt x="796" y="9"/>
                  </a:lnTo>
                  <a:lnTo>
                    <a:pt x="796" y="9"/>
                  </a:lnTo>
                  <a:lnTo>
                    <a:pt x="798" y="9"/>
                  </a:lnTo>
                  <a:lnTo>
                    <a:pt x="798" y="9"/>
                  </a:lnTo>
                  <a:lnTo>
                    <a:pt x="798" y="9"/>
                  </a:lnTo>
                  <a:lnTo>
                    <a:pt x="798" y="9"/>
                  </a:lnTo>
                  <a:lnTo>
                    <a:pt x="800" y="9"/>
                  </a:lnTo>
                  <a:lnTo>
                    <a:pt x="800" y="9"/>
                  </a:lnTo>
                  <a:lnTo>
                    <a:pt x="800" y="9"/>
                  </a:lnTo>
                  <a:lnTo>
                    <a:pt x="800" y="9"/>
                  </a:lnTo>
                  <a:lnTo>
                    <a:pt x="800" y="9"/>
                  </a:lnTo>
                  <a:lnTo>
                    <a:pt x="805" y="12"/>
                  </a:lnTo>
                  <a:lnTo>
                    <a:pt x="805" y="12"/>
                  </a:lnTo>
                  <a:lnTo>
                    <a:pt x="807" y="12"/>
                  </a:lnTo>
                  <a:lnTo>
                    <a:pt x="807" y="12"/>
                  </a:lnTo>
                  <a:lnTo>
                    <a:pt x="807" y="12"/>
                  </a:lnTo>
                  <a:lnTo>
                    <a:pt x="809" y="12"/>
                  </a:lnTo>
                  <a:lnTo>
                    <a:pt x="809" y="12"/>
                  </a:lnTo>
                  <a:lnTo>
                    <a:pt x="809" y="12"/>
                  </a:lnTo>
                  <a:lnTo>
                    <a:pt x="809" y="12"/>
                  </a:lnTo>
                  <a:lnTo>
                    <a:pt x="809" y="14"/>
                  </a:lnTo>
                  <a:lnTo>
                    <a:pt x="809" y="14"/>
                  </a:lnTo>
                  <a:lnTo>
                    <a:pt x="809" y="14"/>
                  </a:lnTo>
                  <a:lnTo>
                    <a:pt x="809" y="14"/>
                  </a:lnTo>
                  <a:lnTo>
                    <a:pt x="809" y="14"/>
                  </a:lnTo>
                  <a:lnTo>
                    <a:pt x="811" y="14"/>
                  </a:lnTo>
                  <a:lnTo>
                    <a:pt x="811" y="14"/>
                  </a:lnTo>
                  <a:lnTo>
                    <a:pt x="814" y="14"/>
                  </a:lnTo>
                  <a:lnTo>
                    <a:pt x="814" y="14"/>
                  </a:lnTo>
                  <a:lnTo>
                    <a:pt x="814" y="14"/>
                  </a:lnTo>
                  <a:lnTo>
                    <a:pt x="820" y="14"/>
                  </a:lnTo>
                  <a:lnTo>
                    <a:pt x="820" y="14"/>
                  </a:lnTo>
                  <a:lnTo>
                    <a:pt x="820" y="16"/>
                  </a:lnTo>
                  <a:lnTo>
                    <a:pt x="823" y="14"/>
                  </a:lnTo>
                  <a:lnTo>
                    <a:pt x="825" y="16"/>
                  </a:lnTo>
                  <a:lnTo>
                    <a:pt x="827" y="16"/>
                  </a:lnTo>
                  <a:lnTo>
                    <a:pt x="827" y="16"/>
                  </a:lnTo>
                  <a:lnTo>
                    <a:pt x="827" y="16"/>
                  </a:lnTo>
                  <a:lnTo>
                    <a:pt x="827" y="16"/>
                  </a:lnTo>
                  <a:lnTo>
                    <a:pt x="827" y="16"/>
                  </a:lnTo>
                  <a:lnTo>
                    <a:pt x="827" y="16"/>
                  </a:lnTo>
                  <a:lnTo>
                    <a:pt x="829" y="16"/>
                  </a:lnTo>
                  <a:lnTo>
                    <a:pt x="829" y="16"/>
                  </a:lnTo>
                  <a:lnTo>
                    <a:pt x="827" y="16"/>
                  </a:lnTo>
                  <a:lnTo>
                    <a:pt x="827" y="16"/>
                  </a:lnTo>
                  <a:lnTo>
                    <a:pt x="829" y="16"/>
                  </a:lnTo>
                  <a:lnTo>
                    <a:pt x="829" y="16"/>
                  </a:lnTo>
                  <a:lnTo>
                    <a:pt x="832" y="16"/>
                  </a:lnTo>
                  <a:lnTo>
                    <a:pt x="832" y="16"/>
                  </a:lnTo>
                  <a:lnTo>
                    <a:pt x="832" y="16"/>
                  </a:lnTo>
                  <a:lnTo>
                    <a:pt x="829" y="16"/>
                  </a:lnTo>
                  <a:lnTo>
                    <a:pt x="829" y="16"/>
                  </a:lnTo>
                  <a:lnTo>
                    <a:pt x="829" y="18"/>
                  </a:lnTo>
                  <a:lnTo>
                    <a:pt x="829" y="18"/>
                  </a:lnTo>
                  <a:lnTo>
                    <a:pt x="829" y="18"/>
                  </a:lnTo>
                  <a:lnTo>
                    <a:pt x="829" y="18"/>
                  </a:lnTo>
                  <a:lnTo>
                    <a:pt x="827" y="18"/>
                  </a:lnTo>
                  <a:lnTo>
                    <a:pt x="827" y="18"/>
                  </a:lnTo>
                  <a:lnTo>
                    <a:pt x="825" y="18"/>
                  </a:lnTo>
                  <a:lnTo>
                    <a:pt x="825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0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18"/>
                  </a:lnTo>
                  <a:lnTo>
                    <a:pt x="823" y="21"/>
                  </a:lnTo>
                  <a:lnTo>
                    <a:pt x="823" y="21"/>
                  </a:lnTo>
                  <a:lnTo>
                    <a:pt x="823" y="21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7" y="21"/>
                  </a:lnTo>
                  <a:lnTo>
                    <a:pt x="827" y="21"/>
                  </a:lnTo>
                  <a:lnTo>
                    <a:pt x="827" y="21"/>
                  </a:lnTo>
                  <a:lnTo>
                    <a:pt x="827" y="21"/>
                  </a:lnTo>
                  <a:lnTo>
                    <a:pt x="827" y="21"/>
                  </a:lnTo>
                  <a:lnTo>
                    <a:pt x="827" y="23"/>
                  </a:lnTo>
                  <a:lnTo>
                    <a:pt x="827" y="23"/>
                  </a:lnTo>
                  <a:lnTo>
                    <a:pt x="829" y="23"/>
                  </a:lnTo>
                  <a:lnTo>
                    <a:pt x="829" y="23"/>
                  </a:lnTo>
                  <a:lnTo>
                    <a:pt x="829" y="23"/>
                  </a:lnTo>
                  <a:lnTo>
                    <a:pt x="829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3"/>
                  </a:lnTo>
                  <a:lnTo>
                    <a:pt x="832" y="25"/>
                  </a:lnTo>
                  <a:lnTo>
                    <a:pt x="832" y="25"/>
                  </a:lnTo>
                  <a:lnTo>
                    <a:pt x="832" y="25"/>
                  </a:lnTo>
                  <a:lnTo>
                    <a:pt x="805" y="25"/>
                  </a:lnTo>
                  <a:lnTo>
                    <a:pt x="802" y="25"/>
                  </a:lnTo>
                  <a:lnTo>
                    <a:pt x="802" y="25"/>
                  </a:lnTo>
                  <a:lnTo>
                    <a:pt x="802" y="25"/>
                  </a:lnTo>
                  <a:lnTo>
                    <a:pt x="800" y="25"/>
                  </a:lnTo>
                  <a:lnTo>
                    <a:pt x="798" y="25"/>
                  </a:lnTo>
                  <a:lnTo>
                    <a:pt x="798" y="25"/>
                  </a:lnTo>
                  <a:lnTo>
                    <a:pt x="798" y="25"/>
                  </a:lnTo>
                  <a:lnTo>
                    <a:pt x="798" y="27"/>
                  </a:lnTo>
                  <a:lnTo>
                    <a:pt x="798" y="27"/>
                  </a:lnTo>
                  <a:lnTo>
                    <a:pt x="796" y="27"/>
                  </a:lnTo>
                  <a:lnTo>
                    <a:pt x="791" y="27"/>
                  </a:lnTo>
                  <a:lnTo>
                    <a:pt x="791" y="27"/>
                  </a:lnTo>
                  <a:lnTo>
                    <a:pt x="791" y="27"/>
                  </a:lnTo>
                  <a:lnTo>
                    <a:pt x="780" y="27"/>
                  </a:lnTo>
                  <a:lnTo>
                    <a:pt x="780" y="27"/>
                  </a:lnTo>
                  <a:lnTo>
                    <a:pt x="778" y="27"/>
                  </a:lnTo>
                  <a:lnTo>
                    <a:pt x="771" y="25"/>
                  </a:lnTo>
                  <a:lnTo>
                    <a:pt x="771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76" y="25"/>
                  </a:lnTo>
                  <a:lnTo>
                    <a:pt x="776" y="25"/>
                  </a:lnTo>
                  <a:lnTo>
                    <a:pt x="776" y="25"/>
                  </a:lnTo>
                  <a:lnTo>
                    <a:pt x="776" y="25"/>
                  </a:lnTo>
                  <a:lnTo>
                    <a:pt x="773" y="25"/>
                  </a:lnTo>
                  <a:lnTo>
                    <a:pt x="769" y="25"/>
                  </a:lnTo>
                  <a:lnTo>
                    <a:pt x="769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5"/>
                  </a:lnTo>
                  <a:lnTo>
                    <a:pt x="767" y="23"/>
                  </a:lnTo>
                  <a:lnTo>
                    <a:pt x="764" y="23"/>
                  </a:lnTo>
                  <a:lnTo>
                    <a:pt x="764" y="23"/>
                  </a:lnTo>
                  <a:lnTo>
                    <a:pt x="771" y="23"/>
                  </a:lnTo>
                  <a:lnTo>
                    <a:pt x="771" y="23"/>
                  </a:lnTo>
                  <a:lnTo>
                    <a:pt x="755" y="23"/>
                  </a:lnTo>
                  <a:lnTo>
                    <a:pt x="758" y="23"/>
                  </a:lnTo>
                  <a:lnTo>
                    <a:pt x="758" y="23"/>
                  </a:lnTo>
                  <a:lnTo>
                    <a:pt x="758" y="23"/>
                  </a:lnTo>
                  <a:lnTo>
                    <a:pt x="755" y="23"/>
                  </a:lnTo>
                  <a:lnTo>
                    <a:pt x="755" y="23"/>
                  </a:lnTo>
                  <a:lnTo>
                    <a:pt x="755" y="23"/>
                  </a:lnTo>
                  <a:lnTo>
                    <a:pt x="755" y="23"/>
                  </a:lnTo>
                  <a:lnTo>
                    <a:pt x="755" y="23"/>
                  </a:lnTo>
                  <a:lnTo>
                    <a:pt x="758" y="23"/>
                  </a:lnTo>
                  <a:lnTo>
                    <a:pt x="758" y="23"/>
                  </a:lnTo>
                  <a:lnTo>
                    <a:pt x="755" y="23"/>
                  </a:lnTo>
                  <a:lnTo>
                    <a:pt x="760" y="21"/>
                  </a:lnTo>
                  <a:lnTo>
                    <a:pt x="762" y="23"/>
                  </a:lnTo>
                  <a:lnTo>
                    <a:pt x="762" y="23"/>
                  </a:lnTo>
                  <a:lnTo>
                    <a:pt x="762" y="23"/>
                  </a:lnTo>
                  <a:lnTo>
                    <a:pt x="762" y="23"/>
                  </a:lnTo>
                  <a:lnTo>
                    <a:pt x="762" y="21"/>
                  </a:lnTo>
                  <a:lnTo>
                    <a:pt x="762" y="21"/>
                  </a:lnTo>
                  <a:close/>
                  <a:moveTo>
                    <a:pt x="340" y="9"/>
                  </a:moveTo>
                  <a:lnTo>
                    <a:pt x="340" y="9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3" y="7"/>
                  </a:lnTo>
                  <a:lnTo>
                    <a:pt x="335" y="7"/>
                  </a:lnTo>
                  <a:lnTo>
                    <a:pt x="340" y="7"/>
                  </a:lnTo>
                  <a:lnTo>
                    <a:pt x="342" y="7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42" y="9"/>
                  </a:lnTo>
                  <a:lnTo>
                    <a:pt x="340" y="9"/>
                  </a:lnTo>
                  <a:close/>
                  <a:moveTo>
                    <a:pt x="293" y="7"/>
                  </a:moveTo>
                  <a:lnTo>
                    <a:pt x="293" y="7"/>
                  </a:lnTo>
                  <a:lnTo>
                    <a:pt x="293" y="7"/>
                  </a:lnTo>
                  <a:lnTo>
                    <a:pt x="293" y="7"/>
                  </a:lnTo>
                  <a:lnTo>
                    <a:pt x="293" y="7"/>
                  </a:lnTo>
                  <a:lnTo>
                    <a:pt x="299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8" y="7"/>
                  </a:lnTo>
                  <a:lnTo>
                    <a:pt x="306" y="9"/>
                  </a:lnTo>
                  <a:lnTo>
                    <a:pt x="297" y="9"/>
                  </a:lnTo>
                  <a:lnTo>
                    <a:pt x="293" y="9"/>
                  </a:lnTo>
                  <a:lnTo>
                    <a:pt x="293" y="9"/>
                  </a:lnTo>
                  <a:lnTo>
                    <a:pt x="290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8" y="9"/>
                  </a:lnTo>
                  <a:lnTo>
                    <a:pt x="286" y="9"/>
                  </a:lnTo>
                  <a:lnTo>
                    <a:pt x="281" y="9"/>
                  </a:lnTo>
                  <a:lnTo>
                    <a:pt x="281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7" y="9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9" y="7"/>
                  </a:lnTo>
                  <a:lnTo>
                    <a:pt x="279" y="7"/>
                  </a:lnTo>
                  <a:lnTo>
                    <a:pt x="279" y="7"/>
                  </a:lnTo>
                  <a:lnTo>
                    <a:pt x="279" y="7"/>
                  </a:lnTo>
                  <a:lnTo>
                    <a:pt x="281" y="7"/>
                  </a:lnTo>
                  <a:lnTo>
                    <a:pt x="281" y="7"/>
                  </a:lnTo>
                  <a:lnTo>
                    <a:pt x="281" y="7"/>
                  </a:lnTo>
                  <a:lnTo>
                    <a:pt x="281" y="7"/>
                  </a:lnTo>
                  <a:lnTo>
                    <a:pt x="281" y="7"/>
                  </a:lnTo>
                  <a:lnTo>
                    <a:pt x="281" y="7"/>
                  </a:lnTo>
                  <a:lnTo>
                    <a:pt x="281" y="7"/>
                  </a:lnTo>
                  <a:lnTo>
                    <a:pt x="284" y="7"/>
                  </a:lnTo>
                  <a:lnTo>
                    <a:pt x="286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6" y="7"/>
                  </a:lnTo>
                  <a:lnTo>
                    <a:pt x="286" y="7"/>
                  </a:lnTo>
                  <a:lnTo>
                    <a:pt x="286" y="7"/>
                  </a:lnTo>
                  <a:lnTo>
                    <a:pt x="286" y="7"/>
                  </a:lnTo>
                  <a:lnTo>
                    <a:pt x="290" y="7"/>
                  </a:lnTo>
                  <a:lnTo>
                    <a:pt x="293" y="7"/>
                  </a:lnTo>
                  <a:close/>
                  <a:moveTo>
                    <a:pt x="324" y="7"/>
                  </a:moveTo>
                  <a:lnTo>
                    <a:pt x="326" y="7"/>
                  </a:lnTo>
                  <a:lnTo>
                    <a:pt x="326" y="7"/>
                  </a:lnTo>
                  <a:lnTo>
                    <a:pt x="326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2" y="7"/>
                  </a:lnTo>
                  <a:lnTo>
                    <a:pt x="317" y="7"/>
                  </a:lnTo>
                  <a:lnTo>
                    <a:pt x="315" y="7"/>
                  </a:lnTo>
                  <a:lnTo>
                    <a:pt x="315" y="7"/>
                  </a:lnTo>
                  <a:lnTo>
                    <a:pt x="315" y="7"/>
                  </a:lnTo>
                  <a:lnTo>
                    <a:pt x="315" y="7"/>
                  </a:lnTo>
                  <a:lnTo>
                    <a:pt x="315" y="7"/>
                  </a:lnTo>
                  <a:lnTo>
                    <a:pt x="313" y="7"/>
                  </a:lnTo>
                  <a:lnTo>
                    <a:pt x="315" y="7"/>
                  </a:lnTo>
                  <a:lnTo>
                    <a:pt x="315" y="7"/>
                  </a:lnTo>
                  <a:lnTo>
                    <a:pt x="315" y="7"/>
                  </a:lnTo>
                  <a:lnTo>
                    <a:pt x="319" y="7"/>
                  </a:lnTo>
                  <a:lnTo>
                    <a:pt x="322" y="7"/>
                  </a:lnTo>
                  <a:lnTo>
                    <a:pt x="322" y="7"/>
                  </a:lnTo>
                  <a:lnTo>
                    <a:pt x="322" y="7"/>
                  </a:lnTo>
                  <a:lnTo>
                    <a:pt x="324" y="7"/>
                  </a:lnTo>
                  <a:lnTo>
                    <a:pt x="324" y="7"/>
                  </a:lnTo>
                  <a:close/>
                  <a:moveTo>
                    <a:pt x="304" y="5"/>
                  </a:move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10" y="5"/>
                  </a:lnTo>
                  <a:lnTo>
                    <a:pt x="313" y="7"/>
                  </a:lnTo>
                  <a:lnTo>
                    <a:pt x="315" y="7"/>
                  </a:lnTo>
                  <a:lnTo>
                    <a:pt x="313" y="7"/>
                  </a:lnTo>
                  <a:lnTo>
                    <a:pt x="313" y="7"/>
                  </a:lnTo>
                  <a:lnTo>
                    <a:pt x="310" y="7"/>
                  </a:lnTo>
                  <a:lnTo>
                    <a:pt x="304" y="7"/>
                  </a:lnTo>
                  <a:lnTo>
                    <a:pt x="304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299" y="5"/>
                  </a:lnTo>
                  <a:lnTo>
                    <a:pt x="297" y="7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299" y="5"/>
                  </a:lnTo>
                  <a:lnTo>
                    <a:pt x="301" y="5"/>
                  </a:lnTo>
                  <a:lnTo>
                    <a:pt x="304" y="5"/>
                  </a:lnTo>
                  <a:lnTo>
                    <a:pt x="304" y="5"/>
                  </a:lnTo>
                  <a:lnTo>
                    <a:pt x="304" y="5"/>
                  </a:lnTo>
                  <a:close/>
                  <a:moveTo>
                    <a:pt x="358" y="5"/>
                  </a:moveTo>
                  <a:lnTo>
                    <a:pt x="358" y="5"/>
                  </a:lnTo>
                  <a:lnTo>
                    <a:pt x="353" y="5"/>
                  </a:lnTo>
                  <a:lnTo>
                    <a:pt x="351" y="3"/>
                  </a:lnTo>
                  <a:lnTo>
                    <a:pt x="351" y="3"/>
                  </a:lnTo>
                  <a:lnTo>
                    <a:pt x="351" y="3"/>
                  </a:lnTo>
                  <a:lnTo>
                    <a:pt x="355" y="3"/>
                  </a:lnTo>
                  <a:lnTo>
                    <a:pt x="355" y="3"/>
                  </a:lnTo>
                  <a:lnTo>
                    <a:pt x="358" y="3"/>
                  </a:lnTo>
                  <a:lnTo>
                    <a:pt x="358" y="5"/>
                  </a:lnTo>
                  <a:lnTo>
                    <a:pt x="358" y="5"/>
                  </a:lnTo>
                  <a:lnTo>
                    <a:pt x="358" y="5"/>
                  </a:lnTo>
                  <a:lnTo>
                    <a:pt x="358" y="5"/>
                  </a:lnTo>
                  <a:close/>
                  <a:moveTo>
                    <a:pt x="313" y="3"/>
                  </a:moveTo>
                  <a:lnTo>
                    <a:pt x="310" y="5"/>
                  </a:lnTo>
                  <a:lnTo>
                    <a:pt x="310" y="5"/>
                  </a:lnTo>
                  <a:lnTo>
                    <a:pt x="310" y="5"/>
                  </a:lnTo>
                  <a:lnTo>
                    <a:pt x="308" y="5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10" y="3"/>
                  </a:lnTo>
                  <a:lnTo>
                    <a:pt x="310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close/>
                  <a:moveTo>
                    <a:pt x="364" y="3"/>
                  </a:moveTo>
                  <a:lnTo>
                    <a:pt x="376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3" y="3"/>
                  </a:lnTo>
                  <a:lnTo>
                    <a:pt x="371" y="3"/>
                  </a:lnTo>
                  <a:lnTo>
                    <a:pt x="371" y="3"/>
                  </a:lnTo>
                  <a:lnTo>
                    <a:pt x="364" y="3"/>
                  </a:lnTo>
                  <a:lnTo>
                    <a:pt x="362" y="3"/>
                  </a:lnTo>
                  <a:lnTo>
                    <a:pt x="362" y="3"/>
                  </a:lnTo>
                  <a:lnTo>
                    <a:pt x="362" y="3"/>
                  </a:lnTo>
                  <a:lnTo>
                    <a:pt x="362" y="3"/>
                  </a:lnTo>
                  <a:lnTo>
                    <a:pt x="355" y="3"/>
                  </a:lnTo>
                  <a:lnTo>
                    <a:pt x="355" y="3"/>
                  </a:lnTo>
                  <a:lnTo>
                    <a:pt x="358" y="3"/>
                  </a:lnTo>
                  <a:lnTo>
                    <a:pt x="358" y="3"/>
                  </a:lnTo>
                  <a:lnTo>
                    <a:pt x="358" y="3"/>
                  </a:lnTo>
                  <a:lnTo>
                    <a:pt x="360" y="3"/>
                  </a:lnTo>
                  <a:lnTo>
                    <a:pt x="362" y="3"/>
                  </a:lnTo>
                  <a:lnTo>
                    <a:pt x="362" y="3"/>
                  </a:lnTo>
                  <a:lnTo>
                    <a:pt x="364" y="3"/>
                  </a:lnTo>
                  <a:lnTo>
                    <a:pt x="364" y="3"/>
                  </a:lnTo>
                  <a:lnTo>
                    <a:pt x="364" y="3"/>
                  </a:lnTo>
                  <a:close/>
                  <a:moveTo>
                    <a:pt x="319" y="0"/>
                  </a:moveTo>
                  <a:lnTo>
                    <a:pt x="306" y="3"/>
                  </a:lnTo>
                  <a:lnTo>
                    <a:pt x="304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317" y="0"/>
                  </a:lnTo>
                  <a:lnTo>
                    <a:pt x="317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515"/>
            <p:cNvSpPr>
              <a:spLocks/>
            </p:cNvSpPr>
            <p:nvPr/>
          </p:nvSpPr>
          <p:spPr bwMode="auto">
            <a:xfrm>
              <a:off x="6279380" y="2051971"/>
              <a:ext cx="299186" cy="180514"/>
            </a:xfrm>
            <a:custGeom>
              <a:avLst/>
              <a:gdLst>
                <a:gd name="T0" fmla="*/ 56 w 179"/>
                <a:gd name="T1" fmla="*/ 99 h 108"/>
                <a:gd name="T2" fmla="*/ 44 w 179"/>
                <a:gd name="T3" fmla="*/ 90 h 108"/>
                <a:gd name="T4" fmla="*/ 49 w 179"/>
                <a:gd name="T5" fmla="*/ 88 h 108"/>
                <a:gd name="T6" fmla="*/ 40 w 179"/>
                <a:gd name="T7" fmla="*/ 83 h 108"/>
                <a:gd name="T8" fmla="*/ 31 w 179"/>
                <a:gd name="T9" fmla="*/ 83 h 108"/>
                <a:gd name="T10" fmla="*/ 24 w 179"/>
                <a:gd name="T11" fmla="*/ 79 h 108"/>
                <a:gd name="T12" fmla="*/ 22 w 179"/>
                <a:gd name="T13" fmla="*/ 77 h 108"/>
                <a:gd name="T14" fmla="*/ 24 w 179"/>
                <a:gd name="T15" fmla="*/ 74 h 108"/>
                <a:gd name="T16" fmla="*/ 15 w 179"/>
                <a:gd name="T17" fmla="*/ 70 h 108"/>
                <a:gd name="T18" fmla="*/ 11 w 179"/>
                <a:gd name="T19" fmla="*/ 61 h 108"/>
                <a:gd name="T20" fmla="*/ 6 w 179"/>
                <a:gd name="T21" fmla="*/ 56 h 108"/>
                <a:gd name="T22" fmla="*/ 2 w 179"/>
                <a:gd name="T23" fmla="*/ 50 h 108"/>
                <a:gd name="T24" fmla="*/ 9 w 179"/>
                <a:gd name="T25" fmla="*/ 47 h 108"/>
                <a:gd name="T26" fmla="*/ 13 w 179"/>
                <a:gd name="T27" fmla="*/ 47 h 108"/>
                <a:gd name="T28" fmla="*/ 18 w 179"/>
                <a:gd name="T29" fmla="*/ 41 h 108"/>
                <a:gd name="T30" fmla="*/ 20 w 179"/>
                <a:gd name="T31" fmla="*/ 36 h 108"/>
                <a:gd name="T32" fmla="*/ 22 w 179"/>
                <a:gd name="T33" fmla="*/ 30 h 108"/>
                <a:gd name="T34" fmla="*/ 26 w 179"/>
                <a:gd name="T35" fmla="*/ 25 h 108"/>
                <a:gd name="T36" fmla="*/ 31 w 179"/>
                <a:gd name="T37" fmla="*/ 16 h 108"/>
                <a:gd name="T38" fmla="*/ 35 w 179"/>
                <a:gd name="T39" fmla="*/ 12 h 108"/>
                <a:gd name="T40" fmla="*/ 42 w 179"/>
                <a:gd name="T41" fmla="*/ 9 h 108"/>
                <a:gd name="T42" fmla="*/ 47 w 179"/>
                <a:gd name="T43" fmla="*/ 5 h 108"/>
                <a:gd name="T44" fmla="*/ 53 w 179"/>
                <a:gd name="T45" fmla="*/ 7 h 108"/>
                <a:gd name="T46" fmla="*/ 65 w 179"/>
                <a:gd name="T47" fmla="*/ 7 h 108"/>
                <a:gd name="T48" fmla="*/ 76 w 179"/>
                <a:gd name="T49" fmla="*/ 9 h 108"/>
                <a:gd name="T50" fmla="*/ 98 w 179"/>
                <a:gd name="T51" fmla="*/ 7 h 108"/>
                <a:gd name="T52" fmla="*/ 107 w 179"/>
                <a:gd name="T53" fmla="*/ 0 h 108"/>
                <a:gd name="T54" fmla="*/ 116 w 179"/>
                <a:gd name="T55" fmla="*/ 3 h 108"/>
                <a:gd name="T56" fmla="*/ 119 w 179"/>
                <a:gd name="T57" fmla="*/ 5 h 108"/>
                <a:gd name="T58" fmla="*/ 121 w 179"/>
                <a:gd name="T59" fmla="*/ 7 h 108"/>
                <a:gd name="T60" fmla="*/ 125 w 179"/>
                <a:gd name="T61" fmla="*/ 12 h 108"/>
                <a:gd name="T62" fmla="*/ 130 w 179"/>
                <a:gd name="T63" fmla="*/ 16 h 108"/>
                <a:gd name="T64" fmla="*/ 132 w 179"/>
                <a:gd name="T65" fmla="*/ 21 h 108"/>
                <a:gd name="T66" fmla="*/ 137 w 179"/>
                <a:gd name="T67" fmla="*/ 25 h 108"/>
                <a:gd name="T68" fmla="*/ 141 w 179"/>
                <a:gd name="T69" fmla="*/ 30 h 108"/>
                <a:gd name="T70" fmla="*/ 148 w 179"/>
                <a:gd name="T71" fmla="*/ 38 h 108"/>
                <a:gd name="T72" fmla="*/ 148 w 179"/>
                <a:gd name="T73" fmla="*/ 43 h 108"/>
                <a:gd name="T74" fmla="*/ 146 w 179"/>
                <a:gd name="T75" fmla="*/ 47 h 108"/>
                <a:gd name="T76" fmla="*/ 146 w 179"/>
                <a:gd name="T77" fmla="*/ 54 h 108"/>
                <a:gd name="T78" fmla="*/ 148 w 179"/>
                <a:gd name="T79" fmla="*/ 61 h 108"/>
                <a:gd name="T80" fmla="*/ 152 w 179"/>
                <a:gd name="T81" fmla="*/ 68 h 108"/>
                <a:gd name="T82" fmla="*/ 161 w 179"/>
                <a:gd name="T83" fmla="*/ 70 h 108"/>
                <a:gd name="T84" fmla="*/ 168 w 179"/>
                <a:gd name="T85" fmla="*/ 68 h 108"/>
                <a:gd name="T86" fmla="*/ 170 w 179"/>
                <a:gd name="T87" fmla="*/ 65 h 108"/>
                <a:gd name="T88" fmla="*/ 179 w 179"/>
                <a:gd name="T89" fmla="*/ 72 h 108"/>
                <a:gd name="T90" fmla="*/ 177 w 179"/>
                <a:gd name="T91" fmla="*/ 81 h 108"/>
                <a:gd name="T92" fmla="*/ 168 w 179"/>
                <a:gd name="T93" fmla="*/ 81 h 108"/>
                <a:gd name="T94" fmla="*/ 168 w 179"/>
                <a:gd name="T95" fmla="*/ 77 h 108"/>
                <a:gd name="T96" fmla="*/ 164 w 179"/>
                <a:gd name="T97" fmla="*/ 79 h 108"/>
                <a:gd name="T98" fmla="*/ 166 w 179"/>
                <a:gd name="T99" fmla="*/ 81 h 108"/>
                <a:gd name="T100" fmla="*/ 166 w 179"/>
                <a:gd name="T101" fmla="*/ 83 h 108"/>
                <a:gd name="T102" fmla="*/ 164 w 179"/>
                <a:gd name="T103" fmla="*/ 86 h 108"/>
                <a:gd name="T104" fmla="*/ 164 w 179"/>
                <a:gd name="T105" fmla="*/ 86 h 108"/>
                <a:gd name="T106" fmla="*/ 166 w 179"/>
                <a:gd name="T107" fmla="*/ 86 h 108"/>
                <a:gd name="T108" fmla="*/ 164 w 179"/>
                <a:gd name="T109" fmla="*/ 95 h 108"/>
                <a:gd name="T110" fmla="*/ 161 w 179"/>
                <a:gd name="T111" fmla="*/ 104 h 108"/>
                <a:gd name="T112" fmla="*/ 143 w 179"/>
                <a:gd name="T113" fmla="*/ 99 h 108"/>
                <a:gd name="T114" fmla="*/ 125 w 179"/>
                <a:gd name="T115" fmla="*/ 97 h 108"/>
                <a:gd name="T116" fmla="*/ 110 w 179"/>
                <a:gd name="T117" fmla="*/ 106 h 108"/>
                <a:gd name="T118" fmla="*/ 98 w 179"/>
                <a:gd name="T119" fmla="*/ 10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9" h="108">
                  <a:moveTo>
                    <a:pt x="62" y="101"/>
                  </a:moveTo>
                  <a:lnTo>
                    <a:pt x="62" y="101"/>
                  </a:lnTo>
                  <a:lnTo>
                    <a:pt x="62" y="101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8" y="104"/>
                  </a:lnTo>
                  <a:lnTo>
                    <a:pt x="56" y="104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53" y="101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9" y="86"/>
                  </a:lnTo>
                  <a:lnTo>
                    <a:pt x="47" y="86"/>
                  </a:lnTo>
                  <a:lnTo>
                    <a:pt x="47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5" y="86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2" y="72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11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51" y="5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6" y="7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8" y="9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5" y="9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5" y="14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9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3" y="30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6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1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8" y="45"/>
                  </a:lnTo>
                  <a:lnTo>
                    <a:pt x="148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8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6" y="56"/>
                  </a:lnTo>
                  <a:lnTo>
                    <a:pt x="148" y="56"/>
                  </a:lnTo>
                  <a:lnTo>
                    <a:pt x="148" y="59"/>
                  </a:lnTo>
                  <a:lnTo>
                    <a:pt x="148" y="59"/>
                  </a:lnTo>
                  <a:lnTo>
                    <a:pt x="148" y="59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6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0" y="65"/>
                  </a:lnTo>
                  <a:lnTo>
                    <a:pt x="152" y="65"/>
                  </a:lnTo>
                  <a:lnTo>
                    <a:pt x="152" y="68"/>
                  </a:lnTo>
                  <a:lnTo>
                    <a:pt x="152" y="68"/>
                  </a:lnTo>
                  <a:lnTo>
                    <a:pt x="152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5" y="70"/>
                  </a:lnTo>
                  <a:lnTo>
                    <a:pt x="157" y="70"/>
                  </a:lnTo>
                  <a:lnTo>
                    <a:pt x="157" y="70"/>
                  </a:lnTo>
                  <a:lnTo>
                    <a:pt x="159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70"/>
                  </a:lnTo>
                  <a:lnTo>
                    <a:pt x="161" y="68"/>
                  </a:lnTo>
                  <a:lnTo>
                    <a:pt x="161" y="68"/>
                  </a:lnTo>
                  <a:lnTo>
                    <a:pt x="161" y="68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68"/>
                  </a:lnTo>
                  <a:lnTo>
                    <a:pt x="164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8"/>
                  </a:lnTo>
                  <a:lnTo>
                    <a:pt x="168" y="65"/>
                  </a:lnTo>
                  <a:lnTo>
                    <a:pt x="168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3" y="65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68"/>
                  </a:lnTo>
                  <a:lnTo>
                    <a:pt x="177" y="70"/>
                  </a:lnTo>
                  <a:lnTo>
                    <a:pt x="177" y="70"/>
                  </a:lnTo>
                  <a:lnTo>
                    <a:pt x="177" y="70"/>
                  </a:lnTo>
                  <a:lnTo>
                    <a:pt x="177" y="70"/>
                  </a:lnTo>
                  <a:lnTo>
                    <a:pt x="177" y="70"/>
                  </a:lnTo>
                  <a:lnTo>
                    <a:pt x="177" y="70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7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72"/>
                  </a:lnTo>
                  <a:lnTo>
                    <a:pt x="179" y="74"/>
                  </a:lnTo>
                  <a:lnTo>
                    <a:pt x="179" y="74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9" y="77"/>
                  </a:lnTo>
                  <a:lnTo>
                    <a:pt x="177" y="79"/>
                  </a:lnTo>
                  <a:lnTo>
                    <a:pt x="179" y="79"/>
                  </a:lnTo>
                  <a:lnTo>
                    <a:pt x="177" y="79"/>
                  </a:lnTo>
                  <a:lnTo>
                    <a:pt x="179" y="79"/>
                  </a:lnTo>
                  <a:lnTo>
                    <a:pt x="179" y="79"/>
                  </a:lnTo>
                  <a:lnTo>
                    <a:pt x="177" y="79"/>
                  </a:lnTo>
                  <a:lnTo>
                    <a:pt x="177" y="79"/>
                  </a:lnTo>
                  <a:lnTo>
                    <a:pt x="177" y="79"/>
                  </a:lnTo>
                  <a:lnTo>
                    <a:pt x="177" y="81"/>
                  </a:lnTo>
                  <a:lnTo>
                    <a:pt x="177" y="81"/>
                  </a:lnTo>
                  <a:lnTo>
                    <a:pt x="177" y="81"/>
                  </a:lnTo>
                  <a:lnTo>
                    <a:pt x="177" y="81"/>
                  </a:lnTo>
                  <a:lnTo>
                    <a:pt x="177" y="81"/>
                  </a:lnTo>
                  <a:lnTo>
                    <a:pt x="177" y="81"/>
                  </a:lnTo>
                  <a:lnTo>
                    <a:pt x="173" y="81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68" y="83"/>
                  </a:lnTo>
                  <a:lnTo>
                    <a:pt x="168" y="83"/>
                  </a:lnTo>
                  <a:lnTo>
                    <a:pt x="168" y="83"/>
                  </a:lnTo>
                  <a:lnTo>
                    <a:pt x="168" y="83"/>
                  </a:lnTo>
                  <a:lnTo>
                    <a:pt x="168" y="83"/>
                  </a:lnTo>
                  <a:lnTo>
                    <a:pt x="166" y="83"/>
                  </a:lnTo>
                  <a:lnTo>
                    <a:pt x="166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0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81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9"/>
                  </a:lnTo>
                  <a:lnTo>
                    <a:pt x="168" y="77"/>
                  </a:lnTo>
                  <a:lnTo>
                    <a:pt x="168" y="77"/>
                  </a:lnTo>
                  <a:lnTo>
                    <a:pt x="168" y="77"/>
                  </a:lnTo>
                  <a:lnTo>
                    <a:pt x="168" y="77"/>
                  </a:lnTo>
                  <a:lnTo>
                    <a:pt x="168" y="77"/>
                  </a:lnTo>
                  <a:lnTo>
                    <a:pt x="168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6" y="79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6" y="81"/>
                  </a:lnTo>
                  <a:lnTo>
                    <a:pt x="164" y="81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8" y="83"/>
                  </a:lnTo>
                  <a:lnTo>
                    <a:pt x="166" y="83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4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8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61" y="92"/>
                  </a:lnTo>
                  <a:lnTo>
                    <a:pt x="161" y="95"/>
                  </a:lnTo>
                  <a:lnTo>
                    <a:pt x="161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1" y="95"/>
                  </a:lnTo>
                  <a:lnTo>
                    <a:pt x="161" y="95"/>
                  </a:lnTo>
                  <a:lnTo>
                    <a:pt x="161" y="95"/>
                  </a:lnTo>
                  <a:lnTo>
                    <a:pt x="161" y="97"/>
                  </a:lnTo>
                  <a:lnTo>
                    <a:pt x="161" y="97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4" y="99"/>
                  </a:lnTo>
                  <a:lnTo>
                    <a:pt x="164" y="101"/>
                  </a:lnTo>
                  <a:lnTo>
                    <a:pt x="164" y="101"/>
                  </a:lnTo>
                  <a:lnTo>
                    <a:pt x="164" y="101"/>
                  </a:lnTo>
                  <a:lnTo>
                    <a:pt x="164" y="101"/>
                  </a:lnTo>
                  <a:lnTo>
                    <a:pt x="164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4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59" y="106"/>
                  </a:lnTo>
                  <a:lnTo>
                    <a:pt x="155" y="106"/>
                  </a:lnTo>
                  <a:lnTo>
                    <a:pt x="152" y="104"/>
                  </a:lnTo>
                  <a:lnTo>
                    <a:pt x="150" y="104"/>
                  </a:lnTo>
                  <a:lnTo>
                    <a:pt x="150" y="101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39" y="99"/>
                  </a:lnTo>
                  <a:lnTo>
                    <a:pt x="139" y="99"/>
                  </a:lnTo>
                  <a:lnTo>
                    <a:pt x="139" y="99"/>
                  </a:lnTo>
                  <a:lnTo>
                    <a:pt x="139" y="99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4" y="97"/>
                  </a:lnTo>
                  <a:lnTo>
                    <a:pt x="132" y="97"/>
                  </a:lnTo>
                  <a:lnTo>
                    <a:pt x="132" y="95"/>
                  </a:lnTo>
                  <a:lnTo>
                    <a:pt x="132" y="95"/>
                  </a:lnTo>
                  <a:lnTo>
                    <a:pt x="130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5" y="97"/>
                  </a:lnTo>
                  <a:lnTo>
                    <a:pt x="123" y="97"/>
                  </a:lnTo>
                  <a:lnTo>
                    <a:pt x="119" y="99"/>
                  </a:lnTo>
                  <a:lnTo>
                    <a:pt x="116" y="99"/>
                  </a:lnTo>
                  <a:lnTo>
                    <a:pt x="116" y="99"/>
                  </a:lnTo>
                  <a:lnTo>
                    <a:pt x="114" y="99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4" y="101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0" y="104"/>
                  </a:lnTo>
                  <a:lnTo>
                    <a:pt x="110" y="104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10" y="106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7" y="106"/>
                  </a:lnTo>
                  <a:lnTo>
                    <a:pt x="105" y="106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6"/>
                  </a:lnTo>
                  <a:lnTo>
                    <a:pt x="98" y="106"/>
                  </a:lnTo>
                  <a:lnTo>
                    <a:pt x="98" y="106"/>
                  </a:lnTo>
                  <a:lnTo>
                    <a:pt x="96" y="106"/>
                  </a:lnTo>
                  <a:lnTo>
                    <a:pt x="94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5" y="104"/>
                  </a:lnTo>
                  <a:lnTo>
                    <a:pt x="85" y="104"/>
                  </a:lnTo>
                  <a:lnTo>
                    <a:pt x="83" y="104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78" y="106"/>
                  </a:lnTo>
                  <a:lnTo>
                    <a:pt x="71" y="104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7" y="104"/>
                  </a:lnTo>
                  <a:lnTo>
                    <a:pt x="65" y="101"/>
                  </a:lnTo>
                  <a:lnTo>
                    <a:pt x="62" y="101"/>
                  </a:lnTo>
                  <a:close/>
                </a:path>
              </a:pathLst>
            </a:custGeom>
            <a:solidFill>
              <a:srgbClr val="C90068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Freeform 516"/>
            <p:cNvSpPr>
              <a:spLocks/>
            </p:cNvSpPr>
            <p:nvPr/>
          </p:nvSpPr>
          <p:spPr bwMode="auto">
            <a:xfrm>
              <a:off x="7375834" y="2927798"/>
              <a:ext cx="33429" cy="60171"/>
            </a:xfrm>
            <a:custGeom>
              <a:avLst/>
              <a:gdLst>
                <a:gd name="T0" fmla="*/ 11 w 20"/>
                <a:gd name="T1" fmla="*/ 0 h 36"/>
                <a:gd name="T2" fmla="*/ 13 w 20"/>
                <a:gd name="T3" fmla="*/ 2 h 36"/>
                <a:gd name="T4" fmla="*/ 13 w 20"/>
                <a:gd name="T5" fmla="*/ 5 h 36"/>
                <a:gd name="T6" fmla="*/ 15 w 20"/>
                <a:gd name="T7" fmla="*/ 5 h 36"/>
                <a:gd name="T8" fmla="*/ 15 w 20"/>
                <a:gd name="T9" fmla="*/ 5 h 36"/>
                <a:gd name="T10" fmla="*/ 18 w 20"/>
                <a:gd name="T11" fmla="*/ 9 h 36"/>
                <a:gd name="T12" fmla="*/ 18 w 20"/>
                <a:gd name="T13" fmla="*/ 9 h 36"/>
                <a:gd name="T14" fmla="*/ 15 w 20"/>
                <a:gd name="T15" fmla="*/ 9 h 36"/>
                <a:gd name="T16" fmla="*/ 18 w 20"/>
                <a:gd name="T17" fmla="*/ 9 h 36"/>
                <a:gd name="T18" fmla="*/ 15 w 20"/>
                <a:gd name="T19" fmla="*/ 9 h 36"/>
                <a:gd name="T20" fmla="*/ 15 w 20"/>
                <a:gd name="T21" fmla="*/ 11 h 36"/>
                <a:gd name="T22" fmla="*/ 15 w 20"/>
                <a:gd name="T23" fmla="*/ 11 h 36"/>
                <a:gd name="T24" fmla="*/ 15 w 20"/>
                <a:gd name="T25" fmla="*/ 11 h 36"/>
                <a:gd name="T26" fmla="*/ 15 w 20"/>
                <a:gd name="T27" fmla="*/ 14 h 36"/>
                <a:gd name="T28" fmla="*/ 15 w 20"/>
                <a:gd name="T29" fmla="*/ 16 h 36"/>
                <a:gd name="T30" fmla="*/ 18 w 20"/>
                <a:gd name="T31" fmla="*/ 20 h 36"/>
                <a:gd name="T32" fmla="*/ 18 w 20"/>
                <a:gd name="T33" fmla="*/ 20 h 36"/>
                <a:gd name="T34" fmla="*/ 20 w 20"/>
                <a:gd name="T35" fmla="*/ 27 h 36"/>
                <a:gd name="T36" fmla="*/ 18 w 20"/>
                <a:gd name="T37" fmla="*/ 29 h 36"/>
                <a:gd name="T38" fmla="*/ 18 w 20"/>
                <a:gd name="T39" fmla="*/ 29 h 36"/>
                <a:gd name="T40" fmla="*/ 18 w 20"/>
                <a:gd name="T41" fmla="*/ 34 h 36"/>
                <a:gd name="T42" fmla="*/ 15 w 20"/>
                <a:gd name="T43" fmla="*/ 36 h 36"/>
                <a:gd name="T44" fmla="*/ 15 w 20"/>
                <a:gd name="T45" fmla="*/ 36 h 36"/>
                <a:gd name="T46" fmla="*/ 15 w 20"/>
                <a:gd name="T47" fmla="*/ 36 h 36"/>
                <a:gd name="T48" fmla="*/ 13 w 20"/>
                <a:gd name="T49" fmla="*/ 36 h 36"/>
                <a:gd name="T50" fmla="*/ 13 w 20"/>
                <a:gd name="T51" fmla="*/ 34 h 36"/>
                <a:gd name="T52" fmla="*/ 13 w 20"/>
                <a:gd name="T53" fmla="*/ 36 h 36"/>
                <a:gd name="T54" fmla="*/ 6 w 20"/>
                <a:gd name="T55" fmla="*/ 36 h 36"/>
                <a:gd name="T56" fmla="*/ 4 w 20"/>
                <a:gd name="T57" fmla="*/ 32 h 36"/>
                <a:gd name="T58" fmla="*/ 4 w 20"/>
                <a:gd name="T59" fmla="*/ 29 h 36"/>
                <a:gd name="T60" fmla="*/ 2 w 20"/>
                <a:gd name="T61" fmla="*/ 25 h 36"/>
                <a:gd name="T62" fmla="*/ 2 w 20"/>
                <a:gd name="T63" fmla="*/ 23 h 36"/>
                <a:gd name="T64" fmla="*/ 2 w 20"/>
                <a:gd name="T65" fmla="*/ 20 h 36"/>
                <a:gd name="T66" fmla="*/ 2 w 20"/>
                <a:gd name="T67" fmla="*/ 18 h 36"/>
                <a:gd name="T68" fmla="*/ 0 w 20"/>
                <a:gd name="T69" fmla="*/ 16 h 36"/>
                <a:gd name="T70" fmla="*/ 2 w 20"/>
                <a:gd name="T71" fmla="*/ 16 h 36"/>
                <a:gd name="T72" fmla="*/ 2 w 20"/>
                <a:gd name="T73" fmla="*/ 14 h 36"/>
                <a:gd name="T74" fmla="*/ 2 w 20"/>
                <a:gd name="T75" fmla="*/ 11 h 36"/>
                <a:gd name="T76" fmla="*/ 2 w 20"/>
                <a:gd name="T77" fmla="*/ 11 h 36"/>
                <a:gd name="T78" fmla="*/ 2 w 20"/>
                <a:gd name="T79" fmla="*/ 11 h 36"/>
                <a:gd name="T80" fmla="*/ 2 w 20"/>
                <a:gd name="T81" fmla="*/ 11 h 36"/>
                <a:gd name="T82" fmla="*/ 2 w 20"/>
                <a:gd name="T83" fmla="*/ 14 h 36"/>
                <a:gd name="T84" fmla="*/ 4 w 20"/>
                <a:gd name="T85" fmla="*/ 14 h 36"/>
                <a:gd name="T86" fmla="*/ 4 w 20"/>
                <a:gd name="T87" fmla="*/ 14 h 36"/>
                <a:gd name="T88" fmla="*/ 4 w 20"/>
                <a:gd name="T89" fmla="*/ 11 h 36"/>
                <a:gd name="T90" fmla="*/ 4 w 20"/>
                <a:gd name="T91" fmla="*/ 11 h 36"/>
                <a:gd name="T92" fmla="*/ 4 w 20"/>
                <a:gd name="T93" fmla="*/ 11 h 36"/>
                <a:gd name="T94" fmla="*/ 4 w 20"/>
                <a:gd name="T95" fmla="*/ 9 h 36"/>
                <a:gd name="T96" fmla="*/ 4 w 20"/>
                <a:gd name="T97" fmla="*/ 9 h 36"/>
                <a:gd name="T98" fmla="*/ 4 w 20"/>
                <a:gd name="T99" fmla="*/ 7 h 36"/>
                <a:gd name="T100" fmla="*/ 4 w 20"/>
                <a:gd name="T101" fmla="*/ 7 h 36"/>
                <a:gd name="T102" fmla="*/ 4 w 20"/>
                <a:gd name="T103" fmla="*/ 7 h 36"/>
                <a:gd name="T104" fmla="*/ 4 w 20"/>
                <a:gd name="T105" fmla="*/ 7 h 36"/>
                <a:gd name="T106" fmla="*/ 4 w 20"/>
                <a:gd name="T107" fmla="*/ 2 h 36"/>
                <a:gd name="T108" fmla="*/ 4 w 20"/>
                <a:gd name="T109" fmla="*/ 5 h 36"/>
                <a:gd name="T110" fmla="*/ 6 w 20"/>
                <a:gd name="T111" fmla="*/ 0 h 36"/>
                <a:gd name="T112" fmla="*/ 9 w 20"/>
                <a:gd name="T113" fmla="*/ 0 h 36"/>
                <a:gd name="T114" fmla="*/ 9 w 20"/>
                <a:gd name="T115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" h="36">
                  <a:moveTo>
                    <a:pt x="9" y="0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8" y="5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20"/>
                  </a:lnTo>
                  <a:lnTo>
                    <a:pt x="20" y="23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5" y="34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9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517"/>
            <p:cNvSpPr>
              <a:spLocks noEditPoints="1"/>
            </p:cNvSpPr>
            <p:nvPr/>
          </p:nvSpPr>
          <p:spPr bwMode="auto">
            <a:xfrm>
              <a:off x="3292542" y="3228654"/>
              <a:ext cx="95272" cy="26743"/>
            </a:xfrm>
            <a:custGeom>
              <a:avLst/>
              <a:gdLst>
                <a:gd name="T0" fmla="*/ 0 w 57"/>
                <a:gd name="T1" fmla="*/ 11 h 16"/>
                <a:gd name="T2" fmla="*/ 3 w 57"/>
                <a:gd name="T3" fmla="*/ 11 h 16"/>
                <a:gd name="T4" fmla="*/ 0 w 57"/>
                <a:gd name="T5" fmla="*/ 11 h 16"/>
                <a:gd name="T6" fmla="*/ 54 w 57"/>
                <a:gd name="T7" fmla="*/ 9 h 16"/>
                <a:gd name="T8" fmla="*/ 54 w 57"/>
                <a:gd name="T9" fmla="*/ 11 h 16"/>
                <a:gd name="T10" fmla="*/ 52 w 57"/>
                <a:gd name="T11" fmla="*/ 11 h 16"/>
                <a:gd name="T12" fmla="*/ 50 w 57"/>
                <a:gd name="T13" fmla="*/ 11 h 16"/>
                <a:gd name="T14" fmla="*/ 50 w 57"/>
                <a:gd name="T15" fmla="*/ 9 h 16"/>
                <a:gd name="T16" fmla="*/ 54 w 57"/>
                <a:gd name="T17" fmla="*/ 9 h 16"/>
                <a:gd name="T18" fmla="*/ 57 w 57"/>
                <a:gd name="T19" fmla="*/ 7 h 16"/>
                <a:gd name="T20" fmla="*/ 57 w 57"/>
                <a:gd name="T21" fmla="*/ 7 h 16"/>
                <a:gd name="T22" fmla="*/ 57 w 57"/>
                <a:gd name="T23" fmla="*/ 7 h 16"/>
                <a:gd name="T24" fmla="*/ 54 w 57"/>
                <a:gd name="T25" fmla="*/ 5 h 16"/>
                <a:gd name="T26" fmla="*/ 25 w 57"/>
                <a:gd name="T27" fmla="*/ 2 h 16"/>
                <a:gd name="T28" fmla="*/ 27 w 57"/>
                <a:gd name="T29" fmla="*/ 2 h 16"/>
                <a:gd name="T30" fmla="*/ 32 w 57"/>
                <a:gd name="T31" fmla="*/ 2 h 16"/>
                <a:gd name="T32" fmla="*/ 36 w 57"/>
                <a:gd name="T33" fmla="*/ 2 h 16"/>
                <a:gd name="T34" fmla="*/ 39 w 57"/>
                <a:gd name="T35" fmla="*/ 2 h 16"/>
                <a:gd name="T36" fmla="*/ 39 w 57"/>
                <a:gd name="T37" fmla="*/ 2 h 16"/>
                <a:gd name="T38" fmla="*/ 39 w 57"/>
                <a:gd name="T39" fmla="*/ 2 h 16"/>
                <a:gd name="T40" fmla="*/ 41 w 57"/>
                <a:gd name="T41" fmla="*/ 2 h 16"/>
                <a:gd name="T42" fmla="*/ 41 w 57"/>
                <a:gd name="T43" fmla="*/ 2 h 16"/>
                <a:gd name="T44" fmla="*/ 45 w 57"/>
                <a:gd name="T45" fmla="*/ 2 h 16"/>
                <a:gd name="T46" fmla="*/ 45 w 57"/>
                <a:gd name="T47" fmla="*/ 2 h 16"/>
                <a:gd name="T48" fmla="*/ 45 w 57"/>
                <a:gd name="T49" fmla="*/ 2 h 16"/>
                <a:gd name="T50" fmla="*/ 48 w 57"/>
                <a:gd name="T51" fmla="*/ 5 h 16"/>
                <a:gd name="T52" fmla="*/ 48 w 57"/>
                <a:gd name="T53" fmla="*/ 5 h 16"/>
                <a:gd name="T54" fmla="*/ 48 w 57"/>
                <a:gd name="T55" fmla="*/ 7 h 16"/>
                <a:gd name="T56" fmla="*/ 48 w 57"/>
                <a:gd name="T57" fmla="*/ 9 h 16"/>
                <a:gd name="T58" fmla="*/ 45 w 57"/>
                <a:gd name="T59" fmla="*/ 9 h 16"/>
                <a:gd name="T60" fmla="*/ 43 w 57"/>
                <a:gd name="T61" fmla="*/ 11 h 16"/>
                <a:gd name="T62" fmla="*/ 43 w 57"/>
                <a:gd name="T63" fmla="*/ 14 h 16"/>
                <a:gd name="T64" fmla="*/ 39 w 57"/>
                <a:gd name="T65" fmla="*/ 14 h 16"/>
                <a:gd name="T66" fmla="*/ 36 w 57"/>
                <a:gd name="T67" fmla="*/ 16 h 16"/>
                <a:gd name="T68" fmla="*/ 36 w 57"/>
                <a:gd name="T69" fmla="*/ 16 h 16"/>
                <a:gd name="T70" fmla="*/ 36 w 57"/>
                <a:gd name="T71" fmla="*/ 14 h 16"/>
                <a:gd name="T72" fmla="*/ 34 w 57"/>
                <a:gd name="T73" fmla="*/ 16 h 16"/>
                <a:gd name="T74" fmla="*/ 34 w 57"/>
                <a:gd name="T75" fmla="*/ 14 h 16"/>
                <a:gd name="T76" fmla="*/ 32 w 57"/>
                <a:gd name="T77" fmla="*/ 14 h 16"/>
                <a:gd name="T78" fmla="*/ 30 w 57"/>
                <a:gd name="T79" fmla="*/ 14 h 16"/>
                <a:gd name="T80" fmla="*/ 27 w 57"/>
                <a:gd name="T81" fmla="*/ 14 h 16"/>
                <a:gd name="T82" fmla="*/ 27 w 57"/>
                <a:gd name="T83" fmla="*/ 14 h 16"/>
                <a:gd name="T84" fmla="*/ 23 w 57"/>
                <a:gd name="T85" fmla="*/ 14 h 16"/>
                <a:gd name="T86" fmla="*/ 23 w 57"/>
                <a:gd name="T87" fmla="*/ 14 h 16"/>
                <a:gd name="T88" fmla="*/ 23 w 57"/>
                <a:gd name="T89" fmla="*/ 14 h 16"/>
                <a:gd name="T90" fmla="*/ 21 w 57"/>
                <a:gd name="T91" fmla="*/ 14 h 16"/>
                <a:gd name="T92" fmla="*/ 18 w 57"/>
                <a:gd name="T93" fmla="*/ 14 h 16"/>
                <a:gd name="T94" fmla="*/ 18 w 57"/>
                <a:gd name="T95" fmla="*/ 14 h 16"/>
                <a:gd name="T96" fmla="*/ 16 w 57"/>
                <a:gd name="T97" fmla="*/ 14 h 16"/>
                <a:gd name="T98" fmla="*/ 14 w 57"/>
                <a:gd name="T99" fmla="*/ 14 h 16"/>
                <a:gd name="T100" fmla="*/ 16 w 57"/>
                <a:gd name="T101" fmla="*/ 14 h 16"/>
                <a:gd name="T102" fmla="*/ 16 w 57"/>
                <a:gd name="T103" fmla="*/ 11 h 16"/>
                <a:gd name="T104" fmla="*/ 16 w 57"/>
                <a:gd name="T105" fmla="*/ 9 h 16"/>
                <a:gd name="T106" fmla="*/ 16 w 57"/>
                <a:gd name="T107" fmla="*/ 7 h 16"/>
                <a:gd name="T108" fmla="*/ 14 w 57"/>
                <a:gd name="T109" fmla="*/ 5 h 16"/>
                <a:gd name="T110" fmla="*/ 16 w 57"/>
                <a:gd name="T111" fmla="*/ 5 h 16"/>
                <a:gd name="T112" fmla="*/ 16 w 57"/>
                <a:gd name="T11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7" h="16"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54" y="9"/>
                  </a:moveTo>
                  <a:lnTo>
                    <a:pt x="54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close/>
                  <a:moveTo>
                    <a:pt x="57" y="5"/>
                  </a:move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57" y="5"/>
                  </a:lnTo>
                  <a:close/>
                  <a:moveTo>
                    <a:pt x="21" y="2"/>
                  </a:moveTo>
                  <a:lnTo>
                    <a:pt x="23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5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1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518"/>
            <p:cNvSpPr>
              <a:spLocks noEditPoints="1"/>
            </p:cNvSpPr>
            <p:nvPr/>
          </p:nvSpPr>
          <p:spPr bwMode="auto">
            <a:xfrm>
              <a:off x="5336696" y="2289313"/>
              <a:ext cx="108643" cy="207257"/>
            </a:xfrm>
            <a:custGeom>
              <a:avLst/>
              <a:gdLst>
                <a:gd name="T0" fmla="*/ 27 w 65"/>
                <a:gd name="T1" fmla="*/ 2 h 124"/>
                <a:gd name="T2" fmla="*/ 27 w 65"/>
                <a:gd name="T3" fmla="*/ 7 h 124"/>
                <a:gd name="T4" fmla="*/ 31 w 65"/>
                <a:gd name="T5" fmla="*/ 7 h 124"/>
                <a:gd name="T6" fmla="*/ 36 w 65"/>
                <a:gd name="T7" fmla="*/ 7 h 124"/>
                <a:gd name="T8" fmla="*/ 40 w 65"/>
                <a:gd name="T9" fmla="*/ 9 h 124"/>
                <a:gd name="T10" fmla="*/ 45 w 65"/>
                <a:gd name="T11" fmla="*/ 9 h 124"/>
                <a:gd name="T12" fmla="*/ 49 w 65"/>
                <a:gd name="T13" fmla="*/ 4 h 124"/>
                <a:gd name="T14" fmla="*/ 58 w 65"/>
                <a:gd name="T15" fmla="*/ 7 h 124"/>
                <a:gd name="T16" fmla="*/ 58 w 65"/>
                <a:gd name="T17" fmla="*/ 11 h 124"/>
                <a:gd name="T18" fmla="*/ 65 w 65"/>
                <a:gd name="T19" fmla="*/ 16 h 124"/>
                <a:gd name="T20" fmla="*/ 60 w 65"/>
                <a:gd name="T21" fmla="*/ 20 h 124"/>
                <a:gd name="T22" fmla="*/ 56 w 65"/>
                <a:gd name="T23" fmla="*/ 22 h 124"/>
                <a:gd name="T24" fmla="*/ 49 w 65"/>
                <a:gd name="T25" fmla="*/ 27 h 124"/>
                <a:gd name="T26" fmla="*/ 51 w 65"/>
                <a:gd name="T27" fmla="*/ 34 h 124"/>
                <a:gd name="T28" fmla="*/ 51 w 65"/>
                <a:gd name="T29" fmla="*/ 38 h 124"/>
                <a:gd name="T30" fmla="*/ 51 w 65"/>
                <a:gd name="T31" fmla="*/ 45 h 124"/>
                <a:gd name="T32" fmla="*/ 47 w 65"/>
                <a:gd name="T33" fmla="*/ 49 h 124"/>
                <a:gd name="T34" fmla="*/ 49 w 65"/>
                <a:gd name="T35" fmla="*/ 54 h 124"/>
                <a:gd name="T36" fmla="*/ 49 w 65"/>
                <a:gd name="T37" fmla="*/ 56 h 124"/>
                <a:gd name="T38" fmla="*/ 42 w 65"/>
                <a:gd name="T39" fmla="*/ 58 h 124"/>
                <a:gd name="T40" fmla="*/ 40 w 65"/>
                <a:gd name="T41" fmla="*/ 65 h 124"/>
                <a:gd name="T42" fmla="*/ 42 w 65"/>
                <a:gd name="T43" fmla="*/ 70 h 124"/>
                <a:gd name="T44" fmla="*/ 47 w 65"/>
                <a:gd name="T45" fmla="*/ 72 h 124"/>
                <a:gd name="T46" fmla="*/ 47 w 65"/>
                <a:gd name="T47" fmla="*/ 79 h 124"/>
                <a:gd name="T48" fmla="*/ 42 w 65"/>
                <a:gd name="T49" fmla="*/ 81 h 124"/>
                <a:gd name="T50" fmla="*/ 40 w 65"/>
                <a:gd name="T51" fmla="*/ 88 h 124"/>
                <a:gd name="T52" fmla="*/ 45 w 65"/>
                <a:gd name="T53" fmla="*/ 92 h 124"/>
                <a:gd name="T54" fmla="*/ 47 w 65"/>
                <a:gd name="T55" fmla="*/ 97 h 124"/>
                <a:gd name="T56" fmla="*/ 42 w 65"/>
                <a:gd name="T57" fmla="*/ 99 h 124"/>
                <a:gd name="T58" fmla="*/ 38 w 65"/>
                <a:gd name="T59" fmla="*/ 106 h 124"/>
                <a:gd name="T60" fmla="*/ 36 w 65"/>
                <a:gd name="T61" fmla="*/ 110 h 124"/>
                <a:gd name="T62" fmla="*/ 38 w 65"/>
                <a:gd name="T63" fmla="*/ 117 h 124"/>
                <a:gd name="T64" fmla="*/ 38 w 65"/>
                <a:gd name="T65" fmla="*/ 119 h 124"/>
                <a:gd name="T66" fmla="*/ 27 w 65"/>
                <a:gd name="T67" fmla="*/ 124 h 124"/>
                <a:gd name="T68" fmla="*/ 15 w 65"/>
                <a:gd name="T69" fmla="*/ 121 h 124"/>
                <a:gd name="T70" fmla="*/ 9 w 65"/>
                <a:gd name="T71" fmla="*/ 121 h 124"/>
                <a:gd name="T72" fmla="*/ 9 w 65"/>
                <a:gd name="T73" fmla="*/ 119 h 124"/>
                <a:gd name="T74" fmla="*/ 11 w 65"/>
                <a:gd name="T75" fmla="*/ 108 h 124"/>
                <a:gd name="T76" fmla="*/ 11 w 65"/>
                <a:gd name="T77" fmla="*/ 101 h 124"/>
                <a:gd name="T78" fmla="*/ 11 w 65"/>
                <a:gd name="T79" fmla="*/ 90 h 124"/>
                <a:gd name="T80" fmla="*/ 15 w 65"/>
                <a:gd name="T81" fmla="*/ 90 h 124"/>
                <a:gd name="T82" fmla="*/ 13 w 65"/>
                <a:gd name="T83" fmla="*/ 85 h 124"/>
                <a:gd name="T84" fmla="*/ 4 w 65"/>
                <a:gd name="T85" fmla="*/ 90 h 124"/>
                <a:gd name="T86" fmla="*/ 4 w 65"/>
                <a:gd name="T87" fmla="*/ 85 h 124"/>
                <a:gd name="T88" fmla="*/ 6 w 65"/>
                <a:gd name="T89" fmla="*/ 83 h 124"/>
                <a:gd name="T90" fmla="*/ 9 w 65"/>
                <a:gd name="T91" fmla="*/ 79 h 124"/>
                <a:gd name="T92" fmla="*/ 13 w 65"/>
                <a:gd name="T93" fmla="*/ 74 h 124"/>
                <a:gd name="T94" fmla="*/ 4 w 65"/>
                <a:gd name="T95" fmla="*/ 83 h 124"/>
                <a:gd name="T96" fmla="*/ 0 w 65"/>
                <a:gd name="T97" fmla="*/ 79 h 124"/>
                <a:gd name="T98" fmla="*/ 2 w 65"/>
                <a:gd name="T99" fmla="*/ 67 h 124"/>
                <a:gd name="T100" fmla="*/ 4 w 65"/>
                <a:gd name="T101" fmla="*/ 65 h 124"/>
                <a:gd name="T102" fmla="*/ 9 w 65"/>
                <a:gd name="T103" fmla="*/ 56 h 124"/>
                <a:gd name="T104" fmla="*/ 11 w 65"/>
                <a:gd name="T105" fmla="*/ 47 h 124"/>
                <a:gd name="T106" fmla="*/ 15 w 65"/>
                <a:gd name="T107" fmla="*/ 36 h 124"/>
                <a:gd name="T108" fmla="*/ 18 w 65"/>
                <a:gd name="T109" fmla="*/ 34 h 124"/>
                <a:gd name="T110" fmla="*/ 18 w 65"/>
                <a:gd name="T111" fmla="*/ 31 h 124"/>
                <a:gd name="T112" fmla="*/ 18 w 65"/>
                <a:gd name="T113" fmla="*/ 29 h 124"/>
                <a:gd name="T114" fmla="*/ 15 w 65"/>
                <a:gd name="T115" fmla="*/ 20 h 124"/>
                <a:gd name="T116" fmla="*/ 15 w 65"/>
                <a:gd name="T117" fmla="*/ 16 h 124"/>
                <a:gd name="T118" fmla="*/ 18 w 65"/>
                <a:gd name="T119" fmla="*/ 11 h 124"/>
                <a:gd name="T120" fmla="*/ 13 w 65"/>
                <a:gd name="T121" fmla="*/ 9 h 124"/>
                <a:gd name="T122" fmla="*/ 20 w 65"/>
                <a:gd name="T123" fmla="*/ 2 h 124"/>
                <a:gd name="T124" fmla="*/ 27 w 65"/>
                <a:gd name="T125" fmla="*/ 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" h="124">
                  <a:moveTo>
                    <a:pt x="9" y="79"/>
                  </a:moveTo>
                  <a:lnTo>
                    <a:pt x="6" y="81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close/>
                  <a:moveTo>
                    <a:pt x="27" y="2"/>
                  </a:move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4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49" y="27"/>
                  </a:lnTo>
                  <a:lnTo>
                    <a:pt x="49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4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4" y="43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5" y="61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38" y="58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5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3" y="121"/>
                  </a:lnTo>
                  <a:lnTo>
                    <a:pt x="33" y="121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2" y="121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18" y="121"/>
                  </a:lnTo>
                  <a:lnTo>
                    <a:pt x="15" y="121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5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1"/>
                  </a:lnTo>
                  <a:lnTo>
                    <a:pt x="6" y="124"/>
                  </a:lnTo>
                  <a:lnTo>
                    <a:pt x="6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1" y="106"/>
                  </a:lnTo>
                  <a:lnTo>
                    <a:pt x="11" y="106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99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3" y="97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9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9" y="88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6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6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4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9" y="61"/>
                  </a:lnTo>
                  <a:lnTo>
                    <a:pt x="9" y="56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3" y="45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1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5" y="25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4" name="Freeform 519"/>
            <p:cNvSpPr>
              <a:spLocks/>
            </p:cNvSpPr>
            <p:nvPr/>
          </p:nvSpPr>
          <p:spPr bwMode="auto">
            <a:xfrm>
              <a:off x="6063765" y="1801257"/>
              <a:ext cx="312557" cy="220628"/>
            </a:xfrm>
            <a:custGeom>
              <a:avLst/>
              <a:gdLst>
                <a:gd name="T0" fmla="*/ 75 w 187"/>
                <a:gd name="T1" fmla="*/ 2 h 132"/>
                <a:gd name="T2" fmla="*/ 75 w 187"/>
                <a:gd name="T3" fmla="*/ 4 h 132"/>
                <a:gd name="T4" fmla="*/ 84 w 187"/>
                <a:gd name="T5" fmla="*/ 11 h 132"/>
                <a:gd name="T6" fmla="*/ 151 w 187"/>
                <a:gd name="T7" fmla="*/ 11 h 132"/>
                <a:gd name="T8" fmla="*/ 158 w 187"/>
                <a:gd name="T9" fmla="*/ 13 h 132"/>
                <a:gd name="T10" fmla="*/ 164 w 187"/>
                <a:gd name="T11" fmla="*/ 20 h 132"/>
                <a:gd name="T12" fmla="*/ 171 w 187"/>
                <a:gd name="T13" fmla="*/ 33 h 132"/>
                <a:gd name="T14" fmla="*/ 176 w 187"/>
                <a:gd name="T15" fmla="*/ 42 h 132"/>
                <a:gd name="T16" fmla="*/ 164 w 187"/>
                <a:gd name="T17" fmla="*/ 58 h 132"/>
                <a:gd name="T18" fmla="*/ 171 w 187"/>
                <a:gd name="T19" fmla="*/ 60 h 132"/>
                <a:gd name="T20" fmla="*/ 173 w 187"/>
                <a:gd name="T21" fmla="*/ 65 h 132"/>
                <a:gd name="T22" fmla="*/ 173 w 187"/>
                <a:gd name="T23" fmla="*/ 72 h 132"/>
                <a:gd name="T24" fmla="*/ 176 w 187"/>
                <a:gd name="T25" fmla="*/ 76 h 132"/>
                <a:gd name="T26" fmla="*/ 178 w 187"/>
                <a:gd name="T27" fmla="*/ 81 h 132"/>
                <a:gd name="T28" fmla="*/ 182 w 187"/>
                <a:gd name="T29" fmla="*/ 90 h 132"/>
                <a:gd name="T30" fmla="*/ 187 w 187"/>
                <a:gd name="T31" fmla="*/ 94 h 132"/>
                <a:gd name="T32" fmla="*/ 180 w 187"/>
                <a:gd name="T33" fmla="*/ 101 h 132"/>
                <a:gd name="T34" fmla="*/ 167 w 187"/>
                <a:gd name="T35" fmla="*/ 114 h 132"/>
                <a:gd name="T36" fmla="*/ 167 w 187"/>
                <a:gd name="T37" fmla="*/ 128 h 132"/>
                <a:gd name="T38" fmla="*/ 169 w 187"/>
                <a:gd name="T39" fmla="*/ 132 h 132"/>
                <a:gd name="T40" fmla="*/ 158 w 187"/>
                <a:gd name="T41" fmla="*/ 130 h 132"/>
                <a:gd name="T42" fmla="*/ 149 w 187"/>
                <a:gd name="T43" fmla="*/ 123 h 132"/>
                <a:gd name="T44" fmla="*/ 138 w 187"/>
                <a:gd name="T45" fmla="*/ 123 h 132"/>
                <a:gd name="T46" fmla="*/ 133 w 187"/>
                <a:gd name="T47" fmla="*/ 126 h 132"/>
                <a:gd name="T48" fmla="*/ 124 w 187"/>
                <a:gd name="T49" fmla="*/ 123 h 132"/>
                <a:gd name="T50" fmla="*/ 117 w 187"/>
                <a:gd name="T51" fmla="*/ 128 h 132"/>
                <a:gd name="T52" fmla="*/ 113 w 187"/>
                <a:gd name="T53" fmla="*/ 128 h 132"/>
                <a:gd name="T54" fmla="*/ 108 w 187"/>
                <a:gd name="T55" fmla="*/ 123 h 132"/>
                <a:gd name="T56" fmla="*/ 102 w 187"/>
                <a:gd name="T57" fmla="*/ 123 h 132"/>
                <a:gd name="T58" fmla="*/ 97 w 187"/>
                <a:gd name="T59" fmla="*/ 123 h 132"/>
                <a:gd name="T60" fmla="*/ 90 w 187"/>
                <a:gd name="T61" fmla="*/ 117 h 132"/>
                <a:gd name="T62" fmla="*/ 84 w 187"/>
                <a:gd name="T63" fmla="*/ 112 h 132"/>
                <a:gd name="T64" fmla="*/ 77 w 187"/>
                <a:gd name="T65" fmla="*/ 110 h 132"/>
                <a:gd name="T66" fmla="*/ 72 w 187"/>
                <a:gd name="T67" fmla="*/ 108 h 132"/>
                <a:gd name="T68" fmla="*/ 72 w 187"/>
                <a:gd name="T69" fmla="*/ 105 h 132"/>
                <a:gd name="T70" fmla="*/ 66 w 187"/>
                <a:gd name="T71" fmla="*/ 105 h 132"/>
                <a:gd name="T72" fmla="*/ 61 w 187"/>
                <a:gd name="T73" fmla="*/ 103 h 132"/>
                <a:gd name="T74" fmla="*/ 57 w 187"/>
                <a:gd name="T75" fmla="*/ 103 h 132"/>
                <a:gd name="T76" fmla="*/ 57 w 187"/>
                <a:gd name="T77" fmla="*/ 105 h 132"/>
                <a:gd name="T78" fmla="*/ 48 w 187"/>
                <a:gd name="T79" fmla="*/ 103 h 132"/>
                <a:gd name="T80" fmla="*/ 43 w 187"/>
                <a:gd name="T81" fmla="*/ 99 h 132"/>
                <a:gd name="T82" fmla="*/ 48 w 187"/>
                <a:gd name="T83" fmla="*/ 96 h 132"/>
                <a:gd name="T84" fmla="*/ 39 w 187"/>
                <a:gd name="T85" fmla="*/ 96 h 132"/>
                <a:gd name="T86" fmla="*/ 27 w 187"/>
                <a:gd name="T87" fmla="*/ 92 h 132"/>
                <a:gd name="T88" fmla="*/ 23 w 187"/>
                <a:gd name="T89" fmla="*/ 87 h 132"/>
                <a:gd name="T90" fmla="*/ 21 w 187"/>
                <a:gd name="T91" fmla="*/ 87 h 132"/>
                <a:gd name="T92" fmla="*/ 21 w 187"/>
                <a:gd name="T93" fmla="*/ 85 h 132"/>
                <a:gd name="T94" fmla="*/ 18 w 187"/>
                <a:gd name="T95" fmla="*/ 76 h 132"/>
                <a:gd name="T96" fmla="*/ 12 w 187"/>
                <a:gd name="T97" fmla="*/ 69 h 132"/>
                <a:gd name="T98" fmla="*/ 14 w 187"/>
                <a:gd name="T99" fmla="*/ 60 h 132"/>
                <a:gd name="T100" fmla="*/ 12 w 187"/>
                <a:gd name="T101" fmla="*/ 51 h 132"/>
                <a:gd name="T102" fmla="*/ 0 w 187"/>
                <a:gd name="T103" fmla="*/ 42 h 132"/>
                <a:gd name="T104" fmla="*/ 5 w 187"/>
                <a:gd name="T105" fmla="*/ 36 h 132"/>
                <a:gd name="T106" fmla="*/ 3 w 187"/>
                <a:gd name="T107" fmla="*/ 24 h 132"/>
                <a:gd name="T108" fmla="*/ 7 w 187"/>
                <a:gd name="T109" fmla="*/ 29 h 132"/>
                <a:gd name="T110" fmla="*/ 7 w 187"/>
                <a:gd name="T111" fmla="*/ 22 h 132"/>
                <a:gd name="T112" fmla="*/ 5 w 187"/>
                <a:gd name="T113" fmla="*/ 20 h 132"/>
                <a:gd name="T114" fmla="*/ 3 w 187"/>
                <a:gd name="T115" fmla="*/ 22 h 132"/>
                <a:gd name="T116" fmla="*/ 9 w 187"/>
                <a:gd name="T117" fmla="*/ 18 h 132"/>
                <a:gd name="T118" fmla="*/ 34 w 187"/>
                <a:gd name="T119" fmla="*/ 11 h 132"/>
                <a:gd name="T120" fmla="*/ 39 w 187"/>
                <a:gd name="T121" fmla="*/ 9 h 132"/>
                <a:gd name="T122" fmla="*/ 70 w 187"/>
                <a:gd name="T123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7" h="132">
                  <a:moveTo>
                    <a:pt x="72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5" y="2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90" y="11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102" y="9"/>
                  </a:lnTo>
                  <a:lnTo>
                    <a:pt x="108" y="9"/>
                  </a:lnTo>
                  <a:lnTo>
                    <a:pt x="117" y="11"/>
                  </a:lnTo>
                  <a:lnTo>
                    <a:pt x="124" y="11"/>
                  </a:lnTo>
                  <a:lnTo>
                    <a:pt x="133" y="11"/>
                  </a:lnTo>
                  <a:lnTo>
                    <a:pt x="142" y="11"/>
                  </a:lnTo>
                  <a:lnTo>
                    <a:pt x="147" y="11"/>
                  </a:lnTo>
                  <a:lnTo>
                    <a:pt x="149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1"/>
                  </a:lnTo>
                  <a:lnTo>
                    <a:pt x="158" y="11"/>
                  </a:lnTo>
                  <a:lnTo>
                    <a:pt x="158" y="13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62" y="13"/>
                  </a:lnTo>
                  <a:lnTo>
                    <a:pt x="162" y="13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7" y="22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4"/>
                  </a:lnTo>
                  <a:lnTo>
                    <a:pt x="167" y="27"/>
                  </a:lnTo>
                  <a:lnTo>
                    <a:pt x="167" y="27"/>
                  </a:lnTo>
                  <a:lnTo>
                    <a:pt x="169" y="31"/>
                  </a:lnTo>
                  <a:lnTo>
                    <a:pt x="171" y="33"/>
                  </a:lnTo>
                  <a:lnTo>
                    <a:pt x="171" y="33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6" y="38"/>
                  </a:lnTo>
                  <a:lnTo>
                    <a:pt x="176" y="38"/>
                  </a:lnTo>
                  <a:lnTo>
                    <a:pt x="173" y="38"/>
                  </a:lnTo>
                  <a:lnTo>
                    <a:pt x="173" y="40"/>
                  </a:lnTo>
                  <a:lnTo>
                    <a:pt x="173" y="40"/>
                  </a:lnTo>
                  <a:lnTo>
                    <a:pt x="173" y="40"/>
                  </a:lnTo>
                  <a:lnTo>
                    <a:pt x="173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2"/>
                  </a:lnTo>
                  <a:lnTo>
                    <a:pt x="176" y="45"/>
                  </a:lnTo>
                  <a:lnTo>
                    <a:pt x="176" y="45"/>
                  </a:lnTo>
                  <a:lnTo>
                    <a:pt x="176" y="45"/>
                  </a:lnTo>
                  <a:lnTo>
                    <a:pt x="176" y="47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3" y="49"/>
                  </a:lnTo>
                  <a:lnTo>
                    <a:pt x="171" y="51"/>
                  </a:lnTo>
                  <a:lnTo>
                    <a:pt x="169" y="51"/>
                  </a:lnTo>
                  <a:lnTo>
                    <a:pt x="167" y="54"/>
                  </a:lnTo>
                  <a:lnTo>
                    <a:pt x="167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7" y="58"/>
                  </a:lnTo>
                  <a:lnTo>
                    <a:pt x="167" y="58"/>
                  </a:lnTo>
                  <a:lnTo>
                    <a:pt x="167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1" y="60"/>
                  </a:lnTo>
                  <a:lnTo>
                    <a:pt x="173" y="60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6" y="74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78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6" y="81"/>
                  </a:lnTo>
                  <a:lnTo>
                    <a:pt x="178" y="81"/>
                  </a:lnTo>
                  <a:lnTo>
                    <a:pt x="178" y="83"/>
                  </a:lnTo>
                  <a:lnTo>
                    <a:pt x="178" y="83"/>
                  </a:lnTo>
                  <a:lnTo>
                    <a:pt x="180" y="83"/>
                  </a:lnTo>
                  <a:lnTo>
                    <a:pt x="180" y="83"/>
                  </a:lnTo>
                  <a:lnTo>
                    <a:pt x="180" y="85"/>
                  </a:lnTo>
                  <a:lnTo>
                    <a:pt x="180" y="85"/>
                  </a:lnTo>
                  <a:lnTo>
                    <a:pt x="180" y="85"/>
                  </a:lnTo>
                  <a:lnTo>
                    <a:pt x="180" y="85"/>
                  </a:lnTo>
                  <a:lnTo>
                    <a:pt x="182" y="85"/>
                  </a:lnTo>
                  <a:lnTo>
                    <a:pt x="182" y="85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90"/>
                  </a:lnTo>
                  <a:lnTo>
                    <a:pt x="185" y="90"/>
                  </a:lnTo>
                  <a:lnTo>
                    <a:pt x="187" y="90"/>
                  </a:lnTo>
                  <a:lnTo>
                    <a:pt x="187" y="90"/>
                  </a:lnTo>
                  <a:lnTo>
                    <a:pt x="187" y="92"/>
                  </a:lnTo>
                  <a:lnTo>
                    <a:pt x="187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2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6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99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85" y="101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0" y="103"/>
                  </a:lnTo>
                  <a:lnTo>
                    <a:pt x="180" y="103"/>
                  </a:lnTo>
                  <a:lnTo>
                    <a:pt x="178" y="103"/>
                  </a:lnTo>
                  <a:lnTo>
                    <a:pt x="178" y="105"/>
                  </a:lnTo>
                  <a:lnTo>
                    <a:pt x="178" y="105"/>
                  </a:lnTo>
                  <a:lnTo>
                    <a:pt x="178" y="105"/>
                  </a:lnTo>
                  <a:lnTo>
                    <a:pt x="178" y="105"/>
                  </a:lnTo>
                  <a:lnTo>
                    <a:pt x="176" y="105"/>
                  </a:lnTo>
                  <a:lnTo>
                    <a:pt x="176" y="105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2"/>
                  </a:lnTo>
                  <a:lnTo>
                    <a:pt x="169" y="114"/>
                  </a:lnTo>
                  <a:lnTo>
                    <a:pt x="169" y="114"/>
                  </a:lnTo>
                  <a:lnTo>
                    <a:pt x="169" y="114"/>
                  </a:lnTo>
                  <a:lnTo>
                    <a:pt x="169" y="114"/>
                  </a:lnTo>
                  <a:lnTo>
                    <a:pt x="167" y="114"/>
                  </a:lnTo>
                  <a:lnTo>
                    <a:pt x="167" y="114"/>
                  </a:lnTo>
                  <a:lnTo>
                    <a:pt x="167" y="114"/>
                  </a:lnTo>
                  <a:lnTo>
                    <a:pt x="167" y="114"/>
                  </a:lnTo>
                  <a:lnTo>
                    <a:pt x="167" y="114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67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21"/>
                  </a:lnTo>
                  <a:lnTo>
                    <a:pt x="162" y="121"/>
                  </a:lnTo>
                  <a:lnTo>
                    <a:pt x="164" y="121"/>
                  </a:lnTo>
                  <a:lnTo>
                    <a:pt x="164" y="121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6"/>
                  </a:lnTo>
                  <a:lnTo>
                    <a:pt x="167" y="128"/>
                  </a:lnTo>
                  <a:lnTo>
                    <a:pt x="167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30"/>
                  </a:lnTo>
                  <a:lnTo>
                    <a:pt x="164" y="130"/>
                  </a:lnTo>
                  <a:lnTo>
                    <a:pt x="164" y="130"/>
                  </a:lnTo>
                  <a:lnTo>
                    <a:pt x="164" y="130"/>
                  </a:lnTo>
                  <a:lnTo>
                    <a:pt x="164" y="130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9" y="130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7" y="132"/>
                  </a:lnTo>
                  <a:lnTo>
                    <a:pt x="164" y="132"/>
                  </a:lnTo>
                  <a:lnTo>
                    <a:pt x="164" y="132"/>
                  </a:lnTo>
                  <a:lnTo>
                    <a:pt x="164" y="132"/>
                  </a:lnTo>
                  <a:lnTo>
                    <a:pt x="164" y="132"/>
                  </a:lnTo>
                  <a:lnTo>
                    <a:pt x="164" y="132"/>
                  </a:lnTo>
                  <a:lnTo>
                    <a:pt x="162" y="130"/>
                  </a:lnTo>
                  <a:lnTo>
                    <a:pt x="162" y="132"/>
                  </a:lnTo>
                  <a:lnTo>
                    <a:pt x="162" y="132"/>
                  </a:lnTo>
                  <a:lnTo>
                    <a:pt x="160" y="130"/>
                  </a:lnTo>
                  <a:lnTo>
                    <a:pt x="160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8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5" y="128"/>
                  </a:lnTo>
                  <a:lnTo>
                    <a:pt x="153" y="128"/>
                  </a:lnTo>
                  <a:lnTo>
                    <a:pt x="153" y="128"/>
                  </a:lnTo>
                  <a:lnTo>
                    <a:pt x="153" y="128"/>
                  </a:lnTo>
                  <a:lnTo>
                    <a:pt x="151" y="128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49" y="123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49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7" y="123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8" y="123"/>
                  </a:lnTo>
                  <a:lnTo>
                    <a:pt x="135" y="123"/>
                  </a:lnTo>
                  <a:lnTo>
                    <a:pt x="135" y="123"/>
                  </a:lnTo>
                  <a:lnTo>
                    <a:pt x="135" y="123"/>
                  </a:lnTo>
                  <a:lnTo>
                    <a:pt x="135" y="123"/>
                  </a:lnTo>
                  <a:lnTo>
                    <a:pt x="135" y="123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5" y="123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5" y="126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3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29" y="126"/>
                  </a:lnTo>
                  <a:lnTo>
                    <a:pt x="129" y="123"/>
                  </a:lnTo>
                  <a:lnTo>
                    <a:pt x="129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6" y="123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4" y="126"/>
                  </a:lnTo>
                  <a:lnTo>
                    <a:pt x="124" y="123"/>
                  </a:lnTo>
                  <a:lnTo>
                    <a:pt x="124" y="123"/>
                  </a:lnTo>
                  <a:lnTo>
                    <a:pt x="124" y="123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2" y="123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20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30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1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8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11" y="123"/>
                  </a:lnTo>
                  <a:lnTo>
                    <a:pt x="111" y="123"/>
                  </a:lnTo>
                  <a:lnTo>
                    <a:pt x="111" y="123"/>
                  </a:lnTo>
                  <a:lnTo>
                    <a:pt x="111" y="123"/>
                  </a:lnTo>
                  <a:lnTo>
                    <a:pt x="111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6" y="121"/>
                  </a:lnTo>
                  <a:lnTo>
                    <a:pt x="106" y="121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4" y="119"/>
                  </a:lnTo>
                  <a:lnTo>
                    <a:pt x="104" y="119"/>
                  </a:lnTo>
                  <a:lnTo>
                    <a:pt x="104" y="119"/>
                  </a:lnTo>
                  <a:lnTo>
                    <a:pt x="104" y="119"/>
                  </a:lnTo>
                  <a:lnTo>
                    <a:pt x="104" y="121"/>
                  </a:lnTo>
                  <a:lnTo>
                    <a:pt x="104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102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9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7" y="123"/>
                  </a:lnTo>
                  <a:lnTo>
                    <a:pt x="95" y="123"/>
                  </a:lnTo>
                  <a:lnTo>
                    <a:pt x="95" y="121"/>
                  </a:lnTo>
                  <a:lnTo>
                    <a:pt x="97" y="121"/>
                  </a:lnTo>
                  <a:lnTo>
                    <a:pt x="95" y="121"/>
                  </a:lnTo>
                  <a:lnTo>
                    <a:pt x="93" y="121"/>
                  </a:lnTo>
                  <a:lnTo>
                    <a:pt x="93" y="121"/>
                  </a:lnTo>
                  <a:lnTo>
                    <a:pt x="93" y="121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9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4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0"/>
                  </a:lnTo>
                  <a:lnTo>
                    <a:pt x="81" y="110"/>
                  </a:lnTo>
                  <a:lnTo>
                    <a:pt x="79" y="110"/>
                  </a:lnTo>
                  <a:lnTo>
                    <a:pt x="79" y="110"/>
                  </a:lnTo>
                  <a:lnTo>
                    <a:pt x="79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5" y="110"/>
                  </a:lnTo>
                  <a:lnTo>
                    <a:pt x="75" y="110"/>
                  </a:lnTo>
                  <a:lnTo>
                    <a:pt x="75" y="110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68" y="103"/>
                  </a:lnTo>
                  <a:lnTo>
                    <a:pt x="68" y="103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5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5"/>
                  </a:lnTo>
                  <a:lnTo>
                    <a:pt x="50" y="105"/>
                  </a:lnTo>
                  <a:lnTo>
                    <a:pt x="50" y="105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9" y="94"/>
                  </a:lnTo>
                  <a:lnTo>
                    <a:pt x="39" y="94"/>
                  </a:lnTo>
                  <a:lnTo>
                    <a:pt x="39" y="94"/>
                  </a:lnTo>
                  <a:lnTo>
                    <a:pt x="39" y="94"/>
                  </a:lnTo>
                  <a:lnTo>
                    <a:pt x="39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4" y="92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0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7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18" y="81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4" y="60"/>
                  </a:lnTo>
                  <a:lnTo>
                    <a:pt x="14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9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9" y="51"/>
                  </a:lnTo>
                  <a:lnTo>
                    <a:pt x="9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3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9" y="18"/>
                  </a:lnTo>
                  <a:lnTo>
                    <a:pt x="14" y="18"/>
                  </a:lnTo>
                  <a:lnTo>
                    <a:pt x="18" y="15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30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6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4" y="2"/>
                  </a:lnTo>
                  <a:lnTo>
                    <a:pt x="61" y="2"/>
                  </a:lnTo>
                  <a:lnTo>
                    <a:pt x="63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C90068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5" name="Freeform 520"/>
            <p:cNvSpPr>
              <a:spLocks noEditPoints="1"/>
            </p:cNvSpPr>
            <p:nvPr/>
          </p:nvSpPr>
          <p:spPr bwMode="auto">
            <a:xfrm>
              <a:off x="9740900" y="3225311"/>
              <a:ext cx="337628" cy="556584"/>
            </a:xfrm>
            <a:custGeom>
              <a:avLst/>
              <a:gdLst>
                <a:gd name="T0" fmla="*/ 65 w 202"/>
                <a:gd name="T1" fmla="*/ 324 h 333"/>
                <a:gd name="T2" fmla="*/ 105 w 202"/>
                <a:gd name="T3" fmla="*/ 301 h 333"/>
                <a:gd name="T4" fmla="*/ 79 w 202"/>
                <a:gd name="T5" fmla="*/ 294 h 333"/>
                <a:gd name="T6" fmla="*/ 184 w 202"/>
                <a:gd name="T7" fmla="*/ 274 h 333"/>
                <a:gd name="T8" fmla="*/ 0 w 202"/>
                <a:gd name="T9" fmla="*/ 249 h 333"/>
                <a:gd name="T10" fmla="*/ 137 w 202"/>
                <a:gd name="T11" fmla="*/ 225 h 333"/>
                <a:gd name="T12" fmla="*/ 180 w 202"/>
                <a:gd name="T13" fmla="*/ 216 h 333"/>
                <a:gd name="T14" fmla="*/ 195 w 202"/>
                <a:gd name="T15" fmla="*/ 240 h 333"/>
                <a:gd name="T16" fmla="*/ 195 w 202"/>
                <a:gd name="T17" fmla="*/ 281 h 333"/>
                <a:gd name="T18" fmla="*/ 186 w 202"/>
                <a:gd name="T19" fmla="*/ 301 h 333"/>
                <a:gd name="T20" fmla="*/ 150 w 202"/>
                <a:gd name="T21" fmla="*/ 274 h 333"/>
                <a:gd name="T22" fmla="*/ 128 w 202"/>
                <a:gd name="T23" fmla="*/ 263 h 333"/>
                <a:gd name="T24" fmla="*/ 110 w 202"/>
                <a:gd name="T25" fmla="*/ 279 h 333"/>
                <a:gd name="T26" fmla="*/ 132 w 202"/>
                <a:gd name="T27" fmla="*/ 238 h 333"/>
                <a:gd name="T28" fmla="*/ 157 w 202"/>
                <a:gd name="T29" fmla="*/ 240 h 333"/>
                <a:gd name="T30" fmla="*/ 175 w 202"/>
                <a:gd name="T31" fmla="*/ 220 h 333"/>
                <a:gd name="T32" fmla="*/ 155 w 202"/>
                <a:gd name="T33" fmla="*/ 204 h 333"/>
                <a:gd name="T34" fmla="*/ 171 w 202"/>
                <a:gd name="T35" fmla="*/ 207 h 333"/>
                <a:gd name="T36" fmla="*/ 175 w 202"/>
                <a:gd name="T37" fmla="*/ 198 h 333"/>
                <a:gd name="T38" fmla="*/ 110 w 202"/>
                <a:gd name="T39" fmla="*/ 193 h 333"/>
                <a:gd name="T40" fmla="*/ 126 w 202"/>
                <a:gd name="T41" fmla="*/ 216 h 333"/>
                <a:gd name="T42" fmla="*/ 119 w 202"/>
                <a:gd name="T43" fmla="*/ 189 h 333"/>
                <a:gd name="T44" fmla="*/ 137 w 202"/>
                <a:gd name="T45" fmla="*/ 204 h 333"/>
                <a:gd name="T46" fmla="*/ 137 w 202"/>
                <a:gd name="T47" fmla="*/ 177 h 333"/>
                <a:gd name="T48" fmla="*/ 34 w 202"/>
                <a:gd name="T49" fmla="*/ 207 h 333"/>
                <a:gd name="T50" fmla="*/ 4 w 202"/>
                <a:gd name="T51" fmla="*/ 243 h 333"/>
                <a:gd name="T52" fmla="*/ 34 w 202"/>
                <a:gd name="T53" fmla="*/ 202 h 333"/>
                <a:gd name="T54" fmla="*/ 40 w 202"/>
                <a:gd name="T55" fmla="*/ 184 h 333"/>
                <a:gd name="T56" fmla="*/ 45 w 202"/>
                <a:gd name="T57" fmla="*/ 173 h 333"/>
                <a:gd name="T58" fmla="*/ 162 w 202"/>
                <a:gd name="T59" fmla="*/ 177 h 333"/>
                <a:gd name="T60" fmla="*/ 153 w 202"/>
                <a:gd name="T61" fmla="*/ 182 h 333"/>
                <a:gd name="T62" fmla="*/ 155 w 202"/>
                <a:gd name="T63" fmla="*/ 166 h 333"/>
                <a:gd name="T64" fmla="*/ 121 w 202"/>
                <a:gd name="T65" fmla="*/ 171 h 333"/>
                <a:gd name="T66" fmla="*/ 99 w 202"/>
                <a:gd name="T67" fmla="*/ 189 h 333"/>
                <a:gd name="T68" fmla="*/ 56 w 202"/>
                <a:gd name="T69" fmla="*/ 164 h 333"/>
                <a:gd name="T70" fmla="*/ 54 w 202"/>
                <a:gd name="T71" fmla="*/ 153 h 333"/>
                <a:gd name="T72" fmla="*/ 52 w 202"/>
                <a:gd name="T73" fmla="*/ 153 h 333"/>
                <a:gd name="T74" fmla="*/ 168 w 202"/>
                <a:gd name="T75" fmla="*/ 155 h 333"/>
                <a:gd name="T76" fmla="*/ 173 w 202"/>
                <a:gd name="T77" fmla="*/ 180 h 333"/>
                <a:gd name="T78" fmla="*/ 155 w 202"/>
                <a:gd name="T79" fmla="*/ 159 h 333"/>
                <a:gd name="T80" fmla="*/ 135 w 202"/>
                <a:gd name="T81" fmla="*/ 153 h 333"/>
                <a:gd name="T82" fmla="*/ 123 w 202"/>
                <a:gd name="T83" fmla="*/ 155 h 333"/>
                <a:gd name="T84" fmla="*/ 130 w 202"/>
                <a:gd name="T85" fmla="*/ 144 h 333"/>
                <a:gd name="T86" fmla="*/ 137 w 202"/>
                <a:gd name="T87" fmla="*/ 130 h 333"/>
                <a:gd name="T88" fmla="*/ 79 w 202"/>
                <a:gd name="T89" fmla="*/ 128 h 333"/>
                <a:gd name="T90" fmla="*/ 72 w 202"/>
                <a:gd name="T91" fmla="*/ 146 h 333"/>
                <a:gd name="T92" fmla="*/ 94 w 202"/>
                <a:gd name="T93" fmla="*/ 123 h 333"/>
                <a:gd name="T94" fmla="*/ 126 w 202"/>
                <a:gd name="T95" fmla="*/ 112 h 333"/>
                <a:gd name="T96" fmla="*/ 135 w 202"/>
                <a:gd name="T97" fmla="*/ 110 h 333"/>
                <a:gd name="T98" fmla="*/ 88 w 202"/>
                <a:gd name="T99" fmla="*/ 94 h 333"/>
                <a:gd name="T100" fmla="*/ 88 w 202"/>
                <a:gd name="T101" fmla="*/ 34 h 333"/>
                <a:gd name="T102" fmla="*/ 76 w 202"/>
                <a:gd name="T103" fmla="*/ 65 h 333"/>
                <a:gd name="T104" fmla="*/ 94 w 202"/>
                <a:gd name="T105" fmla="*/ 105 h 333"/>
                <a:gd name="T106" fmla="*/ 112 w 202"/>
                <a:gd name="T107" fmla="*/ 110 h 333"/>
                <a:gd name="T108" fmla="*/ 132 w 202"/>
                <a:gd name="T109" fmla="*/ 117 h 333"/>
                <a:gd name="T110" fmla="*/ 137 w 202"/>
                <a:gd name="T111" fmla="*/ 137 h 333"/>
                <a:gd name="T112" fmla="*/ 128 w 202"/>
                <a:gd name="T113" fmla="*/ 137 h 333"/>
                <a:gd name="T114" fmla="*/ 105 w 202"/>
                <a:gd name="T115" fmla="*/ 123 h 333"/>
                <a:gd name="T116" fmla="*/ 72 w 202"/>
                <a:gd name="T117" fmla="*/ 119 h 333"/>
                <a:gd name="T118" fmla="*/ 63 w 202"/>
                <a:gd name="T119" fmla="*/ 92 h 333"/>
                <a:gd name="T120" fmla="*/ 45 w 202"/>
                <a:gd name="T121" fmla="*/ 81 h 333"/>
                <a:gd name="T122" fmla="*/ 49 w 202"/>
                <a:gd name="T123" fmla="*/ 61 h 333"/>
                <a:gd name="T124" fmla="*/ 47 w 202"/>
                <a:gd name="T12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333">
                  <a:moveTo>
                    <a:pt x="65" y="330"/>
                  </a:moveTo>
                  <a:lnTo>
                    <a:pt x="65" y="330"/>
                  </a:lnTo>
                  <a:lnTo>
                    <a:pt x="63" y="330"/>
                  </a:lnTo>
                  <a:lnTo>
                    <a:pt x="63" y="330"/>
                  </a:lnTo>
                  <a:lnTo>
                    <a:pt x="65" y="328"/>
                  </a:lnTo>
                  <a:lnTo>
                    <a:pt x="65" y="330"/>
                  </a:lnTo>
                  <a:lnTo>
                    <a:pt x="65" y="330"/>
                  </a:lnTo>
                  <a:lnTo>
                    <a:pt x="65" y="330"/>
                  </a:lnTo>
                  <a:close/>
                  <a:moveTo>
                    <a:pt x="56" y="333"/>
                  </a:moveTo>
                  <a:lnTo>
                    <a:pt x="56" y="333"/>
                  </a:lnTo>
                  <a:lnTo>
                    <a:pt x="56" y="333"/>
                  </a:lnTo>
                  <a:lnTo>
                    <a:pt x="56" y="330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28"/>
                  </a:lnTo>
                  <a:lnTo>
                    <a:pt x="56" y="330"/>
                  </a:lnTo>
                  <a:lnTo>
                    <a:pt x="56" y="330"/>
                  </a:lnTo>
                  <a:lnTo>
                    <a:pt x="56" y="330"/>
                  </a:lnTo>
                  <a:lnTo>
                    <a:pt x="56" y="330"/>
                  </a:lnTo>
                  <a:lnTo>
                    <a:pt x="56" y="330"/>
                  </a:lnTo>
                  <a:lnTo>
                    <a:pt x="56" y="333"/>
                  </a:lnTo>
                  <a:close/>
                  <a:moveTo>
                    <a:pt x="65" y="328"/>
                  </a:moveTo>
                  <a:lnTo>
                    <a:pt x="63" y="328"/>
                  </a:lnTo>
                  <a:lnTo>
                    <a:pt x="63" y="328"/>
                  </a:lnTo>
                  <a:lnTo>
                    <a:pt x="63" y="328"/>
                  </a:lnTo>
                  <a:lnTo>
                    <a:pt x="63" y="326"/>
                  </a:lnTo>
                  <a:lnTo>
                    <a:pt x="63" y="326"/>
                  </a:lnTo>
                  <a:lnTo>
                    <a:pt x="63" y="326"/>
                  </a:lnTo>
                  <a:lnTo>
                    <a:pt x="63" y="326"/>
                  </a:lnTo>
                  <a:lnTo>
                    <a:pt x="65" y="328"/>
                  </a:lnTo>
                  <a:lnTo>
                    <a:pt x="65" y="328"/>
                  </a:lnTo>
                  <a:lnTo>
                    <a:pt x="65" y="328"/>
                  </a:lnTo>
                  <a:lnTo>
                    <a:pt x="65" y="328"/>
                  </a:lnTo>
                  <a:lnTo>
                    <a:pt x="65" y="328"/>
                  </a:lnTo>
                  <a:close/>
                  <a:moveTo>
                    <a:pt x="63" y="324"/>
                  </a:move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1"/>
                  </a:lnTo>
                  <a:lnTo>
                    <a:pt x="63" y="321"/>
                  </a:lnTo>
                  <a:lnTo>
                    <a:pt x="63" y="321"/>
                  </a:lnTo>
                  <a:lnTo>
                    <a:pt x="63" y="321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close/>
                  <a:moveTo>
                    <a:pt x="72" y="319"/>
                  </a:moveTo>
                  <a:lnTo>
                    <a:pt x="72" y="319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21"/>
                  </a:lnTo>
                  <a:lnTo>
                    <a:pt x="72" y="319"/>
                  </a:lnTo>
                  <a:lnTo>
                    <a:pt x="72" y="319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70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1"/>
                  </a:lnTo>
                  <a:lnTo>
                    <a:pt x="67" y="324"/>
                  </a:lnTo>
                  <a:lnTo>
                    <a:pt x="67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5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4"/>
                  </a:lnTo>
                  <a:lnTo>
                    <a:pt x="63" y="321"/>
                  </a:lnTo>
                  <a:lnTo>
                    <a:pt x="63" y="321"/>
                  </a:lnTo>
                  <a:lnTo>
                    <a:pt x="63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21"/>
                  </a:lnTo>
                  <a:lnTo>
                    <a:pt x="65" y="321"/>
                  </a:lnTo>
                  <a:lnTo>
                    <a:pt x="65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67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70" y="319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70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9"/>
                  </a:lnTo>
                  <a:lnTo>
                    <a:pt x="72" y="319"/>
                  </a:lnTo>
                  <a:close/>
                  <a:moveTo>
                    <a:pt x="180" y="317"/>
                  </a:moveTo>
                  <a:lnTo>
                    <a:pt x="180" y="317"/>
                  </a:lnTo>
                  <a:lnTo>
                    <a:pt x="180" y="317"/>
                  </a:lnTo>
                  <a:lnTo>
                    <a:pt x="180" y="317"/>
                  </a:lnTo>
                  <a:lnTo>
                    <a:pt x="180" y="317"/>
                  </a:lnTo>
                  <a:lnTo>
                    <a:pt x="180" y="317"/>
                  </a:lnTo>
                  <a:lnTo>
                    <a:pt x="180" y="317"/>
                  </a:lnTo>
                  <a:lnTo>
                    <a:pt x="180" y="317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5"/>
                  </a:lnTo>
                  <a:lnTo>
                    <a:pt x="180" y="317"/>
                  </a:lnTo>
                  <a:close/>
                  <a:moveTo>
                    <a:pt x="85" y="312"/>
                  </a:moveTo>
                  <a:lnTo>
                    <a:pt x="85" y="312"/>
                  </a:lnTo>
                  <a:lnTo>
                    <a:pt x="85" y="312"/>
                  </a:lnTo>
                  <a:lnTo>
                    <a:pt x="85" y="312"/>
                  </a:lnTo>
                  <a:lnTo>
                    <a:pt x="83" y="312"/>
                  </a:lnTo>
                  <a:lnTo>
                    <a:pt x="83" y="312"/>
                  </a:lnTo>
                  <a:lnTo>
                    <a:pt x="83" y="312"/>
                  </a:lnTo>
                  <a:lnTo>
                    <a:pt x="83" y="312"/>
                  </a:lnTo>
                  <a:lnTo>
                    <a:pt x="83" y="312"/>
                  </a:lnTo>
                  <a:lnTo>
                    <a:pt x="85" y="312"/>
                  </a:lnTo>
                  <a:lnTo>
                    <a:pt x="85" y="312"/>
                  </a:lnTo>
                  <a:lnTo>
                    <a:pt x="85" y="312"/>
                  </a:lnTo>
                  <a:lnTo>
                    <a:pt x="85" y="312"/>
                  </a:lnTo>
                  <a:lnTo>
                    <a:pt x="85" y="312"/>
                  </a:lnTo>
                  <a:lnTo>
                    <a:pt x="85" y="312"/>
                  </a:lnTo>
                  <a:lnTo>
                    <a:pt x="85" y="312"/>
                  </a:lnTo>
                  <a:close/>
                  <a:moveTo>
                    <a:pt x="83" y="310"/>
                  </a:moveTo>
                  <a:lnTo>
                    <a:pt x="83" y="310"/>
                  </a:lnTo>
                  <a:lnTo>
                    <a:pt x="83" y="310"/>
                  </a:lnTo>
                  <a:lnTo>
                    <a:pt x="83" y="308"/>
                  </a:lnTo>
                  <a:lnTo>
                    <a:pt x="83" y="308"/>
                  </a:lnTo>
                  <a:lnTo>
                    <a:pt x="83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3" y="310"/>
                  </a:lnTo>
                  <a:lnTo>
                    <a:pt x="83" y="310"/>
                  </a:lnTo>
                  <a:close/>
                  <a:moveTo>
                    <a:pt x="85" y="308"/>
                  </a:move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lnTo>
                    <a:pt x="85" y="308"/>
                  </a:lnTo>
                  <a:close/>
                  <a:moveTo>
                    <a:pt x="92" y="306"/>
                  </a:moveTo>
                  <a:lnTo>
                    <a:pt x="92" y="306"/>
                  </a:lnTo>
                  <a:lnTo>
                    <a:pt x="92" y="306"/>
                  </a:lnTo>
                  <a:lnTo>
                    <a:pt x="90" y="306"/>
                  </a:lnTo>
                  <a:lnTo>
                    <a:pt x="90" y="306"/>
                  </a:lnTo>
                  <a:lnTo>
                    <a:pt x="90" y="306"/>
                  </a:lnTo>
                  <a:lnTo>
                    <a:pt x="90" y="306"/>
                  </a:lnTo>
                  <a:lnTo>
                    <a:pt x="90" y="306"/>
                  </a:lnTo>
                  <a:lnTo>
                    <a:pt x="90" y="306"/>
                  </a:lnTo>
                  <a:lnTo>
                    <a:pt x="90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2" y="306"/>
                  </a:lnTo>
                  <a:close/>
                  <a:moveTo>
                    <a:pt x="105" y="301"/>
                  </a:moveTo>
                  <a:lnTo>
                    <a:pt x="105" y="301"/>
                  </a:lnTo>
                  <a:lnTo>
                    <a:pt x="105" y="301"/>
                  </a:lnTo>
                  <a:lnTo>
                    <a:pt x="105" y="301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05" y="301"/>
                  </a:lnTo>
                  <a:lnTo>
                    <a:pt x="105" y="301"/>
                  </a:lnTo>
                  <a:lnTo>
                    <a:pt x="105" y="301"/>
                  </a:lnTo>
                  <a:lnTo>
                    <a:pt x="105" y="301"/>
                  </a:lnTo>
                  <a:lnTo>
                    <a:pt x="103" y="301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5" y="301"/>
                  </a:lnTo>
                  <a:close/>
                  <a:moveTo>
                    <a:pt x="88" y="299"/>
                  </a:moveTo>
                  <a:lnTo>
                    <a:pt x="88" y="299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2" y="301"/>
                  </a:lnTo>
                  <a:lnTo>
                    <a:pt x="92" y="301"/>
                  </a:lnTo>
                  <a:lnTo>
                    <a:pt x="92" y="301"/>
                  </a:lnTo>
                  <a:lnTo>
                    <a:pt x="92" y="301"/>
                  </a:lnTo>
                  <a:lnTo>
                    <a:pt x="92" y="301"/>
                  </a:lnTo>
                  <a:lnTo>
                    <a:pt x="94" y="301"/>
                  </a:lnTo>
                  <a:lnTo>
                    <a:pt x="94" y="301"/>
                  </a:lnTo>
                  <a:lnTo>
                    <a:pt x="94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7" y="301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7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4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2" y="303"/>
                  </a:lnTo>
                  <a:lnTo>
                    <a:pt x="90" y="303"/>
                  </a:lnTo>
                  <a:lnTo>
                    <a:pt x="90" y="303"/>
                  </a:lnTo>
                  <a:lnTo>
                    <a:pt x="90" y="303"/>
                  </a:lnTo>
                  <a:lnTo>
                    <a:pt x="90" y="303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88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3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301"/>
                  </a:lnTo>
                  <a:lnTo>
                    <a:pt x="85" y="299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88" y="299"/>
                  </a:lnTo>
                  <a:lnTo>
                    <a:pt x="88" y="299"/>
                  </a:lnTo>
                  <a:close/>
                  <a:moveTo>
                    <a:pt x="79" y="294"/>
                  </a:move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2"/>
                  </a:lnTo>
                  <a:lnTo>
                    <a:pt x="76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2"/>
                  </a:lnTo>
                  <a:lnTo>
                    <a:pt x="79" y="294"/>
                  </a:lnTo>
                  <a:lnTo>
                    <a:pt x="79" y="294"/>
                  </a:lnTo>
                  <a:lnTo>
                    <a:pt x="79" y="294"/>
                  </a:lnTo>
                  <a:lnTo>
                    <a:pt x="79" y="294"/>
                  </a:lnTo>
                  <a:close/>
                  <a:moveTo>
                    <a:pt x="99" y="288"/>
                  </a:move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8"/>
                  </a:lnTo>
                  <a:lnTo>
                    <a:pt x="99" y="288"/>
                  </a:lnTo>
                  <a:close/>
                  <a:moveTo>
                    <a:pt x="108" y="292"/>
                  </a:moveTo>
                  <a:lnTo>
                    <a:pt x="108" y="292"/>
                  </a:lnTo>
                  <a:lnTo>
                    <a:pt x="108" y="292"/>
                  </a:lnTo>
                  <a:lnTo>
                    <a:pt x="105" y="292"/>
                  </a:lnTo>
                  <a:lnTo>
                    <a:pt x="105" y="292"/>
                  </a:lnTo>
                  <a:lnTo>
                    <a:pt x="105" y="290"/>
                  </a:lnTo>
                  <a:lnTo>
                    <a:pt x="105" y="290"/>
                  </a:lnTo>
                  <a:lnTo>
                    <a:pt x="105" y="290"/>
                  </a:lnTo>
                  <a:lnTo>
                    <a:pt x="105" y="290"/>
                  </a:lnTo>
                  <a:lnTo>
                    <a:pt x="105" y="288"/>
                  </a:lnTo>
                  <a:lnTo>
                    <a:pt x="105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5"/>
                  </a:lnTo>
                  <a:lnTo>
                    <a:pt x="103" y="285"/>
                  </a:lnTo>
                  <a:lnTo>
                    <a:pt x="103" y="285"/>
                  </a:lnTo>
                  <a:lnTo>
                    <a:pt x="103" y="285"/>
                  </a:lnTo>
                  <a:lnTo>
                    <a:pt x="105" y="285"/>
                  </a:lnTo>
                  <a:lnTo>
                    <a:pt x="105" y="285"/>
                  </a:lnTo>
                  <a:lnTo>
                    <a:pt x="105" y="285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08" y="283"/>
                  </a:lnTo>
                  <a:lnTo>
                    <a:pt x="110" y="283"/>
                  </a:lnTo>
                  <a:lnTo>
                    <a:pt x="110" y="283"/>
                  </a:lnTo>
                  <a:lnTo>
                    <a:pt x="110" y="283"/>
                  </a:lnTo>
                  <a:lnTo>
                    <a:pt x="110" y="285"/>
                  </a:lnTo>
                  <a:lnTo>
                    <a:pt x="110" y="285"/>
                  </a:lnTo>
                  <a:lnTo>
                    <a:pt x="110" y="285"/>
                  </a:lnTo>
                  <a:lnTo>
                    <a:pt x="110" y="285"/>
                  </a:lnTo>
                  <a:lnTo>
                    <a:pt x="110" y="285"/>
                  </a:lnTo>
                  <a:lnTo>
                    <a:pt x="110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2" y="285"/>
                  </a:lnTo>
                  <a:lnTo>
                    <a:pt x="114" y="288"/>
                  </a:lnTo>
                  <a:lnTo>
                    <a:pt x="114" y="288"/>
                  </a:lnTo>
                  <a:lnTo>
                    <a:pt x="114" y="288"/>
                  </a:lnTo>
                  <a:lnTo>
                    <a:pt x="114" y="288"/>
                  </a:lnTo>
                  <a:lnTo>
                    <a:pt x="112" y="288"/>
                  </a:lnTo>
                  <a:lnTo>
                    <a:pt x="112" y="288"/>
                  </a:lnTo>
                  <a:lnTo>
                    <a:pt x="112" y="288"/>
                  </a:lnTo>
                  <a:lnTo>
                    <a:pt x="112" y="288"/>
                  </a:lnTo>
                  <a:lnTo>
                    <a:pt x="112" y="288"/>
                  </a:lnTo>
                  <a:lnTo>
                    <a:pt x="112" y="290"/>
                  </a:lnTo>
                  <a:lnTo>
                    <a:pt x="112" y="290"/>
                  </a:lnTo>
                  <a:lnTo>
                    <a:pt x="112" y="290"/>
                  </a:lnTo>
                  <a:lnTo>
                    <a:pt x="110" y="290"/>
                  </a:lnTo>
                  <a:lnTo>
                    <a:pt x="110" y="290"/>
                  </a:lnTo>
                  <a:lnTo>
                    <a:pt x="110" y="290"/>
                  </a:lnTo>
                  <a:lnTo>
                    <a:pt x="108" y="292"/>
                  </a:lnTo>
                  <a:close/>
                  <a:moveTo>
                    <a:pt x="34" y="276"/>
                  </a:move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9"/>
                  </a:lnTo>
                  <a:lnTo>
                    <a:pt x="34" y="279"/>
                  </a:lnTo>
                  <a:lnTo>
                    <a:pt x="34" y="279"/>
                  </a:lnTo>
                  <a:lnTo>
                    <a:pt x="34" y="279"/>
                  </a:lnTo>
                  <a:lnTo>
                    <a:pt x="31" y="279"/>
                  </a:lnTo>
                  <a:lnTo>
                    <a:pt x="31" y="279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1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lnTo>
                    <a:pt x="34" y="276"/>
                  </a:lnTo>
                  <a:close/>
                  <a:moveTo>
                    <a:pt x="186" y="279"/>
                  </a:moveTo>
                  <a:lnTo>
                    <a:pt x="186" y="281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6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6" y="274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close/>
                  <a:moveTo>
                    <a:pt x="126" y="267"/>
                  </a:moveTo>
                  <a:lnTo>
                    <a:pt x="126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6" y="267"/>
                  </a:lnTo>
                  <a:lnTo>
                    <a:pt x="126" y="267"/>
                  </a:lnTo>
                  <a:close/>
                  <a:moveTo>
                    <a:pt x="2" y="254"/>
                  </a:move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6"/>
                  </a:lnTo>
                  <a:lnTo>
                    <a:pt x="2" y="258"/>
                  </a:lnTo>
                  <a:lnTo>
                    <a:pt x="2" y="258"/>
                  </a:lnTo>
                  <a:lnTo>
                    <a:pt x="0" y="258"/>
                  </a:lnTo>
                  <a:lnTo>
                    <a:pt x="2" y="25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4"/>
                  </a:lnTo>
                  <a:lnTo>
                    <a:pt x="2" y="254"/>
                  </a:lnTo>
                  <a:close/>
                  <a:moveTo>
                    <a:pt x="0" y="252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49"/>
                  </a:lnTo>
                  <a:lnTo>
                    <a:pt x="0" y="249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close/>
                  <a:moveTo>
                    <a:pt x="4" y="249"/>
                  </a:moveTo>
                  <a:lnTo>
                    <a:pt x="4" y="249"/>
                  </a:lnTo>
                  <a:lnTo>
                    <a:pt x="2" y="249"/>
                  </a:lnTo>
                  <a:lnTo>
                    <a:pt x="2" y="249"/>
                  </a:lnTo>
                  <a:lnTo>
                    <a:pt x="2" y="249"/>
                  </a:lnTo>
                  <a:lnTo>
                    <a:pt x="4" y="249"/>
                  </a:lnTo>
                  <a:lnTo>
                    <a:pt x="4" y="249"/>
                  </a:lnTo>
                  <a:lnTo>
                    <a:pt x="4" y="249"/>
                  </a:lnTo>
                  <a:lnTo>
                    <a:pt x="4" y="249"/>
                  </a:lnTo>
                  <a:close/>
                  <a:moveTo>
                    <a:pt x="7" y="245"/>
                  </a:move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7"/>
                  </a:lnTo>
                  <a:lnTo>
                    <a:pt x="7" y="247"/>
                  </a:lnTo>
                  <a:lnTo>
                    <a:pt x="7" y="247"/>
                  </a:lnTo>
                  <a:lnTo>
                    <a:pt x="7" y="247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close/>
                  <a:moveTo>
                    <a:pt x="4" y="245"/>
                  </a:move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close/>
                  <a:moveTo>
                    <a:pt x="61" y="231"/>
                  </a:moveTo>
                  <a:lnTo>
                    <a:pt x="61" y="234"/>
                  </a:lnTo>
                  <a:lnTo>
                    <a:pt x="61" y="234"/>
                  </a:lnTo>
                  <a:lnTo>
                    <a:pt x="61" y="231"/>
                  </a:lnTo>
                  <a:close/>
                  <a:moveTo>
                    <a:pt x="61" y="231"/>
                  </a:move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close/>
                  <a:moveTo>
                    <a:pt x="61" y="231"/>
                  </a:move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close/>
                  <a:moveTo>
                    <a:pt x="61" y="231"/>
                  </a:move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61" y="231"/>
                  </a:lnTo>
                  <a:close/>
                  <a:moveTo>
                    <a:pt x="162" y="227"/>
                  </a:moveTo>
                  <a:lnTo>
                    <a:pt x="162" y="227"/>
                  </a:lnTo>
                  <a:lnTo>
                    <a:pt x="162" y="227"/>
                  </a:lnTo>
                  <a:lnTo>
                    <a:pt x="162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7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62" y="225"/>
                  </a:lnTo>
                  <a:lnTo>
                    <a:pt x="162" y="225"/>
                  </a:lnTo>
                  <a:lnTo>
                    <a:pt x="162" y="225"/>
                  </a:lnTo>
                  <a:lnTo>
                    <a:pt x="162" y="225"/>
                  </a:lnTo>
                  <a:lnTo>
                    <a:pt x="162" y="227"/>
                  </a:lnTo>
                  <a:lnTo>
                    <a:pt x="162" y="227"/>
                  </a:lnTo>
                  <a:lnTo>
                    <a:pt x="162" y="227"/>
                  </a:lnTo>
                  <a:lnTo>
                    <a:pt x="162" y="227"/>
                  </a:lnTo>
                  <a:lnTo>
                    <a:pt x="162" y="227"/>
                  </a:lnTo>
                  <a:lnTo>
                    <a:pt x="162" y="227"/>
                  </a:lnTo>
                  <a:close/>
                  <a:moveTo>
                    <a:pt x="139" y="225"/>
                  </a:move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5" y="227"/>
                  </a:lnTo>
                  <a:lnTo>
                    <a:pt x="135" y="225"/>
                  </a:lnTo>
                  <a:lnTo>
                    <a:pt x="132" y="225"/>
                  </a:lnTo>
                  <a:lnTo>
                    <a:pt x="132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2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9" y="225"/>
                  </a:lnTo>
                  <a:lnTo>
                    <a:pt x="139" y="225"/>
                  </a:lnTo>
                  <a:close/>
                  <a:moveTo>
                    <a:pt x="139" y="216"/>
                  </a:moveTo>
                  <a:lnTo>
                    <a:pt x="139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9" y="213"/>
                  </a:lnTo>
                  <a:lnTo>
                    <a:pt x="139" y="213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39" y="216"/>
                  </a:lnTo>
                  <a:lnTo>
                    <a:pt x="139" y="216"/>
                  </a:lnTo>
                  <a:close/>
                  <a:moveTo>
                    <a:pt x="184" y="211"/>
                  </a:moveTo>
                  <a:lnTo>
                    <a:pt x="184" y="211"/>
                  </a:lnTo>
                  <a:lnTo>
                    <a:pt x="184" y="211"/>
                  </a:lnTo>
                  <a:lnTo>
                    <a:pt x="184" y="211"/>
                  </a:lnTo>
                  <a:lnTo>
                    <a:pt x="184" y="211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6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3"/>
                  </a:lnTo>
                  <a:lnTo>
                    <a:pt x="184" y="211"/>
                  </a:lnTo>
                  <a:lnTo>
                    <a:pt x="184" y="211"/>
                  </a:lnTo>
                  <a:lnTo>
                    <a:pt x="184" y="211"/>
                  </a:lnTo>
                  <a:lnTo>
                    <a:pt x="184" y="211"/>
                  </a:lnTo>
                  <a:lnTo>
                    <a:pt x="184" y="211"/>
                  </a:lnTo>
                  <a:close/>
                  <a:moveTo>
                    <a:pt x="177" y="216"/>
                  </a:move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6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5"/>
                  </a:lnTo>
                  <a:lnTo>
                    <a:pt x="189" y="225"/>
                  </a:lnTo>
                  <a:lnTo>
                    <a:pt x="189" y="225"/>
                  </a:lnTo>
                  <a:lnTo>
                    <a:pt x="189" y="225"/>
                  </a:lnTo>
                  <a:lnTo>
                    <a:pt x="189" y="225"/>
                  </a:lnTo>
                  <a:lnTo>
                    <a:pt x="189" y="222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7"/>
                  </a:lnTo>
                  <a:lnTo>
                    <a:pt x="191" y="227"/>
                  </a:lnTo>
                  <a:lnTo>
                    <a:pt x="191" y="227"/>
                  </a:lnTo>
                  <a:lnTo>
                    <a:pt x="191" y="227"/>
                  </a:lnTo>
                  <a:lnTo>
                    <a:pt x="191" y="227"/>
                  </a:lnTo>
                  <a:lnTo>
                    <a:pt x="191" y="227"/>
                  </a:lnTo>
                  <a:lnTo>
                    <a:pt x="191" y="229"/>
                  </a:lnTo>
                  <a:lnTo>
                    <a:pt x="191" y="229"/>
                  </a:lnTo>
                  <a:lnTo>
                    <a:pt x="191" y="229"/>
                  </a:lnTo>
                  <a:lnTo>
                    <a:pt x="193" y="231"/>
                  </a:lnTo>
                  <a:lnTo>
                    <a:pt x="193" y="231"/>
                  </a:lnTo>
                  <a:lnTo>
                    <a:pt x="193" y="231"/>
                  </a:lnTo>
                  <a:lnTo>
                    <a:pt x="193" y="231"/>
                  </a:lnTo>
                  <a:lnTo>
                    <a:pt x="193" y="234"/>
                  </a:lnTo>
                  <a:lnTo>
                    <a:pt x="193" y="234"/>
                  </a:lnTo>
                  <a:lnTo>
                    <a:pt x="195" y="234"/>
                  </a:lnTo>
                  <a:lnTo>
                    <a:pt x="195" y="234"/>
                  </a:lnTo>
                  <a:lnTo>
                    <a:pt x="193" y="234"/>
                  </a:lnTo>
                  <a:lnTo>
                    <a:pt x="193" y="234"/>
                  </a:lnTo>
                  <a:lnTo>
                    <a:pt x="193" y="234"/>
                  </a:lnTo>
                  <a:lnTo>
                    <a:pt x="193" y="234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6"/>
                  </a:lnTo>
                  <a:lnTo>
                    <a:pt x="193" y="238"/>
                  </a:lnTo>
                  <a:lnTo>
                    <a:pt x="193" y="238"/>
                  </a:lnTo>
                  <a:lnTo>
                    <a:pt x="193" y="238"/>
                  </a:lnTo>
                  <a:lnTo>
                    <a:pt x="193" y="238"/>
                  </a:lnTo>
                  <a:lnTo>
                    <a:pt x="193" y="236"/>
                  </a:lnTo>
                  <a:lnTo>
                    <a:pt x="191" y="236"/>
                  </a:lnTo>
                  <a:lnTo>
                    <a:pt x="191" y="238"/>
                  </a:lnTo>
                  <a:lnTo>
                    <a:pt x="191" y="238"/>
                  </a:lnTo>
                  <a:lnTo>
                    <a:pt x="191" y="238"/>
                  </a:lnTo>
                  <a:lnTo>
                    <a:pt x="191" y="238"/>
                  </a:lnTo>
                  <a:lnTo>
                    <a:pt x="191" y="238"/>
                  </a:lnTo>
                  <a:lnTo>
                    <a:pt x="191" y="240"/>
                  </a:lnTo>
                  <a:lnTo>
                    <a:pt x="191" y="240"/>
                  </a:lnTo>
                  <a:lnTo>
                    <a:pt x="191" y="240"/>
                  </a:lnTo>
                  <a:lnTo>
                    <a:pt x="191" y="240"/>
                  </a:lnTo>
                  <a:lnTo>
                    <a:pt x="191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3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0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3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5"/>
                  </a:lnTo>
                  <a:lnTo>
                    <a:pt x="195" y="247"/>
                  </a:lnTo>
                  <a:lnTo>
                    <a:pt x="195" y="247"/>
                  </a:lnTo>
                  <a:lnTo>
                    <a:pt x="195" y="247"/>
                  </a:lnTo>
                  <a:lnTo>
                    <a:pt x="195" y="247"/>
                  </a:lnTo>
                  <a:lnTo>
                    <a:pt x="195" y="247"/>
                  </a:lnTo>
                  <a:lnTo>
                    <a:pt x="195" y="247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5" y="249"/>
                  </a:lnTo>
                  <a:lnTo>
                    <a:pt x="198" y="249"/>
                  </a:lnTo>
                  <a:lnTo>
                    <a:pt x="198" y="249"/>
                  </a:lnTo>
                  <a:lnTo>
                    <a:pt x="198" y="247"/>
                  </a:lnTo>
                  <a:lnTo>
                    <a:pt x="198" y="247"/>
                  </a:lnTo>
                  <a:lnTo>
                    <a:pt x="198" y="249"/>
                  </a:lnTo>
                  <a:lnTo>
                    <a:pt x="198" y="249"/>
                  </a:lnTo>
                  <a:lnTo>
                    <a:pt x="198" y="252"/>
                  </a:lnTo>
                  <a:lnTo>
                    <a:pt x="198" y="252"/>
                  </a:lnTo>
                  <a:lnTo>
                    <a:pt x="198" y="252"/>
                  </a:lnTo>
                  <a:lnTo>
                    <a:pt x="198" y="252"/>
                  </a:lnTo>
                  <a:lnTo>
                    <a:pt x="198" y="254"/>
                  </a:lnTo>
                  <a:lnTo>
                    <a:pt x="198" y="254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8" y="256"/>
                  </a:lnTo>
                  <a:lnTo>
                    <a:pt x="198" y="256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8"/>
                  </a:lnTo>
                  <a:lnTo>
                    <a:pt x="198" y="258"/>
                  </a:lnTo>
                  <a:lnTo>
                    <a:pt x="198" y="258"/>
                  </a:lnTo>
                  <a:lnTo>
                    <a:pt x="200" y="258"/>
                  </a:lnTo>
                  <a:lnTo>
                    <a:pt x="200" y="258"/>
                  </a:lnTo>
                  <a:lnTo>
                    <a:pt x="200" y="261"/>
                  </a:lnTo>
                  <a:lnTo>
                    <a:pt x="200" y="261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02" y="261"/>
                  </a:lnTo>
                  <a:lnTo>
                    <a:pt x="202" y="263"/>
                  </a:lnTo>
                  <a:lnTo>
                    <a:pt x="202" y="263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0" y="274"/>
                  </a:lnTo>
                  <a:lnTo>
                    <a:pt x="200" y="276"/>
                  </a:lnTo>
                  <a:lnTo>
                    <a:pt x="200" y="276"/>
                  </a:lnTo>
                  <a:lnTo>
                    <a:pt x="200" y="276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198" y="279"/>
                  </a:lnTo>
                  <a:lnTo>
                    <a:pt x="198" y="276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3"/>
                  </a:lnTo>
                  <a:lnTo>
                    <a:pt x="198" y="283"/>
                  </a:lnTo>
                  <a:lnTo>
                    <a:pt x="198" y="283"/>
                  </a:lnTo>
                  <a:lnTo>
                    <a:pt x="198" y="281"/>
                  </a:lnTo>
                  <a:lnTo>
                    <a:pt x="195" y="281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79"/>
                  </a:lnTo>
                  <a:lnTo>
                    <a:pt x="195" y="281"/>
                  </a:lnTo>
                  <a:lnTo>
                    <a:pt x="195" y="281"/>
                  </a:lnTo>
                  <a:lnTo>
                    <a:pt x="195" y="281"/>
                  </a:lnTo>
                  <a:lnTo>
                    <a:pt x="193" y="279"/>
                  </a:lnTo>
                  <a:lnTo>
                    <a:pt x="193" y="281"/>
                  </a:lnTo>
                  <a:lnTo>
                    <a:pt x="195" y="281"/>
                  </a:lnTo>
                  <a:lnTo>
                    <a:pt x="195" y="281"/>
                  </a:lnTo>
                  <a:lnTo>
                    <a:pt x="195" y="281"/>
                  </a:lnTo>
                  <a:lnTo>
                    <a:pt x="195" y="283"/>
                  </a:lnTo>
                  <a:lnTo>
                    <a:pt x="195" y="283"/>
                  </a:lnTo>
                  <a:lnTo>
                    <a:pt x="195" y="283"/>
                  </a:lnTo>
                  <a:lnTo>
                    <a:pt x="195" y="283"/>
                  </a:lnTo>
                  <a:lnTo>
                    <a:pt x="195" y="285"/>
                  </a:lnTo>
                  <a:lnTo>
                    <a:pt x="195" y="285"/>
                  </a:lnTo>
                  <a:lnTo>
                    <a:pt x="195" y="290"/>
                  </a:lnTo>
                  <a:lnTo>
                    <a:pt x="195" y="292"/>
                  </a:lnTo>
                  <a:lnTo>
                    <a:pt x="195" y="294"/>
                  </a:lnTo>
                  <a:lnTo>
                    <a:pt x="195" y="294"/>
                  </a:lnTo>
                  <a:lnTo>
                    <a:pt x="195" y="294"/>
                  </a:lnTo>
                  <a:lnTo>
                    <a:pt x="195" y="294"/>
                  </a:lnTo>
                  <a:lnTo>
                    <a:pt x="195" y="292"/>
                  </a:lnTo>
                  <a:lnTo>
                    <a:pt x="195" y="292"/>
                  </a:lnTo>
                  <a:lnTo>
                    <a:pt x="195" y="292"/>
                  </a:lnTo>
                  <a:lnTo>
                    <a:pt x="193" y="292"/>
                  </a:lnTo>
                  <a:lnTo>
                    <a:pt x="193" y="292"/>
                  </a:lnTo>
                  <a:lnTo>
                    <a:pt x="193" y="292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90"/>
                  </a:lnTo>
                  <a:lnTo>
                    <a:pt x="193" y="285"/>
                  </a:lnTo>
                  <a:lnTo>
                    <a:pt x="193" y="285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6"/>
                  </a:lnTo>
                  <a:lnTo>
                    <a:pt x="191" y="276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9" y="274"/>
                  </a:lnTo>
                  <a:lnTo>
                    <a:pt x="186" y="272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6" y="270"/>
                  </a:lnTo>
                  <a:lnTo>
                    <a:pt x="184" y="270"/>
                  </a:lnTo>
                  <a:lnTo>
                    <a:pt x="184" y="270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6"/>
                  </a:lnTo>
                  <a:lnTo>
                    <a:pt x="182" y="276"/>
                  </a:lnTo>
                  <a:lnTo>
                    <a:pt x="180" y="276"/>
                  </a:lnTo>
                  <a:lnTo>
                    <a:pt x="180" y="276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81"/>
                  </a:lnTo>
                  <a:lnTo>
                    <a:pt x="177" y="281"/>
                  </a:lnTo>
                  <a:lnTo>
                    <a:pt x="177" y="283"/>
                  </a:lnTo>
                  <a:lnTo>
                    <a:pt x="177" y="283"/>
                  </a:lnTo>
                  <a:lnTo>
                    <a:pt x="177" y="285"/>
                  </a:lnTo>
                  <a:lnTo>
                    <a:pt x="177" y="285"/>
                  </a:lnTo>
                  <a:lnTo>
                    <a:pt x="177" y="285"/>
                  </a:lnTo>
                  <a:lnTo>
                    <a:pt x="177" y="288"/>
                  </a:lnTo>
                  <a:lnTo>
                    <a:pt x="180" y="288"/>
                  </a:lnTo>
                  <a:lnTo>
                    <a:pt x="180" y="288"/>
                  </a:lnTo>
                  <a:lnTo>
                    <a:pt x="180" y="288"/>
                  </a:lnTo>
                  <a:lnTo>
                    <a:pt x="180" y="285"/>
                  </a:lnTo>
                  <a:lnTo>
                    <a:pt x="180" y="288"/>
                  </a:lnTo>
                  <a:lnTo>
                    <a:pt x="180" y="288"/>
                  </a:lnTo>
                  <a:lnTo>
                    <a:pt x="182" y="290"/>
                  </a:lnTo>
                  <a:lnTo>
                    <a:pt x="182" y="288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4" y="292"/>
                  </a:lnTo>
                  <a:lnTo>
                    <a:pt x="184" y="292"/>
                  </a:lnTo>
                  <a:lnTo>
                    <a:pt x="184" y="292"/>
                  </a:lnTo>
                  <a:lnTo>
                    <a:pt x="184" y="292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4" y="294"/>
                  </a:lnTo>
                  <a:lnTo>
                    <a:pt x="186" y="297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2" y="308"/>
                  </a:lnTo>
                  <a:lnTo>
                    <a:pt x="180" y="310"/>
                  </a:lnTo>
                  <a:lnTo>
                    <a:pt x="180" y="310"/>
                  </a:lnTo>
                  <a:lnTo>
                    <a:pt x="180" y="310"/>
                  </a:lnTo>
                  <a:lnTo>
                    <a:pt x="180" y="312"/>
                  </a:lnTo>
                  <a:lnTo>
                    <a:pt x="180" y="312"/>
                  </a:lnTo>
                  <a:lnTo>
                    <a:pt x="177" y="310"/>
                  </a:lnTo>
                  <a:lnTo>
                    <a:pt x="177" y="310"/>
                  </a:lnTo>
                  <a:lnTo>
                    <a:pt x="177" y="310"/>
                  </a:lnTo>
                  <a:lnTo>
                    <a:pt x="177" y="308"/>
                  </a:lnTo>
                  <a:lnTo>
                    <a:pt x="177" y="308"/>
                  </a:lnTo>
                  <a:lnTo>
                    <a:pt x="177" y="308"/>
                  </a:lnTo>
                  <a:lnTo>
                    <a:pt x="177" y="308"/>
                  </a:lnTo>
                  <a:lnTo>
                    <a:pt x="177" y="308"/>
                  </a:lnTo>
                  <a:lnTo>
                    <a:pt x="177" y="308"/>
                  </a:lnTo>
                  <a:lnTo>
                    <a:pt x="175" y="308"/>
                  </a:lnTo>
                  <a:lnTo>
                    <a:pt x="175" y="308"/>
                  </a:lnTo>
                  <a:lnTo>
                    <a:pt x="175" y="308"/>
                  </a:lnTo>
                  <a:lnTo>
                    <a:pt x="175" y="308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3"/>
                  </a:lnTo>
                  <a:lnTo>
                    <a:pt x="175" y="303"/>
                  </a:lnTo>
                  <a:lnTo>
                    <a:pt x="175" y="303"/>
                  </a:lnTo>
                  <a:lnTo>
                    <a:pt x="177" y="303"/>
                  </a:lnTo>
                  <a:lnTo>
                    <a:pt x="177" y="301"/>
                  </a:lnTo>
                  <a:lnTo>
                    <a:pt x="177" y="301"/>
                  </a:lnTo>
                  <a:lnTo>
                    <a:pt x="177" y="301"/>
                  </a:lnTo>
                  <a:lnTo>
                    <a:pt x="177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3" y="299"/>
                  </a:lnTo>
                  <a:lnTo>
                    <a:pt x="175" y="299"/>
                  </a:lnTo>
                  <a:lnTo>
                    <a:pt x="175" y="299"/>
                  </a:lnTo>
                  <a:lnTo>
                    <a:pt x="173" y="299"/>
                  </a:lnTo>
                  <a:lnTo>
                    <a:pt x="173" y="303"/>
                  </a:lnTo>
                  <a:lnTo>
                    <a:pt x="173" y="303"/>
                  </a:lnTo>
                  <a:lnTo>
                    <a:pt x="173" y="303"/>
                  </a:lnTo>
                  <a:lnTo>
                    <a:pt x="171" y="303"/>
                  </a:lnTo>
                  <a:lnTo>
                    <a:pt x="171" y="303"/>
                  </a:lnTo>
                  <a:lnTo>
                    <a:pt x="171" y="303"/>
                  </a:lnTo>
                  <a:lnTo>
                    <a:pt x="168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4" y="303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59" y="299"/>
                  </a:lnTo>
                  <a:lnTo>
                    <a:pt x="155" y="297"/>
                  </a:lnTo>
                  <a:lnTo>
                    <a:pt x="155" y="297"/>
                  </a:lnTo>
                  <a:lnTo>
                    <a:pt x="155" y="297"/>
                  </a:lnTo>
                  <a:lnTo>
                    <a:pt x="153" y="294"/>
                  </a:lnTo>
                  <a:lnTo>
                    <a:pt x="153" y="294"/>
                  </a:lnTo>
                  <a:lnTo>
                    <a:pt x="153" y="294"/>
                  </a:lnTo>
                  <a:lnTo>
                    <a:pt x="150" y="292"/>
                  </a:lnTo>
                  <a:lnTo>
                    <a:pt x="150" y="292"/>
                  </a:lnTo>
                  <a:lnTo>
                    <a:pt x="150" y="290"/>
                  </a:lnTo>
                  <a:lnTo>
                    <a:pt x="150" y="290"/>
                  </a:lnTo>
                  <a:lnTo>
                    <a:pt x="150" y="290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5"/>
                  </a:lnTo>
                  <a:lnTo>
                    <a:pt x="150" y="285"/>
                  </a:lnTo>
                  <a:lnTo>
                    <a:pt x="150" y="283"/>
                  </a:lnTo>
                  <a:lnTo>
                    <a:pt x="150" y="283"/>
                  </a:lnTo>
                  <a:lnTo>
                    <a:pt x="150" y="283"/>
                  </a:lnTo>
                  <a:lnTo>
                    <a:pt x="148" y="281"/>
                  </a:lnTo>
                  <a:lnTo>
                    <a:pt x="148" y="281"/>
                  </a:lnTo>
                  <a:lnTo>
                    <a:pt x="148" y="283"/>
                  </a:lnTo>
                  <a:lnTo>
                    <a:pt x="148" y="283"/>
                  </a:lnTo>
                  <a:lnTo>
                    <a:pt x="148" y="283"/>
                  </a:lnTo>
                  <a:lnTo>
                    <a:pt x="148" y="283"/>
                  </a:lnTo>
                  <a:lnTo>
                    <a:pt x="148" y="283"/>
                  </a:lnTo>
                  <a:lnTo>
                    <a:pt x="148" y="283"/>
                  </a:lnTo>
                  <a:lnTo>
                    <a:pt x="148" y="281"/>
                  </a:lnTo>
                  <a:lnTo>
                    <a:pt x="148" y="281"/>
                  </a:lnTo>
                  <a:lnTo>
                    <a:pt x="148" y="281"/>
                  </a:lnTo>
                  <a:lnTo>
                    <a:pt x="148" y="281"/>
                  </a:lnTo>
                  <a:lnTo>
                    <a:pt x="148" y="281"/>
                  </a:lnTo>
                  <a:lnTo>
                    <a:pt x="148" y="281"/>
                  </a:lnTo>
                  <a:lnTo>
                    <a:pt x="148" y="279"/>
                  </a:lnTo>
                  <a:lnTo>
                    <a:pt x="148" y="276"/>
                  </a:lnTo>
                  <a:lnTo>
                    <a:pt x="148" y="274"/>
                  </a:lnTo>
                  <a:lnTo>
                    <a:pt x="148" y="274"/>
                  </a:lnTo>
                  <a:lnTo>
                    <a:pt x="150" y="274"/>
                  </a:lnTo>
                  <a:lnTo>
                    <a:pt x="150" y="274"/>
                  </a:lnTo>
                  <a:lnTo>
                    <a:pt x="150" y="274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2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0" y="267"/>
                  </a:lnTo>
                  <a:lnTo>
                    <a:pt x="150" y="267"/>
                  </a:lnTo>
                  <a:lnTo>
                    <a:pt x="150" y="267"/>
                  </a:lnTo>
                  <a:lnTo>
                    <a:pt x="150" y="267"/>
                  </a:lnTo>
                  <a:lnTo>
                    <a:pt x="150" y="263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4" y="261"/>
                  </a:lnTo>
                  <a:lnTo>
                    <a:pt x="141" y="258"/>
                  </a:lnTo>
                  <a:lnTo>
                    <a:pt x="141" y="258"/>
                  </a:lnTo>
                  <a:lnTo>
                    <a:pt x="141" y="258"/>
                  </a:lnTo>
                  <a:lnTo>
                    <a:pt x="139" y="258"/>
                  </a:lnTo>
                  <a:lnTo>
                    <a:pt x="139" y="258"/>
                  </a:lnTo>
                  <a:lnTo>
                    <a:pt x="139" y="258"/>
                  </a:lnTo>
                  <a:lnTo>
                    <a:pt x="137" y="258"/>
                  </a:lnTo>
                  <a:lnTo>
                    <a:pt x="137" y="258"/>
                  </a:lnTo>
                  <a:lnTo>
                    <a:pt x="137" y="258"/>
                  </a:lnTo>
                  <a:lnTo>
                    <a:pt x="135" y="258"/>
                  </a:lnTo>
                  <a:lnTo>
                    <a:pt x="135" y="258"/>
                  </a:lnTo>
                  <a:lnTo>
                    <a:pt x="135" y="258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7" y="261"/>
                  </a:lnTo>
                  <a:lnTo>
                    <a:pt x="137" y="263"/>
                  </a:lnTo>
                  <a:lnTo>
                    <a:pt x="137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7" y="267"/>
                  </a:lnTo>
                  <a:lnTo>
                    <a:pt x="137" y="267"/>
                  </a:lnTo>
                  <a:lnTo>
                    <a:pt x="137" y="267"/>
                  </a:lnTo>
                  <a:lnTo>
                    <a:pt x="137" y="267"/>
                  </a:lnTo>
                  <a:lnTo>
                    <a:pt x="137" y="267"/>
                  </a:lnTo>
                  <a:lnTo>
                    <a:pt x="137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2" y="267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2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28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6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7"/>
                  </a:lnTo>
                  <a:lnTo>
                    <a:pt x="123" y="267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1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5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3" y="261"/>
                  </a:lnTo>
                  <a:lnTo>
                    <a:pt x="123" y="258"/>
                  </a:lnTo>
                  <a:lnTo>
                    <a:pt x="121" y="258"/>
                  </a:lnTo>
                  <a:lnTo>
                    <a:pt x="121" y="258"/>
                  </a:lnTo>
                  <a:lnTo>
                    <a:pt x="121" y="258"/>
                  </a:lnTo>
                  <a:lnTo>
                    <a:pt x="121" y="258"/>
                  </a:lnTo>
                  <a:lnTo>
                    <a:pt x="121" y="258"/>
                  </a:lnTo>
                  <a:lnTo>
                    <a:pt x="119" y="258"/>
                  </a:lnTo>
                  <a:lnTo>
                    <a:pt x="119" y="258"/>
                  </a:lnTo>
                  <a:lnTo>
                    <a:pt x="119" y="258"/>
                  </a:lnTo>
                  <a:lnTo>
                    <a:pt x="119" y="258"/>
                  </a:lnTo>
                  <a:lnTo>
                    <a:pt x="119" y="258"/>
                  </a:lnTo>
                  <a:lnTo>
                    <a:pt x="117" y="258"/>
                  </a:lnTo>
                  <a:lnTo>
                    <a:pt x="117" y="261"/>
                  </a:lnTo>
                  <a:lnTo>
                    <a:pt x="114" y="261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7" y="263"/>
                  </a:lnTo>
                  <a:lnTo>
                    <a:pt x="117" y="263"/>
                  </a:lnTo>
                  <a:lnTo>
                    <a:pt x="117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4" y="265"/>
                  </a:lnTo>
                  <a:lnTo>
                    <a:pt x="112" y="265"/>
                  </a:lnTo>
                  <a:lnTo>
                    <a:pt x="112" y="267"/>
                  </a:lnTo>
                  <a:lnTo>
                    <a:pt x="112" y="267"/>
                  </a:lnTo>
                  <a:lnTo>
                    <a:pt x="114" y="267"/>
                  </a:lnTo>
                  <a:lnTo>
                    <a:pt x="114" y="267"/>
                  </a:lnTo>
                  <a:lnTo>
                    <a:pt x="114" y="267"/>
                  </a:lnTo>
                  <a:lnTo>
                    <a:pt x="114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2"/>
                  </a:lnTo>
                  <a:lnTo>
                    <a:pt x="112" y="274"/>
                  </a:lnTo>
                  <a:lnTo>
                    <a:pt x="112" y="274"/>
                  </a:lnTo>
                  <a:lnTo>
                    <a:pt x="112" y="274"/>
                  </a:lnTo>
                  <a:lnTo>
                    <a:pt x="110" y="276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3" y="276"/>
                  </a:lnTo>
                  <a:lnTo>
                    <a:pt x="103" y="274"/>
                  </a:lnTo>
                  <a:lnTo>
                    <a:pt x="105" y="272"/>
                  </a:lnTo>
                  <a:lnTo>
                    <a:pt x="105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5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1"/>
                  </a:lnTo>
                  <a:lnTo>
                    <a:pt x="108" y="261"/>
                  </a:lnTo>
                  <a:lnTo>
                    <a:pt x="108" y="261"/>
                  </a:lnTo>
                  <a:lnTo>
                    <a:pt x="108" y="261"/>
                  </a:lnTo>
                  <a:lnTo>
                    <a:pt x="108" y="258"/>
                  </a:lnTo>
                  <a:lnTo>
                    <a:pt x="108" y="258"/>
                  </a:lnTo>
                  <a:lnTo>
                    <a:pt x="108" y="258"/>
                  </a:lnTo>
                  <a:lnTo>
                    <a:pt x="110" y="256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0" y="254"/>
                  </a:lnTo>
                  <a:lnTo>
                    <a:pt x="112" y="254"/>
                  </a:lnTo>
                  <a:lnTo>
                    <a:pt x="112" y="252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19" y="252"/>
                  </a:lnTo>
                  <a:lnTo>
                    <a:pt x="119" y="252"/>
                  </a:lnTo>
                  <a:lnTo>
                    <a:pt x="119" y="249"/>
                  </a:lnTo>
                  <a:lnTo>
                    <a:pt x="119" y="249"/>
                  </a:lnTo>
                  <a:lnTo>
                    <a:pt x="119" y="249"/>
                  </a:lnTo>
                  <a:lnTo>
                    <a:pt x="119" y="249"/>
                  </a:lnTo>
                  <a:lnTo>
                    <a:pt x="119" y="252"/>
                  </a:lnTo>
                  <a:lnTo>
                    <a:pt x="119" y="252"/>
                  </a:lnTo>
                  <a:lnTo>
                    <a:pt x="121" y="252"/>
                  </a:lnTo>
                  <a:lnTo>
                    <a:pt x="123" y="249"/>
                  </a:lnTo>
                  <a:lnTo>
                    <a:pt x="123" y="249"/>
                  </a:lnTo>
                  <a:lnTo>
                    <a:pt x="123" y="249"/>
                  </a:lnTo>
                  <a:lnTo>
                    <a:pt x="123" y="249"/>
                  </a:lnTo>
                  <a:lnTo>
                    <a:pt x="123" y="249"/>
                  </a:lnTo>
                  <a:lnTo>
                    <a:pt x="123" y="249"/>
                  </a:lnTo>
                  <a:lnTo>
                    <a:pt x="123" y="249"/>
                  </a:lnTo>
                  <a:lnTo>
                    <a:pt x="126" y="249"/>
                  </a:lnTo>
                  <a:lnTo>
                    <a:pt x="126" y="247"/>
                  </a:lnTo>
                  <a:lnTo>
                    <a:pt x="126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7"/>
                  </a:lnTo>
                  <a:lnTo>
                    <a:pt x="123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5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3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8" y="240"/>
                  </a:lnTo>
                  <a:lnTo>
                    <a:pt x="128" y="240"/>
                  </a:lnTo>
                  <a:lnTo>
                    <a:pt x="130" y="240"/>
                  </a:lnTo>
                  <a:lnTo>
                    <a:pt x="130" y="240"/>
                  </a:lnTo>
                  <a:lnTo>
                    <a:pt x="130" y="240"/>
                  </a:lnTo>
                  <a:lnTo>
                    <a:pt x="130" y="240"/>
                  </a:lnTo>
                  <a:lnTo>
                    <a:pt x="130" y="240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40"/>
                  </a:lnTo>
                  <a:lnTo>
                    <a:pt x="132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2" y="238"/>
                  </a:lnTo>
                  <a:lnTo>
                    <a:pt x="135" y="238"/>
                  </a:lnTo>
                  <a:lnTo>
                    <a:pt x="135" y="238"/>
                  </a:lnTo>
                  <a:lnTo>
                    <a:pt x="135" y="238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5" y="236"/>
                  </a:lnTo>
                  <a:lnTo>
                    <a:pt x="135" y="236"/>
                  </a:lnTo>
                  <a:lnTo>
                    <a:pt x="135" y="236"/>
                  </a:lnTo>
                  <a:lnTo>
                    <a:pt x="135" y="236"/>
                  </a:lnTo>
                  <a:lnTo>
                    <a:pt x="135" y="236"/>
                  </a:lnTo>
                  <a:lnTo>
                    <a:pt x="135" y="236"/>
                  </a:lnTo>
                  <a:lnTo>
                    <a:pt x="135" y="238"/>
                  </a:lnTo>
                  <a:lnTo>
                    <a:pt x="135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40"/>
                  </a:lnTo>
                  <a:lnTo>
                    <a:pt x="137" y="240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7" y="238"/>
                  </a:lnTo>
                  <a:lnTo>
                    <a:pt x="139" y="238"/>
                  </a:lnTo>
                  <a:lnTo>
                    <a:pt x="139" y="238"/>
                  </a:lnTo>
                  <a:lnTo>
                    <a:pt x="139" y="238"/>
                  </a:lnTo>
                  <a:lnTo>
                    <a:pt x="139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38"/>
                  </a:lnTo>
                  <a:lnTo>
                    <a:pt x="141" y="240"/>
                  </a:lnTo>
                  <a:lnTo>
                    <a:pt x="141" y="240"/>
                  </a:lnTo>
                  <a:lnTo>
                    <a:pt x="141" y="240"/>
                  </a:lnTo>
                  <a:lnTo>
                    <a:pt x="141" y="240"/>
                  </a:lnTo>
                  <a:lnTo>
                    <a:pt x="141" y="240"/>
                  </a:lnTo>
                  <a:lnTo>
                    <a:pt x="141" y="243"/>
                  </a:lnTo>
                  <a:lnTo>
                    <a:pt x="144" y="243"/>
                  </a:lnTo>
                  <a:lnTo>
                    <a:pt x="144" y="243"/>
                  </a:lnTo>
                  <a:lnTo>
                    <a:pt x="144" y="245"/>
                  </a:lnTo>
                  <a:lnTo>
                    <a:pt x="144" y="247"/>
                  </a:lnTo>
                  <a:lnTo>
                    <a:pt x="144" y="249"/>
                  </a:lnTo>
                  <a:lnTo>
                    <a:pt x="144" y="249"/>
                  </a:lnTo>
                  <a:lnTo>
                    <a:pt x="144" y="249"/>
                  </a:lnTo>
                  <a:lnTo>
                    <a:pt x="141" y="252"/>
                  </a:lnTo>
                  <a:lnTo>
                    <a:pt x="141" y="252"/>
                  </a:lnTo>
                  <a:lnTo>
                    <a:pt x="141" y="252"/>
                  </a:lnTo>
                  <a:lnTo>
                    <a:pt x="139" y="252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44" y="252"/>
                  </a:lnTo>
                  <a:lnTo>
                    <a:pt x="144" y="252"/>
                  </a:lnTo>
                  <a:lnTo>
                    <a:pt x="144" y="252"/>
                  </a:lnTo>
                  <a:lnTo>
                    <a:pt x="146" y="249"/>
                  </a:lnTo>
                  <a:lnTo>
                    <a:pt x="146" y="249"/>
                  </a:lnTo>
                  <a:lnTo>
                    <a:pt x="146" y="249"/>
                  </a:lnTo>
                  <a:lnTo>
                    <a:pt x="146" y="249"/>
                  </a:lnTo>
                  <a:lnTo>
                    <a:pt x="148" y="249"/>
                  </a:lnTo>
                  <a:lnTo>
                    <a:pt x="150" y="249"/>
                  </a:lnTo>
                  <a:lnTo>
                    <a:pt x="150" y="249"/>
                  </a:lnTo>
                  <a:lnTo>
                    <a:pt x="150" y="249"/>
                  </a:lnTo>
                  <a:lnTo>
                    <a:pt x="150" y="247"/>
                  </a:lnTo>
                  <a:lnTo>
                    <a:pt x="153" y="247"/>
                  </a:lnTo>
                  <a:lnTo>
                    <a:pt x="153" y="247"/>
                  </a:lnTo>
                  <a:lnTo>
                    <a:pt x="153" y="247"/>
                  </a:lnTo>
                  <a:lnTo>
                    <a:pt x="153" y="247"/>
                  </a:lnTo>
                  <a:lnTo>
                    <a:pt x="153" y="247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5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3" y="240"/>
                  </a:lnTo>
                  <a:lnTo>
                    <a:pt x="153" y="240"/>
                  </a:lnTo>
                  <a:lnTo>
                    <a:pt x="153" y="240"/>
                  </a:lnTo>
                  <a:lnTo>
                    <a:pt x="155" y="238"/>
                  </a:lnTo>
                  <a:lnTo>
                    <a:pt x="155" y="238"/>
                  </a:lnTo>
                  <a:lnTo>
                    <a:pt x="155" y="238"/>
                  </a:lnTo>
                  <a:lnTo>
                    <a:pt x="155" y="238"/>
                  </a:lnTo>
                  <a:lnTo>
                    <a:pt x="155" y="238"/>
                  </a:lnTo>
                  <a:lnTo>
                    <a:pt x="155" y="240"/>
                  </a:lnTo>
                  <a:lnTo>
                    <a:pt x="155" y="240"/>
                  </a:lnTo>
                  <a:lnTo>
                    <a:pt x="157" y="240"/>
                  </a:lnTo>
                  <a:lnTo>
                    <a:pt x="157" y="240"/>
                  </a:lnTo>
                  <a:lnTo>
                    <a:pt x="157" y="240"/>
                  </a:lnTo>
                  <a:lnTo>
                    <a:pt x="157" y="240"/>
                  </a:lnTo>
                  <a:lnTo>
                    <a:pt x="157" y="240"/>
                  </a:lnTo>
                  <a:lnTo>
                    <a:pt x="157" y="240"/>
                  </a:lnTo>
                  <a:lnTo>
                    <a:pt x="157" y="240"/>
                  </a:lnTo>
                  <a:lnTo>
                    <a:pt x="159" y="240"/>
                  </a:lnTo>
                  <a:lnTo>
                    <a:pt x="159" y="240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62" y="243"/>
                  </a:lnTo>
                  <a:lnTo>
                    <a:pt x="162" y="243"/>
                  </a:lnTo>
                  <a:lnTo>
                    <a:pt x="162" y="243"/>
                  </a:lnTo>
                  <a:lnTo>
                    <a:pt x="162" y="243"/>
                  </a:lnTo>
                  <a:lnTo>
                    <a:pt x="162" y="243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6"/>
                  </a:lnTo>
                  <a:lnTo>
                    <a:pt x="162" y="234"/>
                  </a:lnTo>
                  <a:lnTo>
                    <a:pt x="162" y="231"/>
                  </a:lnTo>
                  <a:lnTo>
                    <a:pt x="162" y="231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2" y="229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31"/>
                  </a:lnTo>
                  <a:lnTo>
                    <a:pt x="164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8" y="234"/>
                  </a:lnTo>
                  <a:lnTo>
                    <a:pt x="168" y="234"/>
                  </a:lnTo>
                  <a:lnTo>
                    <a:pt x="168" y="234"/>
                  </a:lnTo>
                  <a:lnTo>
                    <a:pt x="168" y="234"/>
                  </a:lnTo>
                  <a:lnTo>
                    <a:pt x="168" y="234"/>
                  </a:lnTo>
                  <a:lnTo>
                    <a:pt x="168" y="234"/>
                  </a:lnTo>
                  <a:lnTo>
                    <a:pt x="171" y="234"/>
                  </a:lnTo>
                  <a:lnTo>
                    <a:pt x="171" y="234"/>
                  </a:lnTo>
                  <a:lnTo>
                    <a:pt x="171" y="231"/>
                  </a:lnTo>
                  <a:lnTo>
                    <a:pt x="171" y="229"/>
                  </a:lnTo>
                  <a:lnTo>
                    <a:pt x="171" y="229"/>
                  </a:lnTo>
                  <a:lnTo>
                    <a:pt x="171" y="229"/>
                  </a:lnTo>
                  <a:lnTo>
                    <a:pt x="171" y="229"/>
                  </a:lnTo>
                  <a:lnTo>
                    <a:pt x="168" y="229"/>
                  </a:lnTo>
                  <a:lnTo>
                    <a:pt x="171" y="229"/>
                  </a:lnTo>
                  <a:lnTo>
                    <a:pt x="171" y="229"/>
                  </a:lnTo>
                  <a:lnTo>
                    <a:pt x="171" y="229"/>
                  </a:lnTo>
                  <a:lnTo>
                    <a:pt x="171" y="227"/>
                  </a:lnTo>
                  <a:lnTo>
                    <a:pt x="171" y="227"/>
                  </a:lnTo>
                  <a:lnTo>
                    <a:pt x="171" y="227"/>
                  </a:lnTo>
                  <a:lnTo>
                    <a:pt x="171" y="227"/>
                  </a:lnTo>
                  <a:lnTo>
                    <a:pt x="171" y="227"/>
                  </a:lnTo>
                  <a:lnTo>
                    <a:pt x="171" y="227"/>
                  </a:lnTo>
                  <a:lnTo>
                    <a:pt x="171" y="229"/>
                  </a:lnTo>
                  <a:lnTo>
                    <a:pt x="171" y="229"/>
                  </a:lnTo>
                  <a:lnTo>
                    <a:pt x="173" y="229"/>
                  </a:lnTo>
                  <a:lnTo>
                    <a:pt x="173" y="229"/>
                  </a:lnTo>
                  <a:lnTo>
                    <a:pt x="173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5" y="229"/>
                  </a:lnTo>
                  <a:lnTo>
                    <a:pt x="177" y="229"/>
                  </a:lnTo>
                  <a:lnTo>
                    <a:pt x="177" y="229"/>
                  </a:lnTo>
                  <a:lnTo>
                    <a:pt x="177" y="229"/>
                  </a:lnTo>
                  <a:lnTo>
                    <a:pt x="177" y="227"/>
                  </a:lnTo>
                  <a:lnTo>
                    <a:pt x="177" y="225"/>
                  </a:lnTo>
                  <a:lnTo>
                    <a:pt x="177" y="225"/>
                  </a:lnTo>
                  <a:lnTo>
                    <a:pt x="177" y="225"/>
                  </a:lnTo>
                  <a:lnTo>
                    <a:pt x="177" y="225"/>
                  </a:lnTo>
                  <a:lnTo>
                    <a:pt x="175" y="225"/>
                  </a:lnTo>
                  <a:lnTo>
                    <a:pt x="175" y="225"/>
                  </a:lnTo>
                  <a:lnTo>
                    <a:pt x="175" y="222"/>
                  </a:lnTo>
                  <a:lnTo>
                    <a:pt x="175" y="222"/>
                  </a:lnTo>
                  <a:lnTo>
                    <a:pt x="175" y="222"/>
                  </a:lnTo>
                  <a:lnTo>
                    <a:pt x="175" y="222"/>
                  </a:lnTo>
                  <a:lnTo>
                    <a:pt x="175" y="222"/>
                  </a:lnTo>
                  <a:lnTo>
                    <a:pt x="175" y="220"/>
                  </a:lnTo>
                  <a:lnTo>
                    <a:pt x="175" y="220"/>
                  </a:lnTo>
                  <a:lnTo>
                    <a:pt x="175" y="220"/>
                  </a:lnTo>
                  <a:lnTo>
                    <a:pt x="175" y="220"/>
                  </a:lnTo>
                  <a:lnTo>
                    <a:pt x="175" y="220"/>
                  </a:lnTo>
                  <a:lnTo>
                    <a:pt x="175" y="220"/>
                  </a:lnTo>
                  <a:lnTo>
                    <a:pt x="175" y="218"/>
                  </a:lnTo>
                  <a:lnTo>
                    <a:pt x="173" y="218"/>
                  </a:lnTo>
                  <a:lnTo>
                    <a:pt x="173" y="218"/>
                  </a:lnTo>
                  <a:lnTo>
                    <a:pt x="173" y="216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11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75" y="211"/>
                  </a:lnTo>
                  <a:lnTo>
                    <a:pt x="177" y="211"/>
                  </a:lnTo>
                  <a:lnTo>
                    <a:pt x="177" y="211"/>
                  </a:lnTo>
                  <a:lnTo>
                    <a:pt x="177" y="213"/>
                  </a:lnTo>
                  <a:lnTo>
                    <a:pt x="177" y="213"/>
                  </a:lnTo>
                  <a:lnTo>
                    <a:pt x="177" y="213"/>
                  </a:lnTo>
                  <a:lnTo>
                    <a:pt x="177" y="216"/>
                  </a:lnTo>
                  <a:lnTo>
                    <a:pt x="177" y="216"/>
                  </a:lnTo>
                  <a:close/>
                  <a:moveTo>
                    <a:pt x="189" y="209"/>
                  </a:moveTo>
                  <a:lnTo>
                    <a:pt x="189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6" y="211"/>
                  </a:lnTo>
                  <a:lnTo>
                    <a:pt x="184" y="211"/>
                  </a:lnTo>
                  <a:lnTo>
                    <a:pt x="184" y="211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6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6" y="207"/>
                  </a:lnTo>
                  <a:lnTo>
                    <a:pt x="186" y="207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7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6" y="209"/>
                  </a:lnTo>
                  <a:lnTo>
                    <a:pt x="186" y="209"/>
                  </a:lnTo>
                  <a:lnTo>
                    <a:pt x="189" y="209"/>
                  </a:lnTo>
                  <a:lnTo>
                    <a:pt x="189" y="209"/>
                  </a:lnTo>
                  <a:close/>
                  <a:moveTo>
                    <a:pt x="155" y="202"/>
                  </a:moveTo>
                  <a:lnTo>
                    <a:pt x="155" y="202"/>
                  </a:lnTo>
                  <a:lnTo>
                    <a:pt x="155" y="202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3" y="204"/>
                  </a:lnTo>
                  <a:lnTo>
                    <a:pt x="153" y="204"/>
                  </a:lnTo>
                  <a:lnTo>
                    <a:pt x="153" y="204"/>
                  </a:lnTo>
                  <a:lnTo>
                    <a:pt x="153" y="204"/>
                  </a:lnTo>
                  <a:lnTo>
                    <a:pt x="153" y="202"/>
                  </a:lnTo>
                  <a:lnTo>
                    <a:pt x="153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lnTo>
                    <a:pt x="155" y="202"/>
                  </a:lnTo>
                  <a:close/>
                  <a:moveTo>
                    <a:pt x="150" y="202"/>
                  </a:moveTo>
                  <a:lnTo>
                    <a:pt x="150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0" y="202"/>
                  </a:lnTo>
                  <a:lnTo>
                    <a:pt x="150" y="204"/>
                  </a:lnTo>
                  <a:lnTo>
                    <a:pt x="153" y="202"/>
                  </a:lnTo>
                  <a:lnTo>
                    <a:pt x="153" y="204"/>
                  </a:lnTo>
                  <a:lnTo>
                    <a:pt x="153" y="204"/>
                  </a:lnTo>
                  <a:lnTo>
                    <a:pt x="153" y="204"/>
                  </a:lnTo>
                  <a:lnTo>
                    <a:pt x="153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4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7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7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5" y="211"/>
                  </a:lnTo>
                  <a:lnTo>
                    <a:pt x="153" y="211"/>
                  </a:lnTo>
                  <a:lnTo>
                    <a:pt x="153" y="211"/>
                  </a:lnTo>
                  <a:lnTo>
                    <a:pt x="153" y="211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3" y="213"/>
                  </a:lnTo>
                  <a:lnTo>
                    <a:pt x="150" y="216"/>
                  </a:lnTo>
                  <a:lnTo>
                    <a:pt x="150" y="216"/>
                  </a:lnTo>
                  <a:lnTo>
                    <a:pt x="148" y="216"/>
                  </a:lnTo>
                  <a:lnTo>
                    <a:pt x="148" y="216"/>
                  </a:lnTo>
                  <a:lnTo>
                    <a:pt x="146" y="216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41" y="213"/>
                  </a:lnTo>
                  <a:lnTo>
                    <a:pt x="141" y="213"/>
                  </a:lnTo>
                  <a:lnTo>
                    <a:pt x="141" y="213"/>
                  </a:lnTo>
                  <a:lnTo>
                    <a:pt x="141" y="213"/>
                  </a:lnTo>
                  <a:lnTo>
                    <a:pt x="141" y="213"/>
                  </a:lnTo>
                  <a:lnTo>
                    <a:pt x="141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39" y="211"/>
                  </a:lnTo>
                  <a:lnTo>
                    <a:pt x="139" y="209"/>
                  </a:lnTo>
                  <a:lnTo>
                    <a:pt x="139" y="209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8" y="202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2"/>
                  </a:lnTo>
                  <a:close/>
                  <a:moveTo>
                    <a:pt x="171" y="207"/>
                  </a:moveTo>
                  <a:lnTo>
                    <a:pt x="171" y="209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4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8" y="202"/>
                  </a:lnTo>
                  <a:lnTo>
                    <a:pt x="168" y="202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close/>
                  <a:moveTo>
                    <a:pt x="177" y="195"/>
                  </a:moveTo>
                  <a:lnTo>
                    <a:pt x="177" y="198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2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80" y="207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77" y="209"/>
                  </a:lnTo>
                  <a:lnTo>
                    <a:pt x="177" y="209"/>
                  </a:lnTo>
                  <a:lnTo>
                    <a:pt x="177" y="209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5" y="207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7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5" y="204"/>
                  </a:lnTo>
                  <a:lnTo>
                    <a:pt x="173" y="204"/>
                  </a:lnTo>
                  <a:lnTo>
                    <a:pt x="173" y="202"/>
                  </a:lnTo>
                  <a:lnTo>
                    <a:pt x="173" y="202"/>
                  </a:lnTo>
                  <a:lnTo>
                    <a:pt x="173" y="202"/>
                  </a:lnTo>
                  <a:lnTo>
                    <a:pt x="175" y="202"/>
                  </a:lnTo>
                  <a:lnTo>
                    <a:pt x="175" y="202"/>
                  </a:lnTo>
                  <a:lnTo>
                    <a:pt x="175" y="202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5" y="198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8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77" y="195"/>
                  </a:lnTo>
                  <a:close/>
                  <a:moveTo>
                    <a:pt x="58" y="193"/>
                  </a:move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3"/>
                  </a:lnTo>
                  <a:lnTo>
                    <a:pt x="58" y="193"/>
                  </a:lnTo>
                  <a:close/>
                  <a:moveTo>
                    <a:pt x="150" y="191"/>
                  </a:move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50" y="189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close/>
                  <a:moveTo>
                    <a:pt x="153" y="191"/>
                  </a:moveTo>
                  <a:lnTo>
                    <a:pt x="150" y="191"/>
                  </a:lnTo>
                  <a:lnTo>
                    <a:pt x="150" y="191"/>
                  </a:lnTo>
                  <a:lnTo>
                    <a:pt x="150" y="189"/>
                  </a:lnTo>
                  <a:lnTo>
                    <a:pt x="150" y="189"/>
                  </a:lnTo>
                  <a:lnTo>
                    <a:pt x="150" y="189"/>
                  </a:lnTo>
                  <a:lnTo>
                    <a:pt x="153" y="189"/>
                  </a:lnTo>
                  <a:lnTo>
                    <a:pt x="153" y="191"/>
                  </a:lnTo>
                  <a:lnTo>
                    <a:pt x="153" y="191"/>
                  </a:lnTo>
                  <a:close/>
                  <a:moveTo>
                    <a:pt x="114" y="191"/>
                  </a:moveTo>
                  <a:lnTo>
                    <a:pt x="114" y="193"/>
                  </a:lnTo>
                  <a:lnTo>
                    <a:pt x="114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2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5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2" y="193"/>
                  </a:lnTo>
                  <a:lnTo>
                    <a:pt x="112" y="193"/>
                  </a:lnTo>
                  <a:lnTo>
                    <a:pt x="110" y="193"/>
                  </a:lnTo>
                  <a:lnTo>
                    <a:pt x="110" y="193"/>
                  </a:lnTo>
                  <a:lnTo>
                    <a:pt x="110" y="191"/>
                  </a:lnTo>
                  <a:lnTo>
                    <a:pt x="110" y="191"/>
                  </a:lnTo>
                  <a:lnTo>
                    <a:pt x="110" y="191"/>
                  </a:lnTo>
                  <a:lnTo>
                    <a:pt x="112" y="191"/>
                  </a:lnTo>
                  <a:lnTo>
                    <a:pt x="112" y="191"/>
                  </a:lnTo>
                  <a:lnTo>
                    <a:pt x="112" y="191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4" y="189"/>
                  </a:lnTo>
                  <a:lnTo>
                    <a:pt x="114" y="191"/>
                  </a:lnTo>
                  <a:lnTo>
                    <a:pt x="114" y="191"/>
                  </a:lnTo>
                  <a:close/>
                  <a:moveTo>
                    <a:pt x="177" y="189"/>
                  </a:moveTo>
                  <a:lnTo>
                    <a:pt x="177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7" y="189"/>
                  </a:lnTo>
                  <a:lnTo>
                    <a:pt x="175" y="186"/>
                  </a:lnTo>
                  <a:lnTo>
                    <a:pt x="175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9"/>
                  </a:lnTo>
                  <a:lnTo>
                    <a:pt x="177" y="189"/>
                  </a:lnTo>
                  <a:close/>
                  <a:moveTo>
                    <a:pt x="126" y="182"/>
                  </a:move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28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6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0" y="189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5"/>
                  </a:lnTo>
                  <a:lnTo>
                    <a:pt x="128" y="195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6" y="207"/>
                  </a:lnTo>
                  <a:lnTo>
                    <a:pt x="126" y="207"/>
                  </a:lnTo>
                  <a:lnTo>
                    <a:pt x="126" y="207"/>
                  </a:lnTo>
                  <a:lnTo>
                    <a:pt x="126" y="207"/>
                  </a:lnTo>
                  <a:lnTo>
                    <a:pt x="126" y="207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18"/>
                  </a:lnTo>
                  <a:lnTo>
                    <a:pt x="128" y="220"/>
                  </a:lnTo>
                  <a:lnTo>
                    <a:pt x="128" y="220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30" y="222"/>
                  </a:lnTo>
                  <a:lnTo>
                    <a:pt x="130" y="222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28" y="227"/>
                  </a:lnTo>
                  <a:lnTo>
                    <a:pt x="128" y="227"/>
                  </a:lnTo>
                  <a:lnTo>
                    <a:pt x="128" y="227"/>
                  </a:lnTo>
                  <a:lnTo>
                    <a:pt x="128" y="229"/>
                  </a:lnTo>
                  <a:lnTo>
                    <a:pt x="128" y="229"/>
                  </a:lnTo>
                  <a:lnTo>
                    <a:pt x="126" y="229"/>
                  </a:lnTo>
                  <a:lnTo>
                    <a:pt x="126" y="229"/>
                  </a:lnTo>
                  <a:lnTo>
                    <a:pt x="126" y="229"/>
                  </a:lnTo>
                  <a:lnTo>
                    <a:pt x="126" y="229"/>
                  </a:lnTo>
                  <a:lnTo>
                    <a:pt x="126" y="229"/>
                  </a:lnTo>
                  <a:lnTo>
                    <a:pt x="126" y="229"/>
                  </a:lnTo>
                  <a:lnTo>
                    <a:pt x="123" y="229"/>
                  </a:lnTo>
                  <a:lnTo>
                    <a:pt x="123" y="227"/>
                  </a:lnTo>
                  <a:lnTo>
                    <a:pt x="123" y="227"/>
                  </a:lnTo>
                  <a:lnTo>
                    <a:pt x="121" y="225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21" y="222"/>
                  </a:lnTo>
                  <a:lnTo>
                    <a:pt x="119" y="222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9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2" y="218"/>
                  </a:lnTo>
                  <a:lnTo>
                    <a:pt x="112" y="216"/>
                  </a:lnTo>
                  <a:lnTo>
                    <a:pt x="112" y="216"/>
                  </a:lnTo>
                  <a:lnTo>
                    <a:pt x="112" y="216"/>
                  </a:lnTo>
                  <a:lnTo>
                    <a:pt x="112" y="216"/>
                  </a:lnTo>
                  <a:lnTo>
                    <a:pt x="112" y="213"/>
                  </a:lnTo>
                  <a:lnTo>
                    <a:pt x="112" y="213"/>
                  </a:lnTo>
                  <a:lnTo>
                    <a:pt x="112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3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11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9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4" y="207"/>
                  </a:lnTo>
                  <a:lnTo>
                    <a:pt x="114" y="207"/>
                  </a:lnTo>
                  <a:lnTo>
                    <a:pt x="114" y="207"/>
                  </a:lnTo>
                  <a:lnTo>
                    <a:pt x="117" y="207"/>
                  </a:lnTo>
                  <a:lnTo>
                    <a:pt x="117" y="207"/>
                  </a:lnTo>
                  <a:lnTo>
                    <a:pt x="117" y="204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5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17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6"/>
                  </a:lnTo>
                  <a:lnTo>
                    <a:pt x="119" y="186"/>
                  </a:lnTo>
                  <a:lnTo>
                    <a:pt x="119" y="186"/>
                  </a:lnTo>
                  <a:lnTo>
                    <a:pt x="119" y="186"/>
                  </a:lnTo>
                  <a:lnTo>
                    <a:pt x="119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close/>
                  <a:moveTo>
                    <a:pt x="49" y="182"/>
                  </a:move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9" y="180"/>
                  </a:lnTo>
                  <a:lnTo>
                    <a:pt x="49" y="180"/>
                  </a:lnTo>
                  <a:lnTo>
                    <a:pt x="49" y="180"/>
                  </a:lnTo>
                  <a:lnTo>
                    <a:pt x="49" y="182"/>
                  </a:lnTo>
                  <a:lnTo>
                    <a:pt x="49" y="182"/>
                  </a:lnTo>
                  <a:close/>
                  <a:moveTo>
                    <a:pt x="49" y="177"/>
                  </a:moveTo>
                  <a:lnTo>
                    <a:pt x="49" y="177"/>
                  </a:lnTo>
                  <a:lnTo>
                    <a:pt x="49" y="177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9" y="177"/>
                  </a:lnTo>
                  <a:lnTo>
                    <a:pt x="49" y="177"/>
                  </a:lnTo>
                  <a:lnTo>
                    <a:pt x="49" y="177"/>
                  </a:lnTo>
                  <a:close/>
                  <a:moveTo>
                    <a:pt x="139" y="180"/>
                  </a:moveTo>
                  <a:lnTo>
                    <a:pt x="141" y="180"/>
                  </a:lnTo>
                  <a:lnTo>
                    <a:pt x="141" y="180"/>
                  </a:lnTo>
                  <a:lnTo>
                    <a:pt x="141" y="180"/>
                  </a:lnTo>
                  <a:lnTo>
                    <a:pt x="141" y="180"/>
                  </a:lnTo>
                  <a:lnTo>
                    <a:pt x="141" y="180"/>
                  </a:lnTo>
                  <a:lnTo>
                    <a:pt x="141" y="180"/>
                  </a:lnTo>
                  <a:lnTo>
                    <a:pt x="141" y="180"/>
                  </a:lnTo>
                  <a:lnTo>
                    <a:pt x="141" y="182"/>
                  </a:lnTo>
                  <a:lnTo>
                    <a:pt x="141" y="182"/>
                  </a:lnTo>
                  <a:lnTo>
                    <a:pt x="141" y="182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1" y="186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91"/>
                  </a:lnTo>
                  <a:lnTo>
                    <a:pt x="144" y="191"/>
                  </a:lnTo>
                  <a:lnTo>
                    <a:pt x="144" y="191"/>
                  </a:lnTo>
                  <a:lnTo>
                    <a:pt x="141" y="191"/>
                  </a:lnTo>
                  <a:lnTo>
                    <a:pt x="141" y="191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4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7" y="200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7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2" y="213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6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2" y="218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30" y="220"/>
                  </a:lnTo>
                  <a:lnTo>
                    <a:pt x="130" y="218"/>
                  </a:lnTo>
                  <a:lnTo>
                    <a:pt x="130" y="218"/>
                  </a:lnTo>
                  <a:lnTo>
                    <a:pt x="130" y="211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4"/>
                  </a:lnTo>
                  <a:lnTo>
                    <a:pt x="130" y="204"/>
                  </a:lnTo>
                  <a:lnTo>
                    <a:pt x="132" y="204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2"/>
                  </a:lnTo>
                  <a:lnTo>
                    <a:pt x="132" y="200"/>
                  </a:lnTo>
                  <a:lnTo>
                    <a:pt x="135" y="198"/>
                  </a:lnTo>
                  <a:lnTo>
                    <a:pt x="135" y="198"/>
                  </a:lnTo>
                  <a:lnTo>
                    <a:pt x="135" y="198"/>
                  </a:lnTo>
                  <a:lnTo>
                    <a:pt x="135" y="195"/>
                  </a:lnTo>
                  <a:lnTo>
                    <a:pt x="135" y="195"/>
                  </a:lnTo>
                  <a:lnTo>
                    <a:pt x="135" y="195"/>
                  </a:lnTo>
                  <a:lnTo>
                    <a:pt x="137" y="193"/>
                  </a:lnTo>
                  <a:lnTo>
                    <a:pt x="137" y="193"/>
                  </a:lnTo>
                  <a:lnTo>
                    <a:pt x="137" y="193"/>
                  </a:lnTo>
                  <a:lnTo>
                    <a:pt x="135" y="193"/>
                  </a:lnTo>
                  <a:lnTo>
                    <a:pt x="135" y="193"/>
                  </a:lnTo>
                  <a:lnTo>
                    <a:pt x="137" y="193"/>
                  </a:lnTo>
                  <a:lnTo>
                    <a:pt x="137" y="191"/>
                  </a:lnTo>
                  <a:lnTo>
                    <a:pt x="137" y="191"/>
                  </a:lnTo>
                  <a:lnTo>
                    <a:pt x="137" y="191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77"/>
                  </a:lnTo>
                  <a:lnTo>
                    <a:pt x="139" y="177"/>
                  </a:lnTo>
                  <a:lnTo>
                    <a:pt x="139" y="177"/>
                  </a:lnTo>
                  <a:lnTo>
                    <a:pt x="139" y="175"/>
                  </a:lnTo>
                  <a:lnTo>
                    <a:pt x="141" y="175"/>
                  </a:lnTo>
                  <a:lnTo>
                    <a:pt x="141" y="175"/>
                  </a:lnTo>
                  <a:lnTo>
                    <a:pt x="141" y="175"/>
                  </a:lnTo>
                  <a:lnTo>
                    <a:pt x="141" y="177"/>
                  </a:lnTo>
                  <a:lnTo>
                    <a:pt x="141" y="177"/>
                  </a:lnTo>
                  <a:lnTo>
                    <a:pt x="141" y="177"/>
                  </a:lnTo>
                  <a:lnTo>
                    <a:pt x="141" y="177"/>
                  </a:lnTo>
                  <a:lnTo>
                    <a:pt x="141" y="180"/>
                  </a:lnTo>
                  <a:lnTo>
                    <a:pt x="141" y="180"/>
                  </a:lnTo>
                  <a:lnTo>
                    <a:pt x="139" y="180"/>
                  </a:lnTo>
                  <a:close/>
                  <a:moveTo>
                    <a:pt x="135" y="180"/>
                  </a:moveTo>
                  <a:lnTo>
                    <a:pt x="135" y="180"/>
                  </a:lnTo>
                  <a:lnTo>
                    <a:pt x="135" y="177"/>
                  </a:lnTo>
                  <a:lnTo>
                    <a:pt x="135" y="177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5" y="175"/>
                  </a:lnTo>
                  <a:lnTo>
                    <a:pt x="135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5" y="180"/>
                  </a:lnTo>
                  <a:close/>
                  <a:moveTo>
                    <a:pt x="47" y="175"/>
                  </a:moveTo>
                  <a:lnTo>
                    <a:pt x="47" y="175"/>
                  </a:lnTo>
                  <a:lnTo>
                    <a:pt x="47" y="175"/>
                  </a:lnTo>
                  <a:lnTo>
                    <a:pt x="47" y="175"/>
                  </a:lnTo>
                  <a:lnTo>
                    <a:pt x="47" y="173"/>
                  </a:lnTo>
                  <a:lnTo>
                    <a:pt x="47" y="175"/>
                  </a:lnTo>
                  <a:lnTo>
                    <a:pt x="47" y="175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52" y="191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3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52" y="195"/>
                  </a:lnTo>
                  <a:lnTo>
                    <a:pt x="49" y="195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47" y="198"/>
                  </a:lnTo>
                  <a:lnTo>
                    <a:pt x="47" y="198"/>
                  </a:lnTo>
                  <a:lnTo>
                    <a:pt x="47" y="198"/>
                  </a:lnTo>
                  <a:lnTo>
                    <a:pt x="47" y="198"/>
                  </a:lnTo>
                  <a:lnTo>
                    <a:pt x="47" y="198"/>
                  </a:lnTo>
                  <a:lnTo>
                    <a:pt x="47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3" y="200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3" y="204"/>
                  </a:lnTo>
                  <a:lnTo>
                    <a:pt x="43" y="204"/>
                  </a:lnTo>
                  <a:lnTo>
                    <a:pt x="43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4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1" y="211"/>
                  </a:lnTo>
                  <a:lnTo>
                    <a:pt x="34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3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4" y="216"/>
                  </a:lnTo>
                  <a:lnTo>
                    <a:pt x="31" y="216"/>
                  </a:lnTo>
                  <a:lnTo>
                    <a:pt x="31" y="216"/>
                  </a:lnTo>
                  <a:lnTo>
                    <a:pt x="31" y="218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20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9" y="222"/>
                  </a:lnTo>
                  <a:lnTo>
                    <a:pt x="27" y="222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5" y="225"/>
                  </a:lnTo>
                  <a:lnTo>
                    <a:pt x="25" y="225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7"/>
                  </a:lnTo>
                  <a:lnTo>
                    <a:pt x="22" y="229"/>
                  </a:lnTo>
                  <a:lnTo>
                    <a:pt x="22" y="229"/>
                  </a:lnTo>
                  <a:lnTo>
                    <a:pt x="22" y="229"/>
                  </a:lnTo>
                  <a:lnTo>
                    <a:pt x="22" y="229"/>
                  </a:lnTo>
                  <a:lnTo>
                    <a:pt x="22" y="229"/>
                  </a:lnTo>
                  <a:lnTo>
                    <a:pt x="20" y="229"/>
                  </a:lnTo>
                  <a:lnTo>
                    <a:pt x="20" y="229"/>
                  </a:lnTo>
                  <a:lnTo>
                    <a:pt x="20" y="229"/>
                  </a:lnTo>
                  <a:lnTo>
                    <a:pt x="20" y="229"/>
                  </a:lnTo>
                  <a:lnTo>
                    <a:pt x="20" y="231"/>
                  </a:lnTo>
                  <a:lnTo>
                    <a:pt x="20" y="231"/>
                  </a:lnTo>
                  <a:lnTo>
                    <a:pt x="20" y="234"/>
                  </a:lnTo>
                  <a:lnTo>
                    <a:pt x="18" y="234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6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3" y="238"/>
                  </a:lnTo>
                  <a:lnTo>
                    <a:pt x="11" y="238"/>
                  </a:lnTo>
                  <a:lnTo>
                    <a:pt x="11" y="238"/>
                  </a:lnTo>
                  <a:lnTo>
                    <a:pt x="11" y="238"/>
                  </a:lnTo>
                  <a:lnTo>
                    <a:pt x="11" y="238"/>
                  </a:lnTo>
                  <a:lnTo>
                    <a:pt x="11" y="240"/>
                  </a:lnTo>
                  <a:lnTo>
                    <a:pt x="11" y="240"/>
                  </a:lnTo>
                  <a:lnTo>
                    <a:pt x="11" y="240"/>
                  </a:lnTo>
                  <a:lnTo>
                    <a:pt x="9" y="240"/>
                  </a:lnTo>
                  <a:lnTo>
                    <a:pt x="9" y="243"/>
                  </a:lnTo>
                  <a:lnTo>
                    <a:pt x="9" y="243"/>
                  </a:lnTo>
                  <a:lnTo>
                    <a:pt x="9" y="240"/>
                  </a:lnTo>
                  <a:lnTo>
                    <a:pt x="9" y="240"/>
                  </a:lnTo>
                  <a:lnTo>
                    <a:pt x="9" y="240"/>
                  </a:lnTo>
                  <a:lnTo>
                    <a:pt x="7" y="243"/>
                  </a:lnTo>
                  <a:lnTo>
                    <a:pt x="7" y="243"/>
                  </a:lnTo>
                  <a:lnTo>
                    <a:pt x="7" y="243"/>
                  </a:lnTo>
                  <a:lnTo>
                    <a:pt x="7" y="243"/>
                  </a:lnTo>
                  <a:lnTo>
                    <a:pt x="7" y="243"/>
                  </a:lnTo>
                  <a:lnTo>
                    <a:pt x="7" y="243"/>
                  </a:lnTo>
                  <a:lnTo>
                    <a:pt x="4" y="243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5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8"/>
                  </a:lnTo>
                  <a:lnTo>
                    <a:pt x="4" y="238"/>
                  </a:lnTo>
                  <a:lnTo>
                    <a:pt x="4" y="238"/>
                  </a:lnTo>
                  <a:lnTo>
                    <a:pt x="4" y="238"/>
                  </a:lnTo>
                  <a:lnTo>
                    <a:pt x="7" y="238"/>
                  </a:lnTo>
                  <a:lnTo>
                    <a:pt x="7" y="238"/>
                  </a:lnTo>
                  <a:lnTo>
                    <a:pt x="7" y="238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7" y="236"/>
                  </a:lnTo>
                  <a:lnTo>
                    <a:pt x="9" y="236"/>
                  </a:lnTo>
                  <a:lnTo>
                    <a:pt x="9" y="234"/>
                  </a:lnTo>
                  <a:lnTo>
                    <a:pt x="9" y="231"/>
                  </a:lnTo>
                  <a:lnTo>
                    <a:pt x="9" y="231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1" y="229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9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3" y="227"/>
                  </a:lnTo>
                  <a:lnTo>
                    <a:pt x="16" y="225"/>
                  </a:lnTo>
                  <a:lnTo>
                    <a:pt x="16" y="225"/>
                  </a:lnTo>
                  <a:lnTo>
                    <a:pt x="16" y="225"/>
                  </a:lnTo>
                  <a:lnTo>
                    <a:pt x="16" y="225"/>
                  </a:lnTo>
                  <a:lnTo>
                    <a:pt x="16" y="225"/>
                  </a:lnTo>
                  <a:lnTo>
                    <a:pt x="18" y="222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2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2" y="222"/>
                  </a:lnTo>
                  <a:lnTo>
                    <a:pt x="22" y="222"/>
                  </a:lnTo>
                  <a:lnTo>
                    <a:pt x="22" y="222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20"/>
                  </a:lnTo>
                  <a:lnTo>
                    <a:pt x="22" y="218"/>
                  </a:lnTo>
                  <a:lnTo>
                    <a:pt x="25" y="218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6"/>
                  </a:lnTo>
                  <a:lnTo>
                    <a:pt x="25" y="213"/>
                  </a:lnTo>
                  <a:lnTo>
                    <a:pt x="25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7" y="213"/>
                  </a:lnTo>
                  <a:lnTo>
                    <a:pt x="29" y="211"/>
                  </a:lnTo>
                  <a:lnTo>
                    <a:pt x="29" y="211"/>
                  </a:lnTo>
                  <a:lnTo>
                    <a:pt x="29" y="211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1" y="209"/>
                  </a:lnTo>
                  <a:lnTo>
                    <a:pt x="31" y="207"/>
                  </a:lnTo>
                  <a:lnTo>
                    <a:pt x="31" y="207"/>
                  </a:lnTo>
                  <a:lnTo>
                    <a:pt x="31" y="207"/>
                  </a:lnTo>
                  <a:lnTo>
                    <a:pt x="31" y="207"/>
                  </a:lnTo>
                  <a:lnTo>
                    <a:pt x="31" y="204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4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4" y="202"/>
                  </a:lnTo>
                  <a:lnTo>
                    <a:pt x="36" y="202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8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40" y="195"/>
                  </a:lnTo>
                  <a:lnTo>
                    <a:pt x="40" y="193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8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0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5" y="191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7" y="189"/>
                  </a:lnTo>
                  <a:lnTo>
                    <a:pt x="47" y="189"/>
                  </a:lnTo>
                  <a:lnTo>
                    <a:pt x="47" y="189"/>
                  </a:lnTo>
                  <a:lnTo>
                    <a:pt x="47" y="189"/>
                  </a:lnTo>
                  <a:lnTo>
                    <a:pt x="47" y="189"/>
                  </a:lnTo>
                  <a:lnTo>
                    <a:pt x="47" y="189"/>
                  </a:lnTo>
                  <a:lnTo>
                    <a:pt x="47" y="189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7" y="186"/>
                  </a:lnTo>
                  <a:lnTo>
                    <a:pt x="47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6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5" y="180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7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7" y="175"/>
                  </a:lnTo>
                  <a:close/>
                  <a:moveTo>
                    <a:pt x="54" y="171"/>
                  </a:moveTo>
                  <a:lnTo>
                    <a:pt x="54" y="171"/>
                  </a:lnTo>
                  <a:lnTo>
                    <a:pt x="54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4" y="171"/>
                  </a:lnTo>
                  <a:close/>
                  <a:moveTo>
                    <a:pt x="148" y="171"/>
                  </a:moveTo>
                  <a:lnTo>
                    <a:pt x="150" y="173"/>
                  </a:lnTo>
                  <a:lnTo>
                    <a:pt x="150" y="173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53" y="175"/>
                  </a:lnTo>
                  <a:lnTo>
                    <a:pt x="153" y="175"/>
                  </a:lnTo>
                  <a:lnTo>
                    <a:pt x="155" y="175"/>
                  </a:lnTo>
                  <a:lnTo>
                    <a:pt x="155" y="175"/>
                  </a:lnTo>
                  <a:lnTo>
                    <a:pt x="155" y="175"/>
                  </a:lnTo>
                  <a:lnTo>
                    <a:pt x="157" y="173"/>
                  </a:lnTo>
                  <a:lnTo>
                    <a:pt x="157" y="173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3"/>
                  </a:lnTo>
                  <a:lnTo>
                    <a:pt x="157" y="173"/>
                  </a:lnTo>
                  <a:lnTo>
                    <a:pt x="157" y="173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59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77"/>
                  </a:lnTo>
                  <a:lnTo>
                    <a:pt x="162" y="180"/>
                  </a:lnTo>
                  <a:lnTo>
                    <a:pt x="162" y="180"/>
                  </a:lnTo>
                  <a:lnTo>
                    <a:pt x="162" y="180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91"/>
                  </a:lnTo>
                  <a:lnTo>
                    <a:pt x="166" y="191"/>
                  </a:lnTo>
                  <a:lnTo>
                    <a:pt x="166" y="191"/>
                  </a:lnTo>
                  <a:lnTo>
                    <a:pt x="166" y="191"/>
                  </a:lnTo>
                  <a:lnTo>
                    <a:pt x="166" y="191"/>
                  </a:lnTo>
                  <a:lnTo>
                    <a:pt x="166" y="193"/>
                  </a:lnTo>
                  <a:lnTo>
                    <a:pt x="166" y="193"/>
                  </a:lnTo>
                  <a:lnTo>
                    <a:pt x="166" y="193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8" y="195"/>
                  </a:lnTo>
                  <a:lnTo>
                    <a:pt x="168" y="198"/>
                  </a:lnTo>
                  <a:lnTo>
                    <a:pt x="168" y="195"/>
                  </a:lnTo>
                  <a:lnTo>
                    <a:pt x="168" y="195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68" y="198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0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0"/>
                  </a:lnTo>
                  <a:lnTo>
                    <a:pt x="164" y="200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4" y="198"/>
                  </a:lnTo>
                  <a:lnTo>
                    <a:pt x="162" y="198"/>
                  </a:lnTo>
                  <a:lnTo>
                    <a:pt x="162" y="198"/>
                  </a:lnTo>
                  <a:lnTo>
                    <a:pt x="164" y="198"/>
                  </a:lnTo>
                  <a:lnTo>
                    <a:pt x="164" y="202"/>
                  </a:lnTo>
                  <a:lnTo>
                    <a:pt x="164" y="202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2" y="204"/>
                  </a:lnTo>
                  <a:lnTo>
                    <a:pt x="162" y="204"/>
                  </a:lnTo>
                  <a:lnTo>
                    <a:pt x="162" y="204"/>
                  </a:lnTo>
                  <a:lnTo>
                    <a:pt x="162" y="204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62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59" y="202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57" y="193"/>
                  </a:lnTo>
                  <a:lnTo>
                    <a:pt x="157" y="191"/>
                  </a:lnTo>
                  <a:lnTo>
                    <a:pt x="157" y="191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4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55" y="184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3" y="184"/>
                  </a:lnTo>
                  <a:lnTo>
                    <a:pt x="153" y="184"/>
                  </a:lnTo>
                  <a:lnTo>
                    <a:pt x="153" y="184"/>
                  </a:lnTo>
                  <a:lnTo>
                    <a:pt x="153" y="184"/>
                  </a:lnTo>
                  <a:lnTo>
                    <a:pt x="153" y="184"/>
                  </a:lnTo>
                  <a:lnTo>
                    <a:pt x="153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50" y="184"/>
                  </a:lnTo>
                  <a:lnTo>
                    <a:pt x="148" y="184"/>
                  </a:lnTo>
                  <a:lnTo>
                    <a:pt x="148" y="184"/>
                  </a:lnTo>
                  <a:lnTo>
                    <a:pt x="148" y="184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77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8" y="175"/>
                  </a:lnTo>
                  <a:lnTo>
                    <a:pt x="148" y="175"/>
                  </a:lnTo>
                  <a:lnTo>
                    <a:pt x="148" y="175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68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1"/>
                  </a:lnTo>
                  <a:close/>
                  <a:moveTo>
                    <a:pt x="148" y="166"/>
                  </a:moveTo>
                  <a:lnTo>
                    <a:pt x="148" y="166"/>
                  </a:lnTo>
                  <a:lnTo>
                    <a:pt x="148" y="166"/>
                  </a:lnTo>
                  <a:lnTo>
                    <a:pt x="148" y="166"/>
                  </a:lnTo>
                  <a:lnTo>
                    <a:pt x="150" y="166"/>
                  </a:lnTo>
                  <a:lnTo>
                    <a:pt x="150" y="166"/>
                  </a:lnTo>
                  <a:lnTo>
                    <a:pt x="150" y="166"/>
                  </a:lnTo>
                  <a:lnTo>
                    <a:pt x="150" y="166"/>
                  </a:lnTo>
                  <a:lnTo>
                    <a:pt x="150" y="168"/>
                  </a:lnTo>
                  <a:lnTo>
                    <a:pt x="153" y="168"/>
                  </a:lnTo>
                  <a:lnTo>
                    <a:pt x="153" y="168"/>
                  </a:lnTo>
                  <a:lnTo>
                    <a:pt x="153" y="168"/>
                  </a:lnTo>
                  <a:lnTo>
                    <a:pt x="153" y="171"/>
                  </a:lnTo>
                  <a:lnTo>
                    <a:pt x="153" y="171"/>
                  </a:lnTo>
                  <a:lnTo>
                    <a:pt x="153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50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71"/>
                  </a:lnTo>
                  <a:lnTo>
                    <a:pt x="148" y="168"/>
                  </a:lnTo>
                  <a:lnTo>
                    <a:pt x="148" y="168"/>
                  </a:lnTo>
                  <a:lnTo>
                    <a:pt x="146" y="168"/>
                  </a:lnTo>
                  <a:lnTo>
                    <a:pt x="146" y="166"/>
                  </a:lnTo>
                  <a:lnTo>
                    <a:pt x="146" y="166"/>
                  </a:lnTo>
                  <a:lnTo>
                    <a:pt x="146" y="166"/>
                  </a:lnTo>
                  <a:lnTo>
                    <a:pt x="146" y="166"/>
                  </a:lnTo>
                  <a:lnTo>
                    <a:pt x="146" y="166"/>
                  </a:lnTo>
                  <a:lnTo>
                    <a:pt x="148" y="166"/>
                  </a:lnTo>
                  <a:lnTo>
                    <a:pt x="148" y="166"/>
                  </a:lnTo>
                  <a:close/>
                  <a:moveTo>
                    <a:pt x="157" y="168"/>
                  </a:move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4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7" y="166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close/>
                  <a:moveTo>
                    <a:pt x="88" y="162"/>
                  </a:moveTo>
                  <a:lnTo>
                    <a:pt x="88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8" y="162"/>
                  </a:lnTo>
                  <a:close/>
                  <a:moveTo>
                    <a:pt x="103" y="164"/>
                  </a:moveTo>
                  <a:lnTo>
                    <a:pt x="103" y="164"/>
                  </a:lnTo>
                  <a:lnTo>
                    <a:pt x="103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6"/>
                  </a:lnTo>
                  <a:lnTo>
                    <a:pt x="105" y="166"/>
                  </a:lnTo>
                  <a:lnTo>
                    <a:pt x="105" y="166"/>
                  </a:lnTo>
                  <a:lnTo>
                    <a:pt x="108" y="166"/>
                  </a:lnTo>
                  <a:lnTo>
                    <a:pt x="108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71"/>
                  </a:lnTo>
                  <a:lnTo>
                    <a:pt x="110" y="171"/>
                  </a:lnTo>
                  <a:lnTo>
                    <a:pt x="110" y="171"/>
                  </a:lnTo>
                  <a:lnTo>
                    <a:pt x="110" y="171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68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7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4" y="182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4" y="184"/>
                  </a:lnTo>
                  <a:lnTo>
                    <a:pt x="117" y="184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4" y="186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6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2" y="189"/>
                  </a:lnTo>
                  <a:lnTo>
                    <a:pt x="110" y="189"/>
                  </a:lnTo>
                  <a:lnTo>
                    <a:pt x="110" y="189"/>
                  </a:lnTo>
                  <a:lnTo>
                    <a:pt x="108" y="191"/>
                  </a:lnTo>
                  <a:lnTo>
                    <a:pt x="108" y="191"/>
                  </a:lnTo>
                  <a:lnTo>
                    <a:pt x="108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3" y="191"/>
                  </a:lnTo>
                  <a:lnTo>
                    <a:pt x="101" y="193"/>
                  </a:lnTo>
                  <a:lnTo>
                    <a:pt x="101" y="195"/>
                  </a:lnTo>
                  <a:lnTo>
                    <a:pt x="101" y="195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9" y="193"/>
                  </a:lnTo>
                  <a:lnTo>
                    <a:pt x="99" y="191"/>
                  </a:lnTo>
                  <a:lnTo>
                    <a:pt x="99" y="191"/>
                  </a:lnTo>
                  <a:lnTo>
                    <a:pt x="99" y="191"/>
                  </a:lnTo>
                  <a:lnTo>
                    <a:pt x="99" y="189"/>
                  </a:lnTo>
                  <a:lnTo>
                    <a:pt x="99" y="189"/>
                  </a:lnTo>
                  <a:lnTo>
                    <a:pt x="99" y="189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4"/>
                  </a:lnTo>
                  <a:lnTo>
                    <a:pt x="99" y="182"/>
                  </a:lnTo>
                  <a:lnTo>
                    <a:pt x="99" y="180"/>
                  </a:lnTo>
                  <a:lnTo>
                    <a:pt x="99" y="177"/>
                  </a:lnTo>
                  <a:lnTo>
                    <a:pt x="99" y="175"/>
                  </a:lnTo>
                  <a:lnTo>
                    <a:pt x="99" y="175"/>
                  </a:lnTo>
                  <a:lnTo>
                    <a:pt x="99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9" y="173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9" y="171"/>
                  </a:lnTo>
                  <a:lnTo>
                    <a:pt x="99" y="166"/>
                  </a:lnTo>
                  <a:lnTo>
                    <a:pt x="99" y="166"/>
                  </a:lnTo>
                  <a:lnTo>
                    <a:pt x="99" y="164"/>
                  </a:lnTo>
                  <a:lnTo>
                    <a:pt x="99" y="164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7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62"/>
                  </a:lnTo>
                  <a:lnTo>
                    <a:pt x="94" y="159"/>
                  </a:lnTo>
                  <a:lnTo>
                    <a:pt x="94" y="159"/>
                  </a:lnTo>
                  <a:lnTo>
                    <a:pt x="94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59"/>
                  </a:lnTo>
                  <a:lnTo>
                    <a:pt x="97" y="162"/>
                  </a:lnTo>
                  <a:lnTo>
                    <a:pt x="99" y="162"/>
                  </a:lnTo>
                  <a:lnTo>
                    <a:pt x="99" y="162"/>
                  </a:lnTo>
                  <a:lnTo>
                    <a:pt x="99" y="162"/>
                  </a:lnTo>
                  <a:lnTo>
                    <a:pt x="99" y="162"/>
                  </a:lnTo>
                  <a:lnTo>
                    <a:pt x="101" y="164"/>
                  </a:lnTo>
                  <a:lnTo>
                    <a:pt x="103" y="164"/>
                  </a:lnTo>
                  <a:lnTo>
                    <a:pt x="103" y="164"/>
                  </a:lnTo>
                  <a:close/>
                  <a:moveTo>
                    <a:pt x="61" y="162"/>
                  </a:move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lnTo>
                    <a:pt x="61" y="162"/>
                  </a:lnTo>
                  <a:close/>
                  <a:moveTo>
                    <a:pt x="54" y="159"/>
                  </a:moveTo>
                  <a:lnTo>
                    <a:pt x="54" y="159"/>
                  </a:lnTo>
                  <a:lnTo>
                    <a:pt x="54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56" y="162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2" y="162"/>
                  </a:lnTo>
                  <a:lnTo>
                    <a:pt x="52" y="162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4" y="159"/>
                  </a:lnTo>
                  <a:close/>
                  <a:moveTo>
                    <a:pt x="141" y="157"/>
                  </a:move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close/>
                  <a:moveTo>
                    <a:pt x="83" y="157"/>
                  </a:move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5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3" y="157"/>
                  </a:lnTo>
                  <a:close/>
                  <a:moveTo>
                    <a:pt x="79" y="155"/>
                  </a:move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9" y="155"/>
                  </a:lnTo>
                  <a:lnTo>
                    <a:pt x="79" y="155"/>
                  </a:lnTo>
                  <a:lnTo>
                    <a:pt x="79" y="155"/>
                  </a:lnTo>
                  <a:close/>
                  <a:moveTo>
                    <a:pt x="52" y="150"/>
                  </a:moveTo>
                  <a:lnTo>
                    <a:pt x="52" y="153"/>
                  </a:lnTo>
                  <a:lnTo>
                    <a:pt x="52" y="153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6" y="153"/>
                  </a:lnTo>
                  <a:lnTo>
                    <a:pt x="56" y="153"/>
                  </a:lnTo>
                  <a:lnTo>
                    <a:pt x="56" y="153"/>
                  </a:lnTo>
                  <a:lnTo>
                    <a:pt x="56" y="153"/>
                  </a:lnTo>
                  <a:lnTo>
                    <a:pt x="56" y="153"/>
                  </a:lnTo>
                  <a:lnTo>
                    <a:pt x="56" y="153"/>
                  </a:lnTo>
                  <a:lnTo>
                    <a:pt x="56" y="153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5"/>
                  </a:lnTo>
                  <a:lnTo>
                    <a:pt x="58" y="155"/>
                  </a:lnTo>
                  <a:lnTo>
                    <a:pt x="58" y="155"/>
                  </a:lnTo>
                  <a:lnTo>
                    <a:pt x="58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8" y="153"/>
                  </a:lnTo>
                  <a:lnTo>
                    <a:pt x="58" y="153"/>
                  </a:lnTo>
                  <a:lnTo>
                    <a:pt x="58" y="153"/>
                  </a:lnTo>
                  <a:lnTo>
                    <a:pt x="58" y="155"/>
                  </a:lnTo>
                  <a:lnTo>
                    <a:pt x="58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5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1" y="157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3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0"/>
                  </a:lnTo>
                  <a:lnTo>
                    <a:pt x="52" y="150"/>
                  </a:lnTo>
                  <a:close/>
                  <a:moveTo>
                    <a:pt x="141" y="148"/>
                  </a:moveTo>
                  <a:lnTo>
                    <a:pt x="141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8"/>
                  </a:lnTo>
                  <a:lnTo>
                    <a:pt x="141" y="148"/>
                  </a:lnTo>
                  <a:lnTo>
                    <a:pt x="141" y="148"/>
                  </a:lnTo>
                  <a:close/>
                  <a:moveTo>
                    <a:pt x="108" y="150"/>
                  </a:moveTo>
                  <a:lnTo>
                    <a:pt x="108" y="153"/>
                  </a:lnTo>
                  <a:lnTo>
                    <a:pt x="108" y="153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5" y="150"/>
                  </a:lnTo>
                  <a:lnTo>
                    <a:pt x="105" y="148"/>
                  </a:lnTo>
                  <a:lnTo>
                    <a:pt x="105" y="148"/>
                  </a:lnTo>
                  <a:lnTo>
                    <a:pt x="105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6"/>
                  </a:lnTo>
                  <a:lnTo>
                    <a:pt x="105" y="146"/>
                  </a:lnTo>
                  <a:lnTo>
                    <a:pt x="108" y="146"/>
                  </a:lnTo>
                  <a:lnTo>
                    <a:pt x="108" y="146"/>
                  </a:lnTo>
                  <a:lnTo>
                    <a:pt x="108" y="146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08" y="150"/>
                  </a:lnTo>
                  <a:lnTo>
                    <a:pt x="108" y="150"/>
                  </a:lnTo>
                  <a:close/>
                  <a:moveTo>
                    <a:pt x="155" y="146"/>
                  </a:moveTo>
                  <a:lnTo>
                    <a:pt x="155" y="146"/>
                  </a:lnTo>
                  <a:lnTo>
                    <a:pt x="155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59" y="144"/>
                  </a:lnTo>
                  <a:lnTo>
                    <a:pt x="162" y="144"/>
                  </a:lnTo>
                  <a:lnTo>
                    <a:pt x="162" y="144"/>
                  </a:lnTo>
                  <a:lnTo>
                    <a:pt x="162" y="146"/>
                  </a:lnTo>
                  <a:lnTo>
                    <a:pt x="162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6" y="150"/>
                  </a:lnTo>
                  <a:lnTo>
                    <a:pt x="168" y="153"/>
                  </a:lnTo>
                  <a:lnTo>
                    <a:pt x="168" y="153"/>
                  </a:lnTo>
                  <a:lnTo>
                    <a:pt x="168" y="153"/>
                  </a:lnTo>
                  <a:lnTo>
                    <a:pt x="168" y="153"/>
                  </a:lnTo>
                  <a:lnTo>
                    <a:pt x="168" y="153"/>
                  </a:lnTo>
                  <a:lnTo>
                    <a:pt x="168" y="153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5"/>
                  </a:lnTo>
                  <a:lnTo>
                    <a:pt x="168" y="157"/>
                  </a:lnTo>
                  <a:lnTo>
                    <a:pt x="168" y="157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68" y="157"/>
                  </a:lnTo>
                  <a:lnTo>
                    <a:pt x="168" y="157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68" y="162"/>
                  </a:lnTo>
                  <a:lnTo>
                    <a:pt x="171" y="164"/>
                  </a:lnTo>
                  <a:lnTo>
                    <a:pt x="171" y="164"/>
                  </a:lnTo>
                  <a:lnTo>
                    <a:pt x="171" y="164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71" y="164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68" y="166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1" y="171"/>
                  </a:lnTo>
                  <a:lnTo>
                    <a:pt x="173" y="171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5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5" y="177"/>
                  </a:lnTo>
                  <a:lnTo>
                    <a:pt x="175" y="177"/>
                  </a:lnTo>
                  <a:lnTo>
                    <a:pt x="175" y="177"/>
                  </a:lnTo>
                  <a:lnTo>
                    <a:pt x="175" y="177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7" y="182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77"/>
                  </a:lnTo>
                  <a:lnTo>
                    <a:pt x="175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7"/>
                  </a:lnTo>
                  <a:lnTo>
                    <a:pt x="164" y="177"/>
                  </a:lnTo>
                  <a:lnTo>
                    <a:pt x="164" y="175"/>
                  </a:lnTo>
                  <a:lnTo>
                    <a:pt x="164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59" y="175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8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6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7" y="164"/>
                  </a:lnTo>
                  <a:lnTo>
                    <a:pt x="157" y="164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62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62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3" y="159"/>
                  </a:lnTo>
                  <a:lnTo>
                    <a:pt x="153" y="159"/>
                  </a:lnTo>
                  <a:lnTo>
                    <a:pt x="153" y="159"/>
                  </a:lnTo>
                  <a:lnTo>
                    <a:pt x="153" y="159"/>
                  </a:lnTo>
                  <a:lnTo>
                    <a:pt x="153" y="159"/>
                  </a:lnTo>
                  <a:lnTo>
                    <a:pt x="153" y="157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48" y="157"/>
                  </a:lnTo>
                  <a:lnTo>
                    <a:pt x="148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4" y="148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1" y="144"/>
                  </a:lnTo>
                  <a:lnTo>
                    <a:pt x="141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4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50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6"/>
                  </a:lnTo>
                  <a:close/>
                  <a:moveTo>
                    <a:pt x="123" y="146"/>
                  </a:move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6"/>
                  </a:lnTo>
                  <a:lnTo>
                    <a:pt x="126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28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0" y="150"/>
                  </a:lnTo>
                  <a:lnTo>
                    <a:pt x="132" y="153"/>
                  </a:lnTo>
                  <a:lnTo>
                    <a:pt x="132" y="153"/>
                  </a:lnTo>
                  <a:lnTo>
                    <a:pt x="132" y="153"/>
                  </a:lnTo>
                  <a:lnTo>
                    <a:pt x="132" y="153"/>
                  </a:lnTo>
                  <a:lnTo>
                    <a:pt x="132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2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9" y="164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30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3"/>
                  </a:lnTo>
                  <a:lnTo>
                    <a:pt x="126" y="155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3" y="155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3" y="157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7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3" y="155"/>
                  </a:lnTo>
                  <a:lnTo>
                    <a:pt x="121" y="155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1" y="153"/>
                  </a:lnTo>
                  <a:lnTo>
                    <a:pt x="121" y="150"/>
                  </a:lnTo>
                  <a:lnTo>
                    <a:pt x="121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48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3" y="144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lnTo>
                    <a:pt x="123" y="146"/>
                  </a:lnTo>
                  <a:close/>
                  <a:moveTo>
                    <a:pt x="101" y="146"/>
                  </a:moveTo>
                  <a:lnTo>
                    <a:pt x="101" y="146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101" y="146"/>
                  </a:lnTo>
                  <a:close/>
                  <a:moveTo>
                    <a:pt x="99" y="144"/>
                  </a:moveTo>
                  <a:lnTo>
                    <a:pt x="97" y="144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8"/>
                  </a:lnTo>
                  <a:lnTo>
                    <a:pt x="97" y="148"/>
                  </a:lnTo>
                  <a:lnTo>
                    <a:pt x="97" y="150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5"/>
                  </a:lnTo>
                  <a:lnTo>
                    <a:pt x="97" y="153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7" y="155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7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0"/>
                  </a:lnTo>
                  <a:lnTo>
                    <a:pt x="94" y="150"/>
                  </a:lnTo>
                  <a:lnTo>
                    <a:pt x="94" y="150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8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4" y="144"/>
                  </a:lnTo>
                  <a:lnTo>
                    <a:pt x="97" y="144"/>
                  </a:lnTo>
                  <a:lnTo>
                    <a:pt x="97" y="144"/>
                  </a:lnTo>
                  <a:lnTo>
                    <a:pt x="97" y="141"/>
                  </a:lnTo>
                  <a:lnTo>
                    <a:pt x="97" y="141"/>
                  </a:lnTo>
                  <a:lnTo>
                    <a:pt x="97" y="144"/>
                  </a:lnTo>
                  <a:lnTo>
                    <a:pt x="99" y="144"/>
                  </a:lnTo>
                  <a:close/>
                  <a:moveTo>
                    <a:pt x="128" y="141"/>
                  </a:move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6"/>
                  </a:lnTo>
                  <a:lnTo>
                    <a:pt x="130" y="146"/>
                  </a:lnTo>
                  <a:lnTo>
                    <a:pt x="130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2" y="148"/>
                  </a:lnTo>
                  <a:lnTo>
                    <a:pt x="132" y="148"/>
                  </a:lnTo>
                  <a:lnTo>
                    <a:pt x="132" y="148"/>
                  </a:lnTo>
                  <a:lnTo>
                    <a:pt x="132" y="148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2" y="150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1"/>
                  </a:lnTo>
                  <a:lnTo>
                    <a:pt x="128" y="141"/>
                  </a:lnTo>
                  <a:lnTo>
                    <a:pt x="128" y="141"/>
                  </a:lnTo>
                  <a:lnTo>
                    <a:pt x="128" y="141"/>
                  </a:lnTo>
                  <a:lnTo>
                    <a:pt x="128" y="141"/>
                  </a:lnTo>
                  <a:close/>
                  <a:moveTo>
                    <a:pt x="88" y="135"/>
                  </a:moveTo>
                  <a:lnTo>
                    <a:pt x="88" y="135"/>
                  </a:lnTo>
                  <a:lnTo>
                    <a:pt x="88" y="135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5"/>
                  </a:lnTo>
                  <a:lnTo>
                    <a:pt x="88" y="135"/>
                  </a:lnTo>
                  <a:close/>
                  <a:moveTo>
                    <a:pt x="119" y="137"/>
                  </a:moveTo>
                  <a:lnTo>
                    <a:pt x="119" y="137"/>
                  </a:lnTo>
                  <a:lnTo>
                    <a:pt x="119" y="137"/>
                  </a:lnTo>
                  <a:lnTo>
                    <a:pt x="119" y="137"/>
                  </a:lnTo>
                  <a:lnTo>
                    <a:pt x="121" y="137"/>
                  </a:lnTo>
                  <a:lnTo>
                    <a:pt x="121" y="137"/>
                  </a:lnTo>
                  <a:lnTo>
                    <a:pt x="121" y="137"/>
                  </a:lnTo>
                  <a:lnTo>
                    <a:pt x="121" y="139"/>
                  </a:lnTo>
                  <a:lnTo>
                    <a:pt x="123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21" y="139"/>
                  </a:lnTo>
                  <a:lnTo>
                    <a:pt x="119" y="139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9" y="137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17" y="137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4" y="135"/>
                  </a:lnTo>
                  <a:lnTo>
                    <a:pt x="114" y="135"/>
                  </a:lnTo>
                  <a:lnTo>
                    <a:pt x="114" y="135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4" y="132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14" y="132"/>
                  </a:lnTo>
                  <a:lnTo>
                    <a:pt x="117" y="132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7"/>
                  </a:lnTo>
                  <a:lnTo>
                    <a:pt x="119" y="137"/>
                  </a:lnTo>
                  <a:lnTo>
                    <a:pt x="119" y="137"/>
                  </a:lnTo>
                  <a:close/>
                  <a:moveTo>
                    <a:pt x="139" y="130"/>
                  </a:moveTo>
                  <a:lnTo>
                    <a:pt x="139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9" y="128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close/>
                  <a:moveTo>
                    <a:pt x="135" y="128"/>
                  </a:move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30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close/>
                  <a:moveTo>
                    <a:pt x="132" y="128"/>
                  </a:move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6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close/>
                  <a:moveTo>
                    <a:pt x="130" y="126"/>
                  </a:move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6"/>
                  </a:lnTo>
                  <a:close/>
                  <a:moveTo>
                    <a:pt x="70" y="121"/>
                  </a:moveTo>
                  <a:lnTo>
                    <a:pt x="72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3"/>
                  </a:lnTo>
                  <a:lnTo>
                    <a:pt x="70" y="123"/>
                  </a:lnTo>
                  <a:lnTo>
                    <a:pt x="70" y="123"/>
                  </a:lnTo>
                  <a:lnTo>
                    <a:pt x="70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2" y="123"/>
                  </a:lnTo>
                  <a:lnTo>
                    <a:pt x="74" y="123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6" y="123"/>
                  </a:lnTo>
                  <a:lnTo>
                    <a:pt x="76" y="123"/>
                  </a:lnTo>
                  <a:lnTo>
                    <a:pt x="76" y="126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7"/>
                  </a:lnTo>
                  <a:lnTo>
                    <a:pt x="83" y="139"/>
                  </a:lnTo>
                  <a:lnTo>
                    <a:pt x="83" y="139"/>
                  </a:lnTo>
                  <a:lnTo>
                    <a:pt x="83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1"/>
                  </a:lnTo>
                  <a:lnTo>
                    <a:pt x="85" y="144"/>
                  </a:lnTo>
                  <a:lnTo>
                    <a:pt x="85" y="144"/>
                  </a:lnTo>
                  <a:lnTo>
                    <a:pt x="85" y="144"/>
                  </a:lnTo>
                  <a:lnTo>
                    <a:pt x="85" y="144"/>
                  </a:lnTo>
                  <a:lnTo>
                    <a:pt x="85" y="144"/>
                  </a:lnTo>
                  <a:lnTo>
                    <a:pt x="85" y="144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6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1" y="153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9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9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4" y="150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1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0" y="141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70" y="139"/>
                  </a:lnTo>
                  <a:lnTo>
                    <a:pt x="67" y="139"/>
                  </a:lnTo>
                  <a:lnTo>
                    <a:pt x="67" y="139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7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7" y="135"/>
                  </a:lnTo>
                  <a:lnTo>
                    <a:pt x="65" y="132"/>
                  </a:lnTo>
                  <a:lnTo>
                    <a:pt x="65" y="130"/>
                  </a:lnTo>
                  <a:lnTo>
                    <a:pt x="65" y="130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6" y="126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70" y="123"/>
                  </a:lnTo>
                  <a:lnTo>
                    <a:pt x="70" y="121"/>
                  </a:lnTo>
                  <a:lnTo>
                    <a:pt x="70" y="123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close/>
                  <a:moveTo>
                    <a:pt x="90" y="121"/>
                  </a:move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3"/>
                  </a:lnTo>
                  <a:lnTo>
                    <a:pt x="92" y="123"/>
                  </a:lnTo>
                  <a:lnTo>
                    <a:pt x="92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3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close/>
                  <a:moveTo>
                    <a:pt x="72" y="121"/>
                  </a:moveTo>
                  <a:lnTo>
                    <a:pt x="72" y="121"/>
                  </a:lnTo>
                  <a:lnTo>
                    <a:pt x="74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lnTo>
                    <a:pt x="72" y="121"/>
                  </a:lnTo>
                  <a:close/>
                  <a:moveTo>
                    <a:pt x="70" y="119"/>
                  </a:moveTo>
                  <a:lnTo>
                    <a:pt x="70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close/>
                  <a:moveTo>
                    <a:pt x="52" y="114"/>
                  </a:move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lnTo>
                    <a:pt x="52" y="114"/>
                  </a:lnTo>
                  <a:close/>
                  <a:moveTo>
                    <a:pt x="126" y="112"/>
                  </a:move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3" y="112"/>
                  </a:lnTo>
                  <a:lnTo>
                    <a:pt x="123" y="110"/>
                  </a:lnTo>
                  <a:lnTo>
                    <a:pt x="126" y="110"/>
                  </a:lnTo>
                  <a:lnTo>
                    <a:pt x="126" y="112"/>
                  </a:lnTo>
                  <a:close/>
                  <a:moveTo>
                    <a:pt x="137" y="110"/>
                  </a:move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1" y="121"/>
                  </a:lnTo>
                  <a:lnTo>
                    <a:pt x="141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5" y="114"/>
                  </a:lnTo>
                  <a:lnTo>
                    <a:pt x="135" y="114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2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08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08"/>
                  </a:lnTo>
                  <a:lnTo>
                    <a:pt x="137" y="108"/>
                  </a:lnTo>
                  <a:lnTo>
                    <a:pt x="137" y="108"/>
                  </a:lnTo>
                  <a:lnTo>
                    <a:pt x="137" y="110"/>
                  </a:lnTo>
                  <a:close/>
                  <a:moveTo>
                    <a:pt x="94" y="110"/>
                  </a:moveTo>
                  <a:lnTo>
                    <a:pt x="94" y="110"/>
                  </a:lnTo>
                  <a:lnTo>
                    <a:pt x="94" y="110"/>
                  </a:lnTo>
                  <a:lnTo>
                    <a:pt x="92" y="110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2" y="108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close/>
                  <a:moveTo>
                    <a:pt x="97" y="94"/>
                  </a:moveTo>
                  <a:lnTo>
                    <a:pt x="97" y="94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close/>
                  <a:moveTo>
                    <a:pt x="90" y="90"/>
                  </a:moveTo>
                  <a:lnTo>
                    <a:pt x="90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close/>
                  <a:moveTo>
                    <a:pt x="85" y="85"/>
                  </a:moveTo>
                  <a:lnTo>
                    <a:pt x="88" y="85"/>
                  </a:lnTo>
                  <a:lnTo>
                    <a:pt x="88" y="85"/>
                  </a:lnTo>
                  <a:lnTo>
                    <a:pt x="88" y="85"/>
                  </a:lnTo>
                  <a:lnTo>
                    <a:pt x="88" y="85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0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5" y="94"/>
                  </a:lnTo>
                  <a:lnTo>
                    <a:pt x="85" y="94"/>
                  </a:lnTo>
                  <a:lnTo>
                    <a:pt x="85" y="94"/>
                  </a:lnTo>
                  <a:lnTo>
                    <a:pt x="88" y="94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close/>
                  <a:moveTo>
                    <a:pt x="40" y="58"/>
                  </a:moveTo>
                  <a:lnTo>
                    <a:pt x="40" y="58"/>
                  </a:lnTo>
                  <a:lnTo>
                    <a:pt x="40" y="58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3" y="58"/>
                  </a:lnTo>
                  <a:lnTo>
                    <a:pt x="40" y="58"/>
                  </a:lnTo>
                  <a:close/>
                  <a:moveTo>
                    <a:pt x="81" y="7"/>
                  </a:move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close/>
                  <a:moveTo>
                    <a:pt x="81" y="7"/>
                  </a:moveTo>
                  <a:lnTo>
                    <a:pt x="81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1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5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5" y="52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8"/>
                  </a:lnTo>
                  <a:lnTo>
                    <a:pt x="88" y="108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2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5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8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4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3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8" y="103"/>
                  </a:lnTo>
                  <a:lnTo>
                    <a:pt x="108" y="103"/>
                  </a:lnTo>
                  <a:lnTo>
                    <a:pt x="108" y="103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08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7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14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9" y="114"/>
                  </a:lnTo>
                  <a:lnTo>
                    <a:pt x="117" y="112"/>
                  </a:lnTo>
                  <a:lnTo>
                    <a:pt x="117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0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08"/>
                  </a:lnTo>
                  <a:lnTo>
                    <a:pt x="119" y="108"/>
                  </a:lnTo>
                  <a:lnTo>
                    <a:pt x="119" y="108"/>
                  </a:lnTo>
                  <a:lnTo>
                    <a:pt x="119" y="108"/>
                  </a:lnTo>
                  <a:lnTo>
                    <a:pt x="119" y="108"/>
                  </a:lnTo>
                  <a:lnTo>
                    <a:pt x="119" y="108"/>
                  </a:lnTo>
                  <a:lnTo>
                    <a:pt x="119" y="108"/>
                  </a:lnTo>
                  <a:lnTo>
                    <a:pt x="119" y="108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3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8" y="112"/>
                  </a:lnTo>
                  <a:lnTo>
                    <a:pt x="128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2" y="114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2" y="117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28" y="119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19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3" y="121"/>
                  </a:lnTo>
                  <a:lnTo>
                    <a:pt x="126" y="121"/>
                  </a:lnTo>
                  <a:lnTo>
                    <a:pt x="126" y="121"/>
                  </a:lnTo>
                  <a:lnTo>
                    <a:pt x="126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28" y="123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30" y="126"/>
                  </a:lnTo>
                  <a:lnTo>
                    <a:pt x="130" y="126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2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32" y="132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2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9" y="132"/>
                  </a:lnTo>
                  <a:lnTo>
                    <a:pt x="139" y="132"/>
                  </a:lnTo>
                  <a:lnTo>
                    <a:pt x="139" y="132"/>
                  </a:lnTo>
                  <a:lnTo>
                    <a:pt x="139" y="132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39" y="135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9" y="137"/>
                  </a:lnTo>
                  <a:lnTo>
                    <a:pt x="139" y="139"/>
                  </a:lnTo>
                  <a:lnTo>
                    <a:pt x="139" y="139"/>
                  </a:lnTo>
                  <a:lnTo>
                    <a:pt x="139" y="141"/>
                  </a:lnTo>
                  <a:lnTo>
                    <a:pt x="139" y="141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2" y="135"/>
                  </a:lnTo>
                  <a:lnTo>
                    <a:pt x="132" y="135"/>
                  </a:lnTo>
                  <a:lnTo>
                    <a:pt x="132" y="135"/>
                  </a:lnTo>
                  <a:lnTo>
                    <a:pt x="132" y="135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2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28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6" y="137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3" y="135"/>
                  </a:lnTo>
                  <a:lnTo>
                    <a:pt x="123" y="135"/>
                  </a:lnTo>
                  <a:lnTo>
                    <a:pt x="123" y="132"/>
                  </a:lnTo>
                  <a:lnTo>
                    <a:pt x="123" y="132"/>
                  </a:lnTo>
                  <a:lnTo>
                    <a:pt x="123" y="132"/>
                  </a:lnTo>
                  <a:lnTo>
                    <a:pt x="123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21" y="135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19" y="132"/>
                  </a:lnTo>
                  <a:lnTo>
                    <a:pt x="121" y="132"/>
                  </a:lnTo>
                  <a:lnTo>
                    <a:pt x="119" y="132"/>
                  </a:lnTo>
                  <a:lnTo>
                    <a:pt x="121" y="130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8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3"/>
                  </a:lnTo>
                  <a:lnTo>
                    <a:pt x="117" y="123"/>
                  </a:lnTo>
                  <a:lnTo>
                    <a:pt x="117" y="123"/>
                  </a:lnTo>
                  <a:lnTo>
                    <a:pt x="114" y="123"/>
                  </a:lnTo>
                  <a:lnTo>
                    <a:pt x="114" y="121"/>
                  </a:lnTo>
                  <a:lnTo>
                    <a:pt x="114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2" y="121"/>
                  </a:lnTo>
                  <a:lnTo>
                    <a:pt x="110" y="121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10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1" y="114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3" y="121"/>
                  </a:lnTo>
                  <a:lnTo>
                    <a:pt x="103" y="121"/>
                  </a:lnTo>
                  <a:lnTo>
                    <a:pt x="105" y="121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5" y="123"/>
                  </a:lnTo>
                  <a:lnTo>
                    <a:pt x="105" y="126"/>
                  </a:lnTo>
                  <a:lnTo>
                    <a:pt x="105" y="126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28"/>
                  </a:lnTo>
                  <a:lnTo>
                    <a:pt x="108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5" y="130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8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1" y="123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9" y="121"/>
                  </a:lnTo>
                  <a:lnTo>
                    <a:pt x="97" y="121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4" y="119"/>
                  </a:lnTo>
                  <a:lnTo>
                    <a:pt x="94" y="119"/>
                  </a:lnTo>
                  <a:lnTo>
                    <a:pt x="94" y="117"/>
                  </a:lnTo>
                  <a:lnTo>
                    <a:pt x="92" y="117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1" y="112"/>
                  </a:lnTo>
                  <a:lnTo>
                    <a:pt x="81" y="114"/>
                  </a:lnTo>
                  <a:lnTo>
                    <a:pt x="81" y="114"/>
                  </a:lnTo>
                  <a:lnTo>
                    <a:pt x="81" y="114"/>
                  </a:lnTo>
                  <a:lnTo>
                    <a:pt x="81" y="114"/>
                  </a:lnTo>
                  <a:lnTo>
                    <a:pt x="81" y="114"/>
                  </a:lnTo>
                  <a:lnTo>
                    <a:pt x="81" y="114"/>
                  </a:lnTo>
                  <a:lnTo>
                    <a:pt x="79" y="114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81" y="119"/>
                  </a:lnTo>
                  <a:lnTo>
                    <a:pt x="79" y="119"/>
                  </a:lnTo>
                  <a:lnTo>
                    <a:pt x="79" y="119"/>
                  </a:lnTo>
                  <a:lnTo>
                    <a:pt x="79" y="119"/>
                  </a:lnTo>
                  <a:lnTo>
                    <a:pt x="79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9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0" y="117"/>
                  </a:lnTo>
                  <a:lnTo>
                    <a:pt x="70" y="114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5" y="114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7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1" y="112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1" y="110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5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5" y="101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7" y="94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58" y="92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2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7"/>
                  </a:lnTo>
                  <a:lnTo>
                    <a:pt x="61" y="97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99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7" y="92"/>
                  </a:lnTo>
                  <a:lnTo>
                    <a:pt x="47" y="90"/>
                  </a:lnTo>
                  <a:lnTo>
                    <a:pt x="47" y="88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3" y="79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4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8" y="63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9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38"/>
                  </a:lnTo>
                  <a:lnTo>
                    <a:pt x="47" y="36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1" y="2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4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7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6" name="Freeform 521"/>
            <p:cNvSpPr>
              <a:spLocks/>
            </p:cNvSpPr>
            <p:nvPr/>
          </p:nvSpPr>
          <p:spPr bwMode="auto">
            <a:xfrm>
              <a:off x="2789444" y="3969095"/>
              <a:ext cx="466328" cy="728741"/>
            </a:xfrm>
            <a:custGeom>
              <a:avLst/>
              <a:gdLst>
                <a:gd name="T0" fmla="*/ 144 w 279"/>
                <a:gd name="T1" fmla="*/ 11 h 436"/>
                <a:gd name="T2" fmla="*/ 151 w 279"/>
                <a:gd name="T3" fmla="*/ 23 h 436"/>
                <a:gd name="T4" fmla="*/ 160 w 279"/>
                <a:gd name="T5" fmla="*/ 29 h 436"/>
                <a:gd name="T6" fmla="*/ 164 w 279"/>
                <a:gd name="T7" fmla="*/ 40 h 436"/>
                <a:gd name="T8" fmla="*/ 171 w 279"/>
                <a:gd name="T9" fmla="*/ 52 h 436"/>
                <a:gd name="T10" fmla="*/ 180 w 279"/>
                <a:gd name="T11" fmla="*/ 56 h 436"/>
                <a:gd name="T12" fmla="*/ 198 w 279"/>
                <a:gd name="T13" fmla="*/ 52 h 436"/>
                <a:gd name="T14" fmla="*/ 212 w 279"/>
                <a:gd name="T15" fmla="*/ 54 h 436"/>
                <a:gd name="T16" fmla="*/ 223 w 279"/>
                <a:gd name="T17" fmla="*/ 56 h 436"/>
                <a:gd name="T18" fmla="*/ 232 w 279"/>
                <a:gd name="T19" fmla="*/ 61 h 436"/>
                <a:gd name="T20" fmla="*/ 230 w 279"/>
                <a:gd name="T21" fmla="*/ 90 h 436"/>
                <a:gd name="T22" fmla="*/ 234 w 279"/>
                <a:gd name="T23" fmla="*/ 101 h 436"/>
                <a:gd name="T24" fmla="*/ 223 w 279"/>
                <a:gd name="T25" fmla="*/ 99 h 436"/>
                <a:gd name="T26" fmla="*/ 212 w 279"/>
                <a:gd name="T27" fmla="*/ 103 h 436"/>
                <a:gd name="T28" fmla="*/ 200 w 279"/>
                <a:gd name="T29" fmla="*/ 106 h 436"/>
                <a:gd name="T30" fmla="*/ 187 w 279"/>
                <a:gd name="T31" fmla="*/ 115 h 436"/>
                <a:gd name="T32" fmla="*/ 178 w 279"/>
                <a:gd name="T33" fmla="*/ 121 h 436"/>
                <a:gd name="T34" fmla="*/ 173 w 279"/>
                <a:gd name="T35" fmla="*/ 153 h 436"/>
                <a:gd name="T36" fmla="*/ 158 w 279"/>
                <a:gd name="T37" fmla="*/ 173 h 436"/>
                <a:gd name="T38" fmla="*/ 167 w 279"/>
                <a:gd name="T39" fmla="*/ 196 h 436"/>
                <a:gd name="T40" fmla="*/ 180 w 279"/>
                <a:gd name="T41" fmla="*/ 218 h 436"/>
                <a:gd name="T42" fmla="*/ 196 w 279"/>
                <a:gd name="T43" fmla="*/ 229 h 436"/>
                <a:gd name="T44" fmla="*/ 221 w 279"/>
                <a:gd name="T45" fmla="*/ 234 h 436"/>
                <a:gd name="T46" fmla="*/ 232 w 279"/>
                <a:gd name="T47" fmla="*/ 227 h 436"/>
                <a:gd name="T48" fmla="*/ 234 w 279"/>
                <a:gd name="T49" fmla="*/ 261 h 436"/>
                <a:gd name="T50" fmla="*/ 272 w 279"/>
                <a:gd name="T51" fmla="*/ 299 h 436"/>
                <a:gd name="T52" fmla="*/ 270 w 279"/>
                <a:gd name="T53" fmla="*/ 326 h 436"/>
                <a:gd name="T54" fmla="*/ 268 w 279"/>
                <a:gd name="T55" fmla="*/ 346 h 436"/>
                <a:gd name="T56" fmla="*/ 266 w 279"/>
                <a:gd name="T57" fmla="*/ 367 h 436"/>
                <a:gd name="T58" fmla="*/ 275 w 279"/>
                <a:gd name="T59" fmla="*/ 394 h 436"/>
                <a:gd name="T60" fmla="*/ 266 w 279"/>
                <a:gd name="T61" fmla="*/ 412 h 436"/>
                <a:gd name="T62" fmla="*/ 252 w 279"/>
                <a:gd name="T63" fmla="*/ 436 h 436"/>
                <a:gd name="T64" fmla="*/ 230 w 279"/>
                <a:gd name="T65" fmla="*/ 420 h 436"/>
                <a:gd name="T66" fmla="*/ 212 w 279"/>
                <a:gd name="T67" fmla="*/ 405 h 436"/>
                <a:gd name="T68" fmla="*/ 187 w 279"/>
                <a:gd name="T69" fmla="*/ 389 h 436"/>
                <a:gd name="T70" fmla="*/ 162 w 279"/>
                <a:gd name="T71" fmla="*/ 376 h 436"/>
                <a:gd name="T72" fmla="*/ 144 w 279"/>
                <a:gd name="T73" fmla="*/ 364 h 436"/>
                <a:gd name="T74" fmla="*/ 129 w 279"/>
                <a:gd name="T75" fmla="*/ 349 h 436"/>
                <a:gd name="T76" fmla="*/ 122 w 279"/>
                <a:gd name="T77" fmla="*/ 337 h 436"/>
                <a:gd name="T78" fmla="*/ 117 w 279"/>
                <a:gd name="T79" fmla="*/ 328 h 436"/>
                <a:gd name="T80" fmla="*/ 111 w 279"/>
                <a:gd name="T81" fmla="*/ 306 h 436"/>
                <a:gd name="T82" fmla="*/ 97 w 279"/>
                <a:gd name="T83" fmla="*/ 286 h 436"/>
                <a:gd name="T84" fmla="*/ 86 w 279"/>
                <a:gd name="T85" fmla="*/ 268 h 436"/>
                <a:gd name="T86" fmla="*/ 77 w 279"/>
                <a:gd name="T87" fmla="*/ 250 h 436"/>
                <a:gd name="T88" fmla="*/ 70 w 279"/>
                <a:gd name="T89" fmla="*/ 236 h 436"/>
                <a:gd name="T90" fmla="*/ 63 w 279"/>
                <a:gd name="T91" fmla="*/ 218 h 436"/>
                <a:gd name="T92" fmla="*/ 61 w 279"/>
                <a:gd name="T93" fmla="*/ 211 h 436"/>
                <a:gd name="T94" fmla="*/ 43 w 279"/>
                <a:gd name="T95" fmla="*/ 182 h 436"/>
                <a:gd name="T96" fmla="*/ 16 w 279"/>
                <a:gd name="T97" fmla="*/ 151 h 436"/>
                <a:gd name="T98" fmla="*/ 7 w 279"/>
                <a:gd name="T99" fmla="*/ 126 h 436"/>
                <a:gd name="T100" fmla="*/ 0 w 279"/>
                <a:gd name="T101" fmla="*/ 108 h 436"/>
                <a:gd name="T102" fmla="*/ 16 w 279"/>
                <a:gd name="T103" fmla="*/ 85 h 436"/>
                <a:gd name="T104" fmla="*/ 23 w 279"/>
                <a:gd name="T105" fmla="*/ 85 h 436"/>
                <a:gd name="T106" fmla="*/ 18 w 279"/>
                <a:gd name="T107" fmla="*/ 97 h 436"/>
                <a:gd name="T108" fmla="*/ 27 w 279"/>
                <a:gd name="T109" fmla="*/ 101 h 436"/>
                <a:gd name="T110" fmla="*/ 43 w 279"/>
                <a:gd name="T111" fmla="*/ 115 h 436"/>
                <a:gd name="T112" fmla="*/ 57 w 279"/>
                <a:gd name="T113" fmla="*/ 106 h 436"/>
                <a:gd name="T114" fmla="*/ 61 w 279"/>
                <a:gd name="T115" fmla="*/ 85 h 436"/>
                <a:gd name="T116" fmla="*/ 72 w 279"/>
                <a:gd name="T117" fmla="*/ 70 h 436"/>
                <a:gd name="T118" fmla="*/ 124 w 279"/>
                <a:gd name="T119" fmla="*/ 23 h 436"/>
                <a:gd name="T120" fmla="*/ 126 w 279"/>
                <a:gd name="T121" fmla="*/ 11 h 436"/>
                <a:gd name="T122" fmla="*/ 124 w 279"/>
                <a:gd name="T123" fmla="*/ 2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9" h="436">
                  <a:moveTo>
                    <a:pt x="131" y="2"/>
                  </a:moveTo>
                  <a:lnTo>
                    <a:pt x="133" y="5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7" y="5"/>
                  </a:lnTo>
                  <a:lnTo>
                    <a:pt x="137" y="7"/>
                  </a:lnTo>
                  <a:lnTo>
                    <a:pt x="135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7"/>
                  </a:lnTo>
                  <a:lnTo>
                    <a:pt x="140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4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3"/>
                  </a:lnTo>
                  <a:lnTo>
                    <a:pt x="146" y="23"/>
                  </a:lnTo>
                  <a:lnTo>
                    <a:pt x="149" y="23"/>
                  </a:lnTo>
                  <a:lnTo>
                    <a:pt x="149" y="23"/>
                  </a:lnTo>
                  <a:lnTo>
                    <a:pt x="151" y="23"/>
                  </a:lnTo>
                  <a:lnTo>
                    <a:pt x="151" y="23"/>
                  </a:lnTo>
                  <a:lnTo>
                    <a:pt x="151" y="23"/>
                  </a:lnTo>
                  <a:lnTo>
                    <a:pt x="151" y="23"/>
                  </a:lnTo>
                  <a:lnTo>
                    <a:pt x="151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5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0" y="29"/>
                  </a:lnTo>
                  <a:lnTo>
                    <a:pt x="162" y="29"/>
                  </a:lnTo>
                  <a:lnTo>
                    <a:pt x="162" y="29"/>
                  </a:lnTo>
                  <a:lnTo>
                    <a:pt x="162" y="29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2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2" y="36"/>
                  </a:lnTo>
                  <a:lnTo>
                    <a:pt x="162" y="38"/>
                  </a:lnTo>
                  <a:lnTo>
                    <a:pt x="162" y="38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7" y="43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69" y="40"/>
                  </a:lnTo>
                  <a:lnTo>
                    <a:pt x="171" y="43"/>
                  </a:lnTo>
                  <a:lnTo>
                    <a:pt x="169" y="43"/>
                  </a:lnTo>
                  <a:lnTo>
                    <a:pt x="171" y="43"/>
                  </a:lnTo>
                  <a:lnTo>
                    <a:pt x="171" y="43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9"/>
                  </a:lnTo>
                  <a:lnTo>
                    <a:pt x="171" y="49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1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6" y="54"/>
                  </a:lnTo>
                  <a:lnTo>
                    <a:pt x="176" y="54"/>
                  </a:lnTo>
                  <a:lnTo>
                    <a:pt x="176" y="54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78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0" y="56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2" y="56"/>
                  </a:lnTo>
                  <a:lnTo>
                    <a:pt x="185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4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8" y="52"/>
                  </a:lnTo>
                  <a:lnTo>
                    <a:pt x="198" y="52"/>
                  </a:lnTo>
                  <a:lnTo>
                    <a:pt x="198" y="52"/>
                  </a:lnTo>
                  <a:lnTo>
                    <a:pt x="198" y="52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0" y="49"/>
                  </a:lnTo>
                  <a:lnTo>
                    <a:pt x="200" y="52"/>
                  </a:lnTo>
                  <a:lnTo>
                    <a:pt x="200" y="52"/>
                  </a:lnTo>
                  <a:lnTo>
                    <a:pt x="200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5" y="54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4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9" y="54"/>
                  </a:lnTo>
                  <a:lnTo>
                    <a:pt x="209" y="54"/>
                  </a:lnTo>
                  <a:lnTo>
                    <a:pt x="209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2" y="54"/>
                  </a:lnTo>
                  <a:lnTo>
                    <a:pt x="214" y="54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4" y="52"/>
                  </a:lnTo>
                  <a:lnTo>
                    <a:pt x="216" y="52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6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21" y="54"/>
                  </a:lnTo>
                  <a:lnTo>
                    <a:pt x="221" y="54"/>
                  </a:lnTo>
                  <a:lnTo>
                    <a:pt x="221" y="54"/>
                  </a:lnTo>
                  <a:lnTo>
                    <a:pt x="223" y="54"/>
                  </a:lnTo>
                  <a:lnTo>
                    <a:pt x="223" y="54"/>
                  </a:lnTo>
                  <a:lnTo>
                    <a:pt x="223" y="54"/>
                  </a:lnTo>
                  <a:lnTo>
                    <a:pt x="223" y="54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3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5" y="56"/>
                  </a:lnTo>
                  <a:lnTo>
                    <a:pt x="227" y="56"/>
                  </a:lnTo>
                  <a:lnTo>
                    <a:pt x="227" y="56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27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58"/>
                  </a:lnTo>
                  <a:lnTo>
                    <a:pt x="230" y="61"/>
                  </a:lnTo>
                  <a:lnTo>
                    <a:pt x="230" y="61"/>
                  </a:lnTo>
                  <a:lnTo>
                    <a:pt x="230" y="61"/>
                  </a:lnTo>
                  <a:lnTo>
                    <a:pt x="230" y="61"/>
                  </a:lnTo>
                  <a:lnTo>
                    <a:pt x="232" y="58"/>
                  </a:lnTo>
                  <a:lnTo>
                    <a:pt x="232" y="58"/>
                  </a:lnTo>
                  <a:lnTo>
                    <a:pt x="232" y="58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4" y="61"/>
                  </a:lnTo>
                  <a:lnTo>
                    <a:pt x="234" y="61"/>
                  </a:lnTo>
                  <a:lnTo>
                    <a:pt x="234" y="61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1"/>
                  </a:lnTo>
                  <a:lnTo>
                    <a:pt x="236" y="61"/>
                  </a:lnTo>
                  <a:lnTo>
                    <a:pt x="236" y="61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5"/>
                  </a:lnTo>
                  <a:lnTo>
                    <a:pt x="234" y="67"/>
                  </a:lnTo>
                  <a:lnTo>
                    <a:pt x="232" y="70"/>
                  </a:lnTo>
                  <a:lnTo>
                    <a:pt x="232" y="74"/>
                  </a:lnTo>
                  <a:lnTo>
                    <a:pt x="230" y="76"/>
                  </a:lnTo>
                  <a:lnTo>
                    <a:pt x="227" y="79"/>
                  </a:lnTo>
                  <a:lnTo>
                    <a:pt x="227" y="81"/>
                  </a:lnTo>
                  <a:lnTo>
                    <a:pt x="225" y="85"/>
                  </a:lnTo>
                  <a:lnTo>
                    <a:pt x="223" y="88"/>
                  </a:lnTo>
                  <a:lnTo>
                    <a:pt x="223" y="90"/>
                  </a:lnTo>
                  <a:lnTo>
                    <a:pt x="223" y="90"/>
                  </a:lnTo>
                  <a:lnTo>
                    <a:pt x="227" y="90"/>
                  </a:lnTo>
                  <a:lnTo>
                    <a:pt x="227" y="90"/>
                  </a:lnTo>
                  <a:lnTo>
                    <a:pt x="227" y="92"/>
                  </a:lnTo>
                  <a:lnTo>
                    <a:pt x="227" y="92"/>
                  </a:lnTo>
                  <a:lnTo>
                    <a:pt x="230" y="90"/>
                  </a:lnTo>
                  <a:lnTo>
                    <a:pt x="230" y="90"/>
                  </a:lnTo>
                  <a:lnTo>
                    <a:pt x="230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2" y="90"/>
                  </a:lnTo>
                  <a:lnTo>
                    <a:pt x="234" y="92"/>
                  </a:lnTo>
                  <a:lnTo>
                    <a:pt x="234" y="92"/>
                  </a:lnTo>
                  <a:lnTo>
                    <a:pt x="234" y="92"/>
                  </a:lnTo>
                  <a:lnTo>
                    <a:pt x="234" y="94"/>
                  </a:lnTo>
                  <a:lnTo>
                    <a:pt x="234" y="94"/>
                  </a:lnTo>
                  <a:lnTo>
                    <a:pt x="234" y="94"/>
                  </a:lnTo>
                  <a:lnTo>
                    <a:pt x="236" y="97"/>
                  </a:lnTo>
                  <a:lnTo>
                    <a:pt x="239" y="97"/>
                  </a:lnTo>
                  <a:lnTo>
                    <a:pt x="239" y="99"/>
                  </a:lnTo>
                  <a:lnTo>
                    <a:pt x="239" y="99"/>
                  </a:lnTo>
                  <a:lnTo>
                    <a:pt x="239" y="99"/>
                  </a:lnTo>
                  <a:lnTo>
                    <a:pt x="239" y="101"/>
                  </a:lnTo>
                  <a:lnTo>
                    <a:pt x="239" y="101"/>
                  </a:lnTo>
                  <a:lnTo>
                    <a:pt x="239" y="101"/>
                  </a:lnTo>
                  <a:lnTo>
                    <a:pt x="239" y="101"/>
                  </a:lnTo>
                  <a:lnTo>
                    <a:pt x="239" y="103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6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3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2" y="101"/>
                  </a:lnTo>
                  <a:lnTo>
                    <a:pt x="232" y="101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2" y="99"/>
                  </a:lnTo>
                  <a:lnTo>
                    <a:pt x="232" y="97"/>
                  </a:lnTo>
                  <a:lnTo>
                    <a:pt x="232" y="97"/>
                  </a:lnTo>
                  <a:lnTo>
                    <a:pt x="232" y="99"/>
                  </a:lnTo>
                  <a:lnTo>
                    <a:pt x="230" y="99"/>
                  </a:lnTo>
                  <a:lnTo>
                    <a:pt x="230" y="97"/>
                  </a:lnTo>
                  <a:lnTo>
                    <a:pt x="230" y="97"/>
                  </a:lnTo>
                  <a:lnTo>
                    <a:pt x="230" y="97"/>
                  </a:lnTo>
                  <a:lnTo>
                    <a:pt x="230" y="97"/>
                  </a:lnTo>
                  <a:lnTo>
                    <a:pt x="230" y="97"/>
                  </a:lnTo>
                  <a:lnTo>
                    <a:pt x="227" y="99"/>
                  </a:lnTo>
                  <a:lnTo>
                    <a:pt x="227" y="99"/>
                  </a:lnTo>
                  <a:lnTo>
                    <a:pt x="227" y="99"/>
                  </a:lnTo>
                  <a:lnTo>
                    <a:pt x="227" y="99"/>
                  </a:lnTo>
                  <a:lnTo>
                    <a:pt x="227" y="97"/>
                  </a:lnTo>
                  <a:lnTo>
                    <a:pt x="227" y="97"/>
                  </a:lnTo>
                  <a:lnTo>
                    <a:pt x="227" y="97"/>
                  </a:lnTo>
                  <a:lnTo>
                    <a:pt x="227" y="99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5" y="99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5" y="97"/>
                  </a:lnTo>
                  <a:lnTo>
                    <a:pt x="223" y="99"/>
                  </a:lnTo>
                  <a:lnTo>
                    <a:pt x="223" y="99"/>
                  </a:lnTo>
                  <a:lnTo>
                    <a:pt x="223" y="99"/>
                  </a:lnTo>
                  <a:lnTo>
                    <a:pt x="223" y="99"/>
                  </a:lnTo>
                  <a:lnTo>
                    <a:pt x="223" y="99"/>
                  </a:lnTo>
                  <a:lnTo>
                    <a:pt x="221" y="99"/>
                  </a:lnTo>
                  <a:lnTo>
                    <a:pt x="221" y="99"/>
                  </a:lnTo>
                  <a:lnTo>
                    <a:pt x="221" y="99"/>
                  </a:lnTo>
                  <a:lnTo>
                    <a:pt x="221" y="99"/>
                  </a:lnTo>
                  <a:lnTo>
                    <a:pt x="221" y="99"/>
                  </a:lnTo>
                  <a:lnTo>
                    <a:pt x="221" y="99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21" y="101"/>
                  </a:lnTo>
                  <a:lnTo>
                    <a:pt x="218" y="101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8" y="103"/>
                  </a:lnTo>
                  <a:lnTo>
                    <a:pt x="216" y="103"/>
                  </a:lnTo>
                  <a:lnTo>
                    <a:pt x="216" y="103"/>
                  </a:lnTo>
                  <a:lnTo>
                    <a:pt x="216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4" y="103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12" y="103"/>
                  </a:lnTo>
                  <a:lnTo>
                    <a:pt x="212" y="106"/>
                  </a:lnTo>
                  <a:lnTo>
                    <a:pt x="212" y="106"/>
                  </a:lnTo>
                  <a:lnTo>
                    <a:pt x="212" y="106"/>
                  </a:lnTo>
                  <a:lnTo>
                    <a:pt x="212" y="103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3"/>
                  </a:lnTo>
                  <a:lnTo>
                    <a:pt x="209" y="103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6"/>
                  </a:lnTo>
                  <a:lnTo>
                    <a:pt x="205" y="106"/>
                  </a:lnTo>
                  <a:lnTo>
                    <a:pt x="205" y="106"/>
                  </a:lnTo>
                  <a:lnTo>
                    <a:pt x="205" y="106"/>
                  </a:lnTo>
                  <a:lnTo>
                    <a:pt x="205" y="106"/>
                  </a:lnTo>
                  <a:lnTo>
                    <a:pt x="205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3" y="106"/>
                  </a:lnTo>
                  <a:lnTo>
                    <a:pt x="200" y="106"/>
                  </a:lnTo>
                  <a:lnTo>
                    <a:pt x="200" y="106"/>
                  </a:lnTo>
                  <a:lnTo>
                    <a:pt x="200" y="106"/>
                  </a:lnTo>
                  <a:lnTo>
                    <a:pt x="200" y="106"/>
                  </a:lnTo>
                  <a:lnTo>
                    <a:pt x="200" y="106"/>
                  </a:lnTo>
                  <a:lnTo>
                    <a:pt x="200" y="106"/>
                  </a:lnTo>
                  <a:lnTo>
                    <a:pt x="200" y="106"/>
                  </a:lnTo>
                  <a:lnTo>
                    <a:pt x="198" y="106"/>
                  </a:lnTo>
                  <a:lnTo>
                    <a:pt x="198" y="106"/>
                  </a:lnTo>
                  <a:lnTo>
                    <a:pt x="198" y="108"/>
                  </a:lnTo>
                  <a:lnTo>
                    <a:pt x="198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4" y="110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7" y="115"/>
                  </a:lnTo>
                  <a:lnTo>
                    <a:pt x="187" y="115"/>
                  </a:lnTo>
                  <a:lnTo>
                    <a:pt x="187" y="115"/>
                  </a:lnTo>
                  <a:lnTo>
                    <a:pt x="187" y="115"/>
                  </a:lnTo>
                  <a:lnTo>
                    <a:pt x="187" y="115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7" y="117"/>
                  </a:lnTo>
                  <a:lnTo>
                    <a:pt x="185" y="117"/>
                  </a:lnTo>
                  <a:lnTo>
                    <a:pt x="185" y="117"/>
                  </a:lnTo>
                  <a:lnTo>
                    <a:pt x="185" y="117"/>
                  </a:lnTo>
                  <a:lnTo>
                    <a:pt x="185" y="119"/>
                  </a:lnTo>
                  <a:lnTo>
                    <a:pt x="185" y="119"/>
                  </a:lnTo>
                  <a:lnTo>
                    <a:pt x="185" y="119"/>
                  </a:lnTo>
                  <a:lnTo>
                    <a:pt x="185" y="119"/>
                  </a:lnTo>
                  <a:lnTo>
                    <a:pt x="185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2" y="119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21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19"/>
                  </a:lnTo>
                  <a:lnTo>
                    <a:pt x="180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6"/>
                  </a:lnTo>
                  <a:lnTo>
                    <a:pt x="178" y="128"/>
                  </a:lnTo>
                  <a:lnTo>
                    <a:pt x="178" y="128"/>
                  </a:lnTo>
                  <a:lnTo>
                    <a:pt x="178" y="130"/>
                  </a:lnTo>
                  <a:lnTo>
                    <a:pt x="178" y="130"/>
                  </a:lnTo>
                  <a:lnTo>
                    <a:pt x="178" y="130"/>
                  </a:lnTo>
                  <a:lnTo>
                    <a:pt x="178" y="133"/>
                  </a:lnTo>
                  <a:lnTo>
                    <a:pt x="176" y="135"/>
                  </a:lnTo>
                  <a:lnTo>
                    <a:pt x="176" y="135"/>
                  </a:lnTo>
                  <a:lnTo>
                    <a:pt x="173" y="137"/>
                  </a:lnTo>
                  <a:lnTo>
                    <a:pt x="173" y="139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51"/>
                  </a:lnTo>
                  <a:lnTo>
                    <a:pt x="173" y="151"/>
                  </a:lnTo>
                  <a:lnTo>
                    <a:pt x="173" y="151"/>
                  </a:lnTo>
                  <a:lnTo>
                    <a:pt x="173" y="153"/>
                  </a:lnTo>
                  <a:lnTo>
                    <a:pt x="173" y="153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1" y="155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7" y="157"/>
                  </a:lnTo>
                  <a:lnTo>
                    <a:pt x="164" y="160"/>
                  </a:lnTo>
                  <a:lnTo>
                    <a:pt x="164" y="160"/>
                  </a:lnTo>
                  <a:lnTo>
                    <a:pt x="164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2" y="173"/>
                  </a:lnTo>
                  <a:lnTo>
                    <a:pt x="160" y="173"/>
                  </a:lnTo>
                  <a:lnTo>
                    <a:pt x="160" y="173"/>
                  </a:lnTo>
                  <a:lnTo>
                    <a:pt x="160" y="175"/>
                  </a:lnTo>
                  <a:lnTo>
                    <a:pt x="160" y="175"/>
                  </a:lnTo>
                  <a:lnTo>
                    <a:pt x="158" y="175"/>
                  </a:lnTo>
                  <a:lnTo>
                    <a:pt x="158" y="173"/>
                  </a:lnTo>
                  <a:lnTo>
                    <a:pt x="158" y="173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58" y="175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80"/>
                  </a:lnTo>
                  <a:lnTo>
                    <a:pt x="160" y="182"/>
                  </a:lnTo>
                  <a:lnTo>
                    <a:pt x="162" y="182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7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2" y="187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4" y="189"/>
                  </a:lnTo>
                  <a:lnTo>
                    <a:pt x="164" y="189"/>
                  </a:lnTo>
                  <a:lnTo>
                    <a:pt x="164" y="191"/>
                  </a:lnTo>
                  <a:lnTo>
                    <a:pt x="164" y="191"/>
                  </a:lnTo>
                  <a:lnTo>
                    <a:pt x="167" y="191"/>
                  </a:lnTo>
                  <a:lnTo>
                    <a:pt x="167" y="193"/>
                  </a:lnTo>
                  <a:lnTo>
                    <a:pt x="167" y="193"/>
                  </a:lnTo>
                  <a:lnTo>
                    <a:pt x="167" y="193"/>
                  </a:lnTo>
                  <a:lnTo>
                    <a:pt x="167" y="193"/>
                  </a:lnTo>
                  <a:lnTo>
                    <a:pt x="167" y="196"/>
                  </a:lnTo>
                  <a:lnTo>
                    <a:pt x="167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200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5"/>
                  </a:lnTo>
                  <a:lnTo>
                    <a:pt x="173" y="205"/>
                  </a:lnTo>
                  <a:lnTo>
                    <a:pt x="173" y="205"/>
                  </a:lnTo>
                  <a:lnTo>
                    <a:pt x="173" y="205"/>
                  </a:lnTo>
                  <a:lnTo>
                    <a:pt x="176" y="207"/>
                  </a:lnTo>
                  <a:lnTo>
                    <a:pt x="176" y="207"/>
                  </a:lnTo>
                  <a:lnTo>
                    <a:pt x="176" y="207"/>
                  </a:lnTo>
                  <a:lnTo>
                    <a:pt x="176" y="207"/>
                  </a:lnTo>
                  <a:lnTo>
                    <a:pt x="176" y="209"/>
                  </a:lnTo>
                  <a:lnTo>
                    <a:pt x="178" y="211"/>
                  </a:lnTo>
                  <a:lnTo>
                    <a:pt x="178" y="211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8"/>
                  </a:lnTo>
                  <a:lnTo>
                    <a:pt x="180" y="218"/>
                  </a:lnTo>
                  <a:lnTo>
                    <a:pt x="180" y="218"/>
                  </a:lnTo>
                  <a:lnTo>
                    <a:pt x="178" y="218"/>
                  </a:lnTo>
                  <a:lnTo>
                    <a:pt x="178" y="218"/>
                  </a:lnTo>
                  <a:lnTo>
                    <a:pt x="178" y="218"/>
                  </a:lnTo>
                  <a:lnTo>
                    <a:pt x="178" y="218"/>
                  </a:lnTo>
                  <a:lnTo>
                    <a:pt x="178" y="220"/>
                  </a:lnTo>
                  <a:lnTo>
                    <a:pt x="178" y="220"/>
                  </a:lnTo>
                  <a:lnTo>
                    <a:pt x="178" y="220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85" y="223"/>
                  </a:lnTo>
                  <a:lnTo>
                    <a:pt x="187" y="223"/>
                  </a:lnTo>
                  <a:lnTo>
                    <a:pt x="187" y="223"/>
                  </a:lnTo>
                  <a:lnTo>
                    <a:pt x="187" y="225"/>
                  </a:lnTo>
                  <a:lnTo>
                    <a:pt x="187" y="225"/>
                  </a:lnTo>
                  <a:lnTo>
                    <a:pt x="187" y="225"/>
                  </a:lnTo>
                  <a:lnTo>
                    <a:pt x="187" y="223"/>
                  </a:lnTo>
                  <a:lnTo>
                    <a:pt x="187" y="223"/>
                  </a:lnTo>
                  <a:lnTo>
                    <a:pt x="187" y="225"/>
                  </a:lnTo>
                  <a:lnTo>
                    <a:pt x="189" y="225"/>
                  </a:lnTo>
                  <a:lnTo>
                    <a:pt x="189" y="225"/>
                  </a:lnTo>
                  <a:lnTo>
                    <a:pt x="189" y="225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4" y="225"/>
                  </a:lnTo>
                  <a:lnTo>
                    <a:pt x="196" y="227"/>
                  </a:lnTo>
                  <a:lnTo>
                    <a:pt x="196" y="227"/>
                  </a:lnTo>
                  <a:lnTo>
                    <a:pt x="196" y="227"/>
                  </a:lnTo>
                  <a:lnTo>
                    <a:pt x="196" y="227"/>
                  </a:lnTo>
                  <a:lnTo>
                    <a:pt x="196" y="227"/>
                  </a:lnTo>
                  <a:lnTo>
                    <a:pt x="196" y="229"/>
                  </a:lnTo>
                  <a:lnTo>
                    <a:pt x="196" y="229"/>
                  </a:lnTo>
                  <a:lnTo>
                    <a:pt x="196" y="229"/>
                  </a:lnTo>
                  <a:lnTo>
                    <a:pt x="196" y="232"/>
                  </a:lnTo>
                  <a:lnTo>
                    <a:pt x="196" y="232"/>
                  </a:lnTo>
                  <a:lnTo>
                    <a:pt x="198" y="232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6"/>
                  </a:lnTo>
                  <a:lnTo>
                    <a:pt x="198" y="236"/>
                  </a:lnTo>
                  <a:lnTo>
                    <a:pt x="198" y="236"/>
                  </a:lnTo>
                  <a:lnTo>
                    <a:pt x="198" y="236"/>
                  </a:lnTo>
                  <a:lnTo>
                    <a:pt x="198" y="236"/>
                  </a:lnTo>
                  <a:lnTo>
                    <a:pt x="198" y="236"/>
                  </a:lnTo>
                  <a:lnTo>
                    <a:pt x="198" y="236"/>
                  </a:lnTo>
                  <a:lnTo>
                    <a:pt x="203" y="236"/>
                  </a:lnTo>
                  <a:lnTo>
                    <a:pt x="207" y="236"/>
                  </a:lnTo>
                  <a:lnTo>
                    <a:pt x="209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4"/>
                  </a:lnTo>
                  <a:lnTo>
                    <a:pt x="218" y="234"/>
                  </a:lnTo>
                  <a:lnTo>
                    <a:pt x="221" y="234"/>
                  </a:lnTo>
                  <a:lnTo>
                    <a:pt x="221" y="234"/>
                  </a:lnTo>
                  <a:lnTo>
                    <a:pt x="223" y="232"/>
                  </a:lnTo>
                  <a:lnTo>
                    <a:pt x="223" y="232"/>
                  </a:lnTo>
                  <a:lnTo>
                    <a:pt x="223" y="232"/>
                  </a:lnTo>
                  <a:lnTo>
                    <a:pt x="223" y="232"/>
                  </a:lnTo>
                  <a:lnTo>
                    <a:pt x="223" y="232"/>
                  </a:lnTo>
                  <a:lnTo>
                    <a:pt x="223" y="232"/>
                  </a:lnTo>
                  <a:lnTo>
                    <a:pt x="223" y="232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5" y="229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30" y="225"/>
                  </a:lnTo>
                  <a:lnTo>
                    <a:pt x="230" y="225"/>
                  </a:lnTo>
                  <a:lnTo>
                    <a:pt x="230" y="225"/>
                  </a:lnTo>
                  <a:lnTo>
                    <a:pt x="230" y="225"/>
                  </a:lnTo>
                  <a:lnTo>
                    <a:pt x="230" y="223"/>
                  </a:lnTo>
                  <a:lnTo>
                    <a:pt x="232" y="223"/>
                  </a:lnTo>
                  <a:lnTo>
                    <a:pt x="232" y="223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0" y="227"/>
                  </a:lnTo>
                  <a:lnTo>
                    <a:pt x="230" y="227"/>
                  </a:lnTo>
                  <a:lnTo>
                    <a:pt x="230" y="227"/>
                  </a:lnTo>
                  <a:lnTo>
                    <a:pt x="230" y="227"/>
                  </a:lnTo>
                  <a:lnTo>
                    <a:pt x="230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2" y="232"/>
                  </a:lnTo>
                  <a:lnTo>
                    <a:pt x="230" y="232"/>
                  </a:lnTo>
                  <a:lnTo>
                    <a:pt x="230" y="232"/>
                  </a:lnTo>
                  <a:lnTo>
                    <a:pt x="230" y="232"/>
                  </a:lnTo>
                  <a:lnTo>
                    <a:pt x="230" y="234"/>
                  </a:lnTo>
                  <a:lnTo>
                    <a:pt x="230" y="234"/>
                  </a:lnTo>
                  <a:lnTo>
                    <a:pt x="230" y="238"/>
                  </a:lnTo>
                  <a:lnTo>
                    <a:pt x="230" y="241"/>
                  </a:lnTo>
                  <a:lnTo>
                    <a:pt x="230" y="245"/>
                  </a:lnTo>
                  <a:lnTo>
                    <a:pt x="232" y="247"/>
                  </a:lnTo>
                  <a:lnTo>
                    <a:pt x="232" y="250"/>
                  </a:lnTo>
                  <a:lnTo>
                    <a:pt x="232" y="254"/>
                  </a:lnTo>
                  <a:lnTo>
                    <a:pt x="232" y="256"/>
                  </a:lnTo>
                  <a:lnTo>
                    <a:pt x="232" y="259"/>
                  </a:lnTo>
                  <a:lnTo>
                    <a:pt x="232" y="261"/>
                  </a:lnTo>
                  <a:lnTo>
                    <a:pt x="234" y="259"/>
                  </a:lnTo>
                  <a:lnTo>
                    <a:pt x="234" y="259"/>
                  </a:lnTo>
                  <a:lnTo>
                    <a:pt x="234" y="261"/>
                  </a:lnTo>
                  <a:lnTo>
                    <a:pt x="236" y="261"/>
                  </a:lnTo>
                  <a:lnTo>
                    <a:pt x="236" y="261"/>
                  </a:lnTo>
                  <a:lnTo>
                    <a:pt x="236" y="263"/>
                  </a:lnTo>
                  <a:lnTo>
                    <a:pt x="239" y="263"/>
                  </a:lnTo>
                  <a:lnTo>
                    <a:pt x="239" y="263"/>
                  </a:lnTo>
                  <a:lnTo>
                    <a:pt x="241" y="263"/>
                  </a:lnTo>
                  <a:lnTo>
                    <a:pt x="241" y="261"/>
                  </a:lnTo>
                  <a:lnTo>
                    <a:pt x="245" y="259"/>
                  </a:lnTo>
                  <a:lnTo>
                    <a:pt x="248" y="259"/>
                  </a:lnTo>
                  <a:lnTo>
                    <a:pt x="248" y="259"/>
                  </a:lnTo>
                  <a:lnTo>
                    <a:pt x="248" y="259"/>
                  </a:lnTo>
                  <a:lnTo>
                    <a:pt x="248" y="259"/>
                  </a:lnTo>
                  <a:lnTo>
                    <a:pt x="250" y="259"/>
                  </a:lnTo>
                  <a:lnTo>
                    <a:pt x="250" y="259"/>
                  </a:lnTo>
                  <a:lnTo>
                    <a:pt x="250" y="261"/>
                  </a:lnTo>
                  <a:lnTo>
                    <a:pt x="250" y="261"/>
                  </a:lnTo>
                  <a:lnTo>
                    <a:pt x="254" y="261"/>
                  </a:lnTo>
                  <a:lnTo>
                    <a:pt x="254" y="261"/>
                  </a:lnTo>
                  <a:lnTo>
                    <a:pt x="254" y="261"/>
                  </a:lnTo>
                  <a:lnTo>
                    <a:pt x="257" y="265"/>
                  </a:lnTo>
                  <a:lnTo>
                    <a:pt x="259" y="270"/>
                  </a:lnTo>
                  <a:lnTo>
                    <a:pt x="261" y="274"/>
                  </a:lnTo>
                  <a:lnTo>
                    <a:pt x="263" y="279"/>
                  </a:lnTo>
                  <a:lnTo>
                    <a:pt x="266" y="283"/>
                  </a:lnTo>
                  <a:lnTo>
                    <a:pt x="270" y="288"/>
                  </a:lnTo>
                  <a:lnTo>
                    <a:pt x="272" y="290"/>
                  </a:lnTo>
                  <a:lnTo>
                    <a:pt x="275" y="295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5" y="297"/>
                  </a:lnTo>
                  <a:lnTo>
                    <a:pt x="275" y="299"/>
                  </a:lnTo>
                  <a:lnTo>
                    <a:pt x="275" y="299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2" y="299"/>
                  </a:lnTo>
                  <a:lnTo>
                    <a:pt x="275" y="301"/>
                  </a:lnTo>
                  <a:lnTo>
                    <a:pt x="275" y="301"/>
                  </a:lnTo>
                  <a:lnTo>
                    <a:pt x="272" y="301"/>
                  </a:lnTo>
                  <a:lnTo>
                    <a:pt x="272" y="301"/>
                  </a:lnTo>
                  <a:lnTo>
                    <a:pt x="272" y="301"/>
                  </a:lnTo>
                  <a:lnTo>
                    <a:pt x="270" y="304"/>
                  </a:lnTo>
                  <a:lnTo>
                    <a:pt x="270" y="304"/>
                  </a:lnTo>
                  <a:lnTo>
                    <a:pt x="270" y="304"/>
                  </a:lnTo>
                  <a:lnTo>
                    <a:pt x="270" y="304"/>
                  </a:lnTo>
                  <a:lnTo>
                    <a:pt x="270" y="304"/>
                  </a:lnTo>
                  <a:lnTo>
                    <a:pt x="270" y="306"/>
                  </a:lnTo>
                  <a:lnTo>
                    <a:pt x="270" y="306"/>
                  </a:lnTo>
                  <a:lnTo>
                    <a:pt x="270" y="306"/>
                  </a:lnTo>
                  <a:lnTo>
                    <a:pt x="270" y="306"/>
                  </a:lnTo>
                  <a:lnTo>
                    <a:pt x="270" y="310"/>
                  </a:lnTo>
                  <a:lnTo>
                    <a:pt x="270" y="313"/>
                  </a:lnTo>
                  <a:lnTo>
                    <a:pt x="270" y="313"/>
                  </a:lnTo>
                  <a:lnTo>
                    <a:pt x="270" y="315"/>
                  </a:lnTo>
                  <a:lnTo>
                    <a:pt x="270" y="319"/>
                  </a:lnTo>
                  <a:lnTo>
                    <a:pt x="270" y="322"/>
                  </a:lnTo>
                  <a:lnTo>
                    <a:pt x="270" y="322"/>
                  </a:lnTo>
                  <a:lnTo>
                    <a:pt x="270" y="322"/>
                  </a:lnTo>
                  <a:lnTo>
                    <a:pt x="270" y="322"/>
                  </a:lnTo>
                  <a:lnTo>
                    <a:pt x="270" y="322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70" y="324"/>
                  </a:lnTo>
                  <a:lnTo>
                    <a:pt x="268" y="324"/>
                  </a:lnTo>
                  <a:lnTo>
                    <a:pt x="268" y="324"/>
                  </a:lnTo>
                  <a:lnTo>
                    <a:pt x="268" y="324"/>
                  </a:lnTo>
                  <a:lnTo>
                    <a:pt x="268" y="326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28"/>
                  </a:lnTo>
                  <a:lnTo>
                    <a:pt x="270" y="331"/>
                  </a:lnTo>
                  <a:lnTo>
                    <a:pt x="270" y="331"/>
                  </a:lnTo>
                  <a:lnTo>
                    <a:pt x="270" y="331"/>
                  </a:lnTo>
                  <a:lnTo>
                    <a:pt x="272" y="333"/>
                  </a:lnTo>
                  <a:lnTo>
                    <a:pt x="272" y="333"/>
                  </a:lnTo>
                  <a:lnTo>
                    <a:pt x="272" y="333"/>
                  </a:lnTo>
                  <a:lnTo>
                    <a:pt x="272" y="333"/>
                  </a:lnTo>
                  <a:lnTo>
                    <a:pt x="272" y="335"/>
                  </a:lnTo>
                  <a:lnTo>
                    <a:pt x="275" y="335"/>
                  </a:lnTo>
                  <a:lnTo>
                    <a:pt x="275" y="337"/>
                  </a:lnTo>
                  <a:lnTo>
                    <a:pt x="272" y="337"/>
                  </a:lnTo>
                  <a:lnTo>
                    <a:pt x="272" y="337"/>
                  </a:lnTo>
                  <a:lnTo>
                    <a:pt x="272" y="337"/>
                  </a:lnTo>
                  <a:lnTo>
                    <a:pt x="270" y="337"/>
                  </a:lnTo>
                  <a:lnTo>
                    <a:pt x="270" y="340"/>
                  </a:lnTo>
                  <a:lnTo>
                    <a:pt x="270" y="340"/>
                  </a:lnTo>
                  <a:lnTo>
                    <a:pt x="270" y="340"/>
                  </a:lnTo>
                  <a:lnTo>
                    <a:pt x="270" y="340"/>
                  </a:lnTo>
                  <a:lnTo>
                    <a:pt x="272" y="342"/>
                  </a:lnTo>
                  <a:lnTo>
                    <a:pt x="272" y="342"/>
                  </a:lnTo>
                  <a:lnTo>
                    <a:pt x="270" y="342"/>
                  </a:lnTo>
                  <a:lnTo>
                    <a:pt x="270" y="342"/>
                  </a:lnTo>
                  <a:lnTo>
                    <a:pt x="270" y="344"/>
                  </a:lnTo>
                  <a:lnTo>
                    <a:pt x="268" y="344"/>
                  </a:lnTo>
                  <a:lnTo>
                    <a:pt x="268" y="344"/>
                  </a:lnTo>
                  <a:lnTo>
                    <a:pt x="268" y="344"/>
                  </a:lnTo>
                  <a:lnTo>
                    <a:pt x="268" y="344"/>
                  </a:lnTo>
                  <a:lnTo>
                    <a:pt x="268" y="344"/>
                  </a:lnTo>
                  <a:lnTo>
                    <a:pt x="268" y="346"/>
                  </a:lnTo>
                  <a:lnTo>
                    <a:pt x="268" y="346"/>
                  </a:lnTo>
                  <a:lnTo>
                    <a:pt x="268" y="346"/>
                  </a:lnTo>
                  <a:lnTo>
                    <a:pt x="268" y="346"/>
                  </a:lnTo>
                  <a:lnTo>
                    <a:pt x="268" y="346"/>
                  </a:lnTo>
                  <a:lnTo>
                    <a:pt x="266" y="346"/>
                  </a:lnTo>
                  <a:lnTo>
                    <a:pt x="266" y="349"/>
                  </a:lnTo>
                  <a:lnTo>
                    <a:pt x="266" y="351"/>
                  </a:lnTo>
                  <a:lnTo>
                    <a:pt x="266" y="351"/>
                  </a:lnTo>
                  <a:lnTo>
                    <a:pt x="266" y="351"/>
                  </a:lnTo>
                  <a:lnTo>
                    <a:pt x="266" y="351"/>
                  </a:lnTo>
                  <a:lnTo>
                    <a:pt x="263" y="351"/>
                  </a:lnTo>
                  <a:lnTo>
                    <a:pt x="263" y="351"/>
                  </a:lnTo>
                  <a:lnTo>
                    <a:pt x="266" y="353"/>
                  </a:lnTo>
                  <a:lnTo>
                    <a:pt x="266" y="353"/>
                  </a:lnTo>
                  <a:lnTo>
                    <a:pt x="263" y="355"/>
                  </a:lnTo>
                  <a:lnTo>
                    <a:pt x="263" y="355"/>
                  </a:lnTo>
                  <a:lnTo>
                    <a:pt x="263" y="355"/>
                  </a:lnTo>
                  <a:lnTo>
                    <a:pt x="266" y="355"/>
                  </a:lnTo>
                  <a:lnTo>
                    <a:pt x="266" y="358"/>
                  </a:lnTo>
                  <a:lnTo>
                    <a:pt x="266" y="358"/>
                  </a:lnTo>
                  <a:lnTo>
                    <a:pt x="268" y="360"/>
                  </a:lnTo>
                  <a:lnTo>
                    <a:pt x="268" y="360"/>
                  </a:lnTo>
                  <a:lnTo>
                    <a:pt x="268" y="360"/>
                  </a:lnTo>
                  <a:lnTo>
                    <a:pt x="270" y="362"/>
                  </a:lnTo>
                  <a:lnTo>
                    <a:pt x="270" y="362"/>
                  </a:lnTo>
                  <a:lnTo>
                    <a:pt x="270" y="362"/>
                  </a:lnTo>
                  <a:lnTo>
                    <a:pt x="270" y="362"/>
                  </a:lnTo>
                  <a:lnTo>
                    <a:pt x="270" y="362"/>
                  </a:lnTo>
                  <a:lnTo>
                    <a:pt x="268" y="362"/>
                  </a:lnTo>
                  <a:lnTo>
                    <a:pt x="268" y="364"/>
                  </a:lnTo>
                  <a:lnTo>
                    <a:pt x="268" y="364"/>
                  </a:lnTo>
                  <a:lnTo>
                    <a:pt x="268" y="364"/>
                  </a:lnTo>
                  <a:lnTo>
                    <a:pt x="268" y="364"/>
                  </a:lnTo>
                  <a:lnTo>
                    <a:pt x="268" y="364"/>
                  </a:lnTo>
                  <a:lnTo>
                    <a:pt x="268" y="367"/>
                  </a:lnTo>
                  <a:lnTo>
                    <a:pt x="268" y="367"/>
                  </a:lnTo>
                  <a:lnTo>
                    <a:pt x="268" y="367"/>
                  </a:lnTo>
                  <a:lnTo>
                    <a:pt x="266" y="367"/>
                  </a:lnTo>
                  <a:lnTo>
                    <a:pt x="266" y="367"/>
                  </a:lnTo>
                  <a:lnTo>
                    <a:pt x="266" y="367"/>
                  </a:lnTo>
                  <a:lnTo>
                    <a:pt x="266" y="367"/>
                  </a:lnTo>
                  <a:lnTo>
                    <a:pt x="266" y="367"/>
                  </a:lnTo>
                  <a:lnTo>
                    <a:pt x="266" y="369"/>
                  </a:lnTo>
                  <a:lnTo>
                    <a:pt x="266" y="371"/>
                  </a:lnTo>
                  <a:lnTo>
                    <a:pt x="266" y="371"/>
                  </a:lnTo>
                  <a:lnTo>
                    <a:pt x="266" y="371"/>
                  </a:lnTo>
                  <a:lnTo>
                    <a:pt x="266" y="373"/>
                  </a:lnTo>
                  <a:lnTo>
                    <a:pt x="266" y="376"/>
                  </a:lnTo>
                  <a:lnTo>
                    <a:pt x="268" y="378"/>
                  </a:lnTo>
                  <a:lnTo>
                    <a:pt x="268" y="380"/>
                  </a:lnTo>
                  <a:lnTo>
                    <a:pt x="270" y="382"/>
                  </a:lnTo>
                  <a:lnTo>
                    <a:pt x="270" y="385"/>
                  </a:lnTo>
                  <a:lnTo>
                    <a:pt x="270" y="385"/>
                  </a:lnTo>
                  <a:lnTo>
                    <a:pt x="272" y="385"/>
                  </a:lnTo>
                  <a:lnTo>
                    <a:pt x="272" y="385"/>
                  </a:lnTo>
                  <a:lnTo>
                    <a:pt x="272" y="385"/>
                  </a:lnTo>
                  <a:lnTo>
                    <a:pt x="272" y="385"/>
                  </a:lnTo>
                  <a:lnTo>
                    <a:pt x="272" y="385"/>
                  </a:lnTo>
                  <a:lnTo>
                    <a:pt x="275" y="385"/>
                  </a:lnTo>
                  <a:lnTo>
                    <a:pt x="275" y="385"/>
                  </a:lnTo>
                  <a:lnTo>
                    <a:pt x="275" y="385"/>
                  </a:lnTo>
                  <a:lnTo>
                    <a:pt x="275" y="385"/>
                  </a:lnTo>
                  <a:lnTo>
                    <a:pt x="275" y="385"/>
                  </a:lnTo>
                  <a:lnTo>
                    <a:pt x="277" y="385"/>
                  </a:lnTo>
                  <a:lnTo>
                    <a:pt x="277" y="387"/>
                  </a:lnTo>
                  <a:lnTo>
                    <a:pt x="277" y="387"/>
                  </a:lnTo>
                  <a:lnTo>
                    <a:pt x="279" y="387"/>
                  </a:lnTo>
                  <a:lnTo>
                    <a:pt x="279" y="387"/>
                  </a:lnTo>
                  <a:lnTo>
                    <a:pt x="279" y="389"/>
                  </a:lnTo>
                  <a:lnTo>
                    <a:pt x="277" y="389"/>
                  </a:lnTo>
                  <a:lnTo>
                    <a:pt x="275" y="389"/>
                  </a:lnTo>
                  <a:lnTo>
                    <a:pt x="275" y="391"/>
                  </a:lnTo>
                  <a:lnTo>
                    <a:pt x="275" y="391"/>
                  </a:lnTo>
                  <a:lnTo>
                    <a:pt x="275" y="391"/>
                  </a:lnTo>
                  <a:lnTo>
                    <a:pt x="275" y="394"/>
                  </a:lnTo>
                  <a:lnTo>
                    <a:pt x="275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6"/>
                  </a:lnTo>
                  <a:lnTo>
                    <a:pt x="275" y="396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400"/>
                  </a:lnTo>
                  <a:lnTo>
                    <a:pt x="270" y="403"/>
                  </a:lnTo>
                  <a:lnTo>
                    <a:pt x="270" y="403"/>
                  </a:lnTo>
                  <a:lnTo>
                    <a:pt x="270" y="403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5"/>
                  </a:lnTo>
                  <a:lnTo>
                    <a:pt x="268" y="407"/>
                  </a:lnTo>
                  <a:lnTo>
                    <a:pt x="268" y="407"/>
                  </a:lnTo>
                  <a:lnTo>
                    <a:pt x="266" y="407"/>
                  </a:lnTo>
                  <a:lnTo>
                    <a:pt x="266" y="407"/>
                  </a:lnTo>
                  <a:lnTo>
                    <a:pt x="266" y="407"/>
                  </a:lnTo>
                  <a:lnTo>
                    <a:pt x="266" y="407"/>
                  </a:lnTo>
                  <a:lnTo>
                    <a:pt x="263" y="409"/>
                  </a:lnTo>
                  <a:lnTo>
                    <a:pt x="263" y="409"/>
                  </a:lnTo>
                  <a:lnTo>
                    <a:pt x="263" y="409"/>
                  </a:lnTo>
                  <a:lnTo>
                    <a:pt x="263" y="409"/>
                  </a:lnTo>
                  <a:lnTo>
                    <a:pt x="263" y="412"/>
                  </a:lnTo>
                  <a:lnTo>
                    <a:pt x="266" y="412"/>
                  </a:lnTo>
                  <a:lnTo>
                    <a:pt x="266" y="412"/>
                  </a:lnTo>
                  <a:lnTo>
                    <a:pt x="266" y="412"/>
                  </a:lnTo>
                  <a:lnTo>
                    <a:pt x="266" y="412"/>
                  </a:lnTo>
                  <a:lnTo>
                    <a:pt x="266" y="412"/>
                  </a:lnTo>
                  <a:lnTo>
                    <a:pt x="268" y="414"/>
                  </a:lnTo>
                  <a:lnTo>
                    <a:pt x="268" y="414"/>
                  </a:lnTo>
                  <a:lnTo>
                    <a:pt x="268" y="416"/>
                  </a:lnTo>
                  <a:lnTo>
                    <a:pt x="268" y="416"/>
                  </a:lnTo>
                  <a:lnTo>
                    <a:pt x="268" y="416"/>
                  </a:lnTo>
                  <a:lnTo>
                    <a:pt x="266" y="418"/>
                  </a:lnTo>
                  <a:lnTo>
                    <a:pt x="263" y="420"/>
                  </a:lnTo>
                  <a:lnTo>
                    <a:pt x="263" y="420"/>
                  </a:lnTo>
                  <a:lnTo>
                    <a:pt x="261" y="420"/>
                  </a:lnTo>
                  <a:lnTo>
                    <a:pt x="261" y="420"/>
                  </a:lnTo>
                  <a:lnTo>
                    <a:pt x="261" y="420"/>
                  </a:lnTo>
                  <a:lnTo>
                    <a:pt x="261" y="420"/>
                  </a:lnTo>
                  <a:lnTo>
                    <a:pt x="261" y="423"/>
                  </a:lnTo>
                  <a:lnTo>
                    <a:pt x="261" y="423"/>
                  </a:lnTo>
                  <a:lnTo>
                    <a:pt x="261" y="425"/>
                  </a:lnTo>
                  <a:lnTo>
                    <a:pt x="261" y="425"/>
                  </a:lnTo>
                  <a:lnTo>
                    <a:pt x="261" y="425"/>
                  </a:lnTo>
                  <a:lnTo>
                    <a:pt x="263" y="425"/>
                  </a:lnTo>
                  <a:lnTo>
                    <a:pt x="263" y="427"/>
                  </a:lnTo>
                  <a:lnTo>
                    <a:pt x="263" y="427"/>
                  </a:lnTo>
                  <a:lnTo>
                    <a:pt x="263" y="427"/>
                  </a:lnTo>
                  <a:lnTo>
                    <a:pt x="261" y="429"/>
                  </a:lnTo>
                  <a:lnTo>
                    <a:pt x="261" y="432"/>
                  </a:lnTo>
                  <a:lnTo>
                    <a:pt x="261" y="432"/>
                  </a:lnTo>
                  <a:lnTo>
                    <a:pt x="261" y="432"/>
                  </a:lnTo>
                  <a:lnTo>
                    <a:pt x="259" y="434"/>
                  </a:lnTo>
                  <a:lnTo>
                    <a:pt x="259" y="434"/>
                  </a:lnTo>
                  <a:lnTo>
                    <a:pt x="259" y="434"/>
                  </a:lnTo>
                  <a:lnTo>
                    <a:pt x="259" y="434"/>
                  </a:lnTo>
                  <a:lnTo>
                    <a:pt x="257" y="434"/>
                  </a:lnTo>
                  <a:lnTo>
                    <a:pt x="257" y="436"/>
                  </a:lnTo>
                  <a:lnTo>
                    <a:pt x="257" y="436"/>
                  </a:lnTo>
                  <a:lnTo>
                    <a:pt x="254" y="436"/>
                  </a:lnTo>
                  <a:lnTo>
                    <a:pt x="252" y="436"/>
                  </a:lnTo>
                  <a:lnTo>
                    <a:pt x="252" y="436"/>
                  </a:lnTo>
                  <a:lnTo>
                    <a:pt x="250" y="436"/>
                  </a:lnTo>
                  <a:lnTo>
                    <a:pt x="250" y="436"/>
                  </a:lnTo>
                  <a:lnTo>
                    <a:pt x="248" y="434"/>
                  </a:lnTo>
                  <a:lnTo>
                    <a:pt x="248" y="434"/>
                  </a:lnTo>
                  <a:lnTo>
                    <a:pt x="248" y="432"/>
                  </a:lnTo>
                  <a:lnTo>
                    <a:pt x="245" y="432"/>
                  </a:lnTo>
                  <a:lnTo>
                    <a:pt x="245" y="432"/>
                  </a:lnTo>
                  <a:lnTo>
                    <a:pt x="245" y="432"/>
                  </a:lnTo>
                  <a:lnTo>
                    <a:pt x="243" y="429"/>
                  </a:lnTo>
                  <a:lnTo>
                    <a:pt x="243" y="429"/>
                  </a:lnTo>
                  <a:lnTo>
                    <a:pt x="243" y="429"/>
                  </a:lnTo>
                  <a:lnTo>
                    <a:pt x="243" y="429"/>
                  </a:lnTo>
                  <a:lnTo>
                    <a:pt x="243" y="429"/>
                  </a:lnTo>
                  <a:lnTo>
                    <a:pt x="243" y="429"/>
                  </a:lnTo>
                  <a:lnTo>
                    <a:pt x="243" y="429"/>
                  </a:lnTo>
                  <a:lnTo>
                    <a:pt x="241" y="429"/>
                  </a:lnTo>
                  <a:lnTo>
                    <a:pt x="241" y="427"/>
                  </a:lnTo>
                  <a:lnTo>
                    <a:pt x="241" y="427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9" y="427"/>
                  </a:lnTo>
                  <a:lnTo>
                    <a:pt x="239" y="425"/>
                  </a:lnTo>
                  <a:lnTo>
                    <a:pt x="239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4" y="423"/>
                  </a:lnTo>
                  <a:lnTo>
                    <a:pt x="234" y="423"/>
                  </a:lnTo>
                  <a:lnTo>
                    <a:pt x="234" y="423"/>
                  </a:lnTo>
                  <a:lnTo>
                    <a:pt x="232" y="423"/>
                  </a:lnTo>
                  <a:lnTo>
                    <a:pt x="232" y="423"/>
                  </a:lnTo>
                  <a:lnTo>
                    <a:pt x="232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27" y="416"/>
                  </a:lnTo>
                  <a:lnTo>
                    <a:pt x="227" y="416"/>
                  </a:lnTo>
                  <a:lnTo>
                    <a:pt x="227" y="414"/>
                  </a:lnTo>
                  <a:lnTo>
                    <a:pt x="227" y="414"/>
                  </a:lnTo>
                  <a:lnTo>
                    <a:pt x="227" y="414"/>
                  </a:lnTo>
                  <a:lnTo>
                    <a:pt x="227" y="414"/>
                  </a:lnTo>
                  <a:lnTo>
                    <a:pt x="227" y="414"/>
                  </a:lnTo>
                  <a:lnTo>
                    <a:pt x="227" y="412"/>
                  </a:lnTo>
                  <a:lnTo>
                    <a:pt x="225" y="412"/>
                  </a:lnTo>
                  <a:lnTo>
                    <a:pt x="225" y="412"/>
                  </a:lnTo>
                  <a:lnTo>
                    <a:pt x="225" y="412"/>
                  </a:lnTo>
                  <a:lnTo>
                    <a:pt x="225" y="412"/>
                  </a:lnTo>
                  <a:lnTo>
                    <a:pt x="225" y="412"/>
                  </a:lnTo>
                  <a:lnTo>
                    <a:pt x="223" y="409"/>
                  </a:lnTo>
                  <a:lnTo>
                    <a:pt x="223" y="409"/>
                  </a:lnTo>
                  <a:lnTo>
                    <a:pt x="223" y="409"/>
                  </a:lnTo>
                  <a:lnTo>
                    <a:pt x="223" y="409"/>
                  </a:lnTo>
                  <a:lnTo>
                    <a:pt x="223" y="409"/>
                  </a:lnTo>
                  <a:lnTo>
                    <a:pt x="223" y="409"/>
                  </a:lnTo>
                  <a:lnTo>
                    <a:pt x="218" y="409"/>
                  </a:lnTo>
                  <a:lnTo>
                    <a:pt x="218" y="407"/>
                  </a:lnTo>
                  <a:lnTo>
                    <a:pt x="216" y="407"/>
                  </a:lnTo>
                  <a:lnTo>
                    <a:pt x="216" y="407"/>
                  </a:lnTo>
                  <a:lnTo>
                    <a:pt x="216" y="405"/>
                  </a:lnTo>
                  <a:lnTo>
                    <a:pt x="214" y="405"/>
                  </a:lnTo>
                  <a:lnTo>
                    <a:pt x="214" y="405"/>
                  </a:lnTo>
                  <a:lnTo>
                    <a:pt x="214" y="405"/>
                  </a:lnTo>
                  <a:lnTo>
                    <a:pt x="212" y="405"/>
                  </a:lnTo>
                  <a:lnTo>
                    <a:pt x="212" y="405"/>
                  </a:lnTo>
                  <a:lnTo>
                    <a:pt x="212" y="405"/>
                  </a:lnTo>
                  <a:lnTo>
                    <a:pt x="212" y="403"/>
                  </a:lnTo>
                  <a:lnTo>
                    <a:pt x="212" y="403"/>
                  </a:lnTo>
                  <a:lnTo>
                    <a:pt x="212" y="403"/>
                  </a:lnTo>
                  <a:lnTo>
                    <a:pt x="209" y="403"/>
                  </a:lnTo>
                  <a:lnTo>
                    <a:pt x="209" y="403"/>
                  </a:lnTo>
                  <a:lnTo>
                    <a:pt x="209" y="403"/>
                  </a:lnTo>
                  <a:lnTo>
                    <a:pt x="209" y="403"/>
                  </a:lnTo>
                  <a:lnTo>
                    <a:pt x="209" y="400"/>
                  </a:lnTo>
                  <a:lnTo>
                    <a:pt x="207" y="400"/>
                  </a:lnTo>
                  <a:lnTo>
                    <a:pt x="207" y="400"/>
                  </a:lnTo>
                  <a:lnTo>
                    <a:pt x="207" y="400"/>
                  </a:lnTo>
                  <a:lnTo>
                    <a:pt x="207" y="400"/>
                  </a:lnTo>
                  <a:lnTo>
                    <a:pt x="207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8"/>
                  </a:lnTo>
                  <a:lnTo>
                    <a:pt x="205" y="396"/>
                  </a:lnTo>
                  <a:lnTo>
                    <a:pt x="203" y="396"/>
                  </a:lnTo>
                  <a:lnTo>
                    <a:pt x="203" y="396"/>
                  </a:lnTo>
                  <a:lnTo>
                    <a:pt x="203" y="396"/>
                  </a:lnTo>
                  <a:lnTo>
                    <a:pt x="200" y="396"/>
                  </a:lnTo>
                  <a:lnTo>
                    <a:pt x="198" y="396"/>
                  </a:lnTo>
                  <a:lnTo>
                    <a:pt x="198" y="396"/>
                  </a:lnTo>
                  <a:lnTo>
                    <a:pt x="196" y="394"/>
                  </a:lnTo>
                  <a:lnTo>
                    <a:pt x="191" y="391"/>
                  </a:lnTo>
                  <a:lnTo>
                    <a:pt x="191" y="391"/>
                  </a:lnTo>
                  <a:lnTo>
                    <a:pt x="189" y="391"/>
                  </a:lnTo>
                  <a:lnTo>
                    <a:pt x="189" y="389"/>
                  </a:lnTo>
                  <a:lnTo>
                    <a:pt x="189" y="389"/>
                  </a:lnTo>
                  <a:lnTo>
                    <a:pt x="187" y="389"/>
                  </a:lnTo>
                  <a:lnTo>
                    <a:pt x="187" y="389"/>
                  </a:lnTo>
                  <a:lnTo>
                    <a:pt x="187" y="389"/>
                  </a:lnTo>
                  <a:lnTo>
                    <a:pt x="187" y="389"/>
                  </a:lnTo>
                  <a:lnTo>
                    <a:pt x="187" y="389"/>
                  </a:lnTo>
                  <a:lnTo>
                    <a:pt x="187" y="389"/>
                  </a:lnTo>
                  <a:lnTo>
                    <a:pt x="185" y="389"/>
                  </a:lnTo>
                  <a:lnTo>
                    <a:pt x="185" y="387"/>
                  </a:lnTo>
                  <a:lnTo>
                    <a:pt x="185" y="387"/>
                  </a:lnTo>
                  <a:lnTo>
                    <a:pt x="185" y="387"/>
                  </a:lnTo>
                  <a:lnTo>
                    <a:pt x="182" y="387"/>
                  </a:lnTo>
                  <a:lnTo>
                    <a:pt x="182" y="387"/>
                  </a:lnTo>
                  <a:lnTo>
                    <a:pt x="180" y="385"/>
                  </a:lnTo>
                  <a:lnTo>
                    <a:pt x="178" y="385"/>
                  </a:lnTo>
                  <a:lnTo>
                    <a:pt x="178" y="385"/>
                  </a:lnTo>
                  <a:lnTo>
                    <a:pt x="178" y="385"/>
                  </a:lnTo>
                  <a:lnTo>
                    <a:pt x="178" y="385"/>
                  </a:lnTo>
                  <a:lnTo>
                    <a:pt x="176" y="385"/>
                  </a:lnTo>
                  <a:lnTo>
                    <a:pt x="176" y="385"/>
                  </a:lnTo>
                  <a:lnTo>
                    <a:pt x="176" y="385"/>
                  </a:lnTo>
                  <a:lnTo>
                    <a:pt x="173" y="385"/>
                  </a:lnTo>
                  <a:lnTo>
                    <a:pt x="173" y="382"/>
                  </a:lnTo>
                  <a:lnTo>
                    <a:pt x="171" y="382"/>
                  </a:lnTo>
                  <a:lnTo>
                    <a:pt x="171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78"/>
                  </a:lnTo>
                  <a:lnTo>
                    <a:pt x="167" y="378"/>
                  </a:lnTo>
                  <a:lnTo>
                    <a:pt x="167" y="378"/>
                  </a:lnTo>
                  <a:lnTo>
                    <a:pt x="167" y="378"/>
                  </a:lnTo>
                  <a:lnTo>
                    <a:pt x="164" y="378"/>
                  </a:lnTo>
                  <a:lnTo>
                    <a:pt x="164" y="378"/>
                  </a:lnTo>
                  <a:lnTo>
                    <a:pt x="164" y="376"/>
                  </a:lnTo>
                  <a:lnTo>
                    <a:pt x="164" y="376"/>
                  </a:lnTo>
                  <a:lnTo>
                    <a:pt x="162" y="376"/>
                  </a:lnTo>
                  <a:lnTo>
                    <a:pt x="162" y="376"/>
                  </a:lnTo>
                  <a:lnTo>
                    <a:pt x="162" y="376"/>
                  </a:lnTo>
                  <a:lnTo>
                    <a:pt x="160" y="376"/>
                  </a:lnTo>
                  <a:lnTo>
                    <a:pt x="160" y="376"/>
                  </a:lnTo>
                  <a:lnTo>
                    <a:pt x="160" y="376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55" y="371"/>
                  </a:lnTo>
                  <a:lnTo>
                    <a:pt x="155" y="371"/>
                  </a:lnTo>
                  <a:lnTo>
                    <a:pt x="153" y="371"/>
                  </a:lnTo>
                  <a:lnTo>
                    <a:pt x="153" y="369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6" y="367"/>
                  </a:lnTo>
                  <a:lnTo>
                    <a:pt x="144" y="367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4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2" y="362"/>
                  </a:lnTo>
                  <a:lnTo>
                    <a:pt x="142" y="360"/>
                  </a:lnTo>
                  <a:lnTo>
                    <a:pt x="142" y="360"/>
                  </a:lnTo>
                  <a:lnTo>
                    <a:pt x="140" y="360"/>
                  </a:lnTo>
                  <a:lnTo>
                    <a:pt x="140" y="360"/>
                  </a:lnTo>
                  <a:lnTo>
                    <a:pt x="140" y="360"/>
                  </a:lnTo>
                  <a:lnTo>
                    <a:pt x="140" y="358"/>
                  </a:lnTo>
                  <a:lnTo>
                    <a:pt x="137" y="358"/>
                  </a:lnTo>
                  <a:lnTo>
                    <a:pt x="137" y="355"/>
                  </a:lnTo>
                  <a:lnTo>
                    <a:pt x="137" y="355"/>
                  </a:lnTo>
                  <a:lnTo>
                    <a:pt x="137" y="355"/>
                  </a:lnTo>
                  <a:lnTo>
                    <a:pt x="137" y="355"/>
                  </a:lnTo>
                  <a:lnTo>
                    <a:pt x="137" y="355"/>
                  </a:lnTo>
                  <a:lnTo>
                    <a:pt x="137" y="355"/>
                  </a:lnTo>
                  <a:lnTo>
                    <a:pt x="137" y="355"/>
                  </a:lnTo>
                  <a:lnTo>
                    <a:pt x="135" y="353"/>
                  </a:lnTo>
                  <a:lnTo>
                    <a:pt x="133" y="353"/>
                  </a:lnTo>
                  <a:lnTo>
                    <a:pt x="133" y="353"/>
                  </a:lnTo>
                  <a:lnTo>
                    <a:pt x="133" y="353"/>
                  </a:lnTo>
                  <a:lnTo>
                    <a:pt x="133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31" y="351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9" y="349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4" y="342"/>
                  </a:lnTo>
                  <a:lnTo>
                    <a:pt x="122" y="342"/>
                  </a:lnTo>
                  <a:lnTo>
                    <a:pt x="122" y="342"/>
                  </a:lnTo>
                  <a:lnTo>
                    <a:pt x="122" y="340"/>
                  </a:lnTo>
                  <a:lnTo>
                    <a:pt x="122" y="340"/>
                  </a:lnTo>
                  <a:lnTo>
                    <a:pt x="122" y="340"/>
                  </a:lnTo>
                  <a:lnTo>
                    <a:pt x="124" y="340"/>
                  </a:lnTo>
                  <a:lnTo>
                    <a:pt x="122" y="340"/>
                  </a:lnTo>
                  <a:lnTo>
                    <a:pt x="122" y="340"/>
                  </a:lnTo>
                  <a:lnTo>
                    <a:pt x="122" y="340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2" y="337"/>
                  </a:lnTo>
                  <a:lnTo>
                    <a:pt x="120" y="335"/>
                  </a:lnTo>
                  <a:lnTo>
                    <a:pt x="120" y="335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20" y="337"/>
                  </a:lnTo>
                  <a:lnTo>
                    <a:pt x="120" y="335"/>
                  </a:lnTo>
                  <a:lnTo>
                    <a:pt x="120" y="335"/>
                  </a:lnTo>
                  <a:lnTo>
                    <a:pt x="120" y="335"/>
                  </a:lnTo>
                  <a:lnTo>
                    <a:pt x="120" y="335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3"/>
                  </a:lnTo>
                  <a:lnTo>
                    <a:pt x="120" y="331"/>
                  </a:lnTo>
                  <a:lnTo>
                    <a:pt x="120" y="331"/>
                  </a:lnTo>
                  <a:lnTo>
                    <a:pt x="120" y="331"/>
                  </a:lnTo>
                  <a:lnTo>
                    <a:pt x="120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31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17" y="328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0" y="328"/>
                  </a:lnTo>
                  <a:lnTo>
                    <a:pt x="120" y="326"/>
                  </a:lnTo>
                  <a:lnTo>
                    <a:pt x="120" y="326"/>
                  </a:lnTo>
                  <a:lnTo>
                    <a:pt x="120" y="326"/>
                  </a:lnTo>
                  <a:lnTo>
                    <a:pt x="120" y="324"/>
                  </a:lnTo>
                  <a:lnTo>
                    <a:pt x="120" y="324"/>
                  </a:lnTo>
                  <a:lnTo>
                    <a:pt x="120" y="324"/>
                  </a:lnTo>
                  <a:lnTo>
                    <a:pt x="120" y="322"/>
                  </a:lnTo>
                  <a:lnTo>
                    <a:pt x="120" y="319"/>
                  </a:lnTo>
                  <a:lnTo>
                    <a:pt x="120" y="319"/>
                  </a:lnTo>
                  <a:lnTo>
                    <a:pt x="120" y="317"/>
                  </a:lnTo>
                  <a:lnTo>
                    <a:pt x="117" y="315"/>
                  </a:lnTo>
                  <a:lnTo>
                    <a:pt x="117" y="315"/>
                  </a:lnTo>
                  <a:lnTo>
                    <a:pt x="117" y="315"/>
                  </a:lnTo>
                  <a:lnTo>
                    <a:pt x="117" y="315"/>
                  </a:lnTo>
                  <a:lnTo>
                    <a:pt x="115" y="313"/>
                  </a:lnTo>
                  <a:lnTo>
                    <a:pt x="113" y="310"/>
                  </a:lnTo>
                  <a:lnTo>
                    <a:pt x="113" y="310"/>
                  </a:lnTo>
                  <a:lnTo>
                    <a:pt x="113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11" y="304"/>
                  </a:lnTo>
                  <a:lnTo>
                    <a:pt x="108" y="304"/>
                  </a:lnTo>
                  <a:lnTo>
                    <a:pt x="108" y="301"/>
                  </a:lnTo>
                  <a:lnTo>
                    <a:pt x="108" y="301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4" y="292"/>
                  </a:lnTo>
                  <a:lnTo>
                    <a:pt x="104" y="292"/>
                  </a:lnTo>
                  <a:lnTo>
                    <a:pt x="102" y="290"/>
                  </a:lnTo>
                  <a:lnTo>
                    <a:pt x="102" y="290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3"/>
                  </a:lnTo>
                  <a:lnTo>
                    <a:pt x="97" y="283"/>
                  </a:lnTo>
                  <a:lnTo>
                    <a:pt x="97" y="281"/>
                  </a:lnTo>
                  <a:lnTo>
                    <a:pt x="97" y="281"/>
                  </a:lnTo>
                  <a:lnTo>
                    <a:pt x="97" y="281"/>
                  </a:lnTo>
                  <a:lnTo>
                    <a:pt x="97" y="281"/>
                  </a:lnTo>
                  <a:lnTo>
                    <a:pt x="95" y="279"/>
                  </a:lnTo>
                  <a:lnTo>
                    <a:pt x="95" y="279"/>
                  </a:lnTo>
                  <a:lnTo>
                    <a:pt x="97" y="279"/>
                  </a:lnTo>
                  <a:lnTo>
                    <a:pt x="97" y="279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7"/>
                  </a:lnTo>
                  <a:lnTo>
                    <a:pt x="95" y="274"/>
                  </a:lnTo>
                  <a:lnTo>
                    <a:pt x="95" y="274"/>
                  </a:lnTo>
                  <a:lnTo>
                    <a:pt x="93" y="274"/>
                  </a:lnTo>
                  <a:lnTo>
                    <a:pt x="95" y="274"/>
                  </a:lnTo>
                  <a:lnTo>
                    <a:pt x="95" y="274"/>
                  </a:lnTo>
                  <a:lnTo>
                    <a:pt x="93" y="274"/>
                  </a:lnTo>
                  <a:lnTo>
                    <a:pt x="93" y="274"/>
                  </a:lnTo>
                  <a:lnTo>
                    <a:pt x="93" y="272"/>
                  </a:lnTo>
                  <a:lnTo>
                    <a:pt x="93" y="272"/>
                  </a:lnTo>
                  <a:lnTo>
                    <a:pt x="93" y="272"/>
                  </a:lnTo>
                  <a:lnTo>
                    <a:pt x="93" y="272"/>
                  </a:lnTo>
                  <a:lnTo>
                    <a:pt x="93" y="272"/>
                  </a:lnTo>
                  <a:lnTo>
                    <a:pt x="93" y="272"/>
                  </a:lnTo>
                  <a:lnTo>
                    <a:pt x="93" y="272"/>
                  </a:lnTo>
                  <a:lnTo>
                    <a:pt x="90" y="272"/>
                  </a:lnTo>
                  <a:lnTo>
                    <a:pt x="90" y="270"/>
                  </a:lnTo>
                  <a:lnTo>
                    <a:pt x="86" y="268"/>
                  </a:lnTo>
                  <a:lnTo>
                    <a:pt x="86" y="268"/>
                  </a:lnTo>
                  <a:lnTo>
                    <a:pt x="86" y="268"/>
                  </a:lnTo>
                  <a:lnTo>
                    <a:pt x="86" y="268"/>
                  </a:lnTo>
                  <a:lnTo>
                    <a:pt x="86" y="268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5"/>
                  </a:lnTo>
                  <a:lnTo>
                    <a:pt x="86" y="263"/>
                  </a:lnTo>
                  <a:lnTo>
                    <a:pt x="86" y="263"/>
                  </a:lnTo>
                  <a:lnTo>
                    <a:pt x="86" y="263"/>
                  </a:lnTo>
                  <a:lnTo>
                    <a:pt x="86" y="263"/>
                  </a:lnTo>
                  <a:lnTo>
                    <a:pt x="86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61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9"/>
                  </a:lnTo>
                  <a:lnTo>
                    <a:pt x="84" y="256"/>
                  </a:lnTo>
                  <a:lnTo>
                    <a:pt x="84" y="256"/>
                  </a:lnTo>
                  <a:lnTo>
                    <a:pt x="81" y="256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4"/>
                  </a:lnTo>
                  <a:lnTo>
                    <a:pt x="81" y="252"/>
                  </a:lnTo>
                  <a:lnTo>
                    <a:pt x="79" y="250"/>
                  </a:lnTo>
                  <a:lnTo>
                    <a:pt x="77" y="250"/>
                  </a:lnTo>
                  <a:lnTo>
                    <a:pt x="77" y="250"/>
                  </a:lnTo>
                  <a:lnTo>
                    <a:pt x="77" y="247"/>
                  </a:lnTo>
                  <a:lnTo>
                    <a:pt x="77" y="247"/>
                  </a:lnTo>
                  <a:lnTo>
                    <a:pt x="77" y="247"/>
                  </a:lnTo>
                  <a:lnTo>
                    <a:pt x="77" y="247"/>
                  </a:lnTo>
                  <a:lnTo>
                    <a:pt x="77" y="245"/>
                  </a:lnTo>
                  <a:lnTo>
                    <a:pt x="77" y="245"/>
                  </a:lnTo>
                  <a:lnTo>
                    <a:pt x="77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5" y="241"/>
                  </a:lnTo>
                  <a:lnTo>
                    <a:pt x="72" y="241"/>
                  </a:lnTo>
                  <a:lnTo>
                    <a:pt x="72" y="241"/>
                  </a:lnTo>
                  <a:lnTo>
                    <a:pt x="72" y="241"/>
                  </a:lnTo>
                  <a:lnTo>
                    <a:pt x="72" y="241"/>
                  </a:lnTo>
                  <a:lnTo>
                    <a:pt x="72" y="241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8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68" y="229"/>
                  </a:lnTo>
                  <a:lnTo>
                    <a:pt x="68" y="227"/>
                  </a:lnTo>
                  <a:lnTo>
                    <a:pt x="68" y="227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5"/>
                  </a:lnTo>
                  <a:lnTo>
                    <a:pt x="68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6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18"/>
                  </a:lnTo>
                  <a:lnTo>
                    <a:pt x="66" y="218"/>
                  </a:lnTo>
                  <a:lnTo>
                    <a:pt x="66" y="218"/>
                  </a:lnTo>
                  <a:lnTo>
                    <a:pt x="66" y="218"/>
                  </a:lnTo>
                  <a:lnTo>
                    <a:pt x="66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3" y="216"/>
                  </a:lnTo>
                  <a:lnTo>
                    <a:pt x="61" y="216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4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09"/>
                  </a:lnTo>
                  <a:lnTo>
                    <a:pt x="59" y="209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7"/>
                  </a:lnTo>
                  <a:lnTo>
                    <a:pt x="59" y="205"/>
                  </a:lnTo>
                  <a:lnTo>
                    <a:pt x="59" y="205"/>
                  </a:lnTo>
                  <a:lnTo>
                    <a:pt x="59" y="202"/>
                  </a:lnTo>
                  <a:lnTo>
                    <a:pt x="57" y="202"/>
                  </a:lnTo>
                  <a:lnTo>
                    <a:pt x="57" y="200"/>
                  </a:lnTo>
                  <a:lnTo>
                    <a:pt x="57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2" y="196"/>
                  </a:lnTo>
                  <a:lnTo>
                    <a:pt x="52" y="193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50" y="191"/>
                  </a:lnTo>
                  <a:lnTo>
                    <a:pt x="48" y="189"/>
                  </a:lnTo>
                  <a:lnTo>
                    <a:pt x="45" y="187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3"/>
                  </a:lnTo>
                  <a:lnTo>
                    <a:pt x="39" y="173"/>
                  </a:lnTo>
                  <a:lnTo>
                    <a:pt x="39" y="173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6" y="171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2" y="162"/>
                  </a:lnTo>
                  <a:lnTo>
                    <a:pt x="32" y="162"/>
                  </a:lnTo>
                  <a:lnTo>
                    <a:pt x="32" y="162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27" y="157"/>
                  </a:lnTo>
                  <a:lnTo>
                    <a:pt x="27" y="157"/>
                  </a:lnTo>
                  <a:lnTo>
                    <a:pt x="25" y="155"/>
                  </a:lnTo>
                  <a:lnTo>
                    <a:pt x="21" y="153"/>
                  </a:lnTo>
                  <a:lnTo>
                    <a:pt x="16" y="151"/>
                  </a:lnTo>
                  <a:lnTo>
                    <a:pt x="14" y="151"/>
                  </a:lnTo>
                  <a:lnTo>
                    <a:pt x="14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2" y="133"/>
                  </a:lnTo>
                  <a:lnTo>
                    <a:pt x="12" y="133"/>
                  </a:lnTo>
                  <a:lnTo>
                    <a:pt x="9" y="128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5" y="126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21"/>
                  </a:lnTo>
                  <a:lnTo>
                    <a:pt x="5" y="119"/>
                  </a:lnTo>
                  <a:lnTo>
                    <a:pt x="5" y="119"/>
                  </a:lnTo>
                  <a:lnTo>
                    <a:pt x="5" y="119"/>
                  </a:lnTo>
                  <a:lnTo>
                    <a:pt x="7" y="119"/>
                  </a:lnTo>
                  <a:lnTo>
                    <a:pt x="7" y="117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5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8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4"/>
                  </a:lnTo>
                  <a:lnTo>
                    <a:pt x="23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2" y="103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9" y="106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08"/>
                  </a:lnTo>
                  <a:lnTo>
                    <a:pt x="39" y="110"/>
                  </a:lnTo>
                  <a:lnTo>
                    <a:pt x="39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9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10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99"/>
                  </a:lnTo>
                  <a:lnTo>
                    <a:pt x="59" y="97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8" y="79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4"/>
                  </a:lnTo>
                  <a:lnTo>
                    <a:pt x="70" y="72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5" y="70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81" y="65"/>
                  </a:lnTo>
                  <a:lnTo>
                    <a:pt x="84" y="65"/>
                  </a:lnTo>
                  <a:lnTo>
                    <a:pt x="88" y="65"/>
                  </a:lnTo>
                  <a:lnTo>
                    <a:pt x="90" y="63"/>
                  </a:lnTo>
                  <a:lnTo>
                    <a:pt x="93" y="63"/>
                  </a:lnTo>
                  <a:lnTo>
                    <a:pt x="95" y="61"/>
                  </a:lnTo>
                  <a:lnTo>
                    <a:pt x="97" y="61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6" y="54"/>
                  </a:lnTo>
                  <a:lnTo>
                    <a:pt x="106" y="52"/>
                  </a:lnTo>
                  <a:lnTo>
                    <a:pt x="108" y="52"/>
                  </a:lnTo>
                  <a:lnTo>
                    <a:pt x="108" y="49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5" y="43"/>
                  </a:lnTo>
                  <a:lnTo>
                    <a:pt x="115" y="40"/>
                  </a:lnTo>
                  <a:lnTo>
                    <a:pt x="117" y="40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2" y="32"/>
                  </a:lnTo>
                  <a:lnTo>
                    <a:pt x="122" y="27"/>
                  </a:lnTo>
                  <a:lnTo>
                    <a:pt x="122" y="25"/>
                  </a:lnTo>
                  <a:lnTo>
                    <a:pt x="124" y="23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4" y="11"/>
                  </a:lnTo>
                  <a:lnTo>
                    <a:pt x="124" y="11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2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31" y="0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7" name="Freeform 522"/>
            <p:cNvSpPr>
              <a:spLocks/>
            </p:cNvSpPr>
            <p:nvPr/>
          </p:nvSpPr>
          <p:spPr bwMode="auto">
            <a:xfrm>
              <a:off x="3493113" y="4736280"/>
              <a:ext cx="295843" cy="330942"/>
            </a:xfrm>
            <a:custGeom>
              <a:avLst/>
              <a:gdLst>
                <a:gd name="T0" fmla="*/ 89 w 177"/>
                <a:gd name="T1" fmla="*/ 22 h 198"/>
                <a:gd name="T2" fmla="*/ 92 w 177"/>
                <a:gd name="T3" fmla="*/ 31 h 198"/>
                <a:gd name="T4" fmla="*/ 94 w 177"/>
                <a:gd name="T5" fmla="*/ 33 h 198"/>
                <a:gd name="T6" fmla="*/ 94 w 177"/>
                <a:gd name="T7" fmla="*/ 38 h 198"/>
                <a:gd name="T8" fmla="*/ 96 w 177"/>
                <a:gd name="T9" fmla="*/ 47 h 198"/>
                <a:gd name="T10" fmla="*/ 94 w 177"/>
                <a:gd name="T11" fmla="*/ 54 h 198"/>
                <a:gd name="T12" fmla="*/ 94 w 177"/>
                <a:gd name="T13" fmla="*/ 63 h 198"/>
                <a:gd name="T14" fmla="*/ 98 w 177"/>
                <a:gd name="T15" fmla="*/ 67 h 198"/>
                <a:gd name="T16" fmla="*/ 101 w 177"/>
                <a:gd name="T17" fmla="*/ 67 h 198"/>
                <a:gd name="T18" fmla="*/ 107 w 177"/>
                <a:gd name="T19" fmla="*/ 69 h 198"/>
                <a:gd name="T20" fmla="*/ 112 w 177"/>
                <a:gd name="T21" fmla="*/ 69 h 198"/>
                <a:gd name="T22" fmla="*/ 116 w 177"/>
                <a:gd name="T23" fmla="*/ 69 h 198"/>
                <a:gd name="T24" fmla="*/ 119 w 177"/>
                <a:gd name="T25" fmla="*/ 69 h 198"/>
                <a:gd name="T26" fmla="*/ 123 w 177"/>
                <a:gd name="T27" fmla="*/ 69 h 198"/>
                <a:gd name="T28" fmla="*/ 130 w 177"/>
                <a:gd name="T29" fmla="*/ 69 h 198"/>
                <a:gd name="T30" fmla="*/ 141 w 177"/>
                <a:gd name="T31" fmla="*/ 76 h 198"/>
                <a:gd name="T32" fmla="*/ 143 w 177"/>
                <a:gd name="T33" fmla="*/ 85 h 198"/>
                <a:gd name="T34" fmla="*/ 148 w 177"/>
                <a:gd name="T35" fmla="*/ 96 h 198"/>
                <a:gd name="T36" fmla="*/ 155 w 177"/>
                <a:gd name="T37" fmla="*/ 112 h 198"/>
                <a:gd name="T38" fmla="*/ 161 w 177"/>
                <a:gd name="T39" fmla="*/ 110 h 198"/>
                <a:gd name="T40" fmla="*/ 175 w 177"/>
                <a:gd name="T41" fmla="*/ 117 h 198"/>
                <a:gd name="T42" fmla="*/ 173 w 177"/>
                <a:gd name="T43" fmla="*/ 137 h 198"/>
                <a:gd name="T44" fmla="*/ 173 w 177"/>
                <a:gd name="T45" fmla="*/ 148 h 198"/>
                <a:gd name="T46" fmla="*/ 173 w 177"/>
                <a:gd name="T47" fmla="*/ 155 h 198"/>
                <a:gd name="T48" fmla="*/ 173 w 177"/>
                <a:gd name="T49" fmla="*/ 164 h 198"/>
                <a:gd name="T50" fmla="*/ 170 w 177"/>
                <a:gd name="T51" fmla="*/ 173 h 198"/>
                <a:gd name="T52" fmla="*/ 166 w 177"/>
                <a:gd name="T53" fmla="*/ 177 h 198"/>
                <a:gd name="T54" fmla="*/ 159 w 177"/>
                <a:gd name="T55" fmla="*/ 184 h 198"/>
                <a:gd name="T56" fmla="*/ 157 w 177"/>
                <a:gd name="T57" fmla="*/ 189 h 198"/>
                <a:gd name="T58" fmla="*/ 150 w 177"/>
                <a:gd name="T59" fmla="*/ 191 h 198"/>
                <a:gd name="T60" fmla="*/ 141 w 177"/>
                <a:gd name="T61" fmla="*/ 195 h 198"/>
                <a:gd name="T62" fmla="*/ 125 w 177"/>
                <a:gd name="T63" fmla="*/ 195 h 198"/>
                <a:gd name="T64" fmla="*/ 114 w 177"/>
                <a:gd name="T65" fmla="*/ 191 h 198"/>
                <a:gd name="T66" fmla="*/ 94 w 177"/>
                <a:gd name="T67" fmla="*/ 186 h 198"/>
                <a:gd name="T68" fmla="*/ 96 w 177"/>
                <a:gd name="T69" fmla="*/ 184 h 198"/>
                <a:gd name="T70" fmla="*/ 101 w 177"/>
                <a:gd name="T71" fmla="*/ 180 h 198"/>
                <a:gd name="T72" fmla="*/ 101 w 177"/>
                <a:gd name="T73" fmla="*/ 175 h 198"/>
                <a:gd name="T74" fmla="*/ 101 w 177"/>
                <a:gd name="T75" fmla="*/ 171 h 198"/>
                <a:gd name="T76" fmla="*/ 103 w 177"/>
                <a:gd name="T77" fmla="*/ 164 h 198"/>
                <a:gd name="T78" fmla="*/ 105 w 177"/>
                <a:gd name="T79" fmla="*/ 159 h 198"/>
                <a:gd name="T80" fmla="*/ 107 w 177"/>
                <a:gd name="T81" fmla="*/ 153 h 198"/>
                <a:gd name="T82" fmla="*/ 110 w 177"/>
                <a:gd name="T83" fmla="*/ 150 h 198"/>
                <a:gd name="T84" fmla="*/ 105 w 177"/>
                <a:gd name="T85" fmla="*/ 139 h 198"/>
                <a:gd name="T86" fmla="*/ 96 w 177"/>
                <a:gd name="T87" fmla="*/ 135 h 198"/>
                <a:gd name="T88" fmla="*/ 85 w 177"/>
                <a:gd name="T89" fmla="*/ 130 h 198"/>
                <a:gd name="T90" fmla="*/ 74 w 177"/>
                <a:gd name="T91" fmla="*/ 123 h 198"/>
                <a:gd name="T92" fmla="*/ 67 w 177"/>
                <a:gd name="T93" fmla="*/ 119 h 198"/>
                <a:gd name="T94" fmla="*/ 49 w 177"/>
                <a:gd name="T95" fmla="*/ 112 h 198"/>
                <a:gd name="T96" fmla="*/ 40 w 177"/>
                <a:gd name="T97" fmla="*/ 108 h 198"/>
                <a:gd name="T98" fmla="*/ 33 w 177"/>
                <a:gd name="T99" fmla="*/ 103 h 198"/>
                <a:gd name="T100" fmla="*/ 27 w 177"/>
                <a:gd name="T101" fmla="*/ 99 h 198"/>
                <a:gd name="T102" fmla="*/ 22 w 177"/>
                <a:gd name="T103" fmla="*/ 94 h 198"/>
                <a:gd name="T104" fmla="*/ 15 w 177"/>
                <a:gd name="T105" fmla="*/ 87 h 198"/>
                <a:gd name="T106" fmla="*/ 11 w 177"/>
                <a:gd name="T107" fmla="*/ 83 h 198"/>
                <a:gd name="T108" fmla="*/ 9 w 177"/>
                <a:gd name="T109" fmla="*/ 78 h 198"/>
                <a:gd name="T110" fmla="*/ 4 w 177"/>
                <a:gd name="T111" fmla="*/ 74 h 198"/>
                <a:gd name="T112" fmla="*/ 0 w 177"/>
                <a:gd name="T113" fmla="*/ 69 h 198"/>
                <a:gd name="T114" fmla="*/ 2 w 177"/>
                <a:gd name="T115" fmla="*/ 29 h 198"/>
                <a:gd name="T116" fmla="*/ 11 w 177"/>
                <a:gd name="T117" fmla="*/ 11 h 198"/>
                <a:gd name="T118" fmla="*/ 60 w 177"/>
                <a:gd name="T119" fmla="*/ 0 h 198"/>
                <a:gd name="T120" fmla="*/ 87 w 177"/>
                <a:gd name="T121" fmla="*/ 13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" h="198">
                  <a:moveTo>
                    <a:pt x="87" y="20"/>
                  </a:move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4" y="31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9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96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5" y="69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67"/>
                  </a:lnTo>
                  <a:lnTo>
                    <a:pt x="110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9" y="69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8" y="65"/>
                  </a:lnTo>
                  <a:lnTo>
                    <a:pt x="128" y="65"/>
                  </a:lnTo>
                  <a:lnTo>
                    <a:pt x="128" y="65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30" y="69"/>
                  </a:lnTo>
                  <a:lnTo>
                    <a:pt x="130" y="69"/>
                  </a:lnTo>
                  <a:lnTo>
                    <a:pt x="130" y="69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34" y="72"/>
                  </a:lnTo>
                  <a:lnTo>
                    <a:pt x="137" y="72"/>
                  </a:lnTo>
                  <a:lnTo>
                    <a:pt x="137" y="69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41" y="76"/>
                  </a:lnTo>
                  <a:lnTo>
                    <a:pt x="141" y="76"/>
                  </a:lnTo>
                  <a:lnTo>
                    <a:pt x="141" y="78"/>
                  </a:lnTo>
                  <a:lnTo>
                    <a:pt x="143" y="78"/>
                  </a:lnTo>
                  <a:lnTo>
                    <a:pt x="143" y="78"/>
                  </a:lnTo>
                  <a:lnTo>
                    <a:pt x="143" y="78"/>
                  </a:lnTo>
                  <a:lnTo>
                    <a:pt x="143" y="78"/>
                  </a:lnTo>
                  <a:lnTo>
                    <a:pt x="143" y="78"/>
                  </a:lnTo>
                  <a:lnTo>
                    <a:pt x="143" y="78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6" y="81"/>
                  </a:lnTo>
                  <a:lnTo>
                    <a:pt x="146" y="81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3" y="85"/>
                  </a:lnTo>
                  <a:lnTo>
                    <a:pt x="146" y="85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90"/>
                  </a:lnTo>
                  <a:lnTo>
                    <a:pt x="146" y="90"/>
                  </a:lnTo>
                  <a:lnTo>
                    <a:pt x="146" y="90"/>
                  </a:lnTo>
                  <a:lnTo>
                    <a:pt x="146" y="90"/>
                  </a:lnTo>
                  <a:lnTo>
                    <a:pt x="146" y="90"/>
                  </a:lnTo>
                  <a:lnTo>
                    <a:pt x="146" y="92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4"/>
                  </a:lnTo>
                  <a:lnTo>
                    <a:pt x="148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3"/>
                  </a:lnTo>
                  <a:lnTo>
                    <a:pt x="150" y="103"/>
                  </a:lnTo>
                  <a:lnTo>
                    <a:pt x="150" y="105"/>
                  </a:lnTo>
                  <a:lnTo>
                    <a:pt x="150" y="110"/>
                  </a:lnTo>
                  <a:lnTo>
                    <a:pt x="152" y="110"/>
                  </a:lnTo>
                  <a:lnTo>
                    <a:pt x="152" y="110"/>
                  </a:lnTo>
                  <a:lnTo>
                    <a:pt x="152" y="112"/>
                  </a:lnTo>
                  <a:lnTo>
                    <a:pt x="155" y="112"/>
                  </a:lnTo>
                  <a:lnTo>
                    <a:pt x="155" y="112"/>
                  </a:lnTo>
                  <a:lnTo>
                    <a:pt x="155" y="112"/>
                  </a:lnTo>
                  <a:lnTo>
                    <a:pt x="155" y="112"/>
                  </a:lnTo>
                  <a:lnTo>
                    <a:pt x="155" y="112"/>
                  </a:lnTo>
                  <a:lnTo>
                    <a:pt x="155" y="112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7" y="112"/>
                  </a:lnTo>
                  <a:lnTo>
                    <a:pt x="159" y="112"/>
                  </a:lnTo>
                  <a:lnTo>
                    <a:pt x="159" y="110"/>
                  </a:lnTo>
                  <a:lnTo>
                    <a:pt x="159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4" y="108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6" y="108"/>
                  </a:lnTo>
                  <a:lnTo>
                    <a:pt x="168" y="108"/>
                  </a:lnTo>
                  <a:lnTo>
                    <a:pt x="168" y="108"/>
                  </a:lnTo>
                  <a:lnTo>
                    <a:pt x="170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7" y="119"/>
                  </a:lnTo>
                  <a:lnTo>
                    <a:pt x="177" y="119"/>
                  </a:lnTo>
                  <a:lnTo>
                    <a:pt x="175" y="121"/>
                  </a:lnTo>
                  <a:lnTo>
                    <a:pt x="175" y="121"/>
                  </a:lnTo>
                  <a:lnTo>
                    <a:pt x="175" y="123"/>
                  </a:lnTo>
                  <a:lnTo>
                    <a:pt x="175" y="123"/>
                  </a:lnTo>
                  <a:lnTo>
                    <a:pt x="175" y="123"/>
                  </a:lnTo>
                  <a:lnTo>
                    <a:pt x="175" y="126"/>
                  </a:lnTo>
                  <a:lnTo>
                    <a:pt x="175" y="126"/>
                  </a:lnTo>
                  <a:lnTo>
                    <a:pt x="175" y="130"/>
                  </a:lnTo>
                  <a:lnTo>
                    <a:pt x="175" y="130"/>
                  </a:lnTo>
                  <a:lnTo>
                    <a:pt x="175" y="130"/>
                  </a:lnTo>
                  <a:lnTo>
                    <a:pt x="173" y="135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5" y="137"/>
                  </a:lnTo>
                  <a:lnTo>
                    <a:pt x="175" y="139"/>
                  </a:lnTo>
                  <a:lnTo>
                    <a:pt x="175" y="139"/>
                  </a:lnTo>
                  <a:lnTo>
                    <a:pt x="175" y="139"/>
                  </a:lnTo>
                  <a:lnTo>
                    <a:pt x="173" y="139"/>
                  </a:lnTo>
                  <a:lnTo>
                    <a:pt x="173" y="141"/>
                  </a:lnTo>
                  <a:lnTo>
                    <a:pt x="173" y="141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3" y="146"/>
                  </a:lnTo>
                  <a:lnTo>
                    <a:pt x="173" y="146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3" y="150"/>
                  </a:lnTo>
                  <a:lnTo>
                    <a:pt x="173" y="150"/>
                  </a:lnTo>
                  <a:lnTo>
                    <a:pt x="173" y="150"/>
                  </a:lnTo>
                  <a:lnTo>
                    <a:pt x="173" y="150"/>
                  </a:lnTo>
                  <a:lnTo>
                    <a:pt x="170" y="150"/>
                  </a:lnTo>
                  <a:lnTo>
                    <a:pt x="170" y="153"/>
                  </a:lnTo>
                  <a:lnTo>
                    <a:pt x="173" y="153"/>
                  </a:lnTo>
                  <a:lnTo>
                    <a:pt x="173" y="153"/>
                  </a:lnTo>
                  <a:lnTo>
                    <a:pt x="173" y="153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4"/>
                  </a:lnTo>
                  <a:lnTo>
                    <a:pt x="173" y="166"/>
                  </a:lnTo>
                  <a:lnTo>
                    <a:pt x="173" y="166"/>
                  </a:lnTo>
                  <a:lnTo>
                    <a:pt x="173" y="166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0" y="171"/>
                  </a:lnTo>
                  <a:lnTo>
                    <a:pt x="170" y="171"/>
                  </a:lnTo>
                  <a:lnTo>
                    <a:pt x="170" y="171"/>
                  </a:lnTo>
                  <a:lnTo>
                    <a:pt x="170" y="173"/>
                  </a:lnTo>
                  <a:lnTo>
                    <a:pt x="170" y="173"/>
                  </a:lnTo>
                  <a:lnTo>
                    <a:pt x="170" y="173"/>
                  </a:lnTo>
                  <a:lnTo>
                    <a:pt x="170" y="173"/>
                  </a:lnTo>
                  <a:lnTo>
                    <a:pt x="170" y="173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68" y="175"/>
                  </a:lnTo>
                  <a:lnTo>
                    <a:pt x="168" y="175"/>
                  </a:lnTo>
                  <a:lnTo>
                    <a:pt x="168" y="175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8" y="177"/>
                  </a:lnTo>
                  <a:lnTo>
                    <a:pt x="166" y="177"/>
                  </a:lnTo>
                  <a:lnTo>
                    <a:pt x="166" y="177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4" y="182"/>
                  </a:lnTo>
                  <a:lnTo>
                    <a:pt x="164" y="182"/>
                  </a:lnTo>
                  <a:lnTo>
                    <a:pt x="164" y="182"/>
                  </a:lnTo>
                  <a:lnTo>
                    <a:pt x="164" y="182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61" y="182"/>
                  </a:lnTo>
                  <a:lnTo>
                    <a:pt x="159" y="182"/>
                  </a:lnTo>
                  <a:lnTo>
                    <a:pt x="159" y="182"/>
                  </a:lnTo>
                  <a:lnTo>
                    <a:pt x="159" y="182"/>
                  </a:lnTo>
                  <a:lnTo>
                    <a:pt x="159" y="182"/>
                  </a:lnTo>
                  <a:lnTo>
                    <a:pt x="159" y="184"/>
                  </a:lnTo>
                  <a:lnTo>
                    <a:pt x="159" y="184"/>
                  </a:lnTo>
                  <a:lnTo>
                    <a:pt x="159" y="184"/>
                  </a:lnTo>
                  <a:lnTo>
                    <a:pt x="159" y="184"/>
                  </a:lnTo>
                  <a:lnTo>
                    <a:pt x="159" y="186"/>
                  </a:lnTo>
                  <a:lnTo>
                    <a:pt x="157" y="184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6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89"/>
                  </a:lnTo>
                  <a:lnTo>
                    <a:pt x="157" y="191"/>
                  </a:lnTo>
                  <a:lnTo>
                    <a:pt x="157" y="191"/>
                  </a:lnTo>
                  <a:lnTo>
                    <a:pt x="157" y="191"/>
                  </a:lnTo>
                  <a:lnTo>
                    <a:pt x="157" y="191"/>
                  </a:lnTo>
                  <a:lnTo>
                    <a:pt x="157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3"/>
                  </a:lnTo>
                  <a:lnTo>
                    <a:pt x="155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50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3" y="191"/>
                  </a:lnTo>
                  <a:lnTo>
                    <a:pt x="143" y="191"/>
                  </a:lnTo>
                  <a:lnTo>
                    <a:pt x="143" y="191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3" y="195"/>
                  </a:lnTo>
                  <a:lnTo>
                    <a:pt x="143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7" y="193"/>
                  </a:lnTo>
                  <a:lnTo>
                    <a:pt x="137" y="193"/>
                  </a:lnTo>
                  <a:lnTo>
                    <a:pt x="134" y="193"/>
                  </a:lnTo>
                  <a:lnTo>
                    <a:pt x="134" y="195"/>
                  </a:lnTo>
                  <a:lnTo>
                    <a:pt x="134" y="195"/>
                  </a:lnTo>
                  <a:lnTo>
                    <a:pt x="132" y="195"/>
                  </a:lnTo>
                  <a:lnTo>
                    <a:pt x="132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28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5" y="195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3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21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6" y="193"/>
                  </a:lnTo>
                  <a:lnTo>
                    <a:pt x="114" y="191"/>
                  </a:lnTo>
                  <a:lnTo>
                    <a:pt x="114" y="191"/>
                  </a:lnTo>
                  <a:lnTo>
                    <a:pt x="112" y="191"/>
                  </a:lnTo>
                  <a:lnTo>
                    <a:pt x="110" y="191"/>
                  </a:lnTo>
                  <a:lnTo>
                    <a:pt x="110" y="189"/>
                  </a:lnTo>
                  <a:lnTo>
                    <a:pt x="110" y="189"/>
                  </a:lnTo>
                  <a:lnTo>
                    <a:pt x="107" y="189"/>
                  </a:lnTo>
                  <a:lnTo>
                    <a:pt x="107" y="189"/>
                  </a:lnTo>
                  <a:lnTo>
                    <a:pt x="105" y="189"/>
                  </a:lnTo>
                  <a:lnTo>
                    <a:pt x="105" y="189"/>
                  </a:lnTo>
                  <a:lnTo>
                    <a:pt x="103" y="189"/>
                  </a:lnTo>
                  <a:lnTo>
                    <a:pt x="96" y="189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6" y="189"/>
                  </a:lnTo>
                  <a:lnTo>
                    <a:pt x="96" y="189"/>
                  </a:lnTo>
                  <a:lnTo>
                    <a:pt x="94" y="189"/>
                  </a:lnTo>
                  <a:lnTo>
                    <a:pt x="94" y="189"/>
                  </a:lnTo>
                  <a:lnTo>
                    <a:pt x="94" y="189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6" y="186"/>
                  </a:lnTo>
                  <a:lnTo>
                    <a:pt x="96" y="186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8" y="182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1" y="175"/>
                  </a:lnTo>
                  <a:lnTo>
                    <a:pt x="103" y="175"/>
                  </a:lnTo>
                  <a:lnTo>
                    <a:pt x="103" y="175"/>
                  </a:lnTo>
                  <a:lnTo>
                    <a:pt x="103" y="175"/>
                  </a:lnTo>
                  <a:lnTo>
                    <a:pt x="103" y="175"/>
                  </a:lnTo>
                  <a:lnTo>
                    <a:pt x="101" y="173"/>
                  </a:lnTo>
                  <a:lnTo>
                    <a:pt x="101" y="173"/>
                  </a:lnTo>
                  <a:lnTo>
                    <a:pt x="101" y="173"/>
                  </a:lnTo>
                  <a:lnTo>
                    <a:pt x="103" y="173"/>
                  </a:lnTo>
                  <a:lnTo>
                    <a:pt x="103" y="173"/>
                  </a:lnTo>
                  <a:lnTo>
                    <a:pt x="103" y="173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3"/>
                  </a:lnTo>
                  <a:lnTo>
                    <a:pt x="101" y="173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1" y="171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1" y="166"/>
                  </a:lnTo>
                  <a:lnTo>
                    <a:pt x="103" y="166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3" y="164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5" y="162"/>
                  </a:lnTo>
                  <a:lnTo>
                    <a:pt x="107" y="159"/>
                  </a:lnTo>
                  <a:lnTo>
                    <a:pt x="107" y="159"/>
                  </a:lnTo>
                  <a:lnTo>
                    <a:pt x="107" y="159"/>
                  </a:lnTo>
                  <a:lnTo>
                    <a:pt x="105" y="159"/>
                  </a:lnTo>
                  <a:lnTo>
                    <a:pt x="105" y="157"/>
                  </a:lnTo>
                  <a:lnTo>
                    <a:pt x="107" y="157"/>
                  </a:lnTo>
                  <a:lnTo>
                    <a:pt x="107" y="157"/>
                  </a:lnTo>
                  <a:lnTo>
                    <a:pt x="107" y="157"/>
                  </a:lnTo>
                  <a:lnTo>
                    <a:pt x="107" y="157"/>
                  </a:lnTo>
                  <a:lnTo>
                    <a:pt x="105" y="157"/>
                  </a:lnTo>
                  <a:lnTo>
                    <a:pt x="105" y="157"/>
                  </a:lnTo>
                  <a:lnTo>
                    <a:pt x="105" y="157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07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50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12" y="148"/>
                  </a:lnTo>
                  <a:lnTo>
                    <a:pt x="112" y="148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2" y="146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7" y="139"/>
                  </a:lnTo>
                  <a:lnTo>
                    <a:pt x="105" y="139"/>
                  </a:lnTo>
                  <a:lnTo>
                    <a:pt x="105" y="139"/>
                  </a:lnTo>
                  <a:lnTo>
                    <a:pt x="105" y="139"/>
                  </a:lnTo>
                  <a:lnTo>
                    <a:pt x="105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3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98" y="135"/>
                  </a:lnTo>
                  <a:lnTo>
                    <a:pt x="98" y="135"/>
                  </a:lnTo>
                  <a:lnTo>
                    <a:pt x="98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6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92" y="132"/>
                  </a:lnTo>
                  <a:lnTo>
                    <a:pt x="87" y="130"/>
                  </a:lnTo>
                  <a:lnTo>
                    <a:pt x="87" y="130"/>
                  </a:lnTo>
                  <a:lnTo>
                    <a:pt x="87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5" y="130"/>
                  </a:lnTo>
                  <a:lnTo>
                    <a:pt x="80" y="128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4" y="123"/>
                  </a:lnTo>
                  <a:lnTo>
                    <a:pt x="71" y="123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1"/>
                  </a:lnTo>
                  <a:lnTo>
                    <a:pt x="69" y="121"/>
                  </a:lnTo>
                  <a:lnTo>
                    <a:pt x="69" y="121"/>
                  </a:lnTo>
                  <a:lnTo>
                    <a:pt x="69" y="121"/>
                  </a:lnTo>
                  <a:lnTo>
                    <a:pt x="69" y="121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58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3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9" y="81"/>
                  </a:lnTo>
                  <a:lnTo>
                    <a:pt x="11" y="81"/>
                  </a:lnTo>
                  <a:lnTo>
                    <a:pt x="9" y="81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2" y="54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4" y="47"/>
                  </a:lnTo>
                  <a:lnTo>
                    <a:pt x="4" y="45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24" y="4"/>
                  </a:lnTo>
                  <a:lnTo>
                    <a:pt x="31" y="4"/>
                  </a:lnTo>
                  <a:lnTo>
                    <a:pt x="38" y="2"/>
                  </a:lnTo>
                  <a:lnTo>
                    <a:pt x="44" y="0"/>
                  </a:lnTo>
                  <a:lnTo>
                    <a:pt x="47" y="0"/>
                  </a:lnTo>
                  <a:lnTo>
                    <a:pt x="49" y="0"/>
                  </a:lnTo>
                  <a:lnTo>
                    <a:pt x="53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6" y="6"/>
                  </a:lnTo>
                  <a:lnTo>
                    <a:pt x="78" y="6"/>
                  </a:lnTo>
                  <a:lnTo>
                    <a:pt x="80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8" name="Freeform 523"/>
            <p:cNvSpPr>
              <a:spLocks noEditPoints="1"/>
            </p:cNvSpPr>
            <p:nvPr/>
          </p:nvSpPr>
          <p:spPr bwMode="auto">
            <a:xfrm>
              <a:off x="10578285" y="4022580"/>
              <a:ext cx="533185" cy="409499"/>
            </a:xfrm>
            <a:custGeom>
              <a:avLst/>
              <a:gdLst>
                <a:gd name="T0" fmla="*/ 254 w 319"/>
                <a:gd name="T1" fmla="*/ 242 h 245"/>
                <a:gd name="T2" fmla="*/ 267 w 319"/>
                <a:gd name="T3" fmla="*/ 240 h 245"/>
                <a:gd name="T4" fmla="*/ 240 w 319"/>
                <a:gd name="T5" fmla="*/ 220 h 245"/>
                <a:gd name="T6" fmla="*/ 202 w 319"/>
                <a:gd name="T7" fmla="*/ 220 h 245"/>
                <a:gd name="T8" fmla="*/ 211 w 319"/>
                <a:gd name="T9" fmla="*/ 209 h 245"/>
                <a:gd name="T10" fmla="*/ 209 w 319"/>
                <a:gd name="T11" fmla="*/ 195 h 245"/>
                <a:gd name="T12" fmla="*/ 198 w 319"/>
                <a:gd name="T13" fmla="*/ 193 h 245"/>
                <a:gd name="T14" fmla="*/ 247 w 319"/>
                <a:gd name="T15" fmla="*/ 182 h 245"/>
                <a:gd name="T16" fmla="*/ 243 w 319"/>
                <a:gd name="T17" fmla="*/ 182 h 245"/>
                <a:gd name="T18" fmla="*/ 52 w 319"/>
                <a:gd name="T19" fmla="*/ 170 h 245"/>
                <a:gd name="T20" fmla="*/ 56 w 319"/>
                <a:gd name="T21" fmla="*/ 159 h 245"/>
                <a:gd name="T22" fmla="*/ 296 w 319"/>
                <a:gd name="T23" fmla="*/ 98 h 245"/>
                <a:gd name="T24" fmla="*/ 312 w 319"/>
                <a:gd name="T25" fmla="*/ 114 h 245"/>
                <a:gd name="T26" fmla="*/ 301 w 319"/>
                <a:gd name="T27" fmla="*/ 116 h 245"/>
                <a:gd name="T28" fmla="*/ 144 w 319"/>
                <a:gd name="T29" fmla="*/ 94 h 245"/>
                <a:gd name="T30" fmla="*/ 292 w 319"/>
                <a:gd name="T31" fmla="*/ 89 h 245"/>
                <a:gd name="T32" fmla="*/ 186 w 319"/>
                <a:gd name="T33" fmla="*/ 78 h 245"/>
                <a:gd name="T34" fmla="*/ 243 w 319"/>
                <a:gd name="T35" fmla="*/ 67 h 245"/>
                <a:gd name="T36" fmla="*/ 238 w 319"/>
                <a:gd name="T37" fmla="*/ 98 h 245"/>
                <a:gd name="T38" fmla="*/ 211 w 319"/>
                <a:gd name="T39" fmla="*/ 110 h 245"/>
                <a:gd name="T40" fmla="*/ 193 w 319"/>
                <a:gd name="T41" fmla="*/ 116 h 245"/>
                <a:gd name="T42" fmla="*/ 171 w 319"/>
                <a:gd name="T43" fmla="*/ 107 h 245"/>
                <a:gd name="T44" fmla="*/ 171 w 319"/>
                <a:gd name="T45" fmla="*/ 98 h 245"/>
                <a:gd name="T46" fmla="*/ 195 w 319"/>
                <a:gd name="T47" fmla="*/ 96 h 245"/>
                <a:gd name="T48" fmla="*/ 202 w 319"/>
                <a:gd name="T49" fmla="*/ 98 h 245"/>
                <a:gd name="T50" fmla="*/ 225 w 319"/>
                <a:gd name="T51" fmla="*/ 85 h 245"/>
                <a:gd name="T52" fmla="*/ 238 w 319"/>
                <a:gd name="T53" fmla="*/ 69 h 245"/>
                <a:gd name="T54" fmla="*/ 274 w 319"/>
                <a:gd name="T55" fmla="*/ 65 h 245"/>
                <a:gd name="T56" fmla="*/ 63 w 319"/>
                <a:gd name="T57" fmla="*/ 47 h 245"/>
                <a:gd name="T58" fmla="*/ 243 w 319"/>
                <a:gd name="T59" fmla="*/ 38 h 245"/>
                <a:gd name="T60" fmla="*/ 18 w 319"/>
                <a:gd name="T61" fmla="*/ 31 h 245"/>
                <a:gd name="T62" fmla="*/ 70 w 319"/>
                <a:gd name="T63" fmla="*/ 56 h 245"/>
                <a:gd name="T64" fmla="*/ 92 w 319"/>
                <a:gd name="T65" fmla="*/ 71 h 245"/>
                <a:gd name="T66" fmla="*/ 112 w 319"/>
                <a:gd name="T67" fmla="*/ 98 h 245"/>
                <a:gd name="T68" fmla="*/ 137 w 319"/>
                <a:gd name="T69" fmla="*/ 110 h 245"/>
                <a:gd name="T70" fmla="*/ 135 w 319"/>
                <a:gd name="T71" fmla="*/ 128 h 245"/>
                <a:gd name="T72" fmla="*/ 135 w 319"/>
                <a:gd name="T73" fmla="*/ 146 h 245"/>
                <a:gd name="T74" fmla="*/ 153 w 319"/>
                <a:gd name="T75" fmla="*/ 164 h 245"/>
                <a:gd name="T76" fmla="*/ 171 w 319"/>
                <a:gd name="T77" fmla="*/ 182 h 245"/>
                <a:gd name="T78" fmla="*/ 186 w 319"/>
                <a:gd name="T79" fmla="*/ 197 h 245"/>
                <a:gd name="T80" fmla="*/ 202 w 319"/>
                <a:gd name="T81" fmla="*/ 211 h 245"/>
                <a:gd name="T82" fmla="*/ 189 w 319"/>
                <a:gd name="T83" fmla="*/ 220 h 245"/>
                <a:gd name="T84" fmla="*/ 184 w 319"/>
                <a:gd name="T85" fmla="*/ 215 h 245"/>
                <a:gd name="T86" fmla="*/ 162 w 319"/>
                <a:gd name="T87" fmla="*/ 211 h 245"/>
                <a:gd name="T88" fmla="*/ 141 w 319"/>
                <a:gd name="T89" fmla="*/ 206 h 245"/>
                <a:gd name="T90" fmla="*/ 126 w 319"/>
                <a:gd name="T91" fmla="*/ 191 h 245"/>
                <a:gd name="T92" fmla="*/ 117 w 319"/>
                <a:gd name="T93" fmla="*/ 175 h 245"/>
                <a:gd name="T94" fmla="*/ 96 w 319"/>
                <a:gd name="T95" fmla="*/ 157 h 245"/>
                <a:gd name="T96" fmla="*/ 79 w 319"/>
                <a:gd name="T97" fmla="*/ 148 h 245"/>
                <a:gd name="T98" fmla="*/ 70 w 319"/>
                <a:gd name="T99" fmla="*/ 150 h 245"/>
                <a:gd name="T100" fmla="*/ 63 w 319"/>
                <a:gd name="T101" fmla="*/ 159 h 245"/>
                <a:gd name="T102" fmla="*/ 25 w 319"/>
                <a:gd name="T103" fmla="*/ 164 h 245"/>
                <a:gd name="T104" fmla="*/ 36 w 319"/>
                <a:gd name="T105" fmla="*/ 188 h 245"/>
                <a:gd name="T106" fmla="*/ 2 w 319"/>
                <a:gd name="T107" fmla="*/ 128 h 245"/>
                <a:gd name="T108" fmla="*/ 11 w 319"/>
                <a:gd name="T109" fmla="*/ 29 h 245"/>
                <a:gd name="T110" fmla="*/ 247 w 319"/>
                <a:gd name="T111" fmla="*/ 51 h 245"/>
                <a:gd name="T112" fmla="*/ 263 w 319"/>
                <a:gd name="T113" fmla="*/ 71 h 245"/>
                <a:gd name="T114" fmla="*/ 249 w 319"/>
                <a:gd name="T115" fmla="*/ 58 h 245"/>
                <a:gd name="T116" fmla="*/ 216 w 319"/>
                <a:gd name="T117" fmla="*/ 33 h 245"/>
                <a:gd name="T118" fmla="*/ 207 w 319"/>
                <a:gd name="T119" fmla="*/ 31 h 245"/>
                <a:gd name="T120" fmla="*/ 141 w 319"/>
                <a:gd name="T121" fmla="*/ 15 h 245"/>
                <a:gd name="T122" fmla="*/ 130 w 319"/>
                <a:gd name="T123" fmla="*/ 17 h 245"/>
                <a:gd name="T124" fmla="*/ 200 w 319"/>
                <a:gd name="T125" fmla="*/ 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9" h="245">
                  <a:moveTo>
                    <a:pt x="249" y="238"/>
                  </a:moveTo>
                  <a:lnTo>
                    <a:pt x="249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2" y="238"/>
                  </a:lnTo>
                  <a:lnTo>
                    <a:pt x="254" y="238"/>
                  </a:lnTo>
                  <a:lnTo>
                    <a:pt x="254" y="238"/>
                  </a:lnTo>
                  <a:lnTo>
                    <a:pt x="254" y="240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6" y="240"/>
                  </a:lnTo>
                  <a:lnTo>
                    <a:pt x="256" y="240"/>
                  </a:lnTo>
                  <a:lnTo>
                    <a:pt x="258" y="242"/>
                  </a:lnTo>
                  <a:lnTo>
                    <a:pt x="258" y="242"/>
                  </a:lnTo>
                  <a:lnTo>
                    <a:pt x="258" y="242"/>
                  </a:lnTo>
                  <a:lnTo>
                    <a:pt x="258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5"/>
                  </a:lnTo>
                  <a:lnTo>
                    <a:pt x="260" y="242"/>
                  </a:lnTo>
                  <a:lnTo>
                    <a:pt x="260" y="242"/>
                  </a:lnTo>
                  <a:lnTo>
                    <a:pt x="260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2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8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5"/>
                  </a:lnTo>
                  <a:lnTo>
                    <a:pt x="256" y="242"/>
                  </a:lnTo>
                  <a:lnTo>
                    <a:pt x="256" y="242"/>
                  </a:lnTo>
                  <a:lnTo>
                    <a:pt x="256" y="242"/>
                  </a:lnTo>
                  <a:lnTo>
                    <a:pt x="256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2" y="242"/>
                  </a:lnTo>
                  <a:lnTo>
                    <a:pt x="252" y="242"/>
                  </a:lnTo>
                  <a:lnTo>
                    <a:pt x="252" y="242"/>
                  </a:lnTo>
                  <a:lnTo>
                    <a:pt x="252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49" y="242"/>
                  </a:lnTo>
                  <a:lnTo>
                    <a:pt x="249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52" y="240"/>
                  </a:lnTo>
                  <a:lnTo>
                    <a:pt x="249" y="240"/>
                  </a:lnTo>
                  <a:lnTo>
                    <a:pt x="249" y="240"/>
                  </a:lnTo>
                  <a:lnTo>
                    <a:pt x="249" y="240"/>
                  </a:lnTo>
                  <a:lnTo>
                    <a:pt x="249" y="240"/>
                  </a:lnTo>
                  <a:lnTo>
                    <a:pt x="249" y="240"/>
                  </a:lnTo>
                  <a:lnTo>
                    <a:pt x="249" y="238"/>
                  </a:lnTo>
                  <a:lnTo>
                    <a:pt x="249" y="240"/>
                  </a:lnTo>
                  <a:lnTo>
                    <a:pt x="249" y="240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9" y="236"/>
                  </a:lnTo>
                  <a:lnTo>
                    <a:pt x="249" y="238"/>
                  </a:lnTo>
                  <a:close/>
                  <a:moveTo>
                    <a:pt x="269" y="236"/>
                  </a:moveTo>
                  <a:lnTo>
                    <a:pt x="269" y="236"/>
                  </a:lnTo>
                  <a:lnTo>
                    <a:pt x="269" y="238"/>
                  </a:lnTo>
                  <a:lnTo>
                    <a:pt x="272" y="236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69" y="238"/>
                  </a:lnTo>
                  <a:lnTo>
                    <a:pt x="269" y="238"/>
                  </a:lnTo>
                  <a:lnTo>
                    <a:pt x="269" y="238"/>
                  </a:lnTo>
                  <a:lnTo>
                    <a:pt x="269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40"/>
                  </a:lnTo>
                  <a:lnTo>
                    <a:pt x="267" y="240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5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9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8"/>
                  </a:lnTo>
                  <a:lnTo>
                    <a:pt x="267" y="236"/>
                  </a:lnTo>
                  <a:lnTo>
                    <a:pt x="267" y="236"/>
                  </a:lnTo>
                  <a:lnTo>
                    <a:pt x="267" y="236"/>
                  </a:lnTo>
                  <a:lnTo>
                    <a:pt x="267" y="236"/>
                  </a:lnTo>
                  <a:lnTo>
                    <a:pt x="267" y="236"/>
                  </a:lnTo>
                  <a:lnTo>
                    <a:pt x="269" y="236"/>
                  </a:lnTo>
                  <a:lnTo>
                    <a:pt x="269" y="236"/>
                  </a:lnTo>
                  <a:lnTo>
                    <a:pt x="269" y="236"/>
                  </a:lnTo>
                  <a:lnTo>
                    <a:pt x="269" y="236"/>
                  </a:lnTo>
                  <a:lnTo>
                    <a:pt x="269" y="236"/>
                  </a:lnTo>
                  <a:lnTo>
                    <a:pt x="269" y="236"/>
                  </a:lnTo>
                  <a:close/>
                  <a:moveTo>
                    <a:pt x="249" y="236"/>
                  </a:move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9" y="236"/>
                  </a:lnTo>
                  <a:lnTo>
                    <a:pt x="247" y="236"/>
                  </a:lnTo>
                  <a:lnTo>
                    <a:pt x="247" y="236"/>
                  </a:lnTo>
                  <a:lnTo>
                    <a:pt x="247" y="233"/>
                  </a:lnTo>
                  <a:lnTo>
                    <a:pt x="247" y="233"/>
                  </a:lnTo>
                  <a:lnTo>
                    <a:pt x="247" y="233"/>
                  </a:lnTo>
                  <a:lnTo>
                    <a:pt x="247" y="233"/>
                  </a:lnTo>
                  <a:lnTo>
                    <a:pt x="247" y="233"/>
                  </a:lnTo>
                  <a:lnTo>
                    <a:pt x="247" y="233"/>
                  </a:lnTo>
                  <a:lnTo>
                    <a:pt x="249" y="233"/>
                  </a:lnTo>
                  <a:lnTo>
                    <a:pt x="249" y="236"/>
                  </a:lnTo>
                  <a:lnTo>
                    <a:pt x="249" y="236"/>
                  </a:lnTo>
                  <a:close/>
                  <a:moveTo>
                    <a:pt x="238" y="220"/>
                  </a:moveTo>
                  <a:lnTo>
                    <a:pt x="238" y="220"/>
                  </a:lnTo>
                  <a:lnTo>
                    <a:pt x="238" y="220"/>
                  </a:lnTo>
                  <a:lnTo>
                    <a:pt x="240" y="220"/>
                  </a:lnTo>
                  <a:lnTo>
                    <a:pt x="240" y="220"/>
                  </a:lnTo>
                  <a:lnTo>
                    <a:pt x="240" y="220"/>
                  </a:lnTo>
                  <a:lnTo>
                    <a:pt x="240" y="220"/>
                  </a:lnTo>
                  <a:lnTo>
                    <a:pt x="243" y="220"/>
                  </a:lnTo>
                  <a:lnTo>
                    <a:pt x="243" y="220"/>
                  </a:lnTo>
                  <a:lnTo>
                    <a:pt x="243" y="220"/>
                  </a:lnTo>
                  <a:lnTo>
                    <a:pt x="243" y="220"/>
                  </a:lnTo>
                  <a:lnTo>
                    <a:pt x="243" y="220"/>
                  </a:lnTo>
                  <a:lnTo>
                    <a:pt x="245" y="220"/>
                  </a:lnTo>
                  <a:lnTo>
                    <a:pt x="245" y="220"/>
                  </a:lnTo>
                  <a:lnTo>
                    <a:pt x="245" y="222"/>
                  </a:lnTo>
                  <a:lnTo>
                    <a:pt x="245" y="222"/>
                  </a:lnTo>
                  <a:lnTo>
                    <a:pt x="243" y="222"/>
                  </a:lnTo>
                  <a:lnTo>
                    <a:pt x="243" y="222"/>
                  </a:lnTo>
                  <a:lnTo>
                    <a:pt x="243" y="222"/>
                  </a:lnTo>
                  <a:lnTo>
                    <a:pt x="243" y="222"/>
                  </a:lnTo>
                  <a:lnTo>
                    <a:pt x="243" y="222"/>
                  </a:lnTo>
                  <a:lnTo>
                    <a:pt x="240" y="222"/>
                  </a:lnTo>
                  <a:lnTo>
                    <a:pt x="240" y="222"/>
                  </a:lnTo>
                  <a:lnTo>
                    <a:pt x="240" y="222"/>
                  </a:lnTo>
                  <a:lnTo>
                    <a:pt x="238" y="222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close/>
                  <a:moveTo>
                    <a:pt x="207" y="220"/>
                  </a:move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4" y="222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2"/>
                  </a:lnTo>
                  <a:lnTo>
                    <a:pt x="202" y="222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4" y="220"/>
                  </a:lnTo>
                  <a:lnTo>
                    <a:pt x="207" y="220"/>
                  </a:lnTo>
                  <a:lnTo>
                    <a:pt x="207" y="220"/>
                  </a:lnTo>
                  <a:close/>
                  <a:moveTo>
                    <a:pt x="202" y="218"/>
                  </a:moveTo>
                  <a:lnTo>
                    <a:pt x="202" y="218"/>
                  </a:lnTo>
                  <a:lnTo>
                    <a:pt x="202" y="218"/>
                  </a:lnTo>
                  <a:lnTo>
                    <a:pt x="202" y="218"/>
                  </a:lnTo>
                  <a:lnTo>
                    <a:pt x="202" y="218"/>
                  </a:lnTo>
                  <a:lnTo>
                    <a:pt x="202" y="218"/>
                  </a:lnTo>
                  <a:lnTo>
                    <a:pt x="202" y="218"/>
                  </a:lnTo>
                  <a:lnTo>
                    <a:pt x="202" y="218"/>
                  </a:lnTo>
                  <a:lnTo>
                    <a:pt x="202" y="218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0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2" y="220"/>
                  </a:lnTo>
                  <a:lnTo>
                    <a:pt x="200" y="218"/>
                  </a:lnTo>
                  <a:lnTo>
                    <a:pt x="200" y="218"/>
                  </a:lnTo>
                  <a:lnTo>
                    <a:pt x="200" y="218"/>
                  </a:lnTo>
                  <a:lnTo>
                    <a:pt x="200" y="218"/>
                  </a:lnTo>
                  <a:lnTo>
                    <a:pt x="202" y="218"/>
                  </a:lnTo>
                  <a:lnTo>
                    <a:pt x="202" y="218"/>
                  </a:lnTo>
                  <a:close/>
                  <a:moveTo>
                    <a:pt x="229" y="215"/>
                  </a:moveTo>
                  <a:lnTo>
                    <a:pt x="229" y="215"/>
                  </a:lnTo>
                  <a:lnTo>
                    <a:pt x="229" y="215"/>
                  </a:lnTo>
                  <a:lnTo>
                    <a:pt x="229" y="215"/>
                  </a:lnTo>
                  <a:lnTo>
                    <a:pt x="229" y="215"/>
                  </a:lnTo>
                  <a:close/>
                  <a:moveTo>
                    <a:pt x="225" y="213"/>
                  </a:moveTo>
                  <a:lnTo>
                    <a:pt x="225" y="213"/>
                  </a:lnTo>
                  <a:lnTo>
                    <a:pt x="225" y="213"/>
                  </a:lnTo>
                  <a:lnTo>
                    <a:pt x="225" y="213"/>
                  </a:lnTo>
                  <a:close/>
                  <a:moveTo>
                    <a:pt x="225" y="211"/>
                  </a:move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close/>
                  <a:moveTo>
                    <a:pt x="209" y="204"/>
                  </a:moveTo>
                  <a:lnTo>
                    <a:pt x="209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9" y="204"/>
                  </a:lnTo>
                  <a:lnTo>
                    <a:pt x="209" y="206"/>
                  </a:lnTo>
                  <a:lnTo>
                    <a:pt x="209" y="206"/>
                  </a:lnTo>
                  <a:lnTo>
                    <a:pt x="209" y="206"/>
                  </a:lnTo>
                  <a:lnTo>
                    <a:pt x="209" y="206"/>
                  </a:lnTo>
                  <a:lnTo>
                    <a:pt x="209" y="206"/>
                  </a:lnTo>
                  <a:lnTo>
                    <a:pt x="209" y="206"/>
                  </a:lnTo>
                  <a:lnTo>
                    <a:pt x="209" y="206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09" y="204"/>
                  </a:lnTo>
                  <a:lnTo>
                    <a:pt x="211" y="204"/>
                  </a:lnTo>
                  <a:lnTo>
                    <a:pt x="211" y="204"/>
                  </a:lnTo>
                  <a:lnTo>
                    <a:pt x="211" y="204"/>
                  </a:lnTo>
                  <a:lnTo>
                    <a:pt x="213" y="204"/>
                  </a:lnTo>
                  <a:lnTo>
                    <a:pt x="213" y="204"/>
                  </a:lnTo>
                  <a:lnTo>
                    <a:pt x="213" y="204"/>
                  </a:lnTo>
                  <a:lnTo>
                    <a:pt x="213" y="206"/>
                  </a:lnTo>
                  <a:lnTo>
                    <a:pt x="211" y="206"/>
                  </a:lnTo>
                  <a:lnTo>
                    <a:pt x="211" y="209"/>
                  </a:lnTo>
                  <a:lnTo>
                    <a:pt x="211" y="209"/>
                  </a:lnTo>
                  <a:lnTo>
                    <a:pt x="211" y="209"/>
                  </a:lnTo>
                  <a:lnTo>
                    <a:pt x="211" y="209"/>
                  </a:lnTo>
                  <a:lnTo>
                    <a:pt x="211" y="211"/>
                  </a:lnTo>
                  <a:lnTo>
                    <a:pt x="211" y="209"/>
                  </a:lnTo>
                  <a:lnTo>
                    <a:pt x="209" y="209"/>
                  </a:lnTo>
                  <a:lnTo>
                    <a:pt x="209" y="209"/>
                  </a:lnTo>
                  <a:lnTo>
                    <a:pt x="207" y="209"/>
                  </a:lnTo>
                  <a:lnTo>
                    <a:pt x="207" y="209"/>
                  </a:lnTo>
                  <a:lnTo>
                    <a:pt x="207" y="209"/>
                  </a:lnTo>
                  <a:lnTo>
                    <a:pt x="207" y="209"/>
                  </a:lnTo>
                  <a:lnTo>
                    <a:pt x="207" y="209"/>
                  </a:lnTo>
                  <a:lnTo>
                    <a:pt x="204" y="206"/>
                  </a:lnTo>
                  <a:lnTo>
                    <a:pt x="204" y="206"/>
                  </a:lnTo>
                  <a:lnTo>
                    <a:pt x="207" y="206"/>
                  </a:lnTo>
                  <a:lnTo>
                    <a:pt x="207" y="206"/>
                  </a:lnTo>
                  <a:lnTo>
                    <a:pt x="207" y="206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4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197"/>
                  </a:lnTo>
                  <a:lnTo>
                    <a:pt x="202" y="197"/>
                  </a:lnTo>
                  <a:lnTo>
                    <a:pt x="202" y="197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7" y="202"/>
                  </a:lnTo>
                  <a:lnTo>
                    <a:pt x="207" y="204"/>
                  </a:lnTo>
                  <a:lnTo>
                    <a:pt x="207" y="204"/>
                  </a:lnTo>
                  <a:lnTo>
                    <a:pt x="209" y="204"/>
                  </a:lnTo>
                  <a:close/>
                  <a:moveTo>
                    <a:pt x="209" y="197"/>
                  </a:move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7" y="195"/>
                  </a:lnTo>
                  <a:lnTo>
                    <a:pt x="207" y="195"/>
                  </a:lnTo>
                  <a:lnTo>
                    <a:pt x="207" y="195"/>
                  </a:lnTo>
                  <a:lnTo>
                    <a:pt x="207" y="195"/>
                  </a:lnTo>
                  <a:lnTo>
                    <a:pt x="207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5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close/>
                  <a:moveTo>
                    <a:pt x="200" y="191"/>
                  </a:moveTo>
                  <a:lnTo>
                    <a:pt x="202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4" y="193"/>
                  </a:lnTo>
                  <a:lnTo>
                    <a:pt x="207" y="193"/>
                  </a:lnTo>
                  <a:lnTo>
                    <a:pt x="207" y="193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4" y="195"/>
                  </a:lnTo>
                  <a:lnTo>
                    <a:pt x="207" y="195"/>
                  </a:lnTo>
                  <a:lnTo>
                    <a:pt x="207" y="195"/>
                  </a:lnTo>
                  <a:lnTo>
                    <a:pt x="207" y="195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4" y="197"/>
                  </a:lnTo>
                  <a:lnTo>
                    <a:pt x="202" y="197"/>
                  </a:lnTo>
                  <a:lnTo>
                    <a:pt x="202" y="197"/>
                  </a:lnTo>
                  <a:lnTo>
                    <a:pt x="200" y="197"/>
                  </a:lnTo>
                  <a:lnTo>
                    <a:pt x="200" y="197"/>
                  </a:lnTo>
                  <a:lnTo>
                    <a:pt x="200" y="197"/>
                  </a:lnTo>
                  <a:lnTo>
                    <a:pt x="200" y="197"/>
                  </a:lnTo>
                  <a:lnTo>
                    <a:pt x="198" y="195"/>
                  </a:lnTo>
                  <a:lnTo>
                    <a:pt x="198" y="195"/>
                  </a:lnTo>
                  <a:lnTo>
                    <a:pt x="195" y="197"/>
                  </a:lnTo>
                  <a:lnTo>
                    <a:pt x="195" y="197"/>
                  </a:lnTo>
                  <a:lnTo>
                    <a:pt x="195" y="195"/>
                  </a:lnTo>
                  <a:lnTo>
                    <a:pt x="195" y="195"/>
                  </a:lnTo>
                  <a:lnTo>
                    <a:pt x="198" y="195"/>
                  </a:lnTo>
                  <a:lnTo>
                    <a:pt x="198" y="195"/>
                  </a:lnTo>
                  <a:lnTo>
                    <a:pt x="198" y="195"/>
                  </a:lnTo>
                  <a:lnTo>
                    <a:pt x="198" y="195"/>
                  </a:lnTo>
                  <a:lnTo>
                    <a:pt x="198" y="193"/>
                  </a:lnTo>
                  <a:lnTo>
                    <a:pt x="198" y="193"/>
                  </a:lnTo>
                  <a:lnTo>
                    <a:pt x="198" y="193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8" y="191"/>
                  </a:lnTo>
                  <a:lnTo>
                    <a:pt x="198" y="188"/>
                  </a:lnTo>
                  <a:lnTo>
                    <a:pt x="198" y="188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close/>
                  <a:moveTo>
                    <a:pt x="195" y="191"/>
                  </a:move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5" y="193"/>
                  </a:lnTo>
                  <a:lnTo>
                    <a:pt x="195" y="193"/>
                  </a:lnTo>
                  <a:lnTo>
                    <a:pt x="195" y="193"/>
                  </a:lnTo>
                  <a:lnTo>
                    <a:pt x="195" y="193"/>
                  </a:lnTo>
                  <a:lnTo>
                    <a:pt x="195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3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89" y="191"/>
                  </a:lnTo>
                  <a:lnTo>
                    <a:pt x="189" y="191"/>
                  </a:lnTo>
                  <a:lnTo>
                    <a:pt x="189" y="188"/>
                  </a:lnTo>
                  <a:lnTo>
                    <a:pt x="191" y="188"/>
                  </a:lnTo>
                  <a:lnTo>
                    <a:pt x="191" y="188"/>
                  </a:lnTo>
                  <a:lnTo>
                    <a:pt x="191" y="186"/>
                  </a:lnTo>
                  <a:lnTo>
                    <a:pt x="191" y="186"/>
                  </a:lnTo>
                  <a:lnTo>
                    <a:pt x="191" y="186"/>
                  </a:lnTo>
                  <a:lnTo>
                    <a:pt x="193" y="186"/>
                  </a:lnTo>
                  <a:lnTo>
                    <a:pt x="193" y="186"/>
                  </a:lnTo>
                  <a:lnTo>
                    <a:pt x="193" y="186"/>
                  </a:lnTo>
                  <a:lnTo>
                    <a:pt x="193" y="188"/>
                  </a:lnTo>
                  <a:lnTo>
                    <a:pt x="195" y="188"/>
                  </a:lnTo>
                  <a:lnTo>
                    <a:pt x="195" y="188"/>
                  </a:lnTo>
                  <a:lnTo>
                    <a:pt x="195" y="191"/>
                  </a:lnTo>
                  <a:lnTo>
                    <a:pt x="195" y="191"/>
                  </a:lnTo>
                  <a:close/>
                  <a:moveTo>
                    <a:pt x="245" y="182"/>
                  </a:moveTo>
                  <a:lnTo>
                    <a:pt x="245" y="182"/>
                  </a:lnTo>
                  <a:lnTo>
                    <a:pt x="245" y="182"/>
                  </a:lnTo>
                  <a:lnTo>
                    <a:pt x="245" y="182"/>
                  </a:lnTo>
                  <a:lnTo>
                    <a:pt x="245" y="182"/>
                  </a:lnTo>
                  <a:lnTo>
                    <a:pt x="247" y="182"/>
                  </a:lnTo>
                  <a:lnTo>
                    <a:pt x="247" y="182"/>
                  </a:lnTo>
                  <a:lnTo>
                    <a:pt x="247" y="182"/>
                  </a:lnTo>
                  <a:lnTo>
                    <a:pt x="247" y="179"/>
                  </a:lnTo>
                  <a:lnTo>
                    <a:pt x="247" y="182"/>
                  </a:lnTo>
                  <a:lnTo>
                    <a:pt x="247" y="182"/>
                  </a:lnTo>
                  <a:lnTo>
                    <a:pt x="247" y="182"/>
                  </a:lnTo>
                  <a:lnTo>
                    <a:pt x="247" y="182"/>
                  </a:lnTo>
                  <a:lnTo>
                    <a:pt x="247" y="182"/>
                  </a:lnTo>
                  <a:lnTo>
                    <a:pt x="249" y="182"/>
                  </a:lnTo>
                  <a:lnTo>
                    <a:pt x="249" y="182"/>
                  </a:lnTo>
                  <a:lnTo>
                    <a:pt x="249" y="182"/>
                  </a:lnTo>
                  <a:lnTo>
                    <a:pt x="249" y="182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49" y="184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9" y="186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7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6"/>
                  </a:lnTo>
                  <a:lnTo>
                    <a:pt x="245" y="184"/>
                  </a:lnTo>
                  <a:lnTo>
                    <a:pt x="245" y="184"/>
                  </a:lnTo>
                  <a:lnTo>
                    <a:pt x="245" y="184"/>
                  </a:lnTo>
                  <a:lnTo>
                    <a:pt x="245" y="184"/>
                  </a:lnTo>
                  <a:lnTo>
                    <a:pt x="245" y="184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0" y="182"/>
                  </a:lnTo>
                  <a:lnTo>
                    <a:pt x="243" y="182"/>
                  </a:lnTo>
                  <a:lnTo>
                    <a:pt x="243" y="182"/>
                  </a:lnTo>
                  <a:lnTo>
                    <a:pt x="243" y="179"/>
                  </a:lnTo>
                  <a:lnTo>
                    <a:pt x="245" y="179"/>
                  </a:lnTo>
                  <a:lnTo>
                    <a:pt x="245" y="179"/>
                  </a:lnTo>
                  <a:lnTo>
                    <a:pt x="245" y="182"/>
                  </a:lnTo>
                  <a:close/>
                  <a:moveTo>
                    <a:pt x="61" y="170"/>
                  </a:moveTo>
                  <a:lnTo>
                    <a:pt x="58" y="170"/>
                  </a:lnTo>
                  <a:lnTo>
                    <a:pt x="58" y="170"/>
                  </a:lnTo>
                  <a:lnTo>
                    <a:pt x="58" y="170"/>
                  </a:lnTo>
                  <a:lnTo>
                    <a:pt x="58" y="170"/>
                  </a:lnTo>
                  <a:lnTo>
                    <a:pt x="61" y="170"/>
                  </a:lnTo>
                  <a:lnTo>
                    <a:pt x="61" y="170"/>
                  </a:lnTo>
                  <a:lnTo>
                    <a:pt x="61" y="168"/>
                  </a:lnTo>
                  <a:lnTo>
                    <a:pt x="61" y="170"/>
                  </a:lnTo>
                  <a:lnTo>
                    <a:pt x="61" y="170"/>
                  </a:lnTo>
                  <a:lnTo>
                    <a:pt x="61" y="170"/>
                  </a:lnTo>
                  <a:close/>
                  <a:moveTo>
                    <a:pt x="213" y="168"/>
                  </a:moveTo>
                  <a:lnTo>
                    <a:pt x="213" y="168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3" y="173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3" y="177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3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68"/>
                  </a:lnTo>
                  <a:lnTo>
                    <a:pt x="211" y="168"/>
                  </a:lnTo>
                  <a:lnTo>
                    <a:pt x="211" y="168"/>
                  </a:lnTo>
                  <a:lnTo>
                    <a:pt x="211" y="168"/>
                  </a:lnTo>
                  <a:lnTo>
                    <a:pt x="211" y="168"/>
                  </a:lnTo>
                  <a:lnTo>
                    <a:pt x="211" y="168"/>
                  </a:lnTo>
                  <a:lnTo>
                    <a:pt x="213" y="168"/>
                  </a:lnTo>
                  <a:lnTo>
                    <a:pt x="213" y="168"/>
                  </a:lnTo>
                  <a:lnTo>
                    <a:pt x="213" y="168"/>
                  </a:lnTo>
                  <a:close/>
                  <a:moveTo>
                    <a:pt x="56" y="175"/>
                  </a:moveTo>
                  <a:lnTo>
                    <a:pt x="56" y="175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4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0"/>
                  </a:lnTo>
                  <a:lnTo>
                    <a:pt x="52" y="170"/>
                  </a:lnTo>
                  <a:lnTo>
                    <a:pt x="49" y="170"/>
                  </a:lnTo>
                  <a:lnTo>
                    <a:pt x="49" y="170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7" y="168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49" y="168"/>
                  </a:lnTo>
                  <a:lnTo>
                    <a:pt x="52" y="170"/>
                  </a:lnTo>
                  <a:lnTo>
                    <a:pt x="52" y="170"/>
                  </a:lnTo>
                  <a:lnTo>
                    <a:pt x="52" y="170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54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6" y="175"/>
                  </a:lnTo>
                  <a:close/>
                  <a:moveTo>
                    <a:pt x="52" y="166"/>
                  </a:moveTo>
                  <a:lnTo>
                    <a:pt x="52" y="166"/>
                  </a:lnTo>
                  <a:lnTo>
                    <a:pt x="52" y="166"/>
                  </a:lnTo>
                  <a:lnTo>
                    <a:pt x="52" y="166"/>
                  </a:lnTo>
                  <a:lnTo>
                    <a:pt x="54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4" y="168"/>
                  </a:lnTo>
                  <a:lnTo>
                    <a:pt x="54" y="168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52" y="168"/>
                  </a:lnTo>
                  <a:lnTo>
                    <a:pt x="49" y="168"/>
                  </a:lnTo>
                  <a:lnTo>
                    <a:pt x="49" y="166"/>
                  </a:lnTo>
                  <a:lnTo>
                    <a:pt x="49" y="166"/>
                  </a:lnTo>
                  <a:lnTo>
                    <a:pt x="49" y="166"/>
                  </a:lnTo>
                  <a:lnTo>
                    <a:pt x="49" y="166"/>
                  </a:lnTo>
                  <a:lnTo>
                    <a:pt x="52" y="166"/>
                  </a:lnTo>
                  <a:lnTo>
                    <a:pt x="52" y="166"/>
                  </a:lnTo>
                  <a:close/>
                  <a:moveTo>
                    <a:pt x="56" y="168"/>
                  </a:moveTo>
                  <a:lnTo>
                    <a:pt x="56" y="168"/>
                  </a:lnTo>
                  <a:lnTo>
                    <a:pt x="56" y="168"/>
                  </a:lnTo>
                  <a:lnTo>
                    <a:pt x="56" y="168"/>
                  </a:lnTo>
                  <a:lnTo>
                    <a:pt x="56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6" y="166"/>
                  </a:lnTo>
                  <a:lnTo>
                    <a:pt x="58" y="168"/>
                  </a:lnTo>
                  <a:lnTo>
                    <a:pt x="56" y="168"/>
                  </a:lnTo>
                  <a:close/>
                  <a:moveTo>
                    <a:pt x="58" y="161"/>
                  </a:moveTo>
                  <a:lnTo>
                    <a:pt x="58" y="161"/>
                  </a:lnTo>
                  <a:lnTo>
                    <a:pt x="56" y="161"/>
                  </a:lnTo>
                  <a:lnTo>
                    <a:pt x="56" y="161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61"/>
                  </a:lnTo>
                  <a:lnTo>
                    <a:pt x="58" y="161"/>
                  </a:lnTo>
                  <a:close/>
                  <a:moveTo>
                    <a:pt x="58" y="159"/>
                  </a:moveTo>
                  <a:lnTo>
                    <a:pt x="58" y="159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8" y="159"/>
                  </a:lnTo>
                  <a:close/>
                  <a:moveTo>
                    <a:pt x="150" y="98"/>
                  </a:move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3" y="98"/>
                  </a:lnTo>
                  <a:lnTo>
                    <a:pt x="153" y="98"/>
                  </a:lnTo>
                  <a:lnTo>
                    <a:pt x="153" y="101"/>
                  </a:lnTo>
                  <a:lnTo>
                    <a:pt x="155" y="101"/>
                  </a:lnTo>
                  <a:lnTo>
                    <a:pt x="155" y="101"/>
                  </a:lnTo>
                  <a:lnTo>
                    <a:pt x="155" y="101"/>
                  </a:lnTo>
                  <a:lnTo>
                    <a:pt x="155" y="103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7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0" y="105"/>
                  </a:lnTo>
                  <a:lnTo>
                    <a:pt x="150" y="103"/>
                  </a:lnTo>
                  <a:lnTo>
                    <a:pt x="150" y="103"/>
                  </a:lnTo>
                  <a:lnTo>
                    <a:pt x="150" y="103"/>
                  </a:lnTo>
                  <a:lnTo>
                    <a:pt x="150" y="103"/>
                  </a:lnTo>
                  <a:lnTo>
                    <a:pt x="148" y="103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lnTo>
                    <a:pt x="150" y="98"/>
                  </a:lnTo>
                  <a:close/>
                  <a:moveTo>
                    <a:pt x="296" y="98"/>
                  </a:move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299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101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1" y="101"/>
                  </a:lnTo>
                  <a:lnTo>
                    <a:pt x="303" y="101"/>
                  </a:lnTo>
                  <a:lnTo>
                    <a:pt x="303" y="103"/>
                  </a:lnTo>
                  <a:lnTo>
                    <a:pt x="303" y="103"/>
                  </a:lnTo>
                  <a:lnTo>
                    <a:pt x="303" y="103"/>
                  </a:lnTo>
                  <a:lnTo>
                    <a:pt x="303" y="103"/>
                  </a:lnTo>
                  <a:lnTo>
                    <a:pt x="303" y="103"/>
                  </a:lnTo>
                  <a:lnTo>
                    <a:pt x="303" y="103"/>
                  </a:lnTo>
                  <a:lnTo>
                    <a:pt x="303" y="105"/>
                  </a:lnTo>
                  <a:lnTo>
                    <a:pt x="303" y="105"/>
                  </a:lnTo>
                  <a:lnTo>
                    <a:pt x="303" y="105"/>
                  </a:lnTo>
                  <a:lnTo>
                    <a:pt x="303" y="105"/>
                  </a:lnTo>
                  <a:lnTo>
                    <a:pt x="303" y="107"/>
                  </a:lnTo>
                  <a:lnTo>
                    <a:pt x="303" y="107"/>
                  </a:lnTo>
                  <a:lnTo>
                    <a:pt x="303" y="107"/>
                  </a:lnTo>
                  <a:lnTo>
                    <a:pt x="305" y="107"/>
                  </a:lnTo>
                  <a:lnTo>
                    <a:pt x="305" y="107"/>
                  </a:lnTo>
                  <a:lnTo>
                    <a:pt x="305" y="107"/>
                  </a:lnTo>
                  <a:lnTo>
                    <a:pt x="305" y="107"/>
                  </a:lnTo>
                  <a:lnTo>
                    <a:pt x="305" y="107"/>
                  </a:lnTo>
                  <a:lnTo>
                    <a:pt x="305" y="110"/>
                  </a:lnTo>
                  <a:lnTo>
                    <a:pt x="305" y="110"/>
                  </a:lnTo>
                  <a:lnTo>
                    <a:pt x="305" y="110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8" y="112"/>
                  </a:lnTo>
                  <a:lnTo>
                    <a:pt x="308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0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4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14" y="116"/>
                  </a:lnTo>
                  <a:lnTo>
                    <a:pt x="314" y="116"/>
                  </a:lnTo>
                  <a:lnTo>
                    <a:pt x="314" y="116"/>
                  </a:lnTo>
                  <a:lnTo>
                    <a:pt x="314" y="116"/>
                  </a:lnTo>
                  <a:lnTo>
                    <a:pt x="314" y="119"/>
                  </a:lnTo>
                  <a:lnTo>
                    <a:pt x="314" y="119"/>
                  </a:lnTo>
                  <a:lnTo>
                    <a:pt x="314" y="119"/>
                  </a:lnTo>
                  <a:lnTo>
                    <a:pt x="314" y="119"/>
                  </a:lnTo>
                  <a:lnTo>
                    <a:pt x="317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7" y="121"/>
                  </a:lnTo>
                  <a:lnTo>
                    <a:pt x="317" y="121"/>
                  </a:lnTo>
                  <a:lnTo>
                    <a:pt x="317" y="123"/>
                  </a:lnTo>
                  <a:lnTo>
                    <a:pt x="317" y="123"/>
                  </a:lnTo>
                  <a:lnTo>
                    <a:pt x="317" y="123"/>
                  </a:lnTo>
                  <a:lnTo>
                    <a:pt x="317" y="123"/>
                  </a:lnTo>
                  <a:lnTo>
                    <a:pt x="317" y="123"/>
                  </a:lnTo>
                  <a:lnTo>
                    <a:pt x="317" y="125"/>
                  </a:lnTo>
                  <a:lnTo>
                    <a:pt x="317" y="125"/>
                  </a:lnTo>
                  <a:lnTo>
                    <a:pt x="317" y="125"/>
                  </a:lnTo>
                  <a:lnTo>
                    <a:pt x="317" y="125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7" y="128"/>
                  </a:lnTo>
                  <a:lnTo>
                    <a:pt x="317" y="130"/>
                  </a:lnTo>
                  <a:lnTo>
                    <a:pt x="317" y="130"/>
                  </a:lnTo>
                  <a:lnTo>
                    <a:pt x="317" y="128"/>
                  </a:lnTo>
                  <a:lnTo>
                    <a:pt x="317" y="128"/>
                  </a:lnTo>
                  <a:lnTo>
                    <a:pt x="317" y="128"/>
                  </a:lnTo>
                  <a:lnTo>
                    <a:pt x="317" y="128"/>
                  </a:lnTo>
                  <a:lnTo>
                    <a:pt x="317" y="130"/>
                  </a:lnTo>
                  <a:lnTo>
                    <a:pt x="317" y="128"/>
                  </a:lnTo>
                  <a:lnTo>
                    <a:pt x="314" y="128"/>
                  </a:lnTo>
                  <a:lnTo>
                    <a:pt x="314" y="130"/>
                  </a:lnTo>
                  <a:lnTo>
                    <a:pt x="314" y="130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2" y="130"/>
                  </a:lnTo>
                  <a:lnTo>
                    <a:pt x="310" y="130"/>
                  </a:lnTo>
                  <a:lnTo>
                    <a:pt x="310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8"/>
                  </a:lnTo>
                  <a:lnTo>
                    <a:pt x="305" y="125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3" y="123"/>
                  </a:lnTo>
                  <a:lnTo>
                    <a:pt x="303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6"/>
                  </a:lnTo>
                  <a:lnTo>
                    <a:pt x="303" y="116"/>
                  </a:lnTo>
                  <a:lnTo>
                    <a:pt x="301" y="116"/>
                  </a:lnTo>
                  <a:lnTo>
                    <a:pt x="299" y="116"/>
                  </a:lnTo>
                  <a:lnTo>
                    <a:pt x="299" y="114"/>
                  </a:lnTo>
                  <a:lnTo>
                    <a:pt x="299" y="114"/>
                  </a:lnTo>
                  <a:lnTo>
                    <a:pt x="299" y="114"/>
                  </a:lnTo>
                  <a:lnTo>
                    <a:pt x="299" y="114"/>
                  </a:lnTo>
                  <a:lnTo>
                    <a:pt x="299" y="114"/>
                  </a:lnTo>
                  <a:lnTo>
                    <a:pt x="299" y="114"/>
                  </a:lnTo>
                  <a:lnTo>
                    <a:pt x="299" y="112"/>
                  </a:lnTo>
                  <a:lnTo>
                    <a:pt x="299" y="112"/>
                  </a:lnTo>
                  <a:lnTo>
                    <a:pt x="299" y="112"/>
                  </a:lnTo>
                  <a:lnTo>
                    <a:pt x="296" y="112"/>
                  </a:lnTo>
                  <a:lnTo>
                    <a:pt x="296" y="112"/>
                  </a:lnTo>
                  <a:lnTo>
                    <a:pt x="296" y="112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4" y="110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5"/>
                  </a:lnTo>
                  <a:lnTo>
                    <a:pt x="294" y="105"/>
                  </a:lnTo>
                  <a:lnTo>
                    <a:pt x="294" y="105"/>
                  </a:lnTo>
                  <a:lnTo>
                    <a:pt x="294" y="105"/>
                  </a:lnTo>
                  <a:lnTo>
                    <a:pt x="294" y="105"/>
                  </a:lnTo>
                  <a:lnTo>
                    <a:pt x="294" y="105"/>
                  </a:lnTo>
                  <a:lnTo>
                    <a:pt x="294" y="105"/>
                  </a:lnTo>
                  <a:lnTo>
                    <a:pt x="294" y="103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101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98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6" y="96"/>
                  </a:lnTo>
                  <a:lnTo>
                    <a:pt x="296" y="98"/>
                  </a:lnTo>
                  <a:close/>
                  <a:moveTo>
                    <a:pt x="157" y="96"/>
                  </a:moveTo>
                  <a:lnTo>
                    <a:pt x="155" y="96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7" y="96"/>
                  </a:lnTo>
                  <a:lnTo>
                    <a:pt x="157" y="96"/>
                  </a:lnTo>
                  <a:close/>
                  <a:moveTo>
                    <a:pt x="146" y="94"/>
                  </a:move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close/>
                  <a:moveTo>
                    <a:pt x="137" y="96"/>
                  </a:moveTo>
                  <a:lnTo>
                    <a:pt x="137" y="96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5" y="96"/>
                  </a:lnTo>
                  <a:lnTo>
                    <a:pt x="135" y="96"/>
                  </a:lnTo>
                  <a:lnTo>
                    <a:pt x="135" y="96"/>
                  </a:lnTo>
                  <a:lnTo>
                    <a:pt x="132" y="94"/>
                  </a:lnTo>
                  <a:lnTo>
                    <a:pt x="132" y="94"/>
                  </a:lnTo>
                  <a:lnTo>
                    <a:pt x="132" y="94"/>
                  </a:lnTo>
                  <a:lnTo>
                    <a:pt x="132" y="94"/>
                  </a:lnTo>
                  <a:lnTo>
                    <a:pt x="132" y="94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5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7" y="94"/>
                  </a:lnTo>
                  <a:lnTo>
                    <a:pt x="137" y="94"/>
                  </a:lnTo>
                  <a:lnTo>
                    <a:pt x="137" y="94"/>
                  </a:lnTo>
                  <a:lnTo>
                    <a:pt x="137" y="94"/>
                  </a:lnTo>
                  <a:lnTo>
                    <a:pt x="137" y="94"/>
                  </a:lnTo>
                  <a:lnTo>
                    <a:pt x="137" y="96"/>
                  </a:lnTo>
                  <a:lnTo>
                    <a:pt x="137" y="96"/>
                  </a:lnTo>
                  <a:lnTo>
                    <a:pt x="137" y="96"/>
                  </a:lnTo>
                  <a:close/>
                  <a:moveTo>
                    <a:pt x="294" y="89"/>
                  </a:moveTo>
                  <a:lnTo>
                    <a:pt x="294" y="89"/>
                  </a:lnTo>
                  <a:lnTo>
                    <a:pt x="294" y="89"/>
                  </a:lnTo>
                  <a:lnTo>
                    <a:pt x="294" y="89"/>
                  </a:lnTo>
                  <a:lnTo>
                    <a:pt x="294" y="89"/>
                  </a:lnTo>
                  <a:lnTo>
                    <a:pt x="294" y="89"/>
                  </a:lnTo>
                  <a:lnTo>
                    <a:pt x="294" y="92"/>
                  </a:lnTo>
                  <a:lnTo>
                    <a:pt x="294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2" y="96"/>
                  </a:lnTo>
                  <a:lnTo>
                    <a:pt x="294" y="96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292" y="96"/>
                  </a:lnTo>
                  <a:lnTo>
                    <a:pt x="292" y="94"/>
                  </a:lnTo>
                  <a:lnTo>
                    <a:pt x="292" y="92"/>
                  </a:lnTo>
                  <a:lnTo>
                    <a:pt x="292" y="92"/>
                  </a:lnTo>
                  <a:lnTo>
                    <a:pt x="292" y="92"/>
                  </a:lnTo>
                  <a:lnTo>
                    <a:pt x="292" y="92"/>
                  </a:lnTo>
                  <a:lnTo>
                    <a:pt x="292" y="92"/>
                  </a:lnTo>
                  <a:lnTo>
                    <a:pt x="292" y="92"/>
                  </a:lnTo>
                  <a:lnTo>
                    <a:pt x="292" y="89"/>
                  </a:lnTo>
                  <a:lnTo>
                    <a:pt x="292" y="89"/>
                  </a:lnTo>
                  <a:lnTo>
                    <a:pt x="292" y="89"/>
                  </a:lnTo>
                  <a:lnTo>
                    <a:pt x="290" y="89"/>
                  </a:lnTo>
                  <a:lnTo>
                    <a:pt x="292" y="89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4" y="87"/>
                  </a:lnTo>
                  <a:lnTo>
                    <a:pt x="294" y="87"/>
                  </a:lnTo>
                  <a:lnTo>
                    <a:pt x="294" y="87"/>
                  </a:lnTo>
                  <a:lnTo>
                    <a:pt x="294" y="89"/>
                  </a:lnTo>
                  <a:close/>
                  <a:moveTo>
                    <a:pt x="220" y="85"/>
                  </a:moveTo>
                  <a:lnTo>
                    <a:pt x="220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0" y="85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2" y="83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0" y="85"/>
                  </a:lnTo>
                  <a:close/>
                  <a:moveTo>
                    <a:pt x="180" y="83"/>
                  </a:moveTo>
                  <a:lnTo>
                    <a:pt x="177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77" y="83"/>
                  </a:lnTo>
                  <a:lnTo>
                    <a:pt x="180" y="83"/>
                  </a:lnTo>
                  <a:lnTo>
                    <a:pt x="180" y="83"/>
                  </a:lnTo>
                  <a:lnTo>
                    <a:pt x="180" y="83"/>
                  </a:lnTo>
                  <a:close/>
                  <a:moveTo>
                    <a:pt x="117" y="83"/>
                  </a:move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3"/>
                  </a:lnTo>
                  <a:close/>
                  <a:moveTo>
                    <a:pt x="186" y="78"/>
                  </a:move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80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4" y="78"/>
                  </a:lnTo>
                  <a:lnTo>
                    <a:pt x="184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lnTo>
                    <a:pt x="186" y="78"/>
                  </a:lnTo>
                  <a:close/>
                  <a:moveTo>
                    <a:pt x="112" y="80"/>
                  </a:moveTo>
                  <a:lnTo>
                    <a:pt x="110" y="80"/>
                  </a:lnTo>
                  <a:lnTo>
                    <a:pt x="110" y="80"/>
                  </a:lnTo>
                  <a:lnTo>
                    <a:pt x="110" y="80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12" y="76"/>
                  </a:lnTo>
                  <a:lnTo>
                    <a:pt x="112" y="74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4" y="78"/>
                  </a:lnTo>
                  <a:lnTo>
                    <a:pt x="112" y="78"/>
                  </a:lnTo>
                  <a:lnTo>
                    <a:pt x="112" y="78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close/>
                  <a:moveTo>
                    <a:pt x="285" y="74"/>
                  </a:move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4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6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lnTo>
                    <a:pt x="285" y="74"/>
                  </a:lnTo>
                  <a:close/>
                  <a:moveTo>
                    <a:pt x="283" y="74"/>
                  </a:moveTo>
                  <a:lnTo>
                    <a:pt x="283" y="74"/>
                  </a:lnTo>
                  <a:lnTo>
                    <a:pt x="283" y="71"/>
                  </a:lnTo>
                  <a:lnTo>
                    <a:pt x="283" y="71"/>
                  </a:lnTo>
                  <a:lnTo>
                    <a:pt x="283" y="71"/>
                  </a:lnTo>
                  <a:lnTo>
                    <a:pt x="283" y="71"/>
                  </a:lnTo>
                  <a:lnTo>
                    <a:pt x="283" y="71"/>
                  </a:lnTo>
                  <a:lnTo>
                    <a:pt x="283" y="71"/>
                  </a:lnTo>
                  <a:lnTo>
                    <a:pt x="283" y="74"/>
                  </a:lnTo>
                  <a:close/>
                  <a:moveTo>
                    <a:pt x="245" y="67"/>
                  </a:moveTo>
                  <a:lnTo>
                    <a:pt x="245" y="67"/>
                  </a:lnTo>
                  <a:lnTo>
                    <a:pt x="245" y="67"/>
                  </a:lnTo>
                  <a:lnTo>
                    <a:pt x="245" y="69"/>
                  </a:lnTo>
                  <a:lnTo>
                    <a:pt x="245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9"/>
                  </a:lnTo>
                  <a:lnTo>
                    <a:pt x="243" y="69"/>
                  </a:lnTo>
                  <a:lnTo>
                    <a:pt x="243" y="69"/>
                  </a:lnTo>
                  <a:lnTo>
                    <a:pt x="243" y="69"/>
                  </a:lnTo>
                  <a:lnTo>
                    <a:pt x="243" y="69"/>
                  </a:lnTo>
                  <a:lnTo>
                    <a:pt x="243" y="69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5" y="69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69"/>
                  </a:lnTo>
                  <a:lnTo>
                    <a:pt x="247" y="69"/>
                  </a:lnTo>
                  <a:lnTo>
                    <a:pt x="247" y="71"/>
                  </a:lnTo>
                  <a:lnTo>
                    <a:pt x="247" y="71"/>
                  </a:lnTo>
                  <a:lnTo>
                    <a:pt x="247" y="74"/>
                  </a:lnTo>
                  <a:lnTo>
                    <a:pt x="247" y="74"/>
                  </a:lnTo>
                  <a:lnTo>
                    <a:pt x="247" y="76"/>
                  </a:lnTo>
                  <a:lnTo>
                    <a:pt x="247" y="76"/>
                  </a:lnTo>
                  <a:lnTo>
                    <a:pt x="247" y="78"/>
                  </a:lnTo>
                  <a:lnTo>
                    <a:pt x="247" y="78"/>
                  </a:lnTo>
                  <a:lnTo>
                    <a:pt x="247" y="80"/>
                  </a:lnTo>
                  <a:lnTo>
                    <a:pt x="247" y="80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85"/>
                  </a:lnTo>
                  <a:lnTo>
                    <a:pt x="245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3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5"/>
                  </a:lnTo>
                  <a:lnTo>
                    <a:pt x="238" y="87"/>
                  </a:lnTo>
                  <a:lnTo>
                    <a:pt x="238" y="89"/>
                  </a:lnTo>
                  <a:lnTo>
                    <a:pt x="238" y="89"/>
                  </a:lnTo>
                  <a:lnTo>
                    <a:pt x="238" y="89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6"/>
                  </a:lnTo>
                  <a:lnTo>
                    <a:pt x="240" y="96"/>
                  </a:lnTo>
                  <a:lnTo>
                    <a:pt x="240" y="96"/>
                  </a:lnTo>
                  <a:lnTo>
                    <a:pt x="240" y="96"/>
                  </a:lnTo>
                  <a:lnTo>
                    <a:pt x="240" y="96"/>
                  </a:lnTo>
                  <a:lnTo>
                    <a:pt x="238" y="96"/>
                  </a:lnTo>
                  <a:lnTo>
                    <a:pt x="238" y="96"/>
                  </a:lnTo>
                  <a:lnTo>
                    <a:pt x="238" y="96"/>
                  </a:lnTo>
                  <a:lnTo>
                    <a:pt x="238" y="98"/>
                  </a:lnTo>
                  <a:lnTo>
                    <a:pt x="238" y="98"/>
                  </a:lnTo>
                  <a:lnTo>
                    <a:pt x="236" y="98"/>
                  </a:lnTo>
                  <a:lnTo>
                    <a:pt x="236" y="98"/>
                  </a:lnTo>
                  <a:lnTo>
                    <a:pt x="236" y="98"/>
                  </a:lnTo>
                  <a:lnTo>
                    <a:pt x="236" y="98"/>
                  </a:lnTo>
                  <a:lnTo>
                    <a:pt x="234" y="98"/>
                  </a:lnTo>
                  <a:lnTo>
                    <a:pt x="234" y="98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4" y="101"/>
                  </a:lnTo>
                  <a:lnTo>
                    <a:pt x="231" y="98"/>
                  </a:lnTo>
                  <a:lnTo>
                    <a:pt x="231" y="98"/>
                  </a:lnTo>
                  <a:lnTo>
                    <a:pt x="231" y="98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8"/>
                  </a:lnTo>
                  <a:lnTo>
                    <a:pt x="229" y="101"/>
                  </a:lnTo>
                  <a:lnTo>
                    <a:pt x="229" y="101"/>
                  </a:lnTo>
                  <a:lnTo>
                    <a:pt x="229" y="101"/>
                  </a:lnTo>
                  <a:lnTo>
                    <a:pt x="229" y="98"/>
                  </a:lnTo>
                  <a:lnTo>
                    <a:pt x="229" y="98"/>
                  </a:lnTo>
                  <a:lnTo>
                    <a:pt x="229" y="98"/>
                  </a:lnTo>
                  <a:lnTo>
                    <a:pt x="229" y="98"/>
                  </a:lnTo>
                  <a:lnTo>
                    <a:pt x="227" y="98"/>
                  </a:lnTo>
                  <a:lnTo>
                    <a:pt x="227" y="98"/>
                  </a:lnTo>
                  <a:lnTo>
                    <a:pt x="227" y="98"/>
                  </a:lnTo>
                  <a:lnTo>
                    <a:pt x="225" y="98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5" y="101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1"/>
                  </a:lnTo>
                  <a:lnTo>
                    <a:pt x="227" y="103"/>
                  </a:lnTo>
                  <a:lnTo>
                    <a:pt x="227" y="103"/>
                  </a:lnTo>
                  <a:lnTo>
                    <a:pt x="227" y="103"/>
                  </a:lnTo>
                  <a:lnTo>
                    <a:pt x="225" y="103"/>
                  </a:lnTo>
                  <a:lnTo>
                    <a:pt x="225" y="103"/>
                  </a:lnTo>
                  <a:lnTo>
                    <a:pt x="225" y="103"/>
                  </a:lnTo>
                  <a:lnTo>
                    <a:pt x="225" y="103"/>
                  </a:lnTo>
                  <a:lnTo>
                    <a:pt x="225" y="103"/>
                  </a:lnTo>
                  <a:lnTo>
                    <a:pt x="225" y="105"/>
                  </a:lnTo>
                  <a:lnTo>
                    <a:pt x="225" y="105"/>
                  </a:lnTo>
                  <a:lnTo>
                    <a:pt x="225" y="105"/>
                  </a:lnTo>
                  <a:lnTo>
                    <a:pt x="225" y="105"/>
                  </a:lnTo>
                  <a:lnTo>
                    <a:pt x="222" y="105"/>
                  </a:lnTo>
                  <a:lnTo>
                    <a:pt x="222" y="105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2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07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18" y="110"/>
                  </a:lnTo>
                  <a:lnTo>
                    <a:pt x="218" y="110"/>
                  </a:lnTo>
                  <a:lnTo>
                    <a:pt x="218" y="110"/>
                  </a:lnTo>
                  <a:lnTo>
                    <a:pt x="218" y="110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2"/>
                  </a:lnTo>
                  <a:lnTo>
                    <a:pt x="213" y="112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0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11" y="112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9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4" y="116"/>
                  </a:lnTo>
                  <a:lnTo>
                    <a:pt x="204" y="116"/>
                  </a:lnTo>
                  <a:lnTo>
                    <a:pt x="204" y="116"/>
                  </a:lnTo>
                  <a:lnTo>
                    <a:pt x="204" y="116"/>
                  </a:lnTo>
                  <a:lnTo>
                    <a:pt x="204" y="116"/>
                  </a:lnTo>
                  <a:lnTo>
                    <a:pt x="202" y="116"/>
                  </a:lnTo>
                  <a:lnTo>
                    <a:pt x="202" y="116"/>
                  </a:lnTo>
                  <a:lnTo>
                    <a:pt x="202" y="116"/>
                  </a:lnTo>
                  <a:lnTo>
                    <a:pt x="202" y="116"/>
                  </a:lnTo>
                  <a:lnTo>
                    <a:pt x="202" y="116"/>
                  </a:lnTo>
                  <a:lnTo>
                    <a:pt x="202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200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8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5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91" y="116"/>
                  </a:lnTo>
                  <a:lnTo>
                    <a:pt x="189" y="116"/>
                  </a:lnTo>
                  <a:lnTo>
                    <a:pt x="189" y="116"/>
                  </a:lnTo>
                  <a:lnTo>
                    <a:pt x="186" y="116"/>
                  </a:lnTo>
                  <a:lnTo>
                    <a:pt x="186" y="116"/>
                  </a:lnTo>
                  <a:lnTo>
                    <a:pt x="186" y="116"/>
                  </a:lnTo>
                  <a:lnTo>
                    <a:pt x="186" y="116"/>
                  </a:lnTo>
                  <a:lnTo>
                    <a:pt x="186" y="116"/>
                  </a:lnTo>
                  <a:lnTo>
                    <a:pt x="186" y="116"/>
                  </a:lnTo>
                  <a:lnTo>
                    <a:pt x="184" y="116"/>
                  </a:lnTo>
                  <a:lnTo>
                    <a:pt x="184" y="116"/>
                  </a:lnTo>
                  <a:lnTo>
                    <a:pt x="184" y="116"/>
                  </a:lnTo>
                  <a:lnTo>
                    <a:pt x="184" y="114"/>
                  </a:lnTo>
                  <a:lnTo>
                    <a:pt x="184" y="114"/>
                  </a:lnTo>
                  <a:lnTo>
                    <a:pt x="184" y="112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0" y="112"/>
                  </a:lnTo>
                  <a:lnTo>
                    <a:pt x="180" y="112"/>
                  </a:lnTo>
                  <a:lnTo>
                    <a:pt x="180" y="112"/>
                  </a:lnTo>
                  <a:lnTo>
                    <a:pt x="180" y="112"/>
                  </a:lnTo>
                  <a:lnTo>
                    <a:pt x="180" y="112"/>
                  </a:lnTo>
                  <a:lnTo>
                    <a:pt x="180" y="112"/>
                  </a:lnTo>
                  <a:lnTo>
                    <a:pt x="180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5" y="112"/>
                  </a:lnTo>
                  <a:lnTo>
                    <a:pt x="173" y="112"/>
                  </a:lnTo>
                  <a:lnTo>
                    <a:pt x="175" y="112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10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71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7"/>
                  </a:lnTo>
                  <a:lnTo>
                    <a:pt x="168" y="105"/>
                  </a:lnTo>
                  <a:lnTo>
                    <a:pt x="168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66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62" y="105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9" y="101"/>
                  </a:lnTo>
                  <a:lnTo>
                    <a:pt x="159" y="98"/>
                  </a:lnTo>
                  <a:lnTo>
                    <a:pt x="162" y="98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2" y="96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4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6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68" y="98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98"/>
                  </a:lnTo>
                  <a:lnTo>
                    <a:pt x="173" y="98"/>
                  </a:lnTo>
                  <a:lnTo>
                    <a:pt x="173" y="98"/>
                  </a:lnTo>
                  <a:lnTo>
                    <a:pt x="173" y="96"/>
                  </a:lnTo>
                  <a:lnTo>
                    <a:pt x="175" y="98"/>
                  </a:lnTo>
                  <a:lnTo>
                    <a:pt x="175" y="98"/>
                  </a:lnTo>
                  <a:lnTo>
                    <a:pt x="175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98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4" y="98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6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101"/>
                  </a:lnTo>
                  <a:lnTo>
                    <a:pt x="189" y="101"/>
                  </a:lnTo>
                  <a:lnTo>
                    <a:pt x="189" y="101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8"/>
                  </a:lnTo>
                  <a:lnTo>
                    <a:pt x="193" y="98"/>
                  </a:lnTo>
                  <a:lnTo>
                    <a:pt x="193" y="98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5" y="96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193" y="94"/>
                  </a:lnTo>
                  <a:lnTo>
                    <a:pt x="195" y="94"/>
                  </a:lnTo>
                  <a:lnTo>
                    <a:pt x="195" y="94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9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5" y="87"/>
                  </a:lnTo>
                  <a:lnTo>
                    <a:pt x="198" y="87"/>
                  </a:lnTo>
                  <a:lnTo>
                    <a:pt x="198" y="87"/>
                  </a:lnTo>
                  <a:lnTo>
                    <a:pt x="198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8" y="89"/>
                  </a:lnTo>
                  <a:lnTo>
                    <a:pt x="198" y="89"/>
                  </a:lnTo>
                  <a:lnTo>
                    <a:pt x="198" y="89"/>
                  </a:lnTo>
                  <a:lnTo>
                    <a:pt x="198" y="92"/>
                  </a:lnTo>
                  <a:lnTo>
                    <a:pt x="198" y="92"/>
                  </a:lnTo>
                  <a:lnTo>
                    <a:pt x="198" y="92"/>
                  </a:lnTo>
                  <a:lnTo>
                    <a:pt x="198" y="92"/>
                  </a:lnTo>
                  <a:lnTo>
                    <a:pt x="198" y="92"/>
                  </a:lnTo>
                  <a:lnTo>
                    <a:pt x="198" y="92"/>
                  </a:lnTo>
                  <a:lnTo>
                    <a:pt x="195" y="92"/>
                  </a:lnTo>
                  <a:lnTo>
                    <a:pt x="195" y="94"/>
                  </a:lnTo>
                  <a:lnTo>
                    <a:pt x="195" y="94"/>
                  </a:lnTo>
                  <a:lnTo>
                    <a:pt x="195" y="94"/>
                  </a:lnTo>
                  <a:lnTo>
                    <a:pt x="198" y="94"/>
                  </a:lnTo>
                  <a:lnTo>
                    <a:pt x="198" y="94"/>
                  </a:lnTo>
                  <a:lnTo>
                    <a:pt x="198" y="96"/>
                  </a:lnTo>
                  <a:lnTo>
                    <a:pt x="198" y="96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198" y="98"/>
                  </a:lnTo>
                  <a:lnTo>
                    <a:pt x="198" y="98"/>
                  </a:lnTo>
                  <a:lnTo>
                    <a:pt x="198" y="98"/>
                  </a:lnTo>
                  <a:lnTo>
                    <a:pt x="198" y="98"/>
                  </a:lnTo>
                  <a:lnTo>
                    <a:pt x="200" y="98"/>
                  </a:lnTo>
                  <a:lnTo>
                    <a:pt x="200" y="98"/>
                  </a:lnTo>
                  <a:lnTo>
                    <a:pt x="200" y="98"/>
                  </a:lnTo>
                  <a:lnTo>
                    <a:pt x="202" y="101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4" y="96"/>
                  </a:lnTo>
                  <a:lnTo>
                    <a:pt x="204" y="96"/>
                  </a:lnTo>
                  <a:lnTo>
                    <a:pt x="204" y="96"/>
                  </a:lnTo>
                  <a:lnTo>
                    <a:pt x="204" y="96"/>
                  </a:lnTo>
                  <a:lnTo>
                    <a:pt x="207" y="96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8"/>
                  </a:lnTo>
                  <a:lnTo>
                    <a:pt x="209" y="98"/>
                  </a:lnTo>
                  <a:lnTo>
                    <a:pt x="209" y="98"/>
                  </a:lnTo>
                  <a:lnTo>
                    <a:pt x="209" y="98"/>
                  </a:lnTo>
                  <a:lnTo>
                    <a:pt x="209" y="98"/>
                  </a:lnTo>
                  <a:lnTo>
                    <a:pt x="209" y="98"/>
                  </a:lnTo>
                  <a:lnTo>
                    <a:pt x="209" y="98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11" y="98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1" y="96"/>
                  </a:lnTo>
                  <a:lnTo>
                    <a:pt x="213" y="96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3" y="98"/>
                  </a:lnTo>
                  <a:lnTo>
                    <a:pt x="216" y="98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8" y="96"/>
                  </a:lnTo>
                  <a:lnTo>
                    <a:pt x="218" y="94"/>
                  </a:lnTo>
                  <a:lnTo>
                    <a:pt x="218" y="94"/>
                  </a:lnTo>
                  <a:lnTo>
                    <a:pt x="218" y="94"/>
                  </a:lnTo>
                  <a:lnTo>
                    <a:pt x="218" y="92"/>
                  </a:lnTo>
                  <a:lnTo>
                    <a:pt x="218" y="92"/>
                  </a:lnTo>
                  <a:lnTo>
                    <a:pt x="218" y="89"/>
                  </a:lnTo>
                  <a:lnTo>
                    <a:pt x="218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20" y="87"/>
                  </a:lnTo>
                  <a:lnTo>
                    <a:pt x="220" y="87"/>
                  </a:lnTo>
                  <a:lnTo>
                    <a:pt x="222" y="87"/>
                  </a:lnTo>
                  <a:lnTo>
                    <a:pt x="222" y="87"/>
                  </a:lnTo>
                  <a:lnTo>
                    <a:pt x="222" y="87"/>
                  </a:lnTo>
                  <a:lnTo>
                    <a:pt x="222" y="87"/>
                  </a:lnTo>
                  <a:lnTo>
                    <a:pt x="222" y="87"/>
                  </a:lnTo>
                  <a:lnTo>
                    <a:pt x="222" y="87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2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5" y="85"/>
                  </a:lnTo>
                  <a:lnTo>
                    <a:pt x="227" y="85"/>
                  </a:lnTo>
                  <a:lnTo>
                    <a:pt x="227" y="85"/>
                  </a:lnTo>
                  <a:lnTo>
                    <a:pt x="227" y="85"/>
                  </a:lnTo>
                  <a:lnTo>
                    <a:pt x="227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31" y="85"/>
                  </a:lnTo>
                  <a:lnTo>
                    <a:pt x="231" y="85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3"/>
                  </a:lnTo>
                  <a:lnTo>
                    <a:pt x="231" y="80"/>
                  </a:lnTo>
                  <a:lnTo>
                    <a:pt x="231" y="80"/>
                  </a:lnTo>
                  <a:lnTo>
                    <a:pt x="231" y="80"/>
                  </a:lnTo>
                  <a:lnTo>
                    <a:pt x="231" y="80"/>
                  </a:lnTo>
                  <a:lnTo>
                    <a:pt x="231" y="78"/>
                  </a:lnTo>
                  <a:lnTo>
                    <a:pt x="231" y="76"/>
                  </a:lnTo>
                  <a:lnTo>
                    <a:pt x="231" y="76"/>
                  </a:lnTo>
                  <a:lnTo>
                    <a:pt x="231" y="76"/>
                  </a:lnTo>
                  <a:lnTo>
                    <a:pt x="231" y="76"/>
                  </a:lnTo>
                  <a:lnTo>
                    <a:pt x="231" y="74"/>
                  </a:lnTo>
                  <a:lnTo>
                    <a:pt x="231" y="74"/>
                  </a:lnTo>
                  <a:lnTo>
                    <a:pt x="231" y="74"/>
                  </a:lnTo>
                  <a:lnTo>
                    <a:pt x="231" y="74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71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9"/>
                  </a:lnTo>
                  <a:lnTo>
                    <a:pt x="229" y="67"/>
                  </a:lnTo>
                  <a:lnTo>
                    <a:pt x="229" y="67"/>
                  </a:lnTo>
                  <a:lnTo>
                    <a:pt x="229" y="67"/>
                  </a:lnTo>
                  <a:lnTo>
                    <a:pt x="229" y="67"/>
                  </a:lnTo>
                  <a:lnTo>
                    <a:pt x="229" y="67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4" y="67"/>
                  </a:lnTo>
                  <a:lnTo>
                    <a:pt x="236" y="67"/>
                  </a:lnTo>
                  <a:lnTo>
                    <a:pt x="236" y="67"/>
                  </a:lnTo>
                  <a:lnTo>
                    <a:pt x="236" y="67"/>
                  </a:lnTo>
                  <a:lnTo>
                    <a:pt x="236" y="67"/>
                  </a:lnTo>
                  <a:lnTo>
                    <a:pt x="236" y="69"/>
                  </a:lnTo>
                  <a:lnTo>
                    <a:pt x="236" y="69"/>
                  </a:lnTo>
                  <a:lnTo>
                    <a:pt x="236" y="69"/>
                  </a:lnTo>
                  <a:lnTo>
                    <a:pt x="236" y="69"/>
                  </a:lnTo>
                  <a:lnTo>
                    <a:pt x="238" y="69"/>
                  </a:lnTo>
                  <a:lnTo>
                    <a:pt x="238" y="69"/>
                  </a:lnTo>
                  <a:lnTo>
                    <a:pt x="238" y="69"/>
                  </a:lnTo>
                  <a:lnTo>
                    <a:pt x="238" y="69"/>
                  </a:lnTo>
                  <a:lnTo>
                    <a:pt x="240" y="69"/>
                  </a:lnTo>
                  <a:lnTo>
                    <a:pt x="240" y="69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0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7"/>
                  </a:lnTo>
                  <a:lnTo>
                    <a:pt x="243" y="65"/>
                  </a:lnTo>
                  <a:lnTo>
                    <a:pt x="243" y="67"/>
                  </a:lnTo>
                  <a:lnTo>
                    <a:pt x="245" y="67"/>
                  </a:lnTo>
                  <a:lnTo>
                    <a:pt x="245" y="67"/>
                  </a:lnTo>
                  <a:close/>
                  <a:moveTo>
                    <a:pt x="249" y="67"/>
                  </a:move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5"/>
                  </a:lnTo>
                  <a:lnTo>
                    <a:pt x="249" y="65"/>
                  </a:lnTo>
                  <a:lnTo>
                    <a:pt x="249" y="65"/>
                  </a:lnTo>
                  <a:lnTo>
                    <a:pt x="249" y="65"/>
                  </a:lnTo>
                  <a:lnTo>
                    <a:pt x="249" y="65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lnTo>
                    <a:pt x="249" y="67"/>
                  </a:lnTo>
                  <a:close/>
                  <a:moveTo>
                    <a:pt x="94" y="62"/>
                  </a:move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2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274" y="65"/>
                  </a:moveTo>
                  <a:lnTo>
                    <a:pt x="274" y="65"/>
                  </a:lnTo>
                  <a:lnTo>
                    <a:pt x="274" y="65"/>
                  </a:lnTo>
                  <a:lnTo>
                    <a:pt x="274" y="65"/>
                  </a:lnTo>
                  <a:lnTo>
                    <a:pt x="274" y="65"/>
                  </a:lnTo>
                  <a:lnTo>
                    <a:pt x="272" y="65"/>
                  </a:lnTo>
                  <a:lnTo>
                    <a:pt x="272" y="65"/>
                  </a:lnTo>
                  <a:lnTo>
                    <a:pt x="272" y="65"/>
                  </a:lnTo>
                  <a:lnTo>
                    <a:pt x="272" y="65"/>
                  </a:lnTo>
                  <a:lnTo>
                    <a:pt x="272" y="65"/>
                  </a:lnTo>
                  <a:lnTo>
                    <a:pt x="272" y="65"/>
                  </a:lnTo>
                  <a:lnTo>
                    <a:pt x="274" y="65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5"/>
                  </a:lnTo>
                  <a:close/>
                  <a:moveTo>
                    <a:pt x="276" y="62"/>
                  </a:moveTo>
                  <a:lnTo>
                    <a:pt x="276" y="62"/>
                  </a:lnTo>
                  <a:lnTo>
                    <a:pt x="276" y="62"/>
                  </a:lnTo>
                  <a:lnTo>
                    <a:pt x="276" y="62"/>
                  </a:lnTo>
                  <a:lnTo>
                    <a:pt x="276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6" y="62"/>
                  </a:lnTo>
                  <a:lnTo>
                    <a:pt x="276" y="62"/>
                  </a:lnTo>
                  <a:lnTo>
                    <a:pt x="276" y="62"/>
                  </a:lnTo>
                  <a:lnTo>
                    <a:pt x="276" y="62"/>
                  </a:lnTo>
                  <a:close/>
                  <a:moveTo>
                    <a:pt x="85" y="51"/>
                  </a:move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close/>
                  <a:moveTo>
                    <a:pt x="267" y="49"/>
                  </a:moveTo>
                  <a:lnTo>
                    <a:pt x="267" y="51"/>
                  </a:lnTo>
                  <a:lnTo>
                    <a:pt x="267" y="51"/>
                  </a:lnTo>
                  <a:lnTo>
                    <a:pt x="267" y="51"/>
                  </a:lnTo>
                  <a:lnTo>
                    <a:pt x="267" y="51"/>
                  </a:lnTo>
                  <a:lnTo>
                    <a:pt x="267" y="51"/>
                  </a:lnTo>
                  <a:lnTo>
                    <a:pt x="265" y="49"/>
                  </a:lnTo>
                  <a:lnTo>
                    <a:pt x="265" y="49"/>
                  </a:lnTo>
                  <a:lnTo>
                    <a:pt x="265" y="49"/>
                  </a:lnTo>
                  <a:lnTo>
                    <a:pt x="265" y="49"/>
                  </a:lnTo>
                  <a:lnTo>
                    <a:pt x="265" y="49"/>
                  </a:lnTo>
                  <a:lnTo>
                    <a:pt x="267" y="49"/>
                  </a:lnTo>
                  <a:lnTo>
                    <a:pt x="267" y="49"/>
                  </a:lnTo>
                  <a:close/>
                  <a:moveTo>
                    <a:pt x="299" y="51"/>
                  </a:moveTo>
                  <a:lnTo>
                    <a:pt x="299" y="51"/>
                  </a:lnTo>
                  <a:lnTo>
                    <a:pt x="299" y="51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49"/>
                  </a:lnTo>
                  <a:lnTo>
                    <a:pt x="299" y="51"/>
                  </a:lnTo>
                  <a:lnTo>
                    <a:pt x="299" y="51"/>
                  </a:lnTo>
                  <a:close/>
                  <a:moveTo>
                    <a:pt x="269" y="47"/>
                  </a:moveTo>
                  <a:lnTo>
                    <a:pt x="269" y="49"/>
                  </a:lnTo>
                  <a:lnTo>
                    <a:pt x="267" y="49"/>
                  </a:lnTo>
                  <a:lnTo>
                    <a:pt x="267" y="49"/>
                  </a:lnTo>
                  <a:lnTo>
                    <a:pt x="267" y="49"/>
                  </a:lnTo>
                  <a:lnTo>
                    <a:pt x="267" y="49"/>
                  </a:lnTo>
                  <a:lnTo>
                    <a:pt x="267" y="47"/>
                  </a:lnTo>
                  <a:lnTo>
                    <a:pt x="267" y="47"/>
                  </a:lnTo>
                  <a:lnTo>
                    <a:pt x="267" y="47"/>
                  </a:lnTo>
                  <a:lnTo>
                    <a:pt x="267" y="47"/>
                  </a:lnTo>
                  <a:lnTo>
                    <a:pt x="269" y="47"/>
                  </a:lnTo>
                  <a:lnTo>
                    <a:pt x="269" y="47"/>
                  </a:lnTo>
                  <a:close/>
                  <a:moveTo>
                    <a:pt x="63" y="47"/>
                  </a:move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close/>
                  <a:moveTo>
                    <a:pt x="74" y="44"/>
                  </a:moveTo>
                  <a:lnTo>
                    <a:pt x="74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close/>
                  <a:moveTo>
                    <a:pt x="254" y="44"/>
                  </a:moveTo>
                  <a:lnTo>
                    <a:pt x="254" y="44"/>
                  </a:lnTo>
                  <a:lnTo>
                    <a:pt x="254" y="44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2" y="42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2" y="40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54" y="44"/>
                  </a:lnTo>
                  <a:close/>
                  <a:moveTo>
                    <a:pt x="220" y="38"/>
                  </a:move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6" y="38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20" y="38"/>
                  </a:lnTo>
                  <a:lnTo>
                    <a:pt x="220" y="38"/>
                  </a:lnTo>
                  <a:close/>
                  <a:moveTo>
                    <a:pt x="243" y="38"/>
                  </a:moveTo>
                  <a:lnTo>
                    <a:pt x="243" y="38"/>
                  </a:lnTo>
                  <a:lnTo>
                    <a:pt x="243" y="38"/>
                  </a:lnTo>
                  <a:lnTo>
                    <a:pt x="240" y="38"/>
                  </a:lnTo>
                  <a:lnTo>
                    <a:pt x="240" y="38"/>
                  </a:lnTo>
                  <a:lnTo>
                    <a:pt x="240" y="38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3" y="35"/>
                  </a:lnTo>
                  <a:lnTo>
                    <a:pt x="243" y="35"/>
                  </a:lnTo>
                  <a:lnTo>
                    <a:pt x="243" y="38"/>
                  </a:lnTo>
                  <a:lnTo>
                    <a:pt x="243" y="38"/>
                  </a:lnTo>
                  <a:lnTo>
                    <a:pt x="243" y="38"/>
                  </a:lnTo>
                  <a:close/>
                  <a:moveTo>
                    <a:pt x="240" y="33"/>
                  </a:move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5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40" y="31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close/>
                  <a:moveTo>
                    <a:pt x="240" y="31"/>
                  </a:moveTo>
                  <a:lnTo>
                    <a:pt x="240" y="31"/>
                  </a:lnTo>
                  <a:lnTo>
                    <a:pt x="240" y="31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31"/>
                  </a:lnTo>
                  <a:lnTo>
                    <a:pt x="243" y="31"/>
                  </a:lnTo>
                  <a:lnTo>
                    <a:pt x="243" y="31"/>
                  </a:lnTo>
                  <a:lnTo>
                    <a:pt x="243" y="31"/>
                  </a:lnTo>
                  <a:lnTo>
                    <a:pt x="240" y="31"/>
                  </a:lnTo>
                  <a:close/>
                  <a:moveTo>
                    <a:pt x="13" y="29"/>
                  </a:move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22" y="33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2"/>
                  </a:lnTo>
                  <a:lnTo>
                    <a:pt x="40" y="42"/>
                  </a:lnTo>
                  <a:lnTo>
                    <a:pt x="43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61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2" y="56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6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3" y="60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5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71"/>
                  </a:lnTo>
                  <a:lnTo>
                    <a:pt x="94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8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9"/>
                  </a:lnTo>
                  <a:lnTo>
                    <a:pt x="108" y="89"/>
                  </a:lnTo>
                  <a:lnTo>
                    <a:pt x="108" y="89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5" y="94"/>
                  </a:lnTo>
                  <a:lnTo>
                    <a:pt x="105" y="94"/>
                  </a:lnTo>
                  <a:lnTo>
                    <a:pt x="105" y="94"/>
                  </a:lnTo>
                  <a:lnTo>
                    <a:pt x="105" y="94"/>
                  </a:lnTo>
                  <a:lnTo>
                    <a:pt x="105" y="94"/>
                  </a:lnTo>
                  <a:lnTo>
                    <a:pt x="105" y="94"/>
                  </a:lnTo>
                  <a:lnTo>
                    <a:pt x="105" y="96"/>
                  </a:lnTo>
                  <a:lnTo>
                    <a:pt x="105" y="96"/>
                  </a:lnTo>
                  <a:lnTo>
                    <a:pt x="105" y="96"/>
                  </a:lnTo>
                  <a:lnTo>
                    <a:pt x="105" y="98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08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8"/>
                  </a:lnTo>
                  <a:lnTo>
                    <a:pt x="110" y="96"/>
                  </a:lnTo>
                  <a:lnTo>
                    <a:pt x="110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2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4" y="98"/>
                  </a:lnTo>
                  <a:lnTo>
                    <a:pt x="117" y="98"/>
                  </a:lnTo>
                  <a:lnTo>
                    <a:pt x="117" y="101"/>
                  </a:lnTo>
                  <a:lnTo>
                    <a:pt x="117" y="98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23" y="103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28" y="105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30" y="105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0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2" y="107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5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07"/>
                  </a:lnTo>
                  <a:lnTo>
                    <a:pt x="137" y="107"/>
                  </a:lnTo>
                  <a:lnTo>
                    <a:pt x="137" y="107"/>
                  </a:lnTo>
                  <a:lnTo>
                    <a:pt x="139" y="110"/>
                  </a:lnTo>
                  <a:lnTo>
                    <a:pt x="139" y="110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39" y="107"/>
                  </a:lnTo>
                  <a:lnTo>
                    <a:pt x="139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4" y="112"/>
                  </a:lnTo>
                  <a:lnTo>
                    <a:pt x="144" y="112"/>
                  </a:lnTo>
                  <a:lnTo>
                    <a:pt x="144" y="114"/>
                  </a:lnTo>
                  <a:lnTo>
                    <a:pt x="146" y="114"/>
                  </a:lnTo>
                  <a:lnTo>
                    <a:pt x="146" y="114"/>
                  </a:lnTo>
                  <a:lnTo>
                    <a:pt x="146" y="114"/>
                  </a:lnTo>
                  <a:lnTo>
                    <a:pt x="146" y="114"/>
                  </a:lnTo>
                  <a:lnTo>
                    <a:pt x="146" y="116"/>
                  </a:lnTo>
                  <a:lnTo>
                    <a:pt x="146" y="116"/>
                  </a:lnTo>
                  <a:lnTo>
                    <a:pt x="148" y="116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3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48" y="125"/>
                  </a:lnTo>
                  <a:lnTo>
                    <a:pt x="146" y="128"/>
                  </a:lnTo>
                  <a:lnTo>
                    <a:pt x="144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41" y="128"/>
                  </a:lnTo>
                  <a:lnTo>
                    <a:pt x="139" y="128"/>
                  </a:lnTo>
                  <a:lnTo>
                    <a:pt x="139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2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2"/>
                  </a:lnTo>
                  <a:lnTo>
                    <a:pt x="128" y="132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4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0" y="137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39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1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3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2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5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6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48"/>
                  </a:lnTo>
                  <a:lnTo>
                    <a:pt x="139" y="150"/>
                  </a:lnTo>
                  <a:lnTo>
                    <a:pt x="139" y="150"/>
                  </a:lnTo>
                  <a:lnTo>
                    <a:pt x="139" y="150"/>
                  </a:lnTo>
                  <a:lnTo>
                    <a:pt x="141" y="150"/>
                  </a:lnTo>
                  <a:lnTo>
                    <a:pt x="141" y="150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7"/>
                  </a:lnTo>
                  <a:lnTo>
                    <a:pt x="144" y="157"/>
                  </a:lnTo>
                  <a:lnTo>
                    <a:pt x="144" y="157"/>
                  </a:lnTo>
                  <a:lnTo>
                    <a:pt x="144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6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3" y="159"/>
                  </a:lnTo>
                  <a:lnTo>
                    <a:pt x="150" y="159"/>
                  </a:lnTo>
                  <a:lnTo>
                    <a:pt x="150" y="159"/>
                  </a:lnTo>
                  <a:lnTo>
                    <a:pt x="153" y="161"/>
                  </a:lnTo>
                  <a:lnTo>
                    <a:pt x="153" y="161"/>
                  </a:lnTo>
                  <a:lnTo>
                    <a:pt x="153" y="164"/>
                  </a:lnTo>
                  <a:lnTo>
                    <a:pt x="153" y="164"/>
                  </a:lnTo>
                  <a:lnTo>
                    <a:pt x="153" y="164"/>
                  </a:lnTo>
                  <a:lnTo>
                    <a:pt x="153" y="164"/>
                  </a:lnTo>
                  <a:lnTo>
                    <a:pt x="153" y="166"/>
                  </a:lnTo>
                  <a:lnTo>
                    <a:pt x="153" y="166"/>
                  </a:lnTo>
                  <a:lnTo>
                    <a:pt x="153" y="168"/>
                  </a:lnTo>
                  <a:lnTo>
                    <a:pt x="153" y="168"/>
                  </a:lnTo>
                  <a:lnTo>
                    <a:pt x="153" y="168"/>
                  </a:lnTo>
                  <a:lnTo>
                    <a:pt x="153" y="168"/>
                  </a:lnTo>
                  <a:lnTo>
                    <a:pt x="153" y="170"/>
                  </a:lnTo>
                  <a:lnTo>
                    <a:pt x="153" y="170"/>
                  </a:lnTo>
                  <a:lnTo>
                    <a:pt x="153" y="170"/>
                  </a:lnTo>
                  <a:lnTo>
                    <a:pt x="153" y="170"/>
                  </a:lnTo>
                  <a:lnTo>
                    <a:pt x="153" y="170"/>
                  </a:lnTo>
                  <a:lnTo>
                    <a:pt x="153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5"/>
                  </a:lnTo>
                  <a:lnTo>
                    <a:pt x="157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79"/>
                  </a:lnTo>
                  <a:lnTo>
                    <a:pt x="157" y="182"/>
                  </a:lnTo>
                  <a:lnTo>
                    <a:pt x="157" y="182"/>
                  </a:lnTo>
                  <a:lnTo>
                    <a:pt x="159" y="184"/>
                  </a:lnTo>
                  <a:lnTo>
                    <a:pt x="159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2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4"/>
                  </a:lnTo>
                  <a:lnTo>
                    <a:pt x="164" y="182"/>
                  </a:lnTo>
                  <a:lnTo>
                    <a:pt x="164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1" y="188"/>
                  </a:lnTo>
                  <a:lnTo>
                    <a:pt x="171" y="188"/>
                  </a:lnTo>
                  <a:lnTo>
                    <a:pt x="171" y="188"/>
                  </a:lnTo>
                  <a:lnTo>
                    <a:pt x="171" y="188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1" y="193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3" y="195"/>
                  </a:lnTo>
                  <a:lnTo>
                    <a:pt x="173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7" y="195"/>
                  </a:lnTo>
                  <a:lnTo>
                    <a:pt x="177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2" y="195"/>
                  </a:lnTo>
                  <a:lnTo>
                    <a:pt x="184" y="195"/>
                  </a:lnTo>
                  <a:lnTo>
                    <a:pt x="184" y="197"/>
                  </a:lnTo>
                  <a:lnTo>
                    <a:pt x="184" y="197"/>
                  </a:lnTo>
                  <a:lnTo>
                    <a:pt x="186" y="197"/>
                  </a:lnTo>
                  <a:lnTo>
                    <a:pt x="186" y="197"/>
                  </a:lnTo>
                  <a:lnTo>
                    <a:pt x="186" y="197"/>
                  </a:lnTo>
                  <a:lnTo>
                    <a:pt x="186" y="197"/>
                  </a:lnTo>
                  <a:lnTo>
                    <a:pt x="186" y="197"/>
                  </a:lnTo>
                  <a:lnTo>
                    <a:pt x="189" y="197"/>
                  </a:lnTo>
                  <a:lnTo>
                    <a:pt x="189" y="197"/>
                  </a:lnTo>
                  <a:lnTo>
                    <a:pt x="189" y="197"/>
                  </a:lnTo>
                  <a:lnTo>
                    <a:pt x="189" y="197"/>
                  </a:lnTo>
                  <a:lnTo>
                    <a:pt x="189" y="197"/>
                  </a:lnTo>
                  <a:lnTo>
                    <a:pt x="189" y="197"/>
                  </a:lnTo>
                  <a:lnTo>
                    <a:pt x="186" y="197"/>
                  </a:lnTo>
                  <a:lnTo>
                    <a:pt x="186" y="200"/>
                  </a:lnTo>
                  <a:lnTo>
                    <a:pt x="186" y="200"/>
                  </a:lnTo>
                  <a:lnTo>
                    <a:pt x="184" y="200"/>
                  </a:lnTo>
                  <a:lnTo>
                    <a:pt x="184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180" y="200"/>
                  </a:lnTo>
                  <a:lnTo>
                    <a:pt x="180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2" y="204"/>
                  </a:lnTo>
                  <a:lnTo>
                    <a:pt x="182" y="204"/>
                  </a:lnTo>
                  <a:lnTo>
                    <a:pt x="182" y="206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6" y="206"/>
                  </a:lnTo>
                  <a:lnTo>
                    <a:pt x="189" y="206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9" y="209"/>
                  </a:lnTo>
                  <a:lnTo>
                    <a:pt x="189" y="206"/>
                  </a:lnTo>
                  <a:lnTo>
                    <a:pt x="189" y="206"/>
                  </a:lnTo>
                  <a:lnTo>
                    <a:pt x="189" y="206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3" y="209"/>
                  </a:lnTo>
                  <a:lnTo>
                    <a:pt x="193" y="211"/>
                  </a:lnTo>
                  <a:lnTo>
                    <a:pt x="193" y="211"/>
                  </a:lnTo>
                  <a:lnTo>
                    <a:pt x="193" y="211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5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198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2" y="211"/>
                  </a:lnTo>
                  <a:lnTo>
                    <a:pt x="202" y="211"/>
                  </a:lnTo>
                  <a:lnTo>
                    <a:pt x="202" y="211"/>
                  </a:lnTo>
                  <a:lnTo>
                    <a:pt x="202" y="211"/>
                  </a:lnTo>
                  <a:lnTo>
                    <a:pt x="204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2" y="211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3"/>
                  </a:lnTo>
                  <a:lnTo>
                    <a:pt x="198" y="213"/>
                  </a:lnTo>
                  <a:lnTo>
                    <a:pt x="198" y="213"/>
                  </a:lnTo>
                  <a:lnTo>
                    <a:pt x="198" y="213"/>
                  </a:lnTo>
                  <a:lnTo>
                    <a:pt x="198" y="213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5" y="213"/>
                  </a:lnTo>
                  <a:lnTo>
                    <a:pt x="193" y="213"/>
                  </a:lnTo>
                  <a:lnTo>
                    <a:pt x="193" y="213"/>
                  </a:lnTo>
                  <a:lnTo>
                    <a:pt x="193" y="213"/>
                  </a:lnTo>
                  <a:lnTo>
                    <a:pt x="193" y="213"/>
                  </a:lnTo>
                  <a:lnTo>
                    <a:pt x="193" y="213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3" y="215"/>
                  </a:lnTo>
                  <a:lnTo>
                    <a:pt x="195" y="215"/>
                  </a:lnTo>
                  <a:lnTo>
                    <a:pt x="195" y="215"/>
                  </a:lnTo>
                  <a:lnTo>
                    <a:pt x="195" y="215"/>
                  </a:lnTo>
                  <a:lnTo>
                    <a:pt x="195" y="215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8" y="218"/>
                  </a:lnTo>
                  <a:lnTo>
                    <a:pt x="198" y="220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5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2"/>
                  </a:lnTo>
                  <a:lnTo>
                    <a:pt x="193" y="222"/>
                  </a:lnTo>
                  <a:lnTo>
                    <a:pt x="193" y="222"/>
                  </a:lnTo>
                  <a:lnTo>
                    <a:pt x="193" y="222"/>
                  </a:lnTo>
                  <a:lnTo>
                    <a:pt x="193" y="222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191" y="220"/>
                  </a:lnTo>
                  <a:lnTo>
                    <a:pt x="191" y="220"/>
                  </a:lnTo>
                  <a:lnTo>
                    <a:pt x="191" y="220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2"/>
                  </a:lnTo>
                  <a:lnTo>
                    <a:pt x="189" y="220"/>
                  </a:lnTo>
                  <a:lnTo>
                    <a:pt x="189" y="220"/>
                  </a:lnTo>
                  <a:lnTo>
                    <a:pt x="189" y="220"/>
                  </a:lnTo>
                  <a:lnTo>
                    <a:pt x="189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2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2" y="218"/>
                  </a:lnTo>
                  <a:lnTo>
                    <a:pt x="182" y="218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5"/>
                  </a:lnTo>
                  <a:lnTo>
                    <a:pt x="182" y="213"/>
                  </a:lnTo>
                  <a:lnTo>
                    <a:pt x="180" y="213"/>
                  </a:lnTo>
                  <a:lnTo>
                    <a:pt x="180" y="213"/>
                  </a:lnTo>
                  <a:lnTo>
                    <a:pt x="180" y="213"/>
                  </a:lnTo>
                  <a:lnTo>
                    <a:pt x="180" y="213"/>
                  </a:lnTo>
                  <a:lnTo>
                    <a:pt x="177" y="213"/>
                  </a:lnTo>
                  <a:lnTo>
                    <a:pt x="177" y="213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5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3"/>
                  </a:lnTo>
                  <a:lnTo>
                    <a:pt x="173" y="211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71" y="213"/>
                  </a:lnTo>
                  <a:lnTo>
                    <a:pt x="168" y="213"/>
                  </a:lnTo>
                  <a:lnTo>
                    <a:pt x="168" y="211"/>
                  </a:lnTo>
                  <a:lnTo>
                    <a:pt x="168" y="211"/>
                  </a:lnTo>
                  <a:lnTo>
                    <a:pt x="168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6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4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11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9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5" y="209"/>
                  </a:lnTo>
                  <a:lnTo>
                    <a:pt x="153" y="209"/>
                  </a:lnTo>
                  <a:lnTo>
                    <a:pt x="153" y="211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50" y="209"/>
                  </a:lnTo>
                  <a:lnTo>
                    <a:pt x="148" y="209"/>
                  </a:lnTo>
                  <a:lnTo>
                    <a:pt x="148" y="209"/>
                  </a:lnTo>
                  <a:lnTo>
                    <a:pt x="148" y="209"/>
                  </a:lnTo>
                  <a:lnTo>
                    <a:pt x="148" y="209"/>
                  </a:lnTo>
                  <a:lnTo>
                    <a:pt x="148" y="206"/>
                  </a:lnTo>
                  <a:lnTo>
                    <a:pt x="148" y="206"/>
                  </a:lnTo>
                  <a:lnTo>
                    <a:pt x="148" y="206"/>
                  </a:lnTo>
                  <a:lnTo>
                    <a:pt x="148" y="206"/>
                  </a:lnTo>
                  <a:lnTo>
                    <a:pt x="148" y="206"/>
                  </a:lnTo>
                  <a:lnTo>
                    <a:pt x="148" y="206"/>
                  </a:lnTo>
                  <a:lnTo>
                    <a:pt x="146" y="206"/>
                  </a:lnTo>
                  <a:lnTo>
                    <a:pt x="146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41" y="206"/>
                  </a:lnTo>
                  <a:lnTo>
                    <a:pt x="139" y="206"/>
                  </a:lnTo>
                  <a:lnTo>
                    <a:pt x="139" y="206"/>
                  </a:lnTo>
                  <a:lnTo>
                    <a:pt x="139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6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4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2" y="197"/>
                  </a:lnTo>
                  <a:lnTo>
                    <a:pt x="132" y="195"/>
                  </a:lnTo>
                  <a:lnTo>
                    <a:pt x="132" y="195"/>
                  </a:lnTo>
                  <a:lnTo>
                    <a:pt x="132" y="195"/>
                  </a:lnTo>
                  <a:lnTo>
                    <a:pt x="130" y="195"/>
                  </a:lnTo>
                  <a:lnTo>
                    <a:pt x="130" y="195"/>
                  </a:lnTo>
                  <a:lnTo>
                    <a:pt x="130" y="195"/>
                  </a:lnTo>
                  <a:lnTo>
                    <a:pt x="130" y="195"/>
                  </a:lnTo>
                  <a:lnTo>
                    <a:pt x="130" y="195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5"/>
                  </a:lnTo>
                  <a:lnTo>
                    <a:pt x="128" y="195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3"/>
                  </a:lnTo>
                  <a:lnTo>
                    <a:pt x="128" y="191"/>
                  </a:lnTo>
                  <a:lnTo>
                    <a:pt x="128" y="191"/>
                  </a:lnTo>
                  <a:lnTo>
                    <a:pt x="126" y="191"/>
                  </a:lnTo>
                  <a:lnTo>
                    <a:pt x="126" y="191"/>
                  </a:lnTo>
                  <a:lnTo>
                    <a:pt x="126" y="191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3"/>
                  </a:lnTo>
                  <a:lnTo>
                    <a:pt x="126" y="191"/>
                  </a:lnTo>
                  <a:lnTo>
                    <a:pt x="126" y="191"/>
                  </a:lnTo>
                  <a:lnTo>
                    <a:pt x="126" y="191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3" y="186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6" y="184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2"/>
                  </a:lnTo>
                  <a:lnTo>
                    <a:pt x="121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9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82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7" y="179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7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7" y="175"/>
                  </a:lnTo>
                  <a:lnTo>
                    <a:pt x="114" y="173"/>
                  </a:lnTo>
                  <a:lnTo>
                    <a:pt x="114" y="173"/>
                  </a:lnTo>
                  <a:lnTo>
                    <a:pt x="114" y="173"/>
                  </a:lnTo>
                  <a:lnTo>
                    <a:pt x="114" y="173"/>
                  </a:lnTo>
                  <a:lnTo>
                    <a:pt x="114" y="170"/>
                  </a:lnTo>
                  <a:lnTo>
                    <a:pt x="112" y="170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1"/>
                  </a:lnTo>
                  <a:lnTo>
                    <a:pt x="110" y="161"/>
                  </a:lnTo>
                  <a:lnTo>
                    <a:pt x="108" y="161"/>
                  </a:lnTo>
                  <a:lnTo>
                    <a:pt x="108" y="161"/>
                  </a:lnTo>
                  <a:lnTo>
                    <a:pt x="108" y="161"/>
                  </a:lnTo>
                  <a:lnTo>
                    <a:pt x="108" y="161"/>
                  </a:lnTo>
                  <a:lnTo>
                    <a:pt x="108" y="161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5" y="159"/>
                  </a:lnTo>
                  <a:lnTo>
                    <a:pt x="105" y="159"/>
                  </a:lnTo>
                  <a:lnTo>
                    <a:pt x="105" y="159"/>
                  </a:lnTo>
                  <a:lnTo>
                    <a:pt x="103" y="159"/>
                  </a:lnTo>
                  <a:lnTo>
                    <a:pt x="103" y="159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7"/>
                  </a:lnTo>
                  <a:lnTo>
                    <a:pt x="103" y="155"/>
                  </a:lnTo>
                  <a:lnTo>
                    <a:pt x="103" y="155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101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4" y="157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90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8" y="152"/>
                  </a:lnTo>
                  <a:lnTo>
                    <a:pt x="85" y="152"/>
                  </a:lnTo>
                  <a:lnTo>
                    <a:pt x="85" y="152"/>
                  </a:lnTo>
                  <a:lnTo>
                    <a:pt x="85" y="152"/>
                  </a:lnTo>
                  <a:lnTo>
                    <a:pt x="85" y="152"/>
                  </a:lnTo>
                  <a:lnTo>
                    <a:pt x="85" y="152"/>
                  </a:lnTo>
                  <a:lnTo>
                    <a:pt x="85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3" y="150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1" y="150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50"/>
                  </a:lnTo>
                  <a:lnTo>
                    <a:pt x="79" y="150"/>
                  </a:lnTo>
                  <a:lnTo>
                    <a:pt x="79" y="150"/>
                  </a:lnTo>
                  <a:lnTo>
                    <a:pt x="79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50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6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4" y="152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0"/>
                  </a:lnTo>
                  <a:lnTo>
                    <a:pt x="74" y="152"/>
                  </a:lnTo>
                  <a:lnTo>
                    <a:pt x="74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2" y="150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70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7" y="152"/>
                  </a:lnTo>
                  <a:lnTo>
                    <a:pt x="63" y="150"/>
                  </a:lnTo>
                  <a:lnTo>
                    <a:pt x="63" y="150"/>
                  </a:lnTo>
                  <a:lnTo>
                    <a:pt x="63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58" y="146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8" y="143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8"/>
                  </a:lnTo>
                  <a:lnTo>
                    <a:pt x="63" y="150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3" y="152"/>
                  </a:lnTo>
                  <a:lnTo>
                    <a:pt x="63" y="155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1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63" y="159"/>
                  </a:lnTo>
                  <a:lnTo>
                    <a:pt x="61" y="159"/>
                  </a:lnTo>
                  <a:lnTo>
                    <a:pt x="61" y="159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4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2" y="155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61"/>
                  </a:lnTo>
                  <a:lnTo>
                    <a:pt x="56" y="161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56" y="164"/>
                  </a:lnTo>
                  <a:lnTo>
                    <a:pt x="49" y="164"/>
                  </a:lnTo>
                  <a:lnTo>
                    <a:pt x="49" y="164"/>
                  </a:lnTo>
                  <a:lnTo>
                    <a:pt x="49" y="164"/>
                  </a:lnTo>
                  <a:lnTo>
                    <a:pt x="47" y="164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3" y="166"/>
                  </a:lnTo>
                  <a:lnTo>
                    <a:pt x="40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8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4" y="164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1" y="164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5" y="164"/>
                  </a:lnTo>
                  <a:lnTo>
                    <a:pt x="25" y="164"/>
                  </a:lnTo>
                  <a:lnTo>
                    <a:pt x="25" y="164"/>
                  </a:lnTo>
                  <a:lnTo>
                    <a:pt x="25" y="164"/>
                  </a:lnTo>
                  <a:lnTo>
                    <a:pt x="27" y="164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4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1" y="166"/>
                  </a:lnTo>
                  <a:lnTo>
                    <a:pt x="34" y="166"/>
                  </a:lnTo>
                  <a:lnTo>
                    <a:pt x="34" y="166"/>
                  </a:lnTo>
                  <a:lnTo>
                    <a:pt x="36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40" y="166"/>
                  </a:lnTo>
                  <a:lnTo>
                    <a:pt x="40" y="168"/>
                  </a:lnTo>
                  <a:lnTo>
                    <a:pt x="43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5" y="168"/>
                  </a:lnTo>
                  <a:lnTo>
                    <a:pt x="47" y="173"/>
                  </a:lnTo>
                  <a:lnTo>
                    <a:pt x="49" y="173"/>
                  </a:lnTo>
                  <a:lnTo>
                    <a:pt x="49" y="175"/>
                  </a:lnTo>
                  <a:lnTo>
                    <a:pt x="49" y="175"/>
                  </a:lnTo>
                  <a:lnTo>
                    <a:pt x="52" y="175"/>
                  </a:lnTo>
                  <a:lnTo>
                    <a:pt x="52" y="177"/>
                  </a:lnTo>
                  <a:lnTo>
                    <a:pt x="49" y="179"/>
                  </a:lnTo>
                  <a:lnTo>
                    <a:pt x="49" y="179"/>
                  </a:lnTo>
                  <a:lnTo>
                    <a:pt x="49" y="179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9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4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8" y="186"/>
                  </a:lnTo>
                  <a:lnTo>
                    <a:pt x="36" y="188"/>
                  </a:lnTo>
                  <a:lnTo>
                    <a:pt x="36" y="188"/>
                  </a:lnTo>
                  <a:lnTo>
                    <a:pt x="36" y="188"/>
                  </a:lnTo>
                  <a:lnTo>
                    <a:pt x="34" y="188"/>
                  </a:lnTo>
                  <a:lnTo>
                    <a:pt x="34" y="188"/>
                  </a:lnTo>
                  <a:lnTo>
                    <a:pt x="31" y="188"/>
                  </a:lnTo>
                  <a:lnTo>
                    <a:pt x="31" y="188"/>
                  </a:lnTo>
                  <a:lnTo>
                    <a:pt x="31" y="188"/>
                  </a:lnTo>
                  <a:lnTo>
                    <a:pt x="29" y="186"/>
                  </a:lnTo>
                  <a:lnTo>
                    <a:pt x="29" y="186"/>
                  </a:lnTo>
                  <a:lnTo>
                    <a:pt x="29" y="186"/>
                  </a:lnTo>
                  <a:lnTo>
                    <a:pt x="29" y="186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2" y="186"/>
                  </a:lnTo>
                  <a:lnTo>
                    <a:pt x="20" y="186"/>
                  </a:lnTo>
                  <a:lnTo>
                    <a:pt x="20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6" y="186"/>
                  </a:lnTo>
                  <a:lnTo>
                    <a:pt x="16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1" y="186"/>
                  </a:lnTo>
                  <a:lnTo>
                    <a:pt x="11" y="186"/>
                  </a:lnTo>
                  <a:lnTo>
                    <a:pt x="11" y="186"/>
                  </a:lnTo>
                  <a:lnTo>
                    <a:pt x="11" y="186"/>
                  </a:lnTo>
                  <a:lnTo>
                    <a:pt x="11" y="186"/>
                  </a:lnTo>
                  <a:lnTo>
                    <a:pt x="11" y="186"/>
                  </a:lnTo>
                  <a:lnTo>
                    <a:pt x="11" y="186"/>
                  </a:lnTo>
                  <a:lnTo>
                    <a:pt x="9" y="186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7" y="184"/>
                  </a:lnTo>
                  <a:lnTo>
                    <a:pt x="7" y="184"/>
                  </a:lnTo>
                  <a:lnTo>
                    <a:pt x="7" y="184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2" y="186"/>
                  </a:lnTo>
                  <a:lnTo>
                    <a:pt x="2" y="186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0" y="182"/>
                  </a:lnTo>
                  <a:lnTo>
                    <a:pt x="0" y="177"/>
                  </a:lnTo>
                  <a:lnTo>
                    <a:pt x="0" y="173"/>
                  </a:lnTo>
                  <a:lnTo>
                    <a:pt x="0" y="168"/>
                  </a:lnTo>
                  <a:lnTo>
                    <a:pt x="2" y="161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2"/>
                  </a:lnTo>
                  <a:lnTo>
                    <a:pt x="2" y="148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2" y="137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6"/>
                  </a:lnTo>
                  <a:lnTo>
                    <a:pt x="4" y="110"/>
                  </a:lnTo>
                  <a:lnTo>
                    <a:pt x="4" y="105"/>
                  </a:lnTo>
                  <a:lnTo>
                    <a:pt x="7" y="101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2"/>
                  </a:lnTo>
                  <a:lnTo>
                    <a:pt x="7" y="87"/>
                  </a:lnTo>
                  <a:lnTo>
                    <a:pt x="7" y="85"/>
                  </a:lnTo>
                  <a:lnTo>
                    <a:pt x="7" y="80"/>
                  </a:lnTo>
                  <a:lnTo>
                    <a:pt x="7" y="76"/>
                  </a:lnTo>
                  <a:lnTo>
                    <a:pt x="7" y="67"/>
                  </a:lnTo>
                  <a:lnTo>
                    <a:pt x="9" y="62"/>
                  </a:lnTo>
                  <a:lnTo>
                    <a:pt x="9" y="58"/>
                  </a:lnTo>
                  <a:lnTo>
                    <a:pt x="9" y="51"/>
                  </a:lnTo>
                  <a:lnTo>
                    <a:pt x="9" y="44"/>
                  </a:lnTo>
                  <a:lnTo>
                    <a:pt x="9" y="38"/>
                  </a:lnTo>
                  <a:lnTo>
                    <a:pt x="9" y="33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3" y="29"/>
                  </a:lnTo>
                  <a:close/>
                  <a:moveTo>
                    <a:pt x="220" y="31"/>
                  </a:moveTo>
                  <a:lnTo>
                    <a:pt x="220" y="31"/>
                  </a:lnTo>
                  <a:lnTo>
                    <a:pt x="220" y="33"/>
                  </a:lnTo>
                  <a:lnTo>
                    <a:pt x="222" y="33"/>
                  </a:lnTo>
                  <a:lnTo>
                    <a:pt x="222" y="33"/>
                  </a:lnTo>
                  <a:lnTo>
                    <a:pt x="222" y="33"/>
                  </a:lnTo>
                  <a:lnTo>
                    <a:pt x="222" y="33"/>
                  </a:lnTo>
                  <a:lnTo>
                    <a:pt x="222" y="33"/>
                  </a:lnTo>
                  <a:lnTo>
                    <a:pt x="225" y="33"/>
                  </a:lnTo>
                  <a:lnTo>
                    <a:pt x="225" y="33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29" y="35"/>
                  </a:lnTo>
                  <a:lnTo>
                    <a:pt x="229" y="35"/>
                  </a:lnTo>
                  <a:lnTo>
                    <a:pt x="229" y="35"/>
                  </a:lnTo>
                  <a:lnTo>
                    <a:pt x="229" y="35"/>
                  </a:lnTo>
                  <a:lnTo>
                    <a:pt x="229" y="35"/>
                  </a:lnTo>
                  <a:lnTo>
                    <a:pt x="229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4" y="40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6" y="42"/>
                  </a:lnTo>
                  <a:lnTo>
                    <a:pt x="238" y="42"/>
                  </a:lnTo>
                  <a:lnTo>
                    <a:pt x="238" y="42"/>
                  </a:lnTo>
                  <a:lnTo>
                    <a:pt x="238" y="42"/>
                  </a:lnTo>
                  <a:lnTo>
                    <a:pt x="238" y="42"/>
                  </a:lnTo>
                  <a:lnTo>
                    <a:pt x="238" y="42"/>
                  </a:lnTo>
                  <a:lnTo>
                    <a:pt x="238" y="42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0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4"/>
                  </a:lnTo>
                  <a:lnTo>
                    <a:pt x="243" y="47"/>
                  </a:lnTo>
                  <a:lnTo>
                    <a:pt x="243" y="49"/>
                  </a:lnTo>
                  <a:lnTo>
                    <a:pt x="245" y="49"/>
                  </a:lnTo>
                  <a:lnTo>
                    <a:pt x="245" y="49"/>
                  </a:lnTo>
                  <a:lnTo>
                    <a:pt x="245" y="49"/>
                  </a:lnTo>
                  <a:lnTo>
                    <a:pt x="247" y="51"/>
                  </a:lnTo>
                  <a:lnTo>
                    <a:pt x="247" y="51"/>
                  </a:lnTo>
                  <a:lnTo>
                    <a:pt x="247" y="51"/>
                  </a:lnTo>
                  <a:lnTo>
                    <a:pt x="247" y="51"/>
                  </a:lnTo>
                  <a:lnTo>
                    <a:pt x="247" y="51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49" y="53"/>
                  </a:lnTo>
                  <a:lnTo>
                    <a:pt x="252" y="53"/>
                  </a:lnTo>
                  <a:lnTo>
                    <a:pt x="252" y="53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52" y="56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54" y="58"/>
                  </a:lnTo>
                  <a:lnTo>
                    <a:pt x="254" y="58"/>
                  </a:lnTo>
                  <a:lnTo>
                    <a:pt x="254" y="58"/>
                  </a:lnTo>
                  <a:lnTo>
                    <a:pt x="254" y="58"/>
                  </a:lnTo>
                  <a:lnTo>
                    <a:pt x="254" y="60"/>
                  </a:lnTo>
                  <a:lnTo>
                    <a:pt x="254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6" y="60"/>
                  </a:lnTo>
                  <a:lnTo>
                    <a:pt x="258" y="60"/>
                  </a:lnTo>
                  <a:lnTo>
                    <a:pt x="258" y="60"/>
                  </a:lnTo>
                  <a:lnTo>
                    <a:pt x="258" y="60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60" y="62"/>
                  </a:lnTo>
                  <a:lnTo>
                    <a:pt x="260" y="62"/>
                  </a:lnTo>
                  <a:lnTo>
                    <a:pt x="260" y="62"/>
                  </a:lnTo>
                  <a:lnTo>
                    <a:pt x="260" y="62"/>
                  </a:lnTo>
                  <a:lnTo>
                    <a:pt x="260" y="62"/>
                  </a:lnTo>
                  <a:lnTo>
                    <a:pt x="260" y="65"/>
                  </a:lnTo>
                  <a:lnTo>
                    <a:pt x="260" y="65"/>
                  </a:lnTo>
                  <a:lnTo>
                    <a:pt x="260" y="65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60" y="67"/>
                  </a:lnTo>
                  <a:lnTo>
                    <a:pt x="263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69"/>
                  </a:lnTo>
                  <a:lnTo>
                    <a:pt x="263" y="71"/>
                  </a:lnTo>
                  <a:lnTo>
                    <a:pt x="263" y="71"/>
                  </a:lnTo>
                  <a:lnTo>
                    <a:pt x="263" y="71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0" y="74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0" y="78"/>
                  </a:lnTo>
                  <a:lnTo>
                    <a:pt x="260" y="78"/>
                  </a:lnTo>
                  <a:lnTo>
                    <a:pt x="260" y="78"/>
                  </a:lnTo>
                  <a:lnTo>
                    <a:pt x="260" y="78"/>
                  </a:lnTo>
                  <a:lnTo>
                    <a:pt x="260" y="78"/>
                  </a:lnTo>
                  <a:lnTo>
                    <a:pt x="260" y="78"/>
                  </a:lnTo>
                  <a:lnTo>
                    <a:pt x="260" y="78"/>
                  </a:lnTo>
                  <a:lnTo>
                    <a:pt x="258" y="78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0"/>
                  </a:lnTo>
                  <a:lnTo>
                    <a:pt x="258" y="83"/>
                  </a:lnTo>
                  <a:lnTo>
                    <a:pt x="256" y="83"/>
                  </a:lnTo>
                  <a:lnTo>
                    <a:pt x="256" y="83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6" y="78"/>
                  </a:lnTo>
                  <a:lnTo>
                    <a:pt x="254" y="78"/>
                  </a:lnTo>
                  <a:lnTo>
                    <a:pt x="254" y="78"/>
                  </a:lnTo>
                  <a:lnTo>
                    <a:pt x="254" y="78"/>
                  </a:lnTo>
                  <a:lnTo>
                    <a:pt x="254" y="76"/>
                  </a:lnTo>
                  <a:lnTo>
                    <a:pt x="254" y="76"/>
                  </a:lnTo>
                  <a:lnTo>
                    <a:pt x="254" y="76"/>
                  </a:lnTo>
                  <a:lnTo>
                    <a:pt x="254" y="76"/>
                  </a:lnTo>
                  <a:lnTo>
                    <a:pt x="254" y="76"/>
                  </a:lnTo>
                  <a:lnTo>
                    <a:pt x="254" y="74"/>
                  </a:lnTo>
                  <a:lnTo>
                    <a:pt x="254" y="74"/>
                  </a:lnTo>
                  <a:lnTo>
                    <a:pt x="254" y="74"/>
                  </a:lnTo>
                  <a:lnTo>
                    <a:pt x="254" y="71"/>
                  </a:lnTo>
                  <a:lnTo>
                    <a:pt x="254" y="71"/>
                  </a:lnTo>
                  <a:lnTo>
                    <a:pt x="254" y="69"/>
                  </a:lnTo>
                  <a:lnTo>
                    <a:pt x="254" y="69"/>
                  </a:lnTo>
                  <a:lnTo>
                    <a:pt x="254" y="69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7"/>
                  </a:lnTo>
                  <a:lnTo>
                    <a:pt x="254" y="65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60"/>
                  </a:lnTo>
                  <a:lnTo>
                    <a:pt x="252" y="58"/>
                  </a:lnTo>
                  <a:lnTo>
                    <a:pt x="252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9" y="58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3"/>
                  </a:lnTo>
                  <a:lnTo>
                    <a:pt x="247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3" y="49"/>
                  </a:lnTo>
                  <a:lnTo>
                    <a:pt x="243" y="49"/>
                  </a:lnTo>
                  <a:lnTo>
                    <a:pt x="243" y="49"/>
                  </a:lnTo>
                  <a:lnTo>
                    <a:pt x="240" y="49"/>
                  </a:lnTo>
                  <a:lnTo>
                    <a:pt x="238" y="49"/>
                  </a:lnTo>
                  <a:lnTo>
                    <a:pt x="236" y="47"/>
                  </a:lnTo>
                  <a:lnTo>
                    <a:pt x="231" y="42"/>
                  </a:lnTo>
                  <a:lnTo>
                    <a:pt x="231" y="42"/>
                  </a:lnTo>
                  <a:lnTo>
                    <a:pt x="231" y="42"/>
                  </a:lnTo>
                  <a:lnTo>
                    <a:pt x="229" y="42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9" y="40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5" y="38"/>
                  </a:lnTo>
                  <a:lnTo>
                    <a:pt x="225" y="38"/>
                  </a:lnTo>
                  <a:lnTo>
                    <a:pt x="225" y="38"/>
                  </a:lnTo>
                  <a:lnTo>
                    <a:pt x="225" y="38"/>
                  </a:lnTo>
                  <a:lnTo>
                    <a:pt x="225" y="38"/>
                  </a:lnTo>
                  <a:lnTo>
                    <a:pt x="225" y="35"/>
                  </a:lnTo>
                  <a:lnTo>
                    <a:pt x="225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5"/>
                  </a:lnTo>
                  <a:lnTo>
                    <a:pt x="222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20" y="33"/>
                  </a:lnTo>
                  <a:lnTo>
                    <a:pt x="218" y="33"/>
                  </a:lnTo>
                  <a:lnTo>
                    <a:pt x="218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6" y="33"/>
                  </a:lnTo>
                  <a:lnTo>
                    <a:pt x="213" y="33"/>
                  </a:lnTo>
                  <a:lnTo>
                    <a:pt x="213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6" y="31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31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lnTo>
                    <a:pt x="220" y="31"/>
                  </a:lnTo>
                  <a:close/>
                  <a:moveTo>
                    <a:pt x="204" y="24"/>
                  </a:moveTo>
                  <a:lnTo>
                    <a:pt x="204" y="24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7" y="24"/>
                  </a:lnTo>
                  <a:lnTo>
                    <a:pt x="207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7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4" y="31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0" y="29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198" y="26"/>
                  </a:lnTo>
                  <a:lnTo>
                    <a:pt x="200" y="26"/>
                  </a:lnTo>
                  <a:lnTo>
                    <a:pt x="200" y="26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2" y="24"/>
                  </a:lnTo>
                  <a:lnTo>
                    <a:pt x="204" y="24"/>
                  </a:lnTo>
                  <a:lnTo>
                    <a:pt x="204" y="24"/>
                  </a:lnTo>
                  <a:lnTo>
                    <a:pt x="204" y="24"/>
                  </a:lnTo>
                  <a:close/>
                  <a:moveTo>
                    <a:pt x="155" y="22"/>
                  </a:moveTo>
                  <a:lnTo>
                    <a:pt x="155" y="22"/>
                  </a:lnTo>
                  <a:lnTo>
                    <a:pt x="155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2"/>
                  </a:lnTo>
                  <a:lnTo>
                    <a:pt x="153" y="20"/>
                  </a:lnTo>
                  <a:lnTo>
                    <a:pt x="153" y="20"/>
                  </a:lnTo>
                  <a:lnTo>
                    <a:pt x="153" y="20"/>
                  </a:lnTo>
                  <a:lnTo>
                    <a:pt x="153" y="20"/>
                  </a:lnTo>
                  <a:lnTo>
                    <a:pt x="153" y="20"/>
                  </a:lnTo>
                  <a:lnTo>
                    <a:pt x="155" y="22"/>
                  </a:lnTo>
                  <a:lnTo>
                    <a:pt x="155" y="22"/>
                  </a:lnTo>
                  <a:lnTo>
                    <a:pt x="155" y="22"/>
                  </a:lnTo>
                  <a:close/>
                  <a:moveTo>
                    <a:pt x="135" y="13"/>
                  </a:moveTo>
                  <a:lnTo>
                    <a:pt x="135" y="13"/>
                  </a:lnTo>
                  <a:lnTo>
                    <a:pt x="135" y="13"/>
                  </a:lnTo>
                  <a:lnTo>
                    <a:pt x="139" y="13"/>
                  </a:lnTo>
                  <a:lnTo>
                    <a:pt x="139" y="13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41" y="13"/>
                  </a:lnTo>
                  <a:lnTo>
                    <a:pt x="141" y="15"/>
                  </a:lnTo>
                  <a:lnTo>
                    <a:pt x="141" y="15"/>
                  </a:lnTo>
                  <a:lnTo>
                    <a:pt x="141" y="15"/>
                  </a:lnTo>
                  <a:lnTo>
                    <a:pt x="141" y="15"/>
                  </a:lnTo>
                  <a:lnTo>
                    <a:pt x="141" y="15"/>
                  </a:lnTo>
                  <a:lnTo>
                    <a:pt x="141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7"/>
                  </a:lnTo>
                  <a:lnTo>
                    <a:pt x="144" y="17"/>
                  </a:lnTo>
                  <a:lnTo>
                    <a:pt x="144" y="15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1" y="17"/>
                  </a:lnTo>
                  <a:lnTo>
                    <a:pt x="141" y="20"/>
                  </a:lnTo>
                  <a:lnTo>
                    <a:pt x="141" y="20"/>
                  </a:lnTo>
                  <a:lnTo>
                    <a:pt x="141" y="20"/>
                  </a:lnTo>
                  <a:lnTo>
                    <a:pt x="141" y="20"/>
                  </a:lnTo>
                  <a:lnTo>
                    <a:pt x="141" y="20"/>
                  </a:lnTo>
                  <a:lnTo>
                    <a:pt x="139" y="20"/>
                  </a:lnTo>
                  <a:lnTo>
                    <a:pt x="139" y="17"/>
                  </a:lnTo>
                  <a:lnTo>
                    <a:pt x="139" y="17"/>
                  </a:lnTo>
                  <a:lnTo>
                    <a:pt x="139" y="17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5" y="20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20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17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28" y="17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2" y="15"/>
                  </a:lnTo>
                  <a:lnTo>
                    <a:pt x="132" y="15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5" y="13"/>
                  </a:lnTo>
                  <a:lnTo>
                    <a:pt x="135" y="13"/>
                  </a:lnTo>
                  <a:close/>
                  <a:moveTo>
                    <a:pt x="49" y="8"/>
                  </a:move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6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close/>
                  <a:moveTo>
                    <a:pt x="200" y="6"/>
                  </a:move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198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lnTo>
                    <a:pt x="200" y="6"/>
                  </a:lnTo>
                  <a:close/>
                  <a:moveTo>
                    <a:pt x="191" y="0"/>
                  </a:moveTo>
                  <a:lnTo>
                    <a:pt x="191" y="0"/>
                  </a:lnTo>
                  <a:lnTo>
                    <a:pt x="191" y="0"/>
                  </a:lnTo>
                  <a:lnTo>
                    <a:pt x="193" y="0"/>
                  </a:lnTo>
                  <a:lnTo>
                    <a:pt x="193" y="0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3" y="2"/>
                  </a:lnTo>
                  <a:lnTo>
                    <a:pt x="195" y="2"/>
                  </a:lnTo>
                  <a:lnTo>
                    <a:pt x="195" y="2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5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3" y="4"/>
                  </a:lnTo>
                  <a:lnTo>
                    <a:pt x="191" y="4"/>
                  </a:lnTo>
                  <a:lnTo>
                    <a:pt x="191" y="4"/>
                  </a:lnTo>
                  <a:lnTo>
                    <a:pt x="191" y="4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2"/>
                  </a:lnTo>
                  <a:lnTo>
                    <a:pt x="191" y="0"/>
                  </a:lnTo>
                  <a:lnTo>
                    <a:pt x="191" y="0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9" name="Freeform 524"/>
            <p:cNvSpPr>
              <a:spLocks noEditPoints="1"/>
            </p:cNvSpPr>
            <p:nvPr/>
          </p:nvSpPr>
          <p:spPr bwMode="auto">
            <a:xfrm>
              <a:off x="2737629" y="3586339"/>
              <a:ext cx="202243" cy="93600"/>
            </a:xfrm>
            <a:custGeom>
              <a:avLst/>
              <a:gdLst>
                <a:gd name="T0" fmla="*/ 20 w 121"/>
                <a:gd name="T1" fmla="*/ 6 h 56"/>
                <a:gd name="T2" fmla="*/ 18 w 121"/>
                <a:gd name="T3" fmla="*/ 6 h 56"/>
                <a:gd name="T4" fmla="*/ 16 w 121"/>
                <a:gd name="T5" fmla="*/ 31 h 56"/>
                <a:gd name="T6" fmla="*/ 13 w 121"/>
                <a:gd name="T7" fmla="*/ 29 h 56"/>
                <a:gd name="T8" fmla="*/ 11 w 121"/>
                <a:gd name="T9" fmla="*/ 31 h 56"/>
                <a:gd name="T10" fmla="*/ 0 w 121"/>
                <a:gd name="T11" fmla="*/ 31 h 56"/>
                <a:gd name="T12" fmla="*/ 2 w 121"/>
                <a:gd name="T13" fmla="*/ 20 h 56"/>
                <a:gd name="T14" fmla="*/ 2 w 121"/>
                <a:gd name="T15" fmla="*/ 4 h 56"/>
                <a:gd name="T16" fmla="*/ 9 w 121"/>
                <a:gd name="T17" fmla="*/ 2 h 56"/>
                <a:gd name="T18" fmla="*/ 13 w 121"/>
                <a:gd name="T19" fmla="*/ 6 h 56"/>
                <a:gd name="T20" fmla="*/ 18 w 121"/>
                <a:gd name="T21" fmla="*/ 9 h 56"/>
                <a:gd name="T22" fmla="*/ 18 w 121"/>
                <a:gd name="T23" fmla="*/ 11 h 56"/>
                <a:gd name="T24" fmla="*/ 20 w 121"/>
                <a:gd name="T25" fmla="*/ 15 h 56"/>
                <a:gd name="T26" fmla="*/ 25 w 121"/>
                <a:gd name="T27" fmla="*/ 11 h 56"/>
                <a:gd name="T28" fmla="*/ 27 w 121"/>
                <a:gd name="T29" fmla="*/ 13 h 56"/>
                <a:gd name="T30" fmla="*/ 40 w 121"/>
                <a:gd name="T31" fmla="*/ 18 h 56"/>
                <a:gd name="T32" fmla="*/ 54 w 121"/>
                <a:gd name="T33" fmla="*/ 11 h 56"/>
                <a:gd name="T34" fmla="*/ 67 w 121"/>
                <a:gd name="T35" fmla="*/ 4 h 56"/>
                <a:gd name="T36" fmla="*/ 72 w 121"/>
                <a:gd name="T37" fmla="*/ 0 h 56"/>
                <a:gd name="T38" fmla="*/ 74 w 121"/>
                <a:gd name="T39" fmla="*/ 0 h 56"/>
                <a:gd name="T40" fmla="*/ 85 w 121"/>
                <a:gd name="T41" fmla="*/ 0 h 56"/>
                <a:gd name="T42" fmla="*/ 88 w 121"/>
                <a:gd name="T43" fmla="*/ 4 h 56"/>
                <a:gd name="T44" fmla="*/ 94 w 121"/>
                <a:gd name="T45" fmla="*/ 4 h 56"/>
                <a:gd name="T46" fmla="*/ 103 w 121"/>
                <a:gd name="T47" fmla="*/ 6 h 56"/>
                <a:gd name="T48" fmla="*/ 110 w 121"/>
                <a:gd name="T49" fmla="*/ 15 h 56"/>
                <a:gd name="T50" fmla="*/ 115 w 121"/>
                <a:gd name="T51" fmla="*/ 20 h 56"/>
                <a:gd name="T52" fmla="*/ 117 w 121"/>
                <a:gd name="T53" fmla="*/ 27 h 56"/>
                <a:gd name="T54" fmla="*/ 119 w 121"/>
                <a:gd name="T55" fmla="*/ 40 h 56"/>
                <a:gd name="T56" fmla="*/ 110 w 121"/>
                <a:gd name="T57" fmla="*/ 45 h 56"/>
                <a:gd name="T58" fmla="*/ 103 w 121"/>
                <a:gd name="T59" fmla="*/ 51 h 56"/>
                <a:gd name="T60" fmla="*/ 101 w 121"/>
                <a:gd name="T61" fmla="*/ 49 h 56"/>
                <a:gd name="T62" fmla="*/ 97 w 121"/>
                <a:gd name="T63" fmla="*/ 38 h 56"/>
                <a:gd name="T64" fmla="*/ 99 w 121"/>
                <a:gd name="T65" fmla="*/ 31 h 56"/>
                <a:gd name="T66" fmla="*/ 103 w 121"/>
                <a:gd name="T67" fmla="*/ 29 h 56"/>
                <a:gd name="T68" fmla="*/ 106 w 121"/>
                <a:gd name="T69" fmla="*/ 31 h 56"/>
                <a:gd name="T70" fmla="*/ 106 w 121"/>
                <a:gd name="T71" fmla="*/ 31 h 56"/>
                <a:gd name="T72" fmla="*/ 103 w 121"/>
                <a:gd name="T73" fmla="*/ 24 h 56"/>
                <a:gd name="T74" fmla="*/ 101 w 121"/>
                <a:gd name="T75" fmla="*/ 27 h 56"/>
                <a:gd name="T76" fmla="*/ 101 w 121"/>
                <a:gd name="T77" fmla="*/ 27 h 56"/>
                <a:gd name="T78" fmla="*/ 97 w 121"/>
                <a:gd name="T79" fmla="*/ 24 h 56"/>
                <a:gd name="T80" fmla="*/ 94 w 121"/>
                <a:gd name="T81" fmla="*/ 24 h 56"/>
                <a:gd name="T82" fmla="*/ 92 w 121"/>
                <a:gd name="T83" fmla="*/ 20 h 56"/>
                <a:gd name="T84" fmla="*/ 88 w 121"/>
                <a:gd name="T85" fmla="*/ 18 h 56"/>
                <a:gd name="T86" fmla="*/ 85 w 121"/>
                <a:gd name="T87" fmla="*/ 11 h 56"/>
                <a:gd name="T88" fmla="*/ 83 w 121"/>
                <a:gd name="T89" fmla="*/ 13 h 56"/>
                <a:gd name="T90" fmla="*/ 74 w 121"/>
                <a:gd name="T91" fmla="*/ 13 h 56"/>
                <a:gd name="T92" fmla="*/ 72 w 121"/>
                <a:gd name="T93" fmla="*/ 18 h 56"/>
                <a:gd name="T94" fmla="*/ 70 w 121"/>
                <a:gd name="T95" fmla="*/ 20 h 56"/>
                <a:gd name="T96" fmla="*/ 67 w 121"/>
                <a:gd name="T97" fmla="*/ 24 h 56"/>
                <a:gd name="T98" fmla="*/ 56 w 121"/>
                <a:gd name="T99" fmla="*/ 31 h 56"/>
                <a:gd name="T100" fmla="*/ 58 w 121"/>
                <a:gd name="T101" fmla="*/ 42 h 56"/>
                <a:gd name="T102" fmla="*/ 56 w 121"/>
                <a:gd name="T103" fmla="*/ 51 h 56"/>
                <a:gd name="T104" fmla="*/ 45 w 121"/>
                <a:gd name="T105" fmla="*/ 56 h 56"/>
                <a:gd name="T106" fmla="*/ 43 w 121"/>
                <a:gd name="T107" fmla="*/ 51 h 56"/>
                <a:gd name="T108" fmla="*/ 40 w 121"/>
                <a:gd name="T109" fmla="*/ 45 h 56"/>
                <a:gd name="T110" fmla="*/ 40 w 121"/>
                <a:gd name="T111" fmla="*/ 42 h 56"/>
                <a:gd name="T112" fmla="*/ 38 w 121"/>
                <a:gd name="T113" fmla="*/ 40 h 56"/>
                <a:gd name="T114" fmla="*/ 36 w 121"/>
                <a:gd name="T115" fmla="*/ 45 h 56"/>
                <a:gd name="T116" fmla="*/ 31 w 121"/>
                <a:gd name="T117" fmla="*/ 45 h 56"/>
                <a:gd name="T118" fmla="*/ 29 w 121"/>
                <a:gd name="T119" fmla="*/ 40 h 56"/>
                <a:gd name="T120" fmla="*/ 29 w 121"/>
                <a:gd name="T121" fmla="*/ 38 h 56"/>
                <a:gd name="T122" fmla="*/ 27 w 121"/>
                <a:gd name="T123" fmla="*/ 33 h 56"/>
                <a:gd name="T124" fmla="*/ 18 w 121"/>
                <a:gd name="T125" fmla="*/ 3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" h="56"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6"/>
                  </a:move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8" y="6"/>
                  </a:lnTo>
                  <a:close/>
                  <a:moveTo>
                    <a:pt x="18" y="6"/>
                  </a:moveTo>
                  <a:lnTo>
                    <a:pt x="18" y="6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2" y="9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6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5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7" y="4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8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10" y="13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5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2" y="15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5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7" y="45"/>
                  </a:lnTo>
                  <a:lnTo>
                    <a:pt x="115" y="47"/>
                  </a:lnTo>
                  <a:lnTo>
                    <a:pt x="115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8" y="54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1" y="51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9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08" y="33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3" y="31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9"/>
                  </a:lnTo>
                  <a:lnTo>
                    <a:pt x="103" y="29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99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5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2" y="18"/>
                  </a:lnTo>
                  <a:lnTo>
                    <a:pt x="72" y="15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3" y="27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1" y="42"/>
                  </a:lnTo>
                  <a:lnTo>
                    <a:pt x="61" y="47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5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3"/>
                  </a:lnTo>
                  <a:lnTo>
                    <a:pt x="18" y="3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0" name="Freeform 525"/>
            <p:cNvSpPr>
              <a:spLocks noEditPoints="1"/>
            </p:cNvSpPr>
            <p:nvPr/>
          </p:nvSpPr>
          <p:spPr bwMode="auto">
            <a:xfrm>
              <a:off x="6792507" y="2672069"/>
              <a:ext cx="41786" cy="53486"/>
            </a:xfrm>
            <a:custGeom>
              <a:avLst/>
              <a:gdLst>
                <a:gd name="T0" fmla="*/ 0 w 25"/>
                <a:gd name="T1" fmla="*/ 32 h 32"/>
                <a:gd name="T2" fmla="*/ 0 w 25"/>
                <a:gd name="T3" fmla="*/ 30 h 32"/>
                <a:gd name="T4" fmla="*/ 3 w 25"/>
                <a:gd name="T5" fmla="*/ 27 h 32"/>
                <a:gd name="T6" fmla="*/ 5 w 25"/>
                <a:gd name="T7" fmla="*/ 25 h 32"/>
                <a:gd name="T8" fmla="*/ 5 w 25"/>
                <a:gd name="T9" fmla="*/ 23 h 32"/>
                <a:gd name="T10" fmla="*/ 5 w 25"/>
                <a:gd name="T11" fmla="*/ 25 h 32"/>
                <a:gd name="T12" fmla="*/ 3 w 25"/>
                <a:gd name="T13" fmla="*/ 27 h 32"/>
                <a:gd name="T14" fmla="*/ 3 w 25"/>
                <a:gd name="T15" fmla="*/ 30 h 32"/>
                <a:gd name="T16" fmla="*/ 3 w 25"/>
                <a:gd name="T17" fmla="*/ 32 h 32"/>
                <a:gd name="T18" fmla="*/ 21 w 25"/>
                <a:gd name="T19" fmla="*/ 0 h 32"/>
                <a:gd name="T20" fmla="*/ 21 w 25"/>
                <a:gd name="T21" fmla="*/ 3 h 32"/>
                <a:gd name="T22" fmla="*/ 23 w 25"/>
                <a:gd name="T23" fmla="*/ 3 h 32"/>
                <a:gd name="T24" fmla="*/ 25 w 25"/>
                <a:gd name="T25" fmla="*/ 5 h 32"/>
                <a:gd name="T26" fmla="*/ 25 w 25"/>
                <a:gd name="T27" fmla="*/ 5 h 32"/>
                <a:gd name="T28" fmla="*/ 25 w 25"/>
                <a:gd name="T29" fmla="*/ 5 h 32"/>
                <a:gd name="T30" fmla="*/ 25 w 25"/>
                <a:gd name="T31" fmla="*/ 5 h 32"/>
                <a:gd name="T32" fmla="*/ 25 w 25"/>
                <a:gd name="T33" fmla="*/ 7 h 32"/>
                <a:gd name="T34" fmla="*/ 25 w 25"/>
                <a:gd name="T35" fmla="*/ 7 h 32"/>
                <a:gd name="T36" fmla="*/ 25 w 25"/>
                <a:gd name="T37" fmla="*/ 7 h 32"/>
                <a:gd name="T38" fmla="*/ 25 w 25"/>
                <a:gd name="T39" fmla="*/ 9 h 32"/>
                <a:gd name="T40" fmla="*/ 25 w 25"/>
                <a:gd name="T41" fmla="*/ 9 h 32"/>
                <a:gd name="T42" fmla="*/ 25 w 25"/>
                <a:gd name="T43" fmla="*/ 12 h 32"/>
                <a:gd name="T44" fmla="*/ 25 w 25"/>
                <a:gd name="T45" fmla="*/ 12 h 32"/>
                <a:gd name="T46" fmla="*/ 25 w 25"/>
                <a:gd name="T47" fmla="*/ 14 h 32"/>
                <a:gd name="T48" fmla="*/ 25 w 25"/>
                <a:gd name="T49" fmla="*/ 14 h 32"/>
                <a:gd name="T50" fmla="*/ 25 w 25"/>
                <a:gd name="T51" fmla="*/ 14 h 32"/>
                <a:gd name="T52" fmla="*/ 25 w 25"/>
                <a:gd name="T53" fmla="*/ 16 h 32"/>
                <a:gd name="T54" fmla="*/ 25 w 25"/>
                <a:gd name="T55" fmla="*/ 18 h 32"/>
                <a:gd name="T56" fmla="*/ 25 w 25"/>
                <a:gd name="T57" fmla="*/ 23 h 32"/>
                <a:gd name="T58" fmla="*/ 25 w 25"/>
                <a:gd name="T59" fmla="*/ 25 h 32"/>
                <a:gd name="T60" fmla="*/ 23 w 25"/>
                <a:gd name="T61" fmla="*/ 25 h 32"/>
                <a:gd name="T62" fmla="*/ 18 w 25"/>
                <a:gd name="T63" fmla="*/ 27 h 32"/>
                <a:gd name="T64" fmla="*/ 16 w 25"/>
                <a:gd name="T65" fmla="*/ 30 h 32"/>
                <a:gd name="T66" fmla="*/ 14 w 25"/>
                <a:gd name="T67" fmla="*/ 27 h 32"/>
                <a:gd name="T68" fmla="*/ 14 w 25"/>
                <a:gd name="T69" fmla="*/ 25 h 32"/>
                <a:gd name="T70" fmla="*/ 14 w 25"/>
                <a:gd name="T71" fmla="*/ 23 h 32"/>
                <a:gd name="T72" fmla="*/ 16 w 25"/>
                <a:gd name="T73" fmla="*/ 21 h 32"/>
                <a:gd name="T74" fmla="*/ 18 w 25"/>
                <a:gd name="T75" fmla="*/ 18 h 32"/>
                <a:gd name="T76" fmla="*/ 18 w 25"/>
                <a:gd name="T77" fmla="*/ 18 h 32"/>
                <a:gd name="T78" fmla="*/ 18 w 25"/>
                <a:gd name="T79" fmla="*/ 18 h 32"/>
                <a:gd name="T80" fmla="*/ 18 w 25"/>
                <a:gd name="T81" fmla="*/ 18 h 32"/>
                <a:gd name="T82" fmla="*/ 16 w 25"/>
                <a:gd name="T83" fmla="*/ 16 h 32"/>
                <a:gd name="T84" fmla="*/ 16 w 25"/>
                <a:gd name="T85" fmla="*/ 18 h 32"/>
                <a:gd name="T86" fmla="*/ 14 w 25"/>
                <a:gd name="T87" fmla="*/ 18 h 32"/>
                <a:gd name="T88" fmla="*/ 14 w 25"/>
                <a:gd name="T89" fmla="*/ 16 h 32"/>
                <a:gd name="T90" fmla="*/ 14 w 25"/>
                <a:gd name="T91" fmla="*/ 14 h 32"/>
                <a:gd name="T92" fmla="*/ 14 w 25"/>
                <a:gd name="T93" fmla="*/ 14 h 32"/>
                <a:gd name="T94" fmla="*/ 14 w 25"/>
                <a:gd name="T95" fmla="*/ 14 h 32"/>
                <a:gd name="T96" fmla="*/ 14 w 25"/>
                <a:gd name="T97" fmla="*/ 14 h 32"/>
                <a:gd name="T98" fmla="*/ 14 w 25"/>
                <a:gd name="T99" fmla="*/ 9 h 32"/>
                <a:gd name="T100" fmla="*/ 14 w 25"/>
                <a:gd name="T101" fmla="*/ 9 h 32"/>
                <a:gd name="T102" fmla="*/ 14 w 25"/>
                <a:gd name="T103" fmla="*/ 7 h 32"/>
                <a:gd name="T104" fmla="*/ 14 w 25"/>
                <a:gd name="T105" fmla="*/ 7 h 32"/>
                <a:gd name="T106" fmla="*/ 14 w 25"/>
                <a:gd name="T107" fmla="*/ 5 h 32"/>
                <a:gd name="T108" fmla="*/ 14 w 25"/>
                <a:gd name="T109" fmla="*/ 5 h 32"/>
                <a:gd name="T110" fmla="*/ 14 w 25"/>
                <a:gd name="T111" fmla="*/ 3 h 32"/>
                <a:gd name="T112" fmla="*/ 16 w 25"/>
                <a:gd name="T113" fmla="*/ 0 h 32"/>
                <a:gd name="T114" fmla="*/ 16 w 25"/>
                <a:gd name="T115" fmla="*/ 0 h 32"/>
                <a:gd name="T116" fmla="*/ 18 w 25"/>
                <a:gd name="T1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" h="32">
                  <a:moveTo>
                    <a:pt x="3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2"/>
                  </a:lnTo>
                  <a:lnTo>
                    <a:pt x="3" y="32"/>
                  </a:lnTo>
                  <a:close/>
                  <a:moveTo>
                    <a:pt x="18" y="0"/>
                  </a:moveTo>
                  <a:lnTo>
                    <a:pt x="18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1" y="27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1" name="Freeform 526"/>
            <p:cNvSpPr>
              <a:spLocks noEditPoints="1"/>
            </p:cNvSpPr>
            <p:nvPr/>
          </p:nvSpPr>
          <p:spPr bwMode="auto">
            <a:xfrm>
              <a:off x="10247343" y="3755152"/>
              <a:ext cx="33429" cy="93600"/>
            </a:xfrm>
            <a:custGeom>
              <a:avLst/>
              <a:gdLst>
                <a:gd name="T0" fmla="*/ 14 w 20"/>
                <a:gd name="T1" fmla="*/ 56 h 56"/>
                <a:gd name="T2" fmla="*/ 14 w 20"/>
                <a:gd name="T3" fmla="*/ 56 h 56"/>
                <a:gd name="T4" fmla="*/ 14 w 20"/>
                <a:gd name="T5" fmla="*/ 56 h 56"/>
                <a:gd name="T6" fmla="*/ 14 w 20"/>
                <a:gd name="T7" fmla="*/ 56 h 56"/>
                <a:gd name="T8" fmla="*/ 14 w 20"/>
                <a:gd name="T9" fmla="*/ 56 h 56"/>
                <a:gd name="T10" fmla="*/ 14 w 20"/>
                <a:gd name="T11" fmla="*/ 56 h 56"/>
                <a:gd name="T12" fmla="*/ 14 w 20"/>
                <a:gd name="T13" fmla="*/ 56 h 56"/>
                <a:gd name="T14" fmla="*/ 14 w 20"/>
                <a:gd name="T15" fmla="*/ 56 h 56"/>
                <a:gd name="T16" fmla="*/ 0 w 20"/>
                <a:gd name="T17" fmla="*/ 56 h 56"/>
                <a:gd name="T18" fmla="*/ 0 w 20"/>
                <a:gd name="T19" fmla="*/ 56 h 56"/>
                <a:gd name="T20" fmla="*/ 0 w 20"/>
                <a:gd name="T21" fmla="*/ 54 h 56"/>
                <a:gd name="T22" fmla="*/ 0 w 20"/>
                <a:gd name="T23" fmla="*/ 54 h 56"/>
                <a:gd name="T24" fmla="*/ 0 w 20"/>
                <a:gd name="T25" fmla="*/ 54 h 56"/>
                <a:gd name="T26" fmla="*/ 2 w 20"/>
                <a:gd name="T27" fmla="*/ 54 h 56"/>
                <a:gd name="T28" fmla="*/ 2 w 20"/>
                <a:gd name="T29" fmla="*/ 54 h 56"/>
                <a:gd name="T30" fmla="*/ 0 w 20"/>
                <a:gd name="T31" fmla="*/ 54 h 56"/>
                <a:gd name="T32" fmla="*/ 0 w 20"/>
                <a:gd name="T33" fmla="*/ 56 h 56"/>
                <a:gd name="T34" fmla="*/ 20 w 20"/>
                <a:gd name="T35" fmla="*/ 0 h 56"/>
                <a:gd name="T36" fmla="*/ 20 w 20"/>
                <a:gd name="T37" fmla="*/ 0 h 56"/>
                <a:gd name="T38" fmla="*/ 20 w 20"/>
                <a:gd name="T39" fmla="*/ 0 h 56"/>
                <a:gd name="T40" fmla="*/ 20 w 20"/>
                <a:gd name="T41" fmla="*/ 0 h 56"/>
                <a:gd name="T42" fmla="*/ 20 w 20"/>
                <a:gd name="T4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56">
                  <a:moveTo>
                    <a:pt x="14" y="56"/>
                  </a:move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close/>
                  <a:moveTo>
                    <a:pt x="0" y="56"/>
                  </a:move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6"/>
                  </a:lnTo>
                  <a:close/>
                  <a:moveTo>
                    <a:pt x="20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2" name="Freeform 527"/>
            <p:cNvSpPr>
              <a:spLocks noEditPoints="1"/>
            </p:cNvSpPr>
            <p:nvPr/>
          </p:nvSpPr>
          <p:spPr bwMode="auto">
            <a:xfrm>
              <a:off x="7698419" y="2491555"/>
              <a:ext cx="494742" cy="534856"/>
            </a:xfrm>
            <a:custGeom>
              <a:avLst/>
              <a:gdLst>
                <a:gd name="T0" fmla="*/ 249 w 296"/>
                <a:gd name="T1" fmla="*/ 3 h 320"/>
                <a:gd name="T2" fmla="*/ 269 w 296"/>
                <a:gd name="T3" fmla="*/ 23 h 320"/>
                <a:gd name="T4" fmla="*/ 283 w 296"/>
                <a:gd name="T5" fmla="*/ 30 h 320"/>
                <a:gd name="T6" fmla="*/ 287 w 296"/>
                <a:gd name="T7" fmla="*/ 54 h 320"/>
                <a:gd name="T8" fmla="*/ 242 w 296"/>
                <a:gd name="T9" fmla="*/ 57 h 320"/>
                <a:gd name="T10" fmla="*/ 240 w 296"/>
                <a:gd name="T11" fmla="*/ 70 h 320"/>
                <a:gd name="T12" fmla="*/ 249 w 296"/>
                <a:gd name="T13" fmla="*/ 88 h 320"/>
                <a:gd name="T14" fmla="*/ 260 w 296"/>
                <a:gd name="T15" fmla="*/ 104 h 320"/>
                <a:gd name="T16" fmla="*/ 276 w 296"/>
                <a:gd name="T17" fmla="*/ 113 h 320"/>
                <a:gd name="T18" fmla="*/ 272 w 296"/>
                <a:gd name="T19" fmla="*/ 122 h 320"/>
                <a:gd name="T20" fmla="*/ 269 w 296"/>
                <a:gd name="T21" fmla="*/ 135 h 320"/>
                <a:gd name="T22" fmla="*/ 267 w 296"/>
                <a:gd name="T23" fmla="*/ 147 h 320"/>
                <a:gd name="T24" fmla="*/ 260 w 296"/>
                <a:gd name="T25" fmla="*/ 158 h 320"/>
                <a:gd name="T26" fmla="*/ 245 w 296"/>
                <a:gd name="T27" fmla="*/ 194 h 320"/>
                <a:gd name="T28" fmla="*/ 204 w 296"/>
                <a:gd name="T29" fmla="*/ 218 h 320"/>
                <a:gd name="T30" fmla="*/ 197 w 296"/>
                <a:gd name="T31" fmla="*/ 250 h 320"/>
                <a:gd name="T32" fmla="*/ 213 w 296"/>
                <a:gd name="T33" fmla="*/ 272 h 320"/>
                <a:gd name="T34" fmla="*/ 224 w 296"/>
                <a:gd name="T35" fmla="*/ 299 h 320"/>
                <a:gd name="T36" fmla="*/ 215 w 296"/>
                <a:gd name="T37" fmla="*/ 302 h 320"/>
                <a:gd name="T38" fmla="*/ 182 w 296"/>
                <a:gd name="T39" fmla="*/ 304 h 320"/>
                <a:gd name="T40" fmla="*/ 170 w 296"/>
                <a:gd name="T41" fmla="*/ 313 h 320"/>
                <a:gd name="T42" fmla="*/ 166 w 296"/>
                <a:gd name="T43" fmla="*/ 320 h 320"/>
                <a:gd name="T44" fmla="*/ 164 w 296"/>
                <a:gd name="T45" fmla="*/ 317 h 320"/>
                <a:gd name="T46" fmla="*/ 157 w 296"/>
                <a:gd name="T47" fmla="*/ 315 h 320"/>
                <a:gd name="T48" fmla="*/ 155 w 296"/>
                <a:gd name="T49" fmla="*/ 313 h 320"/>
                <a:gd name="T50" fmla="*/ 148 w 296"/>
                <a:gd name="T51" fmla="*/ 304 h 320"/>
                <a:gd name="T52" fmla="*/ 146 w 296"/>
                <a:gd name="T53" fmla="*/ 297 h 320"/>
                <a:gd name="T54" fmla="*/ 141 w 296"/>
                <a:gd name="T55" fmla="*/ 293 h 320"/>
                <a:gd name="T56" fmla="*/ 130 w 296"/>
                <a:gd name="T57" fmla="*/ 279 h 320"/>
                <a:gd name="T58" fmla="*/ 121 w 296"/>
                <a:gd name="T59" fmla="*/ 275 h 320"/>
                <a:gd name="T60" fmla="*/ 128 w 296"/>
                <a:gd name="T61" fmla="*/ 277 h 320"/>
                <a:gd name="T62" fmla="*/ 108 w 296"/>
                <a:gd name="T63" fmla="*/ 279 h 320"/>
                <a:gd name="T64" fmla="*/ 94 w 296"/>
                <a:gd name="T65" fmla="*/ 284 h 320"/>
                <a:gd name="T66" fmla="*/ 81 w 296"/>
                <a:gd name="T67" fmla="*/ 279 h 320"/>
                <a:gd name="T68" fmla="*/ 76 w 296"/>
                <a:gd name="T69" fmla="*/ 279 h 320"/>
                <a:gd name="T70" fmla="*/ 54 w 296"/>
                <a:gd name="T71" fmla="*/ 281 h 320"/>
                <a:gd name="T72" fmla="*/ 45 w 296"/>
                <a:gd name="T73" fmla="*/ 284 h 320"/>
                <a:gd name="T74" fmla="*/ 33 w 296"/>
                <a:gd name="T75" fmla="*/ 286 h 320"/>
                <a:gd name="T76" fmla="*/ 29 w 296"/>
                <a:gd name="T77" fmla="*/ 272 h 320"/>
                <a:gd name="T78" fmla="*/ 40 w 296"/>
                <a:gd name="T79" fmla="*/ 254 h 320"/>
                <a:gd name="T80" fmla="*/ 49 w 296"/>
                <a:gd name="T81" fmla="*/ 248 h 320"/>
                <a:gd name="T82" fmla="*/ 58 w 296"/>
                <a:gd name="T83" fmla="*/ 234 h 320"/>
                <a:gd name="T84" fmla="*/ 47 w 296"/>
                <a:gd name="T85" fmla="*/ 225 h 320"/>
                <a:gd name="T86" fmla="*/ 20 w 296"/>
                <a:gd name="T87" fmla="*/ 198 h 320"/>
                <a:gd name="T88" fmla="*/ 11 w 296"/>
                <a:gd name="T89" fmla="*/ 185 h 320"/>
                <a:gd name="T90" fmla="*/ 38 w 296"/>
                <a:gd name="T91" fmla="*/ 182 h 320"/>
                <a:gd name="T92" fmla="*/ 94 w 296"/>
                <a:gd name="T93" fmla="*/ 176 h 320"/>
                <a:gd name="T94" fmla="*/ 105 w 296"/>
                <a:gd name="T95" fmla="*/ 153 h 320"/>
                <a:gd name="T96" fmla="*/ 123 w 296"/>
                <a:gd name="T97" fmla="*/ 140 h 320"/>
                <a:gd name="T98" fmla="*/ 135 w 296"/>
                <a:gd name="T99" fmla="*/ 131 h 320"/>
                <a:gd name="T100" fmla="*/ 144 w 296"/>
                <a:gd name="T101" fmla="*/ 126 h 320"/>
                <a:gd name="T102" fmla="*/ 157 w 296"/>
                <a:gd name="T103" fmla="*/ 113 h 320"/>
                <a:gd name="T104" fmla="*/ 162 w 296"/>
                <a:gd name="T105" fmla="*/ 95 h 320"/>
                <a:gd name="T106" fmla="*/ 168 w 296"/>
                <a:gd name="T107" fmla="*/ 81 h 320"/>
                <a:gd name="T108" fmla="*/ 173 w 296"/>
                <a:gd name="T109" fmla="*/ 75 h 320"/>
                <a:gd name="T110" fmla="*/ 179 w 296"/>
                <a:gd name="T111" fmla="*/ 61 h 320"/>
                <a:gd name="T112" fmla="*/ 188 w 296"/>
                <a:gd name="T113" fmla="*/ 45 h 320"/>
                <a:gd name="T114" fmla="*/ 182 w 296"/>
                <a:gd name="T115" fmla="*/ 32 h 320"/>
                <a:gd name="T116" fmla="*/ 182 w 296"/>
                <a:gd name="T117" fmla="*/ 18 h 320"/>
                <a:gd name="T118" fmla="*/ 188 w 296"/>
                <a:gd name="T119" fmla="*/ 12 h 320"/>
                <a:gd name="T120" fmla="*/ 213 w 296"/>
                <a:gd name="T121" fmla="*/ 5 h 320"/>
                <a:gd name="T122" fmla="*/ 236 w 296"/>
                <a:gd name="T123" fmla="*/ 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6" h="320">
                  <a:moveTo>
                    <a:pt x="153" y="311"/>
                  </a:move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0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close/>
                  <a:moveTo>
                    <a:pt x="240" y="3"/>
                  </a:moveTo>
                  <a:lnTo>
                    <a:pt x="240" y="3"/>
                  </a:lnTo>
                  <a:lnTo>
                    <a:pt x="240" y="3"/>
                  </a:lnTo>
                  <a:lnTo>
                    <a:pt x="242" y="3"/>
                  </a:lnTo>
                  <a:lnTo>
                    <a:pt x="242" y="3"/>
                  </a:lnTo>
                  <a:lnTo>
                    <a:pt x="242" y="5"/>
                  </a:lnTo>
                  <a:lnTo>
                    <a:pt x="242" y="5"/>
                  </a:lnTo>
                  <a:lnTo>
                    <a:pt x="242" y="5"/>
                  </a:lnTo>
                  <a:lnTo>
                    <a:pt x="242" y="5"/>
                  </a:lnTo>
                  <a:lnTo>
                    <a:pt x="242" y="3"/>
                  </a:lnTo>
                  <a:lnTo>
                    <a:pt x="242" y="3"/>
                  </a:lnTo>
                  <a:lnTo>
                    <a:pt x="242" y="3"/>
                  </a:lnTo>
                  <a:lnTo>
                    <a:pt x="242" y="3"/>
                  </a:lnTo>
                  <a:lnTo>
                    <a:pt x="245" y="3"/>
                  </a:lnTo>
                  <a:lnTo>
                    <a:pt x="245" y="3"/>
                  </a:lnTo>
                  <a:lnTo>
                    <a:pt x="247" y="3"/>
                  </a:lnTo>
                  <a:lnTo>
                    <a:pt x="247" y="3"/>
                  </a:lnTo>
                  <a:lnTo>
                    <a:pt x="247" y="3"/>
                  </a:lnTo>
                  <a:lnTo>
                    <a:pt x="247" y="3"/>
                  </a:lnTo>
                  <a:lnTo>
                    <a:pt x="249" y="3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51" y="5"/>
                  </a:lnTo>
                  <a:lnTo>
                    <a:pt x="254" y="5"/>
                  </a:lnTo>
                  <a:lnTo>
                    <a:pt x="254" y="7"/>
                  </a:lnTo>
                  <a:lnTo>
                    <a:pt x="254" y="7"/>
                  </a:lnTo>
                  <a:lnTo>
                    <a:pt x="254" y="7"/>
                  </a:lnTo>
                  <a:lnTo>
                    <a:pt x="254" y="9"/>
                  </a:lnTo>
                  <a:lnTo>
                    <a:pt x="256" y="9"/>
                  </a:lnTo>
                  <a:lnTo>
                    <a:pt x="256" y="9"/>
                  </a:lnTo>
                  <a:lnTo>
                    <a:pt x="256" y="9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8" y="7"/>
                  </a:lnTo>
                  <a:lnTo>
                    <a:pt x="260" y="9"/>
                  </a:lnTo>
                  <a:lnTo>
                    <a:pt x="263" y="9"/>
                  </a:lnTo>
                  <a:lnTo>
                    <a:pt x="263" y="12"/>
                  </a:lnTo>
                  <a:lnTo>
                    <a:pt x="265" y="12"/>
                  </a:lnTo>
                  <a:lnTo>
                    <a:pt x="267" y="14"/>
                  </a:lnTo>
                  <a:lnTo>
                    <a:pt x="267" y="16"/>
                  </a:lnTo>
                  <a:lnTo>
                    <a:pt x="267" y="18"/>
                  </a:lnTo>
                  <a:lnTo>
                    <a:pt x="267" y="18"/>
                  </a:lnTo>
                  <a:lnTo>
                    <a:pt x="267" y="18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69" y="23"/>
                  </a:lnTo>
                  <a:lnTo>
                    <a:pt x="269" y="23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7" y="23"/>
                  </a:lnTo>
                  <a:lnTo>
                    <a:pt x="267" y="25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69" y="25"/>
                  </a:lnTo>
                  <a:lnTo>
                    <a:pt x="272" y="25"/>
                  </a:lnTo>
                  <a:lnTo>
                    <a:pt x="272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30"/>
                  </a:lnTo>
                  <a:lnTo>
                    <a:pt x="274" y="30"/>
                  </a:lnTo>
                  <a:lnTo>
                    <a:pt x="274" y="30"/>
                  </a:lnTo>
                  <a:lnTo>
                    <a:pt x="276" y="30"/>
                  </a:lnTo>
                  <a:lnTo>
                    <a:pt x="276" y="30"/>
                  </a:lnTo>
                  <a:lnTo>
                    <a:pt x="276" y="30"/>
                  </a:lnTo>
                  <a:lnTo>
                    <a:pt x="276" y="30"/>
                  </a:lnTo>
                  <a:lnTo>
                    <a:pt x="278" y="30"/>
                  </a:lnTo>
                  <a:lnTo>
                    <a:pt x="278" y="30"/>
                  </a:lnTo>
                  <a:lnTo>
                    <a:pt x="278" y="30"/>
                  </a:lnTo>
                  <a:lnTo>
                    <a:pt x="278" y="30"/>
                  </a:lnTo>
                  <a:lnTo>
                    <a:pt x="278" y="30"/>
                  </a:lnTo>
                  <a:lnTo>
                    <a:pt x="278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81" y="30"/>
                  </a:lnTo>
                  <a:lnTo>
                    <a:pt x="281" y="27"/>
                  </a:lnTo>
                  <a:lnTo>
                    <a:pt x="283" y="27"/>
                  </a:lnTo>
                  <a:lnTo>
                    <a:pt x="283" y="30"/>
                  </a:lnTo>
                  <a:lnTo>
                    <a:pt x="283" y="32"/>
                  </a:lnTo>
                  <a:lnTo>
                    <a:pt x="283" y="32"/>
                  </a:lnTo>
                  <a:lnTo>
                    <a:pt x="283" y="32"/>
                  </a:lnTo>
                  <a:lnTo>
                    <a:pt x="285" y="32"/>
                  </a:lnTo>
                  <a:lnTo>
                    <a:pt x="287" y="34"/>
                  </a:lnTo>
                  <a:lnTo>
                    <a:pt x="287" y="34"/>
                  </a:lnTo>
                  <a:lnTo>
                    <a:pt x="287" y="34"/>
                  </a:lnTo>
                  <a:lnTo>
                    <a:pt x="287" y="34"/>
                  </a:lnTo>
                  <a:lnTo>
                    <a:pt x="287" y="34"/>
                  </a:lnTo>
                  <a:lnTo>
                    <a:pt x="296" y="48"/>
                  </a:lnTo>
                  <a:lnTo>
                    <a:pt x="296" y="48"/>
                  </a:lnTo>
                  <a:lnTo>
                    <a:pt x="296" y="48"/>
                  </a:lnTo>
                  <a:lnTo>
                    <a:pt x="296" y="48"/>
                  </a:lnTo>
                  <a:lnTo>
                    <a:pt x="296" y="50"/>
                  </a:lnTo>
                  <a:lnTo>
                    <a:pt x="296" y="50"/>
                  </a:lnTo>
                  <a:lnTo>
                    <a:pt x="296" y="50"/>
                  </a:lnTo>
                  <a:lnTo>
                    <a:pt x="296" y="50"/>
                  </a:lnTo>
                  <a:lnTo>
                    <a:pt x="296" y="52"/>
                  </a:lnTo>
                  <a:lnTo>
                    <a:pt x="296" y="52"/>
                  </a:lnTo>
                  <a:lnTo>
                    <a:pt x="294" y="52"/>
                  </a:lnTo>
                  <a:lnTo>
                    <a:pt x="294" y="52"/>
                  </a:lnTo>
                  <a:lnTo>
                    <a:pt x="294" y="50"/>
                  </a:lnTo>
                  <a:lnTo>
                    <a:pt x="294" y="52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2" y="54"/>
                  </a:lnTo>
                  <a:lnTo>
                    <a:pt x="292" y="54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7" y="54"/>
                  </a:lnTo>
                  <a:lnTo>
                    <a:pt x="287" y="54"/>
                  </a:lnTo>
                  <a:lnTo>
                    <a:pt x="285" y="57"/>
                  </a:lnTo>
                  <a:lnTo>
                    <a:pt x="283" y="57"/>
                  </a:lnTo>
                  <a:lnTo>
                    <a:pt x="283" y="57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76" y="59"/>
                  </a:lnTo>
                  <a:lnTo>
                    <a:pt x="276" y="61"/>
                  </a:lnTo>
                  <a:lnTo>
                    <a:pt x="276" y="61"/>
                  </a:lnTo>
                  <a:lnTo>
                    <a:pt x="276" y="61"/>
                  </a:lnTo>
                  <a:lnTo>
                    <a:pt x="274" y="61"/>
                  </a:lnTo>
                  <a:lnTo>
                    <a:pt x="274" y="61"/>
                  </a:lnTo>
                  <a:lnTo>
                    <a:pt x="274" y="61"/>
                  </a:lnTo>
                  <a:lnTo>
                    <a:pt x="272" y="61"/>
                  </a:lnTo>
                  <a:lnTo>
                    <a:pt x="267" y="61"/>
                  </a:lnTo>
                  <a:lnTo>
                    <a:pt x="265" y="59"/>
                  </a:lnTo>
                  <a:lnTo>
                    <a:pt x="265" y="59"/>
                  </a:lnTo>
                  <a:lnTo>
                    <a:pt x="265" y="59"/>
                  </a:lnTo>
                  <a:lnTo>
                    <a:pt x="263" y="59"/>
                  </a:lnTo>
                  <a:lnTo>
                    <a:pt x="263" y="59"/>
                  </a:lnTo>
                  <a:lnTo>
                    <a:pt x="263" y="59"/>
                  </a:lnTo>
                  <a:lnTo>
                    <a:pt x="260" y="59"/>
                  </a:lnTo>
                  <a:lnTo>
                    <a:pt x="260" y="59"/>
                  </a:lnTo>
                  <a:lnTo>
                    <a:pt x="251" y="57"/>
                  </a:lnTo>
                  <a:lnTo>
                    <a:pt x="247" y="54"/>
                  </a:lnTo>
                  <a:lnTo>
                    <a:pt x="245" y="54"/>
                  </a:lnTo>
                  <a:lnTo>
                    <a:pt x="245" y="54"/>
                  </a:lnTo>
                  <a:lnTo>
                    <a:pt x="242" y="57"/>
                  </a:lnTo>
                  <a:lnTo>
                    <a:pt x="242" y="57"/>
                  </a:lnTo>
                  <a:lnTo>
                    <a:pt x="240" y="57"/>
                  </a:lnTo>
                  <a:lnTo>
                    <a:pt x="238" y="57"/>
                  </a:lnTo>
                  <a:lnTo>
                    <a:pt x="238" y="57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38" y="59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3"/>
                  </a:lnTo>
                  <a:lnTo>
                    <a:pt x="236" y="66"/>
                  </a:lnTo>
                  <a:lnTo>
                    <a:pt x="236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8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42" y="70"/>
                  </a:lnTo>
                  <a:lnTo>
                    <a:pt x="242" y="70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40" y="72"/>
                  </a:lnTo>
                  <a:lnTo>
                    <a:pt x="240" y="72"/>
                  </a:lnTo>
                  <a:lnTo>
                    <a:pt x="240" y="72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5" y="72"/>
                  </a:lnTo>
                  <a:lnTo>
                    <a:pt x="245" y="72"/>
                  </a:lnTo>
                  <a:lnTo>
                    <a:pt x="245" y="72"/>
                  </a:lnTo>
                  <a:lnTo>
                    <a:pt x="247" y="72"/>
                  </a:lnTo>
                  <a:lnTo>
                    <a:pt x="247" y="72"/>
                  </a:lnTo>
                  <a:lnTo>
                    <a:pt x="247" y="72"/>
                  </a:lnTo>
                  <a:lnTo>
                    <a:pt x="249" y="75"/>
                  </a:lnTo>
                  <a:lnTo>
                    <a:pt x="249" y="75"/>
                  </a:lnTo>
                  <a:lnTo>
                    <a:pt x="249" y="75"/>
                  </a:lnTo>
                  <a:lnTo>
                    <a:pt x="249" y="77"/>
                  </a:lnTo>
                  <a:lnTo>
                    <a:pt x="247" y="77"/>
                  </a:lnTo>
                  <a:lnTo>
                    <a:pt x="247" y="77"/>
                  </a:lnTo>
                  <a:lnTo>
                    <a:pt x="247" y="77"/>
                  </a:lnTo>
                  <a:lnTo>
                    <a:pt x="245" y="77"/>
                  </a:lnTo>
                  <a:lnTo>
                    <a:pt x="245" y="79"/>
                  </a:lnTo>
                  <a:lnTo>
                    <a:pt x="245" y="79"/>
                  </a:lnTo>
                  <a:lnTo>
                    <a:pt x="245" y="79"/>
                  </a:lnTo>
                  <a:lnTo>
                    <a:pt x="245" y="79"/>
                  </a:lnTo>
                  <a:lnTo>
                    <a:pt x="245" y="79"/>
                  </a:lnTo>
                  <a:lnTo>
                    <a:pt x="245" y="81"/>
                  </a:lnTo>
                  <a:lnTo>
                    <a:pt x="245" y="81"/>
                  </a:lnTo>
                  <a:lnTo>
                    <a:pt x="245" y="81"/>
                  </a:lnTo>
                  <a:lnTo>
                    <a:pt x="245" y="81"/>
                  </a:lnTo>
                  <a:lnTo>
                    <a:pt x="245" y="84"/>
                  </a:lnTo>
                  <a:lnTo>
                    <a:pt x="247" y="84"/>
                  </a:lnTo>
                  <a:lnTo>
                    <a:pt x="249" y="84"/>
                  </a:lnTo>
                  <a:lnTo>
                    <a:pt x="249" y="86"/>
                  </a:lnTo>
                  <a:lnTo>
                    <a:pt x="249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9" y="90"/>
                  </a:lnTo>
                  <a:lnTo>
                    <a:pt x="249" y="90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7" y="90"/>
                  </a:lnTo>
                  <a:lnTo>
                    <a:pt x="247" y="90"/>
                  </a:lnTo>
                  <a:lnTo>
                    <a:pt x="247" y="93"/>
                  </a:lnTo>
                  <a:lnTo>
                    <a:pt x="247" y="93"/>
                  </a:lnTo>
                  <a:lnTo>
                    <a:pt x="249" y="93"/>
                  </a:lnTo>
                  <a:lnTo>
                    <a:pt x="249" y="95"/>
                  </a:lnTo>
                  <a:lnTo>
                    <a:pt x="249" y="95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4" y="97"/>
                  </a:lnTo>
                  <a:lnTo>
                    <a:pt x="256" y="97"/>
                  </a:lnTo>
                  <a:lnTo>
                    <a:pt x="256" y="97"/>
                  </a:lnTo>
                  <a:lnTo>
                    <a:pt x="256" y="99"/>
                  </a:lnTo>
                  <a:lnTo>
                    <a:pt x="256" y="99"/>
                  </a:lnTo>
                  <a:lnTo>
                    <a:pt x="256" y="102"/>
                  </a:lnTo>
                  <a:lnTo>
                    <a:pt x="256" y="102"/>
                  </a:lnTo>
                  <a:lnTo>
                    <a:pt x="256" y="102"/>
                  </a:lnTo>
                  <a:lnTo>
                    <a:pt x="256" y="102"/>
                  </a:lnTo>
                  <a:lnTo>
                    <a:pt x="256" y="102"/>
                  </a:lnTo>
                  <a:lnTo>
                    <a:pt x="256" y="104"/>
                  </a:lnTo>
                  <a:lnTo>
                    <a:pt x="258" y="104"/>
                  </a:lnTo>
                  <a:lnTo>
                    <a:pt x="258" y="104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60" y="104"/>
                  </a:lnTo>
                  <a:lnTo>
                    <a:pt x="260" y="104"/>
                  </a:lnTo>
                  <a:lnTo>
                    <a:pt x="260" y="104"/>
                  </a:lnTo>
                  <a:lnTo>
                    <a:pt x="260" y="104"/>
                  </a:lnTo>
                  <a:lnTo>
                    <a:pt x="263" y="104"/>
                  </a:lnTo>
                  <a:lnTo>
                    <a:pt x="263" y="104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2"/>
                  </a:lnTo>
                  <a:lnTo>
                    <a:pt x="263" y="104"/>
                  </a:lnTo>
                  <a:lnTo>
                    <a:pt x="263" y="104"/>
                  </a:lnTo>
                  <a:lnTo>
                    <a:pt x="263" y="104"/>
                  </a:lnTo>
                  <a:lnTo>
                    <a:pt x="263" y="106"/>
                  </a:lnTo>
                  <a:lnTo>
                    <a:pt x="263" y="106"/>
                  </a:lnTo>
                  <a:lnTo>
                    <a:pt x="263" y="106"/>
                  </a:lnTo>
                  <a:lnTo>
                    <a:pt x="263" y="106"/>
                  </a:lnTo>
                  <a:lnTo>
                    <a:pt x="263" y="106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5" y="111"/>
                  </a:lnTo>
                  <a:lnTo>
                    <a:pt x="267" y="111"/>
                  </a:lnTo>
                  <a:lnTo>
                    <a:pt x="267" y="111"/>
                  </a:lnTo>
                  <a:lnTo>
                    <a:pt x="267" y="111"/>
                  </a:lnTo>
                  <a:lnTo>
                    <a:pt x="267" y="111"/>
                  </a:lnTo>
                  <a:lnTo>
                    <a:pt x="269" y="111"/>
                  </a:lnTo>
                  <a:lnTo>
                    <a:pt x="272" y="111"/>
                  </a:lnTo>
                  <a:lnTo>
                    <a:pt x="272" y="111"/>
                  </a:lnTo>
                  <a:lnTo>
                    <a:pt x="272" y="111"/>
                  </a:lnTo>
                  <a:lnTo>
                    <a:pt x="272" y="111"/>
                  </a:lnTo>
                  <a:lnTo>
                    <a:pt x="274" y="111"/>
                  </a:lnTo>
                  <a:lnTo>
                    <a:pt x="274" y="111"/>
                  </a:lnTo>
                  <a:lnTo>
                    <a:pt x="276" y="111"/>
                  </a:lnTo>
                  <a:lnTo>
                    <a:pt x="276" y="113"/>
                  </a:lnTo>
                  <a:lnTo>
                    <a:pt x="278" y="113"/>
                  </a:lnTo>
                  <a:lnTo>
                    <a:pt x="281" y="115"/>
                  </a:lnTo>
                  <a:lnTo>
                    <a:pt x="281" y="115"/>
                  </a:lnTo>
                  <a:lnTo>
                    <a:pt x="281" y="115"/>
                  </a:lnTo>
                  <a:lnTo>
                    <a:pt x="278" y="115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6" y="117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6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2" y="120"/>
                  </a:lnTo>
                  <a:lnTo>
                    <a:pt x="272" y="120"/>
                  </a:lnTo>
                  <a:lnTo>
                    <a:pt x="272" y="120"/>
                  </a:lnTo>
                  <a:lnTo>
                    <a:pt x="272" y="122"/>
                  </a:lnTo>
                  <a:lnTo>
                    <a:pt x="269" y="120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69" y="122"/>
                  </a:lnTo>
                  <a:lnTo>
                    <a:pt x="267" y="122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6"/>
                  </a:lnTo>
                  <a:lnTo>
                    <a:pt x="265" y="129"/>
                  </a:lnTo>
                  <a:lnTo>
                    <a:pt x="265" y="129"/>
                  </a:lnTo>
                  <a:lnTo>
                    <a:pt x="265" y="129"/>
                  </a:lnTo>
                  <a:lnTo>
                    <a:pt x="265" y="129"/>
                  </a:lnTo>
                  <a:lnTo>
                    <a:pt x="265" y="129"/>
                  </a:lnTo>
                  <a:lnTo>
                    <a:pt x="267" y="131"/>
                  </a:lnTo>
                  <a:lnTo>
                    <a:pt x="267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69" y="135"/>
                  </a:lnTo>
                  <a:lnTo>
                    <a:pt x="269" y="135"/>
                  </a:lnTo>
                  <a:lnTo>
                    <a:pt x="269" y="135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9" y="140"/>
                  </a:lnTo>
                  <a:lnTo>
                    <a:pt x="269" y="140"/>
                  </a:lnTo>
                  <a:lnTo>
                    <a:pt x="269" y="140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4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69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7" y="147"/>
                  </a:lnTo>
                  <a:lnTo>
                    <a:pt x="265" y="147"/>
                  </a:lnTo>
                  <a:lnTo>
                    <a:pt x="265" y="149"/>
                  </a:lnTo>
                  <a:lnTo>
                    <a:pt x="267" y="149"/>
                  </a:lnTo>
                  <a:lnTo>
                    <a:pt x="265" y="149"/>
                  </a:lnTo>
                  <a:lnTo>
                    <a:pt x="265" y="149"/>
                  </a:lnTo>
                  <a:lnTo>
                    <a:pt x="265" y="149"/>
                  </a:lnTo>
                  <a:lnTo>
                    <a:pt x="265" y="149"/>
                  </a:lnTo>
                  <a:lnTo>
                    <a:pt x="265" y="149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1"/>
                  </a:lnTo>
                  <a:lnTo>
                    <a:pt x="265" y="153"/>
                  </a:lnTo>
                  <a:lnTo>
                    <a:pt x="265" y="153"/>
                  </a:lnTo>
                  <a:lnTo>
                    <a:pt x="265" y="153"/>
                  </a:lnTo>
                  <a:lnTo>
                    <a:pt x="265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0" y="158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60" y="160"/>
                  </a:lnTo>
                  <a:lnTo>
                    <a:pt x="258" y="160"/>
                  </a:lnTo>
                  <a:lnTo>
                    <a:pt x="258" y="160"/>
                  </a:lnTo>
                  <a:lnTo>
                    <a:pt x="258" y="160"/>
                  </a:lnTo>
                  <a:lnTo>
                    <a:pt x="260" y="160"/>
                  </a:lnTo>
                  <a:lnTo>
                    <a:pt x="260" y="162"/>
                  </a:lnTo>
                  <a:lnTo>
                    <a:pt x="260" y="162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58" y="167"/>
                  </a:lnTo>
                  <a:lnTo>
                    <a:pt x="258" y="167"/>
                  </a:lnTo>
                  <a:lnTo>
                    <a:pt x="256" y="169"/>
                  </a:lnTo>
                  <a:lnTo>
                    <a:pt x="251" y="169"/>
                  </a:lnTo>
                  <a:lnTo>
                    <a:pt x="251" y="171"/>
                  </a:lnTo>
                  <a:lnTo>
                    <a:pt x="251" y="173"/>
                  </a:lnTo>
                  <a:lnTo>
                    <a:pt x="251" y="176"/>
                  </a:lnTo>
                  <a:lnTo>
                    <a:pt x="251" y="180"/>
                  </a:lnTo>
                  <a:lnTo>
                    <a:pt x="249" y="182"/>
                  </a:lnTo>
                  <a:lnTo>
                    <a:pt x="249" y="185"/>
                  </a:lnTo>
                  <a:lnTo>
                    <a:pt x="249" y="187"/>
                  </a:lnTo>
                  <a:lnTo>
                    <a:pt x="247" y="189"/>
                  </a:lnTo>
                  <a:lnTo>
                    <a:pt x="247" y="189"/>
                  </a:lnTo>
                  <a:lnTo>
                    <a:pt x="247" y="191"/>
                  </a:lnTo>
                  <a:lnTo>
                    <a:pt x="247" y="191"/>
                  </a:lnTo>
                  <a:lnTo>
                    <a:pt x="247" y="191"/>
                  </a:lnTo>
                  <a:lnTo>
                    <a:pt x="245" y="194"/>
                  </a:lnTo>
                  <a:lnTo>
                    <a:pt x="242" y="194"/>
                  </a:lnTo>
                  <a:lnTo>
                    <a:pt x="240" y="196"/>
                  </a:lnTo>
                  <a:lnTo>
                    <a:pt x="236" y="198"/>
                  </a:lnTo>
                  <a:lnTo>
                    <a:pt x="236" y="198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3" y="205"/>
                  </a:lnTo>
                  <a:lnTo>
                    <a:pt x="233" y="207"/>
                  </a:lnTo>
                  <a:lnTo>
                    <a:pt x="233" y="207"/>
                  </a:lnTo>
                  <a:lnTo>
                    <a:pt x="233" y="209"/>
                  </a:lnTo>
                  <a:lnTo>
                    <a:pt x="231" y="212"/>
                  </a:lnTo>
                  <a:lnTo>
                    <a:pt x="229" y="214"/>
                  </a:lnTo>
                  <a:lnTo>
                    <a:pt x="229" y="214"/>
                  </a:lnTo>
                  <a:lnTo>
                    <a:pt x="229" y="214"/>
                  </a:lnTo>
                  <a:lnTo>
                    <a:pt x="229" y="216"/>
                  </a:lnTo>
                  <a:lnTo>
                    <a:pt x="229" y="216"/>
                  </a:lnTo>
                  <a:lnTo>
                    <a:pt x="229" y="218"/>
                  </a:lnTo>
                  <a:lnTo>
                    <a:pt x="227" y="218"/>
                  </a:lnTo>
                  <a:lnTo>
                    <a:pt x="224" y="218"/>
                  </a:lnTo>
                  <a:lnTo>
                    <a:pt x="222" y="218"/>
                  </a:lnTo>
                  <a:lnTo>
                    <a:pt x="220" y="218"/>
                  </a:lnTo>
                  <a:lnTo>
                    <a:pt x="218" y="218"/>
                  </a:lnTo>
                  <a:lnTo>
                    <a:pt x="218" y="221"/>
                  </a:lnTo>
                  <a:lnTo>
                    <a:pt x="215" y="221"/>
                  </a:lnTo>
                  <a:lnTo>
                    <a:pt x="213" y="221"/>
                  </a:lnTo>
                  <a:lnTo>
                    <a:pt x="211" y="223"/>
                  </a:lnTo>
                  <a:lnTo>
                    <a:pt x="209" y="223"/>
                  </a:lnTo>
                  <a:lnTo>
                    <a:pt x="209" y="223"/>
                  </a:lnTo>
                  <a:lnTo>
                    <a:pt x="206" y="223"/>
                  </a:lnTo>
                  <a:lnTo>
                    <a:pt x="206" y="221"/>
                  </a:lnTo>
                  <a:lnTo>
                    <a:pt x="204" y="221"/>
                  </a:lnTo>
                  <a:lnTo>
                    <a:pt x="204" y="218"/>
                  </a:lnTo>
                  <a:lnTo>
                    <a:pt x="204" y="218"/>
                  </a:lnTo>
                  <a:lnTo>
                    <a:pt x="204" y="218"/>
                  </a:lnTo>
                  <a:lnTo>
                    <a:pt x="204" y="218"/>
                  </a:lnTo>
                  <a:lnTo>
                    <a:pt x="204" y="216"/>
                  </a:lnTo>
                  <a:lnTo>
                    <a:pt x="202" y="216"/>
                  </a:lnTo>
                  <a:lnTo>
                    <a:pt x="202" y="216"/>
                  </a:lnTo>
                  <a:lnTo>
                    <a:pt x="202" y="216"/>
                  </a:lnTo>
                  <a:lnTo>
                    <a:pt x="202" y="216"/>
                  </a:lnTo>
                  <a:lnTo>
                    <a:pt x="200" y="216"/>
                  </a:lnTo>
                  <a:lnTo>
                    <a:pt x="200" y="216"/>
                  </a:lnTo>
                  <a:lnTo>
                    <a:pt x="200" y="216"/>
                  </a:lnTo>
                  <a:lnTo>
                    <a:pt x="200" y="216"/>
                  </a:lnTo>
                  <a:lnTo>
                    <a:pt x="197" y="216"/>
                  </a:lnTo>
                  <a:lnTo>
                    <a:pt x="197" y="216"/>
                  </a:lnTo>
                  <a:lnTo>
                    <a:pt x="197" y="218"/>
                  </a:lnTo>
                  <a:lnTo>
                    <a:pt x="195" y="218"/>
                  </a:lnTo>
                  <a:lnTo>
                    <a:pt x="195" y="221"/>
                  </a:lnTo>
                  <a:lnTo>
                    <a:pt x="195" y="221"/>
                  </a:lnTo>
                  <a:lnTo>
                    <a:pt x="193" y="225"/>
                  </a:lnTo>
                  <a:lnTo>
                    <a:pt x="193" y="227"/>
                  </a:lnTo>
                  <a:lnTo>
                    <a:pt x="191" y="227"/>
                  </a:lnTo>
                  <a:lnTo>
                    <a:pt x="191" y="230"/>
                  </a:lnTo>
                  <a:lnTo>
                    <a:pt x="188" y="232"/>
                  </a:lnTo>
                  <a:lnTo>
                    <a:pt x="188" y="234"/>
                  </a:lnTo>
                  <a:lnTo>
                    <a:pt x="186" y="236"/>
                  </a:lnTo>
                  <a:lnTo>
                    <a:pt x="186" y="236"/>
                  </a:lnTo>
                  <a:lnTo>
                    <a:pt x="186" y="239"/>
                  </a:lnTo>
                  <a:lnTo>
                    <a:pt x="186" y="241"/>
                  </a:lnTo>
                  <a:lnTo>
                    <a:pt x="186" y="245"/>
                  </a:lnTo>
                  <a:lnTo>
                    <a:pt x="186" y="245"/>
                  </a:lnTo>
                  <a:lnTo>
                    <a:pt x="186" y="245"/>
                  </a:lnTo>
                  <a:lnTo>
                    <a:pt x="188" y="248"/>
                  </a:lnTo>
                  <a:lnTo>
                    <a:pt x="191" y="248"/>
                  </a:lnTo>
                  <a:lnTo>
                    <a:pt x="193" y="250"/>
                  </a:lnTo>
                  <a:lnTo>
                    <a:pt x="193" y="250"/>
                  </a:lnTo>
                  <a:lnTo>
                    <a:pt x="197" y="250"/>
                  </a:lnTo>
                  <a:lnTo>
                    <a:pt x="200" y="250"/>
                  </a:lnTo>
                  <a:lnTo>
                    <a:pt x="200" y="250"/>
                  </a:lnTo>
                  <a:lnTo>
                    <a:pt x="200" y="252"/>
                  </a:lnTo>
                  <a:lnTo>
                    <a:pt x="200" y="252"/>
                  </a:lnTo>
                  <a:lnTo>
                    <a:pt x="200" y="254"/>
                  </a:lnTo>
                  <a:lnTo>
                    <a:pt x="202" y="254"/>
                  </a:lnTo>
                  <a:lnTo>
                    <a:pt x="202" y="254"/>
                  </a:lnTo>
                  <a:lnTo>
                    <a:pt x="200" y="257"/>
                  </a:lnTo>
                  <a:lnTo>
                    <a:pt x="200" y="257"/>
                  </a:lnTo>
                  <a:lnTo>
                    <a:pt x="202" y="257"/>
                  </a:lnTo>
                  <a:lnTo>
                    <a:pt x="202" y="259"/>
                  </a:lnTo>
                  <a:lnTo>
                    <a:pt x="202" y="259"/>
                  </a:lnTo>
                  <a:lnTo>
                    <a:pt x="202" y="259"/>
                  </a:lnTo>
                  <a:lnTo>
                    <a:pt x="200" y="261"/>
                  </a:lnTo>
                  <a:lnTo>
                    <a:pt x="200" y="261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200" y="263"/>
                  </a:lnTo>
                  <a:lnTo>
                    <a:pt x="202" y="266"/>
                  </a:lnTo>
                  <a:lnTo>
                    <a:pt x="202" y="266"/>
                  </a:lnTo>
                  <a:lnTo>
                    <a:pt x="202" y="268"/>
                  </a:lnTo>
                  <a:lnTo>
                    <a:pt x="204" y="268"/>
                  </a:lnTo>
                  <a:lnTo>
                    <a:pt x="204" y="268"/>
                  </a:lnTo>
                  <a:lnTo>
                    <a:pt x="204" y="270"/>
                  </a:lnTo>
                  <a:lnTo>
                    <a:pt x="204" y="270"/>
                  </a:lnTo>
                  <a:lnTo>
                    <a:pt x="206" y="270"/>
                  </a:lnTo>
                  <a:lnTo>
                    <a:pt x="206" y="272"/>
                  </a:lnTo>
                  <a:lnTo>
                    <a:pt x="206" y="272"/>
                  </a:lnTo>
                  <a:lnTo>
                    <a:pt x="209" y="272"/>
                  </a:lnTo>
                  <a:lnTo>
                    <a:pt x="211" y="272"/>
                  </a:lnTo>
                  <a:lnTo>
                    <a:pt x="211" y="270"/>
                  </a:lnTo>
                  <a:lnTo>
                    <a:pt x="211" y="270"/>
                  </a:lnTo>
                  <a:lnTo>
                    <a:pt x="213" y="270"/>
                  </a:lnTo>
                  <a:lnTo>
                    <a:pt x="213" y="272"/>
                  </a:lnTo>
                  <a:lnTo>
                    <a:pt x="213" y="272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5" y="279"/>
                  </a:lnTo>
                  <a:lnTo>
                    <a:pt x="215" y="279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5" y="281"/>
                  </a:lnTo>
                  <a:lnTo>
                    <a:pt x="215" y="281"/>
                  </a:lnTo>
                  <a:lnTo>
                    <a:pt x="218" y="281"/>
                  </a:lnTo>
                  <a:lnTo>
                    <a:pt x="218" y="284"/>
                  </a:lnTo>
                  <a:lnTo>
                    <a:pt x="220" y="284"/>
                  </a:lnTo>
                  <a:lnTo>
                    <a:pt x="220" y="284"/>
                  </a:lnTo>
                  <a:lnTo>
                    <a:pt x="220" y="288"/>
                  </a:lnTo>
                  <a:lnTo>
                    <a:pt x="222" y="288"/>
                  </a:lnTo>
                  <a:lnTo>
                    <a:pt x="222" y="290"/>
                  </a:lnTo>
                  <a:lnTo>
                    <a:pt x="224" y="293"/>
                  </a:lnTo>
                  <a:lnTo>
                    <a:pt x="224" y="295"/>
                  </a:lnTo>
                  <a:lnTo>
                    <a:pt x="224" y="295"/>
                  </a:lnTo>
                  <a:lnTo>
                    <a:pt x="224" y="295"/>
                  </a:lnTo>
                  <a:lnTo>
                    <a:pt x="224" y="297"/>
                  </a:lnTo>
                  <a:lnTo>
                    <a:pt x="222" y="297"/>
                  </a:lnTo>
                  <a:lnTo>
                    <a:pt x="222" y="297"/>
                  </a:lnTo>
                  <a:lnTo>
                    <a:pt x="222" y="297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299"/>
                  </a:lnTo>
                  <a:lnTo>
                    <a:pt x="224" y="302"/>
                  </a:lnTo>
                  <a:lnTo>
                    <a:pt x="224" y="302"/>
                  </a:lnTo>
                  <a:lnTo>
                    <a:pt x="227" y="302"/>
                  </a:lnTo>
                  <a:lnTo>
                    <a:pt x="227" y="302"/>
                  </a:lnTo>
                  <a:lnTo>
                    <a:pt x="227" y="302"/>
                  </a:lnTo>
                  <a:lnTo>
                    <a:pt x="224" y="302"/>
                  </a:lnTo>
                  <a:lnTo>
                    <a:pt x="224" y="302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22" y="304"/>
                  </a:lnTo>
                  <a:lnTo>
                    <a:pt x="222" y="306"/>
                  </a:lnTo>
                  <a:lnTo>
                    <a:pt x="222" y="306"/>
                  </a:lnTo>
                  <a:lnTo>
                    <a:pt x="222" y="306"/>
                  </a:lnTo>
                  <a:lnTo>
                    <a:pt x="222" y="306"/>
                  </a:lnTo>
                  <a:lnTo>
                    <a:pt x="220" y="306"/>
                  </a:lnTo>
                  <a:lnTo>
                    <a:pt x="220" y="306"/>
                  </a:lnTo>
                  <a:lnTo>
                    <a:pt x="218" y="306"/>
                  </a:lnTo>
                  <a:lnTo>
                    <a:pt x="215" y="306"/>
                  </a:lnTo>
                  <a:lnTo>
                    <a:pt x="215" y="306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3" y="302"/>
                  </a:lnTo>
                  <a:lnTo>
                    <a:pt x="211" y="302"/>
                  </a:lnTo>
                  <a:lnTo>
                    <a:pt x="211" y="304"/>
                  </a:lnTo>
                  <a:lnTo>
                    <a:pt x="211" y="304"/>
                  </a:lnTo>
                  <a:lnTo>
                    <a:pt x="211" y="304"/>
                  </a:lnTo>
                  <a:lnTo>
                    <a:pt x="209" y="304"/>
                  </a:lnTo>
                  <a:lnTo>
                    <a:pt x="209" y="304"/>
                  </a:lnTo>
                  <a:lnTo>
                    <a:pt x="209" y="304"/>
                  </a:lnTo>
                  <a:lnTo>
                    <a:pt x="206" y="304"/>
                  </a:lnTo>
                  <a:lnTo>
                    <a:pt x="206" y="304"/>
                  </a:lnTo>
                  <a:lnTo>
                    <a:pt x="206" y="304"/>
                  </a:lnTo>
                  <a:lnTo>
                    <a:pt x="206" y="304"/>
                  </a:lnTo>
                  <a:lnTo>
                    <a:pt x="206" y="306"/>
                  </a:lnTo>
                  <a:lnTo>
                    <a:pt x="206" y="306"/>
                  </a:lnTo>
                  <a:lnTo>
                    <a:pt x="204" y="308"/>
                  </a:lnTo>
                  <a:lnTo>
                    <a:pt x="204" y="308"/>
                  </a:lnTo>
                  <a:lnTo>
                    <a:pt x="200" y="308"/>
                  </a:lnTo>
                  <a:lnTo>
                    <a:pt x="200" y="308"/>
                  </a:lnTo>
                  <a:lnTo>
                    <a:pt x="197" y="306"/>
                  </a:lnTo>
                  <a:lnTo>
                    <a:pt x="195" y="306"/>
                  </a:lnTo>
                  <a:lnTo>
                    <a:pt x="195" y="304"/>
                  </a:lnTo>
                  <a:lnTo>
                    <a:pt x="191" y="304"/>
                  </a:lnTo>
                  <a:lnTo>
                    <a:pt x="188" y="306"/>
                  </a:lnTo>
                  <a:lnTo>
                    <a:pt x="188" y="306"/>
                  </a:lnTo>
                  <a:lnTo>
                    <a:pt x="186" y="306"/>
                  </a:lnTo>
                  <a:lnTo>
                    <a:pt x="186" y="304"/>
                  </a:lnTo>
                  <a:lnTo>
                    <a:pt x="186" y="304"/>
                  </a:lnTo>
                  <a:lnTo>
                    <a:pt x="184" y="304"/>
                  </a:lnTo>
                  <a:lnTo>
                    <a:pt x="184" y="306"/>
                  </a:lnTo>
                  <a:lnTo>
                    <a:pt x="184" y="306"/>
                  </a:lnTo>
                  <a:lnTo>
                    <a:pt x="184" y="306"/>
                  </a:lnTo>
                  <a:lnTo>
                    <a:pt x="184" y="306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4"/>
                  </a:lnTo>
                  <a:lnTo>
                    <a:pt x="182" y="306"/>
                  </a:lnTo>
                  <a:lnTo>
                    <a:pt x="182" y="306"/>
                  </a:lnTo>
                  <a:lnTo>
                    <a:pt x="179" y="306"/>
                  </a:lnTo>
                  <a:lnTo>
                    <a:pt x="179" y="304"/>
                  </a:lnTo>
                  <a:lnTo>
                    <a:pt x="179" y="304"/>
                  </a:lnTo>
                  <a:lnTo>
                    <a:pt x="179" y="304"/>
                  </a:lnTo>
                  <a:lnTo>
                    <a:pt x="177" y="304"/>
                  </a:lnTo>
                  <a:lnTo>
                    <a:pt x="179" y="306"/>
                  </a:lnTo>
                  <a:lnTo>
                    <a:pt x="179" y="308"/>
                  </a:lnTo>
                  <a:lnTo>
                    <a:pt x="179" y="313"/>
                  </a:lnTo>
                  <a:lnTo>
                    <a:pt x="177" y="313"/>
                  </a:lnTo>
                  <a:lnTo>
                    <a:pt x="175" y="313"/>
                  </a:lnTo>
                  <a:lnTo>
                    <a:pt x="173" y="313"/>
                  </a:lnTo>
                  <a:lnTo>
                    <a:pt x="173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3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3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5"/>
                  </a:lnTo>
                  <a:lnTo>
                    <a:pt x="168" y="317"/>
                  </a:lnTo>
                  <a:lnTo>
                    <a:pt x="168" y="317"/>
                  </a:lnTo>
                  <a:lnTo>
                    <a:pt x="168" y="317"/>
                  </a:lnTo>
                  <a:lnTo>
                    <a:pt x="168" y="317"/>
                  </a:lnTo>
                  <a:lnTo>
                    <a:pt x="168" y="320"/>
                  </a:lnTo>
                  <a:lnTo>
                    <a:pt x="168" y="320"/>
                  </a:lnTo>
                  <a:lnTo>
                    <a:pt x="168" y="320"/>
                  </a:lnTo>
                  <a:lnTo>
                    <a:pt x="166" y="317"/>
                  </a:lnTo>
                  <a:lnTo>
                    <a:pt x="166" y="320"/>
                  </a:lnTo>
                  <a:lnTo>
                    <a:pt x="166" y="320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3"/>
                  </a:lnTo>
                  <a:lnTo>
                    <a:pt x="166" y="313"/>
                  </a:lnTo>
                  <a:lnTo>
                    <a:pt x="166" y="313"/>
                  </a:lnTo>
                  <a:lnTo>
                    <a:pt x="164" y="313"/>
                  </a:lnTo>
                  <a:lnTo>
                    <a:pt x="164" y="313"/>
                  </a:lnTo>
                  <a:lnTo>
                    <a:pt x="166" y="315"/>
                  </a:lnTo>
                  <a:lnTo>
                    <a:pt x="166" y="315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4" y="317"/>
                  </a:lnTo>
                  <a:lnTo>
                    <a:pt x="164" y="317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7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4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3"/>
                  </a:lnTo>
                  <a:lnTo>
                    <a:pt x="162" y="313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62" y="315"/>
                  </a:lnTo>
                  <a:lnTo>
                    <a:pt x="159" y="315"/>
                  </a:lnTo>
                  <a:lnTo>
                    <a:pt x="159" y="315"/>
                  </a:lnTo>
                  <a:lnTo>
                    <a:pt x="159" y="315"/>
                  </a:lnTo>
                  <a:lnTo>
                    <a:pt x="159" y="315"/>
                  </a:lnTo>
                  <a:lnTo>
                    <a:pt x="159" y="315"/>
                  </a:lnTo>
                  <a:lnTo>
                    <a:pt x="159" y="317"/>
                  </a:lnTo>
                  <a:lnTo>
                    <a:pt x="159" y="317"/>
                  </a:lnTo>
                  <a:lnTo>
                    <a:pt x="159" y="317"/>
                  </a:lnTo>
                  <a:lnTo>
                    <a:pt x="157" y="317"/>
                  </a:lnTo>
                  <a:lnTo>
                    <a:pt x="157" y="317"/>
                  </a:lnTo>
                  <a:lnTo>
                    <a:pt x="157" y="317"/>
                  </a:lnTo>
                  <a:lnTo>
                    <a:pt x="157" y="317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3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7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3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5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5" y="313"/>
                  </a:lnTo>
                  <a:lnTo>
                    <a:pt x="153" y="313"/>
                  </a:lnTo>
                  <a:lnTo>
                    <a:pt x="153" y="313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5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3" y="311"/>
                  </a:lnTo>
                  <a:lnTo>
                    <a:pt x="150" y="311"/>
                  </a:lnTo>
                  <a:lnTo>
                    <a:pt x="150" y="311"/>
                  </a:lnTo>
                  <a:lnTo>
                    <a:pt x="150" y="311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6"/>
                  </a:lnTo>
                  <a:lnTo>
                    <a:pt x="150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48" y="304"/>
                  </a:lnTo>
                  <a:lnTo>
                    <a:pt x="148" y="304"/>
                  </a:lnTo>
                  <a:lnTo>
                    <a:pt x="148" y="302"/>
                  </a:lnTo>
                  <a:lnTo>
                    <a:pt x="148" y="302"/>
                  </a:lnTo>
                  <a:lnTo>
                    <a:pt x="148" y="302"/>
                  </a:lnTo>
                  <a:lnTo>
                    <a:pt x="148" y="302"/>
                  </a:lnTo>
                  <a:lnTo>
                    <a:pt x="148" y="302"/>
                  </a:lnTo>
                  <a:lnTo>
                    <a:pt x="148" y="302"/>
                  </a:lnTo>
                  <a:lnTo>
                    <a:pt x="148" y="299"/>
                  </a:lnTo>
                  <a:lnTo>
                    <a:pt x="148" y="299"/>
                  </a:lnTo>
                  <a:lnTo>
                    <a:pt x="146" y="299"/>
                  </a:lnTo>
                  <a:lnTo>
                    <a:pt x="148" y="299"/>
                  </a:lnTo>
                  <a:lnTo>
                    <a:pt x="146" y="299"/>
                  </a:lnTo>
                  <a:lnTo>
                    <a:pt x="146" y="299"/>
                  </a:lnTo>
                  <a:lnTo>
                    <a:pt x="146" y="299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8" y="297"/>
                  </a:lnTo>
                  <a:lnTo>
                    <a:pt x="148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7"/>
                  </a:lnTo>
                  <a:lnTo>
                    <a:pt x="146" y="295"/>
                  </a:lnTo>
                  <a:lnTo>
                    <a:pt x="146" y="295"/>
                  </a:lnTo>
                  <a:lnTo>
                    <a:pt x="146" y="295"/>
                  </a:lnTo>
                  <a:lnTo>
                    <a:pt x="146" y="295"/>
                  </a:lnTo>
                  <a:lnTo>
                    <a:pt x="146" y="295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6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4" y="293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41" y="290"/>
                  </a:lnTo>
                  <a:lnTo>
                    <a:pt x="141" y="290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41" y="293"/>
                  </a:lnTo>
                  <a:lnTo>
                    <a:pt x="139" y="293"/>
                  </a:lnTo>
                  <a:lnTo>
                    <a:pt x="139" y="293"/>
                  </a:lnTo>
                  <a:lnTo>
                    <a:pt x="139" y="290"/>
                  </a:lnTo>
                  <a:lnTo>
                    <a:pt x="139" y="290"/>
                  </a:lnTo>
                  <a:lnTo>
                    <a:pt x="137" y="290"/>
                  </a:lnTo>
                  <a:lnTo>
                    <a:pt x="137" y="293"/>
                  </a:lnTo>
                  <a:lnTo>
                    <a:pt x="137" y="290"/>
                  </a:lnTo>
                  <a:lnTo>
                    <a:pt x="137" y="290"/>
                  </a:lnTo>
                  <a:lnTo>
                    <a:pt x="135" y="290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3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88"/>
                  </a:lnTo>
                  <a:lnTo>
                    <a:pt x="135" y="288"/>
                  </a:lnTo>
                  <a:lnTo>
                    <a:pt x="135" y="286"/>
                  </a:lnTo>
                  <a:lnTo>
                    <a:pt x="135" y="286"/>
                  </a:lnTo>
                  <a:lnTo>
                    <a:pt x="135" y="286"/>
                  </a:lnTo>
                  <a:lnTo>
                    <a:pt x="135" y="284"/>
                  </a:lnTo>
                  <a:lnTo>
                    <a:pt x="135" y="284"/>
                  </a:lnTo>
                  <a:lnTo>
                    <a:pt x="135" y="284"/>
                  </a:lnTo>
                  <a:lnTo>
                    <a:pt x="135" y="284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2" y="281"/>
                  </a:lnTo>
                  <a:lnTo>
                    <a:pt x="132" y="281"/>
                  </a:lnTo>
                  <a:lnTo>
                    <a:pt x="132" y="279"/>
                  </a:lnTo>
                  <a:lnTo>
                    <a:pt x="130" y="279"/>
                  </a:lnTo>
                  <a:lnTo>
                    <a:pt x="130" y="279"/>
                  </a:lnTo>
                  <a:lnTo>
                    <a:pt x="130" y="279"/>
                  </a:lnTo>
                  <a:lnTo>
                    <a:pt x="130" y="279"/>
                  </a:lnTo>
                  <a:lnTo>
                    <a:pt x="132" y="279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30" y="275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8" y="272"/>
                  </a:lnTo>
                  <a:lnTo>
                    <a:pt x="128" y="275"/>
                  </a:lnTo>
                  <a:lnTo>
                    <a:pt x="126" y="275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1" y="277"/>
                  </a:lnTo>
                  <a:lnTo>
                    <a:pt x="121" y="277"/>
                  </a:lnTo>
                  <a:lnTo>
                    <a:pt x="121" y="277"/>
                  </a:lnTo>
                  <a:lnTo>
                    <a:pt x="121" y="277"/>
                  </a:lnTo>
                  <a:lnTo>
                    <a:pt x="123" y="277"/>
                  </a:lnTo>
                  <a:lnTo>
                    <a:pt x="123" y="277"/>
                  </a:lnTo>
                  <a:lnTo>
                    <a:pt x="123" y="277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8" y="275"/>
                  </a:lnTo>
                  <a:lnTo>
                    <a:pt x="128" y="275"/>
                  </a:lnTo>
                  <a:lnTo>
                    <a:pt x="128" y="277"/>
                  </a:lnTo>
                  <a:lnTo>
                    <a:pt x="128" y="277"/>
                  </a:lnTo>
                  <a:lnTo>
                    <a:pt x="128" y="277"/>
                  </a:lnTo>
                  <a:lnTo>
                    <a:pt x="128" y="277"/>
                  </a:lnTo>
                  <a:lnTo>
                    <a:pt x="128" y="277"/>
                  </a:lnTo>
                  <a:lnTo>
                    <a:pt x="130" y="277"/>
                  </a:lnTo>
                  <a:lnTo>
                    <a:pt x="128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0" y="279"/>
                  </a:lnTo>
                  <a:lnTo>
                    <a:pt x="130" y="279"/>
                  </a:lnTo>
                  <a:lnTo>
                    <a:pt x="128" y="277"/>
                  </a:lnTo>
                  <a:lnTo>
                    <a:pt x="128" y="277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26" y="277"/>
                  </a:lnTo>
                  <a:lnTo>
                    <a:pt x="123" y="277"/>
                  </a:lnTo>
                  <a:lnTo>
                    <a:pt x="123" y="277"/>
                  </a:lnTo>
                  <a:lnTo>
                    <a:pt x="123" y="277"/>
                  </a:lnTo>
                  <a:lnTo>
                    <a:pt x="123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17" y="277"/>
                  </a:lnTo>
                  <a:lnTo>
                    <a:pt x="117" y="279"/>
                  </a:lnTo>
                  <a:lnTo>
                    <a:pt x="114" y="279"/>
                  </a:lnTo>
                  <a:lnTo>
                    <a:pt x="114" y="279"/>
                  </a:lnTo>
                  <a:lnTo>
                    <a:pt x="114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0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5" y="279"/>
                  </a:lnTo>
                  <a:lnTo>
                    <a:pt x="103" y="279"/>
                  </a:lnTo>
                  <a:lnTo>
                    <a:pt x="103" y="279"/>
                  </a:lnTo>
                  <a:lnTo>
                    <a:pt x="103" y="279"/>
                  </a:lnTo>
                  <a:lnTo>
                    <a:pt x="103" y="279"/>
                  </a:lnTo>
                  <a:lnTo>
                    <a:pt x="103" y="281"/>
                  </a:lnTo>
                  <a:lnTo>
                    <a:pt x="103" y="281"/>
                  </a:lnTo>
                  <a:lnTo>
                    <a:pt x="103" y="281"/>
                  </a:lnTo>
                  <a:lnTo>
                    <a:pt x="103" y="281"/>
                  </a:lnTo>
                  <a:lnTo>
                    <a:pt x="101" y="281"/>
                  </a:lnTo>
                  <a:lnTo>
                    <a:pt x="101" y="281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99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4" y="284"/>
                  </a:lnTo>
                  <a:lnTo>
                    <a:pt x="94" y="284"/>
                  </a:lnTo>
                  <a:lnTo>
                    <a:pt x="94" y="284"/>
                  </a:lnTo>
                  <a:lnTo>
                    <a:pt x="94" y="284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2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5" y="281"/>
                  </a:lnTo>
                  <a:lnTo>
                    <a:pt x="85" y="281"/>
                  </a:lnTo>
                  <a:lnTo>
                    <a:pt x="85" y="281"/>
                  </a:lnTo>
                  <a:lnTo>
                    <a:pt x="85" y="281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78" y="277"/>
                  </a:lnTo>
                  <a:lnTo>
                    <a:pt x="78" y="277"/>
                  </a:lnTo>
                  <a:lnTo>
                    <a:pt x="78" y="277"/>
                  </a:lnTo>
                  <a:lnTo>
                    <a:pt x="78" y="277"/>
                  </a:lnTo>
                  <a:lnTo>
                    <a:pt x="78" y="277"/>
                  </a:lnTo>
                  <a:lnTo>
                    <a:pt x="78" y="277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7"/>
                  </a:lnTo>
                  <a:lnTo>
                    <a:pt x="78" y="277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6" y="279"/>
                  </a:lnTo>
                  <a:lnTo>
                    <a:pt x="74" y="279"/>
                  </a:lnTo>
                  <a:lnTo>
                    <a:pt x="74" y="279"/>
                  </a:lnTo>
                  <a:lnTo>
                    <a:pt x="72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81"/>
                  </a:lnTo>
                  <a:lnTo>
                    <a:pt x="67" y="281"/>
                  </a:lnTo>
                  <a:lnTo>
                    <a:pt x="67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7" y="284"/>
                  </a:lnTo>
                  <a:lnTo>
                    <a:pt x="67" y="281"/>
                  </a:lnTo>
                  <a:lnTo>
                    <a:pt x="67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3" y="281"/>
                  </a:lnTo>
                  <a:lnTo>
                    <a:pt x="63" y="281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58" y="281"/>
                  </a:lnTo>
                  <a:lnTo>
                    <a:pt x="58" y="281"/>
                  </a:lnTo>
                  <a:lnTo>
                    <a:pt x="54" y="281"/>
                  </a:lnTo>
                  <a:lnTo>
                    <a:pt x="51" y="281"/>
                  </a:lnTo>
                  <a:lnTo>
                    <a:pt x="49" y="281"/>
                  </a:lnTo>
                  <a:lnTo>
                    <a:pt x="47" y="281"/>
                  </a:lnTo>
                  <a:lnTo>
                    <a:pt x="47" y="281"/>
                  </a:lnTo>
                  <a:lnTo>
                    <a:pt x="47" y="281"/>
                  </a:lnTo>
                  <a:lnTo>
                    <a:pt x="49" y="284"/>
                  </a:lnTo>
                  <a:lnTo>
                    <a:pt x="47" y="284"/>
                  </a:lnTo>
                  <a:lnTo>
                    <a:pt x="47" y="284"/>
                  </a:lnTo>
                  <a:lnTo>
                    <a:pt x="47" y="284"/>
                  </a:lnTo>
                  <a:lnTo>
                    <a:pt x="47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6"/>
                  </a:lnTo>
                  <a:lnTo>
                    <a:pt x="47" y="286"/>
                  </a:lnTo>
                  <a:lnTo>
                    <a:pt x="47" y="286"/>
                  </a:lnTo>
                  <a:lnTo>
                    <a:pt x="47" y="286"/>
                  </a:lnTo>
                  <a:lnTo>
                    <a:pt x="45" y="286"/>
                  </a:lnTo>
                  <a:lnTo>
                    <a:pt x="45" y="286"/>
                  </a:lnTo>
                  <a:lnTo>
                    <a:pt x="45" y="286"/>
                  </a:lnTo>
                  <a:lnTo>
                    <a:pt x="45" y="286"/>
                  </a:lnTo>
                  <a:lnTo>
                    <a:pt x="45" y="286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5" y="284"/>
                  </a:lnTo>
                  <a:lnTo>
                    <a:pt x="42" y="281"/>
                  </a:lnTo>
                  <a:lnTo>
                    <a:pt x="42" y="281"/>
                  </a:lnTo>
                  <a:lnTo>
                    <a:pt x="42" y="281"/>
                  </a:lnTo>
                  <a:lnTo>
                    <a:pt x="40" y="281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40" y="284"/>
                  </a:lnTo>
                  <a:lnTo>
                    <a:pt x="40" y="286"/>
                  </a:lnTo>
                  <a:lnTo>
                    <a:pt x="40" y="286"/>
                  </a:lnTo>
                  <a:lnTo>
                    <a:pt x="40" y="286"/>
                  </a:lnTo>
                  <a:lnTo>
                    <a:pt x="38" y="286"/>
                  </a:lnTo>
                  <a:lnTo>
                    <a:pt x="38" y="284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6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3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29" y="284"/>
                  </a:lnTo>
                  <a:lnTo>
                    <a:pt x="29" y="281"/>
                  </a:lnTo>
                  <a:lnTo>
                    <a:pt x="29" y="279"/>
                  </a:lnTo>
                  <a:lnTo>
                    <a:pt x="29" y="277"/>
                  </a:lnTo>
                  <a:lnTo>
                    <a:pt x="29" y="275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2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29" y="268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1" y="266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1" y="261"/>
                  </a:lnTo>
                  <a:lnTo>
                    <a:pt x="31" y="259"/>
                  </a:lnTo>
                  <a:lnTo>
                    <a:pt x="31" y="259"/>
                  </a:lnTo>
                  <a:lnTo>
                    <a:pt x="31" y="259"/>
                  </a:lnTo>
                  <a:lnTo>
                    <a:pt x="31" y="259"/>
                  </a:lnTo>
                  <a:lnTo>
                    <a:pt x="33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4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9" y="250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49" y="248"/>
                  </a:lnTo>
                  <a:lnTo>
                    <a:pt x="51" y="248"/>
                  </a:lnTo>
                  <a:lnTo>
                    <a:pt x="51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6" y="250"/>
                  </a:lnTo>
                  <a:lnTo>
                    <a:pt x="56" y="250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3"/>
                  </a:lnTo>
                  <a:lnTo>
                    <a:pt x="58" y="241"/>
                  </a:lnTo>
                  <a:lnTo>
                    <a:pt x="58" y="241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9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4"/>
                  </a:lnTo>
                  <a:lnTo>
                    <a:pt x="58" y="234"/>
                  </a:lnTo>
                  <a:lnTo>
                    <a:pt x="58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1" y="234"/>
                  </a:lnTo>
                  <a:lnTo>
                    <a:pt x="51" y="234"/>
                  </a:lnTo>
                  <a:lnTo>
                    <a:pt x="51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0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5"/>
                  </a:lnTo>
                  <a:lnTo>
                    <a:pt x="47" y="223"/>
                  </a:lnTo>
                  <a:lnTo>
                    <a:pt x="47" y="221"/>
                  </a:lnTo>
                  <a:lnTo>
                    <a:pt x="45" y="221"/>
                  </a:lnTo>
                  <a:lnTo>
                    <a:pt x="45" y="218"/>
                  </a:lnTo>
                  <a:lnTo>
                    <a:pt x="45" y="216"/>
                  </a:lnTo>
                  <a:lnTo>
                    <a:pt x="45" y="214"/>
                  </a:lnTo>
                  <a:lnTo>
                    <a:pt x="45" y="212"/>
                  </a:lnTo>
                  <a:lnTo>
                    <a:pt x="45" y="209"/>
                  </a:lnTo>
                  <a:lnTo>
                    <a:pt x="42" y="209"/>
                  </a:lnTo>
                  <a:lnTo>
                    <a:pt x="40" y="212"/>
                  </a:lnTo>
                  <a:lnTo>
                    <a:pt x="40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1" y="205"/>
                  </a:lnTo>
                  <a:lnTo>
                    <a:pt x="31" y="205"/>
                  </a:lnTo>
                  <a:lnTo>
                    <a:pt x="29" y="205"/>
                  </a:lnTo>
                  <a:lnTo>
                    <a:pt x="29" y="205"/>
                  </a:lnTo>
                  <a:lnTo>
                    <a:pt x="27" y="205"/>
                  </a:lnTo>
                  <a:lnTo>
                    <a:pt x="27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20" y="198"/>
                  </a:lnTo>
                  <a:lnTo>
                    <a:pt x="18" y="198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6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7"/>
                  </a:lnTo>
                  <a:lnTo>
                    <a:pt x="13" y="187"/>
                  </a:lnTo>
                  <a:lnTo>
                    <a:pt x="13" y="187"/>
                  </a:lnTo>
                  <a:lnTo>
                    <a:pt x="11" y="187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9" y="182"/>
                  </a:lnTo>
                  <a:lnTo>
                    <a:pt x="6" y="180"/>
                  </a:lnTo>
                  <a:lnTo>
                    <a:pt x="6" y="178"/>
                  </a:lnTo>
                  <a:lnTo>
                    <a:pt x="4" y="176"/>
                  </a:lnTo>
                  <a:lnTo>
                    <a:pt x="2" y="176"/>
                  </a:lnTo>
                  <a:lnTo>
                    <a:pt x="2" y="173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2" y="173"/>
                  </a:lnTo>
                  <a:lnTo>
                    <a:pt x="2" y="173"/>
                  </a:lnTo>
                  <a:lnTo>
                    <a:pt x="4" y="173"/>
                  </a:lnTo>
                  <a:lnTo>
                    <a:pt x="6" y="173"/>
                  </a:lnTo>
                  <a:lnTo>
                    <a:pt x="9" y="176"/>
                  </a:lnTo>
                  <a:lnTo>
                    <a:pt x="11" y="176"/>
                  </a:lnTo>
                  <a:lnTo>
                    <a:pt x="11" y="176"/>
                  </a:lnTo>
                  <a:lnTo>
                    <a:pt x="13" y="176"/>
                  </a:lnTo>
                  <a:lnTo>
                    <a:pt x="15" y="178"/>
                  </a:lnTo>
                  <a:lnTo>
                    <a:pt x="18" y="178"/>
                  </a:lnTo>
                  <a:lnTo>
                    <a:pt x="20" y="178"/>
                  </a:lnTo>
                  <a:lnTo>
                    <a:pt x="20" y="178"/>
                  </a:lnTo>
                  <a:lnTo>
                    <a:pt x="22" y="180"/>
                  </a:lnTo>
                  <a:lnTo>
                    <a:pt x="24" y="180"/>
                  </a:lnTo>
                  <a:lnTo>
                    <a:pt x="27" y="180"/>
                  </a:lnTo>
                  <a:lnTo>
                    <a:pt x="27" y="180"/>
                  </a:lnTo>
                  <a:lnTo>
                    <a:pt x="29" y="182"/>
                  </a:lnTo>
                  <a:lnTo>
                    <a:pt x="31" y="182"/>
                  </a:lnTo>
                  <a:lnTo>
                    <a:pt x="33" y="182"/>
                  </a:lnTo>
                  <a:lnTo>
                    <a:pt x="36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2" y="182"/>
                  </a:lnTo>
                  <a:lnTo>
                    <a:pt x="42" y="182"/>
                  </a:lnTo>
                  <a:lnTo>
                    <a:pt x="42" y="182"/>
                  </a:lnTo>
                  <a:lnTo>
                    <a:pt x="45" y="182"/>
                  </a:lnTo>
                  <a:lnTo>
                    <a:pt x="45" y="182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9" y="180"/>
                  </a:lnTo>
                  <a:lnTo>
                    <a:pt x="49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6" y="180"/>
                  </a:lnTo>
                  <a:lnTo>
                    <a:pt x="60" y="180"/>
                  </a:lnTo>
                  <a:lnTo>
                    <a:pt x="63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7" y="182"/>
                  </a:lnTo>
                  <a:lnTo>
                    <a:pt x="67" y="180"/>
                  </a:lnTo>
                  <a:lnTo>
                    <a:pt x="67" y="180"/>
                  </a:lnTo>
                  <a:lnTo>
                    <a:pt x="74" y="178"/>
                  </a:lnTo>
                  <a:lnTo>
                    <a:pt x="78" y="178"/>
                  </a:lnTo>
                  <a:lnTo>
                    <a:pt x="81" y="178"/>
                  </a:lnTo>
                  <a:lnTo>
                    <a:pt x="83" y="180"/>
                  </a:lnTo>
                  <a:lnTo>
                    <a:pt x="85" y="180"/>
                  </a:lnTo>
                  <a:lnTo>
                    <a:pt x="87" y="178"/>
                  </a:lnTo>
                  <a:lnTo>
                    <a:pt x="90" y="178"/>
                  </a:lnTo>
                  <a:lnTo>
                    <a:pt x="90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4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101" y="176"/>
                  </a:lnTo>
                  <a:lnTo>
                    <a:pt x="101" y="173"/>
                  </a:lnTo>
                  <a:lnTo>
                    <a:pt x="103" y="173"/>
                  </a:lnTo>
                  <a:lnTo>
                    <a:pt x="103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8" y="173"/>
                  </a:lnTo>
                  <a:lnTo>
                    <a:pt x="108" y="171"/>
                  </a:lnTo>
                  <a:lnTo>
                    <a:pt x="110" y="171"/>
                  </a:lnTo>
                  <a:lnTo>
                    <a:pt x="110" y="169"/>
                  </a:lnTo>
                  <a:lnTo>
                    <a:pt x="110" y="169"/>
                  </a:lnTo>
                  <a:lnTo>
                    <a:pt x="110" y="169"/>
                  </a:lnTo>
                  <a:lnTo>
                    <a:pt x="110" y="169"/>
                  </a:lnTo>
                  <a:lnTo>
                    <a:pt x="110" y="169"/>
                  </a:lnTo>
                  <a:lnTo>
                    <a:pt x="108" y="169"/>
                  </a:lnTo>
                  <a:lnTo>
                    <a:pt x="108" y="169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62"/>
                  </a:lnTo>
                  <a:lnTo>
                    <a:pt x="108" y="158"/>
                  </a:lnTo>
                  <a:lnTo>
                    <a:pt x="108" y="158"/>
                  </a:lnTo>
                  <a:lnTo>
                    <a:pt x="108" y="158"/>
                  </a:lnTo>
                  <a:lnTo>
                    <a:pt x="108" y="158"/>
                  </a:lnTo>
                  <a:lnTo>
                    <a:pt x="105" y="156"/>
                  </a:lnTo>
                  <a:lnTo>
                    <a:pt x="105" y="156"/>
                  </a:lnTo>
                  <a:lnTo>
                    <a:pt x="105" y="153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10" y="147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2" y="142"/>
                  </a:lnTo>
                  <a:lnTo>
                    <a:pt x="112" y="140"/>
                  </a:lnTo>
                  <a:lnTo>
                    <a:pt x="112" y="140"/>
                  </a:lnTo>
                  <a:lnTo>
                    <a:pt x="112" y="140"/>
                  </a:lnTo>
                  <a:lnTo>
                    <a:pt x="112" y="140"/>
                  </a:lnTo>
                  <a:lnTo>
                    <a:pt x="114" y="140"/>
                  </a:lnTo>
                  <a:lnTo>
                    <a:pt x="114" y="138"/>
                  </a:lnTo>
                  <a:lnTo>
                    <a:pt x="114" y="138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7" y="138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7" y="140"/>
                  </a:lnTo>
                  <a:lnTo>
                    <a:pt x="119" y="140"/>
                  </a:lnTo>
                  <a:lnTo>
                    <a:pt x="119" y="140"/>
                  </a:lnTo>
                  <a:lnTo>
                    <a:pt x="119" y="140"/>
                  </a:lnTo>
                  <a:lnTo>
                    <a:pt x="119" y="140"/>
                  </a:lnTo>
                  <a:lnTo>
                    <a:pt x="121" y="140"/>
                  </a:lnTo>
                  <a:lnTo>
                    <a:pt x="121" y="140"/>
                  </a:lnTo>
                  <a:lnTo>
                    <a:pt x="121" y="140"/>
                  </a:lnTo>
                  <a:lnTo>
                    <a:pt x="121" y="140"/>
                  </a:lnTo>
                  <a:lnTo>
                    <a:pt x="121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0" y="138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2" y="135"/>
                  </a:lnTo>
                  <a:lnTo>
                    <a:pt x="132" y="135"/>
                  </a:lnTo>
                  <a:lnTo>
                    <a:pt x="130" y="135"/>
                  </a:lnTo>
                  <a:lnTo>
                    <a:pt x="130" y="135"/>
                  </a:lnTo>
                  <a:lnTo>
                    <a:pt x="128" y="135"/>
                  </a:lnTo>
                  <a:lnTo>
                    <a:pt x="128" y="135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28" y="133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30" y="133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5" y="131"/>
                  </a:lnTo>
                  <a:lnTo>
                    <a:pt x="135" y="131"/>
                  </a:lnTo>
                  <a:lnTo>
                    <a:pt x="135" y="129"/>
                  </a:lnTo>
                  <a:lnTo>
                    <a:pt x="135" y="129"/>
                  </a:lnTo>
                  <a:lnTo>
                    <a:pt x="135" y="129"/>
                  </a:lnTo>
                  <a:lnTo>
                    <a:pt x="137" y="129"/>
                  </a:lnTo>
                  <a:lnTo>
                    <a:pt x="137" y="129"/>
                  </a:lnTo>
                  <a:lnTo>
                    <a:pt x="137" y="129"/>
                  </a:lnTo>
                  <a:lnTo>
                    <a:pt x="137" y="129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7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1" y="126"/>
                  </a:lnTo>
                  <a:lnTo>
                    <a:pt x="144" y="129"/>
                  </a:lnTo>
                  <a:lnTo>
                    <a:pt x="146" y="129"/>
                  </a:lnTo>
                  <a:lnTo>
                    <a:pt x="146" y="129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4" y="126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8" y="126"/>
                  </a:lnTo>
                  <a:lnTo>
                    <a:pt x="148" y="129"/>
                  </a:lnTo>
                  <a:lnTo>
                    <a:pt x="150" y="129"/>
                  </a:lnTo>
                  <a:lnTo>
                    <a:pt x="150" y="129"/>
                  </a:lnTo>
                  <a:lnTo>
                    <a:pt x="150" y="131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3" y="131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7" y="129"/>
                  </a:lnTo>
                  <a:lnTo>
                    <a:pt x="157" y="126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9" y="122"/>
                  </a:lnTo>
                  <a:lnTo>
                    <a:pt x="159" y="122"/>
                  </a:lnTo>
                  <a:lnTo>
                    <a:pt x="159" y="122"/>
                  </a:lnTo>
                  <a:lnTo>
                    <a:pt x="159" y="120"/>
                  </a:lnTo>
                  <a:lnTo>
                    <a:pt x="157" y="117"/>
                  </a:lnTo>
                  <a:lnTo>
                    <a:pt x="157" y="117"/>
                  </a:lnTo>
                  <a:lnTo>
                    <a:pt x="157" y="117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3"/>
                  </a:lnTo>
                  <a:lnTo>
                    <a:pt x="157" y="111"/>
                  </a:lnTo>
                  <a:lnTo>
                    <a:pt x="157" y="111"/>
                  </a:lnTo>
                  <a:lnTo>
                    <a:pt x="157" y="108"/>
                  </a:lnTo>
                  <a:lnTo>
                    <a:pt x="157" y="108"/>
                  </a:lnTo>
                  <a:lnTo>
                    <a:pt x="157" y="108"/>
                  </a:lnTo>
                  <a:lnTo>
                    <a:pt x="157" y="108"/>
                  </a:lnTo>
                  <a:lnTo>
                    <a:pt x="157" y="108"/>
                  </a:lnTo>
                  <a:lnTo>
                    <a:pt x="159" y="106"/>
                  </a:lnTo>
                  <a:lnTo>
                    <a:pt x="159" y="106"/>
                  </a:lnTo>
                  <a:lnTo>
                    <a:pt x="159" y="106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2"/>
                  </a:lnTo>
                  <a:lnTo>
                    <a:pt x="157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102"/>
                  </a:lnTo>
                  <a:lnTo>
                    <a:pt x="159" y="99"/>
                  </a:lnTo>
                  <a:lnTo>
                    <a:pt x="157" y="97"/>
                  </a:lnTo>
                  <a:lnTo>
                    <a:pt x="159" y="97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59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8" y="95"/>
                  </a:lnTo>
                  <a:lnTo>
                    <a:pt x="168" y="95"/>
                  </a:lnTo>
                  <a:lnTo>
                    <a:pt x="168" y="95"/>
                  </a:lnTo>
                  <a:lnTo>
                    <a:pt x="168" y="95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68" y="93"/>
                  </a:lnTo>
                  <a:lnTo>
                    <a:pt x="170" y="93"/>
                  </a:lnTo>
                  <a:lnTo>
                    <a:pt x="170" y="93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8"/>
                  </a:lnTo>
                  <a:lnTo>
                    <a:pt x="170" y="88"/>
                  </a:lnTo>
                  <a:lnTo>
                    <a:pt x="170" y="86"/>
                  </a:lnTo>
                  <a:lnTo>
                    <a:pt x="170" y="86"/>
                  </a:lnTo>
                  <a:lnTo>
                    <a:pt x="170" y="86"/>
                  </a:lnTo>
                  <a:lnTo>
                    <a:pt x="170" y="86"/>
                  </a:lnTo>
                  <a:lnTo>
                    <a:pt x="170" y="86"/>
                  </a:lnTo>
                  <a:lnTo>
                    <a:pt x="168" y="86"/>
                  </a:lnTo>
                  <a:lnTo>
                    <a:pt x="168" y="86"/>
                  </a:lnTo>
                  <a:lnTo>
                    <a:pt x="168" y="86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8" y="81"/>
                  </a:lnTo>
                  <a:lnTo>
                    <a:pt x="166" y="79"/>
                  </a:lnTo>
                  <a:lnTo>
                    <a:pt x="166" y="79"/>
                  </a:lnTo>
                  <a:lnTo>
                    <a:pt x="166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2" y="77"/>
                  </a:lnTo>
                  <a:lnTo>
                    <a:pt x="162" y="77"/>
                  </a:lnTo>
                  <a:lnTo>
                    <a:pt x="162" y="77"/>
                  </a:lnTo>
                  <a:lnTo>
                    <a:pt x="162" y="77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4" y="72"/>
                  </a:lnTo>
                  <a:lnTo>
                    <a:pt x="168" y="75"/>
                  </a:lnTo>
                  <a:lnTo>
                    <a:pt x="168" y="75"/>
                  </a:lnTo>
                  <a:lnTo>
                    <a:pt x="170" y="75"/>
                  </a:lnTo>
                  <a:lnTo>
                    <a:pt x="170" y="75"/>
                  </a:lnTo>
                  <a:lnTo>
                    <a:pt x="173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2" y="75"/>
                  </a:lnTo>
                  <a:lnTo>
                    <a:pt x="182" y="75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0"/>
                  </a:lnTo>
                  <a:lnTo>
                    <a:pt x="184" y="70"/>
                  </a:lnTo>
                  <a:lnTo>
                    <a:pt x="184" y="70"/>
                  </a:lnTo>
                  <a:lnTo>
                    <a:pt x="184" y="70"/>
                  </a:lnTo>
                  <a:lnTo>
                    <a:pt x="184" y="68"/>
                  </a:lnTo>
                  <a:lnTo>
                    <a:pt x="184" y="68"/>
                  </a:lnTo>
                  <a:lnTo>
                    <a:pt x="184" y="68"/>
                  </a:lnTo>
                  <a:lnTo>
                    <a:pt x="184" y="68"/>
                  </a:lnTo>
                  <a:lnTo>
                    <a:pt x="184" y="66"/>
                  </a:lnTo>
                  <a:lnTo>
                    <a:pt x="184" y="66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79" y="63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79" y="61"/>
                  </a:lnTo>
                  <a:lnTo>
                    <a:pt x="182" y="61"/>
                  </a:lnTo>
                  <a:lnTo>
                    <a:pt x="182" y="61"/>
                  </a:lnTo>
                  <a:lnTo>
                    <a:pt x="182" y="59"/>
                  </a:lnTo>
                  <a:lnTo>
                    <a:pt x="182" y="59"/>
                  </a:lnTo>
                  <a:lnTo>
                    <a:pt x="182" y="59"/>
                  </a:lnTo>
                  <a:lnTo>
                    <a:pt x="182" y="59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4" y="57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4" y="52"/>
                  </a:lnTo>
                  <a:lnTo>
                    <a:pt x="184" y="52"/>
                  </a:lnTo>
                  <a:lnTo>
                    <a:pt x="186" y="52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88" y="50"/>
                  </a:lnTo>
                  <a:lnTo>
                    <a:pt x="188" y="50"/>
                  </a:lnTo>
                  <a:lnTo>
                    <a:pt x="188" y="50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88" y="45"/>
                  </a:lnTo>
                  <a:lnTo>
                    <a:pt x="188" y="45"/>
                  </a:lnTo>
                  <a:lnTo>
                    <a:pt x="188" y="45"/>
                  </a:lnTo>
                  <a:lnTo>
                    <a:pt x="188" y="45"/>
                  </a:lnTo>
                  <a:lnTo>
                    <a:pt x="188" y="45"/>
                  </a:lnTo>
                  <a:lnTo>
                    <a:pt x="186" y="43"/>
                  </a:lnTo>
                  <a:lnTo>
                    <a:pt x="186" y="43"/>
                  </a:lnTo>
                  <a:lnTo>
                    <a:pt x="186" y="41"/>
                  </a:lnTo>
                  <a:lnTo>
                    <a:pt x="186" y="41"/>
                  </a:lnTo>
                  <a:lnTo>
                    <a:pt x="186" y="41"/>
                  </a:lnTo>
                  <a:lnTo>
                    <a:pt x="188" y="41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39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6" y="36"/>
                  </a:lnTo>
                  <a:lnTo>
                    <a:pt x="184" y="36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0"/>
                  </a:lnTo>
                  <a:lnTo>
                    <a:pt x="182" y="30"/>
                  </a:lnTo>
                  <a:lnTo>
                    <a:pt x="182" y="30"/>
                  </a:lnTo>
                  <a:lnTo>
                    <a:pt x="179" y="30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7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79" y="18"/>
                  </a:lnTo>
                  <a:lnTo>
                    <a:pt x="179" y="18"/>
                  </a:lnTo>
                  <a:lnTo>
                    <a:pt x="179" y="18"/>
                  </a:lnTo>
                  <a:lnTo>
                    <a:pt x="179" y="18"/>
                  </a:lnTo>
                  <a:lnTo>
                    <a:pt x="182" y="18"/>
                  </a:lnTo>
                  <a:lnTo>
                    <a:pt x="179" y="18"/>
                  </a:lnTo>
                  <a:lnTo>
                    <a:pt x="179" y="18"/>
                  </a:lnTo>
                  <a:lnTo>
                    <a:pt x="179" y="16"/>
                  </a:lnTo>
                  <a:lnTo>
                    <a:pt x="179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6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182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86" y="14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88" y="12"/>
                  </a:lnTo>
                  <a:lnTo>
                    <a:pt x="191" y="12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1" y="9"/>
                  </a:lnTo>
                  <a:lnTo>
                    <a:pt x="193" y="7"/>
                  </a:lnTo>
                  <a:lnTo>
                    <a:pt x="193" y="7"/>
                  </a:lnTo>
                  <a:lnTo>
                    <a:pt x="195" y="7"/>
                  </a:lnTo>
                  <a:lnTo>
                    <a:pt x="195" y="7"/>
                  </a:lnTo>
                  <a:lnTo>
                    <a:pt x="195" y="7"/>
                  </a:lnTo>
                  <a:lnTo>
                    <a:pt x="197" y="7"/>
                  </a:lnTo>
                  <a:lnTo>
                    <a:pt x="197" y="7"/>
                  </a:lnTo>
                  <a:lnTo>
                    <a:pt x="200" y="7"/>
                  </a:lnTo>
                  <a:lnTo>
                    <a:pt x="200" y="5"/>
                  </a:lnTo>
                  <a:lnTo>
                    <a:pt x="202" y="7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204" y="5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6" y="5"/>
                  </a:lnTo>
                  <a:lnTo>
                    <a:pt x="209" y="5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11" y="5"/>
                  </a:lnTo>
                  <a:lnTo>
                    <a:pt x="213" y="5"/>
                  </a:lnTo>
                  <a:lnTo>
                    <a:pt x="213" y="5"/>
                  </a:lnTo>
                  <a:lnTo>
                    <a:pt x="215" y="5"/>
                  </a:lnTo>
                  <a:lnTo>
                    <a:pt x="215" y="5"/>
                  </a:lnTo>
                  <a:lnTo>
                    <a:pt x="215" y="5"/>
                  </a:lnTo>
                  <a:lnTo>
                    <a:pt x="218" y="5"/>
                  </a:lnTo>
                  <a:lnTo>
                    <a:pt x="220" y="5"/>
                  </a:lnTo>
                  <a:lnTo>
                    <a:pt x="222" y="5"/>
                  </a:lnTo>
                  <a:lnTo>
                    <a:pt x="222" y="5"/>
                  </a:lnTo>
                  <a:lnTo>
                    <a:pt x="224" y="7"/>
                  </a:lnTo>
                  <a:lnTo>
                    <a:pt x="224" y="7"/>
                  </a:lnTo>
                  <a:lnTo>
                    <a:pt x="227" y="7"/>
                  </a:lnTo>
                  <a:lnTo>
                    <a:pt x="227" y="7"/>
                  </a:lnTo>
                  <a:lnTo>
                    <a:pt x="227" y="7"/>
                  </a:lnTo>
                  <a:lnTo>
                    <a:pt x="227" y="5"/>
                  </a:lnTo>
                  <a:lnTo>
                    <a:pt x="227" y="5"/>
                  </a:lnTo>
                  <a:lnTo>
                    <a:pt x="227" y="5"/>
                  </a:lnTo>
                  <a:lnTo>
                    <a:pt x="227" y="5"/>
                  </a:lnTo>
                  <a:lnTo>
                    <a:pt x="229" y="5"/>
                  </a:lnTo>
                  <a:lnTo>
                    <a:pt x="229" y="5"/>
                  </a:lnTo>
                  <a:lnTo>
                    <a:pt x="229" y="5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1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3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3"/>
                  </a:lnTo>
                  <a:lnTo>
                    <a:pt x="236" y="0"/>
                  </a:lnTo>
                  <a:lnTo>
                    <a:pt x="236" y="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8" y="0"/>
                  </a:lnTo>
                  <a:lnTo>
                    <a:pt x="238" y="3"/>
                  </a:lnTo>
                  <a:lnTo>
                    <a:pt x="240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3" name="Freeform 528"/>
            <p:cNvSpPr>
              <a:spLocks noEditPoints="1"/>
            </p:cNvSpPr>
            <p:nvPr/>
          </p:nvSpPr>
          <p:spPr bwMode="auto">
            <a:xfrm>
              <a:off x="7439349" y="2916097"/>
              <a:ext cx="259071" cy="387771"/>
            </a:xfrm>
            <a:custGeom>
              <a:avLst/>
              <a:gdLst>
                <a:gd name="T0" fmla="*/ 137 w 155"/>
                <a:gd name="T1" fmla="*/ 142 h 232"/>
                <a:gd name="T2" fmla="*/ 141 w 155"/>
                <a:gd name="T3" fmla="*/ 138 h 232"/>
                <a:gd name="T4" fmla="*/ 139 w 155"/>
                <a:gd name="T5" fmla="*/ 147 h 232"/>
                <a:gd name="T6" fmla="*/ 85 w 155"/>
                <a:gd name="T7" fmla="*/ 45 h 232"/>
                <a:gd name="T8" fmla="*/ 110 w 155"/>
                <a:gd name="T9" fmla="*/ 63 h 232"/>
                <a:gd name="T10" fmla="*/ 123 w 155"/>
                <a:gd name="T11" fmla="*/ 66 h 232"/>
                <a:gd name="T12" fmla="*/ 128 w 155"/>
                <a:gd name="T13" fmla="*/ 68 h 232"/>
                <a:gd name="T14" fmla="*/ 130 w 155"/>
                <a:gd name="T15" fmla="*/ 68 h 232"/>
                <a:gd name="T16" fmla="*/ 137 w 155"/>
                <a:gd name="T17" fmla="*/ 77 h 232"/>
                <a:gd name="T18" fmla="*/ 144 w 155"/>
                <a:gd name="T19" fmla="*/ 86 h 232"/>
                <a:gd name="T20" fmla="*/ 150 w 155"/>
                <a:gd name="T21" fmla="*/ 93 h 232"/>
                <a:gd name="T22" fmla="*/ 155 w 155"/>
                <a:gd name="T23" fmla="*/ 93 h 232"/>
                <a:gd name="T24" fmla="*/ 155 w 155"/>
                <a:gd name="T25" fmla="*/ 102 h 232"/>
                <a:gd name="T26" fmla="*/ 148 w 155"/>
                <a:gd name="T27" fmla="*/ 117 h 232"/>
                <a:gd name="T28" fmla="*/ 137 w 155"/>
                <a:gd name="T29" fmla="*/ 133 h 232"/>
                <a:gd name="T30" fmla="*/ 137 w 155"/>
                <a:gd name="T31" fmla="*/ 135 h 232"/>
                <a:gd name="T32" fmla="*/ 132 w 155"/>
                <a:gd name="T33" fmla="*/ 140 h 232"/>
                <a:gd name="T34" fmla="*/ 130 w 155"/>
                <a:gd name="T35" fmla="*/ 144 h 232"/>
                <a:gd name="T36" fmla="*/ 128 w 155"/>
                <a:gd name="T37" fmla="*/ 142 h 232"/>
                <a:gd name="T38" fmla="*/ 123 w 155"/>
                <a:gd name="T39" fmla="*/ 142 h 232"/>
                <a:gd name="T40" fmla="*/ 121 w 155"/>
                <a:gd name="T41" fmla="*/ 147 h 232"/>
                <a:gd name="T42" fmla="*/ 119 w 155"/>
                <a:gd name="T43" fmla="*/ 156 h 232"/>
                <a:gd name="T44" fmla="*/ 119 w 155"/>
                <a:gd name="T45" fmla="*/ 167 h 232"/>
                <a:gd name="T46" fmla="*/ 121 w 155"/>
                <a:gd name="T47" fmla="*/ 178 h 232"/>
                <a:gd name="T48" fmla="*/ 101 w 155"/>
                <a:gd name="T49" fmla="*/ 185 h 232"/>
                <a:gd name="T50" fmla="*/ 96 w 155"/>
                <a:gd name="T51" fmla="*/ 198 h 232"/>
                <a:gd name="T52" fmla="*/ 87 w 155"/>
                <a:gd name="T53" fmla="*/ 203 h 232"/>
                <a:gd name="T54" fmla="*/ 74 w 155"/>
                <a:gd name="T55" fmla="*/ 205 h 232"/>
                <a:gd name="T56" fmla="*/ 72 w 155"/>
                <a:gd name="T57" fmla="*/ 216 h 232"/>
                <a:gd name="T58" fmla="*/ 72 w 155"/>
                <a:gd name="T59" fmla="*/ 221 h 232"/>
                <a:gd name="T60" fmla="*/ 67 w 155"/>
                <a:gd name="T61" fmla="*/ 225 h 232"/>
                <a:gd name="T62" fmla="*/ 60 w 155"/>
                <a:gd name="T63" fmla="*/ 223 h 232"/>
                <a:gd name="T64" fmla="*/ 54 w 155"/>
                <a:gd name="T65" fmla="*/ 223 h 232"/>
                <a:gd name="T66" fmla="*/ 45 w 155"/>
                <a:gd name="T67" fmla="*/ 228 h 232"/>
                <a:gd name="T68" fmla="*/ 33 w 155"/>
                <a:gd name="T69" fmla="*/ 230 h 232"/>
                <a:gd name="T70" fmla="*/ 18 w 155"/>
                <a:gd name="T71" fmla="*/ 214 h 232"/>
                <a:gd name="T72" fmla="*/ 0 w 155"/>
                <a:gd name="T73" fmla="*/ 176 h 232"/>
                <a:gd name="T74" fmla="*/ 58 w 155"/>
                <a:gd name="T75" fmla="*/ 153 h 232"/>
                <a:gd name="T76" fmla="*/ 69 w 155"/>
                <a:gd name="T77" fmla="*/ 111 h 232"/>
                <a:gd name="T78" fmla="*/ 60 w 155"/>
                <a:gd name="T79" fmla="*/ 79 h 232"/>
                <a:gd name="T80" fmla="*/ 63 w 155"/>
                <a:gd name="T81" fmla="*/ 59 h 232"/>
                <a:gd name="T82" fmla="*/ 69 w 155"/>
                <a:gd name="T83" fmla="*/ 57 h 232"/>
                <a:gd name="T84" fmla="*/ 69 w 155"/>
                <a:gd name="T85" fmla="*/ 48 h 232"/>
                <a:gd name="T86" fmla="*/ 67 w 155"/>
                <a:gd name="T87" fmla="*/ 41 h 232"/>
                <a:gd name="T88" fmla="*/ 72 w 155"/>
                <a:gd name="T89" fmla="*/ 36 h 232"/>
                <a:gd name="T90" fmla="*/ 76 w 155"/>
                <a:gd name="T91" fmla="*/ 36 h 232"/>
                <a:gd name="T92" fmla="*/ 76 w 155"/>
                <a:gd name="T93" fmla="*/ 27 h 232"/>
                <a:gd name="T94" fmla="*/ 76 w 155"/>
                <a:gd name="T95" fmla="*/ 0 h 232"/>
                <a:gd name="T96" fmla="*/ 78 w 155"/>
                <a:gd name="T97" fmla="*/ 3 h 232"/>
                <a:gd name="T98" fmla="*/ 78 w 155"/>
                <a:gd name="T99" fmla="*/ 5 h 232"/>
                <a:gd name="T100" fmla="*/ 76 w 155"/>
                <a:gd name="T101" fmla="*/ 7 h 232"/>
                <a:gd name="T102" fmla="*/ 74 w 155"/>
                <a:gd name="T103" fmla="*/ 7 h 232"/>
                <a:gd name="T104" fmla="*/ 76 w 155"/>
                <a:gd name="T105" fmla="*/ 9 h 232"/>
                <a:gd name="T106" fmla="*/ 76 w 155"/>
                <a:gd name="T107" fmla="*/ 12 h 232"/>
                <a:gd name="T108" fmla="*/ 74 w 155"/>
                <a:gd name="T109" fmla="*/ 16 h 232"/>
                <a:gd name="T110" fmla="*/ 72 w 155"/>
                <a:gd name="T111" fmla="*/ 16 h 232"/>
                <a:gd name="T112" fmla="*/ 69 w 155"/>
                <a:gd name="T113" fmla="*/ 7 h 232"/>
                <a:gd name="T114" fmla="*/ 74 w 155"/>
                <a:gd name="T115" fmla="*/ 5 h 232"/>
                <a:gd name="T116" fmla="*/ 74 w 155"/>
                <a:gd name="T117" fmla="*/ 5 h 232"/>
                <a:gd name="T118" fmla="*/ 74 w 155"/>
                <a:gd name="T119" fmla="*/ 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5" h="232">
                  <a:moveTo>
                    <a:pt x="137" y="149"/>
                  </a:moveTo>
                  <a:lnTo>
                    <a:pt x="137" y="149"/>
                  </a:lnTo>
                  <a:lnTo>
                    <a:pt x="137" y="149"/>
                  </a:lnTo>
                  <a:lnTo>
                    <a:pt x="137" y="147"/>
                  </a:lnTo>
                  <a:lnTo>
                    <a:pt x="137" y="147"/>
                  </a:lnTo>
                  <a:lnTo>
                    <a:pt x="137" y="147"/>
                  </a:lnTo>
                  <a:lnTo>
                    <a:pt x="137" y="147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7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9" y="138"/>
                  </a:lnTo>
                  <a:lnTo>
                    <a:pt x="139" y="138"/>
                  </a:lnTo>
                  <a:lnTo>
                    <a:pt x="139" y="138"/>
                  </a:lnTo>
                  <a:lnTo>
                    <a:pt x="139" y="135"/>
                  </a:lnTo>
                  <a:lnTo>
                    <a:pt x="141" y="135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1" y="140"/>
                  </a:lnTo>
                  <a:lnTo>
                    <a:pt x="141" y="140"/>
                  </a:lnTo>
                  <a:lnTo>
                    <a:pt x="141" y="140"/>
                  </a:lnTo>
                  <a:lnTo>
                    <a:pt x="141" y="140"/>
                  </a:lnTo>
                  <a:lnTo>
                    <a:pt x="141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4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7" y="147"/>
                  </a:lnTo>
                  <a:lnTo>
                    <a:pt x="137" y="147"/>
                  </a:lnTo>
                  <a:lnTo>
                    <a:pt x="137" y="147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7" y="149"/>
                  </a:lnTo>
                  <a:close/>
                  <a:moveTo>
                    <a:pt x="81" y="41"/>
                  </a:moveTo>
                  <a:lnTo>
                    <a:pt x="83" y="41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7" y="48"/>
                  </a:lnTo>
                  <a:lnTo>
                    <a:pt x="90" y="50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6" y="59"/>
                  </a:lnTo>
                  <a:lnTo>
                    <a:pt x="99" y="59"/>
                  </a:lnTo>
                  <a:lnTo>
                    <a:pt x="101" y="61"/>
                  </a:lnTo>
                  <a:lnTo>
                    <a:pt x="105" y="61"/>
                  </a:lnTo>
                  <a:lnTo>
                    <a:pt x="105" y="61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6"/>
                  </a:lnTo>
                  <a:lnTo>
                    <a:pt x="119" y="66"/>
                  </a:lnTo>
                  <a:lnTo>
                    <a:pt x="119" y="66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1" y="66"/>
                  </a:lnTo>
                  <a:lnTo>
                    <a:pt x="123" y="66"/>
                  </a:lnTo>
                  <a:lnTo>
                    <a:pt x="123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6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2" y="70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5"/>
                  </a:lnTo>
                  <a:lnTo>
                    <a:pt x="135" y="75"/>
                  </a:lnTo>
                  <a:lnTo>
                    <a:pt x="135" y="75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7" y="77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41" y="81"/>
                  </a:lnTo>
                  <a:lnTo>
                    <a:pt x="141" y="81"/>
                  </a:lnTo>
                  <a:lnTo>
                    <a:pt x="141" y="84"/>
                  </a:lnTo>
                  <a:lnTo>
                    <a:pt x="144" y="84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6" y="88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50" y="93"/>
                  </a:lnTo>
                  <a:lnTo>
                    <a:pt x="148" y="93"/>
                  </a:lnTo>
                  <a:lnTo>
                    <a:pt x="148" y="93"/>
                  </a:lnTo>
                  <a:lnTo>
                    <a:pt x="148" y="90"/>
                  </a:lnTo>
                  <a:lnTo>
                    <a:pt x="148" y="93"/>
                  </a:lnTo>
                  <a:lnTo>
                    <a:pt x="148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0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3" y="93"/>
                  </a:lnTo>
                  <a:lnTo>
                    <a:pt x="153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3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102"/>
                  </a:lnTo>
                  <a:lnTo>
                    <a:pt x="155" y="104"/>
                  </a:lnTo>
                  <a:lnTo>
                    <a:pt x="153" y="104"/>
                  </a:lnTo>
                  <a:lnTo>
                    <a:pt x="153" y="104"/>
                  </a:lnTo>
                  <a:lnTo>
                    <a:pt x="153" y="104"/>
                  </a:lnTo>
                  <a:lnTo>
                    <a:pt x="153" y="106"/>
                  </a:lnTo>
                  <a:lnTo>
                    <a:pt x="153" y="106"/>
                  </a:lnTo>
                  <a:lnTo>
                    <a:pt x="153" y="106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0" y="111"/>
                  </a:lnTo>
                  <a:lnTo>
                    <a:pt x="150" y="113"/>
                  </a:lnTo>
                  <a:lnTo>
                    <a:pt x="150" y="115"/>
                  </a:lnTo>
                  <a:lnTo>
                    <a:pt x="148" y="117"/>
                  </a:lnTo>
                  <a:lnTo>
                    <a:pt x="148" y="117"/>
                  </a:lnTo>
                  <a:lnTo>
                    <a:pt x="148" y="117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4" y="120"/>
                  </a:lnTo>
                  <a:lnTo>
                    <a:pt x="141" y="122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6"/>
                  </a:lnTo>
                  <a:lnTo>
                    <a:pt x="139" y="129"/>
                  </a:lnTo>
                  <a:lnTo>
                    <a:pt x="137" y="129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37" y="131"/>
                  </a:lnTo>
                  <a:lnTo>
                    <a:pt x="137" y="131"/>
                  </a:lnTo>
                  <a:lnTo>
                    <a:pt x="137" y="131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3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3"/>
                  </a:lnTo>
                  <a:lnTo>
                    <a:pt x="137" y="133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5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38"/>
                  </a:lnTo>
                  <a:lnTo>
                    <a:pt x="135" y="140"/>
                  </a:lnTo>
                  <a:lnTo>
                    <a:pt x="132" y="140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30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8" y="144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38"/>
                  </a:lnTo>
                  <a:lnTo>
                    <a:pt x="128" y="138"/>
                  </a:lnTo>
                  <a:lnTo>
                    <a:pt x="126" y="138"/>
                  </a:lnTo>
                  <a:lnTo>
                    <a:pt x="126" y="138"/>
                  </a:lnTo>
                  <a:lnTo>
                    <a:pt x="126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0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3" y="142"/>
                  </a:lnTo>
                  <a:lnTo>
                    <a:pt x="121" y="142"/>
                  </a:lnTo>
                  <a:lnTo>
                    <a:pt x="121" y="142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4"/>
                  </a:lnTo>
                  <a:lnTo>
                    <a:pt x="121" y="147"/>
                  </a:lnTo>
                  <a:lnTo>
                    <a:pt x="121" y="147"/>
                  </a:lnTo>
                  <a:lnTo>
                    <a:pt x="119" y="147"/>
                  </a:lnTo>
                  <a:lnTo>
                    <a:pt x="119" y="147"/>
                  </a:lnTo>
                  <a:lnTo>
                    <a:pt x="119" y="147"/>
                  </a:lnTo>
                  <a:lnTo>
                    <a:pt x="119" y="147"/>
                  </a:lnTo>
                  <a:lnTo>
                    <a:pt x="119" y="147"/>
                  </a:lnTo>
                  <a:lnTo>
                    <a:pt x="119" y="149"/>
                  </a:lnTo>
                  <a:lnTo>
                    <a:pt x="119" y="149"/>
                  </a:lnTo>
                  <a:lnTo>
                    <a:pt x="119" y="149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6"/>
                  </a:lnTo>
                  <a:lnTo>
                    <a:pt x="119" y="156"/>
                  </a:lnTo>
                  <a:lnTo>
                    <a:pt x="119" y="156"/>
                  </a:lnTo>
                  <a:lnTo>
                    <a:pt x="117" y="158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5"/>
                  </a:lnTo>
                  <a:lnTo>
                    <a:pt x="119" y="165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9"/>
                  </a:lnTo>
                  <a:lnTo>
                    <a:pt x="119" y="169"/>
                  </a:lnTo>
                  <a:lnTo>
                    <a:pt x="119" y="169"/>
                  </a:lnTo>
                  <a:lnTo>
                    <a:pt x="119" y="169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19" y="178"/>
                  </a:lnTo>
                  <a:lnTo>
                    <a:pt x="119" y="178"/>
                  </a:lnTo>
                  <a:lnTo>
                    <a:pt x="119" y="178"/>
                  </a:lnTo>
                  <a:lnTo>
                    <a:pt x="114" y="178"/>
                  </a:lnTo>
                  <a:lnTo>
                    <a:pt x="110" y="178"/>
                  </a:lnTo>
                  <a:lnTo>
                    <a:pt x="108" y="180"/>
                  </a:lnTo>
                  <a:lnTo>
                    <a:pt x="103" y="180"/>
                  </a:lnTo>
                  <a:lnTo>
                    <a:pt x="103" y="183"/>
                  </a:lnTo>
                  <a:lnTo>
                    <a:pt x="101" y="183"/>
                  </a:lnTo>
                  <a:lnTo>
                    <a:pt x="101" y="183"/>
                  </a:lnTo>
                  <a:lnTo>
                    <a:pt x="101" y="183"/>
                  </a:lnTo>
                  <a:lnTo>
                    <a:pt x="101" y="185"/>
                  </a:lnTo>
                  <a:lnTo>
                    <a:pt x="99" y="187"/>
                  </a:lnTo>
                  <a:lnTo>
                    <a:pt x="99" y="187"/>
                  </a:lnTo>
                  <a:lnTo>
                    <a:pt x="99" y="187"/>
                  </a:lnTo>
                  <a:lnTo>
                    <a:pt x="99" y="189"/>
                  </a:lnTo>
                  <a:lnTo>
                    <a:pt x="99" y="189"/>
                  </a:lnTo>
                  <a:lnTo>
                    <a:pt x="99" y="189"/>
                  </a:lnTo>
                  <a:lnTo>
                    <a:pt x="99" y="189"/>
                  </a:lnTo>
                  <a:lnTo>
                    <a:pt x="99" y="189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4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3"/>
                  </a:lnTo>
                  <a:lnTo>
                    <a:pt x="94" y="203"/>
                  </a:lnTo>
                  <a:lnTo>
                    <a:pt x="90" y="201"/>
                  </a:lnTo>
                  <a:lnTo>
                    <a:pt x="90" y="201"/>
                  </a:lnTo>
                  <a:lnTo>
                    <a:pt x="90" y="203"/>
                  </a:lnTo>
                  <a:lnTo>
                    <a:pt x="87" y="203"/>
                  </a:lnTo>
                  <a:lnTo>
                    <a:pt x="87" y="203"/>
                  </a:lnTo>
                  <a:lnTo>
                    <a:pt x="85" y="203"/>
                  </a:lnTo>
                  <a:lnTo>
                    <a:pt x="85" y="203"/>
                  </a:lnTo>
                  <a:lnTo>
                    <a:pt x="85" y="203"/>
                  </a:lnTo>
                  <a:lnTo>
                    <a:pt x="78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6" y="203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4" y="207"/>
                  </a:lnTo>
                  <a:lnTo>
                    <a:pt x="72" y="210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4"/>
                  </a:lnTo>
                  <a:lnTo>
                    <a:pt x="72" y="214"/>
                  </a:lnTo>
                  <a:lnTo>
                    <a:pt x="72" y="214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6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19"/>
                  </a:lnTo>
                  <a:lnTo>
                    <a:pt x="72" y="221"/>
                  </a:lnTo>
                  <a:lnTo>
                    <a:pt x="72" y="221"/>
                  </a:lnTo>
                  <a:lnTo>
                    <a:pt x="72" y="221"/>
                  </a:lnTo>
                  <a:lnTo>
                    <a:pt x="72" y="221"/>
                  </a:lnTo>
                  <a:lnTo>
                    <a:pt x="69" y="221"/>
                  </a:lnTo>
                  <a:lnTo>
                    <a:pt x="69" y="221"/>
                  </a:lnTo>
                  <a:lnTo>
                    <a:pt x="69" y="221"/>
                  </a:lnTo>
                  <a:lnTo>
                    <a:pt x="69" y="221"/>
                  </a:lnTo>
                  <a:lnTo>
                    <a:pt x="69" y="223"/>
                  </a:lnTo>
                  <a:lnTo>
                    <a:pt x="69" y="223"/>
                  </a:lnTo>
                  <a:lnTo>
                    <a:pt x="69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8" y="223"/>
                  </a:lnTo>
                  <a:lnTo>
                    <a:pt x="56" y="223"/>
                  </a:lnTo>
                  <a:lnTo>
                    <a:pt x="56" y="223"/>
                  </a:lnTo>
                  <a:lnTo>
                    <a:pt x="56" y="223"/>
                  </a:lnTo>
                  <a:lnTo>
                    <a:pt x="56" y="223"/>
                  </a:lnTo>
                  <a:lnTo>
                    <a:pt x="56" y="223"/>
                  </a:lnTo>
                  <a:lnTo>
                    <a:pt x="56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49" y="223"/>
                  </a:lnTo>
                  <a:lnTo>
                    <a:pt x="47" y="223"/>
                  </a:lnTo>
                  <a:lnTo>
                    <a:pt x="47" y="223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5" y="228"/>
                  </a:lnTo>
                  <a:lnTo>
                    <a:pt x="45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2" y="228"/>
                  </a:lnTo>
                  <a:lnTo>
                    <a:pt x="40" y="228"/>
                  </a:lnTo>
                  <a:lnTo>
                    <a:pt x="40" y="228"/>
                  </a:lnTo>
                  <a:lnTo>
                    <a:pt x="40" y="228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40" y="230"/>
                  </a:lnTo>
                  <a:lnTo>
                    <a:pt x="38" y="230"/>
                  </a:lnTo>
                  <a:lnTo>
                    <a:pt x="38" y="230"/>
                  </a:lnTo>
                  <a:lnTo>
                    <a:pt x="36" y="230"/>
                  </a:lnTo>
                  <a:lnTo>
                    <a:pt x="33" y="230"/>
                  </a:lnTo>
                  <a:lnTo>
                    <a:pt x="29" y="232"/>
                  </a:lnTo>
                  <a:lnTo>
                    <a:pt x="29" y="232"/>
                  </a:lnTo>
                  <a:lnTo>
                    <a:pt x="27" y="230"/>
                  </a:lnTo>
                  <a:lnTo>
                    <a:pt x="24" y="225"/>
                  </a:lnTo>
                  <a:lnTo>
                    <a:pt x="24" y="223"/>
                  </a:lnTo>
                  <a:lnTo>
                    <a:pt x="22" y="221"/>
                  </a:lnTo>
                  <a:lnTo>
                    <a:pt x="20" y="219"/>
                  </a:lnTo>
                  <a:lnTo>
                    <a:pt x="20" y="219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18" y="216"/>
                  </a:lnTo>
                  <a:lnTo>
                    <a:pt x="18" y="214"/>
                  </a:lnTo>
                  <a:lnTo>
                    <a:pt x="15" y="212"/>
                  </a:lnTo>
                  <a:lnTo>
                    <a:pt x="15" y="210"/>
                  </a:lnTo>
                  <a:lnTo>
                    <a:pt x="15" y="205"/>
                  </a:lnTo>
                  <a:lnTo>
                    <a:pt x="13" y="203"/>
                  </a:lnTo>
                  <a:lnTo>
                    <a:pt x="13" y="201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9" y="194"/>
                  </a:lnTo>
                  <a:lnTo>
                    <a:pt x="9" y="192"/>
                  </a:lnTo>
                  <a:lnTo>
                    <a:pt x="6" y="189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0"/>
                  </a:lnTo>
                  <a:lnTo>
                    <a:pt x="2" y="178"/>
                  </a:lnTo>
                  <a:lnTo>
                    <a:pt x="0" y="176"/>
                  </a:lnTo>
                  <a:lnTo>
                    <a:pt x="6" y="174"/>
                  </a:lnTo>
                  <a:lnTo>
                    <a:pt x="11" y="174"/>
                  </a:lnTo>
                  <a:lnTo>
                    <a:pt x="13" y="171"/>
                  </a:lnTo>
                  <a:lnTo>
                    <a:pt x="18" y="171"/>
                  </a:lnTo>
                  <a:lnTo>
                    <a:pt x="20" y="169"/>
                  </a:lnTo>
                  <a:lnTo>
                    <a:pt x="24" y="167"/>
                  </a:lnTo>
                  <a:lnTo>
                    <a:pt x="27" y="167"/>
                  </a:lnTo>
                  <a:lnTo>
                    <a:pt x="31" y="165"/>
                  </a:lnTo>
                  <a:lnTo>
                    <a:pt x="33" y="165"/>
                  </a:lnTo>
                  <a:lnTo>
                    <a:pt x="38" y="162"/>
                  </a:lnTo>
                  <a:lnTo>
                    <a:pt x="40" y="160"/>
                  </a:lnTo>
                  <a:lnTo>
                    <a:pt x="45" y="160"/>
                  </a:lnTo>
                  <a:lnTo>
                    <a:pt x="47" y="158"/>
                  </a:lnTo>
                  <a:lnTo>
                    <a:pt x="51" y="158"/>
                  </a:lnTo>
                  <a:lnTo>
                    <a:pt x="54" y="156"/>
                  </a:lnTo>
                  <a:lnTo>
                    <a:pt x="58" y="153"/>
                  </a:lnTo>
                  <a:lnTo>
                    <a:pt x="60" y="153"/>
                  </a:lnTo>
                  <a:lnTo>
                    <a:pt x="60" y="151"/>
                  </a:lnTo>
                  <a:lnTo>
                    <a:pt x="60" y="151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3" y="144"/>
                  </a:lnTo>
                  <a:lnTo>
                    <a:pt x="63" y="140"/>
                  </a:lnTo>
                  <a:lnTo>
                    <a:pt x="65" y="138"/>
                  </a:lnTo>
                  <a:lnTo>
                    <a:pt x="65" y="133"/>
                  </a:lnTo>
                  <a:lnTo>
                    <a:pt x="65" y="129"/>
                  </a:lnTo>
                  <a:lnTo>
                    <a:pt x="67" y="126"/>
                  </a:lnTo>
                  <a:lnTo>
                    <a:pt x="67" y="122"/>
                  </a:lnTo>
                  <a:lnTo>
                    <a:pt x="67" y="117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9" y="111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4"/>
                  </a:lnTo>
                  <a:lnTo>
                    <a:pt x="69" y="102"/>
                  </a:lnTo>
                  <a:lnTo>
                    <a:pt x="67" y="99"/>
                  </a:lnTo>
                  <a:lnTo>
                    <a:pt x="65" y="97"/>
                  </a:lnTo>
                  <a:lnTo>
                    <a:pt x="63" y="93"/>
                  </a:lnTo>
                  <a:lnTo>
                    <a:pt x="60" y="90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2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5" y="59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72" y="57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2" y="54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81" y="36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41"/>
                  </a:lnTo>
                  <a:close/>
                  <a:moveTo>
                    <a:pt x="76" y="27"/>
                  </a:moveTo>
                  <a:lnTo>
                    <a:pt x="76" y="30"/>
                  </a:lnTo>
                  <a:lnTo>
                    <a:pt x="74" y="30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close/>
                  <a:moveTo>
                    <a:pt x="74" y="0"/>
                  </a:move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3"/>
                  </a:lnTo>
                  <a:lnTo>
                    <a:pt x="76" y="0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6" y="3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4" name="Freeform 530"/>
            <p:cNvSpPr>
              <a:spLocks/>
            </p:cNvSpPr>
            <p:nvPr/>
          </p:nvSpPr>
          <p:spPr bwMode="auto">
            <a:xfrm>
              <a:off x="5737838" y="3415854"/>
              <a:ext cx="416185" cy="381085"/>
            </a:xfrm>
            <a:custGeom>
              <a:avLst/>
              <a:gdLst>
                <a:gd name="T0" fmla="*/ 99 w 249"/>
                <a:gd name="T1" fmla="*/ 18 h 228"/>
                <a:gd name="T2" fmla="*/ 124 w 249"/>
                <a:gd name="T3" fmla="*/ 21 h 228"/>
                <a:gd name="T4" fmla="*/ 166 w 249"/>
                <a:gd name="T5" fmla="*/ 12 h 228"/>
                <a:gd name="T6" fmla="*/ 202 w 249"/>
                <a:gd name="T7" fmla="*/ 18 h 228"/>
                <a:gd name="T8" fmla="*/ 207 w 249"/>
                <a:gd name="T9" fmla="*/ 14 h 228"/>
                <a:gd name="T10" fmla="*/ 211 w 249"/>
                <a:gd name="T11" fmla="*/ 9 h 228"/>
                <a:gd name="T12" fmla="*/ 218 w 249"/>
                <a:gd name="T13" fmla="*/ 7 h 228"/>
                <a:gd name="T14" fmla="*/ 238 w 249"/>
                <a:gd name="T15" fmla="*/ 18 h 228"/>
                <a:gd name="T16" fmla="*/ 249 w 249"/>
                <a:gd name="T17" fmla="*/ 41 h 228"/>
                <a:gd name="T18" fmla="*/ 249 w 249"/>
                <a:gd name="T19" fmla="*/ 52 h 228"/>
                <a:gd name="T20" fmla="*/ 238 w 249"/>
                <a:gd name="T21" fmla="*/ 63 h 228"/>
                <a:gd name="T22" fmla="*/ 225 w 249"/>
                <a:gd name="T23" fmla="*/ 88 h 228"/>
                <a:gd name="T24" fmla="*/ 213 w 249"/>
                <a:gd name="T25" fmla="*/ 106 h 228"/>
                <a:gd name="T26" fmla="*/ 209 w 249"/>
                <a:gd name="T27" fmla="*/ 124 h 228"/>
                <a:gd name="T28" fmla="*/ 200 w 249"/>
                <a:gd name="T29" fmla="*/ 131 h 228"/>
                <a:gd name="T30" fmla="*/ 191 w 249"/>
                <a:gd name="T31" fmla="*/ 158 h 228"/>
                <a:gd name="T32" fmla="*/ 189 w 249"/>
                <a:gd name="T33" fmla="*/ 165 h 228"/>
                <a:gd name="T34" fmla="*/ 180 w 249"/>
                <a:gd name="T35" fmla="*/ 176 h 228"/>
                <a:gd name="T36" fmla="*/ 164 w 249"/>
                <a:gd name="T37" fmla="*/ 165 h 228"/>
                <a:gd name="T38" fmla="*/ 144 w 249"/>
                <a:gd name="T39" fmla="*/ 176 h 228"/>
                <a:gd name="T40" fmla="*/ 130 w 249"/>
                <a:gd name="T41" fmla="*/ 189 h 228"/>
                <a:gd name="T42" fmla="*/ 128 w 249"/>
                <a:gd name="T43" fmla="*/ 203 h 228"/>
                <a:gd name="T44" fmla="*/ 124 w 249"/>
                <a:gd name="T45" fmla="*/ 216 h 228"/>
                <a:gd name="T46" fmla="*/ 121 w 249"/>
                <a:gd name="T47" fmla="*/ 214 h 228"/>
                <a:gd name="T48" fmla="*/ 117 w 249"/>
                <a:gd name="T49" fmla="*/ 214 h 228"/>
                <a:gd name="T50" fmla="*/ 112 w 249"/>
                <a:gd name="T51" fmla="*/ 221 h 228"/>
                <a:gd name="T52" fmla="*/ 103 w 249"/>
                <a:gd name="T53" fmla="*/ 221 h 228"/>
                <a:gd name="T54" fmla="*/ 101 w 249"/>
                <a:gd name="T55" fmla="*/ 221 h 228"/>
                <a:gd name="T56" fmla="*/ 97 w 249"/>
                <a:gd name="T57" fmla="*/ 223 h 228"/>
                <a:gd name="T58" fmla="*/ 94 w 249"/>
                <a:gd name="T59" fmla="*/ 221 h 228"/>
                <a:gd name="T60" fmla="*/ 92 w 249"/>
                <a:gd name="T61" fmla="*/ 221 h 228"/>
                <a:gd name="T62" fmla="*/ 90 w 249"/>
                <a:gd name="T63" fmla="*/ 221 h 228"/>
                <a:gd name="T64" fmla="*/ 90 w 249"/>
                <a:gd name="T65" fmla="*/ 225 h 228"/>
                <a:gd name="T66" fmla="*/ 85 w 249"/>
                <a:gd name="T67" fmla="*/ 216 h 228"/>
                <a:gd name="T68" fmla="*/ 88 w 249"/>
                <a:gd name="T69" fmla="*/ 221 h 228"/>
                <a:gd name="T70" fmla="*/ 85 w 249"/>
                <a:gd name="T71" fmla="*/ 221 h 228"/>
                <a:gd name="T72" fmla="*/ 83 w 249"/>
                <a:gd name="T73" fmla="*/ 225 h 228"/>
                <a:gd name="T74" fmla="*/ 76 w 249"/>
                <a:gd name="T75" fmla="*/ 225 h 228"/>
                <a:gd name="T76" fmla="*/ 74 w 249"/>
                <a:gd name="T77" fmla="*/ 228 h 228"/>
                <a:gd name="T78" fmla="*/ 72 w 249"/>
                <a:gd name="T79" fmla="*/ 225 h 228"/>
                <a:gd name="T80" fmla="*/ 67 w 249"/>
                <a:gd name="T81" fmla="*/ 225 h 228"/>
                <a:gd name="T82" fmla="*/ 61 w 249"/>
                <a:gd name="T83" fmla="*/ 219 h 228"/>
                <a:gd name="T84" fmla="*/ 58 w 249"/>
                <a:gd name="T85" fmla="*/ 210 h 228"/>
                <a:gd name="T86" fmla="*/ 58 w 249"/>
                <a:gd name="T87" fmla="*/ 203 h 228"/>
                <a:gd name="T88" fmla="*/ 61 w 249"/>
                <a:gd name="T89" fmla="*/ 198 h 228"/>
                <a:gd name="T90" fmla="*/ 52 w 249"/>
                <a:gd name="T91" fmla="*/ 198 h 228"/>
                <a:gd name="T92" fmla="*/ 58 w 249"/>
                <a:gd name="T93" fmla="*/ 196 h 228"/>
                <a:gd name="T94" fmla="*/ 52 w 249"/>
                <a:gd name="T95" fmla="*/ 196 h 228"/>
                <a:gd name="T96" fmla="*/ 47 w 249"/>
                <a:gd name="T97" fmla="*/ 187 h 228"/>
                <a:gd name="T98" fmla="*/ 16 w 249"/>
                <a:gd name="T99" fmla="*/ 176 h 228"/>
                <a:gd name="T100" fmla="*/ 22 w 249"/>
                <a:gd name="T101" fmla="*/ 171 h 228"/>
                <a:gd name="T102" fmla="*/ 16 w 249"/>
                <a:gd name="T103" fmla="*/ 174 h 228"/>
                <a:gd name="T104" fmla="*/ 2 w 249"/>
                <a:gd name="T105" fmla="*/ 171 h 228"/>
                <a:gd name="T106" fmla="*/ 2 w 249"/>
                <a:gd name="T107" fmla="*/ 160 h 228"/>
                <a:gd name="T108" fmla="*/ 0 w 249"/>
                <a:gd name="T109" fmla="*/ 138 h 228"/>
                <a:gd name="T110" fmla="*/ 2 w 249"/>
                <a:gd name="T111" fmla="*/ 120 h 228"/>
                <a:gd name="T112" fmla="*/ 9 w 249"/>
                <a:gd name="T113" fmla="*/ 113 h 228"/>
                <a:gd name="T114" fmla="*/ 14 w 249"/>
                <a:gd name="T115" fmla="*/ 97 h 228"/>
                <a:gd name="T116" fmla="*/ 20 w 249"/>
                <a:gd name="T117" fmla="*/ 81 h 228"/>
                <a:gd name="T118" fmla="*/ 22 w 249"/>
                <a:gd name="T119" fmla="*/ 70 h 228"/>
                <a:gd name="T120" fmla="*/ 20 w 249"/>
                <a:gd name="T121" fmla="*/ 48 h 228"/>
                <a:gd name="T122" fmla="*/ 45 w 249"/>
                <a:gd name="T123" fmla="*/ 3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9" h="228">
                  <a:moveTo>
                    <a:pt x="61" y="0"/>
                  </a:move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9" y="9"/>
                  </a:lnTo>
                  <a:lnTo>
                    <a:pt x="83" y="12"/>
                  </a:lnTo>
                  <a:lnTo>
                    <a:pt x="85" y="16"/>
                  </a:lnTo>
                  <a:lnTo>
                    <a:pt x="88" y="18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9" y="18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8" y="12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6" y="23"/>
                  </a:lnTo>
                  <a:lnTo>
                    <a:pt x="130" y="23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1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8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66" y="12"/>
                  </a:lnTo>
                  <a:lnTo>
                    <a:pt x="169" y="12"/>
                  </a:lnTo>
                  <a:lnTo>
                    <a:pt x="173" y="12"/>
                  </a:lnTo>
                  <a:lnTo>
                    <a:pt x="182" y="12"/>
                  </a:lnTo>
                  <a:lnTo>
                    <a:pt x="189" y="14"/>
                  </a:lnTo>
                  <a:lnTo>
                    <a:pt x="191" y="14"/>
                  </a:lnTo>
                  <a:lnTo>
                    <a:pt x="193" y="16"/>
                  </a:lnTo>
                  <a:lnTo>
                    <a:pt x="195" y="18"/>
                  </a:lnTo>
                  <a:lnTo>
                    <a:pt x="195" y="18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198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202" y="18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4" y="18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7" y="16"/>
                  </a:lnTo>
                  <a:lnTo>
                    <a:pt x="207" y="16"/>
                  </a:lnTo>
                  <a:lnTo>
                    <a:pt x="204" y="16"/>
                  </a:lnTo>
                  <a:lnTo>
                    <a:pt x="204" y="16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9" y="14"/>
                  </a:lnTo>
                  <a:lnTo>
                    <a:pt x="209" y="14"/>
                  </a:lnTo>
                  <a:lnTo>
                    <a:pt x="209" y="14"/>
                  </a:lnTo>
                  <a:lnTo>
                    <a:pt x="209" y="14"/>
                  </a:lnTo>
                  <a:lnTo>
                    <a:pt x="209" y="14"/>
                  </a:lnTo>
                  <a:lnTo>
                    <a:pt x="209" y="12"/>
                  </a:lnTo>
                  <a:lnTo>
                    <a:pt x="209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12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1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3" y="9"/>
                  </a:lnTo>
                  <a:lnTo>
                    <a:pt x="216" y="7"/>
                  </a:lnTo>
                  <a:lnTo>
                    <a:pt x="216" y="7"/>
                  </a:lnTo>
                  <a:lnTo>
                    <a:pt x="216" y="7"/>
                  </a:lnTo>
                  <a:lnTo>
                    <a:pt x="216" y="7"/>
                  </a:lnTo>
                  <a:lnTo>
                    <a:pt x="216" y="7"/>
                  </a:lnTo>
                  <a:lnTo>
                    <a:pt x="216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18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2" y="5"/>
                  </a:lnTo>
                  <a:lnTo>
                    <a:pt x="222" y="3"/>
                  </a:lnTo>
                  <a:lnTo>
                    <a:pt x="222" y="3"/>
                  </a:lnTo>
                  <a:lnTo>
                    <a:pt x="222" y="3"/>
                  </a:lnTo>
                  <a:lnTo>
                    <a:pt x="227" y="3"/>
                  </a:lnTo>
                  <a:lnTo>
                    <a:pt x="238" y="18"/>
                  </a:lnTo>
                  <a:lnTo>
                    <a:pt x="240" y="32"/>
                  </a:lnTo>
                  <a:lnTo>
                    <a:pt x="240" y="32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40" y="36"/>
                  </a:lnTo>
                  <a:lnTo>
                    <a:pt x="240" y="36"/>
                  </a:lnTo>
                  <a:lnTo>
                    <a:pt x="240" y="36"/>
                  </a:lnTo>
                  <a:lnTo>
                    <a:pt x="245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7" y="39"/>
                  </a:lnTo>
                  <a:lnTo>
                    <a:pt x="247" y="39"/>
                  </a:lnTo>
                  <a:lnTo>
                    <a:pt x="247" y="39"/>
                  </a:lnTo>
                  <a:lnTo>
                    <a:pt x="247" y="39"/>
                  </a:lnTo>
                  <a:lnTo>
                    <a:pt x="247" y="39"/>
                  </a:lnTo>
                  <a:lnTo>
                    <a:pt x="247" y="39"/>
                  </a:lnTo>
                  <a:lnTo>
                    <a:pt x="249" y="39"/>
                  </a:lnTo>
                  <a:lnTo>
                    <a:pt x="249" y="39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39"/>
                  </a:lnTo>
                  <a:lnTo>
                    <a:pt x="249" y="39"/>
                  </a:lnTo>
                  <a:lnTo>
                    <a:pt x="249" y="39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1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3"/>
                  </a:lnTo>
                  <a:lnTo>
                    <a:pt x="249" y="45"/>
                  </a:lnTo>
                  <a:lnTo>
                    <a:pt x="249" y="45"/>
                  </a:lnTo>
                  <a:lnTo>
                    <a:pt x="249" y="45"/>
                  </a:lnTo>
                  <a:lnTo>
                    <a:pt x="249" y="45"/>
                  </a:lnTo>
                  <a:lnTo>
                    <a:pt x="249" y="48"/>
                  </a:lnTo>
                  <a:lnTo>
                    <a:pt x="249" y="50"/>
                  </a:lnTo>
                  <a:lnTo>
                    <a:pt x="249" y="50"/>
                  </a:lnTo>
                  <a:lnTo>
                    <a:pt x="247" y="50"/>
                  </a:lnTo>
                  <a:lnTo>
                    <a:pt x="247" y="52"/>
                  </a:lnTo>
                  <a:lnTo>
                    <a:pt x="247" y="52"/>
                  </a:lnTo>
                  <a:lnTo>
                    <a:pt x="247" y="52"/>
                  </a:lnTo>
                  <a:lnTo>
                    <a:pt x="247" y="52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9" y="54"/>
                  </a:lnTo>
                  <a:lnTo>
                    <a:pt x="249" y="54"/>
                  </a:lnTo>
                  <a:lnTo>
                    <a:pt x="249" y="54"/>
                  </a:lnTo>
                  <a:lnTo>
                    <a:pt x="249" y="54"/>
                  </a:lnTo>
                  <a:lnTo>
                    <a:pt x="249" y="57"/>
                  </a:lnTo>
                  <a:lnTo>
                    <a:pt x="249" y="57"/>
                  </a:lnTo>
                  <a:lnTo>
                    <a:pt x="249" y="57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9"/>
                  </a:lnTo>
                  <a:lnTo>
                    <a:pt x="245" y="59"/>
                  </a:lnTo>
                  <a:lnTo>
                    <a:pt x="245" y="59"/>
                  </a:lnTo>
                  <a:lnTo>
                    <a:pt x="245" y="59"/>
                  </a:lnTo>
                  <a:lnTo>
                    <a:pt x="243" y="61"/>
                  </a:lnTo>
                  <a:lnTo>
                    <a:pt x="243" y="61"/>
                  </a:lnTo>
                  <a:lnTo>
                    <a:pt x="243" y="61"/>
                  </a:lnTo>
                  <a:lnTo>
                    <a:pt x="240" y="61"/>
                  </a:lnTo>
                  <a:lnTo>
                    <a:pt x="240" y="61"/>
                  </a:lnTo>
                  <a:lnTo>
                    <a:pt x="240" y="61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38" y="63"/>
                  </a:lnTo>
                  <a:lnTo>
                    <a:pt x="238" y="61"/>
                  </a:lnTo>
                  <a:lnTo>
                    <a:pt x="236" y="61"/>
                  </a:lnTo>
                  <a:lnTo>
                    <a:pt x="236" y="61"/>
                  </a:lnTo>
                  <a:lnTo>
                    <a:pt x="236" y="61"/>
                  </a:lnTo>
                  <a:lnTo>
                    <a:pt x="234" y="63"/>
                  </a:lnTo>
                  <a:lnTo>
                    <a:pt x="234" y="63"/>
                  </a:lnTo>
                  <a:lnTo>
                    <a:pt x="234" y="66"/>
                  </a:lnTo>
                  <a:lnTo>
                    <a:pt x="234" y="66"/>
                  </a:lnTo>
                  <a:lnTo>
                    <a:pt x="234" y="66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31" y="68"/>
                  </a:lnTo>
                  <a:lnTo>
                    <a:pt x="231" y="70"/>
                  </a:lnTo>
                  <a:lnTo>
                    <a:pt x="227" y="75"/>
                  </a:lnTo>
                  <a:lnTo>
                    <a:pt x="227" y="77"/>
                  </a:lnTo>
                  <a:lnTo>
                    <a:pt x="227" y="79"/>
                  </a:lnTo>
                  <a:lnTo>
                    <a:pt x="225" y="84"/>
                  </a:lnTo>
                  <a:lnTo>
                    <a:pt x="225" y="86"/>
                  </a:lnTo>
                  <a:lnTo>
                    <a:pt x="225" y="86"/>
                  </a:lnTo>
                  <a:lnTo>
                    <a:pt x="225" y="86"/>
                  </a:lnTo>
                  <a:lnTo>
                    <a:pt x="225" y="88"/>
                  </a:lnTo>
                  <a:lnTo>
                    <a:pt x="225" y="88"/>
                  </a:lnTo>
                  <a:lnTo>
                    <a:pt x="225" y="88"/>
                  </a:lnTo>
                  <a:lnTo>
                    <a:pt x="225" y="88"/>
                  </a:lnTo>
                  <a:lnTo>
                    <a:pt x="225" y="88"/>
                  </a:lnTo>
                  <a:lnTo>
                    <a:pt x="225" y="88"/>
                  </a:lnTo>
                  <a:lnTo>
                    <a:pt x="222" y="90"/>
                  </a:lnTo>
                  <a:lnTo>
                    <a:pt x="222" y="90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2" y="97"/>
                  </a:lnTo>
                  <a:lnTo>
                    <a:pt x="222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9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18" y="104"/>
                  </a:lnTo>
                  <a:lnTo>
                    <a:pt x="218" y="104"/>
                  </a:lnTo>
                  <a:lnTo>
                    <a:pt x="216" y="104"/>
                  </a:lnTo>
                  <a:lnTo>
                    <a:pt x="216" y="104"/>
                  </a:lnTo>
                  <a:lnTo>
                    <a:pt x="216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3" y="111"/>
                  </a:lnTo>
                  <a:lnTo>
                    <a:pt x="213" y="111"/>
                  </a:lnTo>
                  <a:lnTo>
                    <a:pt x="213" y="113"/>
                  </a:lnTo>
                  <a:lnTo>
                    <a:pt x="213" y="113"/>
                  </a:lnTo>
                  <a:lnTo>
                    <a:pt x="213" y="115"/>
                  </a:lnTo>
                  <a:lnTo>
                    <a:pt x="213" y="115"/>
                  </a:lnTo>
                  <a:lnTo>
                    <a:pt x="211" y="120"/>
                  </a:lnTo>
                  <a:lnTo>
                    <a:pt x="211" y="120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09" y="122"/>
                  </a:lnTo>
                  <a:lnTo>
                    <a:pt x="209" y="122"/>
                  </a:lnTo>
                  <a:lnTo>
                    <a:pt x="209" y="122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7" y="124"/>
                  </a:lnTo>
                  <a:lnTo>
                    <a:pt x="207" y="124"/>
                  </a:lnTo>
                  <a:lnTo>
                    <a:pt x="207" y="124"/>
                  </a:lnTo>
                  <a:lnTo>
                    <a:pt x="207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4" y="124"/>
                  </a:lnTo>
                  <a:lnTo>
                    <a:pt x="202" y="124"/>
                  </a:lnTo>
                  <a:lnTo>
                    <a:pt x="202" y="126"/>
                  </a:lnTo>
                  <a:lnTo>
                    <a:pt x="204" y="126"/>
                  </a:lnTo>
                  <a:lnTo>
                    <a:pt x="204" y="126"/>
                  </a:lnTo>
                  <a:lnTo>
                    <a:pt x="204" y="129"/>
                  </a:lnTo>
                  <a:lnTo>
                    <a:pt x="204" y="129"/>
                  </a:lnTo>
                  <a:lnTo>
                    <a:pt x="202" y="129"/>
                  </a:lnTo>
                  <a:lnTo>
                    <a:pt x="202" y="129"/>
                  </a:lnTo>
                  <a:lnTo>
                    <a:pt x="202" y="129"/>
                  </a:lnTo>
                  <a:lnTo>
                    <a:pt x="202" y="129"/>
                  </a:lnTo>
                  <a:lnTo>
                    <a:pt x="202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31"/>
                  </a:lnTo>
                  <a:lnTo>
                    <a:pt x="200" y="133"/>
                  </a:lnTo>
                  <a:lnTo>
                    <a:pt x="200" y="135"/>
                  </a:lnTo>
                  <a:lnTo>
                    <a:pt x="200" y="135"/>
                  </a:lnTo>
                  <a:lnTo>
                    <a:pt x="200" y="135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0" y="140"/>
                  </a:lnTo>
                  <a:lnTo>
                    <a:pt x="200" y="140"/>
                  </a:lnTo>
                  <a:lnTo>
                    <a:pt x="200" y="140"/>
                  </a:lnTo>
                  <a:lnTo>
                    <a:pt x="198" y="142"/>
                  </a:lnTo>
                  <a:lnTo>
                    <a:pt x="195" y="144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5" y="149"/>
                  </a:lnTo>
                  <a:lnTo>
                    <a:pt x="195" y="149"/>
                  </a:lnTo>
                  <a:lnTo>
                    <a:pt x="195" y="149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3" y="153"/>
                  </a:lnTo>
                  <a:lnTo>
                    <a:pt x="191" y="156"/>
                  </a:lnTo>
                  <a:lnTo>
                    <a:pt x="191" y="156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58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3" y="162"/>
                  </a:lnTo>
                  <a:lnTo>
                    <a:pt x="193" y="162"/>
                  </a:lnTo>
                  <a:lnTo>
                    <a:pt x="193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89" y="165"/>
                  </a:lnTo>
                  <a:lnTo>
                    <a:pt x="189" y="165"/>
                  </a:lnTo>
                  <a:lnTo>
                    <a:pt x="189" y="165"/>
                  </a:lnTo>
                  <a:lnTo>
                    <a:pt x="189" y="165"/>
                  </a:lnTo>
                  <a:lnTo>
                    <a:pt x="186" y="167"/>
                  </a:lnTo>
                  <a:lnTo>
                    <a:pt x="186" y="167"/>
                  </a:lnTo>
                  <a:lnTo>
                    <a:pt x="186" y="167"/>
                  </a:lnTo>
                  <a:lnTo>
                    <a:pt x="186" y="167"/>
                  </a:lnTo>
                  <a:lnTo>
                    <a:pt x="186" y="169"/>
                  </a:lnTo>
                  <a:lnTo>
                    <a:pt x="186" y="169"/>
                  </a:lnTo>
                  <a:lnTo>
                    <a:pt x="186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2" y="174"/>
                  </a:lnTo>
                  <a:lnTo>
                    <a:pt x="182" y="176"/>
                  </a:lnTo>
                  <a:lnTo>
                    <a:pt x="182" y="176"/>
                  </a:lnTo>
                  <a:lnTo>
                    <a:pt x="182" y="176"/>
                  </a:lnTo>
                  <a:lnTo>
                    <a:pt x="182" y="176"/>
                  </a:lnTo>
                  <a:lnTo>
                    <a:pt x="182" y="176"/>
                  </a:lnTo>
                  <a:lnTo>
                    <a:pt x="182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78" y="176"/>
                  </a:lnTo>
                  <a:lnTo>
                    <a:pt x="175" y="176"/>
                  </a:lnTo>
                  <a:lnTo>
                    <a:pt x="175" y="174"/>
                  </a:lnTo>
                  <a:lnTo>
                    <a:pt x="175" y="174"/>
                  </a:lnTo>
                  <a:lnTo>
                    <a:pt x="175" y="171"/>
                  </a:lnTo>
                  <a:lnTo>
                    <a:pt x="175" y="171"/>
                  </a:lnTo>
                  <a:lnTo>
                    <a:pt x="175" y="169"/>
                  </a:lnTo>
                  <a:lnTo>
                    <a:pt x="175" y="169"/>
                  </a:lnTo>
                  <a:lnTo>
                    <a:pt x="173" y="169"/>
                  </a:lnTo>
                  <a:lnTo>
                    <a:pt x="173" y="167"/>
                  </a:lnTo>
                  <a:lnTo>
                    <a:pt x="171" y="167"/>
                  </a:lnTo>
                  <a:lnTo>
                    <a:pt x="171" y="165"/>
                  </a:lnTo>
                  <a:lnTo>
                    <a:pt x="171" y="165"/>
                  </a:lnTo>
                  <a:lnTo>
                    <a:pt x="171" y="165"/>
                  </a:lnTo>
                  <a:lnTo>
                    <a:pt x="169" y="162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66" y="162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5"/>
                  </a:lnTo>
                  <a:lnTo>
                    <a:pt x="164" y="165"/>
                  </a:lnTo>
                  <a:lnTo>
                    <a:pt x="164" y="165"/>
                  </a:lnTo>
                  <a:lnTo>
                    <a:pt x="164" y="165"/>
                  </a:lnTo>
                  <a:lnTo>
                    <a:pt x="164" y="165"/>
                  </a:lnTo>
                  <a:lnTo>
                    <a:pt x="164" y="165"/>
                  </a:lnTo>
                  <a:lnTo>
                    <a:pt x="164" y="165"/>
                  </a:lnTo>
                  <a:lnTo>
                    <a:pt x="164" y="167"/>
                  </a:lnTo>
                  <a:lnTo>
                    <a:pt x="160" y="167"/>
                  </a:lnTo>
                  <a:lnTo>
                    <a:pt x="157" y="167"/>
                  </a:lnTo>
                  <a:lnTo>
                    <a:pt x="157" y="167"/>
                  </a:lnTo>
                  <a:lnTo>
                    <a:pt x="157" y="165"/>
                  </a:lnTo>
                  <a:lnTo>
                    <a:pt x="157" y="165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5" y="162"/>
                  </a:lnTo>
                  <a:lnTo>
                    <a:pt x="151" y="169"/>
                  </a:lnTo>
                  <a:lnTo>
                    <a:pt x="151" y="169"/>
                  </a:lnTo>
                  <a:lnTo>
                    <a:pt x="151" y="169"/>
                  </a:lnTo>
                  <a:lnTo>
                    <a:pt x="151" y="169"/>
                  </a:lnTo>
                  <a:lnTo>
                    <a:pt x="148" y="169"/>
                  </a:lnTo>
                  <a:lnTo>
                    <a:pt x="148" y="169"/>
                  </a:lnTo>
                  <a:lnTo>
                    <a:pt x="148" y="174"/>
                  </a:lnTo>
                  <a:lnTo>
                    <a:pt x="146" y="174"/>
                  </a:lnTo>
                  <a:lnTo>
                    <a:pt x="146" y="174"/>
                  </a:lnTo>
                  <a:lnTo>
                    <a:pt x="146" y="176"/>
                  </a:lnTo>
                  <a:lnTo>
                    <a:pt x="146" y="176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6"/>
                  </a:lnTo>
                  <a:lnTo>
                    <a:pt x="144" y="178"/>
                  </a:lnTo>
                  <a:lnTo>
                    <a:pt x="142" y="178"/>
                  </a:lnTo>
                  <a:lnTo>
                    <a:pt x="142" y="178"/>
                  </a:lnTo>
                  <a:lnTo>
                    <a:pt x="142" y="180"/>
                  </a:lnTo>
                  <a:lnTo>
                    <a:pt x="142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0"/>
                  </a:lnTo>
                  <a:lnTo>
                    <a:pt x="139" y="183"/>
                  </a:lnTo>
                  <a:lnTo>
                    <a:pt x="135" y="185"/>
                  </a:lnTo>
                  <a:lnTo>
                    <a:pt x="133" y="187"/>
                  </a:lnTo>
                  <a:lnTo>
                    <a:pt x="133" y="187"/>
                  </a:lnTo>
                  <a:lnTo>
                    <a:pt x="133" y="187"/>
                  </a:lnTo>
                  <a:lnTo>
                    <a:pt x="133" y="187"/>
                  </a:lnTo>
                  <a:lnTo>
                    <a:pt x="133" y="189"/>
                  </a:lnTo>
                  <a:lnTo>
                    <a:pt x="133" y="189"/>
                  </a:lnTo>
                  <a:lnTo>
                    <a:pt x="133" y="189"/>
                  </a:lnTo>
                  <a:lnTo>
                    <a:pt x="133" y="189"/>
                  </a:lnTo>
                  <a:lnTo>
                    <a:pt x="133" y="189"/>
                  </a:lnTo>
                  <a:lnTo>
                    <a:pt x="133" y="189"/>
                  </a:lnTo>
                  <a:lnTo>
                    <a:pt x="130" y="189"/>
                  </a:lnTo>
                  <a:lnTo>
                    <a:pt x="130" y="189"/>
                  </a:lnTo>
                  <a:lnTo>
                    <a:pt x="130" y="189"/>
                  </a:lnTo>
                  <a:lnTo>
                    <a:pt x="130" y="192"/>
                  </a:lnTo>
                  <a:lnTo>
                    <a:pt x="130" y="192"/>
                  </a:lnTo>
                  <a:lnTo>
                    <a:pt x="130" y="192"/>
                  </a:lnTo>
                  <a:lnTo>
                    <a:pt x="130" y="192"/>
                  </a:lnTo>
                  <a:lnTo>
                    <a:pt x="130" y="192"/>
                  </a:lnTo>
                  <a:lnTo>
                    <a:pt x="130" y="194"/>
                  </a:lnTo>
                  <a:lnTo>
                    <a:pt x="130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30" y="194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30" y="198"/>
                  </a:lnTo>
                  <a:lnTo>
                    <a:pt x="130" y="201"/>
                  </a:lnTo>
                  <a:lnTo>
                    <a:pt x="130" y="201"/>
                  </a:lnTo>
                  <a:lnTo>
                    <a:pt x="130" y="201"/>
                  </a:lnTo>
                  <a:lnTo>
                    <a:pt x="130" y="201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6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4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9"/>
                  </a:lnTo>
                  <a:lnTo>
                    <a:pt x="124" y="219"/>
                  </a:lnTo>
                  <a:lnTo>
                    <a:pt x="124" y="219"/>
                  </a:lnTo>
                  <a:lnTo>
                    <a:pt x="124" y="219"/>
                  </a:lnTo>
                  <a:lnTo>
                    <a:pt x="121" y="219"/>
                  </a:lnTo>
                  <a:lnTo>
                    <a:pt x="121" y="219"/>
                  </a:lnTo>
                  <a:lnTo>
                    <a:pt x="121" y="219"/>
                  </a:lnTo>
                  <a:lnTo>
                    <a:pt x="121" y="219"/>
                  </a:lnTo>
                  <a:lnTo>
                    <a:pt x="121" y="219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1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7" y="214"/>
                  </a:lnTo>
                  <a:lnTo>
                    <a:pt x="117" y="214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5" y="212"/>
                  </a:lnTo>
                  <a:lnTo>
                    <a:pt x="115" y="212"/>
                  </a:lnTo>
                  <a:lnTo>
                    <a:pt x="115" y="212"/>
                  </a:lnTo>
                  <a:lnTo>
                    <a:pt x="117" y="212"/>
                  </a:lnTo>
                  <a:lnTo>
                    <a:pt x="117" y="212"/>
                  </a:lnTo>
                  <a:lnTo>
                    <a:pt x="117" y="214"/>
                  </a:lnTo>
                  <a:lnTo>
                    <a:pt x="117" y="214"/>
                  </a:lnTo>
                  <a:lnTo>
                    <a:pt x="117" y="214"/>
                  </a:lnTo>
                  <a:lnTo>
                    <a:pt x="117" y="214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19"/>
                  </a:lnTo>
                  <a:lnTo>
                    <a:pt x="119" y="221"/>
                  </a:lnTo>
                  <a:lnTo>
                    <a:pt x="119" y="221"/>
                  </a:lnTo>
                  <a:lnTo>
                    <a:pt x="119" y="221"/>
                  </a:lnTo>
                  <a:lnTo>
                    <a:pt x="119" y="221"/>
                  </a:lnTo>
                  <a:lnTo>
                    <a:pt x="119" y="221"/>
                  </a:lnTo>
                  <a:lnTo>
                    <a:pt x="117" y="221"/>
                  </a:lnTo>
                  <a:lnTo>
                    <a:pt x="117" y="221"/>
                  </a:lnTo>
                  <a:lnTo>
                    <a:pt x="117" y="221"/>
                  </a:lnTo>
                  <a:lnTo>
                    <a:pt x="115" y="221"/>
                  </a:lnTo>
                  <a:lnTo>
                    <a:pt x="115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0" y="221"/>
                  </a:lnTo>
                  <a:lnTo>
                    <a:pt x="108" y="223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3" y="221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3" y="219"/>
                  </a:lnTo>
                  <a:lnTo>
                    <a:pt x="103" y="219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1" y="219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9" y="221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1"/>
                  </a:lnTo>
                  <a:lnTo>
                    <a:pt x="94" y="221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2" y="216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4" y="219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0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2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6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19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5" y="219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4"/>
                  </a:lnTo>
                  <a:lnTo>
                    <a:pt x="85" y="214"/>
                  </a:lnTo>
                  <a:lnTo>
                    <a:pt x="85" y="214"/>
                  </a:lnTo>
                  <a:lnTo>
                    <a:pt x="85" y="214"/>
                  </a:lnTo>
                  <a:lnTo>
                    <a:pt x="85" y="214"/>
                  </a:lnTo>
                  <a:lnTo>
                    <a:pt x="85" y="214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6"/>
                  </a:lnTo>
                  <a:lnTo>
                    <a:pt x="85" y="219"/>
                  </a:lnTo>
                  <a:lnTo>
                    <a:pt x="85" y="219"/>
                  </a:lnTo>
                  <a:lnTo>
                    <a:pt x="85" y="219"/>
                  </a:lnTo>
                  <a:lnTo>
                    <a:pt x="85" y="219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8"/>
                  </a:lnTo>
                  <a:lnTo>
                    <a:pt x="85" y="228"/>
                  </a:lnTo>
                  <a:lnTo>
                    <a:pt x="85" y="228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3"/>
                  </a:lnTo>
                  <a:lnTo>
                    <a:pt x="85" y="223"/>
                  </a:lnTo>
                  <a:lnTo>
                    <a:pt x="85" y="223"/>
                  </a:lnTo>
                  <a:lnTo>
                    <a:pt x="85" y="223"/>
                  </a:lnTo>
                  <a:lnTo>
                    <a:pt x="85" y="223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5" y="223"/>
                  </a:lnTo>
                  <a:lnTo>
                    <a:pt x="85" y="223"/>
                  </a:lnTo>
                  <a:lnTo>
                    <a:pt x="85" y="223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5"/>
                  </a:lnTo>
                  <a:lnTo>
                    <a:pt x="83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5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3" y="225"/>
                  </a:lnTo>
                  <a:lnTo>
                    <a:pt x="83" y="225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5"/>
                  </a:lnTo>
                  <a:lnTo>
                    <a:pt x="81" y="225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79" y="228"/>
                  </a:lnTo>
                  <a:lnTo>
                    <a:pt x="79" y="225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9" y="228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4" y="228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3"/>
                  </a:lnTo>
                  <a:lnTo>
                    <a:pt x="74" y="223"/>
                  </a:lnTo>
                  <a:lnTo>
                    <a:pt x="74" y="223"/>
                  </a:lnTo>
                  <a:lnTo>
                    <a:pt x="74" y="223"/>
                  </a:lnTo>
                  <a:lnTo>
                    <a:pt x="74" y="223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3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0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70" y="228"/>
                  </a:lnTo>
                  <a:lnTo>
                    <a:pt x="67" y="228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3" y="223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58" y="214"/>
                  </a:lnTo>
                  <a:lnTo>
                    <a:pt x="58" y="214"/>
                  </a:lnTo>
                  <a:lnTo>
                    <a:pt x="61" y="214"/>
                  </a:lnTo>
                  <a:lnTo>
                    <a:pt x="58" y="214"/>
                  </a:lnTo>
                  <a:lnTo>
                    <a:pt x="58" y="214"/>
                  </a:lnTo>
                  <a:lnTo>
                    <a:pt x="58" y="212"/>
                  </a:lnTo>
                  <a:lnTo>
                    <a:pt x="58" y="210"/>
                  </a:lnTo>
                  <a:lnTo>
                    <a:pt x="58" y="210"/>
                  </a:lnTo>
                  <a:lnTo>
                    <a:pt x="58" y="210"/>
                  </a:lnTo>
                  <a:lnTo>
                    <a:pt x="58" y="210"/>
                  </a:lnTo>
                  <a:lnTo>
                    <a:pt x="58" y="210"/>
                  </a:lnTo>
                  <a:lnTo>
                    <a:pt x="58" y="210"/>
                  </a:lnTo>
                  <a:lnTo>
                    <a:pt x="56" y="210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10"/>
                  </a:lnTo>
                  <a:lnTo>
                    <a:pt x="58" y="210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8" y="207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6" y="207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58" y="203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203"/>
                  </a:lnTo>
                  <a:lnTo>
                    <a:pt x="61" y="203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201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3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61" y="198"/>
                  </a:lnTo>
                  <a:lnTo>
                    <a:pt x="58" y="201"/>
                  </a:lnTo>
                  <a:lnTo>
                    <a:pt x="61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8" y="201"/>
                  </a:lnTo>
                  <a:lnTo>
                    <a:pt x="56" y="201"/>
                  </a:lnTo>
                  <a:lnTo>
                    <a:pt x="54" y="201"/>
                  </a:lnTo>
                  <a:lnTo>
                    <a:pt x="54" y="201"/>
                  </a:lnTo>
                  <a:lnTo>
                    <a:pt x="54" y="201"/>
                  </a:lnTo>
                  <a:lnTo>
                    <a:pt x="54" y="201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4"/>
                  </a:lnTo>
                  <a:lnTo>
                    <a:pt x="56" y="194"/>
                  </a:lnTo>
                  <a:lnTo>
                    <a:pt x="56" y="194"/>
                  </a:lnTo>
                  <a:lnTo>
                    <a:pt x="56" y="194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2" y="192"/>
                  </a:lnTo>
                  <a:lnTo>
                    <a:pt x="52" y="192"/>
                  </a:lnTo>
                  <a:lnTo>
                    <a:pt x="49" y="192"/>
                  </a:lnTo>
                  <a:lnTo>
                    <a:pt x="49" y="192"/>
                  </a:lnTo>
                  <a:lnTo>
                    <a:pt x="49" y="192"/>
                  </a:lnTo>
                  <a:lnTo>
                    <a:pt x="47" y="187"/>
                  </a:lnTo>
                  <a:lnTo>
                    <a:pt x="45" y="187"/>
                  </a:lnTo>
                  <a:lnTo>
                    <a:pt x="45" y="187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3" y="185"/>
                  </a:lnTo>
                  <a:lnTo>
                    <a:pt x="43" y="183"/>
                  </a:lnTo>
                  <a:lnTo>
                    <a:pt x="40" y="183"/>
                  </a:lnTo>
                  <a:lnTo>
                    <a:pt x="40" y="183"/>
                  </a:lnTo>
                  <a:lnTo>
                    <a:pt x="38" y="180"/>
                  </a:lnTo>
                  <a:lnTo>
                    <a:pt x="38" y="180"/>
                  </a:lnTo>
                  <a:lnTo>
                    <a:pt x="36" y="178"/>
                  </a:lnTo>
                  <a:lnTo>
                    <a:pt x="31" y="178"/>
                  </a:lnTo>
                  <a:lnTo>
                    <a:pt x="25" y="176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8"/>
                  </a:lnTo>
                  <a:lnTo>
                    <a:pt x="16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20" y="176"/>
                  </a:lnTo>
                  <a:lnTo>
                    <a:pt x="20" y="176"/>
                  </a:lnTo>
                  <a:lnTo>
                    <a:pt x="20" y="174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5" y="174"/>
                  </a:lnTo>
                  <a:lnTo>
                    <a:pt x="22" y="171"/>
                  </a:lnTo>
                  <a:lnTo>
                    <a:pt x="22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20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4" y="178"/>
                  </a:lnTo>
                  <a:lnTo>
                    <a:pt x="11" y="178"/>
                  </a:lnTo>
                  <a:lnTo>
                    <a:pt x="9" y="178"/>
                  </a:lnTo>
                  <a:lnTo>
                    <a:pt x="5" y="178"/>
                  </a:lnTo>
                  <a:lnTo>
                    <a:pt x="0" y="178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2" y="174"/>
                  </a:lnTo>
                  <a:lnTo>
                    <a:pt x="2" y="174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0" y="169"/>
                  </a:lnTo>
                  <a:lnTo>
                    <a:pt x="0" y="167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5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2"/>
                  </a:lnTo>
                  <a:lnTo>
                    <a:pt x="0" y="140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0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7" y="113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9" y="111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99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3"/>
                  </a:lnTo>
                  <a:lnTo>
                    <a:pt x="20" y="93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8" y="57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3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39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5" y="27"/>
                  </a:lnTo>
                  <a:lnTo>
                    <a:pt x="27" y="27"/>
                  </a:lnTo>
                  <a:lnTo>
                    <a:pt x="29" y="21"/>
                  </a:lnTo>
                  <a:lnTo>
                    <a:pt x="29" y="14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9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1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5" name="Freeform 531"/>
            <p:cNvSpPr>
              <a:spLocks/>
            </p:cNvSpPr>
            <p:nvPr/>
          </p:nvSpPr>
          <p:spPr bwMode="auto">
            <a:xfrm>
              <a:off x="5647581" y="3029754"/>
              <a:ext cx="548227" cy="473013"/>
            </a:xfrm>
            <a:custGeom>
              <a:avLst/>
              <a:gdLst>
                <a:gd name="T0" fmla="*/ 308 w 328"/>
                <a:gd name="T1" fmla="*/ 20 h 283"/>
                <a:gd name="T2" fmla="*/ 310 w 328"/>
                <a:gd name="T3" fmla="*/ 43 h 283"/>
                <a:gd name="T4" fmla="*/ 315 w 328"/>
                <a:gd name="T5" fmla="*/ 56 h 283"/>
                <a:gd name="T6" fmla="*/ 319 w 328"/>
                <a:gd name="T7" fmla="*/ 65 h 283"/>
                <a:gd name="T8" fmla="*/ 326 w 328"/>
                <a:gd name="T9" fmla="*/ 81 h 283"/>
                <a:gd name="T10" fmla="*/ 321 w 328"/>
                <a:gd name="T11" fmla="*/ 101 h 283"/>
                <a:gd name="T12" fmla="*/ 321 w 328"/>
                <a:gd name="T13" fmla="*/ 117 h 283"/>
                <a:gd name="T14" fmla="*/ 321 w 328"/>
                <a:gd name="T15" fmla="*/ 135 h 283"/>
                <a:gd name="T16" fmla="*/ 319 w 328"/>
                <a:gd name="T17" fmla="*/ 153 h 283"/>
                <a:gd name="T18" fmla="*/ 310 w 328"/>
                <a:gd name="T19" fmla="*/ 171 h 283"/>
                <a:gd name="T20" fmla="*/ 294 w 328"/>
                <a:gd name="T21" fmla="*/ 189 h 283"/>
                <a:gd name="T22" fmla="*/ 285 w 328"/>
                <a:gd name="T23" fmla="*/ 207 h 283"/>
                <a:gd name="T24" fmla="*/ 283 w 328"/>
                <a:gd name="T25" fmla="*/ 214 h 283"/>
                <a:gd name="T26" fmla="*/ 279 w 328"/>
                <a:gd name="T27" fmla="*/ 225 h 283"/>
                <a:gd name="T28" fmla="*/ 276 w 328"/>
                <a:gd name="T29" fmla="*/ 234 h 283"/>
                <a:gd name="T30" fmla="*/ 274 w 328"/>
                <a:gd name="T31" fmla="*/ 238 h 283"/>
                <a:gd name="T32" fmla="*/ 270 w 328"/>
                <a:gd name="T33" fmla="*/ 238 h 283"/>
                <a:gd name="T34" fmla="*/ 265 w 328"/>
                <a:gd name="T35" fmla="*/ 240 h 283"/>
                <a:gd name="T36" fmla="*/ 265 w 328"/>
                <a:gd name="T37" fmla="*/ 243 h 283"/>
                <a:gd name="T38" fmla="*/ 261 w 328"/>
                <a:gd name="T39" fmla="*/ 245 h 283"/>
                <a:gd name="T40" fmla="*/ 258 w 328"/>
                <a:gd name="T41" fmla="*/ 247 h 283"/>
                <a:gd name="T42" fmla="*/ 254 w 328"/>
                <a:gd name="T43" fmla="*/ 249 h 283"/>
                <a:gd name="T44" fmla="*/ 243 w 328"/>
                <a:gd name="T45" fmla="*/ 245 h 283"/>
                <a:gd name="T46" fmla="*/ 205 w 328"/>
                <a:gd name="T47" fmla="*/ 249 h 283"/>
                <a:gd name="T48" fmla="*/ 178 w 328"/>
                <a:gd name="T49" fmla="*/ 252 h 283"/>
                <a:gd name="T50" fmla="*/ 169 w 328"/>
                <a:gd name="T51" fmla="*/ 247 h 283"/>
                <a:gd name="T52" fmla="*/ 146 w 328"/>
                <a:gd name="T53" fmla="*/ 252 h 283"/>
                <a:gd name="T54" fmla="*/ 126 w 328"/>
                <a:gd name="T55" fmla="*/ 236 h 283"/>
                <a:gd name="T56" fmla="*/ 101 w 328"/>
                <a:gd name="T57" fmla="*/ 234 h 283"/>
                <a:gd name="T58" fmla="*/ 74 w 328"/>
                <a:gd name="T59" fmla="*/ 263 h 283"/>
                <a:gd name="T60" fmla="*/ 74 w 328"/>
                <a:gd name="T61" fmla="*/ 281 h 283"/>
                <a:gd name="T62" fmla="*/ 72 w 328"/>
                <a:gd name="T63" fmla="*/ 281 h 283"/>
                <a:gd name="T64" fmla="*/ 65 w 328"/>
                <a:gd name="T65" fmla="*/ 276 h 283"/>
                <a:gd name="T66" fmla="*/ 59 w 328"/>
                <a:gd name="T67" fmla="*/ 267 h 283"/>
                <a:gd name="T68" fmla="*/ 54 w 328"/>
                <a:gd name="T69" fmla="*/ 267 h 283"/>
                <a:gd name="T70" fmla="*/ 50 w 328"/>
                <a:gd name="T71" fmla="*/ 270 h 283"/>
                <a:gd name="T72" fmla="*/ 47 w 328"/>
                <a:gd name="T73" fmla="*/ 270 h 283"/>
                <a:gd name="T74" fmla="*/ 50 w 328"/>
                <a:gd name="T75" fmla="*/ 276 h 283"/>
                <a:gd name="T76" fmla="*/ 41 w 328"/>
                <a:gd name="T77" fmla="*/ 267 h 283"/>
                <a:gd name="T78" fmla="*/ 45 w 328"/>
                <a:gd name="T79" fmla="*/ 265 h 283"/>
                <a:gd name="T80" fmla="*/ 43 w 328"/>
                <a:gd name="T81" fmla="*/ 258 h 283"/>
                <a:gd name="T82" fmla="*/ 34 w 328"/>
                <a:gd name="T83" fmla="*/ 261 h 283"/>
                <a:gd name="T84" fmla="*/ 18 w 328"/>
                <a:gd name="T85" fmla="*/ 245 h 283"/>
                <a:gd name="T86" fmla="*/ 23 w 328"/>
                <a:gd name="T87" fmla="*/ 243 h 283"/>
                <a:gd name="T88" fmla="*/ 14 w 328"/>
                <a:gd name="T89" fmla="*/ 236 h 283"/>
                <a:gd name="T90" fmla="*/ 9 w 328"/>
                <a:gd name="T91" fmla="*/ 231 h 283"/>
                <a:gd name="T92" fmla="*/ 7 w 328"/>
                <a:gd name="T93" fmla="*/ 227 h 283"/>
                <a:gd name="T94" fmla="*/ 7 w 328"/>
                <a:gd name="T95" fmla="*/ 222 h 283"/>
                <a:gd name="T96" fmla="*/ 2 w 328"/>
                <a:gd name="T97" fmla="*/ 205 h 283"/>
                <a:gd name="T98" fmla="*/ 20 w 328"/>
                <a:gd name="T99" fmla="*/ 200 h 283"/>
                <a:gd name="T100" fmla="*/ 50 w 328"/>
                <a:gd name="T101" fmla="*/ 196 h 283"/>
                <a:gd name="T102" fmla="*/ 70 w 328"/>
                <a:gd name="T103" fmla="*/ 196 h 283"/>
                <a:gd name="T104" fmla="*/ 81 w 328"/>
                <a:gd name="T105" fmla="*/ 180 h 283"/>
                <a:gd name="T106" fmla="*/ 85 w 328"/>
                <a:gd name="T107" fmla="*/ 171 h 283"/>
                <a:gd name="T108" fmla="*/ 85 w 328"/>
                <a:gd name="T109" fmla="*/ 153 h 283"/>
                <a:gd name="T110" fmla="*/ 85 w 328"/>
                <a:gd name="T111" fmla="*/ 106 h 283"/>
                <a:gd name="T112" fmla="*/ 126 w 328"/>
                <a:gd name="T113" fmla="*/ 90 h 283"/>
                <a:gd name="T114" fmla="*/ 146 w 328"/>
                <a:gd name="T115" fmla="*/ 70 h 283"/>
                <a:gd name="T116" fmla="*/ 171 w 328"/>
                <a:gd name="T117" fmla="*/ 52 h 283"/>
                <a:gd name="T118" fmla="*/ 193 w 328"/>
                <a:gd name="T119" fmla="*/ 36 h 283"/>
                <a:gd name="T120" fmla="*/ 214 w 328"/>
                <a:gd name="T121" fmla="*/ 20 h 283"/>
                <a:gd name="T122" fmla="*/ 236 w 328"/>
                <a:gd name="T123" fmla="*/ 7 h 283"/>
                <a:gd name="T124" fmla="*/ 263 w 328"/>
                <a:gd name="T125" fmla="*/ 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8" h="283">
                  <a:moveTo>
                    <a:pt x="290" y="22"/>
                  </a:moveTo>
                  <a:lnTo>
                    <a:pt x="290" y="22"/>
                  </a:lnTo>
                  <a:lnTo>
                    <a:pt x="290" y="22"/>
                  </a:lnTo>
                  <a:lnTo>
                    <a:pt x="292" y="22"/>
                  </a:lnTo>
                  <a:lnTo>
                    <a:pt x="294" y="20"/>
                  </a:lnTo>
                  <a:lnTo>
                    <a:pt x="299" y="18"/>
                  </a:lnTo>
                  <a:lnTo>
                    <a:pt x="301" y="16"/>
                  </a:lnTo>
                  <a:lnTo>
                    <a:pt x="306" y="13"/>
                  </a:lnTo>
                  <a:lnTo>
                    <a:pt x="306" y="13"/>
                  </a:lnTo>
                  <a:lnTo>
                    <a:pt x="306" y="13"/>
                  </a:lnTo>
                  <a:lnTo>
                    <a:pt x="306" y="13"/>
                  </a:lnTo>
                  <a:lnTo>
                    <a:pt x="306" y="16"/>
                  </a:lnTo>
                  <a:lnTo>
                    <a:pt x="306" y="16"/>
                  </a:lnTo>
                  <a:lnTo>
                    <a:pt x="306" y="18"/>
                  </a:lnTo>
                  <a:lnTo>
                    <a:pt x="306" y="20"/>
                  </a:lnTo>
                  <a:lnTo>
                    <a:pt x="308" y="20"/>
                  </a:lnTo>
                  <a:lnTo>
                    <a:pt x="308" y="22"/>
                  </a:lnTo>
                  <a:lnTo>
                    <a:pt x="308" y="25"/>
                  </a:lnTo>
                  <a:lnTo>
                    <a:pt x="308" y="25"/>
                  </a:lnTo>
                  <a:lnTo>
                    <a:pt x="308" y="27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31"/>
                  </a:lnTo>
                  <a:lnTo>
                    <a:pt x="310" y="34"/>
                  </a:lnTo>
                  <a:lnTo>
                    <a:pt x="310" y="34"/>
                  </a:lnTo>
                  <a:lnTo>
                    <a:pt x="310" y="36"/>
                  </a:lnTo>
                  <a:lnTo>
                    <a:pt x="310" y="36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40"/>
                  </a:lnTo>
                  <a:lnTo>
                    <a:pt x="310" y="43"/>
                  </a:lnTo>
                  <a:lnTo>
                    <a:pt x="310" y="45"/>
                  </a:lnTo>
                  <a:lnTo>
                    <a:pt x="310" y="47"/>
                  </a:lnTo>
                  <a:lnTo>
                    <a:pt x="310" y="47"/>
                  </a:lnTo>
                  <a:lnTo>
                    <a:pt x="310" y="49"/>
                  </a:lnTo>
                  <a:lnTo>
                    <a:pt x="310" y="49"/>
                  </a:lnTo>
                  <a:lnTo>
                    <a:pt x="310" y="49"/>
                  </a:lnTo>
                  <a:lnTo>
                    <a:pt x="310" y="49"/>
                  </a:lnTo>
                  <a:lnTo>
                    <a:pt x="312" y="49"/>
                  </a:lnTo>
                  <a:lnTo>
                    <a:pt x="312" y="49"/>
                  </a:lnTo>
                  <a:lnTo>
                    <a:pt x="312" y="52"/>
                  </a:lnTo>
                  <a:lnTo>
                    <a:pt x="312" y="52"/>
                  </a:lnTo>
                  <a:lnTo>
                    <a:pt x="315" y="54"/>
                  </a:lnTo>
                  <a:lnTo>
                    <a:pt x="315" y="54"/>
                  </a:lnTo>
                  <a:lnTo>
                    <a:pt x="315" y="54"/>
                  </a:lnTo>
                  <a:lnTo>
                    <a:pt x="315" y="54"/>
                  </a:lnTo>
                  <a:lnTo>
                    <a:pt x="315" y="56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7" y="56"/>
                  </a:lnTo>
                  <a:lnTo>
                    <a:pt x="317" y="58"/>
                  </a:lnTo>
                  <a:lnTo>
                    <a:pt x="317" y="58"/>
                  </a:lnTo>
                  <a:lnTo>
                    <a:pt x="317" y="58"/>
                  </a:lnTo>
                  <a:lnTo>
                    <a:pt x="317" y="58"/>
                  </a:lnTo>
                  <a:lnTo>
                    <a:pt x="319" y="61"/>
                  </a:lnTo>
                  <a:lnTo>
                    <a:pt x="319" y="61"/>
                  </a:lnTo>
                  <a:lnTo>
                    <a:pt x="319" y="61"/>
                  </a:lnTo>
                  <a:lnTo>
                    <a:pt x="319" y="61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5"/>
                  </a:lnTo>
                  <a:lnTo>
                    <a:pt x="319" y="65"/>
                  </a:lnTo>
                  <a:lnTo>
                    <a:pt x="319" y="67"/>
                  </a:lnTo>
                  <a:lnTo>
                    <a:pt x="319" y="67"/>
                  </a:lnTo>
                  <a:lnTo>
                    <a:pt x="319" y="67"/>
                  </a:lnTo>
                  <a:lnTo>
                    <a:pt x="321" y="70"/>
                  </a:lnTo>
                  <a:lnTo>
                    <a:pt x="321" y="70"/>
                  </a:lnTo>
                  <a:lnTo>
                    <a:pt x="324" y="72"/>
                  </a:lnTo>
                  <a:lnTo>
                    <a:pt x="324" y="72"/>
                  </a:lnTo>
                  <a:lnTo>
                    <a:pt x="326" y="74"/>
                  </a:lnTo>
                  <a:lnTo>
                    <a:pt x="326" y="76"/>
                  </a:lnTo>
                  <a:lnTo>
                    <a:pt x="328" y="76"/>
                  </a:lnTo>
                  <a:lnTo>
                    <a:pt x="328" y="76"/>
                  </a:lnTo>
                  <a:lnTo>
                    <a:pt x="328" y="76"/>
                  </a:lnTo>
                  <a:lnTo>
                    <a:pt x="328" y="76"/>
                  </a:lnTo>
                  <a:lnTo>
                    <a:pt x="326" y="79"/>
                  </a:lnTo>
                  <a:lnTo>
                    <a:pt x="326" y="79"/>
                  </a:lnTo>
                  <a:lnTo>
                    <a:pt x="326" y="81"/>
                  </a:lnTo>
                  <a:lnTo>
                    <a:pt x="324" y="83"/>
                  </a:lnTo>
                  <a:lnTo>
                    <a:pt x="324" y="85"/>
                  </a:lnTo>
                  <a:lnTo>
                    <a:pt x="324" y="85"/>
                  </a:lnTo>
                  <a:lnTo>
                    <a:pt x="324" y="88"/>
                  </a:lnTo>
                  <a:lnTo>
                    <a:pt x="324" y="88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2"/>
                  </a:lnTo>
                  <a:lnTo>
                    <a:pt x="324" y="92"/>
                  </a:lnTo>
                  <a:lnTo>
                    <a:pt x="321" y="94"/>
                  </a:lnTo>
                  <a:lnTo>
                    <a:pt x="321" y="94"/>
                  </a:lnTo>
                  <a:lnTo>
                    <a:pt x="321" y="97"/>
                  </a:lnTo>
                  <a:lnTo>
                    <a:pt x="321" y="97"/>
                  </a:lnTo>
                  <a:lnTo>
                    <a:pt x="321" y="99"/>
                  </a:lnTo>
                  <a:lnTo>
                    <a:pt x="321" y="99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1" y="101"/>
                  </a:lnTo>
                  <a:lnTo>
                    <a:pt x="321" y="103"/>
                  </a:lnTo>
                  <a:lnTo>
                    <a:pt x="321" y="103"/>
                  </a:lnTo>
                  <a:lnTo>
                    <a:pt x="321" y="106"/>
                  </a:lnTo>
                  <a:lnTo>
                    <a:pt x="321" y="106"/>
                  </a:lnTo>
                  <a:lnTo>
                    <a:pt x="321" y="108"/>
                  </a:lnTo>
                  <a:lnTo>
                    <a:pt x="321" y="108"/>
                  </a:lnTo>
                  <a:lnTo>
                    <a:pt x="321" y="110"/>
                  </a:lnTo>
                  <a:lnTo>
                    <a:pt x="321" y="110"/>
                  </a:lnTo>
                  <a:lnTo>
                    <a:pt x="321" y="112"/>
                  </a:lnTo>
                  <a:lnTo>
                    <a:pt x="321" y="112"/>
                  </a:lnTo>
                  <a:lnTo>
                    <a:pt x="321" y="115"/>
                  </a:lnTo>
                  <a:lnTo>
                    <a:pt x="321" y="115"/>
                  </a:lnTo>
                  <a:lnTo>
                    <a:pt x="321" y="117"/>
                  </a:lnTo>
                  <a:lnTo>
                    <a:pt x="321" y="117"/>
                  </a:lnTo>
                  <a:lnTo>
                    <a:pt x="321" y="119"/>
                  </a:lnTo>
                  <a:lnTo>
                    <a:pt x="321" y="119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4"/>
                  </a:lnTo>
                  <a:lnTo>
                    <a:pt x="321" y="124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3"/>
                  </a:lnTo>
                  <a:lnTo>
                    <a:pt x="321" y="133"/>
                  </a:lnTo>
                  <a:lnTo>
                    <a:pt x="321" y="133"/>
                  </a:lnTo>
                  <a:lnTo>
                    <a:pt x="321" y="135"/>
                  </a:lnTo>
                  <a:lnTo>
                    <a:pt x="319" y="135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39"/>
                  </a:lnTo>
                  <a:lnTo>
                    <a:pt x="319" y="139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19" y="144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8"/>
                  </a:lnTo>
                  <a:lnTo>
                    <a:pt x="319" y="148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3"/>
                  </a:lnTo>
                  <a:lnTo>
                    <a:pt x="319" y="153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19" y="157"/>
                  </a:lnTo>
                  <a:lnTo>
                    <a:pt x="319" y="157"/>
                  </a:lnTo>
                  <a:lnTo>
                    <a:pt x="319" y="157"/>
                  </a:lnTo>
                  <a:lnTo>
                    <a:pt x="319" y="160"/>
                  </a:lnTo>
                  <a:lnTo>
                    <a:pt x="319" y="160"/>
                  </a:lnTo>
                  <a:lnTo>
                    <a:pt x="317" y="160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4"/>
                  </a:lnTo>
                  <a:lnTo>
                    <a:pt x="312" y="166"/>
                  </a:lnTo>
                  <a:lnTo>
                    <a:pt x="312" y="166"/>
                  </a:lnTo>
                  <a:lnTo>
                    <a:pt x="310" y="169"/>
                  </a:lnTo>
                  <a:lnTo>
                    <a:pt x="310" y="171"/>
                  </a:lnTo>
                  <a:lnTo>
                    <a:pt x="308" y="171"/>
                  </a:lnTo>
                  <a:lnTo>
                    <a:pt x="308" y="173"/>
                  </a:lnTo>
                  <a:lnTo>
                    <a:pt x="306" y="173"/>
                  </a:lnTo>
                  <a:lnTo>
                    <a:pt x="306" y="175"/>
                  </a:lnTo>
                  <a:lnTo>
                    <a:pt x="303" y="178"/>
                  </a:lnTo>
                  <a:lnTo>
                    <a:pt x="303" y="178"/>
                  </a:lnTo>
                  <a:lnTo>
                    <a:pt x="301" y="180"/>
                  </a:lnTo>
                  <a:lnTo>
                    <a:pt x="301" y="180"/>
                  </a:lnTo>
                  <a:lnTo>
                    <a:pt x="299" y="182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7"/>
                  </a:lnTo>
                  <a:lnTo>
                    <a:pt x="297" y="187"/>
                  </a:lnTo>
                  <a:lnTo>
                    <a:pt x="294" y="189"/>
                  </a:lnTo>
                  <a:lnTo>
                    <a:pt x="294" y="189"/>
                  </a:lnTo>
                  <a:lnTo>
                    <a:pt x="294" y="189"/>
                  </a:lnTo>
                  <a:lnTo>
                    <a:pt x="294" y="191"/>
                  </a:lnTo>
                  <a:lnTo>
                    <a:pt x="292" y="191"/>
                  </a:lnTo>
                  <a:lnTo>
                    <a:pt x="292" y="193"/>
                  </a:lnTo>
                  <a:lnTo>
                    <a:pt x="292" y="193"/>
                  </a:lnTo>
                  <a:lnTo>
                    <a:pt x="292" y="196"/>
                  </a:lnTo>
                  <a:lnTo>
                    <a:pt x="290" y="196"/>
                  </a:lnTo>
                  <a:lnTo>
                    <a:pt x="290" y="196"/>
                  </a:lnTo>
                  <a:lnTo>
                    <a:pt x="290" y="198"/>
                  </a:lnTo>
                  <a:lnTo>
                    <a:pt x="288" y="198"/>
                  </a:lnTo>
                  <a:lnTo>
                    <a:pt x="288" y="200"/>
                  </a:lnTo>
                  <a:lnTo>
                    <a:pt x="288" y="200"/>
                  </a:lnTo>
                  <a:lnTo>
                    <a:pt x="288" y="202"/>
                  </a:lnTo>
                  <a:lnTo>
                    <a:pt x="285" y="202"/>
                  </a:lnTo>
                  <a:lnTo>
                    <a:pt x="285" y="202"/>
                  </a:lnTo>
                  <a:lnTo>
                    <a:pt x="285" y="205"/>
                  </a:lnTo>
                  <a:lnTo>
                    <a:pt x="285" y="207"/>
                  </a:lnTo>
                  <a:lnTo>
                    <a:pt x="283" y="207"/>
                  </a:lnTo>
                  <a:lnTo>
                    <a:pt x="283" y="207"/>
                  </a:lnTo>
                  <a:lnTo>
                    <a:pt x="283" y="209"/>
                  </a:lnTo>
                  <a:lnTo>
                    <a:pt x="283" y="209"/>
                  </a:lnTo>
                  <a:lnTo>
                    <a:pt x="285" y="209"/>
                  </a:lnTo>
                  <a:lnTo>
                    <a:pt x="285" y="209"/>
                  </a:lnTo>
                  <a:lnTo>
                    <a:pt x="285" y="211"/>
                  </a:lnTo>
                  <a:lnTo>
                    <a:pt x="283" y="211"/>
                  </a:lnTo>
                  <a:lnTo>
                    <a:pt x="283" y="211"/>
                  </a:lnTo>
                  <a:lnTo>
                    <a:pt x="283" y="211"/>
                  </a:lnTo>
                  <a:lnTo>
                    <a:pt x="283" y="211"/>
                  </a:lnTo>
                  <a:lnTo>
                    <a:pt x="283" y="211"/>
                  </a:lnTo>
                  <a:lnTo>
                    <a:pt x="281" y="211"/>
                  </a:lnTo>
                  <a:lnTo>
                    <a:pt x="281" y="211"/>
                  </a:lnTo>
                  <a:lnTo>
                    <a:pt x="281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3" y="214"/>
                  </a:lnTo>
                  <a:lnTo>
                    <a:pt x="281" y="216"/>
                  </a:lnTo>
                  <a:lnTo>
                    <a:pt x="281" y="216"/>
                  </a:lnTo>
                  <a:lnTo>
                    <a:pt x="281" y="216"/>
                  </a:lnTo>
                  <a:lnTo>
                    <a:pt x="279" y="216"/>
                  </a:lnTo>
                  <a:lnTo>
                    <a:pt x="279" y="216"/>
                  </a:lnTo>
                  <a:lnTo>
                    <a:pt x="279" y="218"/>
                  </a:lnTo>
                  <a:lnTo>
                    <a:pt x="279" y="218"/>
                  </a:lnTo>
                  <a:lnTo>
                    <a:pt x="279" y="220"/>
                  </a:lnTo>
                  <a:lnTo>
                    <a:pt x="279" y="222"/>
                  </a:lnTo>
                  <a:lnTo>
                    <a:pt x="279" y="222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9" y="225"/>
                  </a:lnTo>
                  <a:lnTo>
                    <a:pt x="279" y="225"/>
                  </a:lnTo>
                  <a:lnTo>
                    <a:pt x="279" y="227"/>
                  </a:lnTo>
                  <a:lnTo>
                    <a:pt x="281" y="227"/>
                  </a:lnTo>
                  <a:lnTo>
                    <a:pt x="281" y="227"/>
                  </a:lnTo>
                  <a:lnTo>
                    <a:pt x="281" y="229"/>
                  </a:lnTo>
                  <a:lnTo>
                    <a:pt x="281" y="229"/>
                  </a:lnTo>
                  <a:lnTo>
                    <a:pt x="281" y="229"/>
                  </a:lnTo>
                  <a:lnTo>
                    <a:pt x="281" y="231"/>
                  </a:lnTo>
                  <a:lnTo>
                    <a:pt x="281" y="231"/>
                  </a:lnTo>
                  <a:lnTo>
                    <a:pt x="281" y="231"/>
                  </a:lnTo>
                  <a:lnTo>
                    <a:pt x="281" y="234"/>
                  </a:lnTo>
                  <a:lnTo>
                    <a:pt x="281" y="234"/>
                  </a:lnTo>
                  <a:lnTo>
                    <a:pt x="281" y="234"/>
                  </a:lnTo>
                  <a:lnTo>
                    <a:pt x="276" y="234"/>
                  </a:lnTo>
                  <a:lnTo>
                    <a:pt x="276" y="234"/>
                  </a:lnTo>
                  <a:lnTo>
                    <a:pt x="276" y="234"/>
                  </a:lnTo>
                  <a:lnTo>
                    <a:pt x="276" y="23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6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4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2" y="238"/>
                  </a:lnTo>
                  <a:lnTo>
                    <a:pt x="270" y="238"/>
                  </a:lnTo>
                  <a:lnTo>
                    <a:pt x="270" y="238"/>
                  </a:lnTo>
                  <a:lnTo>
                    <a:pt x="270" y="238"/>
                  </a:lnTo>
                  <a:lnTo>
                    <a:pt x="270" y="238"/>
                  </a:lnTo>
                  <a:lnTo>
                    <a:pt x="270" y="238"/>
                  </a:lnTo>
                  <a:lnTo>
                    <a:pt x="270" y="238"/>
                  </a:lnTo>
                  <a:lnTo>
                    <a:pt x="267" y="240"/>
                  </a:lnTo>
                  <a:lnTo>
                    <a:pt x="267" y="240"/>
                  </a:lnTo>
                  <a:lnTo>
                    <a:pt x="267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0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3" y="243"/>
                  </a:lnTo>
                  <a:lnTo>
                    <a:pt x="263" y="243"/>
                  </a:lnTo>
                  <a:lnTo>
                    <a:pt x="263" y="245"/>
                  </a:lnTo>
                  <a:lnTo>
                    <a:pt x="263" y="245"/>
                  </a:lnTo>
                  <a:lnTo>
                    <a:pt x="263" y="245"/>
                  </a:lnTo>
                  <a:lnTo>
                    <a:pt x="263" y="245"/>
                  </a:lnTo>
                  <a:lnTo>
                    <a:pt x="263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61" y="245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61" y="247"/>
                  </a:lnTo>
                  <a:lnTo>
                    <a:pt x="261" y="247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58" y="247"/>
                  </a:lnTo>
                  <a:lnTo>
                    <a:pt x="258" y="249"/>
                  </a:lnTo>
                  <a:lnTo>
                    <a:pt x="258" y="249"/>
                  </a:lnTo>
                  <a:lnTo>
                    <a:pt x="258" y="249"/>
                  </a:lnTo>
                  <a:lnTo>
                    <a:pt x="258" y="249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56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4" y="249"/>
                  </a:lnTo>
                  <a:lnTo>
                    <a:pt x="252" y="249"/>
                  </a:lnTo>
                  <a:lnTo>
                    <a:pt x="252" y="249"/>
                  </a:lnTo>
                  <a:lnTo>
                    <a:pt x="252" y="249"/>
                  </a:lnTo>
                  <a:lnTo>
                    <a:pt x="252" y="249"/>
                  </a:lnTo>
                  <a:lnTo>
                    <a:pt x="252" y="249"/>
                  </a:lnTo>
                  <a:lnTo>
                    <a:pt x="249" y="249"/>
                  </a:lnTo>
                  <a:lnTo>
                    <a:pt x="249" y="249"/>
                  </a:lnTo>
                  <a:lnTo>
                    <a:pt x="247" y="247"/>
                  </a:lnTo>
                  <a:lnTo>
                    <a:pt x="245" y="245"/>
                  </a:lnTo>
                  <a:lnTo>
                    <a:pt x="243" y="245"/>
                  </a:lnTo>
                  <a:lnTo>
                    <a:pt x="236" y="243"/>
                  </a:lnTo>
                  <a:lnTo>
                    <a:pt x="227" y="243"/>
                  </a:lnTo>
                  <a:lnTo>
                    <a:pt x="223" y="243"/>
                  </a:lnTo>
                  <a:lnTo>
                    <a:pt x="220" y="243"/>
                  </a:lnTo>
                  <a:lnTo>
                    <a:pt x="209" y="245"/>
                  </a:lnTo>
                  <a:lnTo>
                    <a:pt x="209" y="245"/>
                  </a:lnTo>
                  <a:lnTo>
                    <a:pt x="205" y="247"/>
                  </a:lnTo>
                  <a:lnTo>
                    <a:pt x="205" y="247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5" y="249"/>
                  </a:lnTo>
                  <a:lnTo>
                    <a:pt x="202" y="252"/>
                  </a:lnTo>
                  <a:lnTo>
                    <a:pt x="200" y="256"/>
                  </a:lnTo>
                  <a:lnTo>
                    <a:pt x="198" y="256"/>
                  </a:lnTo>
                  <a:lnTo>
                    <a:pt x="198" y="256"/>
                  </a:lnTo>
                  <a:lnTo>
                    <a:pt x="198" y="256"/>
                  </a:lnTo>
                  <a:lnTo>
                    <a:pt x="198" y="256"/>
                  </a:lnTo>
                  <a:lnTo>
                    <a:pt x="193" y="256"/>
                  </a:lnTo>
                  <a:lnTo>
                    <a:pt x="193" y="256"/>
                  </a:lnTo>
                  <a:lnTo>
                    <a:pt x="191" y="256"/>
                  </a:lnTo>
                  <a:lnTo>
                    <a:pt x="191" y="256"/>
                  </a:lnTo>
                  <a:lnTo>
                    <a:pt x="184" y="254"/>
                  </a:lnTo>
                  <a:lnTo>
                    <a:pt x="180" y="254"/>
                  </a:lnTo>
                  <a:lnTo>
                    <a:pt x="178" y="252"/>
                  </a:lnTo>
                  <a:lnTo>
                    <a:pt x="178" y="252"/>
                  </a:lnTo>
                  <a:lnTo>
                    <a:pt x="178" y="252"/>
                  </a:lnTo>
                  <a:lnTo>
                    <a:pt x="178" y="252"/>
                  </a:lnTo>
                  <a:lnTo>
                    <a:pt x="175" y="249"/>
                  </a:lnTo>
                  <a:lnTo>
                    <a:pt x="175" y="249"/>
                  </a:lnTo>
                  <a:lnTo>
                    <a:pt x="175" y="249"/>
                  </a:lnTo>
                  <a:lnTo>
                    <a:pt x="175" y="249"/>
                  </a:lnTo>
                  <a:lnTo>
                    <a:pt x="173" y="249"/>
                  </a:lnTo>
                  <a:lnTo>
                    <a:pt x="173" y="249"/>
                  </a:lnTo>
                  <a:lnTo>
                    <a:pt x="173" y="249"/>
                  </a:lnTo>
                  <a:lnTo>
                    <a:pt x="173" y="249"/>
                  </a:lnTo>
                  <a:lnTo>
                    <a:pt x="173" y="249"/>
                  </a:lnTo>
                  <a:lnTo>
                    <a:pt x="173" y="249"/>
                  </a:lnTo>
                  <a:lnTo>
                    <a:pt x="173" y="249"/>
                  </a:lnTo>
                  <a:lnTo>
                    <a:pt x="171" y="247"/>
                  </a:lnTo>
                  <a:lnTo>
                    <a:pt x="171" y="247"/>
                  </a:lnTo>
                  <a:lnTo>
                    <a:pt x="171" y="247"/>
                  </a:lnTo>
                  <a:lnTo>
                    <a:pt x="171" y="247"/>
                  </a:lnTo>
                  <a:lnTo>
                    <a:pt x="169" y="247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6" y="245"/>
                  </a:lnTo>
                  <a:lnTo>
                    <a:pt x="166" y="245"/>
                  </a:lnTo>
                  <a:lnTo>
                    <a:pt x="166" y="245"/>
                  </a:lnTo>
                  <a:lnTo>
                    <a:pt x="162" y="243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53" y="249"/>
                  </a:lnTo>
                  <a:lnTo>
                    <a:pt x="151" y="249"/>
                  </a:lnTo>
                  <a:lnTo>
                    <a:pt x="151" y="249"/>
                  </a:lnTo>
                  <a:lnTo>
                    <a:pt x="148" y="249"/>
                  </a:lnTo>
                  <a:lnTo>
                    <a:pt x="148" y="249"/>
                  </a:lnTo>
                  <a:lnTo>
                    <a:pt x="146" y="249"/>
                  </a:lnTo>
                  <a:lnTo>
                    <a:pt x="146" y="252"/>
                  </a:lnTo>
                  <a:lnTo>
                    <a:pt x="146" y="252"/>
                  </a:lnTo>
                  <a:lnTo>
                    <a:pt x="144" y="252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2" y="252"/>
                  </a:lnTo>
                  <a:lnTo>
                    <a:pt x="142" y="252"/>
                  </a:lnTo>
                  <a:lnTo>
                    <a:pt x="142" y="249"/>
                  </a:lnTo>
                  <a:lnTo>
                    <a:pt x="139" y="247"/>
                  </a:lnTo>
                  <a:lnTo>
                    <a:pt x="137" y="243"/>
                  </a:lnTo>
                  <a:lnTo>
                    <a:pt x="133" y="240"/>
                  </a:lnTo>
                  <a:lnTo>
                    <a:pt x="130" y="236"/>
                  </a:lnTo>
                  <a:lnTo>
                    <a:pt x="130" y="236"/>
                  </a:lnTo>
                  <a:lnTo>
                    <a:pt x="128" y="236"/>
                  </a:lnTo>
                  <a:lnTo>
                    <a:pt x="128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26" y="236"/>
                  </a:lnTo>
                  <a:lnTo>
                    <a:pt x="115" y="231"/>
                  </a:lnTo>
                  <a:lnTo>
                    <a:pt x="112" y="231"/>
                  </a:lnTo>
                  <a:lnTo>
                    <a:pt x="110" y="231"/>
                  </a:lnTo>
                  <a:lnTo>
                    <a:pt x="110" y="231"/>
                  </a:lnTo>
                  <a:lnTo>
                    <a:pt x="110" y="231"/>
                  </a:lnTo>
                  <a:lnTo>
                    <a:pt x="108" y="234"/>
                  </a:lnTo>
                  <a:lnTo>
                    <a:pt x="108" y="234"/>
                  </a:lnTo>
                  <a:lnTo>
                    <a:pt x="108" y="234"/>
                  </a:lnTo>
                  <a:lnTo>
                    <a:pt x="108" y="234"/>
                  </a:lnTo>
                  <a:lnTo>
                    <a:pt x="108" y="234"/>
                  </a:lnTo>
                  <a:lnTo>
                    <a:pt x="103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101" y="234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9" y="234"/>
                  </a:lnTo>
                  <a:lnTo>
                    <a:pt x="92" y="236"/>
                  </a:lnTo>
                  <a:lnTo>
                    <a:pt x="90" y="236"/>
                  </a:lnTo>
                  <a:lnTo>
                    <a:pt x="90" y="236"/>
                  </a:lnTo>
                  <a:lnTo>
                    <a:pt x="85" y="240"/>
                  </a:lnTo>
                  <a:lnTo>
                    <a:pt x="85" y="240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5"/>
                  </a:lnTo>
                  <a:lnTo>
                    <a:pt x="83" y="252"/>
                  </a:lnTo>
                  <a:lnTo>
                    <a:pt x="81" y="258"/>
                  </a:lnTo>
                  <a:lnTo>
                    <a:pt x="79" y="258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70"/>
                  </a:lnTo>
                  <a:lnTo>
                    <a:pt x="74" y="272"/>
                  </a:lnTo>
                  <a:lnTo>
                    <a:pt x="74" y="272"/>
                  </a:lnTo>
                  <a:lnTo>
                    <a:pt x="74" y="274"/>
                  </a:lnTo>
                  <a:lnTo>
                    <a:pt x="74" y="276"/>
                  </a:lnTo>
                  <a:lnTo>
                    <a:pt x="74" y="276"/>
                  </a:lnTo>
                  <a:lnTo>
                    <a:pt x="74" y="276"/>
                  </a:lnTo>
                  <a:lnTo>
                    <a:pt x="74" y="276"/>
                  </a:lnTo>
                  <a:lnTo>
                    <a:pt x="74" y="276"/>
                  </a:lnTo>
                  <a:lnTo>
                    <a:pt x="74" y="279"/>
                  </a:lnTo>
                  <a:lnTo>
                    <a:pt x="74" y="279"/>
                  </a:lnTo>
                  <a:lnTo>
                    <a:pt x="74" y="279"/>
                  </a:lnTo>
                  <a:lnTo>
                    <a:pt x="74" y="279"/>
                  </a:lnTo>
                  <a:lnTo>
                    <a:pt x="74" y="279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2" y="283"/>
                  </a:lnTo>
                  <a:lnTo>
                    <a:pt x="72" y="283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79"/>
                  </a:lnTo>
                  <a:lnTo>
                    <a:pt x="72" y="279"/>
                  </a:lnTo>
                  <a:lnTo>
                    <a:pt x="70" y="279"/>
                  </a:lnTo>
                  <a:lnTo>
                    <a:pt x="70" y="279"/>
                  </a:lnTo>
                  <a:lnTo>
                    <a:pt x="70" y="279"/>
                  </a:lnTo>
                  <a:lnTo>
                    <a:pt x="70" y="279"/>
                  </a:lnTo>
                  <a:lnTo>
                    <a:pt x="68" y="279"/>
                  </a:lnTo>
                  <a:lnTo>
                    <a:pt x="68" y="279"/>
                  </a:lnTo>
                  <a:lnTo>
                    <a:pt x="68" y="279"/>
                  </a:lnTo>
                  <a:lnTo>
                    <a:pt x="68" y="279"/>
                  </a:lnTo>
                  <a:lnTo>
                    <a:pt x="68" y="279"/>
                  </a:lnTo>
                  <a:lnTo>
                    <a:pt x="68" y="279"/>
                  </a:lnTo>
                  <a:lnTo>
                    <a:pt x="68" y="276"/>
                  </a:lnTo>
                  <a:lnTo>
                    <a:pt x="68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3" y="270"/>
                  </a:lnTo>
                  <a:lnTo>
                    <a:pt x="61" y="270"/>
                  </a:lnTo>
                  <a:lnTo>
                    <a:pt x="61" y="270"/>
                  </a:lnTo>
                  <a:lnTo>
                    <a:pt x="61" y="270"/>
                  </a:lnTo>
                  <a:lnTo>
                    <a:pt x="61" y="270"/>
                  </a:lnTo>
                  <a:lnTo>
                    <a:pt x="61" y="267"/>
                  </a:lnTo>
                  <a:lnTo>
                    <a:pt x="61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6" y="267"/>
                  </a:lnTo>
                  <a:lnTo>
                    <a:pt x="56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2" y="270"/>
                  </a:lnTo>
                  <a:lnTo>
                    <a:pt x="52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67"/>
                  </a:lnTo>
                  <a:lnTo>
                    <a:pt x="50" y="267"/>
                  </a:lnTo>
                  <a:lnTo>
                    <a:pt x="50" y="267"/>
                  </a:lnTo>
                  <a:lnTo>
                    <a:pt x="50" y="267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47" y="270"/>
                  </a:lnTo>
                  <a:lnTo>
                    <a:pt x="47" y="270"/>
                  </a:lnTo>
                  <a:lnTo>
                    <a:pt x="47" y="270"/>
                  </a:lnTo>
                  <a:lnTo>
                    <a:pt x="47" y="270"/>
                  </a:lnTo>
                  <a:lnTo>
                    <a:pt x="47" y="270"/>
                  </a:lnTo>
                  <a:lnTo>
                    <a:pt x="47" y="272"/>
                  </a:lnTo>
                  <a:lnTo>
                    <a:pt x="47" y="274"/>
                  </a:lnTo>
                  <a:lnTo>
                    <a:pt x="47" y="274"/>
                  </a:lnTo>
                  <a:lnTo>
                    <a:pt x="50" y="274"/>
                  </a:lnTo>
                  <a:lnTo>
                    <a:pt x="50" y="274"/>
                  </a:lnTo>
                  <a:lnTo>
                    <a:pt x="50" y="274"/>
                  </a:lnTo>
                  <a:lnTo>
                    <a:pt x="50" y="274"/>
                  </a:lnTo>
                  <a:lnTo>
                    <a:pt x="50" y="274"/>
                  </a:lnTo>
                  <a:lnTo>
                    <a:pt x="50" y="274"/>
                  </a:lnTo>
                  <a:lnTo>
                    <a:pt x="50" y="276"/>
                  </a:lnTo>
                  <a:lnTo>
                    <a:pt x="50" y="276"/>
                  </a:lnTo>
                  <a:lnTo>
                    <a:pt x="50" y="276"/>
                  </a:lnTo>
                  <a:lnTo>
                    <a:pt x="50" y="276"/>
                  </a:lnTo>
                  <a:lnTo>
                    <a:pt x="50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6"/>
                  </a:lnTo>
                  <a:lnTo>
                    <a:pt x="47" y="279"/>
                  </a:lnTo>
                  <a:lnTo>
                    <a:pt x="47" y="276"/>
                  </a:lnTo>
                  <a:lnTo>
                    <a:pt x="45" y="274"/>
                  </a:lnTo>
                  <a:lnTo>
                    <a:pt x="43" y="272"/>
                  </a:lnTo>
                  <a:lnTo>
                    <a:pt x="43" y="270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5" y="263"/>
                  </a:lnTo>
                  <a:lnTo>
                    <a:pt x="45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3" y="258"/>
                  </a:lnTo>
                  <a:lnTo>
                    <a:pt x="43" y="258"/>
                  </a:lnTo>
                  <a:lnTo>
                    <a:pt x="41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58"/>
                  </a:lnTo>
                  <a:lnTo>
                    <a:pt x="38" y="261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4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29" y="261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6"/>
                  </a:lnTo>
                  <a:lnTo>
                    <a:pt x="23" y="254"/>
                  </a:lnTo>
                  <a:lnTo>
                    <a:pt x="23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18" y="252"/>
                  </a:lnTo>
                  <a:lnTo>
                    <a:pt x="18" y="252"/>
                  </a:lnTo>
                  <a:lnTo>
                    <a:pt x="18" y="249"/>
                  </a:lnTo>
                  <a:lnTo>
                    <a:pt x="18" y="249"/>
                  </a:lnTo>
                  <a:lnTo>
                    <a:pt x="18" y="247"/>
                  </a:lnTo>
                  <a:lnTo>
                    <a:pt x="18" y="245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18" y="243"/>
                  </a:lnTo>
                  <a:lnTo>
                    <a:pt x="20" y="243"/>
                  </a:lnTo>
                  <a:lnTo>
                    <a:pt x="23" y="243"/>
                  </a:lnTo>
                  <a:lnTo>
                    <a:pt x="23" y="245"/>
                  </a:lnTo>
                  <a:lnTo>
                    <a:pt x="23" y="245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3" y="243"/>
                  </a:lnTo>
                  <a:lnTo>
                    <a:pt x="20" y="240"/>
                  </a:lnTo>
                  <a:lnTo>
                    <a:pt x="18" y="240"/>
                  </a:lnTo>
                  <a:lnTo>
                    <a:pt x="18" y="240"/>
                  </a:lnTo>
                  <a:lnTo>
                    <a:pt x="18" y="238"/>
                  </a:lnTo>
                  <a:lnTo>
                    <a:pt x="18" y="238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6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4" y="236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11" y="234"/>
                  </a:lnTo>
                  <a:lnTo>
                    <a:pt x="9" y="234"/>
                  </a:lnTo>
                  <a:lnTo>
                    <a:pt x="9" y="231"/>
                  </a:lnTo>
                  <a:lnTo>
                    <a:pt x="9" y="231"/>
                  </a:lnTo>
                  <a:lnTo>
                    <a:pt x="9" y="231"/>
                  </a:lnTo>
                  <a:lnTo>
                    <a:pt x="9" y="231"/>
                  </a:lnTo>
                  <a:lnTo>
                    <a:pt x="9" y="231"/>
                  </a:lnTo>
                  <a:lnTo>
                    <a:pt x="9" y="231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9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5" y="227"/>
                  </a:lnTo>
                  <a:lnTo>
                    <a:pt x="5" y="227"/>
                  </a:lnTo>
                  <a:lnTo>
                    <a:pt x="7" y="227"/>
                  </a:lnTo>
                  <a:lnTo>
                    <a:pt x="7" y="227"/>
                  </a:lnTo>
                  <a:lnTo>
                    <a:pt x="7" y="225"/>
                  </a:lnTo>
                  <a:lnTo>
                    <a:pt x="5" y="225"/>
                  </a:lnTo>
                  <a:lnTo>
                    <a:pt x="5" y="225"/>
                  </a:lnTo>
                  <a:lnTo>
                    <a:pt x="5" y="225"/>
                  </a:lnTo>
                  <a:lnTo>
                    <a:pt x="5" y="225"/>
                  </a:lnTo>
                  <a:lnTo>
                    <a:pt x="5" y="225"/>
                  </a:lnTo>
                  <a:lnTo>
                    <a:pt x="5" y="225"/>
                  </a:lnTo>
                  <a:lnTo>
                    <a:pt x="5" y="222"/>
                  </a:lnTo>
                  <a:lnTo>
                    <a:pt x="5" y="222"/>
                  </a:lnTo>
                  <a:lnTo>
                    <a:pt x="7" y="222"/>
                  </a:lnTo>
                  <a:lnTo>
                    <a:pt x="7" y="222"/>
                  </a:lnTo>
                  <a:lnTo>
                    <a:pt x="7" y="222"/>
                  </a:lnTo>
                  <a:lnTo>
                    <a:pt x="7" y="222"/>
                  </a:lnTo>
                  <a:lnTo>
                    <a:pt x="7" y="222"/>
                  </a:lnTo>
                  <a:lnTo>
                    <a:pt x="5" y="220"/>
                  </a:lnTo>
                  <a:lnTo>
                    <a:pt x="2" y="218"/>
                  </a:lnTo>
                  <a:lnTo>
                    <a:pt x="2" y="216"/>
                  </a:lnTo>
                  <a:lnTo>
                    <a:pt x="0" y="214"/>
                  </a:lnTo>
                  <a:lnTo>
                    <a:pt x="2" y="211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5"/>
                  </a:lnTo>
                  <a:lnTo>
                    <a:pt x="2" y="205"/>
                  </a:lnTo>
                  <a:lnTo>
                    <a:pt x="2" y="205"/>
                  </a:lnTo>
                  <a:lnTo>
                    <a:pt x="5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11" y="205"/>
                  </a:lnTo>
                  <a:lnTo>
                    <a:pt x="11" y="205"/>
                  </a:lnTo>
                  <a:lnTo>
                    <a:pt x="14" y="205"/>
                  </a:lnTo>
                  <a:lnTo>
                    <a:pt x="14" y="205"/>
                  </a:lnTo>
                  <a:lnTo>
                    <a:pt x="14" y="205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20" y="202"/>
                  </a:lnTo>
                  <a:lnTo>
                    <a:pt x="20" y="200"/>
                  </a:lnTo>
                  <a:lnTo>
                    <a:pt x="23" y="200"/>
                  </a:lnTo>
                  <a:lnTo>
                    <a:pt x="25" y="198"/>
                  </a:lnTo>
                  <a:lnTo>
                    <a:pt x="25" y="198"/>
                  </a:lnTo>
                  <a:lnTo>
                    <a:pt x="25" y="198"/>
                  </a:lnTo>
                  <a:lnTo>
                    <a:pt x="27" y="198"/>
                  </a:lnTo>
                  <a:lnTo>
                    <a:pt x="29" y="198"/>
                  </a:lnTo>
                  <a:lnTo>
                    <a:pt x="32" y="198"/>
                  </a:lnTo>
                  <a:lnTo>
                    <a:pt x="34" y="198"/>
                  </a:lnTo>
                  <a:lnTo>
                    <a:pt x="36" y="198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41" y="196"/>
                  </a:lnTo>
                  <a:lnTo>
                    <a:pt x="43" y="196"/>
                  </a:lnTo>
                  <a:lnTo>
                    <a:pt x="45" y="196"/>
                  </a:lnTo>
                  <a:lnTo>
                    <a:pt x="47" y="196"/>
                  </a:lnTo>
                  <a:lnTo>
                    <a:pt x="50" y="196"/>
                  </a:lnTo>
                  <a:lnTo>
                    <a:pt x="52" y="196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9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6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5" y="193"/>
                  </a:lnTo>
                  <a:lnTo>
                    <a:pt x="68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2" y="196"/>
                  </a:lnTo>
                  <a:lnTo>
                    <a:pt x="72" y="193"/>
                  </a:lnTo>
                  <a:lnTo>
                    <a:pt x="72" y="191"/>
                  </a:lnTo>
                  <a:lnTo>
                    <a:pt x="72" y="191"/>
                  </a:lnTo>
                  <a:lnTo>
                    <a:pt x="74" y="189"/>
                  </a:lnTo>
                  <a:lnTo>
                    <a:pt x="76" y="189"/>
                  </a:lnTo>
                  <a:lnTo>
                    <a:pt x="76" y="189"/>
                  </a:lnTo>
                  <a:lnTo>
                    <a:pt x="79" y="187"/>
                  </a:lnTo>
                  <a:lnTo>
                    <a:pt x="79" y="187"/>
                  </a:lnTo>
                  <a:lnTo>
                    <a:pt x="79" y="187"/>
                  </a:lnTo>
                  <a:lnTo>
                    <a:pt x="79" y="184"/>
                  </a:lnTo>
                  <a:lnTo>
                    <a:pt x="79" y="182"/>
                  </a:lnTo>
                  <a:lnTo>
                    <a:pt x="79" y="182"/>
                  </a:lnTo>
                  <a:lnTo>
                    <a:pt x="79" y="182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69"/>
                  </a:lnTo>
                  <a:lnTo>
                    <a:pt x="85" y="166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0"/>
                  </a:lnTo>
                  <a:lnTo>
                    <a:pt x="85" y="160"/>
                  </a:lnTo>
                  <a:lnTo>
                    <a:pt x="85" y="160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48"/>
                  </a:lnTo>
                  <a:lnTo>
                    <a:pt x="85" y="146"/>
                  </a:lnTo>
                  <a:lnTo>
                    <a:pt x="85" y="144"/>
                  </a:lnTo>
                  <a:lnTo>
                    <a:pt x="85" y="142"/>
                  </a:lnTo>
                  <a:lnTo>
                    <a:pt x="85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5" y="128"/>
                  </a:lnTo>
                  <a:lnTo>
                    <a:pt x="85" y="126"/>
                  </a:lnTo>
                  <a:lnTo>
                    <a:pt x="85" y="124"/>
                  </a:lnTo>
                  <a:lnTo>
                    <a:pt x="85" y="119"/>
                  </a:lnTo>
                  <a:lnTo>
                    <a:pt x="85" y="117"/>
                  </a:lnTo>
                  <a:lnTo>
                    <a:pt x="85" y="115"/>
                  </a:lnTo>
                  <a:lnTo>
                    <a:pt x="85" y="110"/>
                  </a:lnTo>
                  <a:lnTo>
                    <a:pt x="85" y="108"/>
                  </a:lnTo>
                  <a:lnTo>
                    <a:pt x="85" y="106"/>
                  </a:lnTo>
                  <a:lnTo>
                    <a:pt x="90" y="103"/>
                  </a:lnTo>
                  <a:lnTo>
                    <a:pt x="92" y="103"/>
                  </a:lnTo>
                  <a:lnTo>
                    <a:pt x="97" y="103"/>
                  </a:lnTo>
                  <a:lnTo>
                    <a:pt x="101" y="101"/>
                  </a:lnTo>
                  <a:lnTo>
                    <a:pt x="103" y="101"/>
                  </a:lnTo>
                  <a:lnTo>
                    <a:pt x="108" y="101"/>
                  </a:lnTo>
                  <a:lnTo>
                    <a:pt x="112" y="99"/>
                  </a:lnTo>
                  <a:lnTo>
                    <a:pt x="115" y="99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21" y="94"/>
                  </a:lnTo>
                  <a:lnTo>
                    <a:pt x="124" y="92"/>
                  </a:lnTo>
                  <a:lnTo>
                    <a:pt x="124" y="92"/>
                  </a:lnTo>
                  <a:lnTo>
                    <a:pt x="126" y="90"/>
                  </a:lnTo>
                  <a:lnTo>
                    <a:pt x="126" y="90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30" y="85"/>
                  </a:lnTo>
                  <a:lnTo>
                    <a:pt x="133" y="83"/>
                  </a:lnTo>
                  <a:lnTo>
                    <a:pt x="133" y="83"/>
                  </a:lnTo>
                  <a:lnTo>
                    <a:pt x="135" y="81"/>
                  </a:lnTo>
                  <a:lnTo>
                    <a:pt x="135" y="81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9" y="76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42" y="72"/>
                  </a:lnTo>
                  <a:lnTo>
                    <a:pt x="144" y="72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8" y="67"/>
                  </a:lnTo>
                  <a:lnTo>
                    <a:pt x="151" y="65"/>
                  </a:lnTo>
                  <a:lnTo>
                    <a:pt x="153" y="63"/>
                  </a:lnTo>
                  <a:lnTo>
                    <a:pt x="155" y="63"/>
                  </a:lnTo>
                  <a:lnTo>
                    <a:pt x="155" y="61"/>
                  </a:lnTo>
                  <a:lnTo>
                    <a:pt x="157" y="61"/>
                  </a:lnTo>
                  <a:lnTo>
                    <a:pt x="160" y="58"/>
                  </a:lnTo>
                  <a:lnTo>
                    <a:pt x="160" y="58"/>
                  </a:lnTo>
                  <a:lnTo>
                    <a:pt x="162" y="58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6" y="54"/>
                  </a:lnTo>
                  <a:lnTo>
                    <a:pt x="166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1" y="52"/>
                  </a:lnTo>
                  <a:lnTo>
                    <a:pt x="173" y="49"/>
                  </a:lnTo>
                  <a:lnTo>
                    <a:pt x="175" y="49"/>
                  </a:lnTo>
                  <a:lnTo>
                    <a:pt x="175" y="47"/>
                  </a:lnTo>
                  <a:lnTo>
                    <a:pt x="178" y="47"/>
                  </a:lnTo>
                  <a:lnTo>
                    <a:pt x="178" y="45"/>
                  </a:lnTo>
                  <a:lnTo>
                    <a:pt x="180" y="45"/>
                  </a:lnTo>
                  <a:lnTo>
                    <a:pt x="182" y="45"/>
                  </a:lnTo>
                  <a:lnTo>
                    <a:pt x="182" y="43"/>
                  </a:lnTo>
                  <a:lnTo>
                    <a:pt x="184" y="43"/>
                  </a:lnTo>
                  <a:lnTo>
                    <a:pt x="184" y="40"/>
                  </a:lnTo>
                  <a:lnTo>
                    <a:pt x="187" y="40"/>
                  </a:lnTo>
                  <a:lnTo>
                    <a:pt x="189" y="38"/>
                  </a:lnTo>
                  <a:lnTo>
                    <a:pt x="189" y="38"/>
                  </a:lnTo>
                  <a:lnTo>
                    <a:pt x="191" y="38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6" y="34"/>
                  </a:lnTo>
                  <a:lnTo>
                    <a:pt x="196" y="34"/>
                  </a:lnTo>
                  <a:lnTo>
                    <a:pt x="198" y="34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5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9" y="25"/>
                  </a:lnTo>
                  <a:lnTo>
                    <a:pt x="211" y="25"/>
                  </a:lnTo>
                  <a:lnTo>
                    <a:pt x="211" y="22"/>
                  </a:lnTo>
                  <a:lnTo>
                    <a:pt x="214" y="22"/>
                  </a:lnTo>
                  <a:lnTo>
                    <a:pt x="214" y="20"/>
                  </a:lnTo>
                  <a:lnTo>
                    <a:pt x="216" y="20"/>
                  </a:lnTo>
                  <a:lnTo>
                    <a:pt x="218" y="20"/>
                  </a:lnTo>
                  <a:lnTo>
                    <a:pt x="218" y="18"/>
                  </a:lnTo>
                  <a:lnTo>
                    <a:pt x="220" y="18"/>
                  </a:lnTo>
                  <a:lnTo>
                    <a:pt x="220" y="16"/>
                  </a:lnTo>
                  <a:lnTo>
                    <a:pt x="223" y="16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7" y="13"/>
                  </a:lnTo>
                  <a:lnTo>
                    <a:pt x="229" y="11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7"/>
                  </a:lnTo>
                  <a:lnTo>
                    <a:pt x="236" y="7"/>
                  </a:lnTo>
                  <a:lnTo>
                    <a:pt x="238" y="4"/>
                  </a:lnTo>
                  <a:lnTo>
                    <a:pt x="238" y="4"/>
                  </a:lnTo>
                  <a:lnTo>
                    <a:pt x="240" y="2"/>
                  </a:lnTo>
                  <a:lnTo>
                    <a:pt x="243" y="2"/>
                  </a:lnTo>
                  <a:lnTo>
                    <a:pt x="243" y="0"/>
                  </a:lnTo>
                  <a:lnTo>
                    <a:pt x="245" y="2"/>
                  </a:lnTo>
                  <a:lnTo>
                    <a:pt x="247" y="2"/>
                  </a:lnTo>
                  <a:lnTo>
                    <a:pt x="249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6" y="4"/>
                  </a:lnTo>
                  <a:lnTo>
                    <a:pt x="258" y="4"/>
                  </a:lnTo>
                  <a:lnTo>
                    <a:pt x="261" y="4"/>
                  </a:lnTo>
                  <a:lnTo>
                    <a:pt x="261" y="7"/>
                  </a:lnTo>
                  <a:lnTo>
                    <a:pt x="263" y="7"/>
                  </a:lnTo>
                  <a:lnTo>
                    <a:pt x="265" y="7"/>
                  </a:lnTo>
                  <a:lnTo>
                    <a:pt x="267" y="7"/>
                  </a:lnTo>
                  <a:lnTo>
                    <a:pt x="270" y="7"/>
                  </a:lnTo>
                  <a:lnTo>
                    <a:pt x="270" y="9"/>
                  </a:lnTo>
                  <a:lnTo>
                    <a:pt x="272" y="9"/>
                  </a:lnTo>
                  <a:lnTo>
                    <a:pt x="274" y="9"/>
                  </a:lnTo>
                  <a:lnTo>
                    <a:pt x="276" y="11"/>
                  </a:lnTo>
                  <a:lnTo>
                    <a:pt x="279" y="11"/>
                  </a:lnTo>
                  <a:lnTo>
                    <a:pt x="281" y="13"/>
                  </a:lnTo>
                  <a:lnTo>
                    <a:pt x="283" y="16"/>
                  </a:lnTo>
                  <a:lnTo>
                    <a:pt x="285" y="18"/>
                  </a:lnTo>
                  <a:lnTo>
                    <a:pt x="288" y="22"/>
                  </a:lnTo>
                  <a:lnTo>
                    <a:pt x="290" y="2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6" name="Freeform 532"/>
            <p:cNvSpPr>
              <a:spLocks/>
            </p:cNvSpPr>
            <p:nvPr/>
          </p:nvSpPr>
          <p:spPr bwMode="auto">
            <a:xfrm>
              <a:off x="2587201" y="3367382"/>
              <a:ext cx="165472" cy="173828"/>
            </a:xfrm>
            <a:custGeom>
              <a:avLst/>
              <a:gdLst>
                <a:gd name="T0" fmla="*/ 99 w 99"/>
                <a:gd name="T1" fmla="*/ 3 h 104"/>
                <a:gd name="T2" fmla="*/ 97 w 99"/>
                <a:gd name="T3" fmla="*/ 5 h 104"/>
                <a:gd name="T4" fmla="*/ 94 w 99"/>
                <a:gd name="T5" fmla="*/ 7 h 104"/>
                <a:gd name="T6" fmla="*/ 94 w 99"/>
                <a:gd name="T7" fmla="*/ 5 h 104"/>
                <a:gd name="T8" fmla="*/ 94 w 99"/>
                <a:gd name="T9" fmla="*/ 7 h 104"/>
                <a:gd name="T10" fmla="*/ 97 w 99"/>
                <a:gd name="T11" fmla="*/ 14 h 104"/>
                <a:gd name="T12" fmla="*/ 88 w 99"/>
                <a:gd name="T13" fmla="*/ 34 h 104"/>
                <a:gd name="T14" fmla="*/ 86 w 99"/>
                <a:gd name="T15" fmla="*/ 59 h 104"/>
                <a:gd name="T16" fmla="*/ 83 w 99"/>
                <a:gd name="T17" fmla="*/ 63 h 104"/>
                <a:gd name="T18" fmla="*/ 86 w 99"/>
                <a:gd name="T19" fmla="*/ 59 h 104"/>
                <a:gd name="T20" fmla="*/ 86 w 99"/>
                <a:gd name="T21" fmla="*/ 54 h 104"/>
                <a:gd name="T22" fmla="*/ 86 w 99"/>
                <a:gd name="T23" fmla="*/ 56 h 104"/>
                <a:gd name="T24" fmla="*/ 81 w 99"/>
                <a:gd name="T25" fmla="*/ 61 h 104"/>
                <a:gd name="T26" fmla="*/ 83 w 99"/>
                <a:gd name="T27" fmla="*/ 65 h 104"/>
                <a:gd name="T28" fmla="*/ 81 w 99"/>
                <a:gd name="T29" fmla="*/ 74 h 104"/>
                <a:gd name="T30" fmla="*/ 81 w 99"/>
                <a:gd name="T31" fmla="*/ 70 h 104"/>
                <a:gd name="T32" fmla="*/ 81 w 99"/>
                <a:gd name="T33" fmla="*/ 72 h 104"/>
                <a:gd name="T34" fmla="*/ 79 w 99"/>
                <a:gd name="T35" fmla="*/ 74 h 104"/>
                <a:gd name="T36" fmla="*/ 79 w 99"/>
                <a:gd name="T37" fmla="*/ 79 h 104"/>
                <a:gd name="T38" fmla="*/ 81 w 99"/>
                <a:gd name="T39" fmla="*/ 83 h 104"/>
                <a:gd name="T40" fmla="*/ 79 w 99"/>
                <a:gd name="T41" fmla="*/ 86 h 104"/>
                <a:gd name="T42" fmla="*/ 79 w 99"/>
                <a:gd name="T43" fmla="*/ 97 h 104"/>
                <a:gd name="T44" fmla="*/ 81 w 99"/>
                <a:gd name="T45" fmla="*/ 101 h 104"/>
                <a:gd name="T46" fmla="*/ 72 w 99"/>
                <a:gd name="T47" fmla="*/ 101 h 104"/>
                <a:gd name="T48" fmla="*/ 70 w 99"/>
                <a:gd name="T49" fmla="*/ 101 h 104"/>
                <a:gd name="T50" fmla="*/ 68 w 99"/>
                <a:gd name="T51" fmla="*/ 99 h 104"/>
                <a:gd name="T52" fmla="*/ 63 w 99"/>
                <a:gd name="T53" fmla="*/ 97 h 104"/>
                <a:gd name="T54" fmla="*/ 56 w 99"/>
                <a:gd name="T55" fmla="*/ 97 h 104"/>
                <a:gd name="T56" fmla="*/ 38 w 99"/>
                <a:gd name="T57" fmla="*/ 95 h 104"/>
                <a:gd name="T58" fmla="*/ 32 w 99"/>
                <a:gd name="T59" fmla="*/ 88 h 104"/>
                <a:gd name="T60" fmla="*/ 23 w 99"/>
                <a:gd name="T61" fmla="*/ 79 h 104"/>
                <a:gd name="T62" fmla="*/ 18 w 99"/>
                <a:gd name="T63" fmla="*/ 68 h 104"/>
                <a:gd name="T64" fmla="*/ 11 w 99"/>
                <a:gd name="T65" fmla="*/ 61 h 104"/>
                <a:gd name="T66" fmla="*/ 7 w 99"/>
                <a:gd name="T67" fmla="*/ 59 h 104"/>
                <a:gd name="T68" fmla="*/ 2 w 99"/>
                <a:gd name="T69" fmla="*/ 54 h 104"/>
                <a:gd name="T70" fmla="*/ 2 w 99"/>
                <a:gd name="T71" fmla="*/ 50 h 104"/>
                <a:gd name="T72" fmla="*/ 5 w 99"/>
                <a:gd name="T73" fmla="*/ 50 h 104"/>
                <a:gd name="T74" fmla="*/ 7 w 99"/>
                <a:gd name="T75" fmla="*/ 50 h 104"/>
                <a:gd name="T76" fmla="*/ 16 w 99"/>
                <a:gd name="T77" fmla="*/ 47 h 104"/>
                <a:gd name="T78" fmla="*/ 18 w 99"/>
                <a:gd name="T79" fmla="*/ 43 h 104"/>
                <a:gd name="T80" fmla="*/ 20 w 99"/>
                <a:gd name="T81" fmla="*/ 41 h 104"/>
                <a:gd name="T82" fmla="*/ 20 w 99"/>
                <a:gd name="T83" fmla="*/ 32 h 104"/>
                <a:gd name="T84" fmla="*/ 27 w 99"/>
                <a:gd name="T85" fmla="*/ 32 h 104"/>
                <a:gd name="T86" fmla="*/ 34 w 99"/>
                <a:gd name="T87" fmla="*/ 27 h 104"/>
                <a:gd name="T88" fmla="*/ 38 w 99"/>
                <a:gd name="T89" fmla="*/ 27 h 104"/>
                <a:gd name="T90" fmla="*/ 43 w 99"/>
                <a:gd name="T91" fmla="*/ 29 h 104"/>
                <a:gd name="T92" fmla="*/ 45 w 99"/>
                <a:gd name="T93" fmla="*/ 25 h 104"/>
                <a:gd name="T94" fmla="*/ 47 w 99"/>
                <a:gd name="T95" fmla="*/ 23 h 104"/>
                <a:gd name="T96" fmla="*/ 52 w 99"/>
                <a:gd name="T97" fmla="*/ 20 h 104"/>
                <a:gd name="T98" fmla="*/ 56 w 99"/>
                <a:gd name="T99" fmla="*/ 16 h 104"/>
                <a:gd name="T100" fmla="*/ 56 w 99"/>
                <a:gd name="T101" fmla="*/ 12 h 104"/>
                <a:gd name="T102" fmla="*/ 59 w 99"/>
                <a:gd name="T103" fmla="*/ 9 h 104"/>
                <a:gd name="T104" fmla="*/ 65 w 99"/>
                <a:gd name="T105" fmla="*/ 7 h 104"/>
                <a:gd name="T106" fmla="*/ 70 w 99"/>
                <a:gd name="T107" fmla="*/ 12 h 104"/>
                <a:gd name="T108" fmla="*/ 74 w 99"/>
                <a:gd name="T109" fmla="*/ 9 h 104"/>
                <a:gd name="T110" fmla="*/ 79 w 99"/>
                <a:gd name="T111" fmla="*/ 9 h 104"/>
                <a:gd name="T112" fmla="*/ 79 w 99"/>
                <a:gd name="T113" fmla="*/ 7 h 104"/>
                <a:gd name="T114" fmla="*/ 83 w 99"/>
                <a:gd name="T115" fmla="*/ 7 h 104"/>
                <a:gd name="T116" fmla="*/ 86 w 99"/>
                <a:gd name="T117" fmla="*/ 5 h 104"/>
                <a:gd name="T118" fmla="*/ 90 w 99"/>
                <a:gd name="T119" fmla="*/ 5 h 104"/>
                <a:gd name="T120" fmla="*/ 92 w 99"/>
                <a:gd name="T121" fmla="*/ 3 h 104"/>
                <a:gd name="T122" fmla="*/ 94 w 99"/>
                <a:gd name="T123" fmla="*/ 3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9" h="104">
                  <a:moveTo>
                    <a:pt x="94" y="3"/>
                  </a:moveTo>
                  <a:lnTo>
                    <a:pt x="94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7" y="7"/>
                  </a:lnTo>
                  <a:lnTo>
                    <a:pt x="97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4"/>
                  </a:lnTo>
                  <a:lnTo>
                    <a:pt x="97" y="16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20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0" y="32"/>
                  </a:lnTo>
                  <a:lnTo>
                    <a:pt x="88" y="34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8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8" y="52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8" y="61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6" y="61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3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3" y="68"/>
                  </a:lnTo>
                  <a:lnTo>
                    <a:pt x="81" y="70"/>
                  </a:lnTo>
                  <a:lnTo>
                    <a:pt x="81" y="72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1" y="79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90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79" y="101"/>
                  </a:lnTo>
                  <a:lnTo>
                    <a:pt x="79" y="101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2" y="104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4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0" y="104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5" y="99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6" y="97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0" y="97"/>
                  </a:lnTo>
                  <a:lnTo>
                    <a:pt x="47" y="95"/>
                  </a:lnTo>
                  <a:lnTo>
                    <a:pt x="45" y="95"/>
                  </a:lnTo>
                  <a:lnTo>
                    <a:pt x="43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38" y="92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9" y="63"/>
                  </a:lnTo>
                  <a:lnTo>
                    <a:pt x="9" y="61"/>
                  </a:lnTo>
                  <a:lnTo>
                    <a:pt x="9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2"/>
                  </a:lnTo>
                  <a:lnTo>
                    <a:pt x="7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4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9" y="14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5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3"/>
                  </a:lnTo>
                  <a:lnTo>
                    <a:pt x="94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7" name="Freeform 533"/>
            <p:cNvSpPr>
              <a:spLocks noEditPoints="1"/>
            </p:cNvSpPr>
            <p:nvPr/>
          </p:nvSpPr>
          <p:spPr bwMode="auto">
            <a:xfrm>
              <a:off x="10840698" y="5336321"/>
              <a:ext cx="650185" cy="508113"/>
            </a:xfrm>
            <a:custGeom>
              <a:avLst/>
              <a:gdLst>
                <a:gd name="T0" fmla="*/ 18 w 389"/>
                <a:gd name="T1" fmla="*/ 297 h 304"/>
                <a:gd name="T2" fmla="*/ 2 w 389"/>
                <a:gd name="T3" fmla="*/ 304 h 304"/>
                <a:gd name="T4" fmla="*/ 16 w 389"/>
                <a:gd name="T5" fmla="*/ 268 h 304"/>
                <a:gd name="T6" fmla="*/ 243 w 389"/>
                <a:gd name="T7" fmla="*/ 162 h 304"/>
                <a:gd name="T8" fmla="*/ 243 w 389"/>
                <a:gd name="T9" fmla="*/ 153 h 304"/>
                <a:gd name="T10" fmla="*/ 220 w 389"/>
                <a:gd name="T11" fmla="*/ 185 h 304"/>
                <a:gd name="T12" fmla="*/ 182 w 389"/>
                <a:gd name="T13" fmla="*/ 207 h 304"/>
                <a:gd name="T14" fmla="*/ 178 w 389"/>
                <a:gd name="T15" fmla="*/ 219 h 304"/>
                <a:gd name="T16" fmla="*/ 166 w 389"/>
                <a:gd name="T17" fmla="*/ 223 h 304"/>
                <a:gd name="T18" fmla="*/ 137 w 389"/>
                <a:gd name="T19" fmla="*/ 228 h 304"/>
                <a:gd name="T20" fmla="*/ 101 w 389"/>
                <a:gd name="T21" fmla="*/ 259 h 304"/>
                <a:gd name="T22" fmla="*/ 92 w 389"/>
                <a:gd name="T23" fmla="*/ 268 h 304"/>
                <a:gd name="T24" fmla="*/ 47 w 389"/>
                <a:gd name="T25" fmla="*/ 288 h 304"/>
                <a:gd name="T26" fmla="*/ 32 w 389"/>
                <a:gd name="T27" fmla="*/ 286 h 304"/>
                <a:gd name="T28" fmla="*/ 25 w 389"/>
                <a:gd name="T29" fmla="*/ 282 h 304"/>
                <a:gd name="T30" fmla="*/ 11 w 389"/>
                <a:gd name="T31" fmla="*/ 275 h 304"/>
                <a:gd name="T32" fmla="*/ 18 w 389"/>
                <a:gd name="T33" fmla="*/ 268 h 304"/>
                <a:gd name="T34" fmla="*/ 29 w 389"/>
                <a:gd name="T35" fmla="*/ 257 h 304"/>
                <a:gd name="T36" fmla="*/ 34 w 389"/>
                <a:gd name="T37" fmla="*/ 255 h 304"/>
                <a:gd name="T38" fmla="*/ 45 w 389"/>
                <a:gd name="T39" fmla="*/ 250 h 304"/>
                <a:gd name="T40" fmla="*/ 61 w 389"/>
                <a:gd name="T41" fmla="*/ 243 h 304"/>
                <a:gd name="T42" fmla="*/ 97 w 389"/>
                <a:gd name="T43" fmla="*/ 225 h 304"/>
                <a:gd name="T44" fmla="*/ 121 w 389"/>
                <a:gd name="T45" fmla="*/ 214 h 304"/>
                <a:gd name="T46" fmla="*/ 142 w 389"/>
                <a:gd name="T47" fmla="*/ 205 h 304"/>
                <a:gd name="T48" fmla="*/ 164 w 389"/>
                <a:gd name="T49" fmla="*/ 192 h 304"/>
                <a:gd name="T50" fmla="*/ 202 w 389"/>
                <a:gd name="T51" fmla="*/ 165 h 304"/>
                <a:gd name="T52" fmla="*/ 234 w 389"/>
                <a:gd name="T53" fmla="*/ 144 h 304"/>
                <a:gd name="T54" fmla="*/ 223 w 389"/>
                <a:gd name="T55" fmla="*/ 160 h 304"/>
                <a:gd name="T56" fmla="*/ 236 w 389"/>
                <a:gd name="T57" fmla="*/ 158 h 304"/>
                <a:gd name="T58" fmla="*/ 241 w 389"/>
                <a:gd name="T59" fmla="*/ 158 h 304"/>
                <a:gd name="T60" fmla="*/ 238 w 389"/>
                <a:gd name="T61" fmla="*/ 160 h 304"/>
                <a:gd name="T62" fmla="*/ 247 w 389"/>
                <a:gd name="T63" fmla="*/ 158 h 304"/>
                <a:gd name="T64" fmla="*/ 245 w 389"/>
                <a:gd name="T65" fmla="*/ 162 h 304"/>
                <a:gd name="T66" fmla="*/ 333 w 389"/>
                <a:gd name="T67" fmla="*/ 57 h 304"/>
                <a:gd name="T68" fmla="*/ 351 w 389"/>
                <a:gd name="T69" fmla="*/ 41 h 304"/>
                <a:gd name="T70" fmla="*/ 351 w 389"/>
                <a:gd name="T71" fmla="*/ 41 h 304"/>
                <a:gd name="T72" fmla="*/ 297 w 389"/>
                <a:gd name="T73" fmla="*/ 147 h 304"/>
                <a:gd name="T74" fmla="*/ 254 w 389"/>
                <a:gd name="T75" fmla="*/ 162 h 304"/>
                <a:gd name="T76" fmla="*/ 279 w 389"/>
                <a:gd name="T77" fmla="*/ 140 h 304"/>
                <a:gd name="T78" fmla="*/ 297 w 389"/>
                <a:gd name="T79" fmla="*/ 102 h 304"/>
                <a:gd name="T80" fmla="*/ 315 w 389"/>
                <a:gd name="T81" fmla="*/ 81 h 304"/>
                <a:gd name="T82" fmla="*/ 321 w 389"/>
                <a:gd name="T83" fmla="*/ 66 h 304"/>
                <a:gd name="T84" fmla="*/ 321 w 389"/>
                <a:gd name="T85" fmla="*/ 52 h 304"/>
                <a:gd name="T86" fmla="*/ 330 w 389"/>
                <a:gd name="T87" fmla="*/ 43 h 304"/>
                <a:gd name="T88" fmla="*/ 326 w 389"/>
                <a:gd name="T89" fmla="*/ 43 h 304"/>
                <a:gd name="T90" fmla="*/ 321 w 389"/>
                <a:gd name="T91" fmla="*/ 41 h 304"/>
                <a:gd name="T92" fmla="*/ 324 w 389"/>
                <a:gd name="T93" fmla="*/ 23 h 304"/>
                <a:gd name="T94" fmla="*/ 321 w 389"/>
                <a:gd name="T95" fmla="*/ 9 h 304"/>
                <a:gd name="T96" fmla="*/ 326 w 389"/>
                <a:gd name="T97" fmla="*/ 5 h 304"/>
                <a:gd name="T98" fmla="*/ 330 w 389"/>
                <a:gd name="T99" fmla="*/ 14 h 304"/>
                <a:gd name="T100" fmla="*/ 337 w 389"/>
                <a:gd name="T101" fmla="*/ 18 h 304"/>
                <a:gd name="T102" fmla="*/ 342 w 389"/>
                <a:gd name="T103" fmla="*/ 23 h 304"/>
                <a:gd name="T104" fmla="*/ 335 w 389"/>
                <a:gd name="T105" fmla="*/ 34 h 304"/>
                <a:gd name="T106" fmla="*/ 335 w 389"/>
                <a:gd name="T107" fmla="*/ 45 h 304"/>
                <a:gd name="T108" fmla="*/ 324 w 389"/>
                <a:gd name="T109" fmla="*/ 59 h 304"/>
                <a:gd name="T110" fmla="*/ 337 w 389"/>
                <a:gd name="T111" fmla="*/ 66 h 304"/>
                <a:gd name="T112" fmla="*/ 342 w 389"/>
                <a:gd name="T113" fmla="*/ 52 h 304"/>
                <a:gd name="T114" fmla="*/ 346 w 389"/>
                <a:gd name="T115" fmla="*/ 57 h 304"/>
                <a:gd name="T116" fmla="*/ 342 w 389"/>
                <a:gd name="T117" fmla="*/ 72 h 304"/>
                <a:gd name="T118" fmla="*/ 342 w 389"/>
                <a:gd name="T119" fmla="*/ 79 h 304"/>
                <a:gd name="T120" fmla="*/ 369 w 389"/>
                <a:gd name="T121" fmla="*/ 81 h 304"/>
                <a:gd name="T122" fmla="*/ 373 w 389"/>
                <a:gd name="T123" fmla="*/ 93 h 304"/>
                <a:gd name="T124" fmla="*/ 351 w 389"/>
                <a:gd name="T125" fmla="*/ 11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9" h="304">
                  <a:moveTo>
                    <a:pt x="2" y="304"/>
                  </a:moveTo>
                  <a:lnTo>
                    <a:pt x="0" y="304"/>
                  </a:lnTo>
                  <a:lnTo>
                    <a:pt x="0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2"/>
                  </a:lnTo>
                  <a:lnTo>
                    <a:pt x="2" y="304"/>
                  </a:lnTo>
                  <a:close/>
                  <a:moveTo>
                    <a:pt x="16" y="293"/>
                  </a:moveTo>
                  <a:lnTo>
                    <a:pt x="14" y="293"/>
                  </a:lnTo>
                  <a:lnTo>
                    <a:pt x="14" y="293"/>
                  </a:lnTo>
                  <a:lnTo>
                    <a:pt x="14" y="293"/>
                  </a:lnTo>
                  <a:lnTo>
                    <a:pt x="14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close/>
                  <a:moveTo>
                    <a:pt x="32" y="293"/>
                  </a:moveTo>
                  <a:lnTo>
                    <a:pt x="32" y="293"/>
                  </a:lnTo>
                  <a:lnTo>
                    <a:pt x="32" y="293"/>
                  </a:lnTo>
                  <a:lnTo>
                    <a:pt x="32" y="293"/>
                  </a:lnTo>
                  <a:lnTo>
                    <a:pt x="32" y="293"/>
                  </a:lnTo>
                  <a:lnTo>
                    <a:pt x="32" y="293"/>
                  </a:lnTo>
                  <a:lnTo>
                    <a:pt x="32" y="293"/>
                  </a:lnTo>
                  <a:lnTo>
                    <a:pt x="32" y="293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3"/>
                  </a:lnTo>
                  <a:lnTo>
                    <a:pt x="32" y="293"/>
                  </a:lnTo>
                  <a:lnTo>
                    <a:pt x="32" y="293"/>
                  </a:lnTo>
                  <a:close/>
                  <a:moveTo>
                    <a:pt x="23" y="291"/>
                  </a:moveTo>
                  <a:lnTo>
                    <a:pt x="23" y="291"/>
                  </a:lnTo>
                  <a:lnTo>
                    <a:pt x="23" y="291"/>
                  </a:lnTo>
                  <a:lnTo>
                    <a:pt x="23" y="293"/>
                  </a:lnTo>
                  <a:lnTo>
                    <a:pt x="23" y="293"/>
                  </a:lnTo>
                  <a:lnTo>
                    <a:pt x="23" y="293"/>
                  </a:lnTo>
                  <a:lnTo>
                    <a:pt x="23" y="293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0" y="295"/>
                  </a:lnTo>
                  <a:lnTo>
                    <a:pt x="20" y="295"/>
                  </a:lnTo>
                  <a:lnTo>
                    <a:pt x="20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6" y="297"/>
                  </a:lnTo>
                  <a:lnTo>
                    <a:pt x="16" y="297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297"/>
                  </a:lnTo>
                  <a:lnTo>
                    <a:pt x="20" y="300"/>
                  </a:lnTo>
                  <a:lnTo>
                    <a:pt x="20" y="300"/>
                  </a:lnTo>
                  <a:lnTo>
                    <a:pt x="20" y="297"/>
                  </a:lnTo>
                  <a:lnTo>
                    <a:pt x="18" y="297"/>
                  </a:lnTo>
                  <a:lnTo>
                    <a:pt x="18" y="300"/>
                  </a:lnTo>
                  <a:lnTo>
                    <a:pt x="20" y="300"/>
                  </a:lnTo>
                  <a:lnTo>
                    <a:pt x="20" y="300"/>
                  </a:lnTo>
                  <a:lnTo>
                    <a:pt x="20" y="300"/>
                  </a:lnTo>
                  <a:lnTo>
                    <a:pt x="20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6" y="300"/>
                  </a:lnTo>
                  <a:lnTo>
                    <a:pt x="14" y="300"/>
                  </a:lnTo>
                  <a:lnTo>
                    <a:pt x="14" y="300"/>
                  </a:lnTo>
                  <a:lnTo>
                    <a:pt x="11" y="302"/>
                  </a:lnTo>
                  <a:lnTo>
                    <a:pt x="11" y="302"/>
                  </a:lnTo>
                  <a:lnTo>
                    <a:pt x="11" y="302"/>
                  </a:lnTo>
                  <a:lnTo>
                    <a:pt x="11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0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4"/>
                  </a:lnTo>
                  <a:lnTo>
                    <a:pt x="5" y="304"/>
                  </a:lnTo>
                  <a:lnTo>
                    <a:pt x="5" y="304"/>
                  </a:lnTo>
                  <a:lnTo>
                    <a:pt x="5" y="304"/>
                  </a:lnTo>
                  <a:lnTo>
                    <a:pt x="5" y="304"/>
                  </a:lnTo>
                  <a:lnTo>
                    <a:pt x="5" y="304"/>
                  </a:lnTo>
                  <a:lnTo>
                    <a:pt x="5" y="304"/>
                  </a:lnTo>
                  <a:lnTo>
                    <a:pt x="2" y="304"/>
                  </a:lnTo>
                  <a:lnTo>
                    <a:pt x="2" y="304"/>
                  </a:lnTo>
                  <a:lnTo>
                    <a:pt x="2" y="304"/>
                  </a:lnTo>
                  <a:lnTo>
                    <a:pt x="2" y="304"/>
                  </a:lnTo>
                  <a:lnTo>
                    <a:pt x="2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5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0"/>
                  </a:lnTo>
                  <a:lnTo>
                    <a:pt x="7" y="300"/>
                  </a:lnTo>
                  <a:lnTo>
                    <a:pt x="7" y="300"/>
                  </a:lnTo>
                  <a:lnTo>
                    <a:pt x="7" y="300"/>
                  </a:lnTo>
                  <a:lnTo>
                    <a:pt x="7" y="300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300"/>
                  </a:lnTo>
                  <a:lnTo>
                    <a:pt x="11" y="300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6" y="295"/>
                  </a:lnTo>
                  <a:lnTo>
                    <a:pt x="16" y="295"/>
                  </a:lnTo>
                  <a:lnTo>
                    <a:pt x="16" y="295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3"/>
                  </a:lnTo>
                  <a:lnTo>
                    <a:pt x="16" y="291"/>
                  </a:lnTo>
                  <a:lnTo>
                    <a:pt x="16" y="291"/>
                  </a:lnTo>
                  <a:lnTo>
                    <a:pt x="18" y="291"/>
                  </a:lnTo>
                  <a:lnTo>
                    <a:pt x="18" y="291"/>
                  </a:lnTo>
                  <a:lnTo>
                    <a:pt x="18" y="291"/>
                  </a:lnTo>
                  <a:lnTo>
                    <a:pt x="18" y="291"/>
                  </a:lnTo>
                  <a:lnTo>
                    <a:pt x="20" y="291"/>
                  </a:lnTo>
                  <a:lnTo>
                    <a:pt x="20" y="291"/>
                  </a:lnTo>
                  <a:lnTo>
                    <a:pt x="20" y="291"/>
                  </a:lnTo>
                  <a:lnTo>
                    <a:pt x="20" y="291"/>
                  </a:lnTo>
                  <a:lnTo>
                    <a:pt x="20" y="291"/>
                  </a:lnTo>
                  <a:lnTo>
                    <a:pt x="20" y="291"/>
                  </a:lnTo>
                  <a:lnTo>
                    <a:pt x="23" y="291"/>
                  </a:lnTo>
                  <a:close/>
                  <a:moveTo>
                    <a:pt x="20" y="266"/>
                  </a:moveTo>
                  <a:lnTo>
                    <a:pt x="18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4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6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20" y="266"/>
                  </a:lnTo>
                  <a:close/>
                  <a:moveTo>
                    <a:pt x="32" y="257"/>
                  </a:move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34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2" y="257"/>
                  </a:lnTo>
                  <a:lnTo>
                    <a:pt x="32" y="257"/>
                  </a:lnTo>
                  <a:close/>
                  <a:moveTo>
                    <a:pt x="250" y="160"/>
                  </a:moveTo>
                  <a:lnTo>
                    <a:pt x="250" y="160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7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50" y="160"/>
                  </a:lnTo>
                  <a:lnTo>
                    <a:pt x="250" y="160"/>
                  </a:lnTo>
                  <a:lnTo>
                    <a:pt x="250" y="160"/>
                  </a:lnTo>
                  <a:lnTo>
                    <a:pt x="250" y="160"/>
                  </a:lnTo>
                  <a:lnTo>
                    <a:pt x="250" y="160"/>
                  </a:lnTo>
                  <a:lnTo>
                    <a:pt x="250" y="160"/>
                  </a:lnTo>
                  <a:close/>
                  <a:moveTo>
                    <a:pt x="247" y="151"/>
                  </a:moveTo>
                  <a:lnTo>
                    <a:pt x="247" y="151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3"/>
                  </a:lnTo>
                  <a:lnTo>
                    <a:pt x="241" y="153"/>
                  </a:lnTo>
                  <a:lnTo>
                    <a:pt x="241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1" y="153"/>
                  </a:lnTo>
                  <a:lnTo>
                    <a:pt x="241" y="153"/>
                  </a:lnTo>
                  <a:lnTo>
                    <a:pt x="241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3"/>
                  </a:lnTo>
                  <a:lnTo>
                    <a:pt x="243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7" y="151"/>
                  </a:lnTo>
                  <a:lnTo>
                    <a:pt x="245" y="151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7" y="149"/>
                  </a:lnTo>
                  <a:lnTo>
                    <a:pt x="247" y="149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7" y="151"/>
                  </a:lnTo>
                  <a:lnTo>
                    <a:pt x="247" y="151"/>
                  </a:lnTo>
                  <a:close/>
                  <a:moveTo>
                    <a:pt x="232" y="174"/>
                  </a:moveTo>
                  <a:lnTo>
                    <a:pt x="232" y="174"/>
                  </a:lnTo>
                  <a:lnTo>
                    <a:pt x="232" y="174"/>
                  </a:lnTo>
                  <a:lnTo>
                    <a:pt x="232" y="174"/>
                  </a:lnTo>
                  <a:lnTo>
                    <a:pt x="232" y="174"/>
                  </a:lnTo>
                  <a:lnTo>
                    <a:pt x="232" y="174"/>
                  </a:lnTo>
                  <a:lnTo>
                    <a:pt x="234" y="174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6" y="171"/>
                  </a:lnTo>
                  <a:lnTo>
                    <a:pt x="236" y="171"/>
                  </a:lnTo>
                  <a:lnTo>
                    <a:pt x="236" y="171"/>
                  </a:lnTo>
                  <a:lnTo>
                    <a:pt x="236" y="174"/>
                  </a:lnTo>
                  <a:lnTo>
                    <a:pt x="236" y="174"/>
                  </a:lnTo>
                  <a:lnTo>
                    <a:pt x="236" y="174"/>
                  </a:lnTo>
                  <a:lnTo>
                    <a:pt x="236" y="174"/>
                  </a:lnTo>
                  <a:lnTo>
                    <a:pt x="236" y="174"/>
                  </a:lnTo>
                  <a:lnTo>
                    <a:pt x="236" y="174"/>
                  </a:lnTo>
                  <a:lnTo>
                    <a:pt x="236" y="174"/>
                  </a:lnTo>
                  <a:lnTo>
                    <a:pt x="232" y="176"/>
                  </a:lnTo>
                  <a:lnTo>
                    <a:pt x="232" y="178"/>
                  </a:lnTo>
                  <a:lnTo>
                    <a:pt x="225" y="180"/>
                  </a:lnTo>
                  <a:lnTo>
                    <a:pt x="225" y="183"/>
                  </a:lnTo>
                  <a:lnTo>
                    <a:pt x="223" y="183"/>
                  </a:lnTo>
                  <a:lnTo>
                    <a:pt x="223" y="183"/>
                  </a:lnTo>
                  <a:lnTo>
                    <a:pt x="223" y="183"/>
                  </a:lnTo>
                  <a:lnTo>
                    <a:pt x="223" y="185"/>
                  </a:lnTo>
                  <a:lnTo>
                    <a:pt x="223" y="185"/>
                  </a:lnTo>
                  <a:lnTo>
                    <a:pt x="220" y="185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3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20" y="185"/>
                  </a:lnTo>
                  <a:lnTo>
                    <a:pt x="218" y="185"/>
                  </a:lnTo>
                  <a:lnTo>
                    <a:pt x="218" y="187"/>
                  </a:lnTo>
                  <a:lnTo>
                    <a:pt x="218" y="187"/>
                  </a:lnTo>
                  <a:lnTo>
                    <a:pt x="216" y="187"/>
                  </a:lnTo>
                  <a:lnTo>
                    <a:pt x="216" y="187"/>
                  </a:lnTo>
                  <a:lnTo>
                    <a:pt x="216" y="187"/>
                  </a:lnTo>
                  <a:lnTo>
                    <a:pt x="216" y="187"/>
                  </a:lnTo>
                  <a:lnTo>
                    <a:pt x="214" y="187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1" y="192"/>
                  </a:lnTo>
                  <a:lnTo>
                    <a:pt x="211" y="192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89"/>
                  </a:lnTo>
                  <a:lnTo>
                    <a:pt x="211" y="192"/>
                  </a:lnTo>
                  <a:lnTo>
                    <a:pt x="209" y="192"/>
                  </a:lnTo>
                  <a:lnTo>
                    <a:pt x="209" y="192"/>
                  </a:lnTo>
                  <a:lnTo>
                    <a:pt x="207" y="192"/>
                  </a:lnTo>
                  <a:lnTo>
                    <a:pt x="207" y="194"/>
                  </a:lnTo>
                  <a:lnTo>
                    <a:pt x="205" y="194"/>
                  </a:lnTo>
                  <a:lnTo>
                    <a:pt x="205" y="196"/>
                  </a:lnTo>
                  <a:lnTo>
                    <a:pt x="205" y="196"/>
                  </a:lnTo>
                  <a:lnTo>
                    <a:pt x="205" y="196"/>
                  </a:lnTo>
                  <a:lnTo>
                    <a:pt x="205" y="196"/>
                  </a:lnTo>
                  <a:lnTo>
                    <a:pt x="205" y="196"/>
                  </a:lnTo>
                  <a:lnTo>
                    <a:pt x="205" y="196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198" y="201"/>
                  </a:lnTo>
                  <a:lnTo>
                    <a:pt x="198" y="201"/>
                  </a:lnTo>
                  <a:lnTo>
                    <a:pt x="198" y="201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6" y="203"/>
                  </a:lnTo>
                  <a:lnTo>
                    <a:pt x="196" y="203"/>
                  </a:lnTo>
                  <a:lnTo>
                    <a:pt x="196" y="203"/>
                  </a:lnTo>
                  <a:lnTo>
                    <a:pt x="196" y="203"/>
                  </a:lnTo>
                  <a:lnTo>
                    <a:pt x="196" y="203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91" y="203"/>
                  </a:lnTo>
                  <a:lnTo>
                    <a:pt x="191" y="203"/>
                  </a:lnTo>
                  <a:lnTo>
                    <a:pt x="191" y="205"/>
                  </a:lnTo>
                  <a:lnTo>
                    <a:pt x="191" y="205"/>
                  </a:lnTo>
                  <a:lnTo>
                    <a:pt x="191" y="205"/>
                  </a:lnTo>
                  <a:lnTo>
                    <a:pt x="189" y="205"/>
                  </a:lnTo>
                  <a:lnTo>
                    <a:pt x="189" y="205"/>
                  </a:lnTo>
                  <a:lnTo>
                    <a:pt x="184" y="205"/>
                  </a:lnTo>
                  <a:lnTo>
                    <a:pt x="184" y="207"/>
                  </a:lnTo>
                  <a:lnTo>
                    <a:pt x="184" y="207"/>
                  </a:lnTo>
                  <a:lnTo>
                    <a:pt x="182" y="207"/>
                  </a:lnTo>
                  <a:lnTo>
                    <a:pt x="180" y="207"/>
                  </a:lnTo>
                  <a:lnTo>
                    <a:pt x="180" y="210"/>
                  </a:lnTo>
                  <a:lnTo>
                    <a:pt x="178" y="210"/>
                  </a:lnTo>
                  <a:lnTo>
                    <a:pt x="178" y="210"/>
                  </a:lnTo>
                  <a:lnTo>
                    <a:pt x="178" y="210"/>
                  </a:lnTo>
                  <a:lnTo>
                    <a:pt x="178" y="210"/>
                  </a:lnTo>
                  <a:lnTo>
                    <a:pt x="178" y="210"/>
                  </a:lnTo>
                  <a:lnTo>
                    <a:pt x="173" y="210"/>
                  </a:lnTo>
                  <a:lnTo>
                    <a:pt x="175" y="212"/>
                  </a:lnTo>
                  <a:lnTo>
                    <a:pt x="178" y="210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5" y="214"/>
                  </a:lnTo>
                  <a:lnTo>
                    <a:pt x="175" y="214"/>
                  </a:lnTo>
                  <a:lnTo>
                    <a:pt x="175" y="214"/>
                  </a:lnTo>
                  <a:lnTo>
                    <a:pt x="175" y="214"/>
                  </a:lnTo>
                  <a:lnTo>
                    <a:pt x="173" y="214"/>
                  </a:lnTo>
                  <a:lnTo>
                    <a:pt x="173" y="214"/>
                  </a:lnTo>
                  <a:lnTo>
                    <a:pt x="171" y="214"/>
                  </a:lnTo>
                  <a:lnTo>
                    <a:pt x="171" y="214"/>
                  </a:lnTo>
                  <a:lnTo>
                    <a:pt x="169" y="214"/>
                  </a:lnTo>
                  <a:lnTo>
                    <a:pt x="171" y="214"/>
                  </a:lnTo>
                  <a:lnTo>
                    <a:pt x="173" y="214"/>
                  </a:lnTo>
                  <a:lnTo>
                    <a:pt x="173" y="214"/>
                  </a:lnTo>
                  <a:lnTo>
                    <a:pt x="175" y="214"/>
                  </a:lnTo>
                  <a:lnTo>
                    <a:pt x="175" y="214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16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1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3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3" y="221"/>
                  </a:lnTo>
                  <a:lnTo>
                    <a:pt x="173" y="221"/>
                  </a:lnTo>
                  <a:lnTo>
                    <a:pt x="173" y="221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5" y="219"/>
                  </a:lnTo>
                  <a:lnTo>
                    <a:pt x="178" y="219"/>
                  </a:lnTo>
                  <a:lnTo>
                    <a:pt x="178" y="219"/>
                  </a:lnTo>
                  <a:lnTo>
                    <a:pt x="178" y="219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8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5" y="221"/>
                  </a:lnTo>
                  <a:lnTo>
                    <a:pt x="175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1"/>
                  </a:lnTo>
                  <a:lnTo>
                    <a:pt x="173" y="221"/>
                  </a:lnTo>
                  <a:lnTo>
                    <a:pt x="173" y="221"/>
                  </a:lnTo>
                  <a:lnTo>
                    <a:pt x="173" y="221"/>
                  </a:lnTo>
                  <a:lnTo>
                    <a:pt x="173" y="221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1" y="223"/>
                  </a:lnTo>
                  <a:lnTo>
                    <a:pt x="171" y="225"/>
                  </a:lnTo>
                  <a:lnTo>
                    <a:pt x="171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5"/>
                  </a:lnTo>
                  <a:lnTo>
                    <a:pt x="169" y="223"/>
                  </a:lnTo>
                  <a:lnTo>
                    <a:pt x="166" y="223"/>
                  </a:lnTo>
                  <a:lnTo>
                    <a:pt x="169" y="223"/>
                  </a:lnTo>
                  <a:lnTo>
                    <a:pt x="169" y="223"/>
                  </a:lnTo>
                  <a:lnTo>
                    <a:pt x="169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2" y="223"/>
                  </a:lnTo>
                  <a:lnTo>
                    <a:pt x="160" y="223"/>
                  </a:lnTo>
                  <a:lnTo>
                    <a:pt x="160" y="223"/>
                  </a:lnTo>
                  <a:lnTo>
                    <a:pt x="162" y="223"/>
                  </a:lnTo>
                  <a:lnTo>
                    <a:pt x="162" y="223"/>
                  </a:lnTo>
                  <a:lnTo>
                    <a:pt x="162" y="223"/>
                  </a:lnTo>
                  <a:lnTo>
                    <a:pt x="162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2" y="221"/>
                  </a:lnTo>
                  <a:lnTo>
                    <a:pt x="162" y="221"/>
                  </a:lnTo>
                  <a:lnTo>
                    <a:pt x="162" y="221"/>
                  </a:lnTo>
                  <a:lnTo>
                    <a:pt x="162" y="223"/>
                  </a:lnTo>
                  <a:lnTo>
                    <a:pt x="160" y="223"/>
                  </a:lnTo>
                  <a:lnTo>
                    <a:pt x="160" y="223"/>
                  </a:lnTo>
                  <a:lnTo>
                    <a:pt x="160" y="223"/>
                  </a:lnTo>
                  <a:lnTo>
                    <a:pt x="160" y="223"/>
                  </a:lnTo>
                  <a:lnTo>
                    <a:pt x="160" y="223"/>
                  </a:lnTo>
                  <a:lnTo>
                    <a:pt x="160" y="223"/>
                  </a:lnTo>
                  <a:lnTo>
                    <a:pt x="157" y="225"/>
                  </a:lnTo>
                  <a:lnTo>
                    <a:pt x="157" y="225"/>
                  </a:lnTo>
                  <a:lnTo>
                    <a:pt x="157" y="223"/>
                  </a:lnTo>
                  <a:lnTo>
                    <a:pt x="157" y="223"/>
                  </a:lnTo>
                  <a:lnTo>
                    <a:pt x="157" y="221"/>
                  </a:lnTo>
                  <a:lnTo>
                    <a:pt x="155" y="219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1"/>
                  </a:lnTo>
                  <a:lnTo>
                    <a:pt x="155" y="223"/>
                  </a:lnTo>
                  <a:lnTo>
                    <a:pt x="155" y="223"/>
                  </a:lnTo>
                  <a:lnTo>
                    <a:pt x="155" y="223"/>
                  </a:lnTo>
                  <a:lnTo>
                    <a:pt x="155" y="225"/>
                  </a:lnTo>
                  <a:lnTo>
                    <a:pt x="155" y="225"/>
                  </a:lnTo>
                  <a:lnTo>
                    <a:pt x="155" y="225"/>
                  </a:lnTo>
                  <a:lnTo>
                    <a:pt x="153" y="225"/>
                  </a:lnTo>
                  <a:lnTo>
                    <a:pt x="146" y="228"/>
                  </a:lnTo>
                  <a:lnTo>
                    <a:pt x="146" y="230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8"/>
                  </a:lnTo>
                  <a:lnTo>
                    <a:pt x="146" y="225"/>
                  </a:lnTo>
                  <a:lnTo>
                    <a:pt x="146" y="225"/>
                  </a:lnTo>
                  <a:lnTo>
                    <a:pt x="146" y="228"/>
                  </a:lnTo>
                  <a:lnTo>
                    <a:pt x="144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42" y="230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37" y="232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9" y="230"/>
                  </a:lnTo>
                  <a:lnTo>
                    <a:pt x="137" y="228"/>
                  </a:lnTo>
                  <a:lnTo>
                    <a:pt x="137" y="228"/>
                  </a:lnTo>
                  <a:lnTo>
                    <a:pt x="137" y="228"/>
                  </a:lnTo>
                  <a:lnTo>
                    <a:pt x="137" y="228"/>
                  </a:lnTo>
                  <a:lnTo>
                    <a:pt x="137" y="228"/>
                  </a:lnTo>
                  <a:lnTo>
                    <a:pt x="137" y="228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5" y="232"/>
                  </a:lnTo>
                  <a:lnTo>
                    <a:pt x="135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33" y="234"/>
                  </a:lnTo>
                  <a:lnTo>
                    <a:pt x="128" y="237"/>
                  </a:lnTo>
                  <a:lnTo>
                    <a:pt x="128" y="237"/>
                  </a:lnTo>
                  <a:lnTo>
                    <a:pt x="128" y="237"/>
                  </a:lnTo>
                  <a:lnTo>
                    <a:pt x="128" y="239"/>
                  </a:lnTo>
                  <a:lnTo>
                    <a:pt x="126" y="239"/>
                  </a:lnTo>
                  <a:lnTo>
                    <a:pt x="126" y="239"/>
                  </a:lnTo>
                  <a:lnTo>
                    <a:pt x="126" y="239"/>
                  </a:lnTo>
                  <a:lnTo>
                    <a:pt x="126" y="239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1"/>
                  </a:lnTo>
                  <a:lnTo>
                    <a:pt x="124" y="241"/>
                  </a:lnTo>
                  <a:lnTo>
                    <a:pt x="124" y="241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21" y="246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17" y="248"/>
                  </a:lnTo>
                  <a:lnTo>
                    <a:pt x="117" y="250"/>
                  </a:lnTo>
                  <a:lnTo>
                    <a:pt x="117" y="250"/>
                  </a:lnTo>
                  <a:lnTo>
                    <a:pt x="115" y="250"/>
                  </a:lnTo>
                  <a:lnTo>
                    <a:pt x="112" y="248"/>
                  </a:lnTo>
                  <a:lnTo>
                    <a:pt x="115" y="250"/>
                  </a:lnTo>
                  <a:lnTo>
                    <a:pt x="115" y="250"/>
                  </a:lnTo>
                  <a:lnTo>
                    <a:pt x="115" y="250"/>
                  </a:lnTo>
                  <a:lnTo>
                    <a:pt x="112" y="252"/>
                  </a:lnTo>
                  <a:lnTo>
                    <a:pt x="108" y="255"/>
                  </a:lnTo>
                  <a:lnTo>
                    <a:pt x="106" y="257"/>
                  </a:lnTo>
                  <a:lnTo>
                    <a:pt x="103" y="259"/>
                  </a:lnTo>
                  <a:lnTo>
                    <a:pt x="103" y="259"/>
                  </a:lnTo>
                  <a:lnTo>
                    <a:pt x="101" y="259"/>
                  </a:lnTo>
                  <a:lnTo>
                    <a:pt x="101" y="259"/>
                  </a:lnTo>
                  <a:lnTo>
                    <a:pt x="103" y="259"/>
                  </a:lnTo>
                  <a:lnTo>
                    <a:pt x="101" y="259"/>
                  </a:lnTo>
                  <a:lnTo>
                    <a:pt x="101" y="261"/>
                  </a:lnTo>
                  <a:lnTo>
                    <a:pt x="101" y="261"/>
                  </a:lnTo>
                  <a:lnTo>
                    <a:pt x="99" y="261"/>
                  </a:lnTo>
                  <a:lnTo>
                    <a:pt x="99" y="261"/>
                  </a:lnTo>
                  <a:lnTo>
                    <a:pt x="99" y="261"/>
                  </a:lnTo>
                  <a:lnTo>
                    <a:pt x="99" y="261"/>
                  </a:lnTo>
                  <a:lnTo>
                    <a:pt x="99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7" y="264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5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6"/>
                  </a:lnTo>
                  <a:lnTo>
                    <a:pt x="92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0" y="268"/>
                  </a:lnTo>
                  <a:lnTo>
                    <a:pt x="92" y="268"/>
                  </a:lnTo>
                  <a:lnTo>
                    <a:pt x="92" y="268"/>
                  </a:lnTo>
                  <a:lnTo>
                    <a:pt x="92" y="268"/>
                  </a:lnTo>
                  <a:lnTo>
                    <a:pt x="92" y="268"/>
                  </a:lnTo>
                  <a:lnTo>
                    <a:pt x="92" y="268"/>
                  </a:lnTo>
                  <a:lnTo>
                    <a:pt x="92" y="268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86" y="270"/>
                  </a:lnTo>
                  <a:lnTo>
                    <a:pt x="86" y="273"/>
                  </a:lnTo>
                  <a:lnTo>
                    <a:pt x="86" y="273"/>
                  </a:lnTo>
                  <a:lnTo>
                    <a:pt x="88" y="270"/>
                  </a:lnTo>
                  <a:lnTo>
                    <a:pt x="88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2" y="268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90" y="270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88" y="273"/>
                  </a:lnTo>
                  <a:lnTo>
                    <a:pt x="83" y="273"/>
                  </a:lnTo>
                  <a:lnTo>
                    <a:pt x="81" y="273"/>
                  </a:lnTo>
                  <a:lnTo>
                    <a:pt x="81" y="273"/>
                  </a:lnTo>
                  <a:lnTo>
                    <a:pt x="79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7"/>
                  </a:lnTo>
                  <a:lnTo>
                    <a:pt x="77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9"/>
                  </a:lnTo>
                  <a:lnTo>
                    <a:pt x="72" y="279"/>
                  </a:lnTo>
                  <a:lnTo>
                    <a:pt x="72" y="279"/>
                  </a:lnTo>
                  <a:lnTo>
                    <a:pt x="70" y="279"/>
                  </a:lnTo>
                  <a:lnTo>
                    <a:pt x="70" y="279"/>
                  </a:lnTo>
                  <a:lnTo>
                    <a:pt x="70" y="279"/>
                  </a:lnTo>
                  <a:lnTo>
                    <a:pt x="68" y="282"/>
                  </a:lnTo>
                  <a:lnTo>
                    <a:pt x="65" y="282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61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56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59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2" y="288"/>
                  </a:lnTo>
                  <a:lnTo>
                    <a:pt x="50" y="288"/>
                  </a:lnTo>
                  <a:lnTo>
                    <a:pt x="50" y="288"/>
                  </a:lnTo>
                  <a:lnTo>
                    <a:pt x="50" y="288"/>
                  </a:lnTo>
                  <a:lnTo>
                    <a:pt x="50" y="288"/>
                  </a:lnTo>
                  <a:lnTo>
                    <a:pt x="50" y="288"/>
                  </a:lnTo>
                  <a:lnTo>
                    <a:pt x="50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88"/>
                  </a:lnTo>
                  <a:lnTo>
                    <a:pt x="47" y="291"/>
                  </a:lnTo>
                  <a:lnTo>
                    <a:pt x="45" y="291"/>
                  </a:lnTo>
                  <a:lnTo>
                    <a:pt x="45" y="291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91"/>
                  </a:lnTo>
                  <a:lnTo>
                    <a:pt x="45" y="291"/>
                  </a:lnTo>
                  <a:lnTo>
                    <a:pt x="45" y="291"/>
                  </a:lnTo>
                  <a:lnTo>
                    <a:pt x="43" y="291"/>
                  </a:lnTo>
                  <a:lnTo>
                    <a:pt x="43" y="291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88"/>
                  </a:lnTo>
                  <a:lnTo>
                    <a:pt x="43" y="291"/>
                  </a:lnTo>
                  <a:lnTo>
                    <a:pt x="43" y="291"/>
                  </a:lnTo>
                  <a:lnTo>
                    <a:pt x="43" y="291"/>
                  </a:lnTo>
                  <a:lnTo>
                    <a:pt x="41" y="291"/>
                  </a:lnTo>
                  <a:lnTo>
                    <a:pt x="41" y="291"/>
                  </a:lnTo>
                  <a:lnTo>
                    <a:pt x="41" y="291"/>
                  </a:lnTo>
                  <a:lnTo>
                    <a:pt x="41" y="291"/>
                  </a:lnTo>
                  <a:lnTo>
                    <a:pt x="41" y="291"/>
                  </a:lnTo>
                  <a:lnTo>
                    <a:pt x="41" y="288"/>
                  </a:lnTo>
                  <a:lnTo>
                    <a:pt x="41" y="288"/>
                  </a:lnTo>
                  <a:lnTo>
                    <a:pt x="41" y="288"/>
                  </a:lnTo>
                  <a:lnTo>
                    <a:pt x="41" y="288"/>
                  </a:lnTo>
                  <a:lnTo>
                    <a:pt x="41" y="288"/>
                  </a:lnTo>
                  <a:lnTo>
                    <a:pt x="41" y="288"/>
                  </a:lnTo>
                  <a:lnTo>
                    <a:pt x="38" y="288"/>
                  </a:lnTo>
                  <a:lnTo>
                    <a:pt x="36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4" y="288"/>
                  </a:lnTo>
                  <a:lnTo>
                    <a:pt x="36" y="288"/>
                  </a:lnTo>
                  <a:lnTo>
                    <a:pt x="36" y="288"/>
                  </a:lnTo>
                  <a:lnTo>
                    <a:pt x="34" y="286"/>
                  </a:lnTo>
                  <a:lnTo>
                    <a:pt x="34" y="288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8"/>
                  </a:lnTo>
                  <a:lnTo>
                    <a:pt x="32" y="286"/>
                  </a:lnTo>
                  <a:lnTo>
                    <a:pt x="29" y="286"/>
                  </a:lnTo>
                  <a:lnTo>
                    <a:pt x="29" y="286"/>
                  </a:lnTo>
                  <a:lnTo>
                    <a:pt x="29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4" y="286"/>
                  </a:lnTo>
                  <a:lnTo>
                    <a:pt x="34" y="286"/>
                  </a:lnTo>
                  <a:lnTo>
                    <a:pt x="34" y="284"/>
                  </a:lnTo>
                  <a:lnTo>
                    <a:pt x="34" y="284"/>
                  </a:lnTo>
                  <a:lnTo>
                    <a:pt x="34" y="284"/>
                  </a:lnTo>
                  <a:lnTo>
                    <a:pt x="34" y="284"/>
                  </a:lnTo>
                  <a:lnTo>
                    <a:pt x="34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6"/>
                  </a:lnTo>
                  <a:lnTo>
                    <a:pt x="32" y="284"/>
                  </a:lnTo>
                  <a:lnTo>
                    <a:pt x="34" y="282"/>
                  </a:lnTo>
                  <a:lnTo>
                    <a:pt x="34" y="282"/>
                  </a:lnTo>
                  <a:lnTo>
                    <a:pt x="32" y="282"/>
                  </a:lnTo>
                  <a:lnTo>
                    <a:pt x="32" y="282"/>
                  </a:lnTo>
                  <a:lnTo>
                    <a:pt x="29" y="282"/>
                  </a:lnTo>
                  <a:lnTo>
                    <a:pt x="29" y="282"/>
                  </a:lnTo>
                  <a:lnTo>
                    <a:pt x="29" y="284"/>
                  </a:lnTo>
                  <a:lnTo>
                    <a:pt x="29" y="284"/>
                  </a:lnTo>
                  <a:lnTo>
                    <a:pt x="29" y="284"/>
                  </a:lnTo>
                  <a:lnTo>
                    <a:pt x="29" y="284"/>
                  </a:lnTo>
                  <a:lnTo>
                    <a:pt x="29" y="284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7" y="284"/>
                  </a:lnTo>
                  <a:lnTo>
                    <a:pt x="25" y="284"/>
                  </a:lnTo>
                  <a:lnTo>
                    <a:pt x="25" y="284"/>
                  </a:lnTo>
                  <a:lnTo>
                    <a:pt x="25" y="284"/>
                  </a:lnTo>
                  <a:lnTo>
                    <a:pt x="25" y="284"/>
                  </a:lnTo>
                  <a:lnTo>
                    <a:pt x="25" y="284"/>
                  </a:lnTo>
                  <a:lnTo>
                    <a:pt x="25" y="284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5" y="282"/>
                  </a:lnTo>
                  <a:lnTo>
                    <a:pt x="27" y="282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5" y="279"/>
                  </a:lnTo>
                  <a:lnTo>
                    <a:pt x="25" y="279"/>
                  </a:lnTo>
                  <a:lnTo>
                    <a:pt x="25" y="277"/>
                  </a:lnTo>
                  <a:lnTo>
                    <a:pt x="25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3" y="279"/>
                  </a:lnTo>
                  <a:lnTo>
                    <a:pt x="20" y="279"/>
                  </a:lnTo>
                  <a:lnTo>
                    <a:pt x="20" y="279"/>
                  </a:lnTo>
                  <a:lnTo>
                    <a:pt x="20" y="279"/>
                  </a:lnTo>
                  <a:lnTo>
                    <a:pt x="20" y="279"/>
                  </a:lnTo>
                  <a:lnTo>
                    <a:pt x="20" y="279"/>
                  </a:lnTo>
                  <a:lnTo>
                    <a:pt x="20" y="279"/>
                  </a:lnTo>
                  <a:lnTo>
                    <a:pt x="18" y="279"/>
                  </a:lnTo>
                  <a:lnTo>
                    <a:pt x="18" y="279"/>
                  </a:lnTo>
                  <a:lnTo>
                    <a:pt x="18" y="279"/>
                  </a:lnTo>
                  <a:lnTo>
                    <a:pt x="18" y="282"/>
                  </a:lnTo>
                  <a:lnTo>
                    <a:pt x="18" y="282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6" y="282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6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1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7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11" y="277"/>
                  </a:lnTo>
                  <a:lnTo>
                    <a:pt x="11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6" y="275"/>
                  </a:lnTo>
                  <a:lnTo>
                    <a:pt x="16" y="273"/>
                  </a:lnTo>
                  <a:lnTo>
                    <a:pt x="18" y="273"/>
                  </a:lnTo>
                  <a:lnTo>
                    <a:pt x="18" y="273"/>
                  </a:lnTo>
                  <a:lnTo>
                    <a:pt x="16" y="273"/>
                  </a:lnTo>
                  <a:lnTo>
                    <a:pt x="16" y="273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4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9" y="277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6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4" y="273"/>
                  </a:lnTo>
                  <a:lnTo>
                    <a:pt x="11" y="273"/>
                  </a:lnTo>
                  <a:lnTo>
                    <a:pt x="11" y="273"/>
                  </a:lnTo>
                  <a:lnTo>
                    <a:pt x="11" y="273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7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11" y="270"/>
                  </a:lnTo>
                  <a:lnTo>
                    <a:pt x="11" y="270"/>
                  </a:lnTo>
                  <a:lnTo>
                    <a:pt x="11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6" y="270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20" y="268"/>
                  </a:lnTo>
                  <a:lnTo>
                    <a:pt x="20" y="268"/>
                  </a:lnTo>
                  <a:lnTo>
                    <a:pt x="20" y="268"/>
                  </a:lnTo>
                  <a:lnTo>
                    <a:pt x="20" y="268"/>
                  </a:lnTo>
                  <a:lnTo>
                    <a:pt x="20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3" y="268"/>
                  </a:lnTo>
                  <a:lnTo>
                    <a:pt x="20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3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5" y="264"/>
                  </a:lnTo>
                  <a:lnTo>
                    <a:pt x="25" y="264"/>
                  </a:lnTo>
                  <a:lnTo>
                    <a:pt x="25" y="264"/>
                  </a:lnTo>
                  <a:lnTo>
                    <a:pt x="25" y="264"/>
                  </a:lnTo>
                  <a:lnTo>
                    <a:pt x="25" y="264"/>
                  </a:lnTo>
                  <a:lnTo>
                    <a:pt x="25" y="264"/>
                  </a:lnTo>
                  <a:lnTo>
                    <a:pt x="25" y="264"/>
                  </a:lnTo>
                  <a:lnTo>
                    <a:pt x="27" y="264"/>
                  </a:lnTo>
                  <a:lnTo>
                    <a:pt x="27" y="264"/>
                  </a:lnTo>
                  <a:lnTo>
                    <a:pt x="27" y="261"/>
                  </a:lnTo>
                  <a:lnTo>
                    <a:pt x="25" y="264"/>
                  </a:lnTo>
                  <a:lnTo>
                    <a:pt x="23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0" y="264"/>
                  </a:lnTo>
                  <a:lnTo>
                    <a:pt x="23" y="261"/>
                  </a:lnTo>
                  <a:lnTo>
                    <a:pt x="23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5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61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5" y="259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61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9"/>
                  </a:lnTo>
                  <a:lnTo>
                    <a:pt x="32" y="257"/>
                  </a:lnTo>
                  <a:lnTo>
                    <a:pt x="34" y="257"/>
                  </a:lnTo>
                  <a:lnTo>
                    <a:pt x="34" y="257"/>
                  </a:lnTo>
                  <a:lnTo>
                    <a:pt x="34" y="257"/>
                  </a:lnTo>
                  <a:lnTo>
                    <a:pt x="34" y="259"/>
                  </a:lnTo>
                  <a:lnTo>
                    <a:pt x="34" y="259"/>
                  </a:lnTo>
                  <a:lnTo>
                    <a:pt x="34" y="259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4" y="257"/>
                  </a:lnTo>
                  <a:lnTo>
                    <a:pt x="34" y="257"/>
                  </a:lnTo>
                  <a:lnTo>
                    <a:pt x="32" y="257"/>
                  </a:lnTo>
                  <a:lnTo>
                    <a:pt x="32" y="257"/>
                  </a:lnTo>
                  <a:lnTo>
                    <a:pt x="32" y="257"/>
                  </a:lnTo>
                  <a:lnTo>
                    <a:pt x="32" y="257"/>
                  </a:lnTo>
                  <a:lnTo>
                    <a:pt x="34" y="257"/>
                  </a:lnTo>
                  <a:lnTo>
                    <a:pt x="32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5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1" y="250"/>
                  </a:lnTo>
                  <a:lnTo>
                    <a:pt x="43" y="248"/>
                  </a:lnTo>
                  <a:lnTo>
                    <a:pt x="43" y="248"/>
                  </a:lnTo>
                  <a:lnTo>
                    <a:pt x="45" y="248"/>
                  </a:lnTo>
                  <a:lnTo>
                    <a:pt x="45" y="248"/>
                  </a:lnTo>
                  <a:lnTo>
                    <a:pt x="45" y="248"/>
                  </a:lnTo>
                  <a:lnTo>
                    <a:pt x="45" y="248"/>
                  </a:lnTo>
                  <a:lnTo>
                    <a:pt x="45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5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50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8"/>
                  </a:lnTo>
                  <a:lnTo>
                    <a:pt x="47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4" y="243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6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6" y="241"/>
                  </a:lnTo>
                  <a:lnTo>
                    <a:pt x="56" y="241"/>
                  </a:lnTo>
                  <a:lnTo>
                    <a:pt x="56" y="241"/>
                  </a:lnTo>
                  <a:lnTo>
                    <a:pt x="59" y="241"/>
                  </a:lnTo>
                  <a:lnTo>
                    <a:pt x="59" y="241"/>
                  </a:lnTo>
                  <a:lnTo>
                    <a:pt x="59" y="241"/>
                  </a:lnTo>
                  <a:lnTo>
                    <a:pt x="59" y="241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3" y="239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68" y="237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72" y="234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79" y="230"/>
                  </a:lnTo>
                  <a:lnTo>
                    <a:pt x="81" y="230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81" y="228"/>
                  </a:lnTo>
                  <a:lnTo>
                    <a:pt x="83" y="228"/>
                  </a:lnTo>
                  <a:lnTo>
                    <a:pt x="83" y="228"/>
                  </a:lnTo>
                  <a:lnTo>
                    <a:pt x="86" y="228"/>
                  </a:lnTo>
                  <a:lnTo>
                    <a:pt x="86" y="228"/>
                  </a:lnTo>
                  <a:lnTo>
                    <a:pt x="86" y="228"/>
                  </a:lnTo>
                  <a:lnTo>
                    <a:pt x="86" y="228"/>
                  </a:lnTo>
                  <a:lnTo>
                    <a:pt x="86" y="228"/>
                  </a:lnTo>
                  <a:lnTo>
                    <a:pt x="86" y="228"/>
                  </a:lnTo>
                  <a:lnTo>
                    <a:pt x="88" y="225"/>
                  </a:lnTo>
                  <a:lnTo>
                    <a:pt x="88" y="228"/>
                  </a:lnTo>
                  <a:lnTo>
                    <a:pt x="88" y="228"/>
                  </a:lnTo>
                  <a:lnTo>
                    <a:pt x="88" y="228"/>
                  </a:lnTo>
                  <a:lnTo>
                    <a:pt x="88" y="228"/>
                  </a:lnTo>
                  <a:lnTo>
                    <a:pt x="90" y="228"/>
                  </a:lnTo>
                  <a:lnTo>
                    <a:pt x="90" y="228"/>
                  </a:lnTo>
                  <a:lnTo>
                    <a:pt x="92" y="225"/>
                  </a:lnTo>
                  <a:lnTo>
                    <a:pt x="95" y="225"/>
                  </a:lnTo>
                  <a:lnTo>
                    <a:pt x="95" y="225"/>
                  </a:lnTo>
                  <a:lnTo>
                    <a:pt x="95" y="225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5"/>
                  </a:lnTo>
                  <a:lnTo>
                    <a:pt x="97" y="225"/>
                  </a:lnTo>
                  <a:lnTo>
                    <a:pt x="97" y="225"/>
                  </a:lnTo>
                  <a:lnTo>
                    <a:pt x="97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7" y="225"/>
                  </a:lnTo>
                  <a:lnTo>
                    <a:pt x="97" y="225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101" y="221"/>
                  </a:lnTo>
                  <a:lnTo>
                    <a:pt x="101" y="221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6" y="221"/>
                  </a:lnTo>
                  <a:lnTo>
                    <a:pt x="106" y="221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8" y="221"/>
                  </a:lnTo>
                  <a:lnTo>
                    <a:pt x="108" y="221"/>
                  </a:lnTo>
                  <a:lnTo>
                    <a:pt x="108" y="221"/>
                  </a:lnTo>
                  <a:lnTo>
                    <a:pt x="108" y="221"/>
                  </a:lnTo>
                  <a:lnTo>
                    <a:pt x="108" y="221"/>
                  </a:lnTo>
                  <a:lnTo>
                    <a:pt x="108" y="219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0" y="219"/>
                  </a:lnTo>
                  <a:lnTo>
                    <a:pt x="112" y="219"/>
                  </a:lnTo>
                  <a:lnTo>
                    <a:pt x="112" y="219"/>
                  </a:lnTo>
                  <a:lnTo>
                    <a:pt x="112" y="219"/>
                  </a:lnTo>
                  <a:lnTo>
                    <a:pt x="115" y="216"/>
                  </a:lnTo>
                  <a:lnTo>
                    <a:pt x="115" y="216"/>
                  </a:lnTo>
                  <a:lnTo>
                    <a:pt x="115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7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7" y="216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19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3" y="207"/>
                  </a:lnTo>
                  <a:lnTo>
                    <a:pt x="133" y="207"/>
                  </a:lnTo>
                  <a:lnTo>
                    <a:pt x="133" y="207"/>
                  </a:lnTo>
                  <a:lnTo>
                    <a:pt x="130" y="210"/>
                  </a:lnTo>
                  <a:lnTo>
                    <a:pt x="130" y="210"/>
                  </a:lnTo>
                  <a:lnTo>
                    <a:pt x="133" y="207"/>
                  </a:lnTo>
                  <a:lnTo>
                    <a:pt x="133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33" y="210"/>
                  </a:lnTo>
                  <a:lnTo>
                    <a:pt x="133" y="210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35" y="210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7" y="207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39" y="205"/>
                  </a:lnTo>
                  <a:lnTo>
                    <a:pt x="142" y="205"/>
                  </a:lnTo>
                  <a:lnTo>
                    <a:pt x="142" y="207"/>
                  </a:lnTo>
                  <a:lnTo>
                    <a:pt x="142" y="205"/>
                  </a:lnTo>
                  <a:lnTo>
                    <a:pt x="142" y="205"/>
                  </a:lnTo>
                  <a:lnTo>
                    <a:pt x="139" y="205"/>
                  </a:lnTo>
                  <a:lnTo>
                    <a:pt x="142" y="203"/>
                  </a:lnTo>
                  <a:lnTo>
                    <a:pt x="142" y="203"/>
                  </a:lnTo>
                  <a:lnTo>
                    <a:pt x="144" y="203"/>
                  </a:lnTo>
                  <a:lnTo>
                    <a:pt x="144" y="203"/>
                  </a:lnTo>
                  <a:lnTo>
                    <a:pt x="144" y="203"/>
                  </a:lnTo>
                  <a:lnTo>
                    <a:pt x="144" y="205"/>
                  </a:lnTo>
                  <a:lnTo>
                    <a:pt x="144" y="205"/>
                  </a:lnTo>
                  <a:lnTo>
                    <a:pt x="144" y="205"/>
                  </a:lnTo>
                  <a:lnTo>
                    <a:pt x="144" y="203"/>
                  </a:lnTo>
                  <a:lnTo>
                    <a:pt x="146" y="203"/>
                  </a:lnTo>
                  <a:lnTo>
                    <a:pt x="146" y="203"/>
                  </a:lnTo>
                  <a:lnTo>
                    <a:pt x="146" y="203"/>
                  </a:lnTo>
                  <a:lnTo>
                    <a:pt x="146" y="203"/>
                  </a:lnTo>
                  <a:lnTo>
                    <a:pt x="146" y="203"/>
                  </a:lnTo>
                  <a:lnTo>
                    <a:pt x="146" y="203"/>
                  </a:lnTo>
                  <a:lnTo>
                    <a:pt x="148" y="201"/>
                  </a:lnTo>
                  <a:lnTo>
                    <a:pt x="148" y="201"/>
                  </a:lnTo>
                  <a:lnTo>
                    <a:pt x="151" y="201"/>
                  </a:lnTo>
                  <a:lnTo>
                    <a:pt x="151" y="201"/>
                  </a:lnTo>
                  <a:lnTo>
                    <a:pt x="153" y="198"/>
                  </a:lnTo>
                  <a:lnTo>
                    <a:pt x="155" y="198"/>
                  </a:lnTo>
                  <a:lnTo>
                    <a:pt x="155" y="196"/>
                  </a:lnTo>
                  <a:lnTo>
                    <a:pt x="155" y="196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3"/>
                  </a:lnTo>
                  <a:lnTo>
                    <a:pt x="151" y="203"/>
                  </a:lnTo>
                  <a:lnTo>
                    <a:pt x="151" y="203"/>
                  </a:lnTo>
                  <a:lnTo>
                    <a:pt x="153" y="203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3" y="201"/>
                  </a:lnTo>
                  <a:lnTo>
                    <a:pt x="155" y="201"/>
                  </a:lnTo>
                  <a:lnTo>
                    <a:pt x="155" y="201"/>
                  </a:lnTo>
                  <a:lnTo>
                    <a:pt x="155" y="201"/>
                  </a:lnTo>
                  <a:lnTo>
                    <a:pt x="155" y="201"/>
                  </a:lnTo>
                  <a:lnTo>
                    <a:pt x="155" y="201"/>
                  </a:lnTo>
                  <a:lnTo>
                    <a:pt x="155" y="201"/>
                  </a:lnTo>
                  <a:lnTo>
                    <a:pt x="155" y="201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6"/>
                  </a:lnTo>
                  <a:lnTo>
                    <a:pt x="155" y="196"/>
                  </a:lnTo>
                  <a:lnTo>
                    <a:pt x="155" y="196"/>
                  </a:lnTo>
                  <a:lnTo>
                    <a:pt x="157" y="196"/>
                  </a:lnTo>
                  <a:lnTo>
                    <a:pt x="157" y="196"/>
                  </a:lnTo>
                  <a:lnTo>
                    <a:pt x="157" y="196"/>
                  </a:lnTo>
                  <a:lnTo>
                    <a:pt x="157" y="196"/>
                  </a:lnTo>
                  <a:lnTo>
                    <a:pt x="157" y="196"/>
                  </a:lnTo>
                  <a:lnTo>
                    <a:pt x="160" y="194"/>
                  </a:lnTo>
                  <a:lnTo>
                    <a:pt x="160" y="194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4" y="192"/>
                  </a:lnTo>
                  <a:lnTo>
                    <a:pt x="166" y="192"/>
                  </a:lnTo>
                  <a:lnTo>
                    <a:pt x="169" y="189"/>
                  </a:lnTo>
                  <a:lnTo>
                    <a:pt x="166" y="189"/>
                  </a:lnTo>
                  <a:lnTo>
                    <a:pt x="166" y="192"/>
                  </a:lnTo>
                  <a:lnTo>
                    <a:pt x="166" y="192"/>
                  </a:lnTo>
                  <a:lnTo>
                    <a:pt x="164" y="192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9" y="187"/>
                  </a:lnTo>
                  <a:lnTo>
                    <a:pt x="169" y="187"/>
                  </a:lnTo>
                  <a:lnTo>
                    <a:pt x="173" y="183"/>
                  </a:lnTo>
                  <a:lnTo>
                    <a:pt x="173" y="183"/>
                  </a:lnTo>
                  <a:lnTo>
                    <a:pt x="173" y="183"/>
                  </a:lnTo>
                  <a:lnTo>
                    <a:pt x="173" y="183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8" y="180"/>
                  </a:lnTo>
                  <a:lnTo>
                    <a:pt x="178" y="178"/>
                  </a:lnTo>
                  <a:lnTo>
                    <a:pt x="180" y="178"/>
                  </a:lnTo>
                  <a:lnTo>
                    <a:pt x="180" y="178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0" y="176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4" y="174"/>
                  </a:lnTo>
                  <a:lnTo>
                    <a:pt x="187" y="174"/>
                  </a:lnTo>
                  <a:lnTo>
                    <a:pt x="189" y="174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3" y="171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6" y="167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200" y="167"/>
                  </a:lnTo>
                  <a:lnTo>
                    <a:pt x="200" y="167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0" y="165"/>
                  </a:lnTo>
                  <a:lnTo>
                    <a:pt x="200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2" y="162"/>
                  </a:lnTo>
                  <a:lnTo>
                    <a:pt x="205" y="160"/>
                  </a:lnTo>
                  <a:lnTo>
                    <a:pt x="205" y="160"/>
                  </a:lnTo>
                  <a:lnTo>
                    <a:pt x="205" y="160"/>
                  </a:lnTo>
                  <a:lnTo>
                    <a:pt x="207" y="158"/>
                  </a:lnTo>
                  <a:lnTo>
                    <a:pt x="207" y="158"/>
                  </a:lnTo>
                  <a:lnTo>
                    <a:pt x="209" y="156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8" y="149"/>
                  </a:lnTo>
                  <a:lnTo>
                    <a:pt x="220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5" y="144"/>
                  </a:lnTo>
                  <a:lnTo>
                    <a:pt x="227" y="144"/>
                  </a:lnTo>
                  <a:lnTo>
                    <a:pt x="229" y="144"/>
                  </a:lnTo>
                  <a:lnTo>
                    <a:pt x="232" y="144"/>
                  </a:lnTo>
                  <a:lnTo>
                    <a:pt x="232" y="144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29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3" y="151"/>
                  </a:lnTo>
                  <a:lnTo>
                    <a:pt x="223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3" y="151"/>
                  </a:lnTo>
                  <a:lnTo>
                    <a:pt x="223" y="151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29" y="151"/>
                  </a:lnTo>
                  <a:lnTo>
                    <a:pt x="229" y="151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5" y="156"/>
                  </a:lnTo>
                  <a:lnTo>
                    <a:pt x="225" y="156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5" y="158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0" y="162"/>
                  </a:lnTo>
                  <a:lnTo>
                    <a:pt x="220" y="162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7" y="162"/>
                  </a:lnTo>
                  <a:lnTo>
                    <a:pt x="229" y="160"/>
                  </a:lnTo>
                  <a:lnTo>
                    <a:pt x="229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29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60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6" y="158"/>
                  </a:lnTo>
                  <a:lnTo>
                    <a:pt x="236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6"/>
                  </a:lnTo>
                  <a:lnTo>
                    <a:pt x="238" y="156"/>
                  </a:lnTo>
                  <a:lnTo>
                    <a:pt x="238" y="156"/>
                  </a:lnTo>
                  <a:lnTo>
                    <a:pt x="238" y="156"/>
                  </a:lnTo>
                  <a:lnTo>
                    <a:pt x="238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3" y="156"/>
                  </a:lnTo>
                  <a:lnTo>
                    <a:pt x="241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6"/>
                  </a:lnTo>
                  <a:lnTo>
                    <a:pt x="245" y="156"/>
                  </a:lnTo>
                  <a:lnTo>
                    <a:pt x="245" y="156"/>
                  </a:lnTo>
                  <a:lnTo>
                    <a:pt x="245" y="156"/>
                  </a:lnTo>
                  <a:lnTo>
                    <a:pt x="245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41" y="156"/>
                  </a:lnTo>
                  <a:lnTo>
                    <a:pt x="238" y="158"/>
                  </a:lnTo>
                  <a:lnTo>
                    <a:pt x="241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58"/>
                  </a:lnTo>
                  <a:lnTo>
                    <a:pt x="238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2"/>
                  </a:lnTo>
                  <a:lnTo>
                    <a:pt x="236" y="162"/>
                  </a:lnTo>
                  <a:lnTo>
                    <a:pt x="236" y="162"/>
                  </a:lnTo>
                  <a:lnTo>
                    <a:pt x="236" y="162"/>
                  </a:lnTo>
                  <a:lnTo>
                    <a:pt x="234" y="162"/>
                  </a:lnTo>
                  <a:lnTo>
                    <a:pt x="234" y="162"/>
                  </a:lnTo>
                  <a:lnTo>
                    <a:pt x="234" y="162"/>
                  </a:lnTo>
                  <a:lnTo>
                    <a:pt x="234" y="162"/>
                  </a:lnTo>
                  <a:lnTo>
                    <a:pt x="234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0"/>
                  </a:lnTo>
                  <a:lnTo>
                    <a:pt x="243" y="162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38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3" y="158"/>
                  </a:lnTo>
                  <a:lnTo>
                    <a:pt x="241" y="158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43" y="160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3" y="156"/>
                  </a:lnTo>
                  <a:lnTo>
                    <a:pt x="245" y="156"/>
                  </a:lnTo>
                  <a:lnTo>
                    <a:pt x="245" y="156"/>
                  </a:lnTo>
                  <a:lnTo>
                    <a:pt x="245" y="156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7" y="156"/>
                  </a:lnTo>
                  <a:lnTo>
                    <a:pt x="247" y="156"/>
                  </a:lnTo>
                  <a:lnTo>
                    <a:pt x="247" y="156"/>
                  </a:lnTo>
                  <a:lnTo>
                    <a:pt x="247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50" y="156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50" y="158"/>
                  </a:lnTo>
                  <a:lnTo>
                    <a:pt x="247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7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5" y="158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5" y="160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38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1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7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5" y="162"/>
                  </a:lnTo>
                  <a:lnTo>
                    <a:pt x="243" y="162"/>
                  </a:lnTo>
                  <a:lnTo>
                    <a:pt x="243" y="165"/>
                  </a:lnTo>
                  <a:lnTo>
                    <a:pt x="243" y="165"/>
                  </a:lnTo>
                  <a:lnTo>
                    <a:pt x="243" y="165"/>
                  </a:lnTo>
                  <a:lnTo>
                    <a:pt x="243" y="165"/>
                  </a:lnTo>
                  <a:lnTo>
                    <a:pt x="243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43" y="165"/>
                  </a:lnTo>
                  <a:lnTo>
                    <a:pt x="243" y="165"/>
                  </a:lnTo>
                  <a:lnTo>
                    <a:pt x="243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41" y="165"/>
                  </a:lnTo>
                  <a:lnTo>
                    <a:pt x="238" y="165"/>
                  </a:lnTo>
                  <a:lnTo>
                    <a:pt x="238" y="167"/>
                  </a:lnTo>
                  <a:lnTo>
                    <a:pt x="236" y="167"/>
                  </a:lnTo>
                  <a:lnTo>
                    <a:pt x="236" y="167"/>
                  </a:lnTo>
                  <a:lnTo>
                    <a:pt x="236" y="167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71"/>
                  </a:lnTo>
                  <a:lnTo>
                    <a:pt x="236" y="171"/>
                  </a:lnTo>
                  <a:lnTo>
                    <a:pt x="236" y="171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2" y="174"/>
                  </a:lnTo>
                  <a:lnTo>
                    <a:pt x="232" y="174"/>
                  </a:lnTo>
                  <a:close/>
                  <a:moveTo>
                    <a:pt x="335" y="57"/>
                  </a:moveTo>
                  <a:lnTo>
                    <a:pt x="335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5" y="59"/>
                  </a:lnTo>
                  <a:lnTo>
                    <a:pt x="333" y="59"/>
                  </a:lnTo>
                  <a:lnTo>
                    <a:pt x="333" y="59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3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5" y="57"/>
                  </a:lnTo>
                  <a:lnTo>
                    <a:pt x="337" y="54"/>
                  </a:lnTo>
                  <a:lnTo>
                    <a:pt x="337" y="57"/>
                  </a:lnTo>
                  <a:lnTo>
                    <a:pt x="337" y="57"/>
                  </a:lnTo>
                  <a:lnTo>
                    <a:pt x="337" y="57"/>
                  </a:lnTo>
                  <a:lnTo>
                    <a:pt x="337" y="57"/>
                  </a:lnTo>
                  <a:lnTo>
                    <a:pt x="335" y="57"/>
                  </a:lnTo>
                  <a:lnTo>
                    <a:pt x="335" y="57"/>
                  </a:lnTo>
                  <a:close/>
                  <a:moveTo>
                    <a:pt x="351" y="52"/>
                  </a:move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lnTo>
                    <a:pt x="351" y="52"/>
                  </a:lnTo>
                  <a:close/>
                  <a:moveTo>
                    <a:pt x="335" y="48"/>
                  </a:moveTo>
                  <a:lnTo>
                    <a:pt x="335" y="50"/>
                  </a:lnTo>
                  <a:lnTo>
                    <a:pt x="335" y="50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lnTo>
                    <a:pt x="335" y="48"/>
                  </a:lnTo>
                  <a:close/>
                  <a:moveTo>
                    <a:pt x="342" y="43"/>
                  </a:moveTo>
                  <a:lnTo>
                    <a:pt x="342" y="43"/>
                  </a:lnTo>
                  <a:lnTo>
                    <a:pt x="342" y="43"/>
                  </a:lnTo>
                  <a:lnTo>
                    <a:pt x="342" y="43"/>
                  </a:lnTo>
                  <a:lnTo>
                    <a:pt x="342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2" y="43"/>
                  </a:lnTo>
                  <a:close/>
                  <a:moveTo>
                    <a:pt x="351" y="41"/>
                  </a:moveTo>
                  <a:lnTo>
                    <a:pt x="351" y="41"/>
                  </a:lnTo>
                  <a:lnTo>
                    <a:pt x="351" y="41"/>
                  </a:lnTo>
                  <a:lnTo>
                    <a:pt x="351" y="41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51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8" y="43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6" y="43"/>
                  </a:lnTo>
                  <a:lnTo>
                    <a:pt x="346" y="43"/>
                  </a:lnTo>
                  <a:lnTo>
                    <a:pt x="346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3"/>
                  </a:lnTo>
                  <a:lnTo>
                    <a:pt x="348" y="43"/>
                  </a:lnTo>
                  <a:lnTo>
                    <a:pt x="348" y="43"/>
                  </a:lnTo>
                  <a:lnTo>
                    <a:pt x="348" y="43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48" y="41"/>
                  </a:lnTo>
                  <a:lnTo>
                    <a:pt x="351" y="39"/>
                  </a:lnTo>
                  <a:lnTo>
                    <a:pt x="351" y="39"/>
                  </a:lnTo>
                  <a:lnTo>
                    <a:pt x="351" y="39"/>
                  </a:lnTo>
                  <a:lnTo>
                    <a:pt x="351" y="41"/>
                  </a:lnTo>
                  <a:lnTo>
                    <a:pt x="351" y="41"/>
                  </a:lnTo>
                  <a:lnTo>
                    <a:pt x="351" y="41"/>
                  </a:lnTo>
                  <a:lnTo>
                    <a:pt x="351" y="41"/>
                  </a:lnTo>
                  <a:lnTo>
                    <a:pt x="351" y="41"/>
                  </a:lnTo>
                  <a:lnTo>
                    <a:pt x="351" y="41"/>
                  </a:lnTo>
                  <a:close/>
                  <a:moveTo>
                    <a:pt x="324" y="126"/>
                  </a:move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4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4"/>
                  </a:lnTo>
                  <a:lnTo>
                    <a:pt x="326" y="126"/>
                  </a:lnTo>
                  <a:lnTo>
                    <a:pt x="326" y="126"/>
                  </a:lnTo>
                  <a:lnTo>
                    <a:pt x="326" y="126"/>
                  </a:lnTo>
                  <a:lnTo>
                    <a:pt x="326" y="126"/>
                  </a:lnTo>
                  <a:lnTo>
                    <a:pt x="326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1" y="129"/>
                  </a:lnTo>
                  <a:lnTo>
                    <a:pt x="321" y="129"/>
                  </a:lnTo>
                  <a:lnTo>
                    <a:pt x="321" y="129"/>
                  </a:lnTo>
                  <a:lnTo>
                    <a:pt x="321" y="129"/>
                  </a:lnTo>
                  <a:lnTo>
                    <a:pt x="321" y="129"/>
                  </a:lnTo>
                  <a:lnTo>
                    <a:pt x="321" y="129"/>
                  </a:lnTo>
                  <a:lnTo>
                    <a:pt x="321" y="129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19" y="133"/>
                  </a:lnTo>
                  <a:lnTo>
                    <a:pt x="317" y="133"/>
                  </a:lnTo>
                  <a:lnTo>
                    <a:pt x="317" y="133"/>
                  </a:lnTo>
                  <a:lnTo>
                    <a:pt x="317" y="133"/>
                  </a:lnTo>
                  <a:lnTo>
                    <a:pt x="317" y="133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2" y="138"/>
                  </a:lnTo>
                  <a:lnTo>
                    <a:pt x="310" y="138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38"/>
                  </a:lnTo>
                  <a:lnTo>
                    <a:pt x="310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8" y="140"/>
                  </a:lnTo>
                  <a:lnTo>
                    <a:pt x="306" y="142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299" y="147"/>
                  </a:lnTo>
                  <a:lnTo>
                    <a:pt x="297" y="147"/>
                  </a:lnTo>
                  <a:lnTo>
                    <a:pt x="297" y="147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0" y="153"/>
                  </a:lnTo>
                  <a:lnTo>
                    <a:pt x="288" y="156"/>
                  </a:lnTo>
                  <a:lnTo>
                    <a:pt x="288" y="156"/>
                  </a:lnTo>
                  <a:lnTo>
                    <a:pt x="285" y="156"/>
                  </a:lnTo>
                  <a:lnTo>
                    <a:pt x="285" y="156"/>
                  </a:lnTo>
                  <a:lnTo>
                    <a:pt x="285" y="156"/>
                  </a:lnTo>
                  <a:lnTo>
                    <a:pt x="283" y="158"/>
                  </a:lnTo>
                  <a:lnTo>
                    <a:pt x="281" y="160"/>
                  </a:lnTo>
                  <a:lnTo>
                    <a:pt x="281" y="160"/>
                  </a:lnTo>
                  <a:lnTo>
                    <a:pt x="276" y="162"/>
                  </a:lnTo>
                  <a:lnTo>
                    <a:pt x="272" y="165"/>
                  </a:lnTo>
                  <a:lnTo>
                    <a:pt x="272" y="165"/>
                  </a:lnTo>
                  <a:lnTo>
                    <a:pt x="270" y="167"/>
                  </a:lnTo>
                  <a:lnTo>
                    <a:pt x="267" y="167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71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6" y="169"/>
                  </a:lnTo>
                  <a:lnTo>
                    <a:pt x="259" y="167"/>
                  </a:lnTo>
                  <a:lnTo>
                    <a:pt x="259" y="167"/>
                  </a:lnTo>
                  <a:lnTo>
                    <a:pt x="259" y="167"/>
                  </a:lnTo>
                  <a:lnTo>
                    <a:pt x="256" y="165"/>
                  </a:lnTo>
                  <a:lnTo>
                    <a:pt x="256" y="165"/>
                  </a:lnTo>
                  <a:lnTo>
                    <a:pt x="256" y="167"/>
                  </a:lnTo>
                  <a:lnTo>
                    <a:pt x="256" y="167"/>
                  </a:lnTo>
                  <a:lnTo>
                    <a:pt x="254" y="167"/>
                  </a:lnTo>
                  <a:lnTo>
                    <a:pt x="254" y="167"/>
                  </a:lnTo>
                  <a:lnTo>
                    <a:pt x="254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4" y="167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6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4" y="165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2" y="165"/>
                  </a:lnTo>
                  <a:lnTo>
                    <a:pt x="250" y="165"/>
                  </a:lnTo>
                  <a:lnTo>
                    <a:pt x="250" y="165"/>
                  </a:lnTo>
                  <a:lnTo>
                    <a:pt x="250" y="162"/>
                  </a:lnTo>
                  <a:lnTo>
                    <a:pt x="252" y="162"/>
                  </a:lnTo>
                  <a:lnTo>
                    <a:pt x="252" y="162"/>
                  </a:lnTo>
                  <a:lnTo>
                    <a:pt x="252" y="162"/>
                  </a:lnTo>
                  <a:lnTo>
                    <a:pt x="254" y="162"/>
                  </a:lnTo>
                  <a:lnTo>
                    <a:pt x="254" y="160"/>
                  </a:lnTo>
                  <a:lnTo>
                    <a:pt x="256" y="160"/>
                  </a:lnTo>
                  <a:lnTo>
                    <a:pt x="256" y="160"/>
                  </a:lnTo>
                  <a:lnTo>
                    <a:pt x="256" y="160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60"/>
                  </a:lnTo>
                  <a:lnTo>
                    <a:pt x="259" y="160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61" y="158"/>
                  </a:lnTo>
                  <a:lnTo>
                    <a:pt x="261" y="158"/>
                  </a:lnTo>
                  <a:lnTo>
                    <a:pt x="261" y="158"/>
                  </a:lnTo>
                  <a:lnTo>
                    <a:pt x="261" y="158"/>
                  </a:lnTo>
                  <a:lnTo>
                    <a:pt x="261" y="156"/>
                  </a:lnTo>
                  <a:lnTo>
                    <a:pt x="261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5" y="153"/>
                  </a:lnTo>
                  <a:lnTo>
                    <a:pt x="265" y="153"/>
                  </a:lnTo>
                  <a:lnTo>
                    <a:pt x="267" y="153"/>
                  </a:lnTo>
                  <a:lnTo>
                    <a:pt x="270" y="151"/>
                  </a:lnTo>
                  <a:lnTo>
                    <a:pt x="272" y="149"/>
                  </a:lnTo>
                  <a:lnTo>
                    <a:pt x="272" y="147"/>
                  </a:lnTo>
                  <a:lnTo>
                    <a:pt x="274" y="147"/>
                  </a:lnTo>
                  <a:lnTo>
                    <a:pt x="274" y="147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76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3" y="140"/>
                  </a:lnTo>
                  <a:lnTo>
                    <a:pt x="283" y="140"/>
                  </a:lnTo>
                  <a:lnTo>
                    <a:pt x="283" y="138"/>
                  </a:lnTo>
                  <a:lnTo>
                    <a:pt x="283" y="138"/>
                  </a:lnTo>
                  <a:lnTo>
                    <a:pt x="283" y="138"/>
                  </a:lnTo>
                  <a:lnTo>
                    <a:pt x="283" y="138"/>
                  </a:lnTo>
                  <a:lnTo>
                    <a:pt x="283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40"/>
                  </a:lnTo>
                  <a:lnTo>
                    <a:pt x="281" y="138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5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1" y="131"/>
                  </a:lnTo>
                  <a:lnTo>
                    <a:pt x="281" y="131"/>
                  </a:lnTo>
                  <a:lnTo>
                    <a:pt x="279" y="129"/>
                  </a:lnTo>
                  <a:lnTo>
                    <a:pt x="279" y="129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2" y="124"/>
                  </a:lnTo>
                  <a:lnTo>
                    <a:pt x="272" y="122"/>
                  </a:lnTo>
                  <a:lnTo>
                    <a:pt x="270" y="122"/>
                  </a:lnTo>
                  <a:lnTo>
                    <a:pt x="267" y="122"/>
                  </a:lnTo>
                  <a:lnTo>
                    <a:pt x="267" y="120"/>
                  </a:lnTo>
                  <a:lnTo>
                    <a:pt x="267" y="120"/>
                  </a:lnTo>
                  <a:lnTo>
                    <a:pt x="267" y="120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70" y="115"/>
                  </a:lnTo>
                  <a:lnTo>
                    <a:pt x="270" y="115"/>
                  </a:lnTo>
                  <a:lnTo>
                    <a:pt x="272" y="113"/>
                  </a:lnTo>
                  <a:lnTo>
                    <a:pt x="272" y="113"/>
                  </a:lnTo>
                  <a:lnTo>
                    <a:pt x="274" y="111"/>
                  </a:lnTo>
                  <a:lnTo>
                    <a:pt x="281" y="108"/>
                  </a:lnTo>
                  <a:lnTo>
                    <a:pt x="283" y="108"/>
                  </a:lnTo>
                  <a:lnTo>
                    <a:pt x="285" y="108"/>
                  </a:lnTo>
                  <a:lnTo>
                    <a:pt x="285" y="108"/>
                  </a:lnTo>
                  <a:lnTo>
                    <a:pt x="288" y="108"/>
                  </a:lnTo>
                  <a:lnTo>
                    <a:pt x="292" y="106"/>
                  </a:lnTo>
                  <a:lnTo>
                    <a:pt x="292" y="104"/>
                  </a:lnTo>
                  <a:lnTo>
                    <a:pt x="292" y="104"/>
                  </a:lnTo>
                  <a:lnTo>
                    <a:pt x="294" y="104"/>
                  </a:lnTo>
                  <a:lnTo>
                    <a:pt x="294" y="104"/>
                  </a:lnTo>
                  <a:lnTo>
                    <a:pt x="294" y="102"/>
                  </a:lnTo>
                  <a:lnTo>
                    <a:pt x="294" y="102"/>
                  </a:lnTo>
                  <a:lnTo>
                    <a:pt x="294" y="102"/>
                  </a:lnTo>
                  <a:lnTo>
                    <a:pt x="294" y="102"/>
                  </a:lnTo>
                  <a:lnTo>
                    <a:pt x="294" y="102"/>
                  </a:lnTo>
                  <a:lnTo>
                    <a:pt x="294" y="102"/>
                  </a:lnTo>
                  <a:lnTo>
                    <a:pt x="297" y="102"/>
                  </a:lnTo>
                  <a:lnTo>
                    <a:pt x="299" y="97"/>
                  </a:lnTo>
                  <a:lnTo>
                    <a:pt x="299" y="95"/>
                  </a:lnTo>
                  <a:lnTo>
                    <a:pt x="301" y="95"/>
                  </a:lnTo>
                  <a:lnTo>
                    <a:pt x="301" y="93"/>
                  </a:lnTo>
                  <a:lnTo>
                    <a:pt x="303" y="93"/>
                  </a:lnTo>
                  <a:lnTo>
                    <a:pt x="303" y="90"/>
                  </a:lnTo>
                  <a:lnTo>
                    <a:pt x="303" y="90"/>
                  </a:lnTo>
                  <a:lnTo>
                    <a:pt x="306" y="90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06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8"/>
                  </a:lnTo>
                  <a:lnTo>
                    <a:pt x="310" y="86"/>
                  </a:lnTo>
                  <a:lnTo>
                    <a:pt x="310" y="86"/>
                  </a:lnTo>
                  <a:lnTo>
                    <a:pt x="308" y="86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86"/>
                  </a:lnTo>
                  <a:lnTo>
                    <a:pt x="308" y="86"/>
                  </a:lnTo>
                  <a:lnTo>
                    <a:pt x="308" y="86"/>
                  </a:lnTo>
                  <a:lnTo>
                    <a:pt x="308" y="86"/>
                  </a:lnTo>
                  <a:lnTo>
                    <a:pt x="310" y="86"/>
                  </a:lnTo>
                  <a:lnTo>
                    <a:pt x="310" y="86"/>
                  </a:lnTo>
                  <a:lnTo>
                    <a:pt x="310" y="86"/>
                  </a:lnTo>
                  <a:lnTo>
                    <a:pt x="310" y="86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0" y="84"/>
                  </a:lnTo>
                  <a:lnTo>
                    <a:pt x="310" y="84"/>
                  </a:lnTo>
                  <a:lnTo>
                    <a:pt x="310" y="86"/>
                  </a:lnTo>
                  <a:lnTo>
                    <a:pt x="310" y="86"/>
                  </a:lnTo>
                  <a:lnTo>
                    <a:pt x="310" y="86"/>
                  </a:lnTo>
                  <a:lnTo>
                    <a:pt x="310" y="84"/>
                  </a:lnTo>
                  <a:lnTo>
                    <a:pt x="310" y="81"/>
                  </a:lnTo>
                  <a:lnTo>
                    <a:pt x="312" y="81"/>
                  </a:lnTo>
                  <a:lnTo>
                    <a:pt x="312" y="81"/>
                  </a:lnTo>
                  <a:lnTo>
                    <a:pt x="315" y="81"/>
                  </a:lnTo>
                  <a:lnTo>
                    <a:pt x="315" y="81"/>
                  </a:lnTo>
                  <a:lnTo>
                    <a:pt x="315" y="81"/>
                  </a:lnTo>
                  <a:lnTo>
                    <a:pt x="315" y="81"/>
                  </a:lnTo>
                  <a:lnTo>
                    <a:pt x="315" y="81"/>
                  </a:lnTo>
                  <a:lnTo>
                    <a:pt x="315" y="81"/>
                  </a:lnTo>
                  <a:lnTo>
                    <a:pt x="317" y="79"/>
                  </a:lnTo>
                  <a:lnTo>
                    <a:pt x="317" y="79"/>
                  </a:lnTo>
                  <a:lnTo>
                    <a:pt x="317" y="79"/>
                  </a:lnTo>
                  <a:lnTo>
                    <a:pt x="317" y="79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79"/>
                  </a:lnTo>
                  <a:lnTo>
                    <a:pt x="315" y="81"/>
                  </a:lnTo>
                  <a:lnTo>
                    <a:pt x="315" y="79"/>
                  </a:lnTo>
                  <a:lnTo>
                    <a:pt x="315" y="75"/>
                  </a:lnTo>
                  <a:lnTo>
                    <a:pt x="317" y="72"/>
                  </a:lnTo>
                  <a:lnTo>
                    <a:pt x="317" y="72"/>
                  </a:lnTo>
                  <a:lnTo>
                    <a:pt x="317" y="72"/>
                  </a:lnTo>
                  <a:lnTo>
                    <a:pt x="317" y="70"/>
                  </a:lnTo>
                  <a:lnTo>
                    <a:pt x="317" y="70"/>
                  </a:lnTo>
                  <a:lnTo>
                    <a:pt x="319" y="70"/>
                  </a:lnTo>
                  <a:lnTo>
                    <a:pt x="319" y="70"/>
                  </a:lnTo>
                  <a:lnTo>
                    <a:pt x="319" y="70"/>
                  </a:lnTo>
                  <a:lnTo>
                    <a:pt x="319" y="70"/>
                  </a:lnTo>
                  <a:lnTo>
                    <a:pt x="319" y="70"/>
                  </a:lnTo>
                  <a:lnTo>
                    <a:pt x="321" y="68"/>
                  </a:lnTo>
                  <a:lnTo>
                    <a:pt x="321" y="68"/>
                  </a:lnTo>
                  <a:lnTo>
                    <a:pt x="321" y="68"/>
                  </a:lnTo>
                  <a:lnTo>
                    <a:pt x="321" y="68"/>
                  </a:lnTo>
                  <a:lnTo>
                    <a:pt x="321" y="68"/>
                  </a:lnTo>
                  <a:lnTo>
                    <a:pt x="319" y="68"/>
                  </a:lnTo>
                  <a:lnTo>
                    <a:pt x="319" y="70"/>
                  </a:lnTo>
                  <a:lnTo>
                    <a:pt x="319" y="70"/>
                  </a:lnTo>
                  <a:lnTo>
                    <a:pt x="317" y="70"/>
                  </a:lnTo>
                  <a:lnTo>
                    <a:pt x="317" y="70"/>
                  </a:lnTo>
                  <a:lnTo>
                    <a:pt x="317" y="70"/>
                  </a:lnTo>
                  <a:lnTo>
                    <a:pt x="317" y="70"/>
                  </a:lnTo>
                  <a:lnTo>
                    <a:pt x="317" y="68"/>
                  </a:lnTo>
                  <a:lnTo>
                    <a:pt x="319" y="68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19" y="63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19" y="68"/>
                  </a:lnTo>
                  <a:lnTo>
                    <a:pt x="319" y="68"/>
                  </a:lnTo>
                  <a:lnTo>
                    <a:pt x="321" y="68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1" y="66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1" y="66"/>
                  </a:lnTo>
                  <a:lnTo>
                    <a:pt x="324" y="63"/>
                  </a:lnTo>
                  <a:lnTo>
                    <a:pt x="324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6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3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24" y="61"/>
                  </a:lnTo>
                  <a:lnTo>
                    <a:pt x="324" y="61"/>
                  </a:lnTo>
                  <a:lnTo>
                    <a:pt x="324" y="61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26" y="61"/>
                  </a:lnTo>
                  <a:lnTo>
                    <a:pt x="324" y="61"/>
                  </a:lnTo>
                  <a:lnTo>
                    <a:pt x="324" y="61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19" y="61"/>
                  </a:lnTo>
                  <a:lnTo>
                    <a:pt x="319" y="61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1"/>
                  </a:lnTo>
                  <a:lnTo>
                    <a:pt x="319" y="59"/>
                  </a:lnTo>
                  <a:lnTo>
                    <a:pt x="319" y="57"/>
                  </a:lnTo>
                  <a:lnTo>
                    <a:pt x="321" y="57"/>
                  </a:lnTo>
                  <a:lnTo>
                    <a:pt x="321" y="54"/>
                  </a:lnTo>
                  <a:lnTo>
                    <a:pt x="319" y="50"/>
                  </a:lnTo>
                  <a:lnTo>
                    <a:pt x="319" y="50"/>
                  </a:lnTo>
                  <a:lnTo>
                    <a:pt x="321" y="50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21" y="50"/>
                  </a:lnTo>
                  <a:lnTo>
                    <a:pt x="321" y="50"/>
                  </a:lnTo>
                  <a:lnTo>
                    <a:pt x="321" y="50"/>
                  </a:lnTo>
                  <a:lnTo>
                    <a:pt x="321" y="50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21" y="50"/>
                  </a:lnTo>
                  <a:lnTo>
                    <a:pt x="321" y="50"/>
                  </a:lnTo>
                  <a:lnTo>
                    <a:pt x="321" y="50"/>
                  </a:lnTo>
                  <a:lnTo>
                    <a:pt x="321" y="50"/>
                  </a:lnTo>
                  <a:lnTo>
                    <a:pt x="324" y="50"/>
                  </a:lnTo>
                  <a:lnTo>
                    <a:pt x="324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1" y="54"/>
                  </a:lnTo>
                  <a:lnTo>
                    <a:pt x="321" y="54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6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4" y="52"/>
                  </a:lnTo>
                  <a:lnTo>
                    <a:pt x="326" y="50"/>
                  </a:lnTo>
                  <a:lnTo>
                    <a:pt x="326" y="50"/>
                  </a:lnTo>
                  <a:lnTo>
                    <a:pt x="326" y="50"/>
                  </a:lnTo>
                  <a:lnTo>
                    <a:pt x="326" y="50"/>
                  </a:lnTo>
                  <a:lnTo>
                    <a:pt x="326" y="50"/>
                  </a:lnTo>
                  <a:lnTo>
                    <a:pt x="326" y="50"/>
                  </a:lnTo>
                  <a:lnTo>
                    <a:pt x="326" y="50"/>
                  </a:lnTo>
                  <a:lnTo>
                    <a:pt x="326" y="48"/>
                  </a:lnTo>
                  <a:lnTo>
                    <a:pt x="326" y="48"/>
                  </a:lnTo>
                  <a:lnTo>
                    <a:pt x="326" y="48"/>
                  </a:lnTo>
                  <a:lnTo>
                    <a:pt x="326" y="48"/>
                  </a:lnTo>
                  <a:lnTo>
                    <a:pt x="326" y="48"/>
                  </a:lnTo>
                  <a:lnTo>
                    <a:pt x="328" y="48"/>
                  </a:lnTo>
                  <a:lnTo>
                    <a:pt x="328" y="48"/>
                  </a:lnTo>
                  <a:lnTo>
                    <a:pt x="328" y="45"/>
                  </a:lnTo>
                  <a:lnTo>
                    <a:pt x="326" y="45"/>
                  </a:lnTo>
                  <a:lnTo>
                    <a:pt x="326" y="48"/>
                  </a:lnTo>
                  <a:lnTo>
                    <a:pt x="326" y="48"/>
                  </a:lnTo>
                  <a:lnTo>
                    <a:pt x="326" y="48"/>
                  </a:lnTo>
                  <a:lnTo>
                    <a:pt x="324" y="48"/>
                  </a:lnTo>
                  <a:lnTo>
                    <a:pt x="324" y="48"/>
                  </a:lnTo>
                  <a:lnTo>
                    <a:pt x="324" y="48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8" y="45"/>
                  </a:lnTo>
                  <a:lnTo>
                    <a:pt x="328" y="45"/>
                  </a:lnTo>
                  <a:lnTo>
                    <a:pt x="328" y="45"/>
                  </a:lnTo>
                  <a:lnTo>
                    <a:pt x="328" y="45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5"/>
                  </a:lnTo>
                  <a:lnTo>
                    <a:pt x="328" y="45"/>
                  </a:lnTo>
                  <a:lnTo>
                    <a:pt x="328" y="45"/>
                  </a:lnTo>
                  <a:lnTo>
                    <a:pt x="328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3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30" y="43"/>
                  </a:lnTo>
                  <a:lnTo>
                    <a:pt x="330" y="43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6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8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8" y="41"/>
                  </a:lnTo>
                  <a:lnTo>
                    <a:pt x="328" y="41"/>
                  </a:lnTo>
                  <a:lnTo>
                    <a:pt x="328" y="41"/>
                  </a:lnTo>
                  <a:lnTo>
                    <a:pt x="328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3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6" y="45"/>
                  </a:lnTo>
                  <a:lnTo>
                    <a:pt x="324" y="45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3"/>
                  </a:lnTo>
                  <a:lnTo>
                    <a:pt x="324" y="41"/>
                  </a:lnTo>
                  <a:lnTo>
                    <a:pt x="324" y="41"/>
                  </a:lnTo>
                  <a:lnTo>
                    <a:pt x="324" y="41"/>
                  </a:lnTo>
                  <a:lnTo>
                    <a:pt x="324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4" y="39"/>
                  </a:lnTo>
                  <a:lnTo>
                    <a:pt x="324" y="39"/>
                  </a:lnTo>
                  <a:lnTo>
                    <a:pt x="324" y="39"/>
                  </a:lnTo>
                  <a:lnTo>
                    <a:pt x="324" y="39"/>
                  </a:lnTo>
                  <a:lnTo>
                    <a:pt x="324" y="36"/>
                  </a:lnTo>
                  <a:lnTo>
                    <a:pt x="321" y="36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4" y="34"/>
                  </a:lnTo>
                  <a:lnTo>
                    <a:pt x="324" y="34"/>
                  </a:lnTo>
                  <a:lnTo>
                    <a:pt x="324" y="34"/>
                  </a:lnTo>
                  <a:lnTo>
                    <a:pt x="324" y="34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1" y="36"/>
                  </a:lnTo>
                  <a:lnTo>
                    <a:pt x="321" y="36"/>
                  </a:lnTo>
                  <a:lnTo>
                    <a:pt x="321" y="39"/>
                  </a:lnTo>
                  <a:lnTo>
                    <a:pt x="321" y="39"/>
                  </a:lnTo>
                  <a:lnTo>
                    <a:pt x="321" y="39"/>
                  </a:lnTo>
                  <a:lnTo>
                    <a:pt x="321" y="39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1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4" y="45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21" y="48"/>
                  </a:lnTo>
                  <a:lnTo>
                    <a:pt x="319" y="48"/>
                  </a:lnTo>
                  <a:lnTo>
                    <a:pt x="319" y="48"/>
                  </a:lnTo>
                  <a:lnTo>
                    <a:pt x="321" y="45"/>
                  </a:lnTo>
                  <a:lnTo>
                    <a:pt x="319" y="41"/>
                  </a:lnTo>
                  <a:lnTo>
                    <a:pt x="319" y="39"/>
                  </a:lnTo>
                  <a:lnTo>
                    <a:pt x="319" y="27"/>
                  </a:lnTo>
                  <a:lnTo>
                    <a:pt x="319" y="27"/>
                  </a:lnTo>
                  <a:lnTo>
                    <a:pt x="319" y="27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1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6" y="21"/>
                  </a:lnTo>
                  <a:lnTo>
                    <a:pt x="326" y="23"/>
                  </a:lnTo>
                  <a:lnTo>
                    <a:pt x="326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4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9" y="25"/>
                  </a:lnTo>
                  <a:lnTo>
                    <a:pt x="319" y="27"/>
                  </a:lnTo>
                  <a:lnTo>
                    <a:pt x="319" y="27"/>
                  </a:lnTo>
                  <a:lnTo>
                    <a:pt x="319" y="27"/>
                  </a:lnTo>
                  <a:lnTo>
                    <a:pt x="319" y="27"/>
                  </a:lnTo>
                  <a:lnTo>
                    <a:pt x="319" y="25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1"/>
                  </a:lnTo>
                  <a:lnTo>
                    <a:pt x="321" y="21"/>
                  </a:lnTo>
                  <a:lnTo>
                    <a:pt x="319" y="21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17" y="23"/>
                  </a:lnTo>
                  <a:lnTo>
                    <a:pt x="317" y="23"/>
                  </a:lnTo>
                  <a:lnTo>
                    <a:pt x="317" y="23"/>
                  </a:lnTo>
                  <a:lnTo>
                    <a:pt x="319" y="21"/>
                  </a:lnTo>
                  <a:lnTo>
                    <a:pt x="319" y="21"/>
                  </a:lnTo>
                  <a:lnTo>
                    <a:pt x="319" y="21"/>
                  </a:lnTo>
                  <a:lnTo>
                    <a:pt x="319" y="21"/>
                  </a:lnTo>
                  <a:lnTo>
                    <a:pt x="319" y="21"/>
                  </a:lnTo>
                  <a:lnTo>
                    <a:pt x="319" y="21"/>
                  </a:lnTo>
                  <a:lnTo>
                    <a:pt x="317" y="21"/>
                  </a:lnTo>
                  <a:lnTo>
                    <a:pt x="317" y="21"/>
                  </a:lnTo>
                  <a:lnTo>
                    <a:pt x="317" y="21"/>
                  </a:lnTo>
                  <a:lnTo>
                    <a:pt x="317" y="18"/>
                  </a:lnTo>
                  <a:lnTo>
                    <a:pt x="317" y="18"/>
                  </a:lnTo>
                  <a:lnTo>
                    <a:pt x="317" y="18"/>
                  </a:lnTo>
                  <a:lnTo>
                    <a:pt x="317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21" y="16"/>
                  </a:lnTo>
                  <a:lnTo>
                    <a:pt x="321" y="16"/>
                  </a:lnTo>
                  <a:lnTo>
                    <a:pt x="321" y="14"/>
                  </a:lnTo>
                  <a:lnTo>
                    <a:pt x="321" y="14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21" y="0"/>
                  </a:lnTo>
                  <a:lnTo>
                    <a:pt x="321" y="0"/>
                  </a:lnTo>
                  <a:lnTo>
                    <a:pt x="321" y="0"/>
                  </a:lnTo>
                  <a:lnTo>
                    <a:pt x="321" y="0"/>
                  </a:lnTo>
                  <a:lnTo>
                    <a:pt x="321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6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326" y="0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0"/>
                  </a:lnTo>
                  <a:lnTo>
                    <a:pt x="326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5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3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4" y="5"/>
                  </a:lnTo>
                  <a:lnTo>
                    <a:pt x="326" y="5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5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7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24" y="9"/>
                  </a:lnTo>
                  <a:lnTo>
                    <a:pt x="324" y="12"/>
                  </a:lnTo>
                  <a:lnTo>
                    <a:pt x="326" y="12"/>
                  </a:lnTo>
                  <a:lnTo>
                    <a:pt x="326" y="12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4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12"/>
                  </a:lnTo>
                  <a:lnTo>
                    <a:pt x="330" y="9"/>
                  </a:lnTo>
                  <a:lnTo>
                    <a:pt x="330" y="9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2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2"/>
                  </a:lnTo>
                  <a:lnTo>
                    <a:pt x="330" y="12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4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3" y="16"/>
                  </a:lnTo>
                  <a:lnTo>
                    <a:pt x="335" y="16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4"/>
                  </a:lnTo>
                  <a:lnTo>
                    <a:pt x="335" y="16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37" y="16"/>
                  </a:lnTo>
                  <a:lnTo>
                    <a:pt x="339" y="16"/>
                  </a:lnTo>
                  <a:lnTo>
                    <a:pt x="339" y="18"/>
                  </a:lnTo>
                  <a:lnTo>
                    <a:pt x="339" y="18"/>
                  </a:lnTo>
                  <a:lnTo>
                    <a:pt x="339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7" y="18"/>
                  </a:lnTo>
                  <a:lnTo>
                    <a:pt x="335" y="18"/>
                  </a:lnTo>
                  <a:lnTo>
                    <a:pt x="335" y="18"/>
                  </a:lnTo>
                  <a:lnTo>
                    <a:pt x="335" y="21"/>
                  </a:lnTo>
                  <a:lnTo>
                    <a:pt x="337" y="18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18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5" y="23"/>
                  </a:lnTo>
                  <a:lnTo>
                    <a:pt x="335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7" y="23"/>
                  </a:lnTo>
                  <a:lnTo>
                    <a:pt x="339" y="23"/>
                  </a:lnTo>
                  <a:lnTo>
                    <a:pt x="339" y="23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7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39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18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39" y="23"/>
                  </a:lnTo>
                  <a:lnTo>
                    <a:pt x="339" y="23"/>
                  </a:lnTo>
                  <a:lnTo>
                    <a:pt x="339" y="23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42" y="25"/>
                  </a:lnTo>
                  <a:lnTo>
                    <a:pt x="339" y="27"/>
                  </a:lnTo>
                  <a:lnTo>
                    <a:pt x="339" y="27"/>
                  </a:lnTo>
                  <a:lnTo>
                    <a:pt x="342" y="27"/>
                  </a:lnTo>
                  <a:lnTo>
                    <a:pt x="342" y="27"/>
                  </a:lnTo>
                  <a:lnTo>
                    <a:pt x="342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0"/>
                  </a:lnTo>
                  <a:lnTo>
                    <a:pt x="339" y="32"/>
                  </a:lnTo>
                  <a:lnTo>
                    <a:pt x="339" y="32"/>
                  </a:lnTo>
                  <a:lnTo>
                    <a:pt x="339" y="32"/>
                  </a:lnTo>
                  <a:lnTo>
                    <a:pt x="339" y="32"/>
                  </a:lnTo>
                  <a:lnTo>
                    <a:pt x="337" y="32"/>
                  </a:lnTo>
                  <a:lnTo>
                    <a:pt x="339" y="32"/>
                  </a:lnTo>
                  <a:lnTo>
                    <a:pt x="339" y="32"/>
                  </a:lnTo>
                  <a:lnTo>
                    <a:pt x="339" y="32"/>
                  </a:lnTo>
                  <a:lnTo>
                    <a:pt x="339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2"/>
                  </a:lnTo>
                  <a:lnTo>
                    <a:pt x="337" y="32"/>
                  </a:lnTo>
                  <a:lnTo>
                    <a:pt x="337" y="32"/>
                  </a:lnTo>
                  <a:lnTo>
                    <a:pt x="337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4"/>
                  </a:lnTo>
                  <a:lnTo>
                    <a:pt x="335" y="34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2"/>
                  </a:lnTo>
                  <a:lnTo>
                    <a:pt x="335" y="34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3" y="34"/>
                  </a:lnTo>
                  <a:lnTo>
                    <a:pt x="335" y="34"/>
                  </a:lnTo>
                  <a:lnTo>
                    <a:pt x="335" y="34"/>
                  </a:lnTo>
                  <a:lnTo>
                    <a:pt x="335" y="34"/>
                  </a:lnTo>
                  <a:lnTo>
                    <a:pt x="335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7" y="34"/>
                  </a:lnTo>
                  <a:lnTo>
                    <a:pt x="335" y="36"/>
                  </a:lnTo>
                  <a:lnTo>
                    <a:pt x="335" y="36"/>
                  </a:lnTo>
                  <a:lnTo>
                    <a:pt x="335" y="36"/>
                  </a:lnTo>
                  <a:lnTo>
                    <a:pt x="335" y="36"/>
                  </a:lnTo>
                  <a:lnTo>
                    <a:pt x="335" y="36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39"/>
                  </a:lnTo>
                  <a:lnTo>
                    <a:pt x="335" y="41"/>
                  </a:lnTo>
                  <a:lnTo>
                    <a:pt x="335" y="41"/>
                  </a:lnTo>
                  <a:lnTo>
                    <a:pt x="335" y="41"/>
                  </a:lnTo>
                  <a:lnTo>
                    <a:pt x="335" y="41"/>
                  </a:lnTo>
                  <a:lnTo>
                    <a:pt x="335" y="41"/>
                  </a:lnTo>
                  <a:lnTo>
                    <a:pt x="335" y="41"/>
                  </a:lnTo>
                  <a:lnTo>
                    <a:pt x="335" y="43"/>
                  </a:lnTo>
                  <a:lnTo>
                    <a:pt x="335" y="43"/>
                  </a:lnTo>
                  <a:lnTo>
                    <a:pt x="335" y="45"/>
                  </a:lnTo>
                  <a:lnTo>
                    <a:pt x="337" y="45"/>
                  </a:lnTo>
                  <a:lnTo>
                    <a:pt x="337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5" y="45"/>
                  </a:lnTo>
                  <a:lnTo>
                    <a:pt x="337" y="45"/>
                  </a:lnTo>
                  <a:lnTo>
                    <a:pt x="335" y="48"/>
                  </a:lnTo>
                  <a:lnTo>
                    <a:pt x="335" y="45"/>
                  </a:lnTo>
                  <a:lnTo>
                    <a:pt x="333" y="45"/>
                  </a:lnTo>
                  <a:lnTo>
                    <a:pt x="333" y="48"/>
                  </a:lnTo>
                  <a:lnTo>
                    <a:pt x="333" y="48"/>
                  </a:lnTo>
                  <a:lnTo>
                    <a:pt x="333" y="48"/>
                  </a:lnTo>
                  <a:lnTo>
                    <a:pt x="333" y="50"/>
                  </a:lnTo>
                  <a:lnTo>
                    <a:pt x="333" y="50"/>
                  </a:lnTo>
                  <a:lnTo>
                    <a:pt x="333" y="50"/>
                  </a:lnTo>
                  <a:lnTo>
                    <a:pt x="333" y="48"/>
                  </a:lnTo>
                  <a:lnTo>
                    <a:pt x="333" y="48"/>
                  </a:lnTo>
                  <a:lnTo>
                    <a:pt x="333" y="48"/>
                  </a:lnTo>
                  <a:lnTo>
                    <a:pt x="333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0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33" y="52"/>
                  </a:lnTo>
                  <a:lnTo>
                    <a:pt x="333" y="52"/>
                  </a:lnTo>
                  <a:lnTo>
                    <a:pt x="333" y="52"/>
                  </a:lnTo>
                  <a:lnTo>
                    <a:pt x="330" y="54"/>
                  </a:lnTo>
                  <a:lnTo>
                    <a:pt x="330" y="54"/>
                  </a:lnTo>
                  <a:lnTo>
                    <a:pt x="330" y="54"/>
                  </a:lnTo>
                  <a:lnTo>
                    <a:pt x="328" y="52"/>
                  </a:lnTo>
                  <a:lnTo>
                    <a:pt x="328" y="54"/>
                  </a:lnTo>
                  <a:lnTo>
                    <a:pt x="328" y="54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8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4" y="57"/>
                  </a:lnTo>
                  <a:lnTo>
                    <a:pt x="324" y="57"/>
                  </a:lnTo>
                  <a:lnTo>
                    <a:pt x="324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6" y="57"/>
                  </a:lnTo>
                  <a:lnTo>
                    <a:pt x="324" y="57"/>
                  </a:lnTo>
                  <a:lnTo>
                    <a:pt x="324" y="57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6" y="59"/>
                  </a:lnTo>
                  <a:lnTo>
                    <a:pt x="326" y="59"/>
                  </a:lnTo>
                  <a:lnTo>
                    <a:pt x="326" y="59"/>
                  </a:lnTo>
                  <a:lnTo>
                    <a:pt x="326" y="59"/>
                  </a:lnTo>
                  <a:lnTo>
                    <a:pt x="326" y="59"/>
                  </a:lnTo>
                  <a:lnTo>
                    <a:pt x="326" y="59"/>
                  </a:lnTo>
                  <a:lnTo>
                    <a:pt x="326" y="59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8" y="61"/>
                  </a:lnTo>
                  <a:lnTo>
                    <a:pt x="328" y="61"/>
                  </a:lnTo>
                  <a:lnTo>
                    <a:pt x="328" y="61"/>
                  </a:lnTo>
                  <a:lnTo>
                    <a:pt x="328" y="61"/>
                  </a:lnTo>
                  <a:lnTo>
                    <a:pt x="328" y="61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28" y="61"/>
                  </a:lnTo>
                  <a:lnTo>
                    <a:pt x="330" y="61"/>
                  </a:lnTo>
                  <a:lnTo>
                    <a:pt x="330" y="61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30" y="59"/>
                  </a:lnTo>
                  <a:lnTo>
                    <a:pt x="333" y="59"/>
                  </a:lnTo>
                  <a:lnTo>
                    <a:pt x="333" y="59"/>
                  </a:lnTo>
                  <a:lnTo>
                    <a:pt x="333" y="59"/>
                  </a:lnTo>
                  <a:lnTo>
                    <a:pt x="330" y="61"/>
                  </a:lnTo>
                  <a:lnTo>
                    <a:pt x="330" y="61"/>
                  </a:lnTo>
                  <a:lnTo>
                    <a:pt x="330" y="61"/>
                  </a:lnTo>
                  <a:lnTo>
                    <a:pt x="333" y="61"/>
                  </a:lnTo>
                  <a:lnTo>
                    <a:pt x="333" y="61"/>
                  </a:lnTo>
                  <a:lnTo>
                    <a:pt x="333" y="61"/>
                  </a:lnTo>
                  <a:lnTo>
                    <a:pt x="333" y="61"/>
                  </a:lnTo>
                  <a:lnTo>
                    <a:pt x="333" y="61"/>
                  </a:lnTo>
                  <a:lnTo>
                    <a:pt x="333" y="61"/>
                  </a:lnTo>
                  <a:lnTo>
                    <a:pt x="333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1"/>
                  </a:lnTo>
                  <a:lnTo>
                    <a:pt x="335" y="63"/>
                  </a:lnTo>
                  <a:lnTo>
                    <a:pt x="335" y="63"/>
                  </a:lnTo>
                  <a:lnTo>
                    <a:pt x="335" y="63"/>
                  </a:lnTo>
                  <a:lnTo>
                    <a:pt x="333" y="66"/>
                  </a:lnTo>
                  <a:lnTo>
                    <a:pt x="333" y="66"/>
                  </a:lnTo>
                  <a:lnTo>
                    <a:pt x="333" y="66"/>
                  </a:lnTo>
                  <a:lnTo>
                    <a:pt x="333" y="66"/>
                  </a:lnTo>
                  <a:lnTo>
                    <a:pt x="333" y="68"/>
                  </a:lnTo>
                  <a:lnTo>
                    <a:pt x="333" y="68"/>
                  </a:lnTo>
                  <a:lnTo>
                    <a:pt x="335" y="68"/>
                  </a:lnTo>
                  <a:lnTo>
                    <a:pt x="335" y="68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8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6"/>
                  </a:lnTo>
                  <a:lnTo>
                    <a:pt x="337" y="63"/>
                  </a:lnTo>
                  <a:lnTo>
                    <a:pt x="339" y="63"/>
                  </a:lnTo>
                  <a:lnTo>
                    <a:pt x="339" y="63"/>
                  </a:lnTo>
                  <a:lnTo>
                    <a:pt x="339" y="63"/>
                  </a:lnTo>
                  <a:lnTo>
                    <a:pt x="339" y="61"/>
                  </a:lnTo>
                  <a:lnTo>
                    <a:pt x="339" y="61"/>
                  </a:lnTo>
                  <a:lnTo>
                    <a:pt x="339" y="61"/>
                  </a:lnTo>
                  <a:lnTo>
                    <a:pt x="339" y="61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42" y="59"/>
                  </a:lnTo>
                  <a:lnTo>
                    <a:pt x="342" y="59"/>
                  </a:lnTo>
                  <a:lnTo>
                    <a:pt x="342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39" y="59"/>
                  </a:lnTo>
                  <a:lnTo>
                    <a:pt x="342" y="59"/>
                  </a:lnTo>
                  <a:lnTo>
                    <a:pt x="342" y="59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4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4"/>
                  </a:lnTo>
                  <a:lnTo>
                    <a:pt x="344" y="54"/>
                  </a:lnTo>
                  <a:lnTo>
                    <a:pt x="344" y="54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4" y="52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4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2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4" y="54"/>
                  </a:lnTo>
                  <a:lnTo>
                    <a:pt x="344" y="54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4" y="57"/>
                  </a:lnTo>
                  <a:lnTo>
                    <a:pt x="344" y="57"/>
                  </a:lnTo>
                  <a:lnTo>
                    <a:pt x="344" y="57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4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48" y="54"/>
                  </a:lnTo>
                  <a:lnTo>
                    <a:pt x="348" y="54"/>
                  </a:lnTo>
                  <a:lnTo>
                    <a:pt x="348" y="54"/>
                  </a:lnTo>
                  <a:lnTo>
                    <a:pt x="348" y="54"/>
                  </a:lnTo>
                  <a:lnTo>
                    <a:pt x="348" y="54"/>
                  </a:lnTo>
                  <a:lnTo>
                    <a:pt x="348" y="54"/>
                  </a:lnTo>
                  <a:lnTo>
                    <a:pt x="348" y="54"/>
                  </a:lnTo>
                  <a:lnTo>
                    <a:pt x="351" y="54"/>
                  </a:lnTo>
                  <a:lnTo>
                    <a:pt x="351" y="54"/>
                  </a:lnTo>
                  <a:lnTo>
                    <a:pt x="351" y="57"/>
                  </a:lnTo>
                  <a:lnTo>
                    <a:pt x="348" y="57"/>
                  </a:lnTo>
                  <a:lnTo>
                    <a:pt x="348" y="57"/>
                  </a:lnTo>
                  <a:lnTo>
                    <a:pt x="348" y="57"/>
                  </a:lnTo>
                  <a:lnTo>
                    <a:pt x="348" y="57"/>
                  </a:lnTo>
                  <a:lnTo>
                    <a:pt x="348" y="57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46" y="57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6" y="59"/>
                  </a:lnTo>
                  <a:lnTo>
                    <a:pt x="346" y="59"/>
                  </a:lnTo>
                  <a:lnTo>
                    <a:pt x="346" y="59"/>
                  </a:lnTo>
                  <a:lnTo>
                    <a:pt x="346" y="57"/>
                  </a:lnTo>
                  <a:lnTo>
                    <a:pt x="346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8" y="59"/>
                  </a:lnTo>
                  <a:lnTo>
                    <a:pt x="346" y="61"/>
                  </a:lnTo>
                  <a:lnTo>
                    <a:pt x="346" y="61"/>
                  </a:lnTo>
                  <a:lnTo>
                    <a:pt x="346" y="61"/>
                  </a:lnTo>
                  <a:lnTo>
                    <a:pt x="346" y="61"/>
                  </a:lnTo>
                  <a:lnTo>
                    <a:pt x="346" y="63"/>
                  </a:lnTo>
                  <a:lnTo>
                    <a:pt x="346" y="63"/>
                  </a:lnTo>
                  <a:lnTo>
                    <a:pt x="346" y="63"/>
                  </a:lnTo>
                  <a:lnTo>
                    <a:pt x="344" y="63"/>
                  </a:lnTo>
                  <a:lnTo>
                    <a:pt x="344" y="63"/>
                  </a:lnTo>
                  <a:lnTo>
                    <a:pt x="346" y="63"/>
                  </a:lnTo>
                  <a:lnTo>
                    <a:pt x="346" y="63"/>
                  </a:lnTo>
                  <a:lnTo>
                    <a:pt x="346" y="63"/>
                  </a:lnTo>
                  <a:lnTo>
                    <a:pt x="346" y="63"/>
                  </a:lnTo>
                  <a:lnTo>
                    <a:pt x="346" y="63"/>
                  </a:lnTo>
                  <a:lnTo>
                    <a:pt x="344" y="63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6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2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4" y="68"/>
                  </a:lnTo>
                  <a:lnTo>
                    <a:pt x="342" y="70"/>
                  </a:lnTo>
                  <a:lnTo>
                    <a:pt x="342" y="70"/>
                  </a:lnTo>
                  <a:lnTo>
                    <a:pt x="342" y="70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39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42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5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7"/>
                  </a:lnTo>
                  <a:lnTo>
                    <a:pt x="339" y="79"/>
                  </a:lnTo>
                  <a:lnTo>
                    <a:pt x="339" y="79"/>
                  </a:lnTo>
                  <a:lnTo>
                    <a:pt x="342" y="79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9"/>
                  </a:lnTo>
                  <a:lnTo>
                    <a:pt x="342" y="79"/>
                  </a:lnTo>
                  <a:lnTo>
                    <a:pt x="342" y="79"/>
                  </a:lnTo>
                  <a:lnTo>
                    <a:pt x="342" y="79"/>
                  </a:lnTo>
                  <a:lnTo>
                    <a:pt x="342" y="79"/>
                  </a:lnTo>
                  <a:lnTo>
                    <a:pt x="342" y="79"/>
                  </a:lnTo>
                  <a:lnTo>
                    <a:pt x="342" y="79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2" y="77"/>
                  </a:lnTo>
                  <a:lnTo>
                    <a:pt x="344" y="77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8" y="84"/>
                  </a:lnTo>
                  <a:lnTo>
                    <a:pt x="348" y="84"/>
                  </a:lnTo>
                  <a:lnTo>
                    <a:pt x="351" y="84"/>
                  </a:lnTo>
                  <a:lnTo>
                    <a:pt x="351" y="84"/>
                  </a:lnTo>
                  <a:lnTo>
                    <a:pt x="353" y="84"/>
                  </a:lnTo>
                  <a:lnTo>
                    <a:pt x="353" y="84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3" y="86"/>
                  </a:lnTo>
                  <a:lnTo>
                    <a:pt x="353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5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57" y="86"/>
                  </a:lnTo>
                  <a:lnTo>
                    <a:pt x="360" y="86"/>
                  </a:lnTo>
                  <a:lnTo>
                    <a:pt x="360" y="86"/>
                  </a:lnTo>
                  <a:lnTo>
                    <a:pt x="360" y="86"/>
                  </a:lnTo>
                  <a:lnTo>
                    <a:pt x="362" y="86"/>
                  </a:lnTo>
                  <a:lnTo>
                    <a:pt x="362" y="86"/>
                  </a:lnTo>
                  <a:lnTo>
                    <a:pt x="362" y="84"/>
                  </a:lnTo>
                  <a:lnTo>
                    <a:pt x="364" y="84"/>
                  </a:lnTo>
                  <a:lnTo>
                    <a:pt x="366" y="84"/>
                  </a:lnTo>
                  <a:lnTo>
                    <a:pt x="366" y="84"/>
                  </a:lnTo>
                  <a:lnTo>
                    <a:pt x="366" y="84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9" y="81"/>
                  </a:lnTo>
                  <a:lnTo>
                    <a:pt x="369" y="81"/>
                  </a:lnTo>
                  <a:lnTo>
                    <a:pt x="369" y="81"/>
                  </a:lnTo>
                  <a:lnTo>
                    <a:pt x="369" y="81"/>
                  </a:lnTo>
                  <a:lnTo>
                    <a:pt x="371" y="79"/>
                  </a:lnTo>
                  <a:lnTo>
                    <a:pt x="371" y="79"/>
                  </a:lnTo>
                  <a:lnTo>
                    <a:pt x="371" y="79"/>
                  </a:lnTo>
                  <a:lnTo>
                    <a:pt x="371" y="79"/>
                  </a:lnTo>
                  <a:lnTo>
                    <a:pt x="371" y="79"/>
                  </a:lnTo>
                  <a:lnTo>
                    <a:pt x="371" y="79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78" y="77"/>
                  </a:lnTo>
                  <a:lnTo>
                    <a:pt x="380" y="75"/>
                  </a:lnTo>
                  <a:lnTo>
                    <a:pt x="380" y="75"/>
                  </a:lnTo>
                  <a:lnTo>
                    <a:pt x="380" y="75"/>
                  </a:lnTo>
                  <a:lnTo>
                    <a:pt x="380" y="75"/>
                  </a:lnTo>
                  <a:lnTo>
                    <a:pt x="380" y="75"/>
                  </a:lnTo>
                  <a:lnTo>
                    <a:pt x="384" y="75"/>
                  </a:lnTo>
                  <a:lnTo>
                    <a:pt x="384" y="75"/>
                  </a:lnTo>
                  <a:lnTo>
                    <a:pt x="384" y="75"/>
                  </a:lnTo>
                  <a:lnTo>
                    <a:pt x="384" y="77"/>
                  </a:lnTo>
                  <a:lnTo>
                    <a:pt x="384" y="77"/>
                  </a:lnTo>
                  <a:lnTo>
                    <a:pt x="384" y="77"/>
                  </a:lnTo>
                  <a:lnTo>
                    <a:pt x="384" y="77"/>
                  </a:lnTo>
                  <a:lnTo>
                    <a:pt x="384" y="77"/>
                  </a:lnTo>
                  <a:lnTo>
                    <a:pt x="384" y="77"/>
                  </a:lnTo>
                  <a:lnTo>
                    <a:pt x="384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7" y="77"/>
                  </a:lnTo>
                  <a:lnTo>
                    <a:pt x="389" y="79"/>
                  </a:lnTo>
                  <a:lnTo>
                    <a:pt x="389" y="79"/>
                  </a:lnTo>
                  <a:lnTo>
                    <a:pt x="387" y="79"/>
                  </a:lnTo>
                  <a:lnTo>
                    <a:pt x="387" y="79"/>
                  </a:lnTo>
                  <a:lnTo>
                    <a:pt x="387" y="79"/>
                  </a:lnTo>
                  <a:lnTo>
                    <a:pt x="384" y="81"/>
                  </a:lnTo>
                  <a:lnTo>
                    <a:pt x="384" y="81"/>
                  </a:lnTo>
                  <a:lnTo>
                    <a:pt x="384" y="81"/>
                  </a:lnTo>
                  <a:lnTo>
                    <a:pt x="382" y="84"/>
                  </a:lnTo>
                  <a:lnTo>
                    <a:pt x="382" y="84"/>
                  </a:lnTo>
                  <a:lnTo>
                    <a:pt x="380" y="84"/>
                  </a:lnTo>
                  <a:lnTo>
                    <a:pt x="380" y="86"/>
                  </a:lnTo>
                  <a:lnTo>
                    <a:pt x="380" y="86"/>
                  </a:lnTo>
                  <a:lnTo>
                    <a:pt x="380" y="86"/>
                  </a:lnTo>
                  <a:lnTo>
                    <a:pt x="378" y="86"/>
                  </a:lnTo>
                  <a:lnTo>
                    <a:pt x="378" y="86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8" y="88"/>
                  </a:lnTo>
                  <a:lnTo>
                    <a:pt x="375" y="88"/>
                  </a:lnTo>
                  <a:lnTo>
                    <a:pt x="375" y="88"/>
                  </a:lnTo>
                  <a:lnTo>
                    <a:pt x="375" y="90"/>
                  </a:lnTo>
                  <a:lnTo>
                    <a:pt x="375" y="90"/>
                  </a:lnTo>
                  <a:lnTo>
                    <a:pt x="375" y="90"/>
                  </a:lnTo>
                  <a:lnTo>
                    <a:pt x="375" y="93"/>
                  </a:lnTo>
                  <a:lnTo>
                    <a:pt x="373" y="93"/>
                  </a:lnTo>
                  <a:lnTo>
                    <a:pt x="373" y="93"/>
                  </a:lnTo>
                  <a:lnTo>
                    <a:pt x="373" y="93"/>
                  </a:lnTo>
                  <a:lnTo>
                    <a:pt x="373" y="93"/>
                  </a:lnTo>
                  <a:lnTo>
                    <a:pt x="373" y="93"/>
                  </a:lnTo>
                  <a:lnTo>
                    <a:pt x="373" y="93"/>
                  </a:lnTo>
                  <a:lnTo>
                    <a:pt x="373" y="95"/>
                  </a:lnTo>
                  <a:lnTo>
                    <a:pt x="373" y="95"/>
                  </a:lnTo>
                  <a:lnTo>
                    <a:pt x="373" y="95"/>
                  </a:lnTo>
                  <a:lnTo>
                    <a:pt x="371" y="95"/>
                  </a:lnTo>
                  <a:lnTo>
                    <a:pt x="371" y="95"/>
                  </a:lnTo>
                  <a:lnTo>
                    <a:pt x="373" y="95"/>
                  </a:lnTo>
                  <a:lnTo>
                    <a:pt x="371" y="95"/>
                  </a:lnTo>
                  <a:lnTo>
                    <a:pt x="371" y="97"/>
                  </a:lnTo>
                  <a:lnTo>
                    <a:pt x="371" y="97"/>
                  </a:lnTo>
                  <a:lnTo>
                    <a:pt x="371" y="97"/>
                  </a:lnTo>
                  <a:lnTo>
                    <a:pt x="371" y="97"/>
                  </a:lnTo>
                  <a:lnTo>
                    <a:pt x="369" y="99"/>
                  </a:lnTo>
                  <a:lnTo>
                    <a:pt x="369" y="99"/>
                  </a:lnTo>
                  <a:lnTo>
                    <a:pt x="364" y="102"/>
                  </a:lnTo>
                  <a:lnTo>
                    <a:pt x="362" y="102"/>
                  </a:lnTo>
                  <a:lnTo>
                    <a:pt x="362" y="102"/>
                  </a:lnTo>
                  <a:lnTo>
                    <a:pt x="362" y="102"/>
                  </a:lnTo>
                  <a:lnTo>
                    <a:pt x="362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60" y="104"/>
                  </a:lnTo>
                  <a:lnTo>
                    <a:pt x="357" y="104"/>
                  </a:lnTo>
                  <a:lnTo>
                    <a:pt x="357" y="106"/>
                  </a:lnTo>
                  <a:lnTo>
                    <a:pt x="357" y="106"/>
                  </a:lnTo>
                  <a:lnTo>
                    <a:pt x="355" y="108"/>
                  </a:lnTo>
                  <a:lnTo>
                    <a:pt x="355" y="108"/>
                  </a:lnTo>
                  <a:lnTo>
                    <a:pt x="353" y="108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3"/>
                  </a:lnTo>
                  <a:lnTo>
                    <a:pt x="353" y="113"/>
                  </a:lnTo>
                  <a:lnTo>
                    <a:pt x="351" y="113"/>
                  </a:lnTo>
                  <a:lnTo>
                    <a:pt x="351" y="115"/>
                  </a:lnTo>
                  <a:lnTo>
                    <a:pt x="351" y="115"/>
                  </a:lnTo>
                  <a:lnTo>
                    <a:pt x="348" y="115"/>
                  </a:lnTo>
                  <a:lnTo>
                    <a:pt x="348" y="115"/>
                  </a:lnTo>
                  <a:lnTo>
                    <a:pt x="348" y="117"/>
                  </a:lnTo>
                  <a:lnTo>
                    <a:pt x="348" y="115"/>
                  </a:lnTo>
                  <a:lnTo>
                    <a:pt x="348" y="115"/>
                  </a:lnTo>
                  <a:lnTo>
                    <a:pt x="351" y="113"/>
                  </a:lnTo>
                  <a:lnTo>
                    <a:pt x="351" y="113"/>
                  </a:lnTo>
                  <a:lnTo>
                    <a:pt x="351" y="113"/>
                  </a:lnTo>
                  <a:lnTo>
                    <a:pt x="351" y="113"/>
                  </a:lnTo>
                  <a:lnTo>
                    <a:pt x="351" y="113"/>
                  </a:lnTo>
                  <a:lnTo>
                    <a:pt x="351" y="113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51" y="113"/>
                  </a:lnTo>
                  <a:lnTo>
                    <a:pt x="351" y="113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46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2" y="111"/>
                  </a:lnTo>
                  <a:lnTo>
                    <a:pt x="337" y="113"/>
                  </a:lnTo>
                  <a:lnTo>
                    <a:pt x="335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28" y="117"/>
                  </a:lnTo>
                  <a:lnTo>
                    <a:pt x="328" y="117"/>
                  </a:lnTo>
                  <a:lnTo>
                    <a:pt x="328" y="117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0"/>
                  </a:lnTo>
                  <a:lnTo>
                    <a:pt x="326" y="122"/>
                  </a:lnTo>
                  <a:lnTo>
                    <a:pt x="326" y="124"/>
                  </a:lnTo>
                  <a:lnTo>
                    <a:pt x="324" y="124"/>
                  </a:lnTo>
                  <a:lnTo>
                    <a:pt x="324" y="126"/>
                  </a:lnTo>
                  <a:lnTo>
                    <a:pt x="324" y="12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8" name="Freeform 534"/>
            <p:cNvSpPr>
              <a:spLocks noEditPoints="1"/>
            </p:cNvSpPr>
            <p:nvPr/>
          </p:nvSpPr>
          <p:spPr bwMode="auto">
            <a:xfrm>
              <a:off x="11291983" y="4746308"/>
              <a:ext cx="138729" cy="125356"/>
            </a:xfrm>
            <a:custGeom>
              <a:avLst/>
              <a:gdLst>
                <a:gd name="T0" fmla="*/ 60 w 83"/>
                <a:gd name="T1" fmla="*/ 70 h 75"/>
                <a:gd name="T2" fmla="*/ 49 w 83"/>
                <a:gd name="T3" fmla="*/ 68 h 75"/>
                <a:gd name="T4" fmla="*/ 78 w 83"/>
                <a:gd name="T5" fmla="*/ 43 h 75"/>
                <a:gd name="T6" fmla="*/ 81 w 83"/>
                <a:gd name="T7" fmla="*/ 50 h 75"/>
                <a:gd name="T8" fmla="*/ 76 w 83"/>
                <a:gd name="T9" fmla="*/ 48 h 75"/>
                <a:gd name="T10" fmla="*/ 78 w 83"/>
                <a:gd name="T11" fmla="*/ 43 h 75"/>
                <a:gd name="T12" fmla="*/ 51 w 83"/>
                <a:gd name="T13" fmla="*/ 27 h 75"/>
                <a:gd name="T14" fmla="*/ 69 w 83"/>
                <a:gd name="T15" fmla="*/ 32 h 75"/>
                <a:gd name="T16" fmla="*/ 69 w 83"/>
                <a:gd name="T17" fmla="*/ 34 h 75"/>
                <a:gd name="T18" fmla="*/ 67 w 83"/>
                <a:gd name="T19" fmla="*/ 36 h 75"/>
                <a:gd name="T20" fmla="*/ 63 w 83"/>
                <a:gd name="T21" fmla="*/ 32 h 75"/>
                <a:gd name="T22" fmla="*/ 65 w 83"/>
                <a:gd name="T23" fmla="*/ 27 h 75"/>
                <a:gd name="T24" fmla="*/ 58 w 83"/>
                <a:gd name="T25" fmla="*/ 21 h 75"/>
                <a:gd name="T26" fmla="*/ 56 w 83"/>
                <a:gd name="T27" fmla="*/ 25 h 75"/>
                <a:gd name="T28" fmla="*/ 56 w 83"/>
                <a:gd name="T29" fmla="*/ 25 h 75"/>
                <a:gd name="T30" fmla="*/ 58 w 83"/>
                <a:gd name="T31" fmla="*/ 18 h 75"/>
                <a:gd name="T32" fmla="*/ 11 w 83"/>
                <a:gd name="T33" fmla="*/ 18 h 75"/>
                <a:gd name="T34" fmla="*/ 18 w 83"/>
                <a:gd name="T35" fmla="*/ 21 h 75"/>
                <a:gd name="T36" fmla="*/ 24 w 83"/>
                <a:gd name="T37" fmla="*/ 27 h 75"/>
                <a:gd name="T38" fmla="*/ 27 w 83"/>
                <a:gd name="T39" fmla="*/ 32 h 75"/>
                <a:gd name="T40" fmla="*/ 29 w 83"/>
                <a:gd name="T41" fmla="*/ 34 h 75"/>
                <a:gd name="T42" fmla="*/ 31 w 83"/>
                <a:gd name="T43" fmla="*/ 39 h 75"/>
                <a:gd name="T44" fmla="*/ 31 w 83"/>
                <a:gd name="T45" fmla="*/ 41 h 75"/>
                <a:gd name="T46" fmla="*/ 36 w 83"/>
                <a:gd name="T47" fmla="*/ 43 h 75"/>
                <a:gd name="T48" fmla="*/ 38 w 83"/>
                <a:gd name="T49" fmla="*/ 45 h 75"/>
                <a:gd name="T50" fmla="*/ 40 w 83"/>
                <a:gd name="T51" fmla="*/ 45 h 75"/>
                <a:gd name="T52" fmla="*/ 42 w 83"/>
                <a:gd name="T53" fmla="*/ 48 h 75"/>
                <a:gd name="T54" fmla="*/ 47 w 83"/>
                <a:gd name="T55" fmla="*/ 52 h 75"/>
                <a:gd name="T56" fmla="*/ 49 w 83"/>
                <a:gd name="T57" fmla="*/ 57 h 75"/>
                <a:gd name="T58" fmla="*/ 54 w 83"/>
                <a:gd name="T59" fmla="*/ 59 h 75"/>
                <a:gd name="T60" fmla="*/ 56 w 83"/>
                <a:gd name="T61" fmla="*/ 63 h 75"/>
                <a:gd name="T62" fmla="*/ 54 w 83"/>
                <a:gd name="T63" fmla="*/ 66 h 75"/>
                <a:gd name="T64" fmla="*/ 51 w 83"/>
                <a:gd name="T65" fmla="*/ 66 h 75"/>
                <a:gd name="T66" fmla="*/ 49 w 83"/>
                <a:gd name="T67" fmla="*/ 66 h 75"/>
                <a:gd name="T68" fmla="*/ 49 w 83"/>
                <a:gd name="T69" fmla="*/ 66 h 75"/>
                <a:gd name="T70" fmla="*/ 45 w 83"/>
                <a:gd name="T71" fmla="*/ 63 h 75"/>
                <a:gd name="T72" fmla="*/ 42 w 83"/>
                <a:gd name="T73" fmla="*/ 66 h 75"/>
                <a:gd name="T74" fmla="*/ 42 w 83"/>
                <a:gd name="T75" fmla="*/ 61 h 75"/>
                <a:gd name="T76" fmla="*/ 40 w 83"/>
                <a:gd name="T77" fmla="*/ 61 h 75"/>
                <a:gd name="T78" fmla="*/ 38 w 83"/>
                <a:gd name="T79" fmla="*/ 61 h 75"/>
                <a:gd name="T80" fmla="*/ 38 w 83"/>
                <a:gd name="T81" fmla="*/ 59 h 75"/>
                <a:gd name="T82" fmla="*/ 38 w 83"/>
                <a:gd name="T83" fmla="*/ 57 h 75"/>
                <a:gd name="T84" fmla="*/ 36 w 83"/>
                <a:gd name="T85" fmla="*/ 57 h 75"/>
                <a:gd name="T86" fmla="*/ 33 w 83"/>
                <a:gd name="T87" fmla="*/ 54 h 75"/>
                <a:gd name="T88" fmla="*/ 31 w 83"/>
                <a:gd name="T89" fmla="*/ 52 h 75"/>
                <a:gd name="T90" fmla="*/ 29 w 83"/>
                <a:gd name="T91" fmla="*/ 52 h 75"/>
                <a:gd name="T92" fmla="*/ 24 w 83"/>
                <a:gd name="T93" fmla="*/ 50 h 75"/>
                <a:gd name="T94" fmla="*/ 20 w 83"/>
                <a:gd name="T95" fmla="*/ 43 h 75"/>
                <a:gd name="T96" fmla="*/ 20 w 83"/>
                <a:gd name="T97" fmla="*/ 43 h 75"/>
                <a:gd name="T98" fmla="*/ 18 w 83"/>
                <a:gd name="T99" fmla="*/ 41 h 75"/>
                <a:gd name="T100" fmla="*/ 15 w 83"/>
                <a:gd name="T101" fmla="*/ 36 h 75"/>
                <a:gd name="T102" fmla="*/ 15 w 83"/>
                <a:gd name="T103" fmla="*/ 36 h 75"/>
                <a:gd name="T104" fmla="*/ 13 w 83"/>
                <a:gd name="T105" fmla="*/ 32 h 75"/>
                <a:gd name="T106" fmla="*/ 9 w 83"/>
                <a:gd name="T107" fmla="*/ 30 h 75"/>
                <a:gd name="T108" fmla="*/ 9 w 83"/>
                <a:gd name="T109" fmla="*/ 23 h 75"/>
                <a:gd name="T110" fmla="*/ 6 w 83"/>
                <a:gd name="T111" fmla="*/ 18 h 75"/>
                <a:gd name="T112" fmla="*/ 4 w 83"/>
                <a:gd name="T113" fmla="*/ 16 h 75"/>
                <a:gd name="T114" fmla="*/ 6 w 83"/>
                <a:gd name="T115" fmla="*/ 14 h 75"/>
                <a:gd name="T116" fmla="*/ 9 w 83"/>
                <a:gd name="T117" fmla="*/ 14 h 75"/>
                <a:gd name="T118" fmla="*/ 4 w 83"/>
                <a:gd name="T119" fmla="*/ 9 h 75"/>
                <a:gd name="T120" fmla="*/ 2 w 83"/>
                <a:gd name="T121" fmla="*/ 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" h="75">
                  <a:moveTo>
                    <a:pt x="63" y="72"/>
                  </a:move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5"/>
                  </a:lnTo>
                  <a:lnTo>
                    <a:pt x="60" y="75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close/>
                  <a:moveTo>
                    <a:pt x="49" y="68"/>
                  </a:move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close/>
                  <a:moveTo>
                    <a:pt x="81" y="43"/>
                  </a:moveTo>
                  <a:lnTo>
                    <a:pt x="78" y="43"/>
                  </a:lnTo>
                  <a:lnTo>
                    <a:pt x="78" y="43"/>
                  </a:lnTo>
                  <a:lnTo>
                    <a:pt x="81" y="43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3" y="45"/>
                  </a:lnTo>
                  <a:lnTo>
                    <a:pt x="83" y="43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81" y="41"/>
                  </a:lnTo>
                  <a:lnTo>
                    <a:pt x="81" y="43"/>
                  </a:lnTo>
                  <a:lnTo>
                    <a:pt x="81" y="43"/>
                  </a:lnTo>
                  <a:close/>
                  <a:moveTo>
                    <a:pt x="51" y="27"/>
                  </a:move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close/>
                  <a:moveTo>
                    <a:pt x="69" y="27"/>
                  </a:move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3" y="34"/>
                  </a:lnTo>
                  <a:lnTo>
                    <a:pt x="65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9" y="25"/>
                  </a:lnTo>
                  <a:lnTo>
                    <a:pt x="69" y="27"/>
                  </a:lnTo>
                  <a:lnTo>
                    <a:pt x="69" y="27"/>
                  </a:lnTo>
                  <a:close/>
                  <a:moveTo>
                    <a:pt x="58" y="21"/>
                  </a:move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21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5" y="16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6" y="41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6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7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6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2" y="63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3" y="57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0" y="45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21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11" y="14"/>
                  </a:moveTo>
                  <a:lnTo>
                    <a:pt x="11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11" y="14"/>
                  </a:lnTo>
                  <a:close/>
                  <a:moveTo>
                    <a:pt x="6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2" y="5"/>
                  </a:move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9" name="Freeform 535"/>
            <p:cNvSpPr>
              <a:spLocks noEditPoints="1"/>
            </p:cNvSpPr>
            <p:nvPr/>
          </p:nvSpPr>
          <p:spPr bwMode="auto">
            <a:xfrm>
              <a:off x="3458014" y="3247039"/>
              <a:ext cx="5015" cy="26743"/>
            </a:xfrm>
            <a:custGeom>
              <a:avLst/>
              <a:gdLst>
                <a:gd name="T0" fmla="*/ 3 w 3"/>
                <a:gd name="T1" fmla="*/ 14 h 16"/>
                <a:gd name="T2" fmla="*/ 3 w 3"/>
                <a:gd name="T3" fmla="*/ 16 h 16"/>
                <a:gd name="T4" fmla="*/ 3 w 3"/>
                <a:gd name="T5" fmla="*/ 16 h 16"/>
                <a:gd name="T6" fmla="*/ 3 w 3"/>
                <a:gd name="T7" fmla="*/ 14 h 16"/>
                <a:gd name="T8" fmla="*/ 3 w 3"/>
                <a:gd name="T9" fmla="*/ 14 h 16"/>
                <a:gd name="T10" fmla="*/ 3 w 3"/>
                <a:gd name="T11" fmla="*/ 14 h 16"/>
                <a:gd name="T12" fmla="*/ 3 w 3"/>
                <a:gd name="T13" fmla="*/ 14 h 16"/>
                <a:gd name="T14" fmla="*/ 3 w 3"/>
                <a:gd name="T15" fmla="*/ 14 h 16"/>
                <a:gd name="T16" fmla="*/ 3 w 3"/>
                <a:gd name="T17" fmla="*/ 14 h 16"/>
                <a:gd name="T18" fmla="*/ 3 w 3"/>
                <a:gd name="T19" fmla="*/ 3 h 16"/>
                <a:gd name="T20" fmla="*/ 3 w 3"/>
                <a:gd name="T21" fmla="*/ 3 h 16"/>
                <a:gd name="T22" fmla="*/ 0 w 3"/>
                <a:gd name="T23" fmla="*/ 3 h 16"/>
                <a:gd name="T24" fmla="*/ 0 w 3"/>
                <a:gd name="T25" fmla="*/ 0 h 16"/>
                <a:gd name="T26" fmla="*/ 0 w 3"/>
                <a:gd name="T27" fmla="*/ 0 h 16"/>
                <a:gd name="T28" fmla="*/ 0 w 3"/>
                <a:gd name="T29" fmla="*/ 0 h 16"/>
                <a:gd name="T30" fmla="*/ 0 w 3"/>
                <a:gd name="T31" fmla="*/ 0 h 16"/>
                <a:gd name="T32" fmla="*/ 0 w 3"/>
                <a:gd name="T33" fmla="*/ 0 h 16"/>
                <a:gd name="T34" fmla="*/ 3 w 3"/>
                <a:gd name="T35" fmla="*/ 3 h 16"/>
                <a:gd name="T36" fmla="*/ 3 w 3"/>
                <a:gd name="T37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" h="16">
                  <a:moveTo>
                    <a:pt x="3" y="14"/>
                  </a:moveTo>
                  <a:lnTo>
                    <a:pt x="3" y="16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close/>
                  <a:moveTo>
                    <a:pt x="3" y="3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" y="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0" name="Freeform 536"/>
            <p:cNvSpPr>
              <a:spLocks/>
            </p:cNvSpPr>
            <p:nvPr/>
          </p:nvSpPr>
          <p:spPr bwMode="auto">
            <a:xfrm>
              <a:off x="8351947" y="2755640"/>
              <a:ext cx="292500" cy="165471"/>
            </a:xfrm>
            <a:custGeom>
              <a:avLst/>
              <a:gdLst>
                <a:gd name="T0" fmla="*/ 33 w 175"/>
                <a:gd name="T1" fmla="*/ 2 h 99"/>
                <a:gd name="T2" fmla="*/ 38 w 175"/>
                <a:gd name="T3" fmla="*/ 9 h 99"/>
                <a:gd name="T4" fmla="*/ 45 w 175"/>
                <a:gd name="T5" fmla="*/ 11 h 99"/>
                <a:gd name="T6" fmla="*/ 51 w 175"/>
                <a:gd name="T7" fmla="*/ 18 h 99"/>
                <a:gd name="T8" fmla="*/ 58 w 175"/>
                <a:gd name="T9" fmla="*/ 20 h 99"/>
                <a:gd name="T10" fmla="*/ 60 w 175"/>
                <a:gd name="T11" fmla="*/ 20 h 99"/>
                <a:gd name="T12" fmla="*/ 65 w 175"/>
                <a:gd name="T13" fmla="*/ 24 h 99"/>
                <a:gd name="T14" fmla="*/ 69 w 175"/>
                <a:gd name="T15" fmla="*/ 31 h 99"/>
                <a:gd name="T16" fmla="*/ 76 w 175"/>
                <a:gd name="T17" fmla="*/ 29 h 99"/>
                <a:gd name="T18" fmla="*/ 81 w 175"/>
                <a:gd name="T19" fmla="*/ 29 h 99"/>
                <a:gd name="T20" fmla="*/ 83 w 175"/>
                <a:gd name="T21" fmla="*/ 31 h 99"/>
                <a:gd name="T22" fmla="*/ 92 w 175"/>
                <a:gd name="T23" fmla="*/ 40 h 99"/>
                <a:gd name="T24" fmla="*/ 99 w 175"/>
                <a:gd name="T25" fmla="*/ 45 h 99"/>
                <a:gd name="T26" fmla="*/ 103 w 175"/>
                <a:gd name="T27" fmla="*/ 42 h 99"/>
                <a:gd name="T28" fmla="*/ 105 w 175"/>
                <a:gd name="T29" fmla="*/ 47 h 99"/>
                <a:gd name="T30" fmla="*/ 110 w 175"/>
                <a:gd name="T31" fmla="*/ 51 h 99"/>
                <a:gd name="T32" fmla="*/ 116 w 175"/>
                <a:gd name="T33" fmla="*/ 51 h 99"/>
                <a:gd name="T34" fmla="*/ 121 w 175"/>
                <a:gd name="T35" fmla="*/ 54 h 99"/>
                <a:gd name="T36" fmla="*/ 125 w 175"/>
                <a:gd name="T37" fmla="*/ 60 h 99"/>
                <a:gd name="T38" fmla="*/ 128 w 175"/>
                <a:gd name="T39" fmla="*/ 58 h 99"/>
                <a:gd name="T40" fmla="*/ 128 w 175"/>
                <a:gd name="T41" fmla="*/ 56 h 99"/>
                <a:gd name="T42" fmla="*/ 132 w 175"/>
                <a:gd name="T43" fmla="*/ 60 h 99"/>
                <a:gd name="T44" fmla="*/ 137 w 175"/>
                <a:gd name="T45" fmla="*/ 58 h 99"/>
                <a:gd name="T46" fmla="*/ 139 w 175"/>
                <a:gd name="T47" fmla="*/ 56 h 99"/>
                <a:gd name="T48" fmla="*/ 148 w 175"/>
                <a:gd name="T49" fmla="*/ 60 h 99"/>
                <a:gd name="T50" fmla="*/ 157 w 175"/>
                <a:gd name="T51" fmla="*/ 63 h 99"/>
                <a:gd name="T52" fmla="*/ 164 w 175"/>
                <a:gd name="T53" fmla="*/ 60 h 99"/>
                <a:gd name="T54" fmla="*/ 170 w 175"/>
                <a:gd name="T55" fmla="*/ 63 h 99"/>
                <a:gd name="T56" fmla="*/ 168 w 175"/>
                <a:gd name="T57" fmla="*/ 72 h 99"/>
                <a:gd name="T58" fmla="*/ 170 w 175"/>
                <a:gd name="T59" fmla="*/ 81 h 99"/>
                <a:gd name="T60" fmla="*/ 175 w 175"/>
                <a:gd name="T61" fmla="*/ 90 h 99"/>
                <a:gd name="T62" fmla="*/ 170 w 175"/>
                <a:gd name="T63" fmla="*/ 96 h 99"/>
                <a:gd name="T64" fmla="*/ 166 w 175"/>
                <a:gd name="T65" fmla="*/ 96 h 99"/>
                <a:gd name="T66" fmla="*/ 157 w 175"/>
                <a:gd name="T67" fmla="*/ 96 h 99"/>
                <a:gd name="T68" fmla="*/ 150 w 175"/>
                <a:gd name="T69" fmla="*/ 94 h 99"/>
                <a:gd name="T70" fmla="*/ 143 w 175"/>
                <a:gd name="T71" fmla="*/ 94 h 99"/>
                <a:gd name="T72" fmla="*/ 137 w 175"/>
                <a:gd name="T73" fmla="*/ 92 h 99"/>
                <a:gd name="T74" fmla="*/ 130 w 175"/>
                <a:gd name="T75" fmla="*/ 90 h 99"/>
                <a:gd name="T76" fmla="*/ 125 w 175"/>
                <a:gd name="T77" fmla="*/ 87 h 99"/>
                <a:gd name="T78" fmla="*/ 114 w 175"/>
                <a:gd name="T79" fmla="*/ 87 h 99"/>
                <a:gd name="T80" fmla="*/ 107 w 175"/>
                <a:gd name="T81" fmla="*/ 83 h 99"/>
                <a:gd name="T82" fmla="*/ 101 w 175"/>
                <a:gd name="T83" fmla="*/ 76 h 99"/>
                <a:gd name="T84" fmla="*/ 90 w 175"/>
                <a:gd name="T85" fmla="*/ 69 h 99"/>
                <a:gd name="T86" fmla="*/ 85 w 175"/>
                <a:gd name="T87" fmla="*/ 74 h 99"/>
                <a:gd name="T88" fmla="*/ 74 w 175"/>
                <a:gd name="T89" fmla="*/ 74 h 99"/>
                <a:gd name="T90" fmla="*/ 63 w 175"/>
                <a:gd name="T91" fmla="*/ 69 h 99"/>
                <a:gd name="T92" fmla="*/ 45 w 175"/>
                <a:gd name="T93" fmla="*/ 60 h 99"/>
                <a:gd name="T94" fmla="*/ 36 w 175"/>
                <a:gd name="T95" fmla="*/ 58 h 99"/>
                <a:gd name="T96" fmla="*/ 29 w 175"/>
                <a:gd name="T97" fmla="*/ 56 h 99"/>
                <a:gd name="T98" fmla="*/ 22 w 175"/>
                <a:gd name="T99" fmla="*/ 49 h 99"/>
                <a:gd name="T100" fmla="*/ 15 w 175"/>
                <a:gd name="T101" fmla="*/ 45 h 99"/>
                <a:gd name="T102" fmla="*/ 11 w 175"/>
                <a:gd name="T103" fmla="*/ 42 h 99"/>
                <a:gd name="T104" fmla="*/ 4 w 175"/>
                <a:gd name="T105" fmla="*/ 40 h 99"/>
                <a:gd name="T106" fmla="*/ 0 w 175"/>
                <a:gd name="T107" fmla="*/ 36 h 99"/>
                <a:gd name="T108" fmla="*/ 2 w 175"/>
                <a:gd name="T109" fmla="*/ 29 h 99"/>
                <a:gd name="T110" fmla="*/ 2 w 175"/>
                <a:gd name="T111" fmla="*/ 22 h 99"/>
                <a:gd name="T112" fmla="*/ 4 w 175"/>
                <a:gd name="T113" fmla="*/ 20 h 99"/>
                <a:gd name="T114" fmla="*/ 6 w 175"/>
                <a:gd name="T115" fmla="*/ 11 h 99"/>
                <a:gd name="T116" fmla="*/ 13 w 175"/>
                <a:gd name="T117" fmla="*/ 6 h 99"/>
                <a:gd name="T118" fmla="*/ 18 w 175"/>
                <a:gd name="T119" fmla="*/ 9 h 99"/>
                <a:gd name="T120" fmla="*/ 20 w 175"/>
                <a:gd name="T121" fmla="*/ 6 h 99"/>
                <a:gd name="T122" fmla="*/ 22 w 175"/>
                <a:gd name="T123" fmla="*/ 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5" h="99">
                  <a:moveTo>
                    <a:pt x="27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7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5" y="22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3" y="42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0" y="51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49"/>
                  </a:lnTo>
                  <a:lnTo>
                    <a:pt x="116" y="49"/>
                  </a:lnTo>
                  <a:lnTo>
                    <a:pt x="116" y="51"/>
                  </a:lnTo>
                  <a:lnTo>
                    <a:pt x="119" y="51"/>
                  </a:lnTo>
                  <a:lnTo>
                    <a:pt x="119" y="51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3" y="56"/>
                  </a:lnTo>
                  <a:lnTo>
                    <a:pt x="123" y="56"/>
                  </a:lnTo>
                  <a:lnTo>
                    <a:pt x="123" y="56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58"/>
                  </a:lnTo>
                  <a:lnTo>
                    <a:pt x="125" y="60"/>
                  </a:lnTo>
                  <a:lnTo>
                    <a:pt x="125" y="60"/>
                  </a:lnTo>
                  <a:lnTo>
                    <a:pt x="125" y="60"/>
                  </a:lnTo>
                  <a:lnTo>
                    <a:pt x="125" y="60"/>
                  </a:lnTo>
                  <a:lnTo>
                    <a:pt x="125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8"/>
                  </a:lnTo>
                  <a:lnTo>
                    <a:pt x="128" y="56"/>
                  </a:lnTo>
                  <a:lnTo>
                    <a:pt x="125" y="56"/>
                  </a:lnTo>
                  <a:lnTo>
                    <a:pt x="125" y="56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2" y="58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4" y="60"/>
                  </a:lnTo>
                  <a:lnTo>
                    <a:pt x="137" y="60"/>
                  </a:lnTo>
                  <a:lnTo>
                    <a:pt x="137" y="60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8"/>
                  </a:lnTo>
                  <a:lnTo>
                    <a:pt x="141" y="58"/>
                  </a:lnTo>
                  <a:lnTo>
                    <a:pt x="141" y="58"/>
                  </a:lnTo>
                  <a:lnTo>
                    <a:pt x="141" y="58"/>
                  </a:lnTo>
                  <a:lnTo>
                    <a:pt x="143" y="58"/>
                  </a:lnTo>
                  <a:lnTo>
                    <a:pt x="143" y="58"/>
                  </a:lnTo>
                  <a:lnTo>
                    <a:pt x="143" y="58"/>
                  </a:lnTo>
                  <a:lnTo>
                    <a:pt x="143" y="60"/>
                  </a:lnTo>
                  <a:lnTo>
                    <a:pt x="143" y="60"/>
                  </a:lnTo>
                  <a:lnTo>
                    <a:pt x="143" y="60"/>
                  </a:lnTo>
                  <a:lnTo>
                    <a:pt x="146" y="60"/>
                  </a:lnTo>
                  <a:lnTo>
                    <a:pt x="146" y="60"/>
                  </a:lnTo>
                  <a:lnTo>
                    <a:pt x="146" y="60"/>
                  </a:lnTo>
                  <a:lnTo>
                    <a:pt x="146" y="60"/>
                  </a:lnTo>
                  <a:lnTo>
                    <a:pt x="148" y="60"/>
                  </a:lnTo>
                  <a:lnTo>
                    <a:pt x="148" y="63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3"/>
                  </a:lnTo>
                  <a:lnTo>
                    <a:pt x="152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61" y="63"/>
                  </a:lnTo>
                  <a:lnTo>
                    <a:pt x="161" y="63"/>
                  </a:lnTo>
                  <a:lnTo>
                    <a:pt x="161" y="63"/>
                  </a:lnTo>
                  <a:lnTo>
                    <a:pt x="161" y="63"/>
                  </a:lnTo>
                  <a:lnTo>
                    <a:pt x="161" y="60"/>
                  </a:lnTo>
                  <a:lnTo>
                    <a:pt x="164" y="60"/>
                  </a:lnTo>
                  <a:lnTo>
                    <a:pt x="164" y="60"/>
                  </a:lnTo>
                  <a:lnTo>
                    <a:pt x="164" y="60"/>
                  </a:lnTo>
                  <a:lnTo>
                    <a:pt x="164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6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3"/>
                  </a:lnTo>
                  <a:lnTo>
                    <a:pt x="170" y="65"/>
                  </a:lnTo>
                  <a:lnTo>
                    <a:pt x="170" y="65"/>
                  </a:lnTo>
                  <a:lnTo>
                    <a:pt x="170" y="67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69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70" y="72"/>
                  </a:lnTo>
                  <a:lnTo>
                    <a:pt x="170" y="72"/>
                  </a:lnTo>
                  <a:lnTo>
                    <a:pt x="170" y="72"/>
                  </a:lnTo>
                  <a:lnTo>
                    <a:pt x="170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4"/>
                  </a:lnTo>
                  <a:lnTo>
                    <a:pt x="168" y="74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0" y="74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0" y="81"/>
                  </a:lnTo>
                  <a:lnTo>
                    <a:pt x="173" y="81"/>
                  </a:lnTo>
                  <a:lnTo>
                    <a:pt x="173" y="83"/>
                  </a:lnTo>
                  <a:lnTo>
                    <a:pt x="173" y="83"/>
                  </a:lnTo>
                  <a:lnTo>
                    <a:pt x="173" y="83"/>
                  </a:lnTo>
                  <a:lnTo>
                    <a:pt x="173" y="85"/>
                  </a:lnTo>
                  <a:lnTo>
                    <a:pt x="175" y="85"/>
                  </a:lnTo>
                  <a:lnTo>
                    <a:pt x="175" y="85"/>
                  </a:lnTo>
                  <a:lnTo>
                    <a:pt x="175" y="85"/>
                  </a:lnTo>
                  <a:lnTo>
                    <a:pt x="175" y="87"/>
                  </a:lnTo>
                  <a:lnTo>
                    <a:pt x="175" y="87"/>
                  </a:lnTo>
                  <a:lnTo>
                    <a:pt x="175" y="87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5" y="92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4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3" y="96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0" y="94"/>
                  </a:lnTo>
                  <a:lnTo>
                    <a:pt x="170" y="94"/>
                  </a:lnTo>
                  <a:lnTo>
                    <a:pt x="170" y="94"/>
                  </a:lnTo>
                  <a:lnTo>
                    <a:pt x="170" y="96"/>
                  </a:lnTo>
                  <a:lnTo>
                    <a:pt x="168" y="96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8" y="96"/>
                  </a:lnTo>
                  <a:lnTo>
                    <a:pt x="168" y="96"/>
                  </a:lnTo>
                  <a:lnTo>
                    <a:pt x="168" y="96"/>
                  </a:lnTo>
                  <a:lnTo>
                    <a:pt x="168" y="96"/>
                  </a:lnTo>
                  <a:lnTo>
                    <a:pt x="168" y="96"/>
                  </a:lnTo>
                  <a:lnTo>
                    <a:pt x="166" y="96"/>
                  </a:lnTo>
                  <a:lnTo>
                    <a:pt x="166" y="96"/>
                  </a:lnTo>
                  <a:lnTo>
                    <a:pt x="166" y="96"/>
                  </a:lnTo>
                  <a:lnTo>
                    <a:pt x="166" y="96"/>
                  </a:lnTo>
                  <a:lnTo>
                    <a:pt x="164" y="96"/>
                  </a:lnTo>
                  <a:lnTo>
                    <a:pt x="164" y="96"/>
                  </a:lnTo>
                  <a:lnTo>
                    <a:pt x="161" y="96"/>
                  </a:lnTo>
                  <a:lnTo>
                    <a:pt x="161" y="96"/>
                  </a:lnTo>
                  <a:lnTo>
                    <a:pt x="161" y="96"/>
                  </a:lnTo>
                  <a:lnTo>
                    <a:pt x="159" y="96"/>
                  </a:lnTo>
                  <a:lnTo>
                    <a:pt x="159" y="96"/>
                  </a:lnTo>
                  <a:lnTo>
                    <a:pt x="159" y="96"/>
                  </a:lnTo>
                  <a:lnTo>
                    <a:pt x="159" y="99"/>
                  </a:lnTo>
                  <a:lnTo>
                    <a:pt x="159" y="99"/>
                  </a:lnTo>
                  <a:lnTo>
                    <a:pt x="159" y="96"/>
                  </a:lnTo>
                  <a:lnTo>
                    <a:pt x="159" y="96"/>
                  </a:lnTo>
                  <a:lnTo>
                    <a:pt x="157" y="96"/>
                  </a:lnTo>
                  <a:lnTo>
                    <a:pt x="157" y="96"/>
                  </a:lnTo>
                  <a:lnTo>
                    <a:pt x="157" y="96"/>
                  </a:lnTo>
                  <a:lnTo>
                    <a:pt x="157" y="96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5" y="96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5" y="94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2" y="94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50" y="94"/>
                  </a:lnTo>
                  <a:lnTo>
                    <a:pt x="150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6" y="96"/>
                  </a:lnTo>
                  <a:lnTo>
                    <a:pt x="146" y="94"/>
                  </a:lnTo>
                  <a:lnTo>
                    <a:pt x="143" y="94"/>
                  </a:lnTo>
                  <a:lnTo>
                    <a:pt x="143" y="94"/>
                  </a:lnTo>
                  <a:lnTo>
                    <a:pt x="143" y="94"/>
                  </a:lnTo>
                  <a:lnTo>
                    <a:pt x="143" y="94"/>
                  </a:lnTo>
                  <a:lnTo>
                    <a:pt x="143" y="94"/>
                  </a:lnTo>
                  <a:lnTo>
                    <a:pt x="141" y="94"/>
                  </a:lnTo>
                  <a:lnTo>
                    <a:pt x="141" y="94"/>
                  </a:lnTo>
                  <a:lnTo>
                    <a:pt x="141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90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5" y="90"/>
                  </a:lnTo>
                  <a:lnTo>
                    <a:pt x="125" y="90"/>
                  </a:lnTo>
                  <a:lnTo>
                    <a:pt x="125" y="90"/>
                  </a:lnTo>
                  <a:lnTo>
                    <a:pt x="125" y="87"/>
                  </a:lnTo>
                  <a:lnTo>
                    <a:pt x="125" y="87"/>
                  </a:lnTo>
                  <a:lnTo>
                    <a:pt x="125" y="87"/>
                  </a:lnTo>
                  <a:lnTo>
                    <a:pt x="123" y="85"/>
                  </a:lnTo>
                  <a:lnTo>
                    <a:pt x="123" y="85"/>
                  </a:lnTo>
                  <a:lnTo>
                    <a:pt x="121" y="85"/>
                  </a:lnTo>
                  <a:lnTo>
                    <a:pt x="121" y="87"/>
                  </a:lnTo>
                  <a:lnTo>
                    <a:pt x="119" y="87"/>
                  </a:lnTo>
                  <a:lnTo>
                    <a:pt x="119" y="87"/>
                  </a:lnTo>
                  <a:lnTo>
                    <a:pt x="119" y="87"/>
                  </a:lnTo>
                  <a:lnTo>
                    <a:pt x="119" y="87"/>
                  </a:lnTo>
                  <a:lnTo>
                    <a:pt x="119" y="87"/>
                  </a:lnTo>
                  <a:lnTo>
                    <a:pt x="119" y="87"/>
                  </a:lnTo>
                  <a:lnTo>
                    <a:pt x="116" y="87"/>
                  </a:lnTo>
                  <a:lnTo>
                    <a:pt x="116" y="87"/>
                  </a:lnTo>
                  <a:lnTo>
                    <a:pt x="116" y="87"/>
                  </a:lnTo>
                  <a:lnTo>
                    <a:pt x="114" y="87"/>
                  </a:lnTo>
                  <a:lnTo>
                    <a:pt x="114" y="87"/>
                  </a:lnTo>
                  <a:lnTo>
                    <a:pt x="114" y="87"/>
                  </a:lnTo>
                  <a:lnTo>
                    <a:pt x="114" y="85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2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07" y="83"/>
                  </a:lnTo>
                  <a:lnTo>
                    <a:pt x="107" y="83"/>
                  </a:lnTo>
                  <a:lnTo>
                    <a:pt x="107" y="83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3" y="81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3" y="78"/>
                  </a:lnTo>
                  <a:lnTo>
                    <a:pt x="101" y="78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4"/>
                  </a:lnTo>
                  <a:lnTo>
                    <a:pt x="99" y="74"/>
                  </a:lnTo>
                  <a:lnTo>
                    <a:pt x="94" y="74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3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3" y="74"/>
                  </a:lnTo>
                  <a:lnTo>
                    <a:pt x="81" y="72"/>
                  </a:lnTo>
                  <a:lnTo>
                    <a:pt x="78" y="72"/>
                  </a:lnTo>
                  <a:lnTo>
                    <a:pt x="76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7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69"/>
                  </a:lnTo>
                  <a:lnTo>
                    <a:pt x="63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65"/>
                  </a:lnTo>
                  <a:lnTo>
                    <a:pt x="58" y="65"/>
                  </a:lnTo>
                  <a:lnTo>
                    <a:pt x="56" y="65"/>
                  </a:lnTo>
                  <a:lnTo>
                    <a:pt x="54" y="67"/>
                  </a:lnTo>
                  <a:lnTo>
                    <a:pt x="54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47" y="63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0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4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7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1" name="Freeform 537"/>
            <p:cNvSpPr>
              <a:spLocks/>
            </p:cNvSpPr>
            <p:nvPr/>
          </p:nvSpPr>
          <p:spPr bwMode="auto">
            <a:xfrm>
              <a:off x="6048723" y="4642680"/>
              <a:ext cx="469671" cy="476356"/>
            </a:xfrm>
            <a:custGeom>
              <a:avLst/>
              <a:gdLst>
                <a:gd name="T0" fmla="*/ 36 w 281"/>
                <a:gd name="T1" fmla="*/ 2 h 285"/>
                <a:gd name="T2" fmla="*/ 50 w 281"/>
                <a:gd name="T3" fmla="*/ 11 h 285"/>
                <a:gd name="T4" fmla="*/ 90 w 281"/>
                <a:gd name="T5" fmla="*/ 11 h 285"/>
                <a:gd name="T6" fmla="*/ 142 w 281"/>
                <a:gd name="T7" fmla="*/ 13 h 285"/>
                <a:gd name="T8" fmla="*/ 156 w 281"/>
                <a:gd name="T9" fmla="*/ 20 h 285"/>
                <a:gd name="T10" fmla="*/ 171 w 281"/>
                <a:gd name="T11" fmla="*/ 22 h 285"/>
                <a:gd name="T12" fmla="*/ 182 w 281"/>
                <a:gd name="T13" fmla="*/ 22 h 285"/>
                <a:gd name="T14" fmla="*/ 189 w 281"/>
                <a:gd name="T15" fmla="*/ 24 h 285"/>
                <a:gd name="T16" fmla="*/ 203 w 281"/>
                <a:gd name="T17" fmla="*/ 24 h 285"/>
                <a:gd name="T18" fmla="*/ 250 w 281"/>
                <a:gd name="T19" fmla="*/ 15 h 285"/>
                <a:gd name="T20" fmla="*/ 263 w 281"/>
                <a:gd name="T21" fmla="*/ 13 h 285"/>
                <a:gd name="T22" fmla="*/ 272 w 281"/>
                <a:gd name="T23" fmla="*/ 13 h 285"/>
                <a:gd name="T24" fmla="*/ 277 w 281"/>
                <a:gd name="T25" fmla="*/ 15 h 285"/>
                <a:gd name="T26" fmla="*/ 279 w 281"/>
                <a:gd name="T27" fmla="*/ 17 h 285"/>
                <a:gd name="T28" fmla="*/ 275 w 281"/>
                <a:gd name="T29" fmla="*/ 20 h 285"/>
                <a:gd name="T30" fmla="*/ 270 w 281"/>
                <a:gd name="T31" fmla="*/ 22 h 285"/>
                <a:gd name="T32" fmla="*/ 263 w 281"/>
                <a:gd name="T33" fmla="*/ 24 h 285"/>
                <a:gd name="T34" fmla="*/ 254 w 281"/>
                <a:gd name="T35" fmla="*/ 29 h 285"/>
                <a:gd name="T36" fmla="*/ 248 w 281"/>
                <a:gd name="T37" fmla="*/ 35 h 285"/>
                <a:gd name="T38" fmla="*/ 243 w 281"/>
                <a:gd name="T39" fmla="*/ 31 h 285"/>
                <a:gd name="T40" fmla="*/ 241 w 281"/>
                <a:gd name="T41" fmla="*/ 26 h 285"/>
                <a:gd name="T42" fmla="*/ 218 w 281"/>
                <a:gd name="T43" fmla="*/ 29 h 285"/>
                <a:gd name="T44" fmla="*/ 196 w 281"/>
                <a:gd name="T45" fmla="*/ 31 h 285"/>
                <a:gd name="T46" fmla="*/ 191 w 281"/>
                <a:gd name="T47" fmla="*/ 47 h 285"/>
                <a:gd name="T48" fmla="*/ 189 w 281"/>
                <a:gd name="T49" fmla="*/ 98 h 285"/>
                <a:gd name="T50" fmla="*/ 182 w 281"/>
                <a:gd name="T51" fmla="*/ 121 h 285"/>
                <a:gd name="T52" fmla="*/ 167 w 281"/>
                <a:gd name="T53" fmla="*/ 182 h 285"/>
                <a:gd name="T54" fmla="*/ 167 w 281"/>
                <a:gd name="T55" fmla="*/ 209 h 285"/>
                <a:gd name="T56" fmla="*/ 164 w 281"/>
                <a:gd name="T57" fmla="*/ 233 h 285"/>
                <a:gd name="T58" fmla="*/ 164 w 281"/>
                <a:gd name="T59" fmla="*/ 258 h 285"/>
                <a:gd name="T60" fmla="*/ 158 w 281"/>
                <a:gd name="T61" fmla="*/ 274 h 285"/>
                <a:gd name="T62" fmla="*/ 149 w 281"/>
                <a:gd name="T63" fmla="*/ 281 h 285"/>
                <a:gd name="T64" fmla="*/ 144 w 281"/>
                <a:gd name="T65" fmla="*/ 285 h 285"/>
                <a:gd name="T66" fmla="*/ 131 w 281"/>
                <a:gd name="T67" fmla="*/ 283 h 285"/>
                <a:gd name="T68" fmla="*/ 115 w 281"/>
                <a:gd name="T69" fmla="*/ 281 h 285"/>
                <a:gd name="T70" fmla="*/ 111 w 281"/>
                <a:gd name="T71" fmla="*/ 276 h 285"/>
                <a:gd name="T72" fmla="*/ 111 w 281"/>
                <a:gd name="T73" fmla="*/ 269 h 285"/>
                <a:gd name="T74" fmla="*/ 104 w 281"/>
                <a:gd name="T75" fmla="*/ 263 h 285"/>
                <a:gd name="T76" fmla="*/ 99 w 281"/>
                <a:gd name="T77" fmla="*/ 267 h 285"/>
                <a:gd name="T78" fmla="*/ 97 w 281"/>
                <a:gd name="T79" fmla="*/ 269 h 285"/>
                <a:gd name="T80" fmla="*/ 95 w 281"/>
                <a:gd name="T81" fmla="*/ 276 h 285"/>
                <a:gd name="T82" fmla="*/ 79 w 281"/>
                <a:gd name="T83" fmla="*/ 267 h 285"/>
                <a:gd name="T84" fmla="*/ 70 w 281"/>
                <a:gd name="T85" fmla="*/ 249 h 285"/>
                <a:gd name="T86" fmla="*/ 68 w 281"/>
                <a:gd name="T87" fmla="*/ 238 h 285"/>
                <a:gd name="T88" fmla="*/ 66 w 281"/>
                <a:gd name="T89" fmla="*/ 231 h 285"/>
                <a:gd name="T90" fmla="*/ 63 w 281"/>
                <a:gd name="T91" fmla="*/ 222 h 285"/>
                <a:gd name="T92" fmla="*/ 61 w 281"/>
                <a:gd name="T93" fmla="*/ 209 h 285"/>
                <a:gd name="T94" fmla="*/ 61 w 281"/>
                <a:gd name="T95" fmla="*/ 193 h 285"/>
                <a:gd name="T96" fmla="*/ 54 w 281"/>
                <a:gd name="T97" fmla="*/ 173 h 285"/>
                <a:gd name="T98" fmla="*/ 54 w 281"/>
                <a:gd name="T99" fmla="*/ 161 h 285"/>
                <a:gd name="T100" fmla="*/ 54 w 281"/>
                <a:gd name="T101" fmla="*/ 143 h 285"/>
                <a:gd name="T102" fmla="*/ 54 w 281"/>
                <a:gd name="T103" fmla="*/ 143 h 285"/>
                <a:gd name="T104" fmla="*/ 48 w 281"/>
                <a:gd name="T105" fmla="*/ 119 h 285"/>
                <a:gd name="T106" fmla="*/ 36 w 281"/>
                <a:gd name="T107" fmla="*/ 94 h 285"/>
                <a:gd name="T108" fmla="*/ 25 w 281"/>
                <a:gd name="T109" fmla="*/ 67 h 285"/>
                <a:gd name="T110" fmla="*/ 16 w 281"/>
                <a:gd name="T111" fmla="*/ 47 h 285"/>
                <a:gd name="T112" fmla="*/ 5 w 281"/>
                <a:gd name="T113" fmla="*/ 31 h 285"/>
                <a:gd name="T114" fmla="*/ 3 w 281"/>
                <a:gd name="T115" fmla="*/ 6 h 285"/>
                <a:gd name="T116" fmla="*/ 9 w 281"/>
                <a:gd name="T117" fmla="*/ 4 h 285"/>
                <a:gd name="T118" fmla="*/ 16 w 281"/>
                <a:gd name="T119" fmla="*/ 6 h 285"/>
                <a:gd name="T120" fmla="*/ 25 w 281"/>
                <a:gd name="T121" fmla="*/ 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1" h="285"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1" y="6"/>
                  </a:lnTo>
                  <a:lnTo>
                    <a:pt x="43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9" y="11"/>
                  </a:lnTo>
                  <a:lnTo>
                    <a:pt x="66" y="11"/>
                  </a:lnTo>
                  <a:lnTo>
                    <a:pt x="70" y="11"/>
                  </a:lnTo>
                  <a:lnTo>
                    <a:pt x="75" y="11"/>
                  </a:lnTo>
                  <a:lnTo>
                    <a:pt x="81" y="11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7" y="11"/>
                  </a:lnTo>
                  <a:lnTo>
                    <a:pt x="102" y="11"/>
                  </a:lnTo>
                  <a:lnTo>
                    <a:pt x="108" y="11"/>
                  </a:lnTo>
                  <a:lnTo>
                    <a:pt x="113" y="11"/>
                  </a:lnTo>
                  <a:lnTo>
                    <a:pt x="117" y="11"/>
                  </a:lnTo>
                  <a:lnTo>
                    <a:pt x="124" y="11"/>
                  </a:lnTo>
                  <a:lnTo>
                    <a:pt x="129" y="11"/>
                  </a:lnTo>
                  <a:lnTo>
                    <a:pt x="133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7" y="20"/>
                  </a:lnTo>
                  <a:lnTo>
                    <a:pt x="149" y="20"/>
                  </a:lnTo>
                  <a:lnTo>
                    <a:pt x="151" y="20"/>
                  </a:lnTo>
                  <a:lnTo>
                    <a:pt x="153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60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0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8" y="22"/>
                  </a:lnTo>
                  <a:lnTo>
                    <a:pt x="178" y="22"/>
                  </a:lnTo>
                  <a:lnTo>
                    <a:pt x="178" y="22"/>
                  </a:lnTo>
                  <a:lnTo>
                    <a:pt x="178" y="22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85" y="24"/>
                  </a:lnTo>
                  <a:lnTo>
                    <a:pt x="185" y="24"/>
                  </a:lnTo>
                  <a:lnTo>
                    <a:pt x="185" y="24"/>
                  </a:lnTo>
                  <a:lnTo>
                    <a:pt x="185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7" y="24"/>
                  </a:lnTo>
                  <a:lnTo>
                    <a:pt x="189" y="24"/>
                  </a:lnTo>
                  <a:lnTo>
                    <a:pt x="189" y="24"/>
                  </a:lnTo>
                  <a:lnTo>
                    <a:pt x="189" y="24"/>
                  </a:lnTo>
                  <a:lnTo>
                    <a:pt x="189" y="24"/>
                  </a:lnTo>
                  <a:lnTo>
                    <a:pt x="191" y="24"/>
                  </a:lnTo>
                  <a:lnTo>
                    <a:pt x="191" y="24"/>
                  </a:lnTo>
                  <a:lnTo>
                    <a:pt x="194" y="24"/>
                  </a:lnTo>
                  <a:lnTo>
                    <a:pt x="196" y="22"/>
                  </a:lnTo>
                  <a:lnTo>
                    <a:pt x="196" y="24"/>
                  </a:lnTo>
                  <a:lnTo>
                    <a:pt x="196" y="24"/>
                  </a:lnTo>
                  <a:lnTo>
                    <a:pt x="196" y="22"/>
                  </a:lnTo>
                  <a:lnTo>
                    <a:pt x="196" y="22"/>
                  </a:lnTo>
                  <a:lnTo>
                    <a:pt x="196" y="22"/>
                  </a:lnTo>
                  <a:lnTo>
                    <a:pt x="198" y="22"/>
                  </a:lnTo>
                  <a:lnTo>
                    <a:pt x="198" y="22"/>
                  </a:lnTo>
                  <a:lnTo>
                    <a:pt x="198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4" y="22"/>
                  </a:lnTo>
                  <a:lnTo>
                    <a:pt x="218" y="22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2" y="17"/>
                  </a:lnTo>
                  <a:lnTo>
                    <a:pt x="236" y="17"/>
                  </a:lnTo>
                  <a:lnTo>
                    <a:pt x="241" y="17"/>
                  </a:lnTo>
                  <a:lnTo>
                    <a:pt x="243" y="15"/>
                  </a:lnTo>
                  <a:lnTo>
                    <a:pt x="243" y="15"/>
                  </a:lnTo>
                  <a:lnTo>
                    <a:pt x="243" y="15"/>
                  </a:lnTo>
                  <a:lnTo>
                    <a:pt x="245" y="15"/>
                  </a:lnTo>
                  <a:lnTo>
                    <a:pt x="245" y="15"/>
                  </a:lnTo>
                  <a:lnTo>
                    <a:pt x="245" y="15"/>
                  </a:lnTo>
                  <a:lnTo>
                    <a:pt x="248" y="15"/>
                  </a:lnTo>
                  <a:lnTo>
                    <a:pt x="248" y="15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5"/>
                  </a:lnTo>
                  <a:lnTo>
                    <a:pt x="252" y="13"/>
                  </a:lnTo>
                  <a:lnTo>
                    <a:pt x="252" y="13"/>
                  </a:lnTo>
                  <a:lnTo>
                    <a:pt x="252" y="13"/>
                  </a:lnTo>
                  <a:lnTo>
                    <a:pt x="254" y="13"/>
                  </a:lnTo>
                  <a:lnTo>
                    <a:pt x="254" y="13"/>
                  </a:lnTo>
                  <a:lnTo>
                    <a:pt x="257" y="13"/>
                  </a:lnTo>
                  <a:lnTo>
                    <a:pt x="257" y="13"/>
                  </a:lnTo>
                  <a:lnTo>
                    <a:pt x="257" y="13"/>
                  </a:lnTo>
                  <a:lnTo>
                    <a:pt x="259" y="13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1" y="13"/>
                  </a:lnTo>
                  <a:lnTo>
                    <a:pt x="261" y="13"/>
                  </a:lnTo>
                  <a:lnTo>
                    <a:pt x="261" y="13"/>
                  </a:lnTo>
                  <a:lnTo>
                    <a:pt x="261" y="13"/>
                  </a:lnTo>
                  <a:lnTo>
                    <a:pt x="263" y="13"/>
                  </a:lnTo>
                  <a:lnTo>
                    <a:pt x="263" y="13"/>
                  </a:lnTo>
                  <a:lnTo>
                    <a:pt x="263" y="13"/>
                  </a:lnTo>
                  <a:lnTo>
                    <a:pt x="263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6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68" y="13"/>
                  </a:lnTo>
                  <a:lnTo>
                    <a:pt x="270" y="13"/>
                  </a:lnTo>
                  <a:lnTo>
                    <a:pt x="272" y="13"/>
                  </a:lnTo>
                  <a:lnTo>
                    <a:pt x="272" y="13"/>
                  </a:lnTo>
                  <a:lnTo>
                    <a:pt x="272" y="13"/>
                  </a:lnTo>
                  <a:lnTo>
                    <a:pt x="272" y="13"/>
                  </a:lnTo>
                  <a:lnTo>
                    <a:pt x="272" y="13"/>
                  </a:lnTo>
                  <a:lnTo>
                    <a:pt x="272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5" y="13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9" y="20"/>
                  </a:lnTo>
                  <a:lnTo>
                    <a:pt x="279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79" y="20"/>
                  </a:lnTo>
                  <a:lnTo>
                    <a:pt x="279" y="20"/>
                  </a:lnTo>
                  <a:lnTo>
                    <a:pt x="279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5" y="20"/>
                  </a:lnTo>
                  <a:lnTo>
                    <a:pt x="272" y="20"/>
                  </a:lnTo>
                  <a:lnTo>
                    <a:pt x="272" y="20"/>
                  </a:lnTo>
                  <a:lnTo>
                    <a:pt x="272" y="20"/>
                  </a:lnTo>
                  <a:lnTo>
                    <a:pt x="272" y="22"/>
                  </a:lnTo>
                  <a:lnTo>
                    <a:pt x="272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68" y="24"/>
                  </a:lnTo>
                  <a:lnTo>
                    <a:pt x="268" y="24"/>
                  </a:lnTo>
                  <a:lnTo>
                    <a:pt x="268" y="24"/>
                  </a:lnTo>
                  <a:lnTo>
                    <a:pt x="268" y="24"/>
                  </a:lnTo>
                  <a:lnTo>
                    <a:pt x="268" y="24"/>
                  </a:lnTo>
                  <a:lnTo>
                    <a:pt x="268" y="26"/>
                  </a:lnTo>
                  <a:lnTo>
                    <a:pt x="268" y="26"/>
                  </a:lnTo>
                  <a:lnTo>
                    <a:pt x="266" y="26"/>
                  </a:lnTo>
                  <a:lnTo>
                    <a:pt x="266" y="26"/>
                  </a:lnTo>
                  <a:lnTo>
                    <a:pt x="266" y="26"/>
                  </a:lnTo>
                  <a:lnTo>
                    <a:pt x="266" y="24"/>
                  </a:lnTo>
                  <a:lnTo>
                    <a:pt x="266" y="24"/>
                  </a:lnTo>
                  <a:lnTo>
                    <a:pt x="266" y="24"/>
                  </a:lnTo>
                  <a:lnTo>
                    <a:pt x="266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63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61" y="24"/>
                  </a:lnTo>
                  <a:lnTo>
                    <a:pt x="259" y="24"/>
                  </a:lnTo>
                  <a:lnTo>
                    <a:pt x="259" y="24"/>
                  </a:lnTo>
                  <a:lnTo>
                    <a:pt x="259" y="26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6"/>
                  </a:lnTo>
                  <a:lnTo>
                    <a:pt x="257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4" y="29"/>
                  </a:lnTo>
                  <a:lnTo>
                    <a:pt x="252" y="29"/>
                  </a:lnTo>
                  <a:lnTo>
                    <a:pt x="252" y="31"/>
                  </a:lnTo>
                  <a:lnTo>
                    <a:pt x="252" y="31"/>
                  </a:lnTo>
                  <a:lnTo>
                    <a:pt x="252" y="31"/>
                  </a:lnTo>
                  <a:lnTo>
                    <a:pt x="252" y="31"/>
                  </a:lnTo>
                  <a:lnTo>
                    <a:pt x="252" y="31"/>
                  </a:lnTo>
                  <a:lnTo>
                    <a:pt x="252" y="33"/>
                  </a:lnTo>
                  <a:lnTo>
                    <a:pt x="250" y="33"/>
                  </a:lnTo>
                  <a:lnTo>
                    <a:pt x="250" y="35"/>
                  </a:lnTo>
                  <a:lnTo>
                    <a:pt x="248" y="35"/>
                  </a:lnTo>
                  <a:lnTo>
                    <a:pt x="248" y="35"/>
                  </a:lnTo>
                  <a:lnTo>
                    <a:pt x="248" y="35"/>
                  </a:lnTo>
                  <a:lnTo>
                    <a:pt x="248" y="35"/>
                  </a:lnTo>
                  <a:lnTo>
                    <a:pt x="248" y="35"/>
                  </a:lnTo>
                  <a:lnTo>
                    <a:pt x="248" y="35"/>
                  </a:lnTo>
                  <a:lnTo>
                    <a:pt x="245" y="35"/>
                  </a:lnTo>
                  <a:lnTo>
                    <a:pt x="245" y="35"/>
                  </a:lnTo>
                  <a:lnTo>
                    <a:pt x="245" y="35"/>
                  </a:lnTo>
                  <a:lnTo>
                    <a:pt x="245" y="33"/>
                  </a:lnTo>
                  <a:lnTo>
                    <a:pt x="245" y="33"/>
                  </a:lnTo>
                  <a:lnTo>
                    <a:pt x="245" y="33"/>
                  </a:lnTo>
                  <a:lnTo>
                    <a:pt x="245" y="33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5" y="31"/>
                  </a:lnTo>
                  <a:lnTo>
                    <a:pt x="243" y="31"/>
                  </a:lnTo>
                  <a:lnTo>
                    <a:pt x="243" y="31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3" y="29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6"/>
                  </a:lnTo>
                  <a:lnTo>
                    <a:pt x="241" y="24"/>
                  </a:lnTo>
                  <a:lnTo>
                    <a:pt x="241" y="24"/>
                  </a:lnTo>
                  <a:lnTo>
                    <a:pt x="241" y="24"/>
                  </a:lnTo>
                  <a:lnTo>
                    <a:pt x="241" y="24"/>
                  </a:lnTo>
                  <a:lnTo>
                    <a:pt x="241" y="24"/>
                  </a:lnTo>
                  <a:lnTo>
                    <a:pt x="239" y="24"/>
                  </a:lnTo>
                  <a:lnTo>
                    <a:pt x="239" y="24"/>
                  </a:lnTo>
                  <a:lnTo>
                    <a:pt x="236" y="24"/>
                  </a:lnTo>
                  <a:lnTo>
                    <a:pt x="234" y="24"/>
                  </a:lnTo>
                  <a:lnTo>
                    <a:pt x="232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27" y="26"/>
                  </a:lnTo>
                  <a:lnTo>
                    <a:pt x="225" y="26"/>
                  </a:lnTo>
                  <a:lnTo>
                    <a:pt x="223" y="26"/>
                  </a:lnTo>
                  <a:lnTo>
                    <a:pt x="221" y="29"/>
                  </a:lnTo>
                  <a:lnTo>
                    <a:pt x="221" y="29"/>
                  </a:lnTo>
                  <a:lnTo>
                    <a:pt x="218" y="29"/>
                  </a:lnTo>
                  <a:lnTo>
                    <a:pt x="216" y="29"/>
                  </a:lnTo>
                  <a:lnTo>
                    <a:pt x="214" y="29"/>
                  </a:lnTo>
                  <a:lnTo>
                    <a:pt x="212" y="29"/>
                  </a:lnTo>
                  <a:lnTo>
                    <a:pt x="212" y="31"/>
                  </a:lnTo>
                  <a:lnTo>
                    <a:pt x="209" y="31"/>
                  </a:lnTo>
                  <a:lnTo>
                    <a:pt x="207" y="31"/>
                  </a:lnTo>
                  <a:lnTo>
                    <a:pt x="205" y="31"/>
                  </a:lnTo>
                  <a:lnTo>
                    <a:pt x="205" y="31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203" y="31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198" y="31"/>
                  </a:lnTo>
                  <a:lnTo>
                    <a:pt x="198" y="31"/>
                  </a:lnTo>
                  <a:lnTo>
                    <a:pt x="196" y="31"/>
                  </a:lnTo>
                  <a:lnTo>
                    <a:pt x="196" y="31"/>
                  </a:lnTo>
                  <a:lnTo>
                    <a:pt x="194" y="31"/>
                  </a:lnTo>
                  <a:lnTo>
                    <a:pt x="194" y="33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191" y="33"/>
                  </a:lnTo>
                  <a:lnTo>
                    <a:pt x="191" y="35"/>
                  </a:lnTo>
                  <a:lnTo>
                    <a:pt x="191" y="35"/>
                  </a:lnTo>
                  <a:lnTo>
                    <a:pt x="191" y="38"/>
                  </a:lnTo>
                  <a:lnTo>
                    <a:pt x="191" y="38"/>
                  </a:lnTo>
                  <a:lnTo>
                    <a:pt x="191" y="38"/>
                  </a:lnTo>
                  <a:lnTo>
                    <a:pt x="191" y="40"/>
                  </a:lnTo>
                  <a:lnTo>
                    <a:pt x="191" y="40"/>
                  </a:lnTo>
                  <a:lnTo>
                    <a:pt x="191" y="42"/>
                  </a:lnTo>
                  <a:lnTo>
                    <a:pt x="191" y="42"/>
                  </a:lnTo>
                  <a:lnTo>
                    <a:pt x="191" y="44"/>
                  </a:lnTo>
                  <a:lnTo>
                    <a:pt x="191" y="44"/>
                  </a:lnTo>
                  <a:lnTo>
                    <a:pt x="191" y="44"/>
                  </a:lnTo>
                  <a:lnTo>
                    <a:pt x="191" y="47"/>
                  </a:lnTo>
                  <a:lnTo>
                    <a:pt x="191" y="47"/>
                  </a:lnTo>
                  <a:lnTo>
                    <a:pt x="191" y="49"/>
                  </a:lnTo>
                  <a:lnTo>
                    <a:pt x="191" y="51"/>
                  </a:lnTo>
                  <a:lnTo>
                    <a:pt x="191" y="53"/>
                  </a:lnTo>
                  <a:lnTo>
                    <a:pt x="191" y="58"/>
                  </a:lnTo>
                  <a:lnTo>
                    <a:pt x="191" y="60"/>
                  </a:lnTo>
                  <a:lnTo>
                    <a:pt x="191" y="62"/>
                  </a:lnTo>
                  <a:lnTo>
                    <a:pt x="191" y="67"/>
                  </a:lnTo>
                  <a:lnTo>
                    <a:pt x="191" y="69"/>
                  </a:lnTo>
                  <a:lnTo>
                    <a:pt x="191" y="71"/>
                  </a:lnTo>
                  <a:lnTo>
                    <a:pt x="191" y="76"/>
                  </a:lnTo>
                  <a:lnTo>
                    <a:pt x="191" y="78"/>
                  </a:lnTo>
                  <a:lnTo>
                    <a:pt x="191" y="80"/>
                  </a:lnTo>
                  <a:lnTo>
                    <a:pt x="191" y="85"/>
                  </a:lnTo>
                  <a:lnTo>
                    <a:pt x="191" y="87"/>
                  </a:lnTo>
                  <a:lnTo>
                    <a:pt x="191" y="89"/>
                  </a:lnTo>
                  <a:lnTo>
                    <a:pt x="191" y="94"/>
                  </a:lnTo>
                  <a:lnTo>
                    <a:pt x="189" y="96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9" y="101"/>
                  </a:lnTo>
                  <a:lnTo>
                    <a:pt x="189" y="101"/>
                  </a:lnTo>
                  <a:lnTo>
                    <a:pt x="189" y="103"/>
                  </a:lnTo>
                  <a:lnTo>
                    <a:pt x="189" y="105"/>
                  </a:lnTo>
                  <a:lnTo>
                    <a:pt x="189" y="105"/>
                  </a:lnTo>
                  <a:lnTo>
                    <a:pt x="189" y="107"/>
                  </a:lnTo>
                  <a:lnTo>
                    <a:pt x="189" y="107"/>
                  </a:lnTo>
                  <a:lnTo>
                    <a:pt x="189" y="110"/>
                  </a:lnTo>
                  <a:lnTo>
                    <a:pt x="189" y="112"/>
                  </a:lnTo>
                  <a:lnTo>
                    <a:pt x="189" y="112"/>
                  </a:lnTo>
                  <a:lnTo>
                    <a:pt x="189" y="114"/>
                  </a:lnTo>
                  <a:lnTo>
                    <a:pt x="189" y="114"/>
                  </a:lnTo>
                  <a:lnTo>
                    <a:pt x="189" y="116"/>
                  </a:lnTo>
                  <a:lnTo>
                    <a:pt x="189" y="119"/>
                  </a:lnTo>
                  <a:lnTo>
                    <a:pt x="189" y="119"/>
                  </a:lnTo>
                  <a:lnTo>
                    <a:pt x="189" y="121"/>
                  </a:lnTo>
                  <a:lnTo>
                    <a:pt x="189" y="121"/>
                  </a:lnTo>
                  <a:lnTo>
                    <a:pt x="182" y="121"/>
                  </a:lnTo>
                  <a:lnTo>
                    <a:pt x="178" y="121"/>
                  </a:lnTo>
                  <a:lnTo>
                    <a:pt x="173" y="121"/>
                  </a:lnTo>
                  <a:lnTo>
                    <a:pt x="169" y="121"/>
                  </a:lnTo>
                  <a:lnTo>
                    <a:pt x="169" y="121"/>
                  </a:lnTo>
                  <a:lnTo>
                    <a:pt x="169" y="125"/>
                  </a:lnTo>
                  <a:lnTo>
                    <a:pt x="169" y="130"/>
                  </a:lnTo>
                  <a:lnTo>
                    <a:pt x="169" y="132"/>
                  </a:lnTo>
                  <a:lnTo>
                    <a:pt x="169" y="137"/>
                  </a:lnTo>
                  <a:lnTo>
                    <a:pt x="169" y="141"/>
                  </a:lnTo>
                  <a:lnTo>
                    <a:pt x="169" y="143"/>
                  </a:lnTo>
                  <a:lnTo>
                    <a:pt x="169" y="148"/>
                  </a:lnTo>
                  <a:lnTo>
                    <a:pt x="167" y="152"/>
                  </a:lnTo>
                  <a:lnTo>
                    <a:pt x="167" y="157"/>
                  </a:lnTo>
                  <a:lnTo>
                    <a:pt x="167" y="161"/>
                  </a:lnTo>
                  <a:lnTo>
                    <a:pt x="167" y="166"/>
                  </a:lnTo>
                  <a:lnTo>
                    <a:pt x="167" y="168"/>
                  </a:lnTo>
                  <a:lnTo>
                    <a:pt x="167" y="173"/>
                  </a:lnTo>
                  <a:lnTo>
                    <a:pt x="167" y="177"/>
                  </a:lnTo>
                  <a:lnTo>
                    <a:pt x="167" y="182"/>
                  </a:lnTo>
                  <a:lnTo>
                    <a:pt x="167" y="186"/>
                  </a:lnTo>
                  <a:lnTo>
                    <a:pt x="167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3"/>
                  </a:lnTo>
                  <a:lnTo>
                    <a:pt x="167" y="193"/>
                  </a:lnTo>
                  <a:lnTo>
                    <a:pt x="167" y="195"/>
                  </a:lnTo>
                  <a:lnTo>
                    <a:pt x="167" y="197"/>
                  </a:lnTo>
                  <a:lnTo>
                    <a:pt x="167" y="197"/>
                  </a:lnTo>
                  <a:lnTo>
                    <a:pt x="167" y="200"/>
                  </a:lnTo>
                  <a:lnTo>
                    <a:pt x="167" y="200"/>
                  </a:lnTo>
                  <a:lnTo>
                    <a:pt x="167" y="202"/>
                  </a:lnTo>
                  <a:lnTo>
                    <a:pt x="167" y="204"/>
                  </a:lnTo>
                  <a:lnTo>
                    <a:pt x="167" y="204"/>
                  </a:lnTo>
                  <a:lnTo>
                    <a:pt x="167" y="206"/>
                  </a:lnTo>
                  <a:lnTo>
                    <a:pt x="167" y="206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7" y="211"/>
                  </a:lnTo>
                  <a:lnTo>
                    <a:pt x="167" y="213"/>
                  </a:lnTo>
                  <a:lnTo>
                    <a:pt x="167" y="213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8"/>
                  </a:lnTo>
                  <a:lnTo>
                    <a:pt x="164" y="220"/>
                  </a:lnTo>
                  <a:lnTo>
                    <a:pt x="164" y="220"/>
                  </a:lnTo>
                  <a:lnTo>
                    <a:pt x="164" y="222"/>
                  </a:lnTo>
                  <a:lnTo>
                    <a:pt x="164" y="222"/>
                  </a:lnTo>
                  <a:lnTo>
                    <a:pt x="164" y="224"/>
                  </a:lnTo>
                  <a:lnTo>
                    <a:pt x="164" y="227"/>
                  </a:lnTo>
                  <a:lnTo>
                    <a:pt x="164" y="227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31"/>
                  </a:lnTo>
                  <a:lnTo>
                    <a:pt x="164" y="233"/>
                  </a:lnTo>
                  <a:lnTo>
                    <a:pt x="164" y="233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38"/>
                  </a:lnTo>
                  <a:lnTo>
                    <a:pt x="164" y="240"/>
                  </a:lnTo>
                  <a:lnTo>
                    <a:pt x="164" y="240"/>
                  </a:lnTo>
                  <a:lnTo>
                    <a:pt x="164" y="242"/>
                  </a:lnTo>
                  <a:lnTo>
                    <a:pt x="164" y="242"/>
                  </a:lnTo>
                  <a:lnTo>
                    <a:pt x="164" y="245"/>
                  </a:lnTo>
                  <a:lnTo>
                    <a:pt x="164" y="247"/>
                  </a:lnTo>
                  <a:lnTo>
                    <a:pt x="164" y="247"/>
                  </a:lnTo>
                  <a:lnTo>
                    <a:pt x="164" y="249"/>
                  </a:lnTo>
                  <a:lnTo>
                    <a:pt x="164" y="249"/>
                  </a:lnTo>
                  <a:lnTo>
                    <a:pt x="164" y="251"/>
                  </a:lnTo>
                  <a:lnTo>
                    <a:pt x="164" y="251"/>
                  </a:lnTo>
                  <a:lnTo>
                    <a:pt x="164" y="254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60"/>
                  </a:lnTo>
                  <a:lnTo>
                    <a:pt x="164" y="263"/>
                  </a:lnTo>
                  <a:lnTo>
                    <a:pt x="164" y="263"/>
                  </a:lnTo>
                  <a:lnTo>
                    <a:pt x="164" y="265"/>
                  </a:lnTo>
                  <a:lnTo>
                    <a:pt x="162" y="265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2" y="269"/>
                  </a:lnTo>
                  <a:lnTo>
                    <a:pt x="162" y="272"/>
                  </a:lnTo>
                  <a:lnTo>
                    <a:pt x="162" y="272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2" y="274"/>
                  </a:lnTo>
                  <a:lnTo>
                    <a:pt x="160" y="274"/>
                  </a:lnTo>
                  <a:lnTo>
                    <a:pt x="160" y="274"/>
                  </a:lnTo>
                  <a:lnTo>
                    <a:pt x="160" y="274"/>
                  </a:lnTo>
                  <a:lnTo>
                    <a:pt x="158" y="274"/>
                  </a:lnTo>
                  <a:lnTo>
                    <a:pt x="158" y="274"/>
                  </a:lnTo>
                  <a:lnTo>
                    <a:pt x="158" y="274"/>
                  </a:lnTo>
                  <a:lnTo>
                    <a:pt x="158" y="276"/>
                  </a:lnTo>
                  <a:lnTo>
                    <a:pt x="156" y="276"/>
                  </a:lnTo>
                  <a:lnTo>
                    <a:pt x="156" y="276"/>
                  </a:lnTo>
                  <a:lnTo>
                    <a:pt x="156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6"/>
                  </a:lnTo>
                  <a:lnTo>
                    <a:pt x="153" y="278"/>
                  </a:lnTo>
                  <a:lnTo>
                    <a:pt x="153" y="278"/>
                  </a:lnTo>
                  <a:lnTo>
                    <a:pt x="151" y="281"/>
                  </a:lnTo>
                  <a:lnTo>
                    <a:pt x="151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9" y="281"/>
                  </a:lnTo>
                  <a:lnTo>
                    <a:pt x="147" y="281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9" y="283"/>
                  </a:lnTo>
                  <a:lnTo>
                    <a:pt x="147" y="283"/>
                  </a:lnTo>
                  <a:lnTo>
                    <a:pt x="147" y="285"/>
                  </a:lnTo>
                  <a:lnTo>
                    <a:pt x="147" y="285"/>
                  </a:lnTo>
                  <a:lnTo>
                    <a:pt x="147" y="285"/>
                  </a:lnTo>
                  <a:lnTo>
                    <a:pt x="147" y="285"/>
                  </a:lnTo>
                  <a:lnTo>
                    <a:pt x="144" y="285"/>
                  </a:lnTo>
                  <a:lnTo>
                    <a:pt x="144" y="285"/>
                  </a:lnTo>
                  <a:lnTo>
                    <a:pt x="144" y="285"/>
                  </a:lnTo>
                  <a:lnTo>
                    <a:pt x="144" y="285"/>
                  </a:lnTo>
                  <a:lnTo>
                    <a:pt x="144" y="285"/>
                  </a:lnTo>
                  <a:lnTo>
                    <a:pt x="142" y="285"/>
                  </a:lnTo>
                  <a:lnTo>
                    <a:pt x="142" y="285"/>
                  </a:lnTo>
                  <a:lnTo>
                    <a:pt x="142" y="285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38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3"/>
                  </a:lnTo>
                  <a:lnTo>
                    <a:pt x="131" y="283"/>
                  </a:lnTo>
                  <a:lnTo>
                    <a:pt x="131" y="283"/>
                  </a:lnTo>
                  <a:lnTo>
                    <a:pt x="131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29" y="283"/>
                  </a:lnTo>
                  <a:lnTo>
                    <a:pt x="129" y="283"/>
                  </a:lnTo>
                  <a:lnTo>
                    <a:pt x="126" y="283"/>
                  </a:lnTo>
                  <a:lnTo>
                    <a:pt x="126" y="285"/>
                  </a:lnTo>
                  <a:lnTo>
                    <a:pt x="126" y="285"/>
                  </a:lnTo>
                  <a:lnTo>
                    <a:pt x="124" y="283"/>
                  </a:lnTo>
                  <a:lnTo>
                    <a:pt x="124" y="283"/>
                  </a:lnTo>
                  <a:lnTo>
                    <a:pt x="122" y="283"/>
                  </a:lnTo>
                  <a:lnTo>
                    <a:pt x="122" y="281"/>
                  </a:lnTo>
                  <a:lnTo>
                    <a:pt x="120" y="281"/>
                  </a:lnTo>
                  <a:lnTo>
                    <a:pt x="117" y="281"/>
                  </a:lnTo>
                  <a:lnTo>
                    <a:pt x="117" y="281"/>
                  </a:lnTo>
                  <a:lnTo>
                    <a:pt x="117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81"/>
                  </a:lnTo>
                  <a:lnTo>
                    <a:pt x="115" y="278"/>
                  </a:lnTo>
                  <a:lnTo>
                    <a:pt x="115" y="278"/>
                  </a:lnTo>
                  <a:lnTo>
                    <a:pt x="113" y="278"/>
                  </a:lnTo>
                  <a:lnTo>
                    <a:pt x="113" y="278"/>
                  </a:lnTo>
                  <a:lnTo>
                    <a:pt x="113" y="278"/>
                  </a:lnTo>
                  <a:lnTo>
                    <a:pt x="113" y="278"/>
                  </a:lnTo>
                  <a:lnTo>
                    <a:pt x="111" y="281"/>
                  </a:lnTo>
                  <a:lnTo>
                    <a:pt x="111" y="278"/>
                  </a:lnTo>
                  <a:lnTo>
                    <a:pt x="111" y="278"/>
                  </a:lnTo>
                  <a:lnTo>
                    <a:pt x="111" y="278"/>
                  </a:lnTo>
                  <a:lnTo>
                    <a:pt x="111" y="276"/>
                  </a:lnTo>
                  <a:lnTo>
                    <a:pt x="111" y="276"/>
                  </a:lnTo>
                  <a:lnTo>
                    <a:pt x="111" y="276"/>
                  </a:lnTo>
                  <a:lnTo>
                    <a:pt x="111" y="276"/>
                  </a:lnTo>
                  <a:lnTo>
                    <a:pt x="111" y="276"/>
                  </a:lnTo>
                  <a:lnTo>
                    <a:pt x="108" y="274"/>
                  </a:lnTo>
                  <a:lnTo>
                    <a:pt x="108" y="274"/>
                  </a:lnTo>
                  <a:lnTo>
                    <a:pt x="108" y="274"/>
                  </a:lnTo>
                  <a:lnTo>
                    <a:pt x="108" y="274"/>
                  </a:lnTo>
                  <a:lnTo>
                    <a:pt x="111" y="274"/>
                  </a:lnTo>
                  <a:lnTo>
                    <a:pt x="111" y="274"/>
                  </a:lnTo>
                  <a:lnTo>
                    <a:pt x="111" y="272"/>
                  </a:lnTo>
                  <a:lnTo>
                    <a:pt x="111" y="272"/>
                  </a:lnTo>
                  <a:lnTo>
                    <a:pt x="111" y="272"/>
                  </a:lnTo>
                  <a:lnTo>
                    <a:pt x="111" y="272"/>
                  </a:lnTo>
                  <a:lnTo>
                    <a:pt x="111" y="272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9"/>
                  </a:lnTo>
                  <a:lnTo>
                    <a:pt x="111" y="267"/>
                  </a:lnTo>
                  <a:lnTo>
                    <a:pt x="111" y="267"/>
                  </a:lnTo>
                  <a:lnTo>
                    <a:pt x="108" y="267"/>
                  </a:lnTo>
                  <a:lnTo>
                    <a:pt x="108" y="269"/>
                  </a:lnTo>
                  <a:lnTo>
                    <a:pt x="106" y="269"/>
                  </a:lnTo>
                  <a:lnTo>
                    <a:pt x="106" y="267"/>
                  </a:lnTo>
                  <a:lnTo>
                    <a:pt x="106" y="267"/>
                  </a:lnTo>
                  <a:lnTo>
                    <a:pt x="106" y="267"/>
                  </a:lnTo>
                  <a:lnTo>
                    <a:pt x="106" y="265"/>
                  </a:lnTo>
                  <a:lnTo>
                    <a:pt x="106" y="265"/>
                  </a:lnTo>
                  <a:lnTo>
                    <a:pt x="106" y="265"/>
                  </a:lnTo>
                  <a:lnTo>
                    <a:pt x="106" y="265"/>
                  </a:lnTo>
                  <a:lnTo>
                    <a:pt x="106" y="265"/>
                  </a:lnTo>
                  <a:lnTo>
                    <a:pt x="106" y="265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4" y="263"/>
                  </a:lnTo>
                  <a:lnTo>
                    <a:pt x="104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102" y="265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7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9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7" y="269"/>
                  </a:lnTo>
                  <a:lnTo>
                    <a:pt x="99" y="272"/>
                  </a:lnTo>
                  <a:lnTo>
                    <a:pt x="99" y="272"/>
                  </a:lnTo>
                  <a:lnTo>
                    <a:pt x="99" y="272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7" y="274"/>
                  </a:lnTo>
                  <a:lnTo>
                    <a:pt x="95" y="274"/>
                  </a:lnTo>
                  <a:lnTo>
                    <a:pt x="95" y="276"/>
                  </a:lnTo>
                  <a:lnTo>
                    <a:pt x="93" y="276"/>
                  </a:lnTo>
                  <a:lnTo>
                    <a:pt x="93" y="276"/>
                  </a:lnTo>
                  <a:lnTo>
                    <a:pt x="93" y="276"/>
                  </a:lnTo>
                  <a:lnTo>
                    <a:pt x="93" y="276"/>
                  </a:lnTo>
                  <a:lnTo>
                    <a:pt x="93" y="276"/>
                  </a:lnTo>
                  <a:lnTo>
                    <a:pt x="90" y="276"/>
                  </a:lnTo>
                  <a:lnTo>
                    <a:pt x="90" y="278"/>
                  </a:lnTo>
                  <a:lnTo>
                    <a:pt x="90" y="276"/>
                  </a:lnTo>
                  <a:lnTo>
                    <a:pt x="90" y="276"/>
                  </a:lnTo>
                  <a:lnTo>
                    <a:pt x="88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2"/>
                  </a:lnTo>
                  <a:lnTo>
                    <a:pt x="86" y="272"/>
                  </a:lnTo>
                  <a:lnTo>
                    <a:pt x="86" y="272"/>
                  </a:lnTo>
                  <a:lnTo>
                    <a:pt x="84" y="269"/>
                  </a:lnTo>
                  <a:lnTo>
                    <a:pt x="84" y="269"/>
                  </a:lnTo>
                  <a:lnTo>
                    <a:pt x="81" y="267"/>
                  </a:lnTo>
                  <a:lnTo>
                    <a:pt x="79" y="267"/>
                  </a:lnTo>
                  <a:lnTo>
                    <a:pt x="79" y="265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0"/>
                  </a:lnTo>
                  <a:lnTo>
                    <a:pt x="77" y="260"/>
                  </a:lnTo>
                  <a:lnTo>
                    <a:pt x="77" y="260"/>
                  </a:lnTo>
                  <a:lnTo>
                    <a:pt x="77" y="260"/>
                  </a:lnTo>
                  <a:lnTo>
                    <a:pt x="77" y="260"/>
                  </a:lnTo>
                  <a:lnTo>
                    <a:pt x="75" y="258"/>
                  </a:lnTo>
                  <a:lnTo>
                    <a:pt x="75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1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8" y="247"/>
                  </a:lnTo>
                  <a:lnTo>
                    <a:pt x="68" y="245"/>
                  </a:lnTo>
                  <a:lnTo>
                    <a:pt x="68" y="245"/>
                  </a:lnTo>
                  <a:lnTo>
                    <a:pt x="68" y="245"/>
                  </a:lnTo>
                  <a:lnTo>
                    <a:pt x="68" y="245"/>
                  </a:lnTo>
                  <a:lnTo>
                    <a:pt x="68" y="245"/>
                  </a:lnTo>
                  <a:lnTo>
                    <a:pt x="68" y="242"/>
                  </a:lnTo>
                  <a:lnTo>
                    <a:pt x="68" y="242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3"/>
                  </a:lnTo>
                  <a:lnTo>
                    <a:pt x="66" y="233"/>
                  </a:lnTo>
                  <a:lnTo>
                    <a:pt x="66" y="233"/>
                  </a:lnTo>
                  <a:lnTo>
                    <a:pt x="66" y="233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29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6" y="231"/>
                  </a:lnTo>
                  <a:lnTo>
                    <a:pt x="68" y="229"/>
                  </a:lnTo>
                  <a:lnTo>
                    <a:pt x="68" y="229"/>
                  </a:lnTo>
                  <a:lnTo>
                    <a:pt x="68" y="229"/>
                  </a:lnTo>
                  <a:lnTo>
                    <a:pt x="66" y="227"/>
                  </a:lnTo>
                  <a:lnTo>
                    <a:pt x="66" y="227"/>
                  </a:lnTo>
                  <a:lnTo>
                    <a:pt x="66" y="224"/>
                  </a:lnTo>
                  <a:lnTo>
                    <a:pt x="66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0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5"/>
                  </a:lnTo>
                  <a:lnTo>
                    <a:pt x="63" y="215"/>
                  </a:lnTo>
                  <a:lnTo>
                    <a:pt x="63" y="215"/>
                  </a:lnTo>
                  <a:lnTo>
                    <a:pt x="61" y="213"/>
                  </a:lnTo>
                  <a:lnTo>
                    <a:pt x="61" y="213"/>
                  </a:lnTo>
                  <a:lnTo>
                    <a:pt x="63" y="211"/>
                  </a:lnTo>
                  <a:lnTo>
                    <a:pt x="61" y="211"/>
                  </a:lnTo>
                  <a:lnTo>
                    <a:pt x="61" y="211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6"/>
                  </a:lnTo>
                  <a:lnTo>
                    <a:pt x="61" y="206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2"/>
                  </a:lnTo>
                  <a:lnTo>
                    <a:pt x="61" y="202"/>
                  </a:lnTo>
                  <a:lnTo>
                    <a:pt x="61" y="200"/>
                  </a:lnTo>
                  <a:lnTo>
                    <a:pt x="61" y="200"/>
                  </a:lnTo>
                  <a:lnTo>
                    <a:pt x="61" y="197"/>
                  </a:lnTo>
                  <a:lnTo>
                    <a:pt x="61" y="197"/>
                  </a:lnTo>
                  <a:lnTo>
                    <a:pt x="61" y="195"/>
                  </a:lnTo>
                  <a:lnTo>
                    <a:pt x="61" y="195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3"/>
                  </a:lnTo>
                  <a:lnTo>
                    <a:pt x="61" y="191"/>
                  </a:lnTo>
                  <a:lnTo>
                    <a:pt x="61" y="188"/>
                  </a:lnTo>
                  <a:lnTo>
                    <a:pt x="61" y="188"/>
                  </a:lnTo>
                  <a:lnTo>
                    <a:pt x="61" y="186"/>
                  </a:lnTo>
                  <a:lnTo>
                    <a:pt x="59" y="184"/>
                  </a:lnTo>
                  <a:lnTo>
                    <a:pt x="59" y="184"/>
                  </a:lnTo>
                  <a:lnTo>
                    <a:pt x="57" y="182"/>
                  </a:lnTo>
                  <a:lnTo>
                    <a:pt x="57" y="182"/>
                  </a:lnTo>
                  <a:lnTo>
                    <a:pt x="57" y="182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9"/>
                  </a:lnTo>
                  <a:lnTo>
                    <a:pt x="57" y="177"/>
                  </a:lnTo>
                  <a:lnTo>
                    <a:pt x="57" y="177"/>
                  </a:lnTo>
                  <a:lnTo>
                    <a:pt x="57" y="175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54" y="170"/>
                  </a:lnTo>
                  <a:lnTo>
                    <a:pt x="54" y="168"/>
                  </a:lnTo>
                  <a:lnTo>
                    <a:pt x="54" y="168"/>
                  </a:lnTo>
                  <a:lnTo>
                    <a:pt x="54" y="168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1"/>
                  </a:lnTo>
                  <a:lnTo>
                    <a:pt x="54" y="161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4" y="148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6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4" y="143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57" y="137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28"/>
                  </a:lnTo>
                  <a:lnTo>
                    <a:pt x="54" y="125"/>
                  </a:lnTo>
                  <a:lnTo>
                    <a:pt x="54" y="125"/>
                  </a:lnTo>
                  <a:lnTo>
                    <a:pt x="52" y="125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48" y="119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3" y="107"/>
                  </a:lnTo>
                  <a:lnTo>
                    <a:pt x="41" y="103"/>
                  </a:lnTo>
                  <a:lnTo>
                    <a:pt x="39" y="101"/>
                  </a:lnTo>
                  <a:lnTo>
                    <a:pt x="39" y="101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89"/>
                  </a:lnTo>
                  <a:lnTo>
                    <a:pt x="34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1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3" y="65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2" y="42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2" name="Freeform 538"/>
            <p:cNvSpPr>
              <a:spLocks noEditPoints="1"/>
            </p:cNvSpPr>
            <p:nvPr/>
          </p:nvSpPr>
          <p:spPr bwMode="auto">
            <a:xfrm>
              <a:off x="6695564" y="4381937"/>
              <a:ext cx="371056" cy="655199"/>
            </a:xfrm>
            <a:custGeom>
              <a:avLst/>
              <a:gdLst>
                <a:gd name="T0" fmla="*/ 218 w 222"/>
                <a:gd name="T1" fmla="*/ 3 h 392"/>
                <a:gd name="T2" fmla="*/ 218 w 222"/>
                <a:gd name="T3" fmla="*/ 14 h 392"/>
                <a:gd name="T4" fmla="*/ 216 w 222"/>
                <a:gd name="T5" fmla="*/ 27 h 392"/>
                <a:gd name="T6" fmla="*/ 216 w 222"/>
                <a:gd name="T7" fmla="*/ 43 h 392"/>
                <a:gd name="T8" fmla="*/ 218 w 222"/>
                <a:gd name="T9" fmla="*/ 52 h 392"/>
                <a:gd name="T10" fmla="*/ 216 w 222"/>
                <a:gd name="T11" fmla="*/ 59 h 392"/>
                <a:gd name="T12" fmla="*/ 216 w 222"/>
                <a:gd name="T13" fmla="*/ 68 h 392"/>
                <a:gd name="T14" fmla="*/ 218 w 222"/>
                <a:gd name="T15" fmla="*/ 86 h 392"/>
                <a:gd name="T16" fmla="*/ 220 w 222"/>
                <a:gd name="T17" fmla="*/ 93 h 392"/>
                <a:gd name="T18" fmla="*/ 220 w 222"/>
                <a:gd name="T19" fmla="*/ 97 h 392"/>
                <a:gd name="T20" fmla="*/ 218 w 222"/>
                <a:gd name="T21" fmla="*/ 106 h 392"/>
                <a:gd name="T22" fmla="*/ 216 w 222"/>
                <a:gd name="T23" fmla="*/ 113 h 392"/>
                <a:gd name="T24" fmla="*/ 209 w 222"/>
                <a:gd name="T25" fmla="*/ 126 h 392"/>
                <a:gd name="T26" fmla="*/ 198 w 222"/>
                <a:gd name="T27" fmla="*/ 142 h 392"/>
                <a:gd name="T28" fmla="*/ 182 w 222"/>
                <a:gd name="T29" fmla="*/ 153 h 392"/>
                <a:gd name="T30" fmla="*/ 164 w 222"/>
                <a:gd name="T31" fmla="*/ 162 h 392"/>
                <a:gd name="T32" fmla="*/ 144 w 222"/>
                <a:gd name="T33" fmla="*/ 173 h 392"/>
                <a:gd name="T34" fmla="*/ 137 w 222"/>
                <a:gd name="T35" fmla="*/ 182 h 392"/>
                <a:gd name="T36" fmla="*/ 123 w 222"/>
                <a:gd name="T37" fmla="*/ 198 h 392"/>
                <a:gd name="T38" fmla="*/ 121 w 222"/>
                <a:gd name="T39" fmla="*/ 200 h 392"/>
                <a:gd name="T40" fmla="*/ 112 w 222"/>
                <a:gd name="T41" fmla="*/ 205 h 392"/>
                <a:gd name="T42" fmla="*/ 90 w 222"/>
                <a:gd name="T43" fmla="*/ 225 h 392"/>
                <a:gd name="T44" fmla="*/ 88 w 222"/>
                <a:gd name="T45" fmla="*/ 223 h 392"/>
                <a:gd name="T46" fmla="*/ 88 w 222"/>
                <a:gd name="T47" fmla="*/ 232 h 392"/>
                <a:gd name="T48" fmla="*/ 88 w 222"/>
                <a:gd name="T49" fmla="*/ 239 h 392"/>
                <a:gd name="T50" fmla="*/ 92 w 222"/>
                <a:gd name="T51" fmla="*/ 248 h 392"/>
                <a:gd name="T52" fmla="*/ 94 w 222"/>
                <a:gd name="T53" fmla="*/ 252 h 392"/>
                <a:gd name="T54" fmla="*/ 94 w 222"/>
                <a:gd name="T55" fmla="*/ 259 h 392"/>
                <a:gd name="T56" fmla="*/ 99 w 222"/>
                <a:gd name="T57" fmla="*/ 281 h 392"/>
                <a:gd name="T58" fmla="*/ 101 w 222"/>
                <a:gd name="T59" fmla="*/ 286 h 392"/>
                <a:gd name="T60" fmla="*/ 97 w 222"/>
                <a:gd name="T61" fmla="*/ 315 h 392"/>
                <a:gd name="T62" fmla="*/ 99 w 222"/>
                <a:gd name="T63" fmla="*/ 320 h 392"/>
                <a:gd name="T64" fmla="*/ 52 w 222"/>
                <a:gd name="T65" fmla="*/ 353 h 392"/>
                <a:gd name="T66" fmla="*/ 38 w 222"/>
                <a:gd name="T67" fmla="*/ 369 h 392"/>
                <a:gd name="T68" fmla="*/ 38 w 222"/>
                <a:gd name="T69" fmla="*/ 376 h 392"/>
                <a:gd name="T70" fmla="*/ 34 w 222"/>
                <a:gd name="T71" fmla="*/ 392 h 392"/>
                <a:gd name="T72" fmla="*/ 25 w 222"/>
                <a:gd name="T73" fmla="*/ 358 h 392"/>
                <a:gd name="T74" fmla="*/ 18 w 222"/>
                <a:gd name="T75" fmla="*/ 281 h 392"/>
                <a:gd name="T76" fmla="*/ 40 w 222"/>
                <a:gd name="T77" fmla="*/ 248 h 392"/>
                <a:gd name="T78" fmla="*/ 54 w 222"/>
                <a:gd name="T79" fmla="*/ 223 h 392"/>
                <a:gd name="T80" fmla="*/ 49 w 222"/>
                <a:gd name="T81" fmla="*/ 212 h 392"/>
                <a:gd name="T82" fmla="*/ 52 w 222"/>
                <a:gd name="T83" fmla="*/ 196 h 392"/>
                <a:gd name="T84" fmla="*/ 54 w 222"/>
                <a:gd name="T85" fmla="*/ 180 h 392"/>
                <a:gd name="T86" fmla="*/ 54 w 222"/>
                <a:gd name="T87" fmla="*/ 165 h 392"/>
                <a:gd name="T88" fmla="*/ 34 w 222"/>
                <a:gd name="T89" fmla="*/ 142 h 392"/>
                <a:gd name="T90" fmla="*/ 16 w 222"/>
                <a:gd name="T91" fmla="*/ 133 h 392"/>
                <a:gd name="T92" fmla="*/ 2 w 222"/>
                <a:gd name="T93" fmla="*/ 117 h 392"/>
                <a:gd name="T94" fmla="*/ 58 w 222"/>
                <a:gd name="T95" fmla="*/ 86 h 392"/>
                <a:gd name="T96" fmla="*/ 74 w 222"/>
                <a:gd name="T97" fmla="*/ 97 h 392"/>
                <a:gd name="T98" fmla="*/ 90 w 222"/>
                <a:gd name="T99" fmla="*/ 108 h 392"/>
                <a:gd name="T100" fmla="*/ 83 w 222"/>
                <a:gd name="T101" fmla="*/ 129 h 392"/>
                <a:gd name="T102" fmla="*/ 94 w 222"/>
                <a:gd name="T103" fmla="*/ 149 h 392"/>
                <a:gd name="T104" fmla="*/ 103 w 222"/>
                <a:gd name="T105" fmla="*/ 156 h 392"/>
                <a:gd name="T106" fmla="*/ 103 w 222"/>
                <a:gd name="T107" fmla="*/ 142 h 392"/>
                <a:gd name="T108" fmla="*/ 117 w 222"/>
                <a:gd name="T109" fmla="*/ 122 h 392"/>
                <a:gd name="T110" fmla="*/ 92 w 222"/>
                <a:gd name="T111" fmla="*/ 72 h 392"/>
                <a:gd name="T112" fmla="*/ 112 w 222"/>
                <a:gd name="T113" fmla="*/ 27 h 392"/>
                <a:gd name="T114" fmla="*/ 126 w 222"/>
                <a:gd name="T115" fmla="*/ 27 h 392"/>
                <a:gd name="T116" fmla="*/ 137 w 222"/>
                <a:gd name="T117" fmla="*/ 30 h 392"/>
                <a:gd name="T118" fmla="*/ 155 w 222"/>
                <a:gd name="T119" fmla="*/ 30 h 392"/>
                <a:gd name="T120" fmla="*/ 168 w 222"/>
                <a:gd name="T121" fmla="*/ 21 h 392"/>
                <a:gd name="T122" fmla="*/ 191 w 222"/>
                <a:gd name="T123" fmla="*/ 18 h 392"/>
                <a:gd name="T124" fmla="*/ 92 w 222"/>
                <a:gd name="T125" fmla="*/ 39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" h="392">
                  <a:moveTo>
                    <a:pt x="43" y="371"/>
                  </a:move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3" y="371"/>
                  </a:lnTo>
                  <a:lnTo>
                    <a:pt x="45" y="371"/>
                  </a:lnTo>
                  <a:lnTo>
                    <a:pt x="45" y="371"/>
                  </a:lnTo>
                  <a:lnTo>
                    <a:pt x="43" y="371"/>
                  </a:lnTo>
                  <a:close/>
                  <a:moveTo>
                    <a:pt x="101" y="270"/>
                  </a:moveTo>
                  <a:lnTo>
                    <a:pt x="101" y="270"/>
                  </a:lnTo>
                  <a:lnTo>
                    <a:pt x="101" y="270"/>
                  </a:lnTo>
                  <a:lnTo>
                    <a:pt x="101" y="270"/>
                  </a:lnTo>
                  <a:lnTo>
                    <a:pt x="101" y="268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8"/>
                  </a:lnTo>
                  <a:lnTo>
                    <a:pt x="101" y="270"/>
                  </a:lnTo>
                  <a:close/>
                  <a:moveTo>
                    <a:pt x="218" y="3"/>
                  </a:moveTo>
                  <a:lnTo>
                    <a:pt x="218" y="3"/>
                  </a:lnTo>
                  <a:lnTo>
                    <a:pt x="218" y="0"/>
                  </a:lnTo>
                  <a:lnTo>
                    <a:pt x="218" y="3"/>
                  </a:lnTo>
                  <a:lnTo>
                    <a:pt x="218" y="3"/>
                  </a:lnTo>
                  <a:lnTo>
                    <a:pt x="218" y="3"/>
                  </a:lnTo>
                  <a:lnTo>
                    <a:pt x="218" y="3"/>
                  </a:lnTo>
                  <a:lnTo>
                    <a:pt x="218" y="3"/>
                  </a:lnTo>
                  <a:lnTo>
                    <a:pt x="218" y="3"/>
                  </a:lnTo>
                  <a:lnTo>
                    <a:pt x="218" y="3"/>
                  </a:lnTo>
                  <a:lnTo>
                    <a:pt x="218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5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20" y="7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18" y="9"/>
                  </a:lnTo>
                  <a:lnTo>
                    <a:pt x="220" y="9"/>
                  </a:lnTo>
                  <a:lnTo>
                    <a:pt x="220" y="9"/>
                  </a:lnTo>
                  <a:lnTo>
                    <a:pt x="220" y="12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2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4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8" y="18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6" y="21"/>
                  </a:lnTo>
                  <a:lnTo>
                    <a:pt x="213" y="21"/>
                  </a:lnTo>
                  <a:lnTo>
                    <a:pt x="213" y="21"/>
                  </a:lnTo>
                  <a:lnTo>
                    <a:pt x="213" y="23"/>
                  </a:lnTo>
                  <a:lnTo>
                    <a:pt x="213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3"/>
                  </a:lnTo>
                  <a:lnTo>
                    <a:pt x="216" y="25"/>
                  </a:lnTo>
                  <a:lnTo>
                    <a:pt x="216" y="25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2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8" y="34"/>
                  </a:lnTo>
                  <a:lnTo>
                    <a:pt x="218" y="34"/>
                  </a:lnTo>
                  <a:lnTo>
                    <a:pt x="218" y="34"/>
                  </a:lnTo>
                  <a:lnTo>
                    <a:pt x="216" y="34"/>
                  </a:lnTo>
                  <a:lnTo>
                    <a:pt x="216" y="34"/>
                  </a:lnTo>
                  <a:lnTo>
                    <a:pt x="216" y="36"/>
                  </a:lnTo>
                  <a:lnTo>
                    <a:pt x="218" y="36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8" y="39"/>
                  </a:lnTo>
                  <a:lnTo>
                    <a:pt x="216" y="41"/>
                  </a:lnTo>
                  <a:lnTo>
                    <a:pt x="216" y="41"/>
                  </a:lnTo>
                  <a:lnTo>
                    <a:pt x="216" y="41"/>
                  </a:lnTo>
                  <a:lnTo>
                    <a:pt x="218" y="41"/>
                  </a:lnTo>
                  <a:lnTo>
                    <a:pt x="218" y="43"/>
                  </a:lnTo>
                  <a:lnTo>
                    <a:pt x="218" y="43"/>
                  </a:lnTo>
                  <a:lnTo>
                    <a:pt x="218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6" y="43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48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6" y="50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8" y="57"/>
                  </a:lnTo>
                  <a:lnTo>
                    <a:pt x="216" y="57"/>
                  </a:lnTo>
                  <a:lnTo>
                    <a:pt x="216" y="57"/>
                  </a:lnTo>
                  <a:lnTo>
                    <a:pt x="216" y="57"/>
                  </a:lnTo>
                  <a:lnTo>
                    <a:pt x="218" y="57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6" y="59"/>
                  </a:lnTo>
                  <a:lnTo>
                    <a:pt x="213" y="59"/>
                  </a:lnTo>
                  <a:lnTo>
                    <a:pt x="213" y="59"/>
                  </a:lnTo>
                  <a:lnTo>
                    <a:pt x="213" y="61"/>
                  </a:lnTo>
                  <a:lnTo>
                    <a:pt x="213" y="61"/>
                  </a:lnTo>
                  <a:lnTo>
                    <a:pt x="213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6" y="61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8" y="63"/>
                  </a:lnTo>
                  <a:lnTo>
                    <a:pt x="218" y="63"/>
                  </a:lnTo>
                  <a:lnTo>
                    <a:pt x="218" y="63"/>
                  </a:lnTo>
                  <a:lnTo>
                    <a:pt x="218" y="66"/>
                  </a:lnTo>
                  <a:lnTo>
                    <a:pt x="218" y="66"/>
                  </a:lnTo>
                  <a:lnTo>
                    <a:pt x="218" y="68"/>
                  </a:lnTo>
                  <a:lnTo>
                    <a:pt x="216" y="68"/>
                  </a:lnTo>
                  <a:lnTo>
                    <a:pt x="216" y="68"/>
                  </a:lnTo>
                  <a:lnTo>
                    <a:pt x="216" y="68"/>
                  </a:lnTo>
                  <a:lnTo>
                    <a:pt x="216" y="68"/>
                  </a:lnTo>
                  <a:lnTo>
                    <a:pt x="216" y="68"/>
                  </a:lnTo>
                  <a:lnTo>
                    <a:pt x="216" y="68"/>
                  </a:lnTo>
                  <a:lnTo>
                    <a:pt x="218" y="68"/>
                  </a:lnTo>
                  <a:lnTo>
                    <a:pt x="216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8" y="75"/>
                  </a:lnTo>
                  <a:lnTo>
                    <a:pt x="218" y="75"/>
                  </a:lnTo>
                  <a:lnTo>
                    <a:pt x="218" y="75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79"/>
                  </a:lnTo>
                  <a:lnTo>
                    <a:pt x="216" y="79"/>
                  </a:lnTo>
                  <a:lnTo>
                    <a:pt x="216" y="81"/>
                  </a:lnTo>
                  <a:lnTo>
                    <a:pt x="218" y="81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4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6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6" y="88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3"/>
                  </a:lnTo>
                  <a:lnTo>
                    <a:pt x="216" y="93"/>
                  </a:lnTo>
                  <a:lnTo>
                    <a:pt x="216" y="90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18" y="90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0" y="90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20" y="93"/>
                  </a:lnTo>
                  <a:lnTo>
                    <a:pt x="218" y="93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8" y="93"/>
                  </a:lnTo>
                  <a:lnTo>
                    <a:pt x="218" y="93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18" y="97"/>
                  </a:lnTo>
                  <a:lnTo>
                    <a:pt x="218" y="97"/>
                  </a:lnTo>
                  <a:lnTo>
                    <a:pt x="218" y="97"/>
                  </a:lnTo>
                  <a:lnTo>
                    <a:pt x="216" y="97"/>
                  </a:lnTo>
                  <a:lnTo>
                    <a:pt x="216" y="97"/>
                  </a:lnTo>
                  <a:lnTo>
                    <a:pt x="218" y="97"/>
                  </a:lnTo>
                  <a:lnTo>
                    <a:pt x="218" y="97"/>
                  </a:lnTo>
                  <a:lnTo>
                    <a:pt x="218" y="97"/>
                  </a:lnTo>
                  <a:lnTo>
                    <a:pt x="218" y="99"/>
                  </a:lnTo>
                  <a:lnTo>
                    <a:pt x="218" y="99"/>
                  </a:lnTo>
                  <a:lnTo>
                    <a:pt x="218" y="99"/>
                  </a:lnTo>
                  <a:lnTo>
                    <a:pt x="218" y="97"/>
                  </a:lnTo>
                  <a:lnTo>
                    <a:pt x="218" y="95"/>
                  </a:lnTo>
                  <a:lnTo>
                    <a:pt x="218" y="95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0" y="95"/>
                  </a:lnTo>
                  <a:lnTo>
                    <a:pt x="222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20" y="99"/>
                  </a:lnTo>
                  <a:lnTo>
                    <a:pt x="220" y="99"/>
                  </a:lnTo>
                  <a:lnTo>
                    <a:pt x="220" y="99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2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4"/>
                  </a:lnTo>
                  <a:lnTo>
                    <a:pt x="220" y="106"/>
                  </a:lnTo>
                  <a:lnTo>
                    <a:pt x="220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20" y="108"/>
                  </a:lnTo>
                  <a:lnTo>
                    <a:pt x="220" y="108"/>
                  </a:lnTo>
                  <a:lnTo>
                    <a:pt x="220" y="108"/>
                  </a:lnTo>
                  <a:lnTo>
                    <a:pt x="220" y="108"/>
                  </a:lnTo>
                  <a:lnTo>
                    <a:pt x="220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08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18" y="111"/>
                  </a:lnTo>
                  <a:lnTo>
                    <a:pt x="216" y="111"/>
                  </a:lnTo>
                  <a:lnTo>
                    <a:pt x="216" y="111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3" y="113"/>
                  </a:lnTo>
                  <a:lnTo>
                    <a:pt x="213" y="113"/>
                  </a:lnTo>
                  <a:lnTo>
                    <a:pt x="213" y="113"/>
                  </a:lnTo>
                  <a:lnTo>
                    <a:pt x="213" y="113"/>
                  </a:lnTo>
                  <a:lnTo>
                    <a:pt x="213" y="113"/>
                  </a:lnTo>
                  <a:lnTo>
                    <a:pt x="213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6" y="113"/>
                  </a:lnTo>
                  <a:lnTo>
                    <a:pt x="218" y="113"/>
                  </a:lnTo>
                  <a:lnTo>
                    <a:pt x="218" y="113"/>
                  </a:lnTo>
                  <a:lnTo>
                    <a:pt x="218" y="115"/>
                  </a:lnTo>
                  <a:lnTo>
                    <a:pt x="218" y="115"/>
                  </a:lnTo>
                  <a:lnTo>
                    <a:pt x="216" y="115"/>
                  </a:lnTo>
                  <a:lnTo>
                    <a:pt x="218" y="115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0"/>
                  </a:lnTo>
                  <a:lnTo>
                    <a:pt x="216" y="122"/>
                  </a:lnTo>
                  <a:lnTo>
                    <a:pt x="216" y="122"/>
                  </a:lnTo>
                  <a:lnTo>
                    <a:pt x="213" y="122"/>
                  </a:lnTo>
                  <a:lnTo>
                    <a:pt x="213" y="122"/>
                  </a:lnTo>
                  <a:lnTo>
                    <a:pt x="213" y="122"/>
                  </a:lnTo>
                  <a:lnTo>
                    <a:pt x="213" y="122"/>
                  </a:lnTo>
                  <a:lnTo>
                    <a:pt x="213" y="122"/>
                  </a:lnTo>
                  <a:lnTo>
                    <a:pt x="213" y="122"/>
                  </a:lnTo>
                  <a:lnTo>
                    <a:pt x="213" y="122"/>
                  </a:lnTo>
                  <a:lnTo>
                    <a:pt x="211" y="124"/>
                  </a:lnTo>
                  <a:lnTo>
                    <a:pt x="211" y="124"/>
                  </a:lnTo>
                  <a:lnTo>
                    <a:pt x="209" y="126"/>
                  </a:lnTo>
                  <a:lnTo>
                    <a:pt x="207" y="131"/>
                  </a:lnTo>
                  <a:lnTo>
                    <a:pt x="204" y="131"/>
                  </a:lnTo>
                  <a:lnTo>
                    <a:pt x="204" y="131"/>
                  </a:lnTo>
                  <a:lnTo>
                    <a:pt x="204" y="131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2" y="135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4"/>
                  </a:lnTo>
                  <a:lnTo>
                    <a:pt x="195" y="147"/>
                  </a:lnTo>
                  <a:lnTo>
                    <a:pt x="195" y="147"/>
                  </a:lnTo>
                  <a:lnTo>
                    <a:pt x="193" y="147"/>
                  </a:lnTo>
                  <a:lnTo>
                    <a:pt x="193" y="147"/>
                  </a:lnTo>
                  <a:lnTo>
                    <a:pt x="193" y="147"/>
                  </a:lnTo>
                  <a:lnTo>
                    <a:pt x="193" y="147"/>
                  </a:lnTo>
                  <a:lnTo>
                    <a:pt x="191" y="149"/>
                  </a:lnTo>
                  <a:lnTo>
                    <a:pt x="189" y="151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2" y="153"/>
                  </a:lnTo>
                  <a:lnTo>
                    <a:pt x="182" y="153"/>
                  </a:lnTo>
                  <a:lnTo>
                    <a:pt x="182" y="153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2" y="156"/>
                  </a:lnTo>
                  <a:lnTo>
                    <a:pt x="180" y="156"/>
                  </a:lnTo>
                  <a:lnTo>
                    <a:pt x="180" y="156"/>
                  </a:lnTo>
                  <a:lnTo>
                    <a:pt x="177" y="158"/>
                  </a:lnTo>
                  <a:lnTo>
                    <a:pt x="177" y="158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58"/>
                  </a:lnTo>
                  <a:lnTo>
                    <a:pt x="173" y="158"/>
                  </a:lnTo>
                  <a:lnTo>
                    <a:pt x="173" y="158"/>
                  </a:lnTo>
                  <a:lnTo>
                    <a:pt x="173" y="158"/>
                  </a:lnTo>
                  <a:lnTo>
                    <a:pt x="173" y="158"/>
                  </a:lnTo>
                  <a:lnTo>
                    <a:pt x="171" y="160"/>
                  </a:lnTo>
                  <a:lnTo>
                    <a:pt x="171" y="158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2" y="165"/>
                  </a:lnTo>
                  <a:lnTo>
                    <a:pt x="162" y="165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5"/>
                  </a:lnTo>
                  <a:lnTo>
                    <a:pt x="162" y="165"/>
                  </a:lnTo>
                  <a:lnTo>
                    <a:pt x="159" y="165"/>
                  </a:lnTo>
                  <a:lnTo>
                    <a:pt x="157" y="165"/>
                  </a:lnTo>
                  <a:lnTo>
                    <a:pt x="155" y="167"/>
                  </a:lnTo>
                  <a:lnTo>
                    <a:pt x="153" y="167"/>
                  </a:lnTo>
                  <a:lnTo>
                    <a:pt x="153" y="167"/>
                  </a:lnTo>
                  <a:lnTo>
                    <a:pt x="153" y="167"/>
                  </a:lnTo>
                  <a:lnTo>
                    <a:pt x="153" y="167"/>
                  </a:lnTo>
                  <a:lnTo>
                    <a:pt x="153" y="169"/>
                  </a:lnTo>
                  <a:lnTo>
                    <a:pt x="150" y="169"/>
                  </a:lnTo>
                  <a:lnTo>
                    <a:pt x="150" y="169"/>
                  </a:lnTo>
                  <a:lnTo>
                    <a:pt x="150" y="169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1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1" y="173"/>
                  </a:lnTo>
                  <a:lnTo>
                    <a:pt x="141" y="173"/>
                  </a:lnTo>
                  <a:lnTo>
                    <a:pt x="141" y="176"/>
                  </a:lnTo>
                  <a:lnTo>
                    <a:pt x="141" y="176"/>
                  </a:lnTo>
                  <a:lnTo>
                    <a:pt x="139" y="178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7" y="182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2" y="185"/>
                  </a:lnTo>
                  <a:lnTo>
                    <a:pt x="132" y="185"/>
                  </a:lnTo>
                  <a:lnTo>
                    <a:pt x="132" y="185"/>
                  </a:lnTo>
                  <a:lnTo>
                    <a:pt x="132" y="187"/>
                  </a:lnTo>
                  <a:lnTo>
                    <a:pt x="132" y="185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5" y="185"/>
                  </a:lnTo>
                  <a:lnTo>
                    <a:pt x="132" y="187"/>
                  </a:lnTo>
                  <a:lnTo>
                    <a:pt x="130" y="189"/>
                  </a:lnTo>
                  <a:lnTo>
                    <a:pt x="130" y="191"/>
                  </a:lnTo>
                  <a:lnTo>
                    <a:pt x="128" y="191"/>
                  </a:lnTo>
                  <a:lnTo>
                    <a:pt x="128" y="191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4"/>
                  </a:lnTo>
                  <a:lnTo>
                    <a:pt x="126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3" y="200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8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0"/>
                  </a:lnTo>
                  <a:lnTo>
                    <a:pt x="121" y="203"/>
                  </a:lnTo>
                  <a:lnTo>
                    <a:pt x="121" y="203"/>
                  </a:lnTo>
                  <a:lnTo>
                    <a:pt x="121" y="200"/>
                  </a:lnTo>
                  <a:lnTo>
                    <a:pt x="119" y="203"/>
                  </a:lnTo>
                  <a:lnTo>
                    <a:pt x="119" y="203"/>
                  </a:lnTo>
                  <a:lnTo>
                    <a:pt x="119" y="203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203"/>
                  </a:lnTo>
                  <a:lnTo>
                    <a:pt x="117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4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5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7"/>
                  </a:lnTo>
                  <a:lnTo>
                    <a:pt x="108" y="209"/>
                  </a:lnTo>
                  <a:lnTo>
                    <a:pt x="108" y="209"/>
                  </a:lnTo>
                  <a:lnTo>
                    <a:pt x="105" y="209"/>
                  </a:lnTo>
                  <a:lnTo>
                    <a:pt x="105" y="209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5" y="212"/>
                  </a:lnTo>
                  <a:lnTo>
                    <a:pt x="103" y="214"/>
                  </a:lnTo>
                  <a:lnTo>
                    <a:pt x="101" y="216"/>
                  </a:lnTo>
                  <a:lnTo>
                    <a:pt x="99" y="218"/>
                  </a:lnTo>
                  <a:lnTo>
                    <a:pt x="97" y="221"/>
                  </a:lnTo>
                  <a:lnTo>
                    <a:pt x="97" y="221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21"/>
                  </a:lnTo>
                  <a:lnTo>
                    <a:pt x="85" y="221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90" y="225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27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5" y="232"/>
                  </a:lnTo>
                  <a:lnTo>
                    <a:pt x="88" y="234"/>
                  </a:lnTo>
                  <a:lnTo>
                    <a:pt x="88" y="234"/>
                  </a:lnTo>
                  <a:lnTo>
                    <a:pt x="88" y="234"/>
                  </a:lnTo>
                  <a:lnTo>
                    <a:pt x="88" y="234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85" y="236"/>
                  </a:lnTo>
                  <a:lnTo>
                    <a:pt x="88" y="236"/>
                  </a:lnTo>
                  <a:lnTo>
                    <a:pt x="88" y="236"/>
                  </a:lnTo>
                  <a:lnTo>
                    <a:pt x="85" y="236"/>
                  </a:lnTo>
                  <a:lnTo>
                    <a:pt x="85" y="236"/>
                  </a:lnTo>
                  <a:lnTo>
                    <a:pt x="85" y="236"/>
                  </a:lnTo>
                  <a:lnTo>
                    <a:pt x="85" y="236"/>
                  </a:lnTo>
                  <a:lnTo>
                    <a:pt x="85" y="236"/>
                  </a:lnTo>
                  <a:lnTo>
                    <a:pt x="85" y="239"/>
                  </a:lnTo>
                  <a:lnTo>
                    <a:pt x="85" y="239"/>
                  </a:lnTo>
                  <a:lnTo>
                    <a:pt x="85" y="239"/>
                  </a:lnTo>
                  <a:lnTo>
                    <a:pt x="85" y="239"/>
                  </a:lnTo>
                  <a:lnTo>
                    <a:pt x="88" y="239"/>
                  </a:lnTo>
                  <a:lnTo>
                    <a:pt x="88" y="239"/>
                  </a:lnTo>
                  <a:lnTo>
                    <a:pt x="88" y="239"/>
                  </a:lnTo>
                  <a:lnTo>
                    <a:pt x="88" y="239"/>
                  </a:lnTo>
                  <a:lnTo>
                    <a:pt x="88" y="239"/>
                  </a:lnTo>
                  <a:lnTo>
                    <a:pt x="88" y="241"/>
                  </a:lnTo>
                  <a:lnTo>
                    <a:pt x="85" y="241"/>
                  </a:lnTo>
                  <a:lnTo>
                    <a:pt x="85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8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3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2" y="245"/>
                  </a:lnTo>
                  <a:lnTo>
                    <a:pt x="92" y="245"/>
                  </a:lnTo>
                  <a:lnTo>
                    <a:pt x="92" y="245"/>
                  </a:lnTo>
                  <a:lnTo>
                    <a:pt x="92" y="245"/>
                  </a:lnTo>
                  <a:lnTo>
                    <a:pt x="92" y="245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48"/>
                  </a:lnTo>
                  <a:lnTo>
                    <a:pt x="92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2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4"/>
                  </a:lnTo>
                  <a:lnTo>
                    <a:pt x="92" y="257"/>
                  </a:lnTo>
                  <a:lnTo>
                    <a:pt x="92" y="257"/>
                  </a:lnTo>
                  <a:lnTo>
                    <a:pt x="92" y="257"/>
                  </a:lnTo>
                  <a:lnTo>
                    <a:pt x="92" y="257"/>
                  </a:lnTo>
                  <a:lnTo>
                    <a:pt x="92" y="257"/>
                  </a:lnTo>
                  <a:lnTo>
                    <a:pt x="94" y="257"/>
                  </a:lnTo>
                  <a:lnTo>
                    <a:pt x="92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2" y="257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7"/>
                  </a:lnTo>
                  <a:lnTo>
                    <a:pt x="94" y="257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61"/>
                  </a:lnTo>
                  <a:lnTo>
                    <a:pt x="94" y="263"/>
                  </a:lnTo>
                  <a:lnTo>
                    <a:pt x="97" y="266"/>
                  </a:lnTo>
                  <a:lnTo>
                    <a:pt x="97" y="266"/>
                  </a:lnTo>
                  <a:lnTo>
                    <a:pt x="97" y="266"/>
                  </a:lnTo>
                  <a:lnTo>
                    <a:pt x="97" y="268"/>
                  </a:lnTo>
                  <a:lnTo>
                    <a:pt x="97" y="268"/>
                  </a:lnTo>
                  <a:lnTo>
                    <a:pt x="97" y="270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2"/>
                  </a:lnTo>
                  <a:lnTo>
                    <a:pt x="97" y="275"/>
                  </a:lnTo>
                  <a:lnTo>
                    <a:pt x="97" y="277"/>
                  </a:lnTo>
                  <a:lnTo>
                    <a:pt x="97" y="277"/>
                  </a:lnTo>
                  <a:lnTo>
                    <a:pt x="97" y="284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7" y="286"/>
                  </a:lnTo>
                  <a:lnTo>
                    <a:pt x="99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4"/>
                  </a:lnTo>
                  <a:lnTo>
                    <a:pt x="99" y="284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84"/>
                  </a:lnTo>
                  <a:lnTo>
                    <a:pt x="101" y="284"/>
                  </a:lnTo>
                  <a:lnTo>
                    <a:pt x="101" y="281"/>
                  </a:lnTo>
                  <a:lnTo>
                    <a:pt x="101" y="281"/>
                  </a:lnTo>
                  <a:lnTo>
                    <a:pt x="101" y="281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84"/>
                  </a:lnTo>
                  <a:lnTo>
                    <a:pt x="101" y="284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8"/>
                  </a:lnTo>
                  <a:lnTo>
                    <a:pt x="101" y="293"/>
                  </a:lnTo>
                  <a:lnTo>
                    <a:pt x="101" y="297"/>
                  </a:lnTo>
                  <a:lnTo>
                    <a:pt x="101" y="299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9"/>
                  </a:lnTo>
                  <a:lnTo>
                    <a:pt x="101" y="302"/>
                  </a:lnTo>
                  <a:lnTo>
                    <a:pt x="99" y="302"/>
                  </a:lnTo>
                  <a:lnTo>
                    <a:pt x="99" y="304"/>
                  </a:lnTo>
                  <a:lnTo>
                    <a:pt x="99" y="304"/>
                  </a:lnTo>
                  <a:lnTo>
                    <a:pt x="99" y="304"/>
                  </a:lnTo>
                  <a:lnTo>
                    <a:pt x="99" y="304"/>
                  </a:lnTo>
                  <a:lnTo>
                    <a:pt x="99" y="306"/>
                  </a:lnTo>
                  <a:lnTo>
                    <a:pt x="99" y="306"/>
                  </a:lnTo>
                  <a:lnTo>
                    <a:pt x="99" y="306"/>
                  </a:lnTo>
                  <a:lnTo>
                    <a:pt x="97" y="311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5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4" y="320"/>
                  </a:lnTo>
                  <a:lnTo>
                    <a:pt x="94" y="320"/>
                  </a:lnTo>
                  <a:lnTo>
                    <a:pt x="94" y="322"/>
                  </a:lnTo>
                  <a:lnTo>
                    <a:pt x="94" y="322"/>
                  </a:lnTo>
                  <a:lnTo>
                    <a:pt x="94" y="322"/>
                  </a:lnTo>
                  <a:lnTo>
                    <a:pt x="94" y="322"/>
                  </a:lnTo>
                  <a:lnTo>
                    <a:pt x="94" y="322"/>
                  </a:lnTo>
                  <a:lnTo>
                    <a:pt x="94" y="322"/>
                  </a:lnTo>
                  <a:lnTo>
                    <a:pt x="94" y="322"/>
                  </a:lnTo>
                  <a:lnTo>
                    <a:pt x="97" y="322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7" y="320"/>
                  </a:lnTo>
                  <a:lnTo>
                    <a:pt x="99" y="320"/>
                  </a:lnTo>
                  <a:lnTo>
                    <a:pt x="99" y="320"/>
                  </a:lnTo>
                  <a:lnTo>
                    <a:pt x="99" y="320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9" y="320"/>
                  </a:lnTo>
                  <a:lnTo>
                    <a:pt x="99" y="320"/>
                  </a:lnTo>
                  <a:lnTo>
                    <a:pt x="99" y="320"/>
                  </a:lnTo>
                  <a:lnTo>
                    <a:pt x="99" y="320"/>
                  </a:lnTo>
                  <a:lnTo>
                    <a:pt x="99" y="320"/>
                  </a:lnTo>
                  <a:lnTo>
                    <a:pt x="99" y="324"/>
                  </a:lnTo>
                  <a:lnTo>
                    <a:pt x="99" y="324"/>
                  </a:lnTo>
                  <a:lnTo>
                    <a:pt x="99" y="324"/>
                  </a:lnTo>
                  <a:lnTo>
                    <a:pt x="99" y="326"/>
                  </a:lnTo>
                  <a:lnTo>
                    <a:pt x="99" y="326"/>
                  </a:lnTo>
                  <a:lnTo>
                    <a:pt x="99" y="326"/>
                  </a:lnTo>
                  <a:lnTo>
                    <a:pt x="99" y="326"/>
                  </a:lnTo>
                  <a:lnTo>
                    <a:pt x="99" y="326"/>
                  </a:lnTo>
                  <a:lnTo>
                    <a:pt x="97" y="326"/>
                  </a:lnTo>
                  <a:lnTo>
                    <a:pt x="97" y="326"/>
                  </a:lnTo>
                  <a:lnTo>
                    <a:pt x="97" y="326"/>
                  </a:lnTo>
                  <a:lnTo>
                    <a:pt x="94" y="333"/>
                  </a:lnTo>
                  <a:lnTo>
                    <a:pt x="92" y="335"/>
                  </a:lnTo>
                  <a:lnTo>
                    <a:pt x="92" y="335"/>
                  </a:lnTo>
                  <a:lnTo>
                    <a:pt x="92" y="335"/>
                  </a:lnTo>
                  <a:lnTo>
                    <a:pt x="92" y="335"/>
                  </a:lnTo>
                  <a:lnTo>
                    <a:pt x="92" y="335"/>
                  </a:lnTo>
                  <a:lnTo>
                    <a:pt x="90" y="338"/>
                  </a:lnTo>
                  <a:lnTo>
                    <a:pt x="83" y="342"/>
                  </a:lnTo>
                  <a:lnTo>
                    <a:pt x="81" y="342"/>
                  </a:lnTo>
                  <a:lnTo>
                    <a:pt x="76" y="344"/>
                  </a:lnTo>
                  <a:lnTo>
                    <a:pt x="74" y="344"/>
                  </a:lnTo>
                  <a:lnTo>
                    <a:pt x="72" y="344"/>
                  </a:lnTo>
                  <a:lnTo>
                    <a:pt x="70" y="347"/>
                  </a:lnTo>
                  <a:lnTo>
                    <a:pt x="70" y="347"/>
                  </a:lnTo>
                  <a:lnTo>
                    <a:pt x="65" y="349"/>
                  </a:lnTo>
                  <a:lnTo>
                    <a:pt x="61" y="349"/>
                  </a:lnTo>
                  <a:lnTo>
                    <a:pt x="58" y="351"/>
                  </a:lnTo>
                  <a:lnTo>
                    <a:pt x="54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52" y="353"/>
                  </a:lnTo>
                  <a:lnTo>
                    <a:pt x="49" y="353"/>
                  </a:lnTo>
                  <a:lnTo>
                    <a:pt x="49" y="353"/>
                  </a:lnTo>
                  <a:lnTo>
                    <a:pt x="49" y="356"/>
                  </a:lnTo>
                  <a:lnTo>
                    <a:pt x="49" y="356"/>
                  </a:lnTo>
                  <a:lnTo>
                    <a:pt x="49" y="356"/>
                  </a:lnTo>
                  <a:lnTo>
                    <a:pt x="49" y="356"/>
                  </a:lnTo>
                  <a:lnTo>
                    <a:pt x="49" y="356"/>
                  </a:lnTo>
                  <a:lnTo>
                    <a:pt x="49" y="356"/>
                  </a:lnTo>
                  <a:lnTo>
                    <a:pt x="43" y="360"/>
                  </a:lnTo>
                  <a:lnTo>
                    <a:pt x="43" y="360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5"/>
                  </a:lnTo>
                  <a:lnTo>
                    <a:pt x="38" y="365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7"/>
                  </a:lnTo>
                  <a:lnTo>
                    <a:pt x="38" y="369"/>
                  </a:lnTo>
                  <a:lnTo>
                    <a:pt x="38" y="369"/>
                  </a:lnTo>
                  <a:lnTo>
                    <a:pt x="36" y="369"/>
                  </a:lnTo>
                  <a:lnTo>
                    <a:pt x="36" y="369"/>
                  </a:lnTo>
                  <a:lnTo>
                    <a:pt x="36" y="369"/>
                  </a:lnTo>
                  <a:lnTo>
                    <a:pt x="36" y="369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69"/>
                  </a:lnTo>
                  <a:lnTo>
                    <a:pt x="36" y="369"/>
                  </a:lnTo>
                  <a:lnTo>
                    <a:pt x="34" y="369"/>
                  </a:lnTo>
                  <a:lnTo>
                    <a:pt x="34" y="369"/>
                  </a:lnTo>
                  <a:lnTo>
                    <a:pt x="34" y="369"/>
                  </a:lnTo>
                  <a:lnTo>
                    <a:pt x="34" y="369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4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1"/>
                  </a:lnTo>
                  <a:lnTo>
                    <a:pt x="36" y="374"/>
                  </a:lnTo>
                  <a:lnTo>
                    <a:pt x="36" y="374"/>
                  </a:lnTo>
                  <a:lnTo>
                    <a:pt x="36" y="374"/>
                  </a:lnTo>
                  <a:lnTo>
                    <a:pt x="36" y="374"/>
                  </a:lnTo>
                  <a:lnTo>
                    <a:pt x="36" y="374"/>
                  </a:lnTo>
                  <a:lnTo>
                    <a:pt x="36" y="374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40" y="376"/>
                  </a:lnTo>
                  <a:lnTo>
                    <a:pt x="40" y="376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40" y="376"/>
                  </a:lnTo>
                  <a:lnTo>
                    <a:pt x="40" y="376"/>
                  </a:lnTo>
                  <a:lnTo>
                    <a:pt x="40" y="376"/>
                  </a:lnTo>
                  <a:lnTo>
                    <a:pt x="43" y="376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3" y="374"/>
                  </a:lnTo>
                  <a:lnTo>
                    <a:pt x="43" y="378"/>
                  </a:lnTo>
                  <a:lnTo>
                    <a:pt x="43" y="385"/>
                  </a:lnTo>
                  <a:lnTo>
                    <a:pt x="40" y="385"/>
                  </a:lnTo>
                  <a:lnTo>
                    <a:pt x="40" y="387"/>
                  </a:lnTo>
                  <a:lnTo>
                    <a:pt x="40" y="387"/>
                  </a:lnTo>
                  <a:lnTo>
                    <a:pt x="40" y="387"/>
                  </a:lnTo>
                  <a:lnTo>
                    <a:pt x="40" y="389"/>
                  </a:lnTo>
                  <a:lnTo>
                    <a:pt x="40" y="389"/>
                  </a:lnTo>
                  <a:lnTo>
                    <a:pt x="40" y="389"/>
                  </a:lnTo>
                  <a:lnTo>
                    <a:pt x="40" y="392"/>
                  </a:lnTo>
                  <a:lnTo>
                    <a:pt x="40" y="392"/>
                  </a:lnTo>
                  <a:lnTo>
                    <a:pt x="40" y="392"/>
                  </a:lnTo>
                  <a:lnTo>
                    <a:pt x="38" y="392"/>
                  </a:lnTo>
                  <a:lnTo>
                    <a:pt x="34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2"/>
                  </a:lnTo>
                  <a:lnTo>
                    <a:pt x="27" y="392"/>
                  </a:lnTo>
                  <a:lnTo>
                    <a:pt x="27" y="392"/>
                  </a:lnTo>
                  <a:lnTo>
                    <a:pt x="25" y="392"/>
                  </a:lnTo>
                  <a:lnTo>
                    <a:pt x="25" y="392"/>
                  </a:lnTo>
                  <a:lnTo>
                    <a:pt x="25" y="385"/>
                  </a:lnTo>
                  <a:lnTo>
                    <a:pt x="25" y="383"/>
                  </a:lnTo>
                  <a:lnTo>
                    <a:pt x="25" y="380"/>
                  </a:lnTo>
                  <a:lnTo>
                    <a:pt x="25" y="380"/>
                  </a:lnTo>
                  <a:lnTo>
                    <a:pt x="25" y="378"/>
                  </a:lnTo>
                  <a:lnTo>
                    <a:pt x="25" y="378"/>
                  </a:lnTo>
                  <a:lnTo>
                    <a:pt x="25" y="376"/>
                  </a:lnTo>
                  <a:lnTo>
                    <a:pt x="25" y="374"/>
                  </a:lnTo>
                  <a:lnTo>
                    <a:pt x="25" y="374"/>
                  </a:lnTo>
                  <a:lnTo>
                    <a:pt x="25" y="374"/>
                  </a:lnTo>
                  <a:lnTo>
                    <a:pt x="25" y="371"/>
                  </a:lnTo>
                  <a:lnTo>
                    <a:pt x="25" y="371"/>
                  </a:lnTo>
                  <a:lnTo>
                    <a:pt x="25" y="371"/>
                  </a:lnTo>
                  <a:lnTo>
                    <a:pt x="22" y="371"/>
                  </a:lnTo>
                  <a:lnTo>
                    <a:pt x="22" y="369"/>
                  </a:lnTo>
                  <a:lnTo>
                    <a:pt x="22" y="367"/>
                  </a:lnTo>
                  <a:lnTo>
                    <a:pt x="22" y="367"/>
                  </a:lnTo>
                  <a:lnTo>
                    <a:pt x="22" y="367"/>
                  </a:lnTo>
                  <a:lnTo>
                    <a:pt x="22" y="365"/>
                  </a:lnTo>
                  <a:lnTo>
                    <a:pt x="22" y="362"/>
                  </a:lnTo>
                  <a:lnTo>
                    <a:pt x="25" y="362"/>
                  </a:lnTo>
                  <a:lnTo>
                    <a:pt x="25" y="362"/>
                  </a:lnTo>
                  <a:lnTo>
                    <a:pt x="25" y="362"/>
                  </a:lnTo>
                  <a:lnTo>
                    <a:pt x="25" y="362"/>
                  </a:lnTo>
                  <a:lnTo>
                    <a:pt x="25" y="362"/>
                  </a:lnTo>
                  <a:lnTo>
                    <a:pt x="25" y="360"/>
                  </a:lnTo>
                  <a:lnTo>
                    <a:pt x="25" y="360"/>
                  </a:lnTo>
                  <a:lnTo>
                    <a:pt x="25" y="360"/>
                  </a:lnTo>
                  <a:lnTo>
                    <a:pt x="25" y="358"/>
                  </a:lnTo>
                  <a:lnTo>
                    <a:pt x="25" y="358"/>
                  </a:lnTo>
                  <a:lnTo>
                    <a:pt x="25" y="358"/>
                  </a:lnTo>
                  <a:lnTo>
                    <a:pt x="25" y="356"/>
                  </a:lnTo>
                  <a:lnTo>
                    <a:pt x="25" y="351"/>
                  </a:lnTo>
                  <a:lnTo>
                    <a:pt x="25" y="347"/>
                  </a:lnTo>
                  <a:lnTo>
                    <a:pt x="25" y="344"/>
                  </a:lnTo>
                  <a:lnTo>
                    <a:pt x="25" y="340"/>
                  </a:lnTo>
                  <a:lnTo>
                    <a:pt x="25" y="338"/>
                  </a:lnTo>
                  <a:lnTo>
                    <a:pt x="25" y="335"/>
                  </a:lnTo>
                  <a:lnTo>
                    <a:pt x="25" y="333"/>
                  </a:lnTo>
                  <a:lnTo>
                    <a:pt x="25" y="331"/>
                  </a:lnTo>
                  <a:lnTo>
                    <a:pt x="25" y="326"/>
                  </a:lnTo>
                  <a:lnTo>
                    <a:pt x="25" y="326"/>
                  </a:lnTo>
                  <a:lnTo>
                    <a:pt x="25" y="322"/>
                  </a:lnTo>
                  <a:lnTo>
                    <a:pt x="25" y="322"/>
                  </a:lnTo>
                  <a:lnTo>
                    <a:pt x="22" y="322"/>
                  </a:lnTo>
                  <a:lnTo>
                    <a:pt x="22" y="320"/>
                  </a:lnTo>
                  <a:lnTo>
                    <a:pt x="22" y="320"/>
                  </a:lnTo>
                  <a:lnTo>
                    <a:pt x="22" y="320"/>
                  </a:lnTo>
                  <a:lnTo>
                    <a:pt x="20" y="317"/>
                  </a:lnTo>
                  <a:lnTo>
                    <a:pt x="20" y="315"/>
                  </a:lnTo>
                  <a:lnTo>
                    <a:pt x="20" y="313"/>
                  </a:lnTo>
                  <a:lnTo>
                    <a:pt x="18" y="311"/>
                  </a:lnTo>
                  <a:lnTo>
                    <a:pt x="18" y="311"/>
                  </a:lnTo>
                  <a:lnTo>
                    <a:pt x="18" y="308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8" y="299"/>
                  </a:lnTo>
                  <a:lnTo>
                    <a:pt x="16" y="295"/>
                  </a:lnTo>
                  <a:lnTo>
                    <a:pt x="16" y="293"/>
                  </a:lnTo>
                  <a:lnTo>
                    <a:pt x="13" y="288"/>
                  </a:lnTo>
                  <a:lnTo>
                    <a:pt x="13" y="286"/>
                  </a:lnTo>
                  <a:lnTo>
                    <a:pt x="13" y="286"/>
                  </a:lnTo>
                  <a:lnTo>
                    <a:pt x="16" y="284"/>
                  </a:lnTo>
                  <a:lnTo>
                    <a:pt x="18" y="284"/>
                  </a:lnTo>
                  <a:lnTo>
                    <a:pt x="18" y="281"/>
                  </a:lnTo>
                  <a:lnTo>
                    <a:pt x="20" y="281"/>
                  </a:lnTo>
                  <a:lnTo>
                    <a:pt x="20" y="279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5" y="275"/>
                  </a:lnTo>
                  <a:lnTo>
                    <a:pt x="25" y="275"/>
                  </a:lnTo>
                  <a:lnTo>
                    <a:pt x="27" y="272"/>
                  </a:lnTo>
                  <a:lnTo>
                    <a:pt x="27" y="270"/>
                  </a:lnTo>
                  <a:lnTo>
                    <a:pt x="29" y="270"/>
                  </a:lnTo>
                  <a:lnTo>
                    <a:pt x="29" y="268"/>
                  </a:lnTo>
                  <a:lnTo>
                    <a:pt x="31" y="268"/>
                  </a:lnTo>
                  <a:lnTo>
                    <a:pt x="31" y="266"/>
                  </a:lnTo>
                  <a:lnTo>
                    <a:pt x="34" y="266"/>
                  </a:lnTo>
                  <a:lnTo>
                    <a:pt x="34" y="263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7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0"/>
                  </a:lnTo>
                  <a:lnTo>
                    <a:pt x="40" y="248"/>
                  </a:lnTo>
                  <a:lnTo>
                    <a:pt x="40" y="245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1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39"/>
                  </a:lnTo>
                  <a:lnTo>
                    <a:pt x="47" y="239"/>
                  </a:lnTo>
                  <a:lnTo>
                    <a:pt x="47" y="236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0"/>
                  </a:lnTo>
                  <a:lnTo>
                    <a:pt x="49" y="230"/>
                  </a:lnTo>
                  <a:lnTo>
                    <a:pt x="49" y="230"/>
                  </a:lnTo>
                  <a:lnTo>
                    <a:pt x="49" y="230"/>
                  </a:lnTo>
                  <a:lnTo>
                    <a:pt x="52" y="230"/>
                  </a:lnTo>
                  <a:lnTo>
                    <a:pt x="52" y="230"/>
                  </a:lnTo>
                  <a:lnTo>
                    <a:pt x="52" y="230"/>
                  </a:lnTo>
                  <a:lnTo>
                    <a:pt x="52" y="230"/>
                  </a:lnTo>
                  <a:lnTo>
                    <a:pt x="52" y="230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5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4" y="223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52" y="221"/>
                  </a:lnTo>
                  <a:lnTo>
                    <a:pt x="49" y="221"/>
                  </a:lnTo>
                  <a:lnTo>
                    <a:pt x="49" y="221"/>
                  </a:lnTo>
                  <a:lnTo>
                    <a:pt x="49" y="221"/>
                  </a:lnTo>
                  <a:lnTo>
                    <a:pt x="49" y="221"/>
                  </a:lnTo>
                  <a:lnTo>
                    <a:pt x="49" y="221"/>
                  </a:lnTo>
                  <a:lnTo>
                    <a:pt x="49" y="221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8"/>
                  </a:lnTo>
                  <a:lnTo>
                    <a:pt x="49" y="216"/>
                  </a:lnTo>
                  <a:lnTo>
                    <a:pt x="49" y="216"/>
                  </a:lnTo>
                  <a:lnTo>
                    <a:pt x="49" y="216"/>
                  </a:lnTo>
                  <a:lnTo>
                    <a:pt x="49" y="216"/>
                  </a:lnTo>
                  <a:lnTo>
                    <a:pt x="49" y="216"/>
                  </a:lnTo>
                  <a:lnTo>
                    <a:pt x="47" y="216"/>
                  </a:lnTo>
                  <a:lnTo>
                    <a:pt x="47" y="216"/>
                  </a:lnTo>
                  <a:lnTo>
                    <a:pt x="47" y="214"/>
                  </a:lnTo>
                  <a:lnTo>
                    <a:pt x="47" y="214"/>
                  </a:lnTo>
                  <a:lnTo>
                    <a:pt x="47" y="214"/>
                  </a:lnTo>
                  <a:lnTo>
                    <a:pt x="47" y="214"/>
                  </a:lnTo>
                  <a:lnTo>
                    <a:pt x="49" y="212"/>
                  </a:lnTo>
                  <a:lnTo>
                    <a:pt x="49" y="212"/>
                  </a:lnTo>
                  <a:lnTo>
                    <a:pt x="49" y="212"/>
                  </a:lnTo>
                  <a:lnTo>
                    <a:pt x="49" y="212"/>
                  </a:lnTo>
                  <a:lnTo>
                    <a:pt x="49" y="209"/>
                  </a:lnTo>
                  <a:lnTo>
                    <a:pt x="49" y="207"/>
                  </a:lnTo>
                  <a:lnTo>
                    <a:pt x="49" y="207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9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3"/>
                  </a:lnTo>
                  <a:lnTo>
                    <a:pt x="47" y="200"/>
                  </a:lnTo>
                  <a:lnTo>
                    <a:pt x="47" y="200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6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4"/>
                  </a:lnTo>
                  <a:lnTo>
                    <a:pt x="52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4" y="176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6" y="171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6" y="167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4" y="165"/>
                  </a:lnTo>
                  <a:lnTo>
                    <a:pt x="54" y="162"/>
                  </a:lnTo>
                  <a:lnTo>
                    <a:pt x="54" y="162"/>
                  </a:lnTo>
                  <a:lnTo>
                    <a:pt x="54" y="160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6"/>
                  </a:lnTo>
                  <a:lnTo>
                    <a:pt x="52" y="156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4" y="153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4" y="149"/>
                  </a:lnTo>
                  <a:lnTo>
                    <a:pt x="54" y="149"/>
                  </a:lnTo>
                  <a:lnTo>
                    <a:pt x="54" y="149"/>
                  </a:lnTo>
                  <a:lnTo>
                    <a:pt x="52" y="149"/>
                  </a:lnTo>
                  <a:lnTo>
                    <a:pt x="52" y="149"/>
                  </a:lnTo>
                  <a:lnTo>
                    <a:pt x="52" y="149"/>
                  </a:lnTo>
                  <a:lnTo>
                    <a:pt x="52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47" y="147"/>
                  </a:lnTo>
                  <a:lnTo>
                    <a:pt x="43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1" y="140"/>
                  </a:lnTo>
                  <a:lnTo>
                    <a:pt x="31" y="140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0" y="133"/>
                  </a:lnTo>
                  <a:lnTo>
                    <a:pt x="20" y="133"/>
                  </a:lnTo>
                  <a:lnTo>
                    <a:pt x="20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7" y="133"/>
                  </a:lnTo>
                  <a:lnTo>
                    <a:pt x="4" y="133"/>
                  </a:lnTo>
                  <a:lnTo>
                    <a:pt x="2" y="133"/>
                  </a:lnTo>
                  <a:lnTo>
                    <a:pt x="2" y="131"/>
                  </a:lnTo>
                  <a:lnTo>
                    <a:pt x="2" y="129"/>
                  </a:lnTo>
                  <a:lnTo>
                    <a:pt x="2" y="126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2"/>
                  </a:lnTo>
                  <a:lnTo>
                    <a:pt x="2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0" y="111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7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20" y="102"/>
                  </a:lnTo>
                  <a:lnTo>
                    <a:pt x="22" y="102"/>
                  </a:lnTo>
                  <a:lnTo>
                    <a:pt x="25" y="99"/>
                  </a:lnTo>
                  <a:lnTo>
                    <a:pt x="27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34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40" y="95"/>
                  </a:lnTo>
                  <a:lnTo>
                    <a:pt x="40" y="93"/>
                  </a:lnTo>
                  <a:lnTo>
                    <a:pt x="43" y="93"/>
                  </a:lnTo>
                  <a:lnTo>
                    <a:pt x="45" y="93"/>
                  </a:lnTo>
                  <a:lnTo>
                    <a:pt x="47" y="93"/>
                  </a:lnTo>
                  <a:lnTo>
                    <a:pt x="49" y="90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6"/>
                  </a:lnTo>
                  <a:lnTo>
                    <a:pt x="61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5" y="86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7" y="93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70" y="95"/>
                  </a:lnTo>
                  <a:lnTo>
                    <a:pt x="70" y="95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5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5" y="95"/>
                  </a:lnTo>
                  <a:lnTo>
                    <a:pt x="88" y="95"/>
                  </a:lnTo>
                  <a:lnTo>
                    <a:pt x="88" y="95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102"/>
                  </a:lnTo>
                  <a:lnTo>
                    <a:pt x="90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5" y="120"/>
                  </a:lnTo>
                  <a:lnTo>
                    <a:pt x="85" y="122"/>
                  </a:lnTo>
                  <a:lnTo>
                    <a:pt x="88" y="122"/>
                  </a:lnTo>
                  <a:lnTo>
                    <a:pt x="85" y="124"/>
                  </a:lnTo>
                  <a:lnTo>
                    <a:pt x="85" y="124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3" y="126"/>
                  </a:lnTo>
                  <a:lnTo>
                    <a:pt x="83" y="126"/>
                  </a:lnTo>
                  <a:lnTo>
                    <a:pt x="83" y="126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3" y="131"/>
                  </a:lnTo>
                  <a:lnTo>
                    <a:pt x="85" y="133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40"/>
                  </a:lnTo>
                  <a:lnTo>
                    <a:pt x="85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49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3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99" y="153"/>
                  </a:lnTo>
                  <a:lnTo>
                    <a:pt x="99" y="156"/>
                  </a:lnTo>
                  <a:lnTo>
                    <a:pt x="99" y="156"/>
                  </a:lnTo>
                  <a:lnTo>
                    <a:pt x="99" y="156"/>
                  </a:lnTo>
                  <a:lnTo>
                    <a:pt x="99" y="156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58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101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60"/>
                  </a:lnTo>
                  <a:lnTo>
                    <a:pt x="103" y="158"/>
                  </a:lnTo>
                  <a:lnTo>
                    <a:pt x="103" y="158"/>
                  </a:lnTo>
                  <a:lnTo>
                    <a:pt x="103" y="158"/>
                  </a:lnTo>
                  <a:lnTo>
                    <a:pt x="103" y="158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6"/>
                  </a:lnTo>
                  <a:lnTo>
                    <a:pt x="103" y="153"/>
                  </a:lnTo>
                  <a:lnTo>
                    <a:pt x="103" y="153"/>
                  </a:lnTo>
                  <a:lnTo>
                    <a:pt x="103" y="153"/>
                  </a:lnTo>
                  <a:lnTo>
                    <a:pt x="103" y="153"/>
                  </a:lnTo>
                  <a:lnTo>
                    <a:pt x="103" y="151"/>
                  </a:lnTo>
                  <a:lnTo>
                    <a:pt x="103" y="151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3" y="149"/>
                  </a:lnTo>
                  <a:lnTo>
                    <a:pt x="101" y="149"/>
                  </a:lnTo>
                  <a:lnTo>
                    <a:pt x="101" y="149"/>
                  </a:lnTo>
                  <a:lnTo>
                    <a:pt x="101" y="149"/>
                  </a:lnTo>
                  <a:lnTo>
                    <a:pt x="101" y="149"/>
                  </a:lnTo>
                  <a:lnTo>
                    <a:pt x="101" y="149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40"/>
                  </a:lnTo>
                  <a:lnTo>
                    <a:pt x="103" y="138"/>
                  </a:lnTo>
                  <a:lnTo>
                    <a:pt x="103" y="138"/>
                  </a:lnTo>
                  <a:lnTo>
                    <a:pt x="105" y="135"/>
                  </a:lnTo>
                  <a:lnTo>
                    <a:pt x="105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5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8"/>
                  </a:lnTo>
                  <a:lnTo>
                    <a:pt x="108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4" y="135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14" y="131"/>
                  </a:lnTo>
                  <a:lnTo>
                    <a:pt x="114" y="131"/>
                  </a:lnTo>
                  <a:lnTo>
                    <a:pt x="114" y="126"/>
                  </a:lnTo>
                  <a:lnTo>
                    <a:pt x="114" y="124"/>
                  </a:lnTo>
                  <a:lnTo>
                    <a:pt x="117" y="122"/>
                  </a:lnTo>
                  <a:lnTo>
                    <a:pt x="117" y="120"/>
                  </a:lnTo>
                  <a:lnTo>
                    <a:pt x="117" y="117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7" y="111"/>
                  </a:lnTo>
                  <a:lnTo>
                    <a:pt x="117" y="108"/>
                  </a:lnTo>
                  <a:lnTo>
                    <a:pt x="119" y="106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17" y="99"/>
                  </a:lnTo>
                  <a:lnTo>
                    <a:pt x="117" y="99"/>
                  </a:lnTo>
                  <a:lnTo>
                    <a:pt x="114" y="97"/>
                  </a:lnTo>
                  <a:lnTo>
                    <a:pt x="112" y="95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08" y="86"/>
                  </a:lnTo>
                  <a:lnTo>
                    <a:pt x="105" y="84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1" y="77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2" y="68"/>
                  </a:lnTo>
                  <a:lnTo>
                    <a:pt x="92" y="66"/>
                  </a:lnTo>
                  <a:lnTo>
                    <a:pt x="92" y="63"/>
                  </a:lnTo>
                  <a:lnTo>
                    <a:pt x="92" y="59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0" y="50"/>
                  </a:lnTo>
                  <a:lnTo>
                    <a:pt x="88" y="45"/>
                  </a:lnTo>
                  <a:lnTo>
                    <a:pt x="88" y="43"/>
                  </a:lnTo>
                  <a:lnTo>
                    <a:pt x="88" y="41"/>
                  </a:lnTo>
                  <a:lnTo>
                    <a:pt x="90" y="41"/>
                  </a:lnTo>
                  <a:lnTo>
                    <a:pt x="92" y="36"/>
                  </a:lnTo>
                  <a:lnTo>
                    <a:pt x="92" y="34"/>
                  </a:lnTo>
                  <a:lnTo>
                    <a:pt x="94" y="32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101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3" y="25"/>
                  </a:lnTo>
                  <a:lnTo>
                    <a:pt x="121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39" y="30"/>
                  </a:lnTo>
                  <a:lnTo>
                    <a:pt x="139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6" y="30"/>
                  </a:lnTo>
                  <a:lnTo>
                    <a:pt x="148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0" y="30"/>
                  </a:lnTo>
                  <a:lnTo>
                    <a:pt x="153" y="30"/>
                  </a:lnTo>
                  <a:lnTo>
                    <a:pt x="153" y="32"/>
                  </a:lnTo>
                  <a:lnTo>
                    <a:pt x="153" y="32"/>
                  </a:lnTo>
                  <a:lnTo>
                    <a:pt x="153" y="32"/>
                  </a:lnTo>
                  <a:lnTo>
                    <a:pt x="153" y="32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7" y="30"/>
                  </a:lnTo>
                  <a:lnTo>
                    <a:pt x="157" y="30"/>
                  </a:lnTo>
                  <a:lnTo>
                    <a:pt x="157" y="30"/>
                  </a:lnTo>
                  <a:lnTo>
                    <a:pt x="157" y="30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62" y="27"/>
                  </a:lnTo>
                  <a:lnTo>
                    <a:pt x="162" y="27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5"/>
                  </a:lnTo>
                  <a:lnTo>
                    <a:pt x="162" y="23"/>
                  </a:lnTo>
                  <a:lnTo>
                    <a:pt x="162" y="23"/>
                  </a:lnTo>
                  <a:lnTo>
                    <a:pt x="162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4" y="21"/>
                  </a:lnTo>
                  <a:lnTo>
                    <a:pt x="164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6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68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3" y="23"/>
                  </a:lnTo>
                  <a:lnTo>
                    <a:pt x="173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7" y="21"/>
                  </a:lnTo>
                  <a:lnTo>
                    <a:pt x="177" y="21"/>
                  </a:lnTo>
                  <a:lnTo>
                    <a:pt x="180" y="21"/>
                  </a:lnTo>
                  <a:lnTo>
                    <a:pt x="180" y="21"/>
                  </a:lnTo>
                  <a:lnTo>
                    <a:pt x="180" y="21"/>
                  </a:lnTo>
                  <a:lnTo>
                    <a:pt x="180" y="21"/>
                  </a:lnTo>
                  <a:lnTo>
                    <a:pt x="180" y="21"/>
                  </a:lnTo>
                  <a:lnTo>
                    <a:pt x="180" y="21"/>
                  </a:lnTo>
                  <a:lnTo>
                    <a:pt x="182" y="21"/>
                  </a:lnTo>
                  <a:lnTo>
                    <a:pt x="182" y="21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6" y="18"/>
                  </a:lnTo>
                  <a:lnTo>
                    <a:pt x="189" y="18"/>
                  </a:lnTo>
                  <a:lnTo>
                    <a:pt x="189" y="16"/>
                  </a:lnTo>
                  <a:lnTo>
                    <a:pt x="189" y="16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3" y="18"/>
                  </a:lnTo>
                  <a:lnTo>
                    <a:pt x="195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04" y="12"/>
                  </a:lnTo>
                  <a:lnTo>
                    <a:pt x="207" y="9"/>
                  </a:lnTo>
                  <a:lnTo>
                    <a:pt x="207" y="9"/>
                  </a:lnTo>
                  <a:lnTo>
                    <a:pt x="211" y="7"/>
                  </a:lnTo>
                  <a:lnTo>
                    <a:pt x="211" y="7"/>
                  </a:lnTo>
                  <a:lnTo>
                    <a:pt x="211" y="7"/>
                  </a:lnTo>
                  <a:lnTo>
                    <a:pt x="211" y="5"/>
                  </a:lnTo>
                  <a:lnTo>
                    <a:pt x="213" y="5"/>
                  </a:lnTo>
                  <a:lnTo>
                    <a:pt x="213" y="5"/>
                  </a:lnTo>
                  <a:lnTo>
                    <a:pt x="216" y="3"/>
                  </a:lnTo>
                  <a:lnTo>
                    <a:pt x="216" y="3"/>
                  </a:lnTo>
                  <a:lnTo>
                    <a:pt x="216" y="3"/>
                  </a:lnTo>
                  <a:lnTo>
                    <a:pt x="216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3"/>
                  </a:lnTo>
                  <a:close/>
                  <a:moveTo>
                    <a:pt x="94" y="39"/>
                  </a:moveTo>
                  <a:lnTo>
                    <a:pt x="94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4" y="39"/>
                  </a:lnTo>
                  <a:close/>
                  <a:moveTo>
                    <a:pt x="94" y="39"/>
                  </a:moveTo>
                  <a:lnTo>
                    <a:pt x="94" y="39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39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3" name="Freeform 539"/>
            <p:cNvSpPr>
              <a:spLocks/>
            </p:cNvSpPr>
            <p:nvPr/>
          </p:nvSpPr>
          <p:spPr bwMode="auto">
            <a:xfrm>
              <a:off x="5057567" y="2536684"/>
              <a:ext cx="553242" cy="579984"/>
            </a:xfrm>
            <a:custGeom>
              <a:avLst/>
              <a:gdLst>
                <a:gd name="T0" fmla="*/ 248 w 331"/>
                <a:gd name="T1" fmla="*/ 9 h 347"/>
                <a:gd name="T2" fmla="*/ 265 w 331"/>
                <a:gd name="T3" fmla="*/ 18 h 347"/>
                <a:gd name="T4" fmla="*/ 277 w 331"/>
                <a:gd name="T5" fmla="*/ 16 h 347"/>
                <a:gd name="T6" fmla="*/ 288 w 331"/>
                <a:gd name="T7" fmla="*/ 16 h 347"/>
                <a:gd name="T8" fmla="*/ 292 w 331"/>
                <a:gd name="T9" fmla="*/ 14 h 347"/>
                <a:gd name="T10" fmla="*/ 295 w 331"/>
                <a:gd name="T11" fmla="*/ 18 h 347"/>
                <a:gd name="T12" fmla="*/ 306 w 331"/>
                <a:gd name="T13" fmla="*/ 21 h 347"/>
                <a:gd name="T14" fmla="*/ 313 w 331"/>
                <a:gd name="T15" fmla="*/ 25 h 347"/>
                <a:gd name="T16" fmla="*/ 317 w 331"/>
                <a:gd name="T17" fmla="*/ 45 h 347"/>
                <a:gd name="T18" fmla="*/ 319 w 331"/>
                <a:gd name="T19" fmla="*/ 57 h 347"/>
                <a:gd name="T20" fmla="*/ 322 w 331"/>
                <a:gd name="T21" fmla="*/ 70 h 347"/>
                <a:gd name="T22" fmla="*/ 326 w 331"/>
                <a:gd name="T23" fmla="*/ 86 h 347"/>
                <a:gd name="T24" fmla="*/ 326 w 331"/>
                <a:gd name="T25" fmla="*/ 93 h 347"/>
                <a:gd name="T26" fmla="*/ 304 w 331"/>
                <a:gd name="T27" fmla="*/ 90 h 347"/>
                <a:gd name="T28" fmla="*/ 277 w 331"/>
                <a:gd name="T29" fmla="*/ 102 h 347"/>
                <a:gd name="T30" fmla="*/ 274 w 331"/>
                <a:gd name="T31" fmla="*/ 111 h 347"/>
                <a:gd name="T32" fmla="*/ 279 w 331"/>
                <a:gd name="T33" fmla="*/ 117 h 347"/>
                <a:gd name="T34" fmla="*/ 252 w 331"/>
                <a:gd name="T35" fmla="*/ 129 h 347"/>
                <a:gd name="T36" fmla="*/ 225 w 331"/>
                <a:gd name="T37" fmla="*/ 146 h 347"/>
                <a:gd name="T38" fmla="*/ 218 w 331"/>
                <a:gd name="T39" fmla="*/ 149 h 347"/>
                <a:gd name="T40" fmla="*/ 198 w 331"/>
                <a:gd name="T41" fmla="*/ 155 h 347"/>
                <a:gd name="T42" fmla="*/ 180 w 331"/>
                <a:gd name="T43" fmla="*/ 169 h 347"/>
                <a:gd name="T44" fmla="*/ 176 w 331"/>
                <a:gd name="T45" fmla="*/ 189 h 347"/>
                <a:gd name="T46" fmla="*/ 173 w 331"/>
                <a:gd name="T47" fmla="*/ 209 h 347"/>
                <a:gd name="T48" fmla="*/ 146 w 331"/>
                <a:gd name="T49" fmla="*/ 216 h 347"/>
                <a:gd name="T50" fmla="*/ 119 w 331"/>
                <a:gd name="T51" fmla="*/ 218 h 347"/>
                <a:gd name="T52" fmla="*/ 106 w 331"/>
                <a:gd name="T53" fmla="*/ 236 h 347"/>
                <a:gd name="T54" fmla="*/ 88 w 331"/>
                <a:gd name="T55" fmla="*/ 270 h 347"/>
                <a:gd name="T56" fmla="*/ 66 w 331"/>
                <a:gd name="T57" fmla="*/ 293 h 347"/>
                <a:gd name="T58" fmla="*/ 52 w 331"/>
                <a:gd name="T59" fmla="*/ 333 h 347"/>
                <a:gd name="T60" fmla="*/ 18 w 331"/>
                <a:gd name="T61" fmla="*/ 344 h 347"/>
                <a:gd name="T62" fmla="*/ 3 w 331"/>
                <a:gd name="T63" fmla="*/ 338 h 347"/>
                <a:gd name="T64" fmla="*/ 9 w 331"/>
                <a:gd name="T65" fmla="*/ 324 h 347"/>
                <a:gd name="T66" fmla="*/ 16 w 331"/>
                <a:gd name="T67" fmla="*/ 313 h 347"/>
                <a:gd name="T68" fmla="*/ 18 w 331"/>
                <a:gd name="T69" fmla="*/ 308 h 347"/>
                <a:gd name="T70" fmla="*/ 25 w 331"/>
                <a:gd name="T71" fmla="*/ 295 h 347"/>
                <a:gd name="T72" fmla="*/ 27 w 331"/>
                <a:gd name="T73" fmla="*/ 286 h 347"/>
                <a:gd name="T74" fmla="*/ 25 w 331"/>
                <a:gd name="T75" fmla="*/ 290 h 347"/>
                <a:gd name="T76" fmla="*/ 30 w 331"/>
                <a:gd name="T77" fmla="*/ 284 h 347"/>
                <a:gd name="T78" fmla="*/ 41 w 331"/>
                <a:gd name="T79" fmla="*/ 272 h 347"/>
                <a:gd name="T80" fmla="*/ 48 w 331"/>
                <a:gd name="T81" fmla="*/ 261 h 347"/>
                <a:gd name="T82" fmla="*/ 50 w 331"/>
                <a:gd name="T83" fmla="*/ 248 h 347"/>
                <a:gd name="T84" fmla="*/ 57 w 331"/>
                <a:gd name="T85" fmla="*/ 234 h 347"/>
                <a:gd name="T86" fmla="*/ 68 w 331"/>
                <a:gd name="T87" fmla="*/ 225 h 347"/>
                <a:gd name="T88" fmla="*/ 84 w 331"/>
                <a:gd name="T89" fmla="*/ 198 h 347"/>
                <a:gd name="T90" fmla="*/ 95 w 331"/>
                <a:gd name="T91" fmla="*/ 189 h 347"/>
                <a:gd name="T92" fmla="*/ 122 w 331"/>
                <a:gd name="T93" fmla="*/ 176 h 347"/>
                <a:gd name="T94" fmla="*/ 142 w 331"/>
                <a:gd name="T95" fmla="*/ 160 h 347"/>
                <a:gd name="T96" fmla="*/ 149 w 331"/>
                <a:gd name="T97" fmla="*/ 151 h 347"/>
                <a:gd name="T98" fmla="*/ 155 w 331"/>
                <a:gd name="T99" fmla="*/ 131 h 347"/>
                <a:gd name="T100" fmla="*/ 153 w 331"/>
                <a:gd name="T101" fmla="*/ 122 h 347"/>
                <a:gd name="T102" fmla="*/ 155 w 331"/>
                <a:gd name="T103" fmla="*/ 106 h 347"/>
                <a:gd name="T104" fmla="*/ 160 w 331"/>
                <a:gd name="T105" fmla="*/ 97 h 347"/>
                <a:gd name="T106" fmla="*/ 164 w 331"/>
                <a:gd name="T107" fmla="*/ 86 h 347"/>
                <a:gd name="T108" fmla="*/ 178 w 331"/>
                <a:gd name="T109" fmla="*/ 66 h 347"/>
                <a:gd name="T110" fmla="*/ 194 w 331"/>
                <a:gd name="T111" fmla="*/ 59 h 347"/>
                <a:gd name="T112" fmla="*/ 200 w 331"/>
                <a:gd name="T113" fmla="*/ 54 h 347"/>
                <a:gd name="T114" fmla="*/ 209 w 331"/>
                <a:gd name="T115" fmla="*/ 50 h 347"/>
                <a:gd name="T116" fmla="*/ 234 w 331"/>
                <a:gd name="T117" fmla="*/ 7 h 347"/>
                <a:gd name="T118" fmla="*/ 239 w 331"/>
                <a:gd name="T119" fmla="*/ 3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1" h="347">
                  <a:moveTo>
                    <a:pt x="245" y="3"/>
                  </a:moveTo>
                  <a:lnTo>
                    <a:pt x="245" y="3"/>
                  </a:lnTo>
                  <a:lnTo>
                    <a:pt x="245" y="5"/>
                  </a:lnTo>
                  <a:lnTo>
                    <a:pt x="245" y="5"/>
                  </a:lnTo>
                  <a:lnTo>
                    <a:pt x="245" y="5"/>
                  </a:lnTo>
                  <a:lnTo>
                    <a:pt x="245" y="7"/>
                  </a:lnTo>
                  <a:lnTo>
                    <a:pt x="245" y="7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9"/>
                  </a:lnTo>
                  <a:lnTo>
                    <a:pt x="248" y="9"/>
                  </a:lnTo>
                  <a:lnTo>
                    <a:pt x="248" y="9"/>
                  </a:lnTo>
                  <a:lnTo>
                    <a:pt x="248" y="9"/>
                  </a:lnTo>
                  <a:lnTo>
                    <a:pt x="250" y="9"/>
                  </a:lnTo>
                  <a:lnTo>
                    <a:pt x="250" y="12"/>
                  </a:lnTo>
                  <a:lnTo>
                    <a:pt x="252" y="14"/>
                  </a:lnTo>
                  <a:lnTo>
                    <a:pt x="252" y="14"/>
                  </a:lnTo>
                  <a:lnTo>
                    <a:pt x="252" y="14"/>
                  </a:lnTo>
                  <a:lnTo>
                    <a:pt x="252" y="14"/>
                  </a:lnTo>
                  <a:lnTo>
                    <a:pt x="252" y="14"/>
                  </a:lnTo>
                  <a:lnTo>
                    <a:pt x="254" y="14"/>
                  </a:lnTo>
                  <a:lnTo>
                    <a:pt x="254" y="16"/>
                  </a:lnTo>
                  <a:lnTo>
                    <a:pt x="254" y="16"/>
                  </a:lnTo>
                  <a:lnTo>
                    <a:pt x="257" y="16"/>
                  </a:lnTo>
                  <a:lnTo>
                    <a:pt x="257" y="16"/>
                  </a:lnTo>
                  <a:lnTo>
                    <a:pt x="259" y="18"/>
                  </a:lnTo>
                  <a:lnTo>
                    <a:pt x="261" y="18"/>
                  </a:lnTo>
                  <a:lnTo>
                    <a:pt x="263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70" y="18"/>
                  </a:lnTo>
                  <a:lnTo>
                    <a:pt x="270" y="16"/>
                  </a:lnTo>
                  <a:lnTo>
                    <a:pt x="272" y="16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4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81" y="18"/>
                  </a:lnTo>
                  <a:lnTo>
                    <a:pt x="281" y="18"/>
                  </a:lnTo>
                  <a:lnTo>
                    <a:pt x="281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6" y="18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2" y="12"/>
                  </a:lnTo>
                  <a:lnTo>
                    <a:pt x="292" y="12"/>
                  </a:lnTo>
                  <a:lnTo>
                    <a:pt x="292" y="12"/>
                  </a:lnTo>
                  <a:lnTo>
                    <a:pt x="292" y="12"/>
                  </a:lnTo>
                  <a:lnTo>
                    <a:pt x="292" y="12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95" y="16"/>
                  </a:lnTo>
                  <a:lnTo>
                    <a:pt x="292" y="16"/>
                  </a:lnTo>
                  <a:lnTo>
                    <a:pt x="292" y="16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5" y="18"/>
                  </a:lnTo>
                  <a:lnTo>
                    <a:pt x="295" y="18"/>
                  </a:lnTo>
                  <a:lnTo>
                    <a:pt x="295" y="21"/>
                  </a:lnTo>
                  <a:lnTo>
                    <a:pt x="295" y="21"/>
                  </a:lnTo>
                  <a:lnTo>
                    <a:pt x="297" y="21"/>
                  </a:lnTo>
                  <a:lnTo>
                    <a:pt x="295" y="18"/>
                  </a:lnTo>
                  <a:lnTo>
                    <a:pt x="295" y="18"/>
                  </a:lnTo>
                  <a:lnTo>
                    <a:pt x="295" y="16"/>
                  </a:lnTo>
                  <a:lnTo>
                    <a:pt x="295" y="16"/>
                  </a:lnTo>
                  <a:lnTo>
                    <a:pt x="295" y="16"/>
                  </a:lnTo>
                  <a:lnTo>
                    <a:pt x="295" y="18"/>
                  </a:lnTo>
                  <a:lnTo>
                    <a:pt x="295" y="18"/>
                  </a:lnTo>
                  <a:lnTo>
                    <a:pt x="297" y="18"/>
                  </a:lnTo>
                  <a:lnTo>
                    <a:pt x="297" y="21"/>
                  </a:lnTo>
                  <a:lnTo>
                    <a:pt x="299" y="21"/>
                  </a:lnTo>
                  <a:lnTo>
                    <a:pt x="299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21"/>
                  </a:lnTo>
                  <a:lnTo>
                    <a:pt x="301" y="18"/>
                  </a:lnTo>
                  <a:lnTo>
                    <a:pt x="304" y="18"/>
                  </a:lnTo>
                  <a:lnTo>
                    <a:pt x="304" y="18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6" y="21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10" y="23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0" y="25"/>
                  </a:lnTo>
                  <a:lnTo>
                    <a:pt x="313" y="25"/>
                  </a:lnTo>
                  <a:lnTo>
                    <a:pt x="313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30"/>
                  </a:lnTo>
                  <a:lnTo>
                    <a:pt x="315" y="30"/>
                  </a:lnTo>
                  <a:lnTo>
                    <a:pt x="315" y="30"/>
                  </a:lnTo>
                  <a:lnTo>
                    <a:pt x="315" y="30"/>
                  </a:lnTo>
                  <a:lnTo>
                    <a:pt x="315" y="32"/>
                  </a:lnTo>
                  <a:lnTo>
                    <a:pt x="315" y="32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7" y="34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7" y="39"/>
                  </a:lnTo>
                  <a:lnTo>
                    <a:pt x="317" y="43"/>
                  </a:lnTo>
                  <a:lnTo>
                    <a:pt x="317" y="45"/>
                  </a:lnTo>
                  <a:lnTo>
                    <a:pt x="317" y="45"/>
                  </a:lnTo>
                  <a:lnTo>
                    <a:pt x="317" y="50"/>
                  </a:lnTo>
                  <a:lnTo>
                    <a:pt x="317" y="50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2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7" y="54"/>
                  </a:lnTo>
                  <a:lnTo>
                    <a:pt x="319" y="57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17" y="59"/>
                  </a:lnTo>
                  <a:lnTo>
                    <a:pt x="317" y="61"/>
                  </a:lnTo>
                  <a:lnTo>
                    <a:pt x="317" y="61"/>
                  </a:lnTo>
                  <a:lnTo>
                    <a:pt x="317" y="61"/>
                  </a:lnTo>
                  <a:lnTo>
                    <a:pt x="317" y="63"/>
                  </a:lnTo>
                  <a:lnTo>
                    <a:pt x="317" y="66"/>
                  </a:lnTo>
                  <a:lnTo>
                    <a:pt x="319" y="66"/>
                  </a:lnTo>
                  <a:lnTo>
                    <a:pt x="319" y="66"/>
                  </a:lnTo>
                  <a:lnTo>
                    <a:pt x="319" y="68"/>
                  </a:lnTo>
                  <a:lnTo>
                    <a:pt x="319" y="68"/>
                  </a:lnTo>
                  <a:lnTo>
                    <a:pt x="319" y="68"/>
                  </a:lnTo>
                  <a:lnTo>
                    <a:pt x="322" y="68"/>
                  </a:lnTo>
                  <a:lnTo>
                    <a:pt x="322" y="68"/>
                  </a:lnTo>
                  <a:lnTo>
                    <a:pt x="322" y="70"/>
                  </a:lnTo>
                  <a:lnTo>
                    <a:pt x="322" y="70"/>
                  </a:lnTo>
                  <a:lnTo>
                    <a:pt x="322" y="70"/>
                  </a:lnTo>
                  <a:lnTo>
                    <a:pt x="322" y="70"/>
                  </a:lnTo>
                  <a:lnTo>
                    <a:pt x="322" y="70"/>
                  </a:lnTo>
                  <a:lnTo>
                    <a:pt x="322" y="70"/>
                  </a:lnTo>
                  <a:lnTo>
                    <a:pt x="322" y="72"/>
                  </a:lnTo>
                  <a:lnTo>
                    <a:pt x="319" y="72"/>
                  </a:lnTo>
                  <a:lnTo>
                    <a:pt x="322" y="77"/>
                  </a:lnTo>
                  <a:lnTo>
                    <a:pt x="324" y="77"/>
                  </a:lnTo>
                  <a:lnTo>
                    <a:pt x="324" y="77"/>
                  </a:lnTo>
                  <a:lnTo>
                    <a:pt x="331" y="81"/>
                  </a:lnTo>
                  <a:lnTo>
                    <a:pt x="331" y="81"/>
                  </a:lnTo>
                  <a:lnTo>
                    <a:pt x="328" y="84"/>
                  </a:lnTo>
                  <a:lnTo>
                    <a:pt x="328" y="84"/>
                  </a:lnTo>
                  <a:lnTo>
                    <a:pt x="328" y="84"/>
                  </a:lnTo>
                  <a:lnTo>
                    <a:pt x="326" y="84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6" y="88"/>
                  </a:lnTo>
                  <a:lnTo>
                    <a:pt x="326" y="88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6" y="93"/>
                  </a:lnTo>
                  <a:lnTo>
                    <a:pt x="326" y="93"/>
                  </a:lnTo>
                  <a:lnTo>
                    <a:pt x="324" y="93"/>
                  </a:lnTo>
                  <a:lnTo>
                    <a:pt x="324" y="93"/>
                  </a:lnTo>
                  <a:lnTo>
                    <a:pt x="324" y="93"/>
                  </a:lnTo>
                  <a:lnTo>
                    <a:pt x="324" y="93"/>
                  </a:lnTo>
                  <a:lnTo>
                    <a:pt x="322" y="93"/>
                  </a:lnTo>
                  <a:lnTo>
                    <a:pt x="322" y="93"/>
                  </a:lnTo>
                  <a:lnTo>
                    <a:pt x="319" y="93"/>
                  </a:lnTo>
                  <a:lnTo>
                    <a:pt x="317" y="93"/>
                  </a:lnTo>
                  <a:lnTo>
                    <a:pt x="317" y="93"/>
                  </a:lnTo>
                  <a:lnTo>
                    <a:pt x="315" y="93"/>
                  </a:lnTo>
                  <a:lnTo>
                    <a:pt x="313" y="93"/>
                  </a:lnTo>
                  <a:lnTo>
                    <a:pt x="310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6" y="90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1" y="90"/>
                  </a:lnTo>
                  <a:lnTo>
                    <a:pt x="297" y="93"/>
                  </a:lnTo>
                  <a:lnTo>
                    <a:pt x="292" y="93"/>
                  </a:lnTo>
                  <a:lnTo>
                    <a:pt x="292" y="93"/>
                  </a:lnTo>
                  <a:lnTo>
                    <a:pt x="292" y="95"/>
                  </a:lnTo>
                  <a:lnTo>
                    <a:pt x="292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88" y="99"/>
                  </a:lnTo>
                  <a:lnTo>
                    <a:pt x="286" y="99"/>
                  </a:lnTo>
                  <a:lnTo>
                    <a:pt x="283" y="102"/>
                  </a:lnTo>
                  <a:lnTo>
                    <a:pt x="281" y="102"/>
                  </a:lnTo>
                  <a:lnTo>
                    <a:pt x="279" y="102"/>
                  </a:lnTo>
                  <a:lnTo>
                    <a:pt x="279" y="102"/>
                  </a:lnTo>
                  <a:lnTo>
                    <a:pt x="277" y="102"/>
                  </a:lnTo>
                  <a:lnTo>
                    <a:pt x="277" y="102"/>
                  </a:lnTo>
                  <a:lnTo>
                    <a:pt x="277" y="102"/>
                  </a:lnTo>
                  <a:lnTo>
                    <a:pt x="274" y="102"/>
                  </a:lnTo>
                  <a:lnTo>
                    <a:pt x="274" y="102"/>
                  </a:lnTo>
                  <a:lnTo>
                    <a:pt x="274" y="102"/>
                  </a:lnTo>
                  <a:lnTo>
                    <a:pt x="274" y="106"/>
                  </a:lnTo>
                  <a:lnTo>
                    <a:pt x="274" y="106"/>
                  </a:lnTo>
                  <a:lnTo>
                    <a:pt x="274" y="106"/>
                  </a:lnTo>
                  <a:lnTo>
                    <a:pt x="274" y="108"/>
                  </a:lnTo>
                  <a:lnTo>
                    <a:pt x="274" y="108"/>
                  </a:lnTo>
                  <a:lnTo>
                    <a:pt x="274" y="108"/>
                  </a:lnTo>
                  <a:lnTo>
                    <a:pt x="274" y="108"/>
                  </a:lnTo>
                  <a:lnTo>
                    <a:pt x="277" y="108"/>
                  </a:lnTo>
                  <a:lnTo>
                    <a:pt x="277" y="108"/>
                  </a:lnTo>
                  <a:lnTo>
                    <a:pt x="277" y="108"/>
                  </a:lnTo>
                  <a:lnTo>
                    <a:pt x="274" y="111"/>
                  </a:lnTo>
                  <a:lnTo>
                    <a:pt x="274" y="111"/>
                  </a:lnTo>
                  <a:lnTo>
                    <a:pt x="274" y="111"/>
                  </a:lnTo>
                  <a:lnTo>
                    <a:pt x="274" y="113"/>
                  </a:lnTo>
                  <a:lnTo>
                    <a:pt x="274" y="113"/>
                  </a:lnTo>
                  <a:lnTo>
                    <a:pt x="274" y="113"/>
                  </a:lnTo>
                  <a:lnTo>
                    <a:pt x="274" y="113"/>
                  </a:lnTo>
                  <a:lnTo>
                    <a:pt x="274" y="115"/>
                  </a:lnTo>
                  <a:lnTo>
                    <a:pt x="274" y="115"/>
                  </a:lnTo>
                  <a:lnTo>
                    <a:pt x="274" y="115"/>
                  </a:lnTo>
                  <a:lnTo>
                    <a:pt x="274" y="115"/>
                  </a:lnTo>
                  <a:lnTo>
                    <a:pt x="274" y="113"/>
                  </a:lnTo>
                  <a:lnTo>
                    <a:pt x="274" y="113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7" y="115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9" y="117"/>
                  </a:lnTo>
                  <a:lnTo>
                    <a:pt x="279" y="117"/>
                  </a:lnTo>
                  <a:lnTo>
                    <a:pt x="279" y="117"/>
                  </a:lnTo>
                  <a:lnTo>
                    <a:pt x="279" y="117"/>
                  </a:lnTo>
                  <a:lnTo>
                    <a:pt x="277" y="120"/>
                  </a:lnTo>
                  <a:lnTo>
                    <a:pt x="277" y="120"/>
                  </a:lnTo>
                  <a:lnTo>
                    <a:pt x="274" y="120"/>
                  </a:lnTo>
                  <a:lnTo>
                    <a:pt x="274" y="120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5" y="124"/>
                  </a:lnTo>
                  <a:lnTo>
                    <a:pt x="265" y="124"/>
                  </a:lnTo>
                  <a:lnTo>
                    <a:pt x="263" y="124"/>
                  </a:lnTo>
                  <a:lnTo>
                    <a:pt x="261" y="126"/>
                  </a:lnTo>
                  <a:lnTo>
                    <a:pt x="261" y="126"/>
                  </a:lnTo>
                  <a:lnTo>
                    <a:pt x="259" y="126"/>
                  </a:lnTo>
                  <a:lnTo>
                    <a:pt x="252" y="129"/>
                  </a:lnTo>
                  <a:lnTo>
                    <a:pt x="252" y="131"/>
                  </a:lnTo>
                  <a:lnTo>
                    <a:pt x="250" y="131"/>
                  </a:lnTo>
                  <a:lnTo>
                    <a:pt x="250" y="133"/>
                  </a:lnTo>
                  <a:lnTo>
                    <a:pt x="248" y="135"/>
                  </a:lnTo>
                  <a:lnTo>
                    <a:pt x="248" y="137"/>
                  </a:lnTo>
                  <a:lnTo>
                    <a:pt x="243" y="142"/>
                  </a:lnTo>
                  <a:lnTo>
                    <a:pt x="243" y="142"/>
                  </a:lnTo>
                  <a:lnTo>
                    <a:pt x="241" y="142"/>
                  </a:lnTo>
                  <a:lnTo>
                    <a:pt x="239" y="144"/>
                  </a:lnTo>
                  <a:lnTo>
                    <a:pt x="239" y="144"/>
                  </a:lnTo>
                  <a:lnTo>
                    <a:pt x="234" y="144"/>
                  </a:lnTo>
                  <a:lnTo>
                    <a:pt x="230" y="146"/>
                  </a:lnTo>
                  <a:lnTo>
                    <a:pt x="230" y="146"/>
                  </a:lnTo>
                  <a:lnTo>
                    <a:pt x="227" y="146"/>
                  </a:lnTo>
                  <a:lnTo>
                    <a:pt x="227" y="144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3" y="146"/>
                  </a:lnTo>
                  <a:lnTo>
                    <a:pt x="223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6"/>
                  </a:lnTo>
                  <a:lnTo>
                    <a:pt x="221" y="149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6" y="151"/>
                  </a:lnTo>
                  <a:lnTo>
                    <a:pt x="212" y="151"/>
                  </a:lnTo>
                  <a:lnTo>
                    <a:pt x="209" y="151"/>
                  </a:lnTo>
                  <a:lnTo>
                    <a:pt x="207" y="151"/>
                  </a:lnTo>
                  <a:lnTo>
                    <a:pt x="207" y="151"/>
                  </a:lnTo>
                  <a:lnTo>
                    <a:pt x="203" y="153"/>
                  </a:lnTo>
                  <a:lnTo>
                    <a:pt x="203" y="153"/>
                  </a:lnTo>
                  <a:lnTo>
                    <a:pt x="203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8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7" y="164"/>
                  </a:lnTo>
                  <a:lnTo>
                    <a:pt x="185" y="164"/>
                  </a:lnTo>
                  <a:lnTo>
                    <a:pt x="185" y="164"/>
                  </a:lnTo>
                  <a:lnTo>
                    <a:pt x="182" y="167"/>
                  </a:lnTo>
                  <a:lnTo>
                    <a:pt x="182" y="167"/>
                  </a:lnTo>
                  <a:lnTo>
                    <a:pt x="182" y="167"/>
                  </a:lnTo>
                  <a:lnTo>
                    <a:pt x="182" y="167"/>
                  </a:lnTo>
                  <a:lnTo>
                    <a:pt x="180" y="169"/>
                  </a:lnTo>
                  <a:lnTo>
                    <a:pt x="180" y="169"/>
                  </a:lnTo>
                  <a:lnTo>
                    <a:pt x="180" y="169"/>
                  </a:lnTo>
                  <a:lnTo>
                    <a:pt x="178" y="171"/>
                  </a:lnTo>
                  <a:lnTo>
                    <a:pt x="176" y="171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3"/>
                  </a:lnTo>
                  <a:lnTo>
                    <a:pt x="176" y="173"/>
                  </a:lnTo>
                  <a:lnTo>
                    <a:pt x="176" y="176"/>
                  </a:lnTo>
                  <a:lnTo>
                    <a:pt x="176" y="178"/>
                  </a:lnTo>
                  <a:lnTo>
                    <a:pt x="176" y="178"/>
                  </a:lnTo>
                  <a:lnTo>
                    <a:pt x="176" y="180"/>
                  </a:lnTo>
                  <a:lnTo>
                    <a:pt x="176" y="182"/>
                  </a:lnTo>
                  <a:lnTo>
                    <a:pt x="176" y="182"/>
                  </a:lnTo>
                  <a:lnTo>
                    <a:pt x="176" y="185"/>
                  </a:lnTo>
                  <a:lnTo>
                    <a:pt x="176" y="187"/>
                  </a:lnTo>
                  <a:lnTo>
                    <a:pt x="176" y="187"/>
                  </a:lnTo>
                  <a:lnTo>
                    <a:pt x="176" y="189"/>
                  </a:lnTo>
                  <a:lnTo>
                    <a:pt x="176" y="189"/>
                  </a:lnTo>
                  <a:lnTo>
                    <a:pt x="176" y="191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6" y="196"/>
                  </a:lnTo>
                  <a:lnTo>
                    <a:pt x="176" y="198"/>
                  </a:lnTo>
                  <a:lnTo>
                    <a:pt x="173" y="198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3" y="200"/>
                  </a:lnTo>
                  <a:lnTo>
                    <a:pt x="173" y="203"/>
                  </a:lnTo>
                  <a:lnTo>
                    <a:pt x="173" y="203"/>
                  </a:lnTo>
                  <a:lnTo>
                    <a:pt x="171" y="205"/>
                  </a:lnTo>
                  <a:lnTo>
                    <a:pt x="171" y="205"/>
                  </a:lnTo>
                  <a:lnTo>
                    <a:pt x="173" y="207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1" y="209"/>
                  </a:lnTo>
                  <a:lnTo>
                    <a:pt x="171" y="212"/>
                  </a:lnTo>
                  <a:lnTo>
                    <a:pt x="169" y="212"/>
                  </a:lnTo>
                  <a:lnTo>
                    <a:pt x="167" y="212"/>
                  </a:lnTo>
                  <a:lnTo>
                    <a:pt x="164" y="212"/>
                  </a:lnTo>
                  <a:lnTo>
                    <a:pt x="162" y="212"/>
                  </a:lnTo>
                  <a:lnTo>
                    <a:pt x="160" y="212"/>
                  </a:lnTo>
                  <a:lnTo>
                    <a:pt x="160" y="212"/>
                  </a:lnTo>
                  <a:lnTo>
                    <a:pt x="158" y="212"/>
                  </a:lnTo>
                  <a:lnTo>
                    <a:pt x="155" y="214"/>
                  </a:lnTo>
                  <a:lnTo>
                    <a:pt x="153" y="216"/>
                  </a:lnTo>
                  <a:lnTo>
                    <a:pt x="153" y="216"/>
                  </a:lnTo>
                  <a:lnTo>
                    <a:pt x="151" y="216"/>
                  </a:lnTo>
                  <a:lnTo>
                    <a:pt x="149" y="216"/>
                  </a:lnTo>
                  <a:lnTo>
                    <a:pt x="149" y="216"/>
                  </a:lnTo>
                  <a:lnTo>
                    <a:pt x="146" y="216"/>
                  </a:lnTo>
                  <a:lnTo>
                    <a:pt x="146" y="216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2" y="216"/>
                  </a:lnTo>
                  <a:lnTo>
                    <a:pt x="140" y="216"/>
                  </a:lnTo>
                  <a:lnTo>
                    <a:pt x="137" y="214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3" y="212"/>
                  </a:lnTo>
                  <a:lnTo>
                    <a:pt x="131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4" y="214"/>
                  </a:lnTo>
                  <a:lnTo>
                    <a:pt x="122" y="216"/>
                  </a:lnTo>
                  <a:lnTo>
                    <a:pt x="119" y="216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21"/>
                  </a:lnTo>
                  <a:lnTo>
                    <a:pt x="119" y="221"/>
                  </a:lnTo>
                  <a:lnTo>
                    <a:pt x="119" y="223"/>
                  </a:lnTo>
                  <a:lnTo>
                    <a:pt x="117" y="225"/>
                  </a:lnTo>
                  <a:lnTo>
                    <a:pt x="117" y="225"/>
                  </a:lnTo>
                  <a:lnTo>
                    <a:pt x="115" y="227"/>
                  </a:lnTo>
                  <a:lnTo>
                    <a:pt x="115" y="227"/>
                  </a:lnTo>
                  <a:lnTo>
                    <a:pt x="113" y="230"/>
                  </a:lnTo>
                  <a:lnTo>
                    <a:pt x="113" y="232"/>
                  </a:lnTo>
                  <a:lnTo>
                    <a:pt x="113" y="232"/>
                  </a:lnTo>
                  <a:lnTo>
                    <a:pt x="113" y="234"/>
                  </a:lnTo>
                  <a:lnTo>
                    <a:pt x="110" y="234"/>
                  </a:lnTo>
                  <a:lnTo>
                    <a:pt x="108" y="234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6" y="236"/>
                  </a:lnTo>
                  <a:lnTo>
                    <a:pt x="104" y="239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4" y="243"/>
                  </a:lnTo>
                  <a:lnTo>
                    <a:pt x="101" y="245"/>
                  </a:lnTo>
                  <a:lnTo>
                    <a:pt x="101" y="248"/>
                  </a:lnTo>
                  <a:lnTo>
                    <a:pt x="101" y="250"/>
                  </a:lnTo>
                  <a:lnTo>
                    <a:pt x="99" y="254"/>
                  </a:lnTo>
                  <a:lnTo>
                    <a:pt x="99" y="259"/>
                  </a:lnTo>
                  <a:lnTo>
                    <a:pt x="99" y="261"/>
                  </a:lnTo>
                  <a:lnTo>
                    <a:pt x="97" y="263"/>
                  </a:lnTo>
                  <a:lnTo>
                    <a:pt x="97" y="266"/>
                  </a:lnTo>
                  <a:lnTo>
                    <a:pt x="95" y="266"/>
                  </a:lnTo>
                  <a:lnTo>
                    <a:pt x="95" y="268"/>
                  </a:lnTo>
                  <a:lnTo>
                    <a:pt x="93" y="268"/>
                  </a:lnTo>
                  <a:lnTo>
                    <a:pt x="90" y="270"/>
                  </a:lnTo>
                  <a:lnTo>
                    <a:pt x="88" y="270"/>
                  </a:lnTo>
                  <a:lnTo>
                    <a:pt x="86" y="272"/>
                  </a:lnTo>
                  <a:lnTo>
                    <a:pt x="86" y="272"/>
                  </a:lnTo>
                  <a:lnTo>
                    <a:pt x="86" y="272"/>
                  </a:lnTo>
                  <a:lnTo>
                    <a:pt x="84" y="275"/>
                  </a:lnTo>
                  <a:lnTo>
                    <a:pt x="81" y="277"/>
                  </a:lnTo>
                  <a:lnTo>
                    <a:pt x="81" y="279"/>
                  </a:lnTo>
                  <a:lnTo>
                    <a:pt x="79" y="281"/>
                  </a:lnTo>
                  <a:lnTo>
                    <a:pt x="79" y="284"/>
                  </a:lnTo>
                  <a:lnTo>
                    <a:pt x="79" y="286"/>
                  </a:lnTo>
                  <a:lnTo>
                    <a:pt x="77" y="286"/>
                  </a:lnTo>
                  <a:lnTo>
                    <a:pt x="75" y="286"/>
                  </a:lnTo>
                  <a:lnTo>
                    <a:pt x="72" y="288"/>
                  </a:lnTo>
                  <a:lnTo>
                    <a:pt x="70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66" y="293"/>
                  </a:lnTo>
                  <a:lnTo>
                    <a:pt x="66" y="293"/>
                  </a:lnTo>
                  <a:lnTo>
                    <a:pt x="63" y="295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1" y="306"/>
                  </a:lnTo>
                  <a:lnTo>
                    <a:pt x="61" y="308"/>
                  </a:lnTo>
                  <a:lnTo>
                    <a:pt x="61" y="311"/>
                  </a:lnTo>
                  <a:lnTo>
                    <a:pt x="59" y="315"/>
                  </a:lnTo>
                  <a:lnTo>
                    <a:pt x="59" y="317"/>
                  </a:lnTo>
                  <a:lnTo>
                    <a:pt x="59" y="322"/>
                  </a:lnTo>
                  <a:lnTo>
                    <a:pt x="59" y="324"/>
                  </a:lnTo>
                  <a:lnTo>
                    <a:pt x="59" y="324"/>
                  </a:lnTo>
                  <a:lnTo>
                    <a:pt x="57" y="326"/>
                  </a:lnTo>
                  <a:lnTo>
                    <a:pt x="57" y="329"/>
                  </a:lnTo>
                  <a:lnTo>
                    <a:pt x="54" y="329"/>
                  </a:lnTo>
                  <a:lnTo>
                    <a:pt x="54" y="331"/>
                  </a:lnTo>
                  <a:lnTo>
                    <a:pt x="54" y="331"/>
                  </a:lnTo>
                  <a:lnTo>
                    <a:pt x="52" y="333"/>
                  </a:lnTo>
                  <a:lnTo>
                    <a:pt x="52" y="335"/>
                  </a:lnTo>
                  <a:lnTo>
                    <a:pt x="50" y="335"/>
                  </a:lnTo>
                  <a:lnTo>
                    <a:pt x="50" y="335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42"/>
                  </a:lnTo>
                  <a:lnTo>
                    <a:pt x="48" y="344"/>
                  </a:lnTo>
                  <a:lnTo>
                    <a:pt x="45" y="344"/>
                  </a:lnTo>
                  <a:lnTo>
                    <a:pt x="43" y="344"/>
                  </a:lnTo>
                  <a:lnTo>
                    <a:pt x="39" y="344"/>
                  </a:lnTo>
                  <a:lnTo>
                    <a:pt x="36" y="344"/>
                  </a:lnTo>
                  <a:lnTo>
                    <a:pt x="32" y="344"/>
                  </a:lnTo>
                  <a:lnTo>
                    <a:pt x="30" y="344"/>
                  </a:lnTo>
                  <a:lnTo>
                    <a:pt x="27" y="344"/>
                  </a:lnTo>
                  <a:lnTo>
                    <a:pt x="23" y="344"/>
                  </a:lnTo>
                  <a:lnTo>
                    <a:pt x="21" y="344"/>
                  </a:lnTo>
                  <a:lnTo>
                    <a:pt x="18" y="344"/>
                  </a:lnTo>
                  <a:lnTo>
                    <a:pt x="9" y="344"/>
                  </a:lnTo>
                  <a:lnTo>
                    <a:pt x="7" y="344"/>
                  </a:lnTo>
                  <a:lnTo>
                    <a:pt x="3" y="347"/>
                  </a:lnTo>
                  <a:lnTo>
                    <a:pt x="0" y="347"/>
                  </a:lnTo>
                  <a:lnTo>
                    <a:pt x="0" y="344"/>
                  </a:lnTo>
                  <a:lnTo>
                    <a:pt x="3" y="342"/>
                  </a:lnTo>
                  <a:lnTo>
                    <a:pt x="3" y="340"/>
                  </a:lnTo>
                  <a:lnTo>
                    <a:pt x="3" y="340"/>
                  </a:lnTo>
                  <a:lnTo>
                    <a:pt x="3" y="340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8"/>
                  </a:lnTo>
                  <a:lnTo>
                    <a:pt x="3" y="335"/>
                  </a:lnTo>
                  <a:lnTo>
                    <a:pt x="3" y="335"/>
                  </a:lnTo>
                  <a:lnTo>
                    <a:pt x="3" y="335"/>
                  </a:lnTo>
                  <a:lnTo>
                    <a:pt x="3" y="333"/>
                  </a:lnTo>
                  <a:lnTo>
                    <a:pt x="5" y="329"/>
                  </a:lnTo>
                  <a:lnTo>
                    <a:pt x="5" y="329"/>
                  </a:lnTo>
                  <a:lnTo>
                    <a:pt x="7" y="329"/>
                  </a:lnTo>
                  <a:lnTo>
                    <a:pt x="7" y="329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7" y="324"/>
                  </a:lnTo>
                  <a:lnTo>
                    <a:pt x="9" y="324"/>
                  </a:lnTo>
                  <a:lnTo>
                    <a:pt x="9" y="324"/>
                  </a:lnTo>
                  <a:lnTo>
                    <a:pt x="9" y="324"/>
                  </a:lnTo>
                  <a:lnTo>
                    <a:pt x="9" y="326"/>
                  </a:lnTo>
                  <a:lnTo>
                    <a:pt x="9" y="326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2" y="324"/>
                  </a:lnTo>
                  <a:lnTo>
                    <a:pt x="14" y="320"/>
                  </a:lnTo>
                  <a:lnTo>
                    <a:pt x="14" y="320"/>
                  </a:lnTo>
                  <a:lnTo>
                    <a:pt x="14" y="320"/>
                  </a:lnTo>
                  <a:lnTo>
                    <a:pt x="14" y="320"/>
                  </a:lnTo>
                  <a:lnTo>
                    <a:pt x="14" y="317"/>
                  </a:lnTo>
                  <a:lnTo>
                    <a:pt x="16" y="317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6" y="313"/>
                  </a:lnTo>
                  <a:lnTo>
                    <a:pt x="16" y="313"/>
                  </a:lnTo>
                  <a:lnTo>
                    <a:pt x="16" y="313"/>
                  </a:lnTo>
                  <a:lnTo>
                    <a:pt x="16" y="313"/>
                  </a:lnTo>
                  <a:lnTo>
                    <a:pt x="16" y="313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6" y="311"/>
                  </a:lnTo>
                  <a:lnTo>
                    <a:pt x="18" y="311"/>
                  </a:lnTo>
                  <a:lnTo>
                    <a:pt x="18" y="311"/>
                  </a:lnTo>
                  <a:lnTo>
                    <a:pt x="18" y="308"/>
                  </a:lnTo>
                  <a:lnTo>
                    <a:pt x="18" y="308"/>
                  </a:lnTo>
                  <a:lnTo>
                    <a:pt x="18" y="308"/>
                  </a:lnTo>
                  <a:lnTo>
                    <a:pt x="18" y="308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21" y="304"/>
                  </a:lnTo>
                  <a:lnTo>
                    <a:pt x="21" y="304"/>
                  </a:lnTo>
                  <a:lnTo>
                    <a:pt x="21" y="299"/>
                  </a:lnTo>
                  <a:lnTo>
                    <a:pt x="21" y="299"/>
                  </a:lnTo>
                  <a:lnTo>
                    <a:pt x="23" y="299"/>
                  </a:lnTo>
                  <a:lnTo>
                    <a:pt x="23" y="299"/>
                  </a:lnTo>
                  <a:lnTo>
                    <a:pt x="23" y="297"/>
                  </a:lnTo>
                  <a:lnTo>
                    <a:pt x="23" y="297"/>
                  </a:lnTo>
                  <a:lnTo>
                    <a:pt x="23" y="295"/>
                  </a:lnTo>
                  <a:lnTo>
                    <a:pt x="25" y="295"/>
                  </a:lnTo>
                  <a:lnTo>
                    <a:pt x="25" y="295"/>
                  </a:lnTo>
                  <a:lnTo>
                    <a:pt x="25" y="293"/>
                  </a:lnTo>
                  <a:lnTo>
                    <a:pt x="25" y="293"/>
                  </a:lnTo>
                  <a:lnTo>
                    <a:pt x="27" y="293"/>
                  </a:lnTo>
                  <a:lnTo>
                    <a:pt x="27" y="293"/>
                  </a:lnTo>
                  <a:lnTo>
                    <a:pt x="27" y="293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5" y="288"/>
                  </a:lnTo>
                  <a:lnTo>
                    <a:pt x="25" y="288"/>
                  </a:lnTo>
                  <a:lnTo>
                    <a:pt x="25" y="288"/>
                  </a:lnTo>
                  <a:lnTo>
                    <a:pt x="25" y="288"/>
                  </a:lnTo>
                  <a:lnTo>
                    <a:pt x="25" y="290"/>
                  </a:lnTo>
                  <a:lnTo>
                    <a:pt x="25" y="290"/>
                  </a:lnTo>
                  <a:lnTo>
                    <a:pt x="25" y="290"/>
                  </a:lnTo>
                  <a:lnTo>
                    <a:pt x="25" y="290"/>
                  </a:lnTo>
                  <a:lnTo>
                    <a:pt x="25" y="290"/>
                  </a:lnTo>
                  <a:lnTo>
                    <a:pt x="25" y="293"/>
                  </a:lnTo>
                  <a:lnTo>
                    <a:pt x="25" y="293"/>
                  </a:lnTo>
                  <a:lnTo>
                    <a:pt x="25" y="293"/>
                  </a:lnTo>
                  <a:lnTo>
                    <a:pt x="23" y="293"/>
                  </a:lnTo>
                  <a:lnTo>
                    <a:pt x="23" y="293"/>
                  </a:lnTo>
                  <a:lnTo>
                    <a:pt x="23" y="293"/>
                  </a:lnTo>
                  <a:lnTo>
                    <a:pt x="23" y="293"/>
                  </a:lnTo>
                  <a:lnTo>
                    <a:pt x="23" y="290"/>
                  </a:lnTo>
                  <a:lnTo>
                    <a:pt x="25" y="290"/>
                  </a:lnTo>
                  <a:lnTo>
                    <a:pt x="25" y="288"/>
                  </a:lnTo>
                  <a:lnTo>
                    <a:pt x="25" y="288"/>
                  </a:lnTo>
                  <a:lnTo>
                    <a:pt x="25" y="288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30" y="286"/>
                  </a:lnTo>
                  <a:lnTo>
                    <a:pt x="30" y="284"/>
                  </a:lnTo>
                  <a:lnTo>
                    <a:pt x="30" y="284"/>
                  </a:lnTo>
                  <a:lnTo>
                    <a:pt x="30" y="284"/>
                  </a:lnTo>
                  <a:lnTo>
                    <a:pt x="32" y="284"/>
                  </a:lnTo>
                  <a:lnTo>
                    <a:pt x="32" y="284"/>
                  </a:lnTo>
                  <a:lnTo>
                    <a:pt x="32" y="284"/>
                  </a:lnTo>
                  <a:lnTo>
                    <a:pt x="32" y="281"/>
                  </a:lnTo>
                  <a:lnTo>
                    <a:pt x="34" y="281"/>
                  </a:lnTo>
                  <a:lnTo>
                    <a:pt x="34" y="281"/>
                  </a:lnTo>
                  <a:lnTo>
                    <a:pt x="34" y="279"/>
                  </a:lnTo>
                  <a:lnTo>
                    <a:pt x="34" y="279"/>
                  </a:lnTo>
                  <a:lnTo>
                    <a:pt x="34" y="279"/>
                  </a:lnTo>
                  <a:lnTo>
                    <a:pt x="36" y="277"/>
                  </a:lnTo>
                  <a:lnTo>
                    <a:pt x="39" y="277"/>
                  </a:lnTo>
                  <a:lnTo>
                    <a:pt x="39" y="275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1" y="272"/>
                  </a:lnTo>
                  <a:lnTo>
                    <a:pt x="43" y="272"/>
                  </a:lnTo>
                  <a:lnTo>
                    <a:pt x="43" y="272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3" y="270"/>
                  </a:lnTo>
                  <a:lnTo>
                    <a:pt x="45" y="270"/>
                  </a:lnTo>
                  <a:lnTo>
                    <a:pt x="45" y="268"/>
                  </a:lnTo>
                  <a:lnTo>
                    <a:pt x="45" y="268"/>
                  </a:lnTo>
                  <a:lnTo>
                    <a:pt x="45" y="268"/>
                  </a:lnTo>
                  <a:lnTo>
                    <a:pt x="45" y="268"/>
                  </a:lnTo>
                  <a:lnTo>
                    <a:pt x="45" y="266"/>
                  </a:lnTo>
                  <a:lnTo>
                    <a:pt x="48" y="266"/>
                  </a:lnTo>
                  <a:lnTo>
                    <a:pt x="48" y="263"/>
                  </a:lnTo>
                  <a:lnTo>
                    <a:pt x="48" y="263"/>
                  </a:lnTo>
                  <a:lnTo>
                    <a:pt x="48" y="263"/>
                  </a:lnTo>
                  <a:lnTo>
                    <a:pt x="48" y="261"/>
                  </a:lnTo>
                  <a:lnTo>
                    <a:pt x="48" y="261"/>
                  </a:lnTo>
                  <a:lnTo>
                    <a:pt x="48" y="261"/>
                  </a:lnTo>
                  <a:lnTo>
                    <a:pt x="48" y="261"/>
                  </a:lnTo>
                  <a:lnTo>
                    <a:pt x="48" y="261"/>
                  </a:lnTo>
                  <a:lnTo>
                    <a:pt x="48" y="261"/>
                  </a:lnTo>
                  <a:lnTo>
                    <a:pt x="48" y="261"/>
                  </a:lnTo>
                  <a:lnTo>
                    <a:pt x="48" y="259"/>
                  </a:lnTo>
                  <a:lnTo>
                    <a:pt x="48" y="259"/>
                  </a:lnTo>
                  <a:lnTo>
                    <a:pt x="48" y="259"/>
                  </a:lnTo>
                  <a:lnTo>
                    <a:pt x="48" y="259"/>
                  </a:lnTo>
                  <a:lnTo>
                    <a:pt x="48" y="259"/>
                  </a:lnTo>
                  <a:lnTo>
                    <a:pt x="48" y="257"/>
                  </a:lnTo>
                  <a:lnTo>
                    <a:pt x="48" y="257"/>
                  </a:lnTo>
                  <a:lnTo>
                    <a:pt x="48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2" y="248"/>
                  </a:lnTo>
                  <a:lnTo>
                    <a:pt x="52" y="245"/>
                  </a:lnTo>
                  <a:lnTo>
                    <a:pt x="52" y="245"/>
                  </a:lnTo>
                  <a:lnTo>
                    <a:pt x="52" y="245"/>
                  </a:lnTo>
                  <a:lnTo>
                    <a:pt x="52" y="243"/>
                  </a:lnTo>
                  <a:lnTo>
                    <a:pt x="52" y="241"/>
                  </a:lnTo>
                  <a:lnTo>
                    <a:pt x="54" y="239"/>
                  </a:lnTo>
                  <a:lnTo>
                    <a:pt x="54" y="239"/>
                  </a:lnTo>
                  <a:lnTo>
                    <a:pt x="54" y="239"/>
                  </a:lnTo>
                  <a:lnTo>
                    <a:pt x="54" y="239"/>
                  </a:lnTo>
                  <a:lnTo>
                    <a:pt x="54" y="236"/>
                  </a:lnTo>
                  <a:lnTo>
                    <a:pt x="57" y="236"/>
                  </a:lnTo>
                  <a:lnTo>
                    <a:pt x="54" y="236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4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7" y="230"/>
                  </a:lnTo>
                  <a:lnTo>
                    <a:pt x="57" y="230"/>
                  </a:lnTo>
                  <a:lnTo>
                    <a:pt x="59" y="230"/>
                  </a:lnTo>
                  <a:lnTo>
                    <a:pt x="59" y="230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3" y="227"/>
                  </a:lnTo>
                  <a:lnTo>
                    <a:pt x="66" y="225"/>
                  </a:lnTo>
                  <a:lnTo>
                    <a:pt x="66" y="225"/>
                  </a:lnTo>
                  <a:lnTo>
                    <a:pt x="68" y="225"/>
                  </a:lnTo>
                  <a:lnTo>
                    <a:pt x="70" y="223"/>
                  </a:lnTo>
                  <a:lnTo>
                    <a:pt x="75" y="221"/>
                  </a:lnTo>
                  <a:lnTo>
                    <a:pt x="75" y="218"/>
                  </a:lnTo>
                  <a:lnTo>
                    <a:pt x="77" y="216"/>
                  </a:lnTo>
                  <a:lnTo>
                    <a:pt x="77" y="216"/>
                  </a:lnTo>
                  <a:lnTo>
                    <a:pt x="77" y="214"/>
                  </a:lnTo>
                  <a:lnTo>
                    <a:pt x="77" y="212"/>
                  </a:lnTo>
                  <a:lnTo>
                    <a:pt x="79" y="209"/>
                  </a:lnTo>
                  <a:lnTo>
                    <a:pt x="79" y="207"/>
                  </a:lnTo>
                  <a:lnTo>
                    <a:pt x="81" y="205"/>
                  </a:lnTo>
                  <a:lnTo>
                    <a:pt x="81" y="205"/>
                  </a:lnTo>
                  <a:lnTo>
                    <a:pt x="81" y="205"/>
                  </a:lnTo>
                  <a:lnTo>
                    <a:pt x="81" y="205"/>
                  </a:lnTo>
                  <a:lnTo>
                    <a:pt x="81" y="205"/>
                  </a:lnTo>
                  <a:lnTo>
                    <a:pt x="81" y="203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198"/>
                  </a:lnTo>
                  <a:lnTo>
                    <a:pt x="84" y="196"/>
                  </a:lnTo>
                  <a:lnTo>
                    <a:pt x="84" y="196"/>
                  </a:lnTo>
                  <a:lnTo>
                    <a:pt x="84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8" y="194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90" y="189"/>
                  </a:lnTo>
                  <a:lnTo>
                    <a:pt x="95" y="189"/>
                  </a:lnTo>
                  <a:lnTo>
                    <a:pt x="97" y="189"/>
                  </a:lnTo>
                  <a:lnTo>
                    <a:pt x="101" y="189"/>
                  </a:lnTo>
                  <a:lnTo>
                    <a:pt x="106" y="187"/>
                  </a:lnTo>
                  <a:lnTo>
                    <a:pt x="106" y="187"/>
                  </a:lnTo>
                  <a:lnTo>
                    <a:pt x="106" y="187"/>
                  </a:lnTo>
                  <a:lnTo>
                    <a:pt x="106" y="187"/>
                  </a:lnTo>
                  <a:lnTo>
                    <a:pt x="108" y="187"/>
                  </a:lnTo>
                  <a:lnTo>
                    <a:pt x="117" y="182"/>
                  </a:lnTo>
                  <a:lnTo>
                    <a:pt x="119" y="180"/>
                  </a:lnTo>
                  <a:lnTo>
                    <a:pt x="119" y="180"/>
                  </a:lnTo>
                  <a:lnTo>
                    <a:pt x="119" y="178"/>
                  </a:lnTo>
                  <a:lnTo>
                    <a:pt x="119" y="178"/>
                  </a:lnTo>
                  <a:lnTo>
                    <a:pt x="122" y="178"/>
                  </a:lnTo>
                  <a:lnTo>
                    <a:pt x="122" y="178"/>
                  </a:lnTo>
                  <a:lnTo>
                    <a:pt x="122" y="178"/>
                  </a:lnTo>
                  <a:lnTo>
                    <a:pt x="122" y="178"/>
                  </a:lnTo>
                  <a:lnTo>
                    <a:pt x="122" y="176"/>
                  </a:lnTo>
                  <a:lnTo>
                    <a:pt x="124" y="176"/>
                  </a:lnTo>
                  <a:lnTo>
                    <a:pt x="124" y="173"/>
                  </a:lnTo>
                  <a:lnTo>
                    <a:pt x="124" y="173"/>
                  </a:lnTo>
                  <a:lnTo>
                    <a:pt x="124" y="173"/>
                  </a:lnTo>
                  <a:lnTo>
                    <a:pt x="124" y="173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6" y="173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33" y="169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37" y="167"/>
                  </a:lnTo>
                  <a:lnTo>
                    <a:pt x="140" y="162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42" y="160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4" y="158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6" y="151"/>
                  </a:lnTo>
                  <a:lnTo>
                    <a:pt x="149" y="151"/>
                  </a:lnTo>
                  <a:lnTo>
                    <a:pt x="149" y="151"/>
                  </a:lnTo>
                  <a:lnTo>
                    <a:pt x="149" y="151"/>
                  </a:lnTo>
                  <a:lnTo>
                    <a:pt x="149" y="151"/>
                  </a:lnTo>
                  <a:lnTo>
                    <a:pt x="149" y="149"/>
                  </a:lnTo>
                  <a:lnTo>
                    <a:pt x="151" y="149"/>
                  </a:lnTo>
                  <a:lnTo>
                    <a:pt x="153" y="146"/>
                  </a:lnTo>
                  <a:lnTo>
                    <a:pt x="155" y="142"/>
                  </a:lnTo>
                  <a:lnTo>
                    <a:pt x="155" y="137"/>
                  </a:lnTo>
                  <a:lnTo>
                    <a:pt x="155" y="137"/>
                  </a:lnTo>
                  <a:lnTo>
                    <a:pt x="158" y="135"/>
                  </a:lnTo>
                  <a:lnTo>
                    <a:pt x="158" y="133"/>
                  </a:lnTo>
                  <a:lnTo>
                    <a:pt x="158" y="133"/>
                  </a:lnTo>
                  <a:lnTo>
                    <a:pt x="158" y="133"/>
                  </a:lnTo>
                  <a:lnTo>
                    <a:pt x="158" y="131"/>
                  </a:lnTo>
                  <a:lnTo>
                    <a:pt x="158" y="131"/>
                  </a:lnTo>
                  <a:lnTo>
                    <a:pt x="155" y="131"/>
                  </a:lnTo>
                  <a:lnTo>
                    <a:pt x="155" y="131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5" y="129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3" y="126"/>
                  </a:lnTo>
                  <a:lnTo>
                    <a:pt x="151" y="126"/>
                  </a:lnTo>
                  <a:lnTo>
                    <a:pt x="151" y="126"/>
                  </a:lnTo>
                  <a:lnTo>
                    <a:pt x="153" y="124"/>
                  </a:lnTo>
                  <a:lnTo>
                    <a:pt x="153" y="124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22"/>
                  </a:lnTo>
                  <a:lnTo>
                    <a:pt x="153" y="117"/>
                  </a:lnTo>
                  <a:lnTo>
                    <a:pt x="153" y="115"/>
                  </a:lnTo>
                  <a:lnTo>
                    <a:pt x="153" y="115"/>
                  </a:lnTo>
                  <a:lnTo>
                    <a:pt x="153" y="115"/>
                  </a:lnTo>
                  <a:lnTo>
                    <a:pt x="153" y="111"/>
                  </a:lnTo>
                  <a:lnTo>
                    <a:pt x="153" y="111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5" y="104"/>
                  </a:lnTo>
                  <a:lnTo>
                    <a:pt x="158" y="102"/>
                  </a:lnTo>
                  <a:lnTo>
                    <a:pt x="158" y="102"/>
                  </a:lnTo>
                  <a:lnTo>
                    <a:pt x="160" y="99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95"/>
                  </a:lnTo>
                  <a:lnTo>
                    <a:pt x="164" y="93"/>
                  </a:lnTo>
                  <a:lnTo>
                    <a:pt x="164" y="93"/>
                  </a:lnTo>
                  <a:lnTo>
                    <a:pt x="164" y="93"/>
                  </a:lnTo>
                  <a:lnTo>
                    <a:pt x="164" y="93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4" y="86"/>
                  </a:lnTo>
                  <a:lnTo>
                    <a:pt x="167" y="84"/>
                  </a:lnTo>
                  <a:lnTo>
                    <a:pt x="167" y="84"/>
                  </a:lnTo>
                  <a:lnTo>
                    <a:pt x="167" y="84"/>
                  </a:lnTo>
                  <a:lnTo>
                    <a:pt x="167" y="81"/>
                  </a:lnTo>
                  <a:lnTo>
                    <a:pt x="167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7" y="81"/>
                  </a:lnTo>
                  <a:lnTo>
                    <a:pt x="169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3" y="72"/>
                  </a:lnTo>
                  <a:lnTo>
                    <a:pt x="176" y="70"/>
                  </a:lnTo>
                  <a:lnTo>
                    <a:pt x="178" y="68"/>
                  </a:lnTo>
                  <a:lnTo>
                    <a:pt x="178" y="68"/>
                  </a:lnTo>
                  <a:lnTo>
                    <a:pt x="178" y="66"/>
                  </a:lnTo>
                  <a:lnTo>
                    <a:pt x="178" y="66"/>
                  </a:lnTo>
                  <a:lnTo>
                    <a:pt x="180" y="66"/>
                  </a:lnTo>
                  <a:lnTo>
                    <a:pt x="180" y="63"/>
                  </a:lnTo>
                  <a:lnTo>
                    <a:pt x="180" y="63"/>
                  </a:lnTo>
                  <a:lnTo>
                    <a:pt x="180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5" y="63"/>
                  </a:lnTo>
                  <a:lnTo>
                    <a:pt x="185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9" y="61"/>
                  </a:lnTo>
                  <a:lnTo>
                    <a:pt x="191" y="59"/>
                  </a:lnTo>
                  <a:lnTo>
                    <a:pt x="194" y="59"/>
                  </a:lnTo>
                  <a:lnTo>
                    <a:pt x="194" y="59"/>
                  </a:lnTo>
                  <a:lnTo>
                    <a:pt x="194" y="57"/>
                  </a:lnTo>
                  <a:lnTo>
                    <a:pt x="194" y="57"/>
                  </a:lnTo>
                  <a:lnTo>
                    <a:pt x="196" y="57"/>
                  </a:lnTo>
                  <a:lnTo>
                    <a:pt x="196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198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7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3" y="54"/>
                  </a:lnTo>
                  <a:lnTo>
                    <a:pt x="203" y="54"/>
                  </a:lnTo>
                  <a:lnTo>
                    <a:pt x="203" y="54"/>
                  </a:lnTo>
                  <a:lnTo>
                    <a:pt x="203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7" y="52"/>
                  </a:lnTo>
                  <a:lnTo>
                    <a:pt x="207" y="52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50"/>
                  </a:lnTo>
                  <a:lnTo>
                    <a:pt x="209" y="50"/>
                  </a:lnTo>
                  <a:lnTo>
                    <a:pt x="209" y="50"/>
                  </a:lnTo>
                  <a:lnTo>
                    <a:pt x="212" y="50"/>
                  </a:lnTo>
                  <a:lnTo>
                    <a:pt x="214" y="48"/>
                  </a:lnTo>
                  <a:lnTo>
                    <a:pt x="216" y="45"/>
                  </a:lnTo>
                  <a:lnTo>
                    <a:pt x="216" y="43"/>
                  </a:lnTo>
                  <a:lnTo>
                    <a:pt x="218" y="41"/>
                  </a:lnTo>
                  <a:lnTo>
                    <a:pt x="221" y="36"/>
                  </a:lnTo>
                  <a:lnTo>
                    <a:pt x="221" y="36"/>
                  </a:lnTo>
                  <a:lnTo>
                    <a:pt x="221" y="34"/>
                  </a:lnTo>
                  <a:lnTo>
                    <a:pt x="223" y="34"/>
                  </a:lnTo>
                  <a:lnTo>
                    <a:pt x="227" y="25"/>
                  </a:lnTo>
                  <a:lnTo>
                    <a:pt x="227" y="21"/>
                  </a:lnTo>
                  <a:lnTo>
                    <a:pt x="232" y="12"/>
                  </a:lnTo>
                  <a:lnTo>
                    <a:pt x="232" y="9"/>
                  </a:lnTo>
                  <a:lnTo>
                    <a:pt x="232" y="9"/>
                  </a:lnTo>
                  <a:lnTo>
                    <a:pt x="232" y="9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4" y="7"/>
                  </a:lnTo>
                  <a:lnTo>
                    <a:pt x="234" y="7"/>
                  </a:lnTo>
                  <a:lnTo>
                    <a:pt x="234" y="7"/>
                  </a:lnTo>
                  <a:lnTo>
                    <a:pt x="234" y="7"/>
                  </a:lnTo>
                  <a:lnTo>
                    <a:pt x="234" y="5"/>
                  </a:lnTo>
                  <a:lnTo>
                    <a:pt x="234" y="5"/>
                  </a:lnTo>
                  <a:lnTo>
                    <a:pt x="234" y="5"/>
                  </a:lnTo>
                  <a:lnTo>
                    <a:pt x="234" y="3"/>
                  </a:lnTo>
                  <a:lnTo>
                    <a:pt x="234" y="3"/>
                  </a:lnTo>
                  <a:lnTo>
                    <a:pt x="236" y="5"/>
                  </a:lnTo>
                  <a:lnTo>
                    <a:pt x="236" y="5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39" y="3"/>
                  </a:lnTo>
                  <a:lnTo>
                    <a:pt x="241" y="3"/>
                  </a:lnTo>
                  <a:lnTo>
                    <a:pt x="241" y="3"/>
                  </a:lnTo>
                  <a:lnTo>
                    <a:pt x="241" y="3"/>
                  </a:lnTo>
                  <a:lnTo>
                    <a:pt x="243" y="3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3" y="0"/>
                  </a:lnTo>
                  <a:lnTo>
                    <a:pt x="245" y="0"/>
                  </a:lnTo>
                  <a:lnTo>
                    <a:pt x="245" y="0"/>
                  </a:lnTo>
                  <a:lnTo>
                    <a:pt x="245" y="3"/>
                  </a:lnTo>
                  <a:lnTo>
                    <a:pt x="245" y="3"/>
                  </a:lnTo>
                  <a:lnTo>
                    <a:pt x="245" y="3"/>
                  </a:lnTo>
                  <a:lnTo>
                    <a:pt x="245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4" name="Freeform 540"/>
            <p:cNvSpPr>
              <a:spLocks/>
            </p:cNvSpPr>
            <p:nvPr/>
          </p:nvSpPr>
          <p:spPr bwMode="auto">
            <a:xfrm>
              <a:off x="3484757" y="3297182"/>
              <a:ext cx="3343" cy="6686"/>
            </a:xfrm>
            <a:custGeom>
              <a:avLst/>
              <a:gdLst>
                <a:gd name="T0" fmla="*/ 2 w 2"/>
                <a:gd name="T1" fmla="*/ 0 h 4"/>
                <a:gd name="T2" fmla="*/ 2 w 2"/>
                <a:gd name="T3" fmla="*/ 0 h 4"/>
                <a:gd name="T4" fmla="*/ 2 w 2"/>
                <a:gd name="T5" fmla="*/ 0 h 4"/>
                <a:gd name="T6" fmla="*/ 2 w 2"/>
                <a:gd name="T7" fmla="*/ 2 h 4"/>
                <a:gd name="T8" fmla="*/ 2 w 2"/>
                <a:gd name="T9" fmla="*/ 2 h 4"/>
                <a:gd name="T10" fmla="*/ 2 w 2"/>
                <a:gd name="T11" fmla="*/ 2 h 4"/>
                <a:gd name="T12" fmla="*/ 2 w 2"/>
                <a:gd name="T13" fmla="*/ 2 h 4"/>
                <a:gd name="T14" fmla="*/ 2 w 2"/>
                <a:gd name="T15" fmla="*/ 2 h 4"/>
                <a:gd name="T16" fmla="*/ 2 w 2"/>
                <a:gd name="T17" fmla="*/ 2 h 4"/>
                <a:gd name="T18" fmla="*/ 2 w 2"/>
                <a:gd name="T19" fmla="*/ 2 h 4"/>
                <a:gd name="T20" fmla="*/ 2 w 2"/>
                <a:gd name="T21" fmla="*/ 4 h 4"/>
                <a:gd name="T22" fmla="*/ 2 w 2"/>
                <a:gd name="T23" fmla="*/ 4 h 4"/>
                <a:gd name="T24" fmla="*/ 2 w 2"/>
                <a:gd name="T25" fmla="*/ 4 h 4"/>
                <a:gd name="T26" fmla="*/ 2 w 2"/>
                <a:gd name="T27" fmla="*/ 4 h 4"/>
                <a:gd name="T28" fmla="*/ 2 w 2"/>
                <a:gd name="T29" fmla="*/ 4 h 4"/>
                <a:gd name="T30" fmla="*/ 2 w 2"/>
                <a:gd name="T31" fmla="*/ 4 h 4"/>
                <a:gd name="T32" fmla="*/ 2 w 2"/>
                <a:gd name="T33" fmla="*/ 4 h 4"/>
                <a:gd name="T34" fmla="*/ 2 w 2"/>
                <a:gd name="T35" fmla="*/ 4 h 4"/>
                <a:gd name="T36" fmla="*/ 0 w 2"/>
                <a:gd name="T37" fmla="*/ 4 h 4"/>
                <a:gd name="T38" fmla="*/ 0 w 2"/>
                <a:gd name="T39" fmla="*/ 2 h 4"/>
                <a:gd name="T40" fmla="*/ 0 w 2"/>
                <a:gd name="T41" fmla="*/ 2 h 4"/>
                <a:gd name="T42" fmla="*/ 2 w 2"/>
                <a:gd name="T43" fmla="*/ 0 h 4"/>
                <a:gd name="T44" fmla="*/ 2 w 2"/>
                <a:gd name="T4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" h="4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5" name="Freeform 541"/>
            <p:cNvSpPr>
              <a:spLocks/>
            </p:cNvSpPr>
            <p:nvPr/>
          </p:nvSpPr>
          <p:spPr bwMode="auto">
            <a:xfrm>
              <a:off x="6229237" y="2235828"/>
              <a:ext cx="65186" cy="68528"/>
            </a:xfrm>
            <a:custGeom>
              <a:avLst/>
              <a:gdLst>
                <a:gd name="T0" fmla="*/ 14 w 39"/>
                <a:gd name="T1" fmla="*/ 0 h 41"/>
                <a:gd name="T2" fmla="*/ 18 w 39"/>
                <a:gd name="T3" fmla="*/ 5 h 41"/>
                <a:gd name="T4" fmla="*/ 21 w 39"/>
                <a:gd name="T5" fmla="*/ 7 h 41"/>
                <a:gd name="T6" fmla="*/ 25 w 39"/>
                <a:gd name="T7" fmla="*/ 9 h 41"/>
                <a:gd name="T8" fmla="*/ 27 w 39"/>
                <a:gd name="T9" fmla="*/ 12 h 41"/>
                <a:gd name="T10" fmla="*/ 30 w 39"/>
                <a:gd name="T11" fmla="*/ 9 h 41"/>
                <a:gd name="T12" fmla="*/ 32 w 39"/>
                <a:gd name="T13" fmla="*/ 12 h 41"/>
                <a:gd name="T14" fmla="*/ 39 w 39"/>
                <a:gd name="T15" fmla="*/ 16 h 41"/>
                <a:gd name="T16" fmla="*/ 36 w 39"/>
                <a:gd name="T17" fmla="*/ 18 h 41"/>
                <a:gd name="T18" fmla="*/ 34 w 39"/>
                <a:gd name="T19" fmla="*/ 18 h 41"/>
                <a:gd name="T20" fmla="*/ 32 w 39"/>
                <a:gd name="T21" fmla="*/ 21 h 41"/>
                <a:gd name="T22" fmla="*/ 34 w 39"/>
                <a:gd name="T23" fmla="*/ 23 h 41"/>
                <a:gd name="T24" fmla="*/ 32 w 39"/>
                <a:gd name="T25" fmla="*/ 23 h 41"/>
                <a:gd name="T26" fmla="*/ 30 w 39"/>
                <a:gd name="T27" fmla="*/ 25 h 41"/>
                <a:gd name="T28" fmla="*/ 27 w 39"/>
                <a:gd name="T29" fmla="*/ 25 h 41"/>
                <a:gd name="T30" fmla="*/ 27 w 39"/>
                <a:gd name="T31" fmla="*/ 23 h 41"/>
                <a:gd name="T32" fmla="*/ 27 w 39"/>
                <a:gd name="T33" fmla="*/ 21 h 41"/>
                <a:gd name="T34" fmla="*/ 25 w 39"/>
                <a:gd name="T35" fmla="*/ 23 h 41"/>
                <a:gd name="T36" fmla="*/ 23 w 39"/>
                <a:gd name="T37" fmla="*/ 25 h 41"/>
                <a:gd name="T38" fmla="*/ 23 w 39"/>
                <a:gd name="T39" fmla="*/ 27 h 41"/>
                <a:gd name="T40" fmla="*/ 21 w 39"/>
                <a:gd name="T41" fmla="*/ 30 h 41"/>
                <a:gd name="T42" fmla="*/ 21 w 39"/>
                <a:gd name="T43" fmla="*/ 34 h 41"/>
                <a:gd name="T44" fmla="*/ 21 w 39"/>
                <a:gd name="T45" fmla="*/ 36 h 41"/>
                <a:gd name="T46" fmla="*/ 21 w 39"/>
                <a:gd name="T47" fmla="*/ 36 h 41"/>
                <a:gd name="T48" fmla="*/ 21 w 39"/>
                <a:gd name="T49" fmla="*/ 39 h 41"/>
                <a:gd name="T50" fmla="*/ 21 w 39"/>
                <a:gd name="T51" fmla="*/ 41 h 41"/>
                <a:gd name="T52" fmla="*/ 18 w 39"/>
                <a:gd name="T53" fmla="*/ 39 h 41"/>
                <a:gd name="T54" fmla="*/ 16 w 39"/>
                <a:gd name="T55" fmla="*/ 36 h 41"/>
                <a:gd name="T56" fmla="*/ 16 w 39"/>
                <a:gd name="T57" fmla="*/ 34 h 41"/>
                <a:gd name="T58" fmla="*/ 14 w 39"/>
                <a:gd name="T59" fmla="*/ 34 h 41"/>
                <a:gd name="T60" fmla="*/ 14 w 39"/>
                <a:gd name="T61" fmla="*/ 32 h 41"/>
                <a:gd name="T62" fmla="*/ 12 w 39"/>
                <a:gd name="T63" fmla="*/ 30 h 41"/>
                <a:gd name="T64" fmla="*/ 9 w 39"/>
                <a:gd name="T65" fmla="*/ 30 h 41"/>
                <a:gd name="T66" fmla="*/ 9 w 39"/>
                <a:gd name="T67" fmla="*/ 30 h 41"/>
                <a:gd name="T68" fmla="*/ 7 w 39"/>
                <a:gd name="T69" fmla="*/ 27 h 41"/>
                <a:gd name="T70" fmla="*/ 7 w 39"/>
                <a:gd name="T71" fmla="*/ 27 h 41"/>
                <a:gd name="T72" fmla="*/ 5 w 39"/>
                <a:gd name="T73" fmla="*/ 27 h 41"/>
                <a:gd name="T74" fmla="*/ 5 w 39"/>
                <a:gd name="T75" fmla="*/ 27 h 41"/>
                <a:gd name="T76" fmla="*/ 7 w 39"/>
                <a:gd name="T77" fmla="*/ 27 h 41"/>
                <a:gd name="T78" fmla="*/ 7 w 39"/>
                <a:gd name="T79" fmla="*/ 25 h 41"/>
                <a:gd name="T80" fmla="*/ 5 w 39"/>
                <a:gd name="T81" fmla="*/ 27 h 41"/>
                <a:gd name="T82" fmla="*/ 3 w 39"/>
                <a:gd name="T83" fmla="*/ 25 h 41"/>
                <a:gd name="T84" fmla="*/ 3 w 39"/>
                <a:gd name="T85" fmla="*/ 23 h 41"/>
                <a:gd name="T86" fmla="*/ 3 w 39"/>
                <a:gd name="T87" fmla="*/ 23 h 41"/>
                <a:gd name="T88" fmla="*/ 5 w 39"/>
                <a:gd name="T89" fmla="*/ 21 h 41"/>
                <a:gd name="T90" fmla="*/ 3 w 39"/>
                <a:gd name="T91" fmla="*/ 18 h 41"/>
                <a:gd name="T92" fmla="*/ 3 w 39"/>
                <a:gd name="T93" fmla="*/ 16 h 41"/>
                <a:gd name="T94" fmla="*/ 5 w 39"/>
                <a:gd name="T95" fmla="*/ 12 h 41"/>
                <a:gd name="T96" fmla="*/ 5 w 39"/>
                <a:gd name="T97" fmla="*/ 7 h 41"/>
                <a:gd name="T98" fmla="*/ 7 w 39"/>
                <a:gd name="T99" fmla="*/ 5 h 41"/>
                <a:gd name="T100" fmla="*/ 12 w 39"/>
                <a:gd name="T101" fmla="*/ 5 h 41"/>
                <a:gd name="T102" fmla="*/ 12 w 39"/>
                <a:gd name="T103" fmla="*/ 7 h 41"/>
                <a:gd name="T104" fmla="*/ 12 w 39"/>
                <a:gd name="T105" fmla="*/ 5 h 41"/>
                <a:gd name="T106" fmla="*/ 9 w 39"/>
                <a:gd name="T107" fmla="*/ 3 h 41"/>
                <a:gd name="T108" fmla="*/ 9 w 39"/>
                <a:gd name="T109" fmla="*/ 3 h 41"/>
                <a:gd name="T110" fmla="*/ 9 w 39"/>
                <a:gd name="T11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" h="41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3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3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2" y="12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4" y="5"/>
                  </a:lnTo>
                  <a:lnTo>
                    <a:pt x="12" y="5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6" name="Freeform 542"/>
            <p:cNvSpPr>
              <a:spLocks/>
            </p:cNvSpPr>
            <p:nvPr/>
          </p:nvSpPr>
          <p:spPr bwMode="auto">
            <a:xfrm>
              <a:off x="8336903" y="1901543"/>
              <a:ext cx="1042969" cy="409499"/>
            </a:xfrm>
            <a:custGeom>
              <a:avLst/>
              <a:gdLst>
                <a:gd name="T0" fmla="*/ 224 w 624"/>
                <a:gd name="T1" fmla="*/ 16 h 245"/>
                <a:gd name="T2" fmla="*/ 240 w 624"/>
                <a:gd name="T3" fmla="*/ 27 h 245"/>
                <a:gd name="T4" fmla="*/ 254 w 624"/>
                <a:gd name="T5" fmla="*/ 41 h 245"/>
                <a:gd name="T6" fmla="*/ 287 w 624"/>
                <a:gd name="T7" fmla="*/ 45 h 245"/>
                <a:gd name="T8" fmla="*/ 303 w 624"/>
                <a:gd name="T9" fmla="*/ 39 h 245"/>
                <a:gd name="T10" fmla="*/ 332 w 624"/>
                <a:gd name="T11" fmla="*/ 43 h 245"/>
                <a:gd name="T12" fmla="*/ 355 w 624"/>
                <a:gd name="T13" fmla="*/ 52 h 245"/>
                <a:gd name="T14" fmla="*/ 364 w 624"/>
                <a:gd name="T15" fmla="*/ 59 h 245"/>
                <a:gd name="T16" fmla="*/ 393 w 624"/>
                <a:gd name="T17" fmla="*/ 66 h 245"/>
                <a:gd name="T18" fmla="*/ 413 w 624"/>
                <a:gd name="T19" fmla="*/ 68 h 245"/>
                <a:gd name="T20" fmla="*/ 447 w 624"/>
                <a:gd name="T21" fmla="*/ 61 h 245"/>
                <a:gd name="T22" fmla="*/ 458 w 624"/>
                <a:gd name="T23" fmla="*/ 52 h 245"/>
                <a:gd name="T24" fmla="*/ 485 w 624"/>
                <a:gd name="T25" fmla="*/ 48 h 245"/>
                <a:gd name="T26" fmla="*/ 521 w 624"/>
                <a:gd name="T27" fmla="*/ 77 h 245"/>
                <a:gd name="T28" fmla="*/ 539 w 624"/>
                <a:gd name="T29" fmla="*/ 99 h 245"/>
                <a:gd name="T30" fmla="*/ 573 w 624"/>
                <a:gd name="T31" fmla="*/ 95 h 245"/>
                <a:gd name="T32" fmla="*/ 602 w 624"/>
                <a:gd name="T33" fmla="*/ 111 h 245"/>
                <a:gd name="T34" fmla="*/ 620 w 624"/>
                <a:gd name="T35" fmla="*/ 122 h 245"/>
                <a:gd name="T36" fmla="*/ 624 w 624"/>
                <a:gd name="T37" fmla="*/ 126 h 245"/>
                <a:gd name="T38" fmla="*/ 613 w 624"/>
                <a:gd name="T39" fmla="*/ 128 h 245"/>
                <a:gd name="T40" fmla="*/ 600 w 624"/>
                <a:gd name="T41" fmla="*/ 126 h 245"/>
                <a:gd name="T42" fmla="*/ 584 w 624"/>
                <a:gd name="T43" fmla="*/ 131 h 245"/>
                <a:gd name="T44" fmla="*/ 570 w 624"/>
                <a:gd name="T45" fmla="*/ 135 h 245"/>
                <a:gd name="T46" fmla="*/ 564 w 624"/>
                <a:gd name="T47" fmla="*/ 151 h 245"/>
                <a:gd name="T48" fmla="*/ 539 w 624"/>
                <a:gd name="T49" fmla="*/ 167 h 245"/>
                <a:gd name="T50" fmla="*/ 510 w 624"/>
                <a:gd name="T51" fmla="*/ 167 h 245"/>
                <a:gd name="T52" fmla="*/ 494 w 624"/>
                <a:gd name="T53" fmla="*/ 176 h 245"/>
                <a:gd name="T54" fmla="*/ 512 w 624"/>
                <a:gd name="T55" fmla="*/ 194 h 245"/>
                <a:gd name="T56" fmla="*/ 498 w 624"/>
                <a:gd name="T57" fmla="*/ 214 h 245"/>
                <a:gd name="T58" fmla="*/ 478 w 624"/>
                <a:gd name="T59" fmla="*/ 227 h 245"/>
                <a:gd name="T60" fmla="*/ 406 w 624"/>
                <a:gd name="T61" fmla="*/ 245 h 245"/>
                <a:gd name="T62" fmla="*/ 298 w 624"/>
                <a:gd name="T63" fmla="*/ 221 h 245"/>
                <a:gd name="T64" fmla="*/ 195 w 624"/>
                <a:gd name="T65" fmla="*/ 189 h 245"/>
                <a:gd name="T66" fmla="*/ 173 w 624"/>
                <a:gd name="T67" fmla="*/ 178 h 245"/>
                <a:gd name="T68" fmla="*/ 146 w 624"/>
                <a:gd name="T69" fmla="*/ 167 h 245"/>
                <a:gd name="T70" fmla="*/ 128 w 624"/>
                <a:gd name="T71" fmla="*/ 167 h 245"/>
                <a:gd name="T72" fmla="*/ 110 w 624"/>
                <a:gd name="T73" fmla="*/ 162 h 245"/>
                <a:gd name="T74" fmla="*/ 96 w 624"/>
                <a:gd name="T75" fmla="*/ 158 h 245"/>
                <a:gd name="T76" fmla="*/ 87 w 624"/>
                <a:gd name="T77" fmla="*/ 131 h 245"/>
                <a:gd name="T78" fmla="*/ 81 w 624"/>
                <a:gd name="T79" fmla="*/ 122 h 245"/>
                <a:gd name="T80" fmla="*/ 65 w 624"/>
                <a:gd name="T81" fmla="*/ 108 h 245"/>
                <a:gd name="T82" fmla="*/ 54 w 624"/>
                <a:gd name="T83" fmla="*/ 99 h 245"/>
                <a:gd name="T84" fmla="*/ 45 w 624"/>
                <a:gd name="T85" fmla="*/ 95 h 245"/>
                <a:gd name="T86" fmla="*/ 27 w 624"/>
                <a:gd name="T87" fmla="*/ 93 h 245"/>
                <a:gd name="T88" fmla="*/ 13 w 624"/>
                <a:gd name="T89" fmla="*/ 86 h 245"/>
                <a:gd name="T90" fmla="*/ 6 w 624"/>
                <a:gd name="T91" fmla="*/ 79 h 245"/>
                <a:gd name="T92" fmla="*/ 0 w 624"/>
                <a:gd name="T93" fmla="*/ 70 h 245"/>
                <a:gd name="T94" fmla="*/ 9 w 624"/>
                <a:gd name="T95" fmla="*/ 63 h 245"/>
                <a:gd name="T96" fmla="*/ 18 w 624"/>
                <a:gd name="T97" fmla="*/ 63 h 245"/>
                <a:gd name="T98" fmla="*/ 29 w 624"/>
                <a:gd name="T99" fmla="*/ 57 h 245"/>
                <a:gd name="T100" fmla="*/ 31 w 624"/>
                <a:gd name="T101" fmla="*/ 48 h 245"/>
                <a:gd name="T102" fmla="*/ 45 w 624"/>
                <a:gd name="T103" fmla="*/ 41 h 245"/>
                <a:gd name="T104" fmla="*/ 63 w 624"/>
                <a:gd name="T105" fmla="*/ 32 h 245"/>
                <a:gd name="T106" fmla="*/ 74 w 624"/>
                <a:gd name="T107" fmla="*/ 32 h 245"/>
                <a:gd name="T108" fmla="*/ 108 w 624"/>
                <a:gd name="T109" fmla="*/ 45 h 245"/>
                <a:gd name="T110" fmla="*/ 128 w 624"/>
                <a:gd name="T111" fmla="*/ 52 h 245"/>
                <a:gd name="T112" fmla="*/ 141 w 624"/>
                <a:gd name="T113" fmla="*/ 50 h 245"/>
                <a:gd name="T114" fmla="*/ 152 w 624"/>
                <a:gd name="T115" fmla="*/ 54 h 245"/>
                <a:gd name="T116" fmla="*/ 170 w 624"/>
                <a:gd name="T117" fmla="*/ 52 h 245"/>
                <a:gd name="T118" fmla="*/ 175 w 624"/>
                <a:gd name="T119" fmla="*/ 39 h 245"/>
                <a:gd name="T120" fmla="*/ 159 w 624"/>
                <a:gd name="T121" fmla="*/ 25 h 245"/>
                <a:gd name="T122" fmla="*/ 159 w 624"/>
                <a:gd name="T123" fmla="*/ 14 h 245"/>
                <a:gd name="T124" fmla="*/ 173 w 624"/>
                <a:gd name="T125" fmla="*/ 5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24" h="245">
                  <a:moveTo>
                    <a:pt x="188" y="9"/>
                  </a:moveTo>
                  <a:lnTo>
                    <a:pt x="191" y="9"/>
                  </a:lnTo>
                  <a:lnTo>
                    <a:pt x="191" y="9"/>
                  </a:lnTo>
                  <a:lnTo>
                    <a:pt x="193" y="12"/>
                  </a:lnTo>
                  <a:lnTo>
                    <a:pt x="200" y="9"/>
                  </a:lnTo>
                  <a:lnTo>
                    <a:pt x="200" y="12"/>
                  </a:lnTo>
                  <a:lnTo>
                    <a:pt x="202" y="12"/>
                  </a:lnTo>
                  <a:lnTo>
                    <a:pt x="211" y="14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4" y="16"/>
                  </a:lnTo>
                  <a:lnTo>
                    <a:pt x="224" y="16"/>
                  </a:lnTo>
                  <a:lnTo>
                    <a:pt x="224" y="16"/>
                  </a:lnTo>
                  <a:lnTo>
                    <a:pt x="224" y="16"/>
                  </a:lnTo>
                  <a:lnTo>
                    <a:pt x="227" y="18"/>
                  </a:lnTo>
                  <a:lnTo>
                    <a:pt x="227" y="18"/>
                  </a:lnTo>
                  <a:lnTo>
                    <a:pt x="229" y="18"/>
                  </a:lnTo>
                  <a:lnTo>
                    <a:pt x="229" y="18"/>
                  </a:lnTo>
                  <a:lnTo>
                    <a:pt x="229" y="18"/>
                  </a:lnTo>
                  <a:lnTo>
                    <a:pt x="231" y="18"/>
                  </a:lnTo>
                  <a:lnTo>
                    <a:pt x="231" y="18"/>
                  </a:lnTo>
                  <a:lnTo>
                    <a:pt x="233" y="18"/>
                  </a:lnTo>
                  <a:lnTo>
                    <a:pt x="233" y="18"/>
                  </a:lnTo>
                  <a:lnTo>
                    <a:pt x="236" y="21"/>
                  </a:lnTo>
                  <a:lnTo>
                    <a:pt x="236" y="21"/>
                  </a:lnTo>
                  <a:lnTo>
                    <a:pt x="236" y="21"/>
                  </a:lnTo>
                  <a:lnTo>
                    <a:pt x="236" y="21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6" y="23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40" y="27"/>
                  </a:lnTo>
                  <a:lnTo>
                    <a:pt x="240" y="27"/>
                  </a:lnTo>
                  <a:lnTo>
                    <a:pt x="240" y="27"/>
                  </a:lnTo>
                  <a:lnTo>
                    <a:pt x="240" y="27"/>
                  </a:lnTo>
                  <a:lnTo>
                    <a:pt x="240" y="27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2" y="30"/>
                  </a:lnTo>
                  <a:lnTo>
                    <a:pt x="242" y="30"/>
                  </a:lnTo>
                  <a:lnTo>
                    <a:pt x="242" y="32"/>
                  </a:lnTo>
                  <a:lnTo>
                    <a:pt x="242" y="32"/>
                  </a:lnTo>
                  <a:lnTo>
                    <a:pt x="245" y="32"/>
                  </a:lnTo>
                  <a:lnTo>
                    <a:pt x="245" y="32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9" y="39"/>
                  </a:lnTo>
                  <a:lnTo>
                    <a:pt x="249" y="39"/>
                  </a:lnTo>
                  <a:lnTo>
                    <a:pt x="251" y="39"/>
                  </a:lnTo>
                  <a:lnTo>
                    <a:pt x="251" y="39"/>
                  </a:lnTo>
                  <a:lnTo>
                    <a:pt x="254" y="41"/>
                  </a:lnTo>
                  <a:lnTo>
                    <a:pt x="256" y="41"/>
                  </a:lnTo>
                  <a:lnTo>
                    <a:pt x="258" y="41"/>
                  </a:lnTo>
                  <a:lnTo>
                    <a:pt x="260" y="43"/>
                  </a:lnTo>
                  <a:lnTo>
                    <a:pt x="263" y="43"/>
                  </a:lnTo>
                  <a:lnTo>
                    <a:pt x="263" y="43"/>
                  </a:lnTo>
                  <a:lnTo>
                    <a:pt x="265" y="43"/>
                  </a:lnTo>
                  <a:lnTo>
                    <a:pt x="267" y="43"/>
                  </a:lnTo>
                  <a:lnTo>
                    <a:pt x="269" y="45"/>
                  </a:lnTo>
                  <a:lnTo>
                    <a:pt x="269" y="45"/>
                  </a:lnTo>
                  <a:lnTo>
                    <a:pt x="269" y="45"/>
                  </a:lnTo>
                  <a:lnTo>
                    <a:pt x="272" y="45"/>
                  </a:lnTo>
                  <a:lnTo>
                    <a:pt x="272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8" y="48"/>
                  </a:lnTo>
                  <a:lnTo>
                    <a:pt x="280" y="45"/>
                  </a:lnTo>
                  <a:lnTo>
                    <a:pt x="280" y="45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8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9" y="43"/>
                  </a:lnTo>
                  <a:lnTo>
                    <a:pt x="289" y="43"/>
                  </a:lnTo>
                  <a:lnTo>
                    <a:pt x="289" y="43"/>
                  </a:lnTo>
                  <a:lnTo>
                    <a:pt x="292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6" y="41"/>
                  </a:lnTo>
                  <a:lnTo>
                    <a:pt x="296" y="41"/>
                  </a:lnTo>
                  <a:lnTo>
                    <a:pt x="296" y="41"/>
                  </a:lnTo>
                  <a:lnTo>
                    <a:pt x="296" y="41"/>
                  </a:lnTo>
                  <a:lnTo>
                    <a:pt x="298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3" y="39"/>
                  </a:lnTo>
                  <a:lnTo>
                    <a:pt x="303" y="39"/>
                  </a:lnTo>
                  <a:lnTo>
                    <a:pt x="303" y="39"/>
                  </a:lnTo>
                  <a:lnTo>
                    <a:pt x="310" y="41"/>
                  </a:lnTo>
                  <a:lnTo>
                    <a:pt x="312" y="41"/>
                  </a:lnTo>
                  <a:lnTo>
                    <a:pt x="312" y="41"/>
                  </a:lnTo>
                  <a:lnTo>
                    <a:pt x="314" y="41"/>
                  </a:lnTo>
                  <a:lnTo>
                    <a:pt x="314" y="41"/>
                  </a:lnTo>
                  <a:lnTo>
                    <a:pt x="316" y="41"/>
                  </a:lnTo>
                  <a:lnTo>
                    <a:pt x="316" y="41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1"/>
                  </a:lnTo>
                  <a:lnTo>
                    <a:pt x="319" y="43"/>
                  </a:lnTo>
                  <a:lnTo>
                    <a:pt x="319" y="43"/>
                  </a:lnTo>
                  <a:lnTo>
                    <a:pt x="319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1" y="43"/>
                  </a:lnTo>
                  <a:lnTo>
                    <a:pt x="323" y="43"/>
                  </a:lnTo>
                  <a:lnTo>
                    <a:pt x="323" y="43"/>
                  </a:lnTo>
                  <a:lnTo>
                    <a:pt x="325" y="43"/>
                  </a:lnTo>
                  <a:lnTo>
                    <a:pt x="328" y="43"/>
                  </a:lnTo>
                  <a:lnTo>
                    <a:pt x="330" y="43"/>
                  </a:lnTo>
                  <a:lnTo>
                    <a:pt x="332" y="43"/>
                  </a:lnTo>
                  <a:lnTo>
                    <a:pt x="332" y="43"/>
                  </a:lnTo>
                  <a:lnTo>
                    <a:pt x="337" y="45"/>
                  </a:lnTo>
                  <a:lnTo>
                    <a:pt x="337" y="45"/>
                  </a:lnTo>
                  <a:lnTo>
                    <a:pt x="337" y="45"/>
                  </a:lnTo>
                  <a:lnTo>
                    <a:pt x="339" y="48"/>
                  </a:lnTo>
                  <a:lnTo>
                    <a:pt x="339" y="48"/>
                  </a:lnTo>
                  <a:lnTo>
                    <a:pt x="339" y="48"/>
                  </a:lnTo>
                  <a:lnTo>
                    <a:pt x="339" y="48"/>
                  </a:lnTo>
                  <a:lnTo>
                    <a:pt x="339" y="48"/>
                  </a:lnTo>
                  <a:lnTo>
                    <a:pt x="341" y="48"/>
                  </a:lnTo>
                  <a:lnTo>
                    <a:pt x="341" y="48"/>
                  </a:lnTo>
                  <a:lnTo>
                    <a:pt x="341" y="48"/>
                  </a:lnTo>
                  <a:lnTo>
                    <a:pt x="341" y="50"/>
                  </a:lnTo>
                  <a:lnTo>
                    <a:pt x="341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6" y="50"/>
                  </a:lnTo>
                  <a:lnTo>
                    <a:pt x="348" y="50"/>
                  </a:lnTo>
                  <a:lnTo>
                    <a:pt x="355" y="50"/>
                  </a:lnTo>
                  <a:lnTo>
                    <a:pt x="355" y="50"/>
                  </a:lnTo>
                  <a:lnTo>
                    <a:pt x="355" y="52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7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59" y="54"/>
                  </a:lnTo>
                  <a:lnTo>
                    <a:pt x="359" y="54"/>
                  </a:lnTo>
                  <a:lnTo>
                    <a:pt x="361" y="54"/>
                  </a:lnTo>
                  <a:lnTo>
                    <a:pt x="361" y="57"/>
                  </a:lnTo>
                  <a:lnTo>
                    <a:pt x="361" y="57"/>
                  </a:lnTo>
                  <a:lnTo>
                    <a:pt x="361" y="57"/>
                  </a:lnTo>
                  <a:lnTo>
                    <a:pt x="361" y="57"/>
                  </a:lnTo>
                  <a:lnTo>
                    <a:pt x="361" y="57"/>
                  </a:lnTo>
                  <a:lnTo>
                    <a:pt x="361" y="59"/>
                  </a:lnTo>
                  <a:lnTo>
                    <a:pt x="364" y="59"/>
                  </a:lnTo>
                  <a:lnTo>
                    <a:pt x="364" y="59"/>
                  </a:lnTo>
                  <a:lnTo>
                    <a:pt x="364" y="59"/>
                  </a:lnTo>
                  <a:lnTo>
                    <a:pt x="364" y="59"/>
                  </a:lnTo>
                  <a:lnTo>
                    <a:pt x="364" y="59"/>
                  </a:lnTo>
                  <a:lnTo>
                    <a:pt x="364" y="59"/>
                  </a:lnTo>
                  <a:lnTo>
                    <a:pt x="366" y="59"/>
                  </a:lnTo>
                  <a:lnTo>
                    <a:pt x="366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70" y="61"/>
                  </a:lnTo>
                  <a:lnTo>
                    <a:pt x="373" y="63"/>
                  </a:lnTo>
                  <a:lnTo>
                    <a:pt x="377" y="66"/>
                  </a:lnTo>
                  <a:lnTo>
                    <a:pt x="377" y="66"/>
                  </a:lnTo>
                  <a:lnTo>
                    <a:pt x="379" y="66"/>
                  </a:lnTo>
                  <a:lnTo>
                    <a:pt x="382" y="66"/>
                  </a:lnTo>
                  <a:lnTo>
                    <a:pt x="384" y="66"/>
                  </a:lnTo>
                  <a:lnTo>
                    <a:pt x="384" y="66"/>
                  </a:lnTo>
                  <a:lnTo>
                    <a:pt x="386" y="66"/>
                  </a:lnTo>
                  <a:lnTo>
                    <a:pt x="386" y="66"/>
                  </a:lnTo>
                  <a:lnTo>
                    <a:pt x="388" y="66"/>
                  </a:lnTo>
                  <a:lnTo>
                    <a:pt x="391" y="66"/>
                  </a:lnTo>
                  <a:lnTo>
                    <a:pt x="393" y="66"/>
                  </a:lnTo>
                  <a:lnTo>
                    <a:pt x="393" y="66"/>
                  </a:lnTo>
                  <a:lnTo>
                    <a:pt x="393" y="66"/>
                  </a:lnTo>
                  <a:lnTo>
                    <a:pt x="395" y="66"/>
                  </a:lnTo>
                  <a:lnTo>
                    <a:pt x="395" y="66"/>
                  </a:lnTo>
                  <a:lnTo>
                    <a:pt x="395" y="66"/>
                  </a:lnTo>
                  <a:lnTo>
                    <a:pt x="395" y="66"/>
                  </a:lnTo>
                  <a:lnTo>
                    <a:pt x="395" y="68"/>
                  </a:lnTo>
                  <a:lnTo>
                    <a:pt x="395" y="68"/>
                  </a:lnTo>
                  <a:lnTo>
                    <a:pt x="395" y="68"/>
                  </a:lnTo>
                  <a:lnTo>
                    <a:pt x="397" y="68"/>
                  </a:lnTo>
                  <a:lnTo>
                    <a:pt x="400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4" y="68"/>
                  </a:lnTo>
                  <a:lnTo>
                    <a:pt x="411" y="70"/>
                  </a:lnTo>
                  <a:lnTo>
                    <a:pt x="411" y="70"/>
                  </a:lnTo>
                  <a:lnTo>
                    <a:pt x="411" y="70"/>
                  </a:lnTo>
                  <a:lnTo>
                    <a:pt x="411" y="68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3" y="68"/>
                  </a:lnTo>
                  <a:lnTo>
                    <a:pt x="415" y="68"/>
                  </a:lnTo>
                  <a:lnTo>
                    <a:pt x="415" y="68"/>
                  </a:lnTo>
                  <a:lnTo>
                    <a:pt x="418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2" y="70"/>
                  </a:lnTo>
                  <a:lnTo>
                    <a:pt x="424" y="68"/>
                  </a:lnTo>
                  <a:lnTo>
                    <a:pt x="427" y="66"/>
                  </a:lnTo>
                  <a:lnTo>
                    <a:pt x="429" y="66"/>
                  </a:lnTo>
                  <a:lnTo>
                    <a:pt x="429" y="66"/>
                  </a:lnTo>
                  <a:lnTo>
                    <a:pt x="429" y="66"/>
                  </a:lnTo>
                  <a:lnTo>
                    <a:pt x="429" y="66"/>
                  </a:lnTo>
                  <a:lnTo>
                    <a:pt x="429" y="66"/>
                  </a:lnTo>
                  <a:lnTo>
                    <a:pt x="429" y="66"/>
                  </a:lnTo>
                  <a:lnTo>
                    <a:pt x="431" y="66"/>
                  </a:lnTo>
                  <a:lnTo>
                    <a:pt x="431" y="66"/>
                  </a:lnTo>
                  <a:lnTo>
                    <a:pt x="431" y="66"/>
                  </a:lnTo>
                  <a:lnTo>
                    <a:pt x="431" y="66"/>
                  </a:lnTo>
                  <a:lnTo>
                    <a:pt x="433" y="63"/>
                  </a:lnTo>
                  <a:lnTo>
                    <a:pt x="433" y="63"/>
                  </a:lnTo>
                  <a:lnTo>
                    <a:pt x="440" y="63"/>
                  </a:lnTo>
                  <a:lnTo>
                    <a:pt x="447" y="61"/>
                  </a:lnTo>
                  <a:lnTo>
                    <a:pt x="447" y="61"/>
                  </a:lnTo>
                  <a:lnTo>
                    <a:pt x="449" y="61"/>
                  </a:lnTo>
                  <a:lnTo>
                    <a:pt x="451" y="61"/>
                  </a:lnTo>
                  <a:lnTo>
                    <a:pt x="451" y="61"/>
                  </a:lnTo>
                  <a:lnTo>
                    <a:pt x="451" y="61"/>
                  </a:lnTo>
                  <a:lnTo>
                    <a:pt x="453" y="61"/>
                  </a:lnTo>
                  <a:lnTo>
                    <a:pt x="453" y="61"/>
                  </a:lnTo>
                  <a:lnTo>
                    <a:pt x="456" y="61"/>
                  </a:lnTo>
                  <a:lnTo>
                    <a:pt x="456" y="59"/>
                  </a:lnTo>
                  <a:lnTo>
                    <a:pt x="456" y="59"/>
                  </a:lnTo>
                  <a:lnTo>
                    <a:pt x="456" y="59"/>
                  </a:lnTo>
                  <a:lnTo>
                    <a:pt x="456" y="59"/>
                  </a:lnTo>
                  <a:lnTo>
                    <a:pt x="456" y="59"/>
                  </a:lnTo>
                  <a:lnTo>
                    <a:pt x="456" y="59"/>
                  </a:lnTo>
                  <a:lnTo>
                    <a:pt x="456" y="59"/>
                  </a:lnTo>
                  <a:lnTo>
                    <a:pt x="456" y="57"/>
                  </a:lnTo>
                  <a:lnTo>
                    <a:pt x="456" y="57"/>
                  </a:lnTo>
                  <a:lnTo>
                    <a:pt x="456" y="54"/>
                  </a:lnTo>
                  <a:lnTo>
                    <a:pt x="456" y="54"/>
                  </a:lnTo>
                  <a:lnTo>
                    <a:pt x="456" y="54"/>
                  </a:lnTo>
                  <a:lnTo>
                    <a:pt x="458" y="52"/>
                  </a:lnTo>
                  <a:lnTo>
                    <a:pt x="458" y="52"/>
                  </a:lnTo>
                  <a:lnTo>
                    <a:pt x="458" y="52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2" y="48"/>
                  </a:lnTo>
                  <a:lnTo>
                    <a:pt x="462" y="48"/>
                  </a:lnTo>
                  <a:lnTo>
                    <a:pt x="465" y="48"/>
                  </a:lnTo>
                  <a:lnTo>
                    <a:pt x="465" y="48"/>
                  </a:lnTo>
                  <a:lnTo>
                    <a:pt x="465" y="48"/>
                  </a:lnTo>
                  <a:lnTo>
                    <a:pt x="465" y="45"/>
                  </a:lnTo>
                  <a:lnTo>
                    <a:pt x="465" y="45"/>
                  </a:lnTo>
                  <a:lnTo>
                    <a:pt x="467" y="45"/>
                  </a:lnTo>
                  <a:lnTo>
                    <a:pt x="467" y="45"/>
                  </a:lnTo>
                  <a:lnTo>
                    <a:pt x="467" y="45"/>
                  </a:lnTo>
                  <a:lnTo>
                    <a:pt x="467" y="43"/>
                  </a:lnTo>
                  <a:lnTo>
                    <a:pt x="469" y="43"/>
                  </a:lnTo>
                  <a:lnTo>
                    <a:pt x="469" y="43"/>
                  </a:lnTo>
                  <a:lnTo>
                    <a:pt x="471" y="45"/>
                  </a:lnTo>
                  <a:lnTo>
                    <a:pt x="474" y="45"/>
                  </a:lnTo>
                  <a:lnTo>
                    <a:pt x="476" y="45"/>
                  </a:lnTo>
                  <a:lnTo>
                    <a:pt x="478" y="45"/>
                  </a:lnTo>
                  <a:lnTo>
                    <a:pt x="485" y="48"/>
                  </a:lnTo>
                  <a:lnTo>
                    <a:pt x="485" y="48"/>
                  </a:lnTo>
                  <a:lnTo>
                    <a:pt x="485" y="48"/>
                  </a:lnTo>
                  <a:lnTo>
                    <a:pt x="485" y="48"/>
                  </a:lnTo>
                  <a:lnTo>
                    <a:pt x="487" y="48"/>
                  </a:lnTo>
                  <a:lnTo>
                    <a:pt x="492" y="50"/>
                  </a:lnTo>
                  <a:lnTo>
                    <a:pt x="494" y="52"/>
                  </a:lnTo>
                  <a:lnTo>
                    <a:pt x="496" y="52"/>
                  </a:lnTo>
                  <a:lnTo>
                    <a:pt x="496" y="52"/>
                  </a:lnTo>
                  <a:lnTo>
                    <a:pt x="496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501" y="52"/>
                  </a:lnTo>
                  <a:lnTo>
                    <a:pt x="501" y="52"/>
                  </a:lnTo>
                  <a:lnTo>
                    <a:pt x="503" y="52"/>
                  </a:lnTo>
                  <a:lnTo>
                    <a:pt x="505" y="50"/>
                  </a:lnTo>
                  <a:lnTo>
                    <a:pt x="507" y="50"/>
                  </a:lnTo>
                  <a:lnTo>
                    <a:pt x="507" y="50"/>
                  </a:lnTo>
                  <a:lnTo>
                    <a:pt x="510" y="50"/>
                  </a:lnTo>
                  <a:lnTo>
                    <a:pt x="516" y="52"/>
                  </a:lnTo>
                  <a:lnTo>
                    <a:pt x="516" y="52"/>
                  </a:lnTo>
                  <a:lnTo>
                    <a:pt x="519" y="52"/>
                  </a:lnTo>
                  <a:lnTo>
                    <a:pt x="519" y="54"/>
                  </a:lnTo>
                  <a:lnTo>
                    <a:pt x="521" y="61"/>
                  </a:lnTo>
                  <a:lnTo>
                    <a:pt x="521" y="61"/>
                  </a:lnTo>
                  <a:lnTo>
                    <a:pt x="521" y="77"/>
                  </a:lnTo>
                  <a:lnTo>
                    <a:pt x="521" y="77"/>
                  </a:lnTo>
                  <a:lnTo>
                    <a:pt x="523" y="77"/>
                  </a:lnTo>
                  <a:lnTo>
                    <a:pt x="523" y="77"/>
                  </a:lnTo>
                  <a:lnTo>
                    <a:pt x="523" y="79"/>
                  </a:lnTo>
                  <a:lnTo>
                    <a:pt x="523" y="84"/>
                  </a:lnTo>
                  <a:lnTo>
                    <a:pt x="523" y="84"/>
                  </a:lnTo>
                  <a:lnTo>
                    <a:pt x="523" y="86"/>
                  </a:lnTo>
                  <a:lnTo>
                    <a:pt x="523" y="86"/>
                  </a:lnTo>
                  <a:lnTo>
                    <a:pt x="525" y="90"/>
                  </a:lnTo>
                  <a:lnTo>
                    <a:pt x="525" y="90"/>
                  </a:lnTo>
                  <a:lnTo>
                    <a:pt x="525" y="90"/>
                  </a:lnTo>
                  <a:lnTo>
                    <a:pt x="523" y="93"/>
                  </a:lnTo>
                  <a:lnTo>
                    <a:pt x="523" y="93"/>
                  </a:lnTo>
                  <a:lnTo>
                    <a:pt x="523" y="93"/>
                  </a:lnTo>
                  <a:lnTo>
                    <a:pt x="525" y="97"/>
                  </a:lnTo>
                  <a:lnTo>
                    <a:pt x="525" y="97"/>
                  </a:lnTo>
                  <a:lnTo>
                    <a:pt x="528" y="99"/>
                  </a:lnTo>
                  <a:lnTo>
                    <a:pt x="528" y="99"/>
                  </a:lnTo>
                  <a:lnTo>
                    <a:pt x="534" y="104"/>
                  </a:lnTo>
                  <a:lnTo>
                    <a:pt x="537" y="104"/>
                  </a:lnTo>
                  <a:lnTo>
                    <a:pt x="537" y="104"/>
                  </a:lnTo>
                  <a:lnTo>
                    <a:pt x="537" y="102"/>
                  </a:lnTo>
                  <a:lnTo>
                    <a:pt x="539" y="99"/>
                  </a:lnTo>
                  <a:lnTo>
                    <a:pt x="539" y="99"/>
                  </a:lnTo>
                  <a:lnTo>
                    <a:pt x="543" y="99"/>
                  </a:lnTo>
                  <a:lnTo>
                    <a:pt x="546" y="99"/>
                  </a:lnTo>
                  <a:lnTo>
                    <a:pt x="548" y="99"/>
                  </a:lnTo>
                  <a:lnTo>
                    <a:pt x="550" y="99"/>
                  </a:lnTo>
                  <a:lnTo>
                    <a:pt x="550" y="99"/>
                  </a:lnTo>
                  <a:lnTo>
                    <a:pt x="552" y="99"/>
                  </a:lnTo>
                  <a:lnTo>
                    <a:pt x="555" y="102"/>
                  </a:lnTo>
                  <a:lnTo>
                    <a:pt x="555" y="102"/>
                  </a:lnTo>
                  <a:lnTo>
                    <a:pt x="561" y="104"/>
                  </a:lnTo>
                  <a:lnTo>
                    <a:pt x="564" y="104"/>
                  </a:lnTo>
                  <a:lnTo>
                    <a:pt x="564" y="104"/>
                  </a:lnTo>
                  <a:lnTo>
                    <a:pt x="564" y="102"/>
                  </a:lnTo>
                  <a:lnTo>
                    <a:pt x="564" y="102"/>
                  </a:lnTo>
                  <a:lnTo>
                    <a:pt x="564" y="102"/>
                  </a:lnTo>
                  <a:lnTo>
                    <a:pt x="566" y="97"/>
                  </a:lnTo>
                  <a:lnTo>
                    <a:pt x="566" y="97"/>
                  </a:lnTo>
                  <a:lnTo>
                    <a:pt x="566" y="97"/>
                  </a:lnTo>
                  <a:lnTo>
                    <a:pt x="570" y="97"/>
                  </a:lnTo>
                  <a:lnTo>
                    <a:pt x="570" y="97"/>
                  </a:lnTo>
                  <a:lnTo>
                    <a:pt x="570" y="95"/>
                  </a:lnTo>
                  <a:lnTo>
                    <a:pt x="573" y="95"/>
                  </a:lnTo>
                  <a:lnTo>
                    <a:pt x="573" y="95"/>
                  </a:lnTo>
                  <a:lnTo>
                    <a:pt x="573" y="95"/>
                  </a:lnTo>
                  <a:lnTo>
                    <a:pt x="575" y="97"/>
                  </a:lnTo>
                  <a:lnTo>
                    <a:pt x="575" y="97"/>
                  </a:lnTo>
                  <a:lnTo>
                    <a:pt x="579" y="97"/>
                  </a:lnTo>
                  <a:lnTo>
                    <a:pt x="582" y="97"/>
                  </a:lnTo>
                  <a:lnTo>
                    <a:pt x="582" y="99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93" y="104"/>
                  </a:lnTo>
                  <a:lnTo>
                    <a:pt x="595" y="104"/>
                  </a:lnTo>
                  <a:lnTo>
                    <a:pt x="595" y="104"/>
                  </a:lnTo>
                  <a:lnTo>
                    <a:pt x="595" y="104"/>
                  </a:lnTo>
                  <a:lnTo>
                    <a:pt x="595" y="106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7" y="108"/>
                  </a:lnTo>
                  <a:lnTo>
                    <a:pt x="597" y="108"/>
                  </a:lnTo>
                  <a:lnTo>
                    <a:pt x="600" y="108"/>
                  </a:lnTo>
                  <a:lnTo>
                    <a:pt x="602" y="108"/>
                  </a:lnTo>
                  <a:lnTo>
                    <a:pt x="602" y="108"/>
                  </a:lnTo>
                  <a:lnTo>
                    <a:pt x="602" y="108"/>
                  </a:lnTo>
                  <a:lnTo>
                    <a:pt x="602" y="108"/>
                  </a:lnTo>
                  <a:lnTo>
                    <a:pt x="602" y="111"/>
                  </a:lnTo>
                  <a:lnTo>
                    <a:pt x="602" y="111"/>
                  </a:lnTo>
                  <a:lnTo>
                    <a:pt x="604" y="111"/>
                  </a:lnTo>
                  <a:lnTo>
                    <a:pt x="606" y="113"/>
                  </a:lnTo>
                  <a:lnTo>
                    <a:pt x="608" y="113"/>
                  </a:lnTo>
                  <a:lnTo>
                    <a:pt x="608" y="113"/>
                  </a:lnTo>
                  <a:lnTo>
                    <a:pt x="608" y="113"/>
                  </a:lnTo>
                  <a:lnTo>
                    <a:pt x="608" y="113"/>
                  </a:lnTo>
                  <a:lnTo>
                    <a:pt x="611" y="115"/>
                  </a:lnTo>
                  <a:lnTo>
                    <a:pt x="611" y="115"/>
                  </a:lnTo>
                  <a:lnTo>
                    <a:pt x="613" y="115"/>
                  </a:lnTo>
                  <a:lnTo>
                    <a:pt x="615" y="117"/>
                  </a:lnTo>
                  <a:lnTo>
                    <a:pt x="615" y="117"/>
                  </a:lnTo>
                  <a:lnTo>
                    <a:pt x="615" y="117"/>
                  </a:lnTo>
                  <a:lnTo>
                    <a:pt x="617" y="120"/>
                  </a:lnTo>
                  <a:lnTo>
                    <a:pt x="617" y="120"/>
                  </a:lnTo>
                  <a:lnTo>
                    <a:pt x="617" y="120"/>
                  </a:lnTo>
                  <a:lnTo>
                    <a:pt x="617" y="120"/>
                  </a:lnTo>
                  <a:lnTo>
                    <a:pt x="617" y="120"/>
                  </a:lnTo>
                  <a:lnTo>
                    <a:pt x="617" y="120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0" y="122"/>
                  </a:lnTo>
                  <a:lnTo>
                    <a:pt x="622" y="122"/>
                  </a:lnTo>
                  <a:lnTo>
                    <a:pt x="622" y="122"/>
                  </a:lnTo>
                  <a:lnTo>
                    <a:pt x="622" y="122"/>
                  </a:lnTo>
                  <a:lnTo>
                    <a:pt x="622" y="122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4"/>
                  </a:lnTo>
                  <a:lnTo>
                    <a:pt x="622" y="126"/>
                  </a:lnTo>
                  <a:lnTo>
                    <a:pt x="622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8"/>
                  </a:lnTo>
                  <a:lnTo>
                    <a:pt x="624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2" y="128"/>
                  </a:lnTo>
                  <a:lnTo>
                    <a:pt x="620" y="128"/>
                  </a:lnTo>
                  <a:lnTo>
                    <a:pt x="620" y="128"/>
                  </a:lnTo>
                  <a:lnTo>
                    <a:pt x="620" y="128"/>
                  </a:lnTo>
                  <a:lnTo>
                    <a:pt x="620" y="128"/>
                  </a:lnTo>
                  <a:lnTo>
                    <a:pt x="617" y="128"/>
                  </a:lnTo>
                  <a:lnTo>
                    <a:pt x="617" y="128"/>
                  </a:lnTo>
                  <a:lnTo>
                    <a:pt x="615" y="128"/>
                  </a:lnTo>
                  <a:lnTo>
                    <a:pt x="613" y="128"/>
                  </a:lnTo>
                  <a:lnTo>
                    <a:pt x="608" y="128"/>
                  </a:lnTo>
                  <a:lnTo>
                    <a:pt x="608" y="126"/>
                  </a:lnTo>
                  <a:lnTo>
                    <a:pt x="608" y="126"/>
                  </a:lnTo>
                  <a:lnTo>
                    <a:pt x="606" y="126"/>
                  </a:lnTo>
                  <a:lnTo>
                    <a:pt x="606" y="126"/>
                  </a:lnTo>
                  <a:lnTo>
                    <a:pt x="606" y="126"/>
                  </a:lnTo>
                  <a:lnTo>
                    <a:pt x="606" y="126"/>
                  </a:lnTo>
                  <a:lnTo>
                    <a:pt x="604" y="126"/>
                  </a:lnTo>
                  <a:lnTo>
                    <a:pt x="604" y="126"/>
                  </a:lnTo>
                  <a:lnTo>
                    <a:pt x="604" y="126"/>
                  </a:lnTo>
                  <a:lnTo>
                    <a:pt x="604" y="126"/>
                  </a:lnTo>
                  <a:lnTo>
                    <a:pt x="604" y="126"/>
                  </a:lnTo>
                  <a:lnTo>
                    <a:pt x="604" y="124"/>
                  </a:lnTo>
                  <a:lnTo>
                    <a:pt x="602" y="126"/>
                  </a:lnTo>
                  <a:lnTo>
                    <a:pt x="602" y="126"/>
                  </a:lnTo>
                  <a:lnTo>
                    <a:pt x="602" y="126"/>
                  </a:lnTo>
                  <a:lnTo>
                    <a:pt x="602" y="126"/>
                  </a:lnTo>
                  <a:lnTo>
                    <a:pt x="602" y="126"/>
                  </a:lnTo>
                  <a:lnTo>
                    <a:pt x="600" y="126"/>
                  </a:lnTo>
                  <a:lnTo>
                    <a:pt x="600" y="126"/>
                  </a:lnTo>
                  <a:lnTo>
                    <a:pt x="600" y="126"/>
                  </a:lnTo>
                  <a:lnTo>
                    <a:pt x="600" y="126"/>
                  </a:lnTo>
                  <a:lnTo>
                    <a:pt x="600" y="126"/>
                  </a:lnTo>
                  <a:lnTo>
                    <a:pt x="597" y="126"/>
                  </a:lnTo>
                  <a:lnTo>
                    <a:pt x="597" y="126"/>
                  </a:lnTo>
                  <a:lnTo>
                    <a:pt x="595" y="126"/>
                  </a:lnTo>
                  <a:lnTo>
                    <a:pt x="595" y="126"/>
                  </a:lnTo>
                  <a:lnTo>
                    <a:pt x="593" y="126"/>
                  </a:lnTo>
                  <a:lnTo>
                    <a:pt x="593" y="126"/>
                  </a:lnTo>
                  <a:lnTo>
                    <a:pt x="593" y="126"/>
                  </a:lnTo>
                  <a:lnTo>
                    <a:pt x="593" y="126"/>
                  </a:lnTo>
                  <a:lnTo>
                    <a:pt x="593" y="126"/>
                  </a:lnTo>
                  <a:lnTo>
                    <a:pt x="591" y="126"/>
                  </a:lnTo>
                  <a:lnTo>
                    <a:pt x="591" y="126"/>
                  </a:lnTo>
                  <a:lnTo>
                    <a:pt x="591" y="126"/>
                  </a:lnTo>
                  <a:lnTo>
                    <a:pt x="588" y="128"/>
                  </a:lnTo>
                  <a:lnTo>
                    <a:pt x="588" y="128"/>
                  </a:lnTo>
                  <a:lnTo>
                    <a:pt x="588" y="128"/>
                  </a:lnTo>
                  <a:lnTo>
                    <a:pt x="588" y="128"/>
                  </a:lnTo>
                  <a:lnTo>
                    <a:pt x="588" y="128"/>
                  </a:lnTo>
                  <a:lnTo>
                    <a:pt x="588" y="128"/>
                  </a:lnTo>
                  <a:lnTo>
                    <a:pt x="588" y="131"/>
                  </a:lnTo>
                  <a:lnTo>
                    <a:pt x="588" y="131"/>
                  </a:lnTo>
                  <a:lnTo>
                    <a:pt x="586" y="131"/>
                  </a:lnTo>
                  <a:lnTo>
                    <a:pt x="586" y="131"/>
                  </a:lnTo>
                  <a:lnTo>
                    <a:pt x="584" y="131"/>
                  </a:lnTo>
                  <a:lnTo>
                    <a:pt x="584" y="131"/>
                  </a:lnTo>
                  <a:lnTo>
                    <a:pt x="584" y="131"/>
                  </a:lnTo>
                  <a:lnTo>
                    <a:pt x="582" y="128"/>
                  </a:lnTo>
                  <a:lnTo>
                    <a:pt x="582" y="128"/>
                  </a:lnTo>
                  <a:lnTo>
                    <a:pt x="582" y="128"/>
                  </a:lnTo>
                  <a:lnTo>
                    <a:pt x="582" y="128"/>
                  </a:lnTo>
                  <a:lnTo>
                    <a:pt x="582" y="128"/>
                  </a:lnTo>
                  <a:lnTo>
                    <a:pt x="582" y="128"/>
                  </a:lnTo>
                  <a:lnTo>
                    <a:pt x="579" y="128"/>
                  </a:lnTo>
                  <a:lnTo>
                    <a:pt x="579" y="128"/>
                  </a:lnTo>
                  <a:lnTo>
                    <a:pt x="579" y="131"/>
                  </a:lnTo>
                  <a:lnTo>
                    <a:pt x="579" y="131"/>
                  </a:lnTo>
                  <a:lnTo>
                    <a:pt x="579" y="131"/>
                  </a:lnTo>
                  <a:lnTo>
                    <a:pt x="579" y="131"/>
                  </a:lnTo>
                  <a:lnTo>
                    <a:pt x="579" y="133"/>
                  </a:lnTo>
                  <a:lnTo>
                    <a:pt x="582" y="133"/>
                  </a:lnTo>
                  <a:lnTo>
                    <a:pt x="582" y="135"/>
                  </a:lnTo>
                  <a:lnTo>
                    <a:pt x="579" y="135"/>
                  </a:lnTo>
                  <a:lnTo>
                    <a:pt x="573" y="135"/>
                  </a:lnTo>
                  <a:lnTo>
                    <a:pt x="570" y="133"/>
                  </a:lnTo>
                  <a:lnTo>
                    <a:pt x="570" y="133"/>
                  </a:lnTo>
                  <a:lnTo>
                    <a:pt x="570" y="133"/>
                  </a:lnTo>
                  <a:lnTo>
                    <a:pt x="570" y="135"/>
                  </a:lnTo>
                  <a:lnTo>
                    <a:pt x="570" y="135"/>
                  </a:lnTo>
                  <a:lnTo>
                    <a:pt x="570" y="135"/>
                  </a:lnTo>
                  <a:lnTo>
                    <a:pt x="568" y="135"/>
                  </a:lnTo>
                  <a:lnTo>
                    <a:pt x="568" y="135"/>
                  </a:lnTo>
                  <a:lnTo>
                    <a:pt x="568" y="135"/>
                  </a:lnTo>
                  <a:lnTo>
                    <a:pt x="568" y="137"/>
                  </a:lnTo>
                  <a:lnTo>
                    <a:pt x="568" y="137"/>
                  </a:lnTo>
                  <a:lnTo>
                    <a:pt x="568" y="137"/>
                  </a:lnTo>
                  <a:lnTo>
                    <a:pt x="566" y="140"/>
                  </a:lnTo>
                  <a:lnTo>
                    <a:pt x="566" y="144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4" y="151"/>
                  </a:lnTo>
                  <a:lnTo>
                    <a:pt x="561" y="153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59" y="155"/>
                  </a:lnTo>
                  <a:lnTo>
                    <a:pt x="557" y="158"/>
                  </a:lnTo>
                  <a:lnTo>
                    <a:pt x="552" y="158"/>
                  </a:lnTo>
                  <a:lnTo>
                    <a:pt x="548" y="158"/>
                  </a:lnTo>
                  <a:lnTo>
                    <a:pt x="548" y="158"/>
                  </a:lnTo>
                  <a:lnTo>
                    <a:pt x="543" y="155"/>
                  </a:lnTo>
                  <a:lnTo>
                    <a:pt x="543" y="155"/>
                  </a:lnTo>
                  <a:lnTo>
                    <a:pt x="543" y="155"/>
                  </a:lnTo>
                  <a:lnTo>
                    <a:pt x="541" y="158"/>
                  </a:lnTo>
                  <a:lnTo>
                    <a:pt x="541" y="158"/>
                  </a:lnTo>
                  <a:lnTo>
                    <a:pt x="541" y="158"/>
                  </a:lnTo>
                  <a:lnTo>
                    <a:pt x="541" y="158"/>
                  </a:lnTo>
                  <a:lnTo>
                    <a:pt x="541" y="160"/>
                  </a:lnTo>
                  <a:lnTo>
                    <a:pt x="541" y="160"/>
                  </a:lnTo>
                  <a:lnTo>
                    <a:pt x="541" y="162"/>
                  </a:lnTo>
                  <a:lnTo>
                    <a:pt x="539" y="164"/>
                  </a:lnTo>
                  <a:lnTo>
                    <a:pt x="539" y="164"/>
                  </a:lnTo>
                  <a:lnTo>
                    <a:pt x="539" y="164"/>
                  </a:lnTo>
                  <a:lnTo>
                    <a:pt x="539" y="167"/>
                  </a:lnTo>
                  <a:lnTo>
                    <a:pt x="539" y="167"/>
                  </a:lnTo>
                  <a:lnTo>
                    <a:pt x="539" y="167"/>
                  </a:lnTo>
                  <a:lnTo>
                    <a:pt x="539" y="167"/>
                  </a:lnTo>
                  <a:lnTo>
                    <a:pt x="537" y="169"/>
                  </a:lnTo>
                  <a:lnTo>
                    <a:pt x="537" y="169"/>
                  </a:lnTo>
                  <a:lnTo>
                    <a:pt x="537" y="169"/>
                  </a:lnTo>
                  <a:lnTo>
                    <a:pt x="534" y="169"/>
                  </a:lnTo>
                  <a:lnTo>
                    <a:pt x="534" y="169"/>
                  </a:lnTo>
                  <a:lnTo>
                    <a:pt x="534" y="171"/>
                  </a:lnTo>
                  <a:lnTo>
                    <a:pt x="532" y="171"/>
                  </a:lnTo>
                  <a:lnTo>
                    <a:pt x="532" y="171"/>
                  </a:lnTo>
                  <a:lnTo>
                    <a:pt x="532" y="171"/>
                  </a:lnTo>
                  <a:lnTo>
                    <a:pt x="530" y="171"/>
                  </a:lnTo>
                  <a:lnTo>
                    <a:pt x="530" y="171"/>
                  </a:lnTo>
                  <a:lnTo>
                    <a:pt x="530" y="171"/>
                  </a:lnTo>
                  <a:lnTo>
                    <a:pt x="530" y="171"/>
                  </a:lnTo>
                  <a:lnTo>
                    <a:pt x="521" y="171"/>
                  </a:lnTo>
                  <a:lnTo>
                    <a:pt x="521" y="171"/>
                  </a:lnTo>
                  <a:lnTo>
                    <a:pt x="519" y="171"/>
                  </a:lnTo>
                  <a:lnTo>
                    <a:pt x="514" y="169"/>
                  </a:lnTo>
                  <a:lnTo>
                    <a:pt x="512" y="169"/>
                  </a:lnTo>
                  <a:lnTo>
                    <a:pt x="510" y="169"/>
                  </a:lnTo>
                  <a:lnTo>
                    <a:pt x="510" y="167"/>
                  </a:lnTo>
                  <a:lnTo>
                    <a:pt x="507" y="167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498" y="164"/>
                  </a:lnTo>
                  <a:lnTo>
                    <a:pt x="498" y="164"/>
                  </a:lnTo>
                  <a:lnTo>
                    <a:pt x="496" y="164"/>
                  </a:lnTo>
                  <a:lnTo>
                    <a:pt x="496" y="164"/>
                  </a:lnTo>
                  <a:lnTo>
                    <a:pt x="496" y="164"/>
                  </a:lnTo>
                  <a:lnTo>
                    <a:pt x="496" y="164"/>
                  </a:lnTo>
                  <a:lnTo>
                    <a:pt x="496" y="164"/>
                  </a:lnTo>
                  <a:lnTo>
                    <a:pt x="496" y="164"/>
                  </a:lnTo>
                  <a:lnTo>
                    <a:pt x="496" y="164"/>
                  </a:lnTo>
                  <a:lnTo>
                    <a:pt x="494" y="164"/>
                  </a:lnTo>
                  <a:lnTo>
                    <a:pt x="494" y="167"/>
                  </a:lnTo>
                  <a:lnTo>
                    <a:pt x="494" y="167"/>
                  </a:lnTo>
                  <a:lnTo>
                    <a:pt x="494" y="167"/>
                  </a:lnTo>
                  <a:lnTo>
                    <a:pt x="494" y="173"/>
                  </a:lnTo>
                  <a:lnTo>
                    <a:pt x="494" y="173"/>
                  </a:lnTo>
                  <a:lnTo>
                    <a:pt x="494" y="173"/>
                  </a:lnTo>
                  <a:lnTo>
                    <a:pt x="494" y="176"/>
                  </a:lnTo>
                  <a:lnTo>
                    <a:pt x="494" y="176"/>
                  </a:lnTo>
                  <a:lnTo>
                    <a:pt x="494" y="176"/>
                  </a:lnTo>
                  <a:lnTo>
                    <a:pt x="494" y="176"/>
                  </a:lnTo>
                  <a:lnTo>
                    <a:pt x="494" y="176"/>
                  </a:lnTo>
                  <a:lnTo>
                    <a:pt x="494" y="178"/>
                  </a:lnTo>
                  <a:lnTo>
                    <a:pt x="494" y="178"/>
                  </a:lnTo>
                  <a:lnTo>
                    <a:pt x="494" y="178"/>
                  </a:lnTo>
                  <a:lnTo>
                    <a:pt x="494" y="178"/>
                  </a:lnTo>
                  <a:lnTo>
                    <a:pt x="494" y="180"/>
                  </a:lnTo>
                  <a:lnTo>
                    <a:pt x="494" y="180"/>
                  </a:lnTo>
                  <a:lnTo>
                    <a:pt x="494" y="180"/>
                  </a:lnTo>
                  <a:lnTo>
                    <a:pt x="496" y="182"/>
                  </a:lnTo>
                  <a:lnTo>
                    <a:pt x="496" y="182"/>
                  </a:lnTo>
                  <a:lnTo>
                    <a:pt x="498" y="182"/>
                  </a:lnTo>
                  <a:lnTo>
                    <a:pt x="498" y="182"/>
                  </a:lnTo>
                  <a:lnTo>
                    <a:pt x="498" y="182"/>
                  </a:lnTo>
                  <a:lnTo>
                    <a:pt x="498" y="185"/>
                  </a:lnTo>
                  <a:lnTo>
                    <a:pt x="501" y="185"/>
                  </a:lnTo>
                  <a:lnTo>
                    <a:pt x="501" y="187"/>
                  </a:lnTo>
                  <a:lnTo>
                    <a:pt x="503" y="189"/>
                  </a:lnTo>
                  <a:lnTo>
                    <a:pt x="505" y="189"/>
                  </a:lnTo>
                  <a:lnTo>
                    <a:pt x="507" y="189"/>
                  </a:lnTo>
                  <a:lnTo>
                    <a:pt x="507" y="191"/>
                  </a:lnTo>
                  <a:lnTo>
                    <a:pt x="510" y="191"/>
                  </a:lnTo>
                  <a:lnTo>
                    <a:pt x="512" y="194"/>
                  </a:lnTo>
                  <a:lnTo>
                    <a:pt x="512" y="194"/>
                  </a:lnTo>
                  <a:lnTo>
                    <a:pt x="514" y="196"/>
                  </a:lnTo>
                  <a:lnTo>
                    <a:pt x="514" y="196"/>
                  </a:lnTo>
                  <a:lnTo>
                    <a:pt x="514" y="196"/>
                  </a:lnTo>
                  <a:lnTo>
                    <a:pt x="514" y="196"/>
                  </a:lnTo>
                  <a:lnTo>
                    <a:pt x="514" y="198"/>
                  </a:lnTo>
                  <a:lnTo>
                    <a:pt x="512" y="198"/>
                  </a:lnTo>
                  <a:lnTo>
                    <a:pt x="512" y="198"/>
                  </a:lnTo>
                  <a:lnTo>
                    <a:pt x="510" y="198"/>
                  </a:lnTo>
                  <a:lnTo>
                    <a:pt x="510" y="200"/>
                  </a:lnTo>
                  <a:lnTo>
                    <a:pt x="510" y="200"/>
                  </a:lnTo>
                  <a:lnTo>
                    <a:pt x="510" y="203"/>
                  </a:lnTo>
                  <a:lnTo>
                    <a:pt x="507" y="203"/>
                  </a:lnTo>
                  <a:lnTo>
                    <a:pt x="505" y="203"/>
                  </a:lnTo>
                  <a:lnTo>
                    <a:pt x="505" y="203"/>
                  </a:lnTo>
                  <a:lnTo>
                    <a:pt x="503" y="205"/>
                  </a:lnTo>
                  <a:lnTo>
                    <a:pt x="501" y="205"/>
                  </a:lnTo>
                  <a:lnTo>
                    <a:pt x="501" y="207"/>
                  </a:lnTo>
                  <a:lnTo>
                    <a:pt x="498" y="209"/>
                  </a:lnTo>
                  <a:lnTo>
                    <a:pt x="498" y="212"/>
                  </a:lnTo>
                  <a:lnTo>
                    <a:pt x="498" y="212"/>
                  </a:lnTo>
                  <a:lnTo>
                    <a:pt x="498" y="214"/>
                  </a:lnTo>
                  <a:lnTo>
                    <a:pt x="498" y="214"/>
                  </a:lnTo>
                  <a:lnTo>
                    <a:pt x="496" y="216"/>
                  </a:lnTo>
                  <a:lnTo>
                    <a:pt x="496" y="216"/>
                  </a:lnTo>
                  <a:lnTo>
                    <a:pt x="496" y="216"/>
                  </a:lnTo>
                  <a:lnTo>
                    <a:pt x="496" y="218"/>
                  </a:lnTo>
                  <a:lnTo>
                    <a:pt x="496" y="218"/>
                  </a:lnTo>
                  <a:lnTo>
                    <a:pt x="492" y="221"/>
                  </a:lnTo>
                  <a:lnTo>
                    <a:pt x="492" y="221"/>
                  </a:lnTo>
                  <a:lnTo>
                    <a:pt x="492" y="221"/>
                  </a:lnTo>
                  <a:lnTo>
                    <a:pt x="492" y="221"/>
                  </a:lnTo>
                  <a:lnTo>
                    <a:pt x="492" y="221"/>
                  </a:lnTo>
                  <a:lnTo>
                    <a:pt x="492" y="221"/>
                  </a:lnTo>
                  <a:lnTo>
                    <a:pt x="489" y="221"/>
                  </a:lnTo>
                  <a:lnTo>
                    <a:pt x="489" y="221"/>
                  </a:lnTo>
                  <a:lnTo>
                    <a:pt x="487" y="223"/>
                  </a:lnTo>
                  <a:lnTo>
                    <a:pt x="485" y="223"/>
                  </a:lnTo>
                  <a:lnTo>
                    <a:pt x="483" y="225"/>
                  </a:lnTo>
                  <a:lnTo>
                    <a:pt x="483" y="225"/>
                  </a:lnTo>
                  <a:lnTo>
                    <a:pt x="483" y="225"/>
                  </a:lnTo>
                  <a:lnTo>
                    <a:pt x="483" y="225"/>
                  </a:lnTo>
                  <a:lnTo>
                    <a:pt x="483" y="225"/>
                  </a:lnTo>
                  <a:lnTo>
                    <a:pt x="483" y="225"/>
                  </a:lnTo>
                  <a:lnTo>
                    <a:pt x="483" y="225"/>
                  </a:lnTo>
                  <a:lnTo>
                    <a:pt x="478" y="227"/>
                  </a:lnTo>
                  <a:lnTo>
                    <a:pt x="478" y="227"/>
                  </a:lnTo>
                  <a:lnTo>
                    <a:pt x="478" y="227"/>
                  </a:lnTo>
                  <a:lnTo>
                    <a:pt x="474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7"/>
                  </a:lnTo>
                  <a:lnTo>
                    <a:pt x="465" y="227"/>
                  </a:lnTo>
                  <a:lnTo>
                    <a:pt x="460" y="227"/>
                  </a:lnTo>
                  <a:lnTo>
                    <a:pt x="458" y="225"/>
                  </a:lnTo>
                  <a:lnTo>
                    <a:pt x="458" y="225"/>
                  </a:lnTo>
                  <a:lnTo>
                    <a:pt x="431" y="230"/>
                  </a:lnTo>
                  <a:lnTo>
                    <a:pt x="418" y="236"/>
                  </a:lnTo>
                  <a:lnTo>
                    <a:pt x="413" y="241"/>
                  </a:lnTo>
                  <a:lnTo>
                    <a:pt x="411" y="241"/>
                  </a:lnTo>
                  <a:lnTo>
                    <a:pt x="411" y="241"/>
                  </a:lnTo>
                  <a:lnTo>
                    <a:pt x="411" y="241"/>
                  </a:lnTo>
                  <a:lnTo>
                    <a:pt x="411" y="241"/>
                  </a:lnTo>
                  <a:lnTo>
                    <a:pt x="409" y="243"/>
                  </a:lnTo>
                  <a:lnTo>
                    <a:pt x="409" y="243"/>
                  </a:lnTo>
                  <a:lnTo>
                    <a:pt x="409" y="243"/>
                  </a:lnTo>
                  <a:lnTo>
                    <a:pt x="406" y="245"/>
                  </a:lnTo>
                  <a:lnTo>
                    <a:pt x="406" y="245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404" y="245"/>
                  </a:lnTo>
                  <a:lnTo>
                    <a:pt x="397" y="245"/>
                  </a:lnTo>
                  <a:lnTo>
                    <a:pt x="395" y="245"/>
                  </a:lnTo>
                  <a:lnTo>
                    <a:pt x="395" y="245"/>
                  </a:lnTo>
                  <a:lnTo>
                    <a:pt x="393" y="239"/>
                  </a:lnTo>
                  <a:lnTo>
                    <a:pt x="379" y="243"/>
                  </a:lnTo>
                  <a:lnTo>
                    <a:pt x="379" y="243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6" y="236"/>
                  </a:lnTo>
                  <a:lnTo>
                    <a:pt x="364" y="236"/>
                  </a:lnTo>
                  <a:lnTo>
                    <a:pt x="343" y="232"/>
                  </a:lnTo>
                  <a:lnTo>
                    <a:pt x="341" y="232"/>
                  </a:lnTo>
                  <a:lnTo>
                    <a:pt x="339" y="230"/>
                  </a:lnTo>
                  <a:lnTo>
                    <a:pt x="334" y="225"/>
                  </a:lnTo>
                  <a:lnTo>
                    <a:pt x="332" y="225"/>
                  </a:lnTo>
                  <a:lnTo>
                    <a:pt x="330" y="223"/>
                  </a:lnTo>
                  <a:lnTo>
                    <a:pt x="328" y="223"/>
                  </a:lnTo>
                  <a:lnTo>
                    <a:pt x="323" y="225"/>
                  </a:lnTo>
                  <a:lnTo>
                    <a:pt x="298" y="221"/>
                  </a:lnTo>
                  <a:lnTo>
                    <a:pt x="298" y="221"/>
                  </a:lnTo>
                  <a:lnTo>
                    <a:pt x="289" y="223"/>
                  </a:lnTo>
                  <a:lnTo>
                    <a:pt x="245" y="218"/>
                  </a:lnTo>
                  <a:lnTo>
                    <a:pt x="231" y="218"/>
                  </a:lnTo>
                  <a:lnTo>
                    <a:pt x="229" y="221"/>
                  </a:lnTo>
                  <a:lnTo>
                    <a:pt x="229" y="221"/>
                  </a:lnTo>
                  <a:lnTo>
                    <a:pt x="229" y="218"/>
                  </a:lnTo>
                  <a:lnTo>
                    <a:pt x="227" y="216"/>
                  </a:lnTo>
                  <a:lnTo>
                    <a:pt x="227" y="216"/>
                  </a:lnTo>
                  <a:lnTo>
                    <a:pt x="227" y="216"/>
                  </a:lnTo>
                  <a:lnTo>
                    <a:pt x="224" y="214"/>
                  </a:lnTo>
                  <a:lnTo>
                    <a:pt x="215" y="207"/>
                  </a:lnTo>
                  <a:lnTo>
                    <a:pt x="213" y="207"/>
                  </a:lnTo>
                  <a:lnTo>
                    <a:pt x="213" y="207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06" y="198"/>
                  </a:lnTo>
                  <a:lnTo>
                    <a:pt x="202" y="194"/>
                  </a:lnTo>
                  <a:lnTo>
                    <a:pt x="200" y="191"/>
                  </a:lnTo>
                  <a:lnTo>
                    <a:pt x="200" y="189"/>
                  </a:lnTo>
                  <a:lnTo>
                    <a:pt x="197" y="189"/>
                  </a:lnTo>
                  <a:lnTo>
                    <a:pt x="197" y="189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7"/>
                  </a:lnTo>
                  <a:lnTo>
                    <a:pt x="193" y="187"/>
                  </a:lnTo>
                  <a:lnTo>
                    <a:pt x="193" y="187"/>
                  </a:lnTo>
                  <a:lnTo>
                    <a:pt x="193" y="185"/>
                  </a:lnTo>
                  <a:lnTo>
                    <a:pt x="193" y="185"/>
                  </a:lnTo>
                  <a:lnTo>
                    <a:pt x="193" y="185"/>
                  </a:lnTo>
                  <a:lnTo>
                    <a:pt x="193" y="185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86" y="185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79" y="182"/>
                  </a:lnTo>
                  <a:lnTo>
                    <a:pt x="179" y="182"/>
                  </a:lnTo>
                  <a:lnTo>
                    <a:pt x="179" y="180"/>
                  </a:lnTo>
                  <a:lnTo>
                    <a:pt x="179" y="180"/>
                  </a:lnTo>
                  <a:lnTo>
                    <a:pt x="179" y="180"/>
                  </a:lnTo>
                  <a:lnTo>
                    <a:pt x="177" y="180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3" y="178"/>
                  </a:lnTo>
                  <a:lnTo>
                    <a:pt x="170" y="178"/>
                  </a:lnTo>
                  <a:lnTo>
                    <a:pt x="170" y="178"/>
                  </a:lnTo>
                  <a:lnTo>
                    <a:pt x="170" y="176"/>
                  </a:lnTo>
                  <a:lnTo>
                    <a:pt x="168" y="176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4" y="173"/>
                  </a:lnTo>
                  <a:lnTo>
                    <a:pt x="161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55" y="169"/>
                  </a:lnTo>
                  <a:lnTo>
                    <a:pt x="155" y="169"/>
                  </a:lnTo>
                  <a:lnTo>
                    <a:pt x="150" y="167"/>
                  </a:lnTo>
                  <a:lnTo>
                    <a:pt x="148" y="167"/>
                  </a:lnTo>
                  <a:lnTo>
                    <a:pt x="148" y="167"/>
                  </a:lnTo>
                  <a:lnTo>
                    <a:pt x="148" y="167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6" y="167"/>
                  </a:lnTo>
                  <a:lnTo>
                    <a:pt x="143" y="167"/>
                  </a:lnTo>
                  <a:lnTo>
                    <a:pt x="143" y="167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41" y="167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39" y="167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7" y="164"/>
                  </a:lnTo>
                  <a:lnTo>
                    <a:pt x="134" y="164"/>
                  </a:lnTo>
                  <a:lnTo>
                    <a:pt x="134" y="167"/>
                  </a:lnTo>
                  <a:lnTo>
                    <a:pt x="132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8" y="167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19" y="164"/>
                  </a:lnTo>
                  <a:lnTo>
                    <a:pt x="116" y="164"/>
                  </a:lnTo>
                  <a:lnTo>
                    <a:pt x="116" y="164"/>
                  </a:lnTo>
                  <a:lnTo>
                    <a:pt x="114" y="164"/>
                  </a:lnTo>
                  <a:lnTo>
                    <a:pt x="114" y="164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1" y="162"/>
                  </a:lnTo>
                  <a:lnTo>
                    <a:pt x="101" y="160"/>
                  </a:lnTo>
                  <a:lnTo>
                    <a:pt x="101" y="162"/>
                  </a:lnTo>
                  <a:lnTo>
                    <a:pt x="99" y="162"/>
                  </a:lnTo>
                  <a:lnTo>
                    <a:pt x="99" y="162"/>
                  </a:lnTo>
                  <a:lnTo>
                    <a:pt x="99" y="162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60"/>
                  </a:lnTo>
                  <a:lnTo>
                    <a:pt x="96" y="158"/>
                  </a:lnTo>
                  <a:lnTo>
                    <a:pt x="94" y="158"/>
                  </a:lnTo>
                  <a:lnTo>
                    <a:pt x="94" y="158"/>
                  </a:lnTo>
                  <a:lnTo>
                    <a:pt x="94" y="155"/>
                  </a:lnTo>
                  <a:lnTo>
                    <a:pt x="94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40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7" y="135"/>
                  </a:lnTo>
                  <a:lnTo>
                    <a:pt x="87" y="133"/>
                  </a:lnTo>
                  <a:lnTo>
                    <a:pt x="87" y="133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31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5" y="128"/>
                  </a:lnTo>
                  <a:lnTo>
                    <a:pt x="85" y="128"/>
                  </a:lnTo>
                  <a:lnTo>
                    <a:pt x="85" y="128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3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0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78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1"/>
                  </a:lnTo>
                  <a:lnTo>
                    <a:pt x="69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08"/>
                  </a:lnTo>
                  <a:lnTo>
                    <a:pt x="67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4"/>
                  </a:lnTo>
                  <a:lnTo>
                    <a:pt x="63" y="104"/>
                  </a:lnTo>
                  <a:lnTo>
                    <a:pt x="63" y="104"/>
                  </a:lnTo>
                  <a:lnTo>
                    <a:pt x="63" y="104"/>
                  </a:lnTo>
                  <a:lnTo>
                    <a:pt x="63" y="104"/>
                  </a:lnTo>
                  <a:lnTo>
                    <a:pt x="60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1" y="99"/>
                  </a:lnTo>
                  <a:lnTo>
                    <a:pt x="51" y="102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20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7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29" y="50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5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39"/>
                  </a:lnTo>
                  <a:lnTo>
                    <a:pt x="49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60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5" y="30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9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6" y="32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5" y="36"/>
                  </a:lnTo>
                  <a:lnTo>
                    <a:pt x="87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9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10" y="45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16" y="50"/>
                  </a:lnTo>
                  <a:lnTo>
                    <a:pt x="119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3" y="50"/>
                  </a:lnTo>
                  <a:lnTo>
                    <a:pt x="123" y="50"/>
                  </a:lnTo>
                  <a:lnTo>
                    <a:pt x="123" y="52"/>
                  </a:lnTo>
                  <a:lnTo>
                    <a:pt x="128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39" y="50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1" y="50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48" y="52"/>
                  </a:lnTo>
                  <a:lnTo>
                    <a:pt x="150" y="52"/>
                  </a:lnTo>
                  <a:lnTo>
                    <a:pt x="150" y="52"/>
                  </a:lnTo>
                  <a:lnTo>
                    <a:pt x="150" y="52"/>
                  </a:lnTo>
                  <a:lnTo>
                    <a:pt x="150" y="52"/>
                  </a:lnTo>
                  <a:lnTo>
                    <a:pt x="150" y="52"/>
                  </a:lnTo>
                  <a:lnTo>
                    <a:pt x="152" y="52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52" y="54"/>
                  </a:lnTo>
                  <a:lnTo>
                    <a:pt x="152" y="52"/>
                  </a:lnTo>
                  <a:lnTo>
                    <a:pt x="152" y="52"/>
                  </a:lnTo>
                  <a:lnTo>
                    <a:pt x="155" y="52"/>
                  </a:lnTo>
                  <a:lnTo>
                    <a:pt x="159" y="52"/>
                  </a:lnTo>
                  <a:lnTo>
                    <a:pt x="159" y="52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1" y="54"/>
                  </a:lnTo>
                  <a:lnTo>
                    <a:pt x="164" y="54"/>
                  </a:lnTo>
                  <a:lnTo>
                    <a:pt x="164" y="54"/>
                  </a:lnTo>
                  <a:lnTo>
                    <a:pt x="164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6" y="57"/>
                  </a:lnTo>
                  <a:lnTo>
                    <a:pt x="168" y="57"/>
                  </a:lnTo>
                  <a:lnTo>
                    <a:pt x="168" y="57"/>
                  </a:lnTo>
                  <a:lnTo>
                    <a:pt x="170" y="54"/>
                  </a:lnTo>
                  <a:lnTo>
                    <a:pt x="170" y="54"/>
                  </a:lnTo>
                  <a:lnTo>
                    <a:pt x="170" y="54"/>
                  </a:lnTo>
                  <a:lnTo>
                    <a:pt x="170" y="52"/>
                  </a:lnTo>
                  <a:lnTo>
                    <a:pt x="170" y="52"/>
                  </a:lnTo>
                  <a:lnTo>
                    <a:pt x="170" y="52"/>
                  </a:lnTo>
                  <a:lnTo>
                    <a:pt x="170" y="52"/>
                  </a:lnTo>
                  <a:lnTo>
                    <a:pt x="170" y="52"/>
                  </a:lnTo>
                  <a:lnTo>
                    <a:pt x="173" y="52"/>
                  </a:lnTo>
                  <a:lnTo>
                    <a:pt x="173" y="50"/>
                  </a:lnTo>
                  <a:lnTo>
                    <a:pt x="173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0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3"/>
                  </a:lnTo>
                  <a:lnTo>
                    <a:pt x="177" y="43"/>
                  </a:lnTo>
                  <a:lnTo>
                    <a:pt x="177" y="43"/>
                  </a:lnTo>
                  <a:lnTo>
                    <a:pt x="177" y="43"/>
                  </a:lnTo>
                  <a:lnTo>
                    <a:pt x="177" y="41"/>
                  </a:lnTo>
                  <a:lnTo>
                    <a:pt x="177" y="41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5" y="39"/>
                  </a:lnTo>
                  <a:lnTo>
                    <a:pt x="175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3" y="36"/>
                  </a:lnTo>
                  <a:lnTo>
                    <a:pt x="170" y="36"/>
                  </a:lnTo>
                  <a:lnTo>
                    <a:pt x="168" y="36"/>
                  </a:lnTo>
                  <a:lnTo>
                    <a:pt x="168" y="36"/>
                  </a:lnTo>
                  <a:lnTo>
                    <a:pt x="166" y="34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0"/>
                  </a:lnTo>
                  <a:lnTo>
                    <a:pt x="164" y="30"/>
                  </a:lnTo>
                  <a:lnTo>
                    <a:pt x="164" y="30"/>
                  </a:lnTo>
                  <a:lnTo>
                    <a:pt x="164" y="30"/>
                  </a:lnTo>
                  <a:lnTo>
                    <a:pt x="164" y="30"/>
                  </a:lnTo>
                  <a:lnTo>
                    <a:pt x="161" y="30"/>
                  </a:lnTo>
                  <a:lnTo>
                    <a:pt x="161" y="27"/>
                  </a:lnTo>
                  <a:lnTo>
                    <a:pt x="161" y="27"/>
                  </a:lnTo>
                  <a:lnTo>
                    <a:pt x="159" y="27"/>
                  </a:lnTo>
                  <a:lnTo>
                    <a:pt x="159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3"/>
                  </a:lnTo>
                  <a:lnTo>
                    <a:pt x="159" y="23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59" y="21"/>
                  </a:lnTo>
                  <a:lnTo>
                    <a:pt x="159" y="21"/>
                  </a:lnTo>
                  <a:lnTo>
                    <a:pt x="157" y="21"/>
                  </a:lnTo>
                  <a:lnTo>
                    <a:pt x="159" y="21"/>
                  </a:lnTo>
                  <a:lnTo>
                    <a:pt x="159" y="18"/>
                  </a:lnTo>
                  <a:lnTo>
                    <a:pt x="159" y="18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59" y="16"/>
                  </a:lnTo>
                  <a:lnTo>
                    <a:pt x="161" y="16"/>
                  </a:lnTo>
                  <a:lnTo>
                    <a:pt x="161" y="16"/>
                  </a:lnTo>
                  <a:lnTo>
                    <a:pt x="161" y="16"/>
                  </a:lnTo>
                  <a:lnTo>
                    <a:pt x="161" y="14"/>
                  </a:lnTo>
                  <a:lnTo>
                    <a:pt x="159" y="14"/>
                  </a:lnTo>
                  <a:lnTo>
                    <a:pt x="159" y="14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61" y="9"/>
                  </a:lnTo>
                  <a:lnTo>
                    <a:pt x="164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6" y="7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6" y="3"/>
                  </a:lnTo>
                  <a:lnTo>
                    <a:pt x="166" y="3"/>
                  </a:lnTo>
                  <a:lnTo>
                    <a:pt x="168" y="3"/>
                  </a:lnTo>
                  <a:lnTo>
                    <a:pt x="168" y="3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9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4" y="7"/>
                  </a:lnTo>
                  <a:lnTo>
                    <a:pt x="186" y="9"/>
                  </a:lnTo>
                  <a:lnTo>
                    <a:pt x="188" y="9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7" name="Freeform 543"/>
            <p:cNvSpPr>
              <a:spLocks/>
            </p:cNvSpPr>
            <p:nvPr/>
          </p:nvSpPr>
          <p:spPr bwMode="auto">
            <a:xfrm>
              <a:off x="5876566" y="2229142"/>
              <a:ext cx="3343" cy="0"/>
            </a:xfrm>
            <a:custGeom>
              <a:avLst/>
              <a:gdLst>
                <a:gd name="T0" fmla="*/ 2 w 2"/>
                <a:gd name="T1" fmla="*/ 2 w 2"/>
                <a:gd name="T2" fmla="*/ 0 w 2"/>
                <a:gd name="T3" fmla="*/ 0 w 2"/>
                <a:gd name="T4" fmla="*/ 0 w 2"/>
                <a:gd name="T5" fmla="*/ 2 w 2"/>
                <a:gd name="T6" fmla="*/ 2 w 2"/>
                <a:gd name="T7" fmla="*/ 2 w 2"/>
                <a:gd name="T8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8" name="Freeform 544"/>
            <p:cNvSpPr>
              <a:spLocks/>
            </p:cNvSpPr>
            <p:nvPr/>
          </p:nvSpPr>
          <p:spPr bwMode="auto">
            <a:xfrm>
              <a:off x="6466579" y="2045285"/>
              <a:ext cx="117000" cy="115328"/>
            </a:xfrm>
            <a:custGeom>
              <a:avLst/>
              <a:gdLst>
                <a:gd name="T0" fmla="*/ 25 w 70"/>
                <a:gd name="T1" fmla="*/ 2 h 69"/>
                <a:gd name="T2" fmla="*/ 29 w 70"/>
                <a:gd name="T3" fmla="*/ 4 h 69"/>
                <a:gd name="T4" fmla="*/ 31 w 70"/>
                <a:gd name="T5" fmla="*/ 7 h 69"/>
                <a:gd name="T6" fmla="*/ 34 w 70"/>
                <a:gd name="T7" fmla="*/ 7 h 69"/>
                <a:gd name="T8" fmla="*/ 34 w 70"/>
                <a:gd name="T9" fmla="*/ 9 h 69"/>
                <a:gd name="T10" fmla="*/ 40 w 70"/>
                <a:gd name="T11" fmla="*/ 9 h 69"/>
                <a:gd name="T12" fmla="*/ 45 w 70"/>
                <a:gd name="T13" fmla="*/ 11 h 69"/>
                <a:gd name="T14" fmla="*/ 49 w 70"/>
                <a:gd name="T15" fmla="*/ 13 h 69"/>
                <a:gd name="T16" fmla="*/ 49 w 70"/>
                <a:gd name="T17" fmla="*/ 16 h 69"/>
                <a:gd name="T18" fmla="*/ 49 w 70"/>
                <a:gd name="T19" fmla="*/ 22 h 69"/>
                <a:gd name="T20" fmla="*/ 52 w 70"/>
                <a:gd name="T21" fmla="*/ 25 h 69"/>
                <a:gd name="T22" fmla="*/ 54 w 70"/>
                <a:gd name="T23" fmla="*/ 27 h 69"/>
                <a:gd name="T24" fmla="*/ 56 w 70"/>
                <a:gd name="T25" fmla="*/ 27 h 69"/>
                <a:gd name="T26" fmla="*/ 56 w 70"/>
                <a:gd name="T27" fmla="*/ 31 h 69"/>
                <a:gd name="T28" fmla="*/ 58 w 70"/>
                <a:gd name="T29" fmla="*/ 31 h 69"/>
                <a:gd name="T30" fmla="*/ 58 w 70"/>
                <a:gd name="T31" fmla="*/ 36 h 69"/>
                <a:gd name="T32" fmla="*/ 63 w 70"/>
                <a:gd name="T33" fmla="*/ 38 h 69"/>
                <a:gd name="T34" fmla="*/ 65 w 70"/>
                <a:gd name="T35" fmla="*/ 38 h 69"/>
                <a:gd name="T36" fmla="*/ 65 w 70"/>
                <a:gd name="T37" fmla="*/ 42 h 69"/>
                <a:gd name="T38" fmla="*/ 67 w 70"/>
                <a:gd name="T39" fmla="*/ 45 h 69"/>
                <a:gd name="T40" fmla="*/ 70 w 70"/>
                <a:gd name="T41" fmla="*/ 47 h 69"/>
                <a:gd name="T42" fmla="*/ 65 w 70"/>
                <a:gd name="T43" fmla="*/ 49 h 69"/>
                <a:gd name="T44" fmla="*/ 63 w 70"/>
                <a:gd name="T45" fmla="*/ 47 h 69"/>
                <a:gd name="T46" fmla="*/ 61 w 70"/>
                <a:gd name="T47" fmla="*/ 47 h 69"/>
                <a:gd name="T48" fmla="*/ 58 w 70"/>
                <a:gd name="T49" fmla="*/ 45 h 69"/>
                <a:gd name="T50" fmla="*/ 54 w 70"/>
                <a:gd name="T51" fmla="*/ 47 h 69"/>
                <a:gd name="T52" fmla="*/ 54 w 70"/>
                <a:gd name="T53" fmla="*/ 47 h 69"/>
                <a:gd name="T54" fmla="*/ 47 w 70"/>
                <a:gd name="T55" fmla="*/ 47 h 69"/>
                <a:gd name="T56" fmla="*/ 49 w 70"/>
                <a:gd name="T57" fmla="*/ 54 h 69"/>
                <a:gd name="T58" fmla="*/ 47 w 70"/>
                <a:gd name="T59" fmla="*/ 58 h 69"/>
                <a:gd name="T60" fmla="*/ 45 w 70"/>
                <a:gd name="T61" fmla="*/ 63 h 69"/>
                <a:gd name="T62" fmla="*/ 43 w 70"/>
                <a:gd name="T63" fmla="*/ 65 h 69"/>
                <a:gd name="T64" fmla="*/ 43 w 70"/>
                <a:gd name="T65" fmla="*/ 67 h 69"/>
                <a:gd name="T66" fmla="*/ 38 w 70"/>
                <a:gd name="T67" fmla="*/ 69 h 69"/>
                <a:gd name="T68" fmla="*/ 34 w 70"/>
                <a:gd name="T69" fmla="*/ 67 h 69"/>
                <a:gd name="T70" fmla="*/ 36 w 70"/>
                <a:gd name="T71" fmla="*/ 63 h 69"/>
                <a:gd name="T72" fmla="*/ 36 w 70"/>
                <a:gd name="T73" fmla="*/ 58 h 69"/>
                <a:gd name="T74" fmla="*/ 34 w 70"/>
                <a:gd name="T75" fmla="*/ 56 h 69"/>
                <a:gd name="T76" fmla="*/ 34 w 70"/>
                <a:gd name="T77" fmla="*/ 51 h 69"/>
                <a:gd name="T78" fmla="*/ 34 w 70"/>
                <a:gd name="T79" fmla="*/ 49 h 69"/>
                <a:gd name="T80" fmla="*/ 36 w 70"/>
                <a:gd name="T81" fmla="*/ 47 h 69"/>
                <a:gd name="T82" fmla="*/ 34 w 70"/>
                <a:gd name="T83" fmla="*/ 45 h 69"/>
                <a:gd name="T84" fmla="*/ 31 w 70"/>
                <a:gd name="T85" fmla="*/ 38 h 69"/>
                <a:gd name="T86" fmla="*/ 29 w 70"/>
                <a:gd name="T87" fmla="*/ 34 h 69"/>
                <a:gd name="T88" fmla="*/ 25 w 70"/>
                <a:gd name="T89" fmla="*/ 31 h 69"/>
                <a:gd name="T90" fmla="*/ 25 w 70"/>
                <a:gd name="T91" fmla="*/ 29 h 69"/>
                <a:gd name="T92" fmla="*/ 20 w 70"/>
                <a:gd name="T93" fmla="*/ 27 h 69"/>
                <a:gd name="T94" fmla="*/ 20 w 70"/>
                <a:gd name="T95" fmla="*/ 22 h 69"/>
                <a:gd name="T96" fmla="*/ 18 w 70"/>
                <a:gd name="T97" fmla="*/ 22 h 69"/>
                <a:gd name="T98" fmla="*/ 16 w 70"/>
                <a:gd name="T99" fmla="*/ 20 h 69"/>
                <a:gd name="T100" fmla="*/ 13 w 70"/>
                <a:gd name="T101" fmla="*/ 16 h 69"/>
                <a:gd name="T102" fmla="*/ 11 w 70"/>
                <a:gd name="T103" fmla="*/ 13 h 69"/>
                <a:gd name="T104" fmla="*/ 11 w 70"/>
                <a:gd name="T105" fmla="*/ 11 h 69"/>
                <a:gd name="T106" fmla="*/ 9 w 70"/>
                <a:gd name="T107" fmla="*/ 9 h 69"/>
                <a:gd name="T108" fmla="*/ 7 w 70"/>
                <a:gd name="T109" fmla="*/ 7 h 69"/>
                <a:gd name="T110" fmla="*/ 4 w 70"/>
                <a:gd name="T111" fmla="*/ 7 h 69"/>
                <a:gd name="T112" fmla="*/ 2 w 70"/>
                <a:gd name="T113" fmla="*/ 4 h 69"/>
                <a:gd name="T114" fmla="*/ 0 w 70"/>
                <a:gd name="T115" fmla="*/ 2 h 69"/>
                <a:gd name="T116" fmla="*/ 2 w 70"/>
                <a:gd name="T117" fmla="*/ 2 h 69"/>
                <a:gd name="T118" fmla="*/ 4 w 70"/>
                <a:gd name="T119" fmla="*/ 2 h 69"/>
                <a:gd name="T120" fmla="*/ 7 w 70"/>
                <a:gd name="T121" fmla="*/ 2 h 69"/>
                <a:gd name="T122" fmla="*/ 11 w 70"/>
                <a:gd name="T123" fmla="*/ 0 h 69"/>
                <a:gd name="T124" fmla="*/ 18 w 70"/>
                <a:gd name="T125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" h="69">
                  <a:moveTo>
                    <a:pt x="18" y="0"/>
                  </a:move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6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3" y="47"/>
                  </a:lnTo>
                  <a:lnTo>
                    <a:pt x="63" y="45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3" y="47"/>
                  </a:lnTo>
                  <a:lnTo>
                    <a:pt x="61" y="47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5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49" y="45"/>
                  </a:lnTo>
                  <a:lnTo>
                    <a:pt x="49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52" y="51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0" y="67"/>
                  </a:lnTo>
                  <a:lnTo>
                    <a:pt x="38" y="67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0"/>
                  </a:lnTo>
                  <a:lnTo>
                    <a:pt x="34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9" name="Freeform 545"/>
            <p:cNvSpPr>
              <a:spLocks/>
            </p:cNvSpPr>
            <p:nvPr/>
          </p:nvSpPr>
          <p:spPr bwMode="auto">
            <a:xfrm>
              <a:off x="1728088" y="2665383"/>
              <a:ext cx="930984" cy="725398"/>
            </a:xfrm>
            <a:custGeom>
              <a:avLst/>
              <a:gdLst>
                <a:gd name="T0" fmla="*/ 139 w 557"/>
                <a:gd name="T1" fmla="*/ 195 h 434"/>
                <a:gd name="T2" fmla="*/ 130 w 557"/>
                <a:gd name="T3" fmla="*/ 182 h 434"/>
                <a:gd name="T4" fmla="*/ 121 w 557"/>
                <a:gd name="T5" fmla="*/ 175 h 434"/>
                <a:gd name="T6" fmla="*/ 121 w 557"/>
                <a:gd name="T7" fmla="*/ 164 h 434"/>
                <a:gd name="T8" fmla="*/ 116 w 557"/>
                <a:gd name="T9" fmla="*/ 153 h 434"/>
                <a:gd name="T10" fmla="*/ 110 w 557"/>
                <a:gd name="T11" fmla="*/ 144 h 434"/>
                <a:gd name="T12" fmla="*/ 96 w 557"/>
                <a:gd name="T13" fmla="*/ 119 h 434"/>
                <a:gd name="T14" fmla="*/ 85 w 557"/>
                <a:gd name="T15" fmla="*/ 105 h 434"/>
                <a:gd name="T16" fmla="*/ 72 w 557"/>
                <a:gd name="T17" fmla="*/ 76 h 434"/>
                <a:gd name="T18" fmla="*/ 67 w 557"/>
                <a:gd name="T19" fmla="*/ 34 h 434"/>
                <a:gd name="T20" fmla="*/ 38 w 557"/>
                <a:gd name="T21" fmla="*/ 18 h 434"/>
                <a:gd name="T22" fmla="*/ 33 w 557"/>
                <a:gd name="T23" fmla="*/ 67 h 434"/>
                <a:gd name="T24" fmla="*/ 49 w 557"/>
                <a:gd name="T25" fmla="*/ 94 h 434"/>
                <a:gd name="T26" fmla="*/ 58 w 557"/>
                <a:gd name="T27" fmla="*/ 123 h 434"/>
                <a:gd name="T28" fmla="*/ 67 w 557"/>
                <a:gd name="T29" fmla="*/ 139 h 434"/>
                <a:gd name="T30" fmla="*/ 76 w 557"/>
                <a:gd name="T31" fmla="*/ 177 h 434"/>
                <a:gd name="T32" fmla="*/ 87 w 557"/>
                <a:gd name="T33" fmla="*/ 202 h 434"/>
                <a:gd name="T34" fmla="*/ 87 w 557"/>
                <a:gd name="T35" fmla="*/ 234 h 434"/>
                <a:gd name="T36" fmla="*/ 54 w 557"/>
                <a:gd name="T37" fmla="*/ 191 h 434"/>
                <a:gd name="T38" fmla="*/ 49 w 557"/>
                <a:gd name="T39" fmla="*/ 184 h 434"/>
                <a:gd name="T40" fmla="*/ 40 w 557"/>
                <a:gd name="T41" fmla="*/ 146 h 434"/>
                <a:gd name="T42" fmla="*/ 27 w 557"/>
                <a:gd name="T43" fmla="*/ 139 h 434"/>
                <a:gd name="T44" fmla="*/ 6 w 557"/>
                <a:gd name="T45" fmla="*/ 114 h 434"/>
                <a:gd name="T46" fmla="*/ 27 w 557"/>
                <a:gd name="T47" fmla="*/ 121 h 434"/>
                <a:gd name="T48" fmla="*/ 24 w 557"/>
                <a:gd name="T49" fmla="*/ 114 h 434"/>
                <a:gd name="T50" fmla="*/ 24 w 557"/>
                <a:gd name="T51" fmla="*/ 90 h 434"/>
                <a:gd name="T52" fmla="*/ 6 w 557"/>
                <a:gd name="T53" fmla="*/ 54 h 434"/>
                <a:gd name="T54" fmla="*/ 2 w 557"/>
                <a:gd name="T55" fmla="*/ 13 h 434"/>
                <a:gd name="T56" fmla="*/ 119 w 557"/>
                <a:gd name="T57" fmla="*/ 34 h 434"/>
                <a:gd name="T58" fmla="*/ 170 w 557"/>
                <a:gd name="T59" fmla="*/ 29 h 434"/>
                <a:gd name="T60" fmla="*/ 200 w 557"/>
                <a:gd name="T61" fmla="*/ 22 h 434"/>
                <a:gd name="T62" fmla="*/ 227 w 557"/>
                <a:gd name="T63" fmla="*/ 47 h 434"/>
                <a:gd name="T64" fmla="*/ 236 w 557"/>
                <a:gd name="T65" fmla="*/ 76 h 434"/>
                <a:gd name="T66" fmla="*/ 265 w 557"/>
                <a:gd name="T67" fmla="*/ 76 h 434"/>
                <a:gd name="T68" fmla="*/ 294 w 557"/>
                <a:gd name="T69" fmla="*/ 69 h 434"/>
                <a:gd name="T70" fmla="*/ 307 w 557"/>
                <a:gd name="T71" fmla="*/ 92 h 434"/>
                <a:gd name="T72" fmla="*/ 319 w 557"/>
                <a:gd name="T73" fmla="*/ 121 h 434"/>
                <a:gd name="T74" fmla="*/ 325 w 557"/>
                <a:gd name="T75" fmla="*/ 150 h 434"/>
                <a:gd name="T76" fmla="*/ 355 w 557"/>
                <a:gd name="T77" fmla="*/ 164 h 434"/>
                <a:gd name="T78" fmla="*/ 332 w 557"/>
                <a:gd name="T79" fmla="*/ 247 h 434"/>
                <a:gd name="T80" fmla="*/ 343 w 557"/>
                <a:gd name="T81" fmla="*/ 292 h 434"/>
                <a:gd name="T82" fmla="*/ 361 w 557"/>
                <a:gd name="T83" fmla="*/ 333 h 434"/>
                <a:gd name="T84" fmla="*/ 402 w 557"/>
                <a:gd name="T85" fmla="*/ 342 h 434"/>
                <a:gd name="T86" fmla="*/ 440 w 557"/>
                <a:gd name="T87" fmla="*/ 337 h 434"/>
                <a:gd name="T88" fmla="*/ 449 w 557"/>
                <a:gd name="T89" fmla="*/ 339 h 434"/>
                <a:gd name="T90" fmla="*/ 469 w 557"/>
                <a:gd name="T91" fmla="*/ 312 h 434"/>
                <a:gd name="T92" fmla="*/ 525 w 557"/>
                <a:gd name="T93" fmla="*/ 265 h 434"/>
                <a:gd name="T94" fmla="*/ 548 w 557"/>
                <a:gd name="T95" fmla="*/ 265 h 434"/>
                <a:gd name="T96" fmla="*/ 541 w 557"/>
                <a:gd name="T97" fmla="*/ 297 h 434"/>
                <a:gd name="T98" fmla="*/ 532 w 557"/>
                <a:gd name="T99" fmla="*/ 315 h 434"/>
                <a:gd name="T100" fmla="*/ 534 w 557"/>
                <a:gd name="T101" fmla="*/ 319 h 434"/>
                <a:gd name="T102" fmla="*/ 523 w 557"/>
                <a:gd name="T103" fmla="*/ 333 h 434"/>
                <a:gd name="T104" fmla="*/ 505 w 557"/>
                <a:gd name="T105" fmla="*/ 348 h 434"/>
                <a:gd name="T106" fmla="*/ 456 w 557"/>
                <a:gd name="T107" fmla="*/ 378 h 434"/>
                <a:gd name="T108" fmla="*/ 465 w 557"/>
                <a:gd name="T109" fmla="*/ 391 h 434"/>
                <a:gd name="T110" fmla="*/ 413 w 557"/>
                <a:gd name="T111" fmla="*/ 418 h 434"/>
                <a:gd name="T112" fmla="*/ 391 w 557"/>
                <a:gd name="T113" fmla="*/ 398 h 434"/>
                <a:gd name="T114" fmla="*/ 370 w 557"/>
                <a:gd name="T115" fmla="*/ 393 h 434"/>
                <a:gd name="T116" fmla="*/ 305 w 557"/>
                <a:gd name="T117" fmla="*/ 393 h 434"/>
                <a:gd name="T118" fmla="*/ 251 w 557"/>
                <a:gd name="T119" fmla="*/ 369 h 434"/>
                <a:gd name="T120" fmla="*/ 186 w 557"/>
                <a:gd name="T121" fmla="*/ 324 h 434"/>
                <a:gd name="T122" fmla="*/ 164 w 557"/>
                <a:gd name="T123" fmla="*/ 292 h 434"/>
                <a:gd name="T124" fmla="*/ 170 w 557"/>
                <a:gd name="T125" fmla="*/ 24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7" h="434">
                  <a:moveTo>
                    <a:pt x="159" y="222"/>
                  </a:moveTo>
                  <a:lnTo>
                    <a:pt x="157" y="222"/>
                  </a:lnTo>
                  <a:lnTo>
                    <a:pt x="157" y="222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7" y="220"/>
                  </a:lnTo>
                  <a:lnTo>
                    <a:pt x="155" y="218"/>
                  </a:lnTo>
                  <a:lnTo>
                    <a:pt x="155" y="218"/>
                  </a:lnTo>
                  <a:lnTo>
                    <a:pt x="155" y="218"/>
                  </a:lnTo>
                  <a:lnTo>
                    <a:pt x="155" y="218"/>
                  </a:lnTo>
                  <a:lnTo>
                    <a:pt x="155" y="216"/>
                  </a:lnTo>
                  <a:lnTo>
                    <a:pt x="152" y="216"/>
                  </a:lnTo>
                  <a:lnTo>
                    <a:pt x="152" y="216"/>
                  </a:lnTo>
                  <a:lnTo>
                    <a:pt x="152" y="216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3"/>
                  </a:lnTo>
                  <a:lnTo>
                    <a:pt x="152" y="211"/>
                  </a:lnTo>
                  <a:lnTo>
                    <a:pt x="150" y="209"/>
                  </a:lnTo>
                  <a:lnTo>
                    <a:pt x="148" y="207"/>
                  </a:lnTo>
                  <a:lnTo>
                    <a:pt x="148" y="207"/>
                  </a:lnTo>
                  <a:lnTo>
                    <a:pt x="148" y="207"/>
                  </a:lnTo>
                  <a:lnTo>
                    <a:pt x="148" y="207"/>
                  </a:lnTo>
                  <a:lnTo>
                    <a:pt x="146" y="204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3" y="202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9" y="198"/>
                  </a:lnTo>
                  <a:lnTo>
                    <a:pt x="139" y="198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1" y="200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1" y="198"/>
                  </a:lnTo>
                  <a:lnTo>
                    <a:pt x="143" y="198"/>
                  </a:lnTo>
                  <a:lnTo>
                    <a:pt x="143" y="198"/>
                  </a:lnTo>
                  <a:lnTo>
                    <a:pt x="143" y="198"/>
                  </a:lnTo>
                  <a:lnTo>
                    <a:pt x="143" y="198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41" y="195"/>
                  </a:lnTo>
                  <a:lnTo>
                    <a:pt x="139" y="198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3"/>
                  </a:lnTo>
                  <a:lnTo>
                    <a:pt x="137" y="193"/>
                  </a:lnTo>
                  <a:lnTo>
                    <a:pt x="137" y="193"/>
                  </a:lnTo>
                  <a:lnTo>
                    <a:pt x="137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4" y="193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7" y="195"/>
                  </a:lnTo>
                  <a:lnTo>
                    <a:pt x="134" y="193"/>
                  </a:lnTo>
                  <a:lnTo>
                    <a:pt x="132" y="193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2" y="186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2" y="186"/>
                  </a:lnTo>
                  <a:lnTo>
                    <a:pt x="130" y="186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28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2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0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4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2"/>
                  </a:lnTo>
                  <a:lnTo>
                    <a:pt x="132" y="182"/>
                  </a:lnTo>
                  <a:lnTo>
                    <a:pt x="132" y="180"/>
                  </a:lnTo>
                  <a:lnTo>
                    <a:pt x="132" y="180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2" y="180"/>
                  </a:lnTo>
                  <a:lnTo>
                    <a:pt x="132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80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30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5" y="177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5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3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6" y="171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9" y="168"/>
                  </a:lnTo>
                  <a:lnTo>
                    <a:pt x="119" y="168"/>
                  </a:lnTo>
                  <a:lnTo>
                    <a:pt x="116" y="168"/>
                  </a:lnTo>
                  <a:lnTo>
                    <a:pt x="116" y="168"/>
                  </a:lnTo>
                  <a:lnTo>
                    <a:pt x="116" y="171"/>
                  </a:lnTo>
                  <a:lnTo>
                    <a:pt x="116" y="168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4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4" y="168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4" y="171"/>
                  </a:lnTo>
                  <a:lnTo>
                    <a:pt x="114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8"/>
                  </a:lnTo>
                  <a:lnTo>
                    <a:pt x="110" y="168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6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4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4" y="157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7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4" y="155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9" y="150"/>
                  </a:lnTo>
                  <a:lnTo>
                    <a:pt x="116" y="150"/>
                  </a:lnTo>
                  <a:lnTo>
                    <a:pt x="116" y="150"/>
                  </a:lnTo>
                  <a:lnTo>
                    <a:pt x="116" y="150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0"/>
                  </a:lnTo>
                  <a:lnTo>
                    <a:pt x="116" y="148"/>
                  </a:lnTo>
                  <a:lnTo>
                    <a:pt x="116" y="148"/>
                  </a:lnTo>
                  <a:lnTo>
                    <a:pt x="116" y="148"/>
                  </a:lnTo>
                  <a:lnTo>
                    <a:pt x="116" y="146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4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4" y="141"/>
                  </a:lnTo>
                  <a:lnTo>
                    <a:pt x="112" y="141"/>
                  </a:lnTo>
                  <a:lnTo>
                    <a:pt x="114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1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2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4"/>
                  </a:lnTo>
                  <a:lnTo>
                    <a:pt x="108" y="141"/>
                  </a:lnTo>
                  <a:lnTo>
                    <a:pt x="108" y="141"/>
                  </a:lnTo>
                  <a:lnTo>
                    <a:pt x="105" y="139"/>
                  </a:lnTo>
                  <a:lnTo>
                    <a:pt x="105" y="139"/>
                  </a:lnTo>
                  <a:lnTo>
                    <a:pt x="105" y="139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5" y="137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5" y="135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5" y="132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3" y="132"/>
                  </a:lnTo>
                  <a:lnTo>
                    <a:pt x="103" y="132"/>
                  </a:lnTo>
                  <a:lnTo>
                    <a:pt x="103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99" y="132"/>
                  </a:lnTo>
                  <a:lnTo>
                    <a:pt x="99" y="132"/>
                  </a:lnTo>
                  <a:lnTo>
                    <a:pt x="99" y="132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9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6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6"/>
                  </a:lnTo>
                  <a:lnTo>
                    <a:pt x="96" y="123"/>
                  </a:lnTo>
                  <a:lnTo>
                    <a:pt x="96" y="121"/>
                  </a:lnTo>
                  <a:lnTo>
                    <a:pt x="96" y="119"/>
                  </a:lnTo>
                  <a:lnTo>
                    <a:pt x="96" y="121"/>
                  </a:lnTo>
                  <a:lnTo>
                    <a:pt x="96" y="121"/>
                  </a:lnTo>
                  <a:lnTo>
                    <a:pt x="96" y="121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9" y="119"/>
                  </a:lnTo>
                  <a:lnTo>
                    <a:pt x="99" y="119"/>
                  </a:lnTo>
                  <a:lnTo>
                    <a:pt x="99" y="119"/>
                  </a:lnTo>
                  <a:lnTo>
                    <a:pt x="96" y="119"/>
                  </a:lnTo>
                  <a:lnTo>
                    <a:pt x="96" y="119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6" y="114"/>
                  </a:lnTo>
                  <a:lnTo>
                    <a:pt x="96" y="114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4" y="114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87" y="114"/>
                  </a:lnTo>
                  <a:lnTo>
                    <a:pt x="87" y="114"/>
                  </a:lnTo>
                  <a:lnTo>
                    <a:pt x="87" y="114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7" y="112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8" y="94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81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7"/>
                  </a:lnTo>
                  <a:lnTo>
                    <a:pt x="67" y="45"/>
                  </a:lnTo>
                  <a:lnTo>
                    <a:pt x="67" y="43"/>
                  </a:lnTo>
                  <a:lnTo>
                    <a:pt x="69" y="43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72" y="38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5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1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49" y="29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9"/>
                  </a:lnTo>
                  <a:lnTo>
                    <a:pt x="33" y="36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6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6"/>
                  </a:lnTo>
                  <a:lnTo>
                    <a:pt x="45" y="78"/>
                  </a:lnTo>
                  <a:lnTo>
                    <a:pt x="45" y="81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7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4"/>
                  </a:lnTo>
                  <a:lnTo>
                    <a:pt x="51" y="94"/>
                  </a:lnTo>
                  <a:lnTo>
                    <a:pt x="51" y="94"/>
                  </a:lnTo>
                  <a:lnTo>
                    <a:pt x="51" y="94"/>
                  </a:lnTo>
                  <a:lnTo>
                    <a:pt x="51" y="94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4" y="108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4" y="112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4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5" y="132"/>
                  </a:lnTo>
                  <a:lnTo>
                    <a:pt x="65" y="132"/>
                  </a:lnTo>
                  <a:lnTo>
                    <a:pt x="65" y="132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3" y="135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39"/>
                  </a:lnTo>
                  <a:lnTo>
                    <a:pt x="67" y="139"/>
                  </a:lnTo>
                  <a:lnTo>
                    <a:pt x="67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39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46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3"/>
                  </a:lnTo>
                  <a:lnTo>
                    <a:pt x="72" y="157"/>
                  </a:lnTo>
                  <a:lnTo>
                    <a:pt x="72" y="157"/>
                  </a:lnTo>
                  <a:lnTo>
                    <a:pt x="72" y="157"/>
                  </a:lnTo>
                  <a:lnTo>
                    <a:pt x="72" y="157"/>
                  </a:lnTo>
                  <a:lnTo>
                    <a:pt x="72" y="159"/>
                  </a:lnTo>
                  <a:lnTo>
                    <a:pt x="72" y="159"/>
                  </a:lnTo>
                  <a:lnTo>
                    <a:pt x="72" y="159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2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4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6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2" y="168"/>
                  </a:lnTo>
                  <a:lnTo>
                    <a:pt x="74" y="168"/>
                  </a:lnTo>
                  <a:lnTo>
                    <a:pt x="74" y="168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74" y="171"/>
                  </a:lnTo>
                  <a:lnTo>
                    <a:pt x="76" y="171"/>
                  </a:lnTo>
                  <a:lnTo>
                    <a:pt x="76" y="171"/>
                  </a:lnTo>
                  <a:lnTo>
                    <a:pt x="76" y="171"/>
                  </a:lnTo>
                  <a:lnTo>
                    <a:pt x="76" y="173"/>
                  </a:lnTo>
                  <a:lnTo>
                    <a:pt x="76" y="173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6" y="175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77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9"/>
                  </a:lnTo>
                  <a:lnTo>
                    <a:pt x="78" y="189"/>
                  </a:lnTo>
                  <a:lnTo>
                    <a:pt x="78" y="189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8" y="191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6" y="195"/>
                  </a:lnTo>
                  <a:lnTo>
                    <a:pt x="76" y="195"/>
                  </a:lnTo>
                  <a:lnTo>
                    <a:pt x="78" y="198"/>
                  </a:lnTo>
                  <a:lnTo>
                    <a:pt x="76" y="198"/>
                  </a:lnTo>
                  <a:lnTo>
                    <a:pt x="76" y="200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8" y="202"/>
                  </a:lnTo>
                  <a:lnTo>
                    <a:pt x="78" y="202"/>
                  </a:lnTo>
                  <a:lnTo>
                    <a:pt x="78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1" y="202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2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1" y="204"/>
                  </a:lnTo>
                  <a:lnTo>
                    <a:pt x="81" y="204"/>
                  </a:lnTo>
                  <a:lnTo>
                    <a:pt x="81" y="204"/>
                  </a:lnTo>
                  <a:lnTo>
                    <a:pt x="81" y="204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3" y="204"/>
                  </a:lnTo>
                  <a:lnTo>
                    <a:pt x="85" y="202"/>
                  </a:lnTo>
                  <a:lnTo>
                    <a:pt x="83" y="202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5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0"/>
                  </a:lnTo>
                  <a:lnTo>
                    <a:pt x="87" y="202"/>
                  </a:lnTo>
                  <a:lnTo>
                    <a:pt x="87" y="202"/>
                  </a:lnTo>
                  <a:lnTo>
                    <a:pt x="90" y="202"/>
                  </a:lnTo>
                  <a:lnTo>
                    <a:pt x="90" y="202"/>
                  </a:lnTo>
                  <a:lnTo>
                    <a:pt x="90" y="202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4"/>
                  </a:lnTo>
                  <a:lnTo>
                    <a:pt x="90" y="207"/>
                  </a:lnTo>
                  <a:lnTo>
                    <a:pt x="90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2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7"/>
                  </a:lnTo>
                  <a:lnTo>
                    <a:pt x="94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11"/>
                  </a:lnTo>
                  <a:lnTo>
                    <a:pt x="92" y="211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11"/>
                  </a:lnTo>
                  <a:lnTo>
                    <a:pt x="94" y="213"/>
                  </a:lnTo>
                  <a:lnTo>
                    <a:pt x="94" y="213"/>
                  </a:lnTo>
                  <a:lnTo>
                    <a:pt x="94" y="213"/>
                  </a:lnTo>
                  <a:lnTo>
                    <a:pt x="94" y="216"/>
                  </a:lnTo>
                  <a:lnTo>
                    <a:pt x="94" y="216"/>
                  </a:lnTo>
                  <a:lnTo>
                    <a:pt x="94" y="216"/>
                  </a:lnTo>
                  <a:lnTo>
                    <a:pt x="94" y="216"/>
                  </a:lnTo>
                  <a:lnTo>
                    <a:pt x="96" y="216"/>
                  </a:lnTo>
                  <a:lnTo>
                    <a:pt x="96" y="216"/>
                  </a:lnTo>
                  <a:lnTo>
                    <a:pt x="96" y="218"/>
                  </a:lnTo>
                  <a:lnTo>
                    <a:pt x="99" y="218"/>
                  </a:lnTo>
                  <a:lnTo>
                    <a:pt x="99" y="218"/>
                  </a:lnTo>
                  <a:lnTo>
                    <a:pt x="99" y="218"/>
                  </a:lnTo>
                  <a:lnTo>
                    <a:pt x="99" y="218"/>
                  </a:lnTo>
                  <a:lnTo>
                    <a:pt x="99" y="218"/>
                  </a:lnTo>
                  <a:lnTo>
                    <a:pt x="99" y="220"/>
                  </a:lnTo>
                  <a:lnTo>
                    <a:pt x="99" y="220"/>
                  </a:lnTo>
                  <a:lnTo>
                    <a:pt x="99" y="220"/>
                  </a:lnTo>
                  <a:lnTo>
                    <a:pt x="99" y="220"/>
                  </a:lnTo>
                  <a:lnTo>
                    <a:pt x="99" y="220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9" y="225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4" y="229"/>
                  </a:lnTo>
                  <a:lnTo>
                    <a:pt x="92" y="229"/>
                  </a:lnTo>
                  <a:lnTo>
                    <a:pt x="92" y="231"/>
                  </a:lnTo>
                  <a:lnTo>
                    <a:pt x="92" y="231"/>
                  </a:lnTo>
                  <a:lnTo>
                    <a:pt x="92" y="231"/>
                  </a:lnTo>
                  <a:lnTo>
                    <a:pt x="90" y="231"/>
                  </a:lnTo>
                  <a:lnTo>
                    <a:pt x="90" y="231"/>
                  </a:lnTo>
                  <a:lnTo>
                    <a:pt x="90" y="231"/>
                  </a:lnTo>
                  <a:lnTo>
                    <a:pt x="90" y="234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87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5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31"/>
                  </a:lnTo>
                  <a:lnTo>
                    <a:pt x="83" y="229"/>
                  </a:lnTo>
                  <a:lnTo>
                    <a:pt x="83" y="227"/>
                  </a:lnTo>
                  <a:lnTo>
                    <a:pt x="83" y="225"/>
                  </a:lnTo>
                  <a:lnTo>
                    <a:pt x="83" y="225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1" y="222"/>
                  </a:lnTo>
                  <a:lnTo>
                    <a:pt x="81" y="218"/>
                  </a:lnTo>
                  <a:lnTo>
                    <a:pt x="81" y="218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76" y="216"/>
                  </a:lnTo>
                  <a:lnTo>
                    <a:pt x="76" y="216"/>
                  </a:lnTo>
                  <a:lnTo>
                    <a:pt x="74" y="213"/>
                  </a:lnTo>
                  <a:lnTo>
                    <a:pt x="74" y="211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69" y="207"/>
                  </a:lnTo>
                  <a:lnTo>
                    <a:pt x="69" y="207"/>
                  </a:lnTo>
                  <a:lnTo>
                    <a:pt x="69" y="207"/>
                  </a:lnTo>
                  <a:lnTo>
                    <a:pt x="69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4"/>
                  </a:lnTo>
                  <a:lnTo>
                    <a:pt x="67" y="202"/>
                  </a:lnTo>
                  <a:lnTo>
                    <a:pt x="65" y="202"/>
                  </a:lnTo>
                  <a:lnTo>
                    <a:pt x="65" y="202"/>
                  </a:lnTo>
                  <a:lnTo>
                    <a:pt x="60" y="200"/>
                  </a:lnTo>
                  <a:lnTo>
                    <a:pt x="60" y="200"/>
                  </a:lnTo>
                  <a:lnTo>
                    <a:pt x="60" y="200"/>
                  </a:lnTo>
                  <a:lnTo>
                    <a:pt x="63" y="200"/>
                  </a:lnTo>
                  <a:lnTo>
                    <a:pt x="63" y="200"/>
                  </a:lnTo>
                  <a:lnTo>
                    <a:pt x="63" y="200"/>
                  </a:lnTo>
                  <a:lnTo>
                    <a:pt x="60" y="200"/>
                  </a:lnTo>
                  <a:lnTo>
                    <a:pt x="60" y="200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60" y="198"/>
                  </a:lnTo>
                  <a:lnTo>
                    <a:pt x="58" y="198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5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6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3"/>
                  </a:lnTo>
                  <a:lnTo>
                    <a:pt x="56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91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9"/>
                  </a:lnTo>
                  <a:lnTo>
                    <a:pt x="54" y="186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4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91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6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51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9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1" y="186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6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49" y="184"/>
                  </a:lnTo>
                  <a:lnTo>
                    <a:pt x="51" y="182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7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3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6" y="168"/>
                  </a:lnTo>
                  <a:lnTo>
                    <a:pt x="56" y="166"/>
                  </a:lnTo>
                  <a:lnTo>
                    <a:pt x="54" y="168"/>
                  </a:lnTo>
                  <a:lnTo>
                    <a:pt x="54" y="168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66"/>
                  </a:lnTo>
                  <a:lnTo>
                    <a:pt x="54" y="166"/>
                  </a:lnTo>
                  <a:lnTo>
                    <a:pt x="54" y="162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4" y="159"/>
                  </a:lnTo>
                  <a:lnTo>
                    <a:pt x="51" y="157"/>
                  </a:lnTo>
                  <a:lnTo>
                    <a:pt x="54" y="157"/>
                  </a:lnTo>
                  <a:lnTo>
                    <a:pt x="54" y="157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1" y="155"/>
                  </a:lnTo>
                  <a:lnTo>
                    <a:pt x="51" y="153"/>
                  </a:lnTo>
                  <a:lnTo>
                    <a:pt x="51" y="153"/>
                  </a:lnTo>
                  <a:lnTo>
                    <a:pt x="51" y="153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5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7" y="153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9"/>
                  </a:lnTo>
                  <a:lnTo>
                    <a:pt x="40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31" y="144"/>
                  </a:lnTo>
                  <a:lnTo>
                    <a:pt x="31" y="144"/>
                  </a:lnTo>
                  <a:lnTo>
                    <a:pt x="29" y="144"/>
                  </a:lnTo>
                  <a:lnTo>
                    <a:pt x="29" y="144"/>
                  </a:lnTo>
                  <a:lnTo>
                    <a:pt x="29" y="141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7" y="139"/>
                  </a:lnTo>
                  <a:lnTo>
                    <a:pt x="27" y="139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0" y="132"/>
                  </a:lnTo>
                  <a:lnTo>
                    <a:pt x="20" y="132"/>
                  </a:lnTo>
                  <a:lnTo>
                    <a:pt x="20" y="132"/>
                  </a:lnTo>
                  <a:lnTo>
                    <a:pt x="20" y="132"/>
                  </a:lnTo>
                  <a:lnTo>
                    <a:pt x="20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6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4"/>
                  </a:lnTo>
                  <a:lnTo>
                    <a:pt x="9" y="114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5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2" y="117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4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19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4" y="117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7" y="112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78"/>
                  </a:lnTo>
                  <a:lnTo>
                    <a:pt x="18" y="78"/>
                  </a:lnTo>
                  <a:lnTo>
                    <a:pt x="15" y="78"/>
                  </a:lnTo>
                  <a:lnTo>
                    <a:pt x="15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9" y="63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6" y="49"/>
                  </a:lnTo>
                  <a:lnTo>
                    <a:pt x="6" y="47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6" y="45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54" y="9"/>
                  </a:lnTo>
                  <a:lnTo>
                    <a:pt x="60" y="11"/>
                  </a:lnTo>
                  <a:lnTo>
                    <a:pt x="67" y="16"/>
                  </a:lnTo>
                  <a:lnTo>
                    <a:pt x="76" y="18"/>
                  </a:lnTo>
                  <a:lnTo>
                    <a:pt x="83" y="20"/>
                  </a:lnTo>
                  <a:lnTo>
                    <a:pt x="90" y="25"/>
                  </a:lnTo>
                  <a:lnTo>
                    <a:pt x="96" y="27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41" y="34"/>
                  </a:lnTo>
                  <a:lnTo>
                    <a:pt x="141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7" y="34"/>
                  </a:lnTo>
                  <a:lnTo>
                    <a:pt x="157" y="34"/>
                  </a:lnTo>
                  <a:lnTo>
                    <a:pt x="159" y="34"/>
                  </a:lnTo>
                  <a:lnTo>
                    <a:pt x="159" y="34"/>
                  </a:lnTo>
                  <a:lnTo>
                    <a:pt x="159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1" y="34"/>
                  </a:lnTo>
                  <a:lnTo>
                    <a:pt x="164" y="34"/>
                  </a:lnTo>
                  <a:lnTo>
                    <a:pt x="164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31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0" y="27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5" y="22"/>
                  </a:lnTo>
                  <a:lnTo>
                    <a:pt x="175" y="22"/>
                  </a:lnTo>
                  <a:lnTo>
                    <a:pt x="175" y="22"/>
                  </a:lnTo>
                  <a:lnTo>
                    <a:pt x="175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79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2" y="22"/>
                  </a:lnTo>
                  <a:lnTo>
                    <a:pt x="184" y="22"/>
                  </a:lnTo>
                  <a:lnTo>
                    <a:pt x="184" y="22"/>
                  </a:lnTo>
                  <a:lnTo>
                    <a:pt x="184" y="22"/>
                  </a:lnTo>
                  <a:lnTo>
                    <a:pt x="184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8" y="22"/>
                  </a:lnTo>
                  <a:lnTo>
                    <a:pt x="188" y="22"/>
                  </a:lnTo>
                  <a:lnTo>
                    <a:pt x="188" y="22"/>
                  </a:lnTo>
                  <a:lnTo>
                    <a:pt x="188" y="22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1" y="22"/>
                  </a:lnTo>
                  <a:lnTo>
                    <a:pt x="193" y="22"/>
                  </a:lnTo>
                  <a:lnTo>
                    <a:pt x="193" y="22"/>
                  </a:lnTo>
                  <a:lnTo>
                    <a:pt x="193" y="22"/>
                  </a:lnTo>
                  <a:lnTo>
                    <a:pt x="193" y="22"/>
                  </a:lnTo>
                  <a:lnTo>
                    <a:pt x="193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5" y="22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197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0" y="22"/>
                  </a:lnTo>
                  <a:lnTo>
                    <a:pt x="202" y="22"/>
                  </a:lnTo>
                  <a:lnTo>
                    <a:pt x="202" y="22"/>
                  </a:lnTo>
                  <a:lnTo>
                    <a:pt x="202" y="22"/>
                  </a:lnTo>
                  <a:lnTo>
                    <a:pt x="202" y="22"/>
                  </a:lnTo>
                  <a:lnTo>
                    <a:pt x="202" y="22"/>
                  </a:lnTo>
                  <a:lnTo>
                    <a:pt x="204" y="22"/>
                  </a:lnTo>
                  <a:lnTo>
                    <a:pt x="204" y="22"/>
                  </a:lnTo>
                  <a:lnTo>
                    <a:pt x="204" y="22"/>
                  </a:lnTo>
                  <a:lnTo>
                    <a:pt x="204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6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2"/>
                  </a:lnTo>
                  <a:lnTo>
                    <a:pt x="209" y="25"/>
                  </a:lnTo>
                  <a:lnTo>
                    <a:pt x="211" y="25"/>
                  </a:lnTo>
                  <a:lnTo>
                    <a:pt x="211" y="25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3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1"/>
                  </a:lnTo>
                  <a:lnTo>
                    <a:pt x="215" y="34"/>
                  </a:lnTo>
                  <a:lnTo>
                    <a:pt x="215" y="34"/>
                  </a:lnTo>
                  <a:lnTo>
                    <a:pt x="215" y="34"/>
                  </a:lnTo>
                  <a:lnTo>
                    <a:pt x="215" y="34"/>
                  </a:lnTo>
                  <a:lnTo>
                    <a:pt x="215" y="34"/>
                  </a:lnTo>
                  <a:lnTo>
                    <a:pt x="215" y="34"/>
                  </a:lnTo>
                  <a:lnTo>
                    <a:pt x="215" y="34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4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29" y="49"/>
                  </a:lnTo>
                  <a:lnTo>
                    <a:pt x="231" y="49"/>
                  </a:lnTo>
                  <a:lnTo>
                    <a:pt x="231" y="49"/>
                  </a:lnTo>
                  <a:lnTo>
                    <a:pt x="231" y="49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4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8"/>
                  </a:lnTo>
                  <a:lnTo>
                    <a:pt x="231" y="58"/>
                  </a:lnTo>
                  <a:lnTo>
                    <a:pt x="231" y="58"/>
                  </a:lnTo>
                  <a:lnTo>
                    <a:pt x="231" y="58"/>
                  </a:lnTo>
                  <a:lnTo>
                    <a:pt x="233" y="58"/>
                  </a:lnTo>
                  <a:lnTo>
                    <a:pt x="233" y="60"/>
                  </a:lnTo>
                  <a:lnTo>
                    <a:pt x="233" y="60"/>
                  </a:lnTo>
                  <a:lnTo>
                    <a:pt x="233" y="60"/>
                  </a:lnTo>
                  <a:lnTo>
                    <a:pt x="231" y="60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1" y="67"/>
                  </a:lnTo>
                  <a:lnTo>
                    <a:pt x="231" y="69"/>
                  </a:lnTo>
                  <a:lnTo>
                    <a:pt x="231" y="69"/>
                  </a:lnTo>
                  <a:lnTo>
                    <a:pt x="231" y="69"/>
                  </a:lnTo>
                  <a:lnTo>
                    <a:pt x="231" y="69"/>
                  </a:lnTo>
                  <a:lnTo>
                    <a:pt x="231" y="69"/>
                  </a:lnTo>
                  <a:lnTo>
                    <a:pt x="233" y="72"/>
                  </a:lnTo>
                  <a:lnTo>
                    <a:pt x="233" y="72"/>
                  </a:lnTo>
                  <a:lnTo>
                    <a:pt x="231" y="72"/>
                  </a:lnTo>
                  <a:lnTo>
                    <a:pt x="231" y="72"/>
                  </a:lnTo>
                  <a:lnTo>
                    <a:pt x="231" y="72"/>
                  </a:lnTo>
                  <a:lnTo>
                    <a:pt x="233" y="72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6" y="76"/>
                  </a:lnTo>
                  <a:lnTo>
                    <a:pt x="236" y="76"/>
                  </a:lnTo>
                  <a:lnTo>
                    <a:pt x="236" y="76"/>
                  </a:lnTo>
                  <a:lnTo>
                    <a:pt x="236" y="76"/>
                  </a:lnTo>
                  <a:lnTo>
                    <a:pt x="236" y="76"/>
                  </a:lnTo>
                  <a:lnTo>
                    <a:pt x="238" y="76"/>
                  </a:lnTo>
                  <a:lnTo>
                    <a:pt x="238" y="76"/>
                  </a:lnTo>
                  <a:lnTo>
                    <a:pt x="238" y="76"/>
                  </a:lnTo>
                  <a:lnTo>
                    <a:pt x="238" y="76"/>
                  </a:lnTo>
                  <a:lnTo>
                    <a:pt x="238" y="78"/>
                  </a:lnTo>
                  <a:lnTo>
                    <a:pt x="238" y="78"/>
                  </a:lnTo>
                  <a:lnTo>
                    <a:pt x="238" y="78"/>
                  </a:lnTo>
                  <a:lnTo>
                    <a:pt x="240" y="78"/>
                  </a:lnTo>
                  <a:lnTo>
                    <a:pt x="240" y="81"/>
                  </a:lnTo>
                  <a:lnTo>
                    <a:pt x="240" y="81"/>
                  </a:lnTo>
                  <a:lnTo>
                    <a:pt x="242" y="81"/>
                  </a:lnTo>
                  <a:lnTo>
                    <a:pt x="242" y="81"/>
                  </a:lnTo>
                  <a:lnTo>
                    <a:pt x="245" y="81"/>
                  </a:lnTo>
                  <a:lnTo>
                    <a:pt x="245" y="81"/>
                  </a:lnTo>
                  <a:lnTo>
                    <a:pt x="245" y="81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5" y="83"/>
                  </a:lnTo>
                  <a:lnTo>
                    <a:pt x="247" y="83"/>
                  </a:lnTo>
                  <a:lnTo>
                    <a:pt x="247" y="83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49" y="85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1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6" y="87"/>
                  </a:lnTo>
                  <a:lnTo>
                    <a:pt x="258" y="87"/>
                  </a:lnTo>
                  <a:lnTo>
                    <a:pt x="258" y="87"/>
                  </a:lnTo>
                  <a:lnTo>
                    <a:pt x="258" y="87"/>
                  </a:lnTo>
                  <a:lnTo>
                    <a:pt x="258" y="87"/>
                  </a:lnTo>
                  <a:lnTo>
                    <a:pt x="258" y="85"/>
                  </a:lnTo>
                  <a:lnTo>
                    <a:pt x="258" y="85"/>
                  </a:lnTo>
                  <a:lnTo>
                    <a:pt x="258" y="85"/>
                  </a:lnTo>
                  <a:lnTo>
                    <a:pt x="258" y="85"/>
                  </a:lnTo>
                  <a:lnTo>
                    <a:pt x="260" y="85"/>
                  </a:lnTo>
                  <a:lnTo>
                    <a:pt x="260" y="83"/>
                  </a:lnTo>
                  <a:lnTo>
                    <a:pt x="260" y="83"/>
                  </a:lnTo>
                  <a:lnTo>
                    <a:pt x="260" y="83"/>
                  </a:lnTo>
                  <a:lnTo>
                    <a:pt x="260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8"/>
                  </a:lnTo>
                  <a:lnTo>
                    <a:pt x="265" y="76"/>
                  </a:lnTo>
                  <a:lnTo>
                    <a:pt x="265" y="76"/>
                  </a:lnTo>
                  <a:lnTo>
                    <a:pt x="267" y="76"/>
                  </a:lnTo>
                  <a:lnTo>
                    <a:pt x="267" y="76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7" y="74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9" y="72"/>
                  </a:lnTo>
                  <a:lnTo>
                    <a:pt x="269" y="69"/>
                  </a:lnTo>
                  <a:lnTo>
                    <a:pt x="269" y="69"/>
                  </a:lnTo>
                  <a:lnTo>
                    <a:pt x="272" y="69"/>
                  </a:lnTo>
                  <a:lnTo>
                    <a:pt x="272" y="69"/>
                  </a:lnTo>
                  <a:lnTo>
                    <a:pt x="272" y="69"/>
                  </a:lnTo>
                  <a:lnTo>
                    <a:pt x="272" y="69"/>
                  </a:lnTo>
                  <a:lnTo>
                    <a:pt x="272" y="69"/>
                  </a:lnTo>
                  <a:lnTo>
                    <a:pt x="272" y="69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6" y="69"/>
                  </a:lnTo>
                  <a:lnTo>
                    <a:pt x="276" y="69"/>
                  </a:lnTo>
                  <a:lnTo>
                    <a:pt x="276" y="69"/>
                  </a:lnTo>
                  <a:lnTo>
                    <a:pt x="276" y="67"/>
                  </a:lnTo>
                  <a:lnTo>
                    <a:pt x="276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78" y="67"/>
                  </a:lnTo>
                  <a:lnTo>
                    <a:pt x="280" y="67"/>
                  </a:lnTo>
                  <a:lnTo>
                    <a:pt x="280" y="67"/>
                  </a:lnTo>
                  <a:lnTo>
                    <a:pt x="280" y="69"/>
                  </a:lnTo>
                  <a:lnTo>
                    <a:pt x="280" y="69"/>
                  </a:lnTo>
                  <a:lnTo>
                    <a:pt x="283" y="69"/>
                  </a:lnTo>
                  <a:lnTo>
                    <a:pt x="283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5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87" y="69"/>
                  </a:lnTo>
                  <a:lnTo>
                    <a:pt x="292" y="69"/>
                  </a:lnTo>
                  <a:lnTo>
                    <a:pt x="292" y="69"/>
                  </a:lnTo>
                  <a:lnTo>
                    <a:pt x="292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6" y="69"/>
                  </a:lnTo>
                  <a:lnTo>
                    <a:pt x="296" y="69"/>
                  </a:lnTo>
                  <a:lnTo>
                    <a:pt x="296" y="69"/>
                  </a:lnTo>
                  <a:lnTo>
                    <a:pt x="296" y="69"/>
                  </a:lnTo>
                  <a:lnTo>
                    <a:pt x="296" y="69"/>
                  </a:lnTo>
                  <a:lnTo>
                    <a:pt x="296" y="69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2"/>
                  </a:lnTo>
                  <a:lnTo>
                    <a:pt x="296" y="74"/>
                  </a:lnTo>
                  <a:lnTo>
                    <a:pt x="296" y="74"/>
                  </a:lnTo>
                  <a:lnTo>
                    <a:pt x="296" y="74"/>
                  </a:lnTo>
                  <a:lnTo>
                    <a:pt x="296" y="74"/>
                  </a:lnTo>
                  <a:lnTo>
                    <a:pt x="296" y="74"/>
                  </a:lnTo>
                  <a:lnTo>
                    <a:pt x="298" y="74"/>
                  </a:lnTo>
                  <a:lnTo>
                    <a:pt x="298" y="74"/>
                  </a:lnTo>
                  <a:lnTo>
                    <a:pt x="298" y="74"/>
                  </a:lnTo>
                  <a:lnTo>
                    <a:pt x="298" y="74"/>
                  </a:lnTo>
                  <a:lnTo>
                    <a:pt x="298" y="74"/>
                  </a:lnTo>
                  <a:lnTo>
                    <a:pt x="298" y="76"/>
                  </a:lnTo>
                  <a:lnTo>
                    <a:pt x="298" y="76"/>
                  </a:lnTo>
                  <a:lnTo>
                    <a:pt x="298" y="76"/>
                  </a:lnTo>
                  <a:lnTo>
                    <a:pt x="298" y="76"/>
                  </a:lnTo>
                  <a:lnTo>
                    <a:pt x="298" y="76"/>
                  </a:lnTo>
                  <a:lnTo>
                    <a:pt x="298" y="76"/>
                  </a:lnTo>
                  <a:lnTo>
                    <a:pt x="298" y="76"/>
                  </a:lnTo>
                  <a:lnTo>
                    <a:pt x="301" y="76"/>
                  </a:lnTo>
                  <a:lnTo>
                    <a:pt x="301" y="76"/>
                  </a:lnTo>
                  <a:lnTo>
                    <a:pt x="301" y="78"/>
                  </a:lnTo>
                  <a:lnTo>
                    <a:pt x="301" y="78"/>
                  </a:lnTo>
                  <a:lnTo>
                    <a:pt x="301" y="78"/>
                  </a:lnTo>
                  <a:lnTo>
                    <a:pt x="301" y="78"/>
                  </a:lnTo>
                  <a:lnTo>
                    <a:pt x="301" y="78"/>
                  </a:lnTo>
                  <a:lnTo>
                    <a:pt x="301" y="78"/>
                  </a:lnTo>
                  <a:lnTo>
                    <a:pt x="301" y="78"/>
                  </a:lnTo>
                  <a:lnTo>
                    <a:pt x="303" y="81"/>
                  </a:lnTo>
                  <a:lnTo>
                    <a:pt x="303" y="81"/>
                  </a:lnTo>
                  <a:lnTo>
                    <a:pt x="303" y="81"/>
                  </a:lnTo>
                  <a:lnTo>
                    <a:pt x="303" y="81"/>
                  </a:lnTo>
                  <a:lnTo>
                    <a:pt x="305" y="81"/>
                  </a:lnTo>
                  <a:lnTo>
                    <a:pt x="305" y="83"/>
                  </a:lnTo>
                  <a:lnTo>
                    <a:pt x="305" y="83"/>
                  </a:lnTo>
                  <a:lnTo>
                    <a:pt x="305" y="83"/>
                  </a:lnTo>
                  <a:lnTo>
                    <a:pt x="305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5" y="85"/>
                  </a:lnTo>
                  <a:lnTo>
                    <a:pt x="305" y="85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7" y="85"/>
                  </a:lnTo>
                  <a:lnTo>
                    <a:pt x="307" y="85"/>
                  </a:lnTo>
                  <a:lnTo>
                    <a:pt x="307" y="87"/>
                  </a:lnTo>
                  <a:lnTo>
                    <a:pt x="307" y="87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0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07" y="96"/>
                  </a:lnTo>
                  <a:lnTo>
                    <a:pt x="310" y="96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1"/>
                  </a:lnTo>
                  <a:lnTo>
                    <a:pt x="310" y="103"/>
                  </a:lnTo>
                  <a:lnTo>
                    <a:pt x="310" y="103"/>
                  </a:lnTo>
                  <a:lnTo>
                    <a:pt x="310" y="103"/>
                  </a:lnTo>
                  <a:lnTo>
                    <a:pt x="310" y="105"/>
                  </a:lnTo>
                  <a:lnTo>
                    <a:pt x="310" y="105"/>
                  </a:lnTo>
                  <a:lnTo>
                    <a:pt x="310" y="105"/>
                  </a:lnTo>
                  <a:lnTo>
                    <a:pt x="310" y="105"/>
                  </a:lnTo>
                  <a:lnTo>
                    <a:pt x="310" y="105"/>
                  </a:lnTo>
                  <a:lnTo>
                    <a:pt x="312" y="105"/>
                  </a:lnTo>
                  <a:lnTo>
                    <a:pt x="312" y="105"/>
                  </a:lnTo>
                  <a:lnTo>
                    <a:pt x="312" y="105"/>
                  </a:lnTo>
                  <a:lnTo>
                    <a:pt x="312" y="108"/>
                  </a:lnTo>
                  <a:lnTo>
                    <a:pt x="312" y="108"/>
                  </a:lnTo>
                  <a:lnTo>
                    <a:pt x="312" y="108"/>
                  </a:lnTo>
                  <a:lnTo>
                    <a:pt x="312" y="108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0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2"/>
                  </a:lnTo>
                  <a:lnTo>
                    <a:pt x="314" y="114"/>
                  </a:lnTo>
                  <a:lnTo>
                    <a:pt x="314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4" y="114"/>
                  </a:lnTo>
                  <a:lnTo>
                    <a:pt x="314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6" y="119"/>
                  </a:lnTo>
                  <a:lnTo>
                    <a:pt x="319" y="119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19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2"/>
                  </a:lnTo>
                  <a:lnTo>
                    <a:pt x="321" y="132"/>
                  </a:lnTo>
                  <a:lnTo>
                    <a:pt x="321" y="132"/>
                  </a:lnTo>
                  <a:lnTo>
                    <a:pt x="321" y="132"/>
                  </a:lnTo>
                  <a:lnTo>
                    <a:pt x="321" y="132"/>
                  </a:lnTo>
                  <a:lnTo>
                    <a:pt x="321" y="132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19" y="135"/>
                  </a:lnTo>
                  <a:lnTo>
                    <a:pt x="319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9"/>
                  </a:lnTo>
                  <a:lnTo>
                    <a:pt x="323" y="139"/>
                  </a:lnTo>
                  <a:lnTo>
                    <a:pt x="323" y="139"/>
                  </a:lnTo>
                  <a:lnTo>
                    <a:pt x="323" y="139"/>
                  </a:lnTo>
                  <a:lnTo>
                    <a:pt x="323" y="141"/>
                  </a:lnTo>
                  <a:lnTo>
                    <a:pt x="323" y="141"/>
                  </a:lnTo>
                  <a:lnTo>
                    <a:pt x="323" y="144"/>
                  </a:lnTo>
                  <a:lnTo>
                    <a:pt x="323" y="146"/>
                  </a:lnTo>
                  <a:lnTo>
                    <a:pt x="323" y="146"/>
                  </a:lnTo>
                  <a:lnTo>
                    <a:pt x="323" y="146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48"/>
                  </a:lnTo>
                  <a:lnTo>
                    <a:pt x="323" y="150"/>
                  </a:lnTo>
                  <a:lnTo>
                    <a:pt x="323" y="150"/>
                  </a:lnTo>
                  <a:lnTo>
                    <a:pt x="323" y="150"/>
                  </a:lnTo>
                  <a:lnTo>
                    <a:pt x="323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5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28" y="150"/>
                  </a:lnTo>
                  <a:lnTo>
                    <a:pt x="330" y="150"/>
                  </a:lnTo>
                  <a:lnTo>
                    <a:pt x="330" y="150"/>
                  </a:lnTo>
                  <a:lnTo>
                    <a:pt x="330" y="150"/>
                  </a:lnTo>
                  <a:lnTo>
                    <a:pt x="330" y="150"/>
                  </a:lnTo>
                  <a:lnTo>
                    <a:pt x="330" y="150"/>
                  </a:lnTo>
                  <a:lnTo>
                    <a:pt x="330" y="150"/>
                  </a:lnTo>
                  <a:lnTo>
                    <a:pt x="330" y="153"/>
                  </a:lnTo>
                  <a:lnTo>
                    <a:pt x="330" y="153"/>
                  </a:lnTo>
                  <a:lnTo>
                    <a:pt x="330" y="153"/>
                  </a:lnTo>
                  <a:lnTo>
                    <a:pt x="330" y="153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2" y="155"/>
                  </a:lnTo>
                  <a:lnTo>
                    <a:pt x="334" y="153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9" y="155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3" y="157"/>
                  </a:lnTo>
                  <a:lnTo>
                    <a:pt x="343" y="159"/>
                  </a:lnTo>
                  <a:lnTo>
                    <a:pt x="343" y="159"/>
                  </a:lnTo>
                  <a:lnTo>
                    <a:pt x="343" y="159"/>
                  </a:lnTo>
                  <a:lnTo>
                    <a:pt x="343" y="157"/>
                  </a:lnTo>
                  <a:lnTo>
                    <a:pt x="343" y="157"/>
                  </a:lnTo>
                  <a:lnTo>
                    <a:pt x="346" y="159"/>
                  </a:lnTo>
                  <a:lnTo>
                    <a:pt x="348" y="157"/>
                  </a:lnTo>
                  <a:lnTo>
                    <a:pt x="348" y="157"/>
                  </a:lnTo>
                  <a:lnTo>
                    <a:pt x="348" y="159"/>
                  </a:lnTo>
                  <a:lnTo>
                    <a:pt x="348" y="159"/>
                  </a:lnTo>
                  <a:lnTo>
                    <a:pt x="348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2" y="159"/>
                  </a:lnTo>
                  <a:lnTo>
                    <a:pt x="352" y="159"/>
                  </a:lnTo>
                  <a:lnTo>
                    <a:pt x="352" y="159"/>
                  </a:lnTo>
                  <a:lnTo>
                    <a:pt x="352" y="162"/>
                  </a:lnTo>
                  <a:lnTo>
                    <a:pt x="352" y="162"/>
                  </a:lnTo>
                  <a:lnTo>
                    <a:pt x="352" y="162"/>
                  </a:lnTo>
                  <a:lnTo>
                    <a:pt x="355" y="162"/>
                  </a:lnTo>
                  <a:lnTo>
                    <a:pt x="355" y="162"/>
                  </a:lnTo>
                  <a:lnTo>
                    <a:pt x="355" y="162"/>
                  </a:lnTo>
                  <a:lnTo>
                    <a:pt x="355" y="162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5" y="164"/>
                  </a:lnTo>
                  <a:lnTo>
                    <a:pt x="357" y="164"/>
                  </a:lnTo>
                  <a:lnTo>
                    <a:pt x="357" y="164"/>
                  </a:lnTo>
                  <a:lnTo>
                    <a:pt x="357" y="164"/>
                  </a:lnTo>
                  <a:lnTo>
                    <a:pt x="357" y="164"/>
                  </a:lnTo>
                  <a:lnTo>
                    <a:pt x="357" y="162"/>
                  </a:lnTo>
                  <a:lnTo>
                    <a:pt x="357" y="162"/>
                  </a:lnTo>
                  <a:lnTo>
                    <a:pt x="357" y="162"/>
                  </a:lnTo>
                  <a:lnTo>
                    <a:pt x="357" y="162"/>
                  </a:lnTo>
                  <a:lnTo>
                    <a:pt x="357" y="162"/>
                  </a:lnTo>
                  <a:lnTo>
                    <a:pt x="359" y="162"/>
                  </a:lnTo>
                  <a:lnTo>
                    <a:pt x="359" y="162"/>
                  </a:lnTo>
                  <a:lnTo>
                    <a:pt x="359" y="162"/>
                  </a:lnTo>
                  <a:lnTo>
                    <a:pt x="359" y="162"/>
                  </a:lnTo>
                  <a:lnTo>
                    <a:pt x="359" y="162"/>
                  </a:lnTo>
                  <a:lnTo>
                    <a:pt x="361" y="159"/>
                  </a:lnTo>
                  <a:lnTo>
                    <a:pt x="359" y="164"/>
                  </a:lnTo>
                  <a:lnTo>
                    <a:pt x="359" y="164"/>
                  </a:lnTo>
                  <a:lnTo>
                    <a:pt x="359" y="166"/>
                  </a:lnTo>
                  <a:lnTo>
                    <a:pt x="359" y="166"/>
                  </a:lnTo>
                  <a:lnTo>
                    <a:pt x="359" y="166"/>
                  </a:lnTo>
                  <a:lnTo>
                    <a:pt x="359" y="166"/>
                  </a:lnTo>
                  <a:lnTo>
                    <a:pt x="359" y="168"/>
                  </a:lnTo>
                  <a:lnTo>
                    <a:pt x="357" y="171"/>
                  </a:lnTo>
                  <a:lnTo>
                    <a:pt x="357" y="171"/>
                  </a:lnTo>
                  <a:lnTo>
                    <a:pt x="355" y="175"/>
                  </a:lnTo>
                  <a:lnTo>
                    <a:pt x="350" y="180"/>
                  </a:lnTo>
                  <a:lnTo>
                    <a:pt x="343" y="195"/>
                  </a:lnTo>
                  <a:lnTo>
                    <a:pt x="341" y="204"/>
                  </a:lnTo>
                  <a:lnTo>
                    <a:pt x="341" y="207"/>
                  </a:lnTo>
                  <a:lnTo>
                    <a:pt x="341" y="207"/>
                  </a:lnTo>
                  <a:lnTo>
                    <a:pt x="339" y="211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6"/>
                  </a:lnTo>
                  <a:lnTo>
                    <a:pt x="339" y="216"/>
                  </a:lnTo>
                  <a:lnTo>
                    <a:pt x="339" y="216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3"/>
                  </a:lnTo>
                  <a:lnTo>
                    <a:pt x="339" y="218"/>
                  </a:lnTo>
                  <a:lnTo>
                    <a:pt x="339" y="220"/>
                  </a:lnTo>
                  <a:lnTo>
                    <a:pt x="337" y="225"/>
                  </a:lnTo>
                  <a:lnTo>
                    <a:pt x="337" y="231"/>
                  </a:lnTo>
                  <a:lnTo>
                    <a:pt x="337" y="236"/>
                  </a:lnTo>
                  <a:lnTo>
                    <a:pt x="337" y="234"/>
                  </a:lnTo>
                  <a:lnTo>
                    <a:pt x="337" y="234"/>
                  </a:lnTo>
                  <a:lnTo>
                    <a:pt x="337" y="234"/>
                  </a:lnTo>
                  <a:lnTo>
                    <a:pt x="334" y="236"/>
                  </a:lnTo>
                  <a:lnTo>
                    <a:pt x="334" y="236"/>
                  </a:lnTo>
                  <a:lnTo>
                    <a:pt x="334" y="236"/>
                  </a:lnTo>
                  <a:lnTo>
                    <a:pt x="334" y="238"/>
                  </a:lnTo>
                  <a:lnTo>
                    <a:pt x="334" y="238"/>
                  </a:lnTo>
                  <a:lnTo>
                    <a:pt x="334" y="238"/>
                  </a:lnTo>
                  <a:lnTo>
                    <a:pt x="332" y="238"/>
                  </a:lnTo>
                  <a:lnTo>
                    <a:pt x="332" y="238"/>
                  </a:lnTo>
                  <a:lnTo>
                    <a:pt x="332" y="238"/>
                  </a:lnTo>
                  <a:lnTo>
                    <a:pt x="332" y="238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40"/>
                  </a:lnTo>
                  <a:lnTo>
                    <a:pt x="332" y="238"/>
                  </a:lnTo>
                  <a:lnTo>
                    <a:pt x="334" y="238"/>
                  </a:lnTo>
                  <a:lnTo>
                    <a:pt x="334" y="240"/>
                  </a:lnTo>
                  <a:lnTo>
                    <a:pt x="334" y="240"/>
                  </a:lnTo>
                  <a:lnTo>
                    <a:pt x="332" y="240"/>
                  </a:lnTo>
                  <a:lnTo>
                    <a:pt x="332" y="243"/>
                  </a:lnTo>
                  <a:lnTo>
                    <a:pt x="332" y="245"/>
                  </a:lnTo>
                  <a:lnTo>
                    <a:pt x="332" y="245"/>
                  </a:lnTo>
                  <a:lnTo>
                    <a:pt x="332" y="245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7"/>
                  </a:lnTo>
                  <a:lnTo>
                    <a:pt x="332" y="249"/>
                  </a:lnTo>
                  <a:lnTo>
                    <a:pt x="332" y="252"/>
                  </a:lnTo>
                  <a:lnTo>
                    <a:pt x="332" y="252"/>
                  </a:lnTo>
                  <a:lnTo>
                    <a:pt x="334" y="258"/>
                  </a:lnTo>
                  <a:lnTo>
                    <a:pt x="337" y="261"/>
                  </a:lnTo>
                  <a:lnTo>
                    <a:pt x="337" y="263"/>
                  </a:lnTo>
                  <a:lnTo>
                    <a:pt x="337" y="263"/>
                  </a:lnTo>
                  <a:lnTo>
                    <a:pt x="339" y="263"/>
                  </a:lnTo>
                  <a:lnTo>
                    <a:pt x="339" y="263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9" y="267"/>
                  </a:lnTo>
                  <a:lnTo>
                    <a:pt x="339" y="267"/>
                  </a:lnTo>
                  <a:lnTo>
                    <a:pt x="339" y="267"/>
                  </a:lnTo>
                  <a:lnTo>
                    <a:pt x="339" y="270"/>
                  </a:lnTo>
                  <a:lnTo>
                    <a:pt x="339" y="270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37" y="272"/>
                  </a:lnTo>
                  <a:lnTo>
                    <a:pt x="337" y="272"/>
                  </a:lnTo>
                  <a:lnTo>
                    <a:pt x="337" y="272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37" y="267"/>
                  </a:lnTo>
                  <a:lnTo>
                    <a:pt x="337" y="267"/>
                  </a:lnTo>
                  <a:lnTo>
                    <a:pt x="337" y="267"/>
                  </a:lnTo>
                  <a:lnTo>
                    <a:pt x="337" y="267"/>
                  </a:lnTo>
                  <a:lnTo>
                    <a:pt x="339" y="267"/>
                  </a:lnTo>
                  <a:lnTo>
                    <a:pt x="339" y="267"/>
                  </a:lnTo>
                  <a:lnTo>
                    <a:pt x="339" y="267"/>
                  </a:lnTo>
                  <a:lnTo>
                    <a:pt x="339" y="267"/>
                  </a:lnTo>
                  <a:lnTo>
                    <a:pt x="339" y="267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9" y="265"/>
                  </a:lnTo>
                  <a:lnTo>
                    <a:pt x="337" y="265"/>
                  </a:lnTo>
                  <a:lnTo>
                    <a:pt x="337" y="263"/>
                  </a:lnTo>
                  <a:lnTo>
                    <a:pt x="337" y="263"/>
                  </a:lnTo>
                  <a:lnTo>
                    <a:pt x="334" y="263"/>
                  </a:lnTo>
                  <a:lnTo>
                    <a:pt x="334" y="261"/>
                  </a:lnTo>
                  <a:lnTo>
                    <a:pt x="334" y="261"/>
                  </a:lnTo>
                  <a:lnTo>
                    <a:pt x="334" y="261"/>
                  </a:lnTo>
                  <a:lnTo>
                    <a:pt x="334" y="258"/>
                  </a:lnTo>
                  <a:lnTo>
                    <a:pt x="334" y="258"/>
                  </a:lnTo>
                  <a:lnTo>
                    <a:pt x="334" y="256"/>
                  </a:lnTo>
                  <a:lnTo>
                    <a:pt x="334" y="256"/>
                  </a:lnTo>
                  <a:lnTo>
                    <a:pt x="332" y="254"/>
                  </a:lnTo>
                  <a:lnTo>
                    <a:pt x="332" y="252"/>
                  </a:lnTo>
                  <a:lnTo>
                    <a:pt x="332" y="254"/>
                  </a:lnTo>
                  <a:lnTo>
                    <a:pt x="332" y="254"/>
                  </a:lnTo>
                  <a:lnTo>
                    <a:pt x="332" y="254"/>
                  </a:lnTo>
                  <a:lnTo>
                    <a:pt x="332" y="254"/>
                  </a:lnTo>
                  <a:lnTo>
                    <a:pt x="332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2" y="261"/>
                  </a:lnTo>
                  <a:lnTo>
                    <a:pt x="332" y="263"/>
                  </a:lnTo>
                  <a:lnTo>
                    <a:pt x="332" y="263"/>
                  </a:lnTo>
                  <a:lnTo>
                    <a:pt x="334" y="267"/>
                  </a:lnTo>
                  <a:lnTo>
                    <a:pt x="334" y="267"/>
                  </a:lnTo>
                  <a:lnTo>
                    <a:pt x="334" y="267"/>
                  </a:lnTo>
                  <a:lnTo>
                    <a:pt x="334" y="267"/>
                  </a:lnTo>
                  <a:lnTo>
                    <a:pt x="334" y="267"/>
                  </a:lnTo>
                  <a:lnTo>
                    <a:pt x="337" y="267"/>
                  </a:lnTo>
                  <a:lnTo>
                    <a:pt x="337" y="267"/>
                  </a:lnTo>
                  <a:lnTo>
                    <a:pt x="337" y="267"/>
                  </a:lnTo>
                  <a:lnTo>
                    <a:pt x="337" y="270"/>
                  </a:lnTo>
                  <a:lnTo>
                    <a:pt x="337" y="270"/>
                  </a:lnTo>
                  <a:lnTo>
                    <a:pt x="337" y="272"/>
                  </a:lnTo>
                  <a:lnTo>
                    <a:pt x="337" y="272"/>
                  </a:lnTo>
                  <a:lnTo>
                    <a:pt x="337" y="272"/>
                  </a:lnTo>
                  <a:lnTo>
                    <a:pt x="337" y="274"/>
                  </a:lnTo>
                  <a:lnTo>
                    <a:pt x="337" y="274"/>
                  </a:lnTo>
                  <a:lnTo>
                    <a:pt x="337" y="279"/>
                  </a:lnTo>
                  <a:lnTo>
                    <a:pt x="339" y="281"/>
                  </a:lnTo>
                  <a:lnTo>
                    <a:pt x="339" y="283"/>
                  </a:lnTo>
                  <a:lnTo>
                    <a:pt x="339" y="283"/>
                  </a:lnTo>
                  <a:lnTo>
                    <a:pt x="339" y="285"/>
                  </a:lnTo>
                  <a:lnTo>
                    <a:pt x="339" y="285"/>
                  </a:lnTo>
                  <a:lnTo>
                    <a:pt x="339" y="285"/>
                  </a:lnTo>
                  <a:lnTo>
                    <a:pt x="339" y="285"/>
                  </a:lnTo>
                  <a:lnTo>
                    <a:pt x="339" y="288"/>
                  </a:lnTo>
                  <a:lnTo>
                    <a:pt x="341" y="290"/>
                  </a:lnTo>
                  <a:lnTo>
                    <a:pt x="343" y="292"/>
                  </a:lnTo>
                  <a:lnTo>
                    <a:pt x="343" y="292"/>
                  </a:lnTo>
                  <a:lnTo>
                    <a:pt x="343" y="292"/>
                  </a:lnTo>
                  <a:lnTo>
                    <a:pt x="343" y="292"/>
                  </a:lnTo>
                  <a:lnTo>
                    <a:pt x="343" y="294"/>
                  </a:lnTo>
                  <a:lnTo>
                    <a:pt x="343" y="294"/>
                  </a:lnTo>
                  <a:lnTo>
                    <a:pt x="346" y="297"/>
                  </a:lnTo>
                  <a:lnTo>
                    <a:pt x="346" y="297"/>
                  </a:lnTo>
                  <a:lnTo>
                    <a:pt x="348" y="297"/>
                  </a:lnTo>
                  <a:lnTo>
                    <a:pt x="348" y="299"/>
                  </a:lnTo>
                  <a:lnTo>
                    <a:pt x="348" y="299"/>
                  </a:lnTo>
                  <a:lnTo>
                    <a:pt x="348" y="299"/>
                  </a:lnTo>
                  <a:lnTo>
                    <a:pt x="348" y="299"/>
                  </a:lnTo>
                  <a:lnTo>
                    <a:pt x="348" y="299"/>
                  </a:lnTo>
                  <a:lnTo>
                    <a:pt x="348" y="299"/>
                  </a:lnTo>
                  <a:lnTo>
                    <a:pt x="348" y="301"/>
                  </a:lnTo>
                  <a:lnTo>
                    <a:pt x="350" y="301"/>
                  </a:lnTo>
                  <a:lnTo>
                    <a:pt x="350" y="303"/>
                  </a:lnTo>
                  <a:lnTo>
                    <a:pt x="352" y="306"/>
                  </a:lnTo>
                  <a:lnTo>
                    <a:pt x="352" y="306"/>
                  </a:lnTo>
                  <a:lnTo>
                    <a:pt x="352" y="308"/>
                  </a:lnTo>
                  <a:lnTo>
                    <a:pt x="352" y="310"/>
                  </a:lnTo>
                  <a:lnTo>
                    <a:pt x="352" y="315"/>
                  </a:lnTo>
                  <a:lnTo>
                    <a:pt x="352" y="315"/>
                  </a:lnTo>
                  <a:lnTo>
                    <a:pt x="352" y="315"/>
                  </a:lnTo>
                  <a:lnTo>
                    <a:pt x="352" y="315"/>
                  </a:lnTo>
                  <a:lnTo>
                    <a:pt x="352" y="317"/>
                  </a:lnTo>
                  <a:lnTo>
                    <a:pt x="352" y="317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19"/>
                  </a:lnTo>
                  <a:lnTo>
                    <a:pt x="352" y="319"/>
                  </a:lnTo>
                  <a:lnTo>
                    <a:pt x="355" y="319"/>
                  </a:lnTo>
                  <a:lnTo>
                    <a:pt x="355" y="321"/>
                  </a:lnTo>
                  <a:lnTo>
                    <a:pt x="355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7" y="321"/>
                  </a:lnTo>
                  <a:lnTo>
                    <a:pt x="357" y="324"/>
                  </a:lnTo>
                  <a:lnTo>
                    <a:pt x="357" y="324"/>
                  </a:lnTo>
                  <a:lnTo>
                    <a:pt x="357" y="324"/>
                  </a:lnTo>
                  <a:lnTo>
                    <a:pt x="357" y="324"/>
                  </a:lnTo>
                  <a:lnTo>
                    <a:pt x="357" y="326"/>
                  </a:lnTo>
                  <a:lnTo>
                    <a:pt x="357" y="326"/>
                  </a:lnTo>
                  <a:lnTo>
                    <a:pt x="359" y="326"/>
                  </a:lnTo>
                  <a:lnTo>
                    <a:pt x="359" y="326"/>
                  </a:lnTo>
                  <a:lnTo>
                    <a:pt x="359" y="326"/>
                  </a:lnTo>
                  <a:lnTo>
                    <a:pt x="359" y="328"/>
                  </a:lnTo>
                  <a:lnTo>
                    <a:pt x="359" y="328"/>
                  </a:lnTo>
                  <a:lnTo>
                    <a:pt x="359" y="328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61" y="330"/>
                  </a:lnTo>
                  <a:lnTo>
                    <a:pt x="361" y="330"/>
                  </a:lnTo>
                  <a:lnTo>
                    <a:pt x="361" y="330"/>
                  </a:lnTo>
                  <a:lnTo>
                    <a:pt x="361" y="330"/>
                  </a:lnTo>
                  <a:lnTo>
                    <a:pt x="361" y="330"/>
                  </a:lnTo>
                  <a:lnTo>
                    <a:pt x="361" y="330"/>
                  </a:lnTo>
                  <a:lnTo>
                    <a:pt x="361" y="330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0"/>
                  </a:lnTo>
                  <a:lnTo>
                    <a:pt x="359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59" y="333"/>
                  </a:lnTo>
                  <a:lnTo>
                    <a:pt x="359" y="333"/>
                  </a:lnTo>
                  <a:lnTo>
                    <a:pt x="359" y="333"/>
                  </a:lnTo>
                  <a:lnTo>
                    <a:pt x="359" y="333"/>
                  </a:lnTo>
                  <a:lnTo>
                    <a:pt x="359" y="333"/>
                  </a:lnTo>
                  <a:lnTo>
                    <a:pt x="359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1" y="333"/>
                  </a:lnTo>
                  <a:lnTo>
                    <a:pt x="364" y="333"/>
                  </a:lnTo>
                  <a:lnTo>
                    <a:pt x="364" y="333"/>
                  </a:lnTo>
                  <a:lnTo>
                    <a:pt x="364" y="333"/>
                  </a:lnTo>
                  <a:lnTo>
                    <a:pt x="366" y="335"/>
                  </a:lnTo>
                  <a:lnTo>
                    <a:pt x="366" y="335"/>
                  </a:lnTo>
                  <a:lnTo>
                    <a:pt x="366" y="335"/>
                  </a:lnTo>
                  <a:lnTo>
                    <a:pt x="366" y="333"/>
                  </a:lnTo>
                  <a:lnTo>
                    <a:pt x="364" y="333"/>
                  </a:lnTo>
                  <a:lnTo>
                    <a:pt x="364" y="333"/>
                  </a:lnTo>
                  <a:lnTo>
                    <a:pt x="364" y="330"/>
                  </a:lnTo>
                  <a:lnTo>
                    <a:pt x="364" y="333"/>
                  </a:lnTo>
                  <a:lnTo>
                    <a:pt x="366" y="333"/>
                  </a:lnTo>
                  <a:lnTo>
                    <a:pt x="368" y="333"/>
                  </a:lnTo>
                  <a:lnTo>
                    <a:pt x="370" y="333"/>
                  </a:lnTo>
                  <a:lnTo>
                    <a:pt x="373" y="333"/>
                  </a:lnTo>
                  <a:lnTo>
                    <a:pt x="373" y="333"/>
                  </a:lnTo>
                  <a:lnTo>
                    <a:pt x="373" y="333"/>
                  </a:lnTo>
                  <a:lnTo>
                    <a:pt x="375" y="333"/>
                  </a:lnTo>
                  <a:lnTo>
                    <a:pt x="375" y="335"/>
                  </a:lnTo>
                  <a:lnTo>
                    <a:pt x="377" y="335"/>
                  </a:lnTo>
                  <a:lnTo>
                    <a:pt x="377" y="337"/>
                  </a:lnTo>
                  <a:lnTo>
                    <a:pt x="377" y="337"/>
                  </a:lnTo>
                  <a:lnTo>
                    <a:pt x="377" y="337"/>
                  </a:lnTo>
                  <a:lnTo>
                    <a:pt x="377" y="337"/>
                  </a:lnTo>
                  <a:lnTo>
                    <a:pt x="379" y="337"/>
                  </a:lnTo>
                  <a:lnTo>
                    <a:pt x="379" y="337"/>
                  </a:lnTo>
                  <a:lnTo>
                    <a:pt x="382" y="337"/>
                  </a:lnTo>
                  <a:lnTo>
                    <a:pt x="382" y="337"/>
                  </a:lnTo>
                  <a:lnTo>
                    <a:pt x="382" y="339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4" y="344"/>
                  </a:lnTo>
                  <a:lnTo>
                    <a:pt x="384" y="344"/>
                  </a:lnTo>
                  <a:lnTo>
                    <a:pt x="384" y="346"/>
                  </a:lnTo>
                  <a:lnTo>
                    <a:pt x="384" y="346"/>
                  </a:lnTo>
                  <a:lnTo>
                    <a:pt x="386" y="346"/>
                  </a:lnTo>
                  <a:lnTo>
                    <a:pt x="386" y="346"/>
                  </a:lnTo>
                  <a:lnTo>
                    <a:pt x="386" y="346"/>
                  </a:lnTo>
                  <a:lnTo>
                    <a:pt x="386" y="346"/>
                  </a:lnTo>
                  <a:lnTo>
                    <a:pt x="388" y="346"/>
                  </a:lnTo>
                  <a:lnTo>
                    <a:pt x="388" y="346"/>
                  </a:lnTo>
                  <a:lnTo>
                    <a:pt x="388" y="346"/>
                  </a:lnTo>
                  <a:lnTo>
                    <a:pt x="388" y="346"/>
                  </a:lnTo>
                  <a:lnTo>
                    <a:pt x="393" y="346"/>
                  </a:lnTo>
                  <a:lnTo>
                    <a:pt x="393" y="346"/>
                  </a:lnTo>
                  <a:lnTo>
                    <a:pt x="395" y="346"/>
                  </a:lnTo>
                  <a:lnTo>
                    <a:pt x="395" y="344"/>
                  </a:lnTo>
                  <a:lnTo>
                    <a:pt x="397" y="344"/>
                  </a:lnTo>
                  <a:lnTo>
                    <a:pt x="397" y="344"/>
                  </a:lnTo>
                  <a:lnTo>
                    <a:pt x="397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6" y="342"/>
                  </a:lnTo>
                  <a:lnTo>
                    <a:pt x="406" y="342"/>
                  </a:lnTo>
                  <a:lnTo>
                    <a:pt x="406" y="342"/>
                  </a:lnTo>
                  <a:lnTo>
                    <a:pt x="406" y="342"/>
                  </a:lnTo>
                  <a:lnTo>
                    <a:pt x="406" y="339"/>
                  </a:lnTo>
                  <a:lnTo>
                    <a:pt x="406" y="339"/>
                  </a:lnTo>
                  <a:lnTo>
                    <a:pt x="406" y="342"/>
                  </a:lnTo>
                  <a:lnTo>
                    <a:pt x="406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0" y="344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6" y="339"/>
                  </a:lnTo>
                  <a:lnTo>
                    <a:pt x="406" y="339"/>
                  </a:lnTo>
                  <a:lnTo>
                    <a:pt x="409" y="339"/>
                  </a:lnTo>
                  <a:lnTo>
                    <a:pt x="411" y="339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42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15" y="339"/>
                  </a:lnTo>
                  <a:lnTo>
                    <a:pt x="420" y="339"/>
                  </a:lnTo>
                  <a:lnTo>
                    <a:pt x="420" y="339"/>
                  </a:lnTo>
                  <a:lnTo>
                    <a:pt x="422" y="339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9"/>
                  </a:lnTo>
                  <a:lnTo>
                    <a:pt x="424" y="339"/>
                  </a:lnTo>
                  <a:lnTo>
                    <a:pt x="424" y="339"/>
                  </a:lnTo>
                  <a:lnTo>
                    <a:pt x="424" y="339"/>
                  </a:lnTo>
                  <a:lnTo>
                    <a:pt x="424" y="339"/>
                  </a:lnTo>
                  <a:lnTo>
                    <a:pt x="424" y="337"/>
                  </a:lnTo>
                  <a:lnTo>
                    <a:pt x="424" y="337"/>
                  </a:lnTo>
                  <a:lnTo>
                    <a:pt x="424" y="335"/>
                  </a:lnTo>
                  <a:lnTo>
                    <a:pt x="424" y="335"/>
                  </a:lnTo>
                  <a:lnTo>
                    <a:pt x="424" y="335"/>
                  </a:lnTo>
                  <a:lnTo>
                    <a:pt x="427" y="335"/>
                  </a:lnTo>
                  <a:lnTo>
                    <a:pt x="427" y="335"/>
                  </a:lnTo>
                  <a:lnTo>
                    <a:pt x="427" y="335"/>
                  </a:lnTo>
                  <a:lnTo>
                    <a:pt x="429" y="335"/>
                  </a:lnTo>
                  <a:lnTo>
                    <a:pt x="431" y="335"/>
                  </a:lnTo>
                  <a:lnTo>
                    <a:pt x="433" y="335"/>
                  </a:lnTo>
                  <a:lnTo>
                    <a:pt x="436" y="335"/>
                  </a:lnTo>
                  <a:lnTo>
                    <a:pt x="440" y="333"/>
                  </a:lnTo>
                  <a:lnTo>
                    <a:pt x="440" y="333"/>
                  </a:lnTo>
                  <a:lnTo>
                    <a:pt x="440" y="333"/>
                  </a:lnTo>
                  <a:lnTo>
                    <a:pt x="440" y="335"/>
                  </a:lnTo>
                  <a:lnTo>
                    <a:pt x="442" y="335"/>
                  </a:lnTo>
                  <a:lnTo>
                    <a:pt x="442" y="335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5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38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2" y="339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0" y="337"/>
                  </a:lnTo>
                  <a:lnTo>
                    <a:pt x="442" y="337"/>
                  </a:lnTo>
                  <a:lnTo>
                    <a:pt x="440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42"/>
                  </a:lnTo>
                  <a:lnTo>
                    <a:pt x="442" y="342"/>
                  </a:lnTo>
                  <a:lnTo>
                    <a:pt x="442" y="342"/>
                  </a:lnTo>
                  <a:lnTo>
                    <a:pt x="442" y="342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4" y="339"/>
                  </a:lnTo>
                  <a:lnTo>
                    <a:pt x="444" y="339"/>
                  </a:lnTo>
                  <a:lnTo>
                    <a:pt x="447" y="339"/>
                  </a:lnTo>
                  <a:lnTo>
                    <a:pt x="447" y="339"/>
                  </a:lnTo>
                  <a:lnTo>
                    <a:pt x="447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9"/>
                  </a:lnTo>
                  <a:lnTo>
                    <a:pt x="449" y="337"/>
                  </a:lnTo>
                  <a:lnTo>
                    <a:pt x="449" y="337"/>
                  </a:lnTo>
                  <a:lnTo>
                    <a:pt x="451" y="337"/>
                  </a:lnTo>
                  <a:lnTo>
                    <a:pt x="451" y="337"/>
                  </a:lnTo>
                  <a:lnTo>
                    <a:pt x="451" y="337"/>
                  </a:lnTo>
                  <a:lnTo>
                    <a:pt x="451" y="337"/>
                  </a:lnTo>
                  <a:lnTo>
                    <a:pt x="453" y="337"/>
                  </a:lnTo>
                  <a:lnTo>
                    <a:pt x="453" y="337"/>
                  </a:lnTo>
                  <a:lnTo>
                    <a:pt x="453" y="337"/>
                  </a:lnTo>
                  <a:lnTo>
                    <a:pt x="453" y="335"/>
                  </a:lnTo>
                  <a:lnTo>
                    <a:pt x="453" y="335"/>
                  </a:lnTo>
                  <a:lnTo>
                    <a:pt x="453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3" y="335"/>
                  </a:lnTo>
                  <a:lnTo>
                    <a:pt x="453" y="335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3"/>
                  </a:lnTo>
                  <a:lnTo>
                    <a:pt x="453" y="330"/>
                  </a:lnTo>
                  <a:lnTo>
                    <a:pt x="451" y="330"/>
                  </a:lnTo>
                  <a:lnTo>
                    <a:pt x="453" y="330"/>
                  </a:lnTo>
                  <a:lnTo>
                    <a:pt x="453" y="330"/>
                  </a:lnTo>
                  <a:lnTo>
                    <a:pt x="453" y="330"/>
                  </a:lnTo>
                  <a:lnTo>
                    <a:pt x="453" y="328"/>
                  </a:lnTo>
                  <a:lnTo>
                    <a:pt x="456" y="328"/>
                  </a:lnTo>
                  <a:lnTo>
                    <a:pt x="456" y="328"/>
                  </a:lnTo>
                  <a:lnTo>
                    <a:pt x="456" y="328"/>
                  </a:lnTo>
                  <a:lnTo>
                    <a:pt x="456" y="328"/>
                  </a:lnTo>
                  <a:lnTo>
                    <a:pt x="453" y="328"/>
                  </a:lnTo>
                  <a:lnTo>
                    <a:pt x="453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8" y="326"/>
                  </a:lnTo>
                  <a:lnTo>
                    <a:pt x="460" y="324"/>
                  </a:lnTo>
                  <a:lnTo>
                    <a:pt x="460" y="324"/>
                  </a:lnTo>
                  <a:lnTo>
                    <a:pt x="460" y="324"/>
                  </a:lnTo>
                  <a:lnTo>
                    <a:pt x="462" y="324"/>
                  </a:lnTo>
                  <a:lnTo>
                    <a:pt x="465" y="321"/>
                  </a:lnTo>
                  <a:lnTo>
                    <a:pt x="465" y="319"/>
                  </a:lnTo>
                  <a:lnTo>
                    <a:pt x="467" y="319"/>
                  </a:lnTo>
                  <a:lnTo>
                    <a:pt x="467" y="319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9" y="312"/>
                  </a:lnTo>
                  <a:lnTo>
                    <a:pt x="469" y="312"/>
                  </a:lnTo>
                  <a:lnTo>
                    <a:pt x="469" y="312"/>
                  </a:lnTo>
                  <a:lnTo>
                    <a:pt x="469" y="310"/>
                  </a:lnTo>
                  <a:lnTo>
                    <a:pt x="469" y="310"/>
                  </a:lnTo>
                  <a:lnTo>
                    <a:pt x="469" y="310"/>
                  </a:lnTo>
                  <a:lnTo>
                    <a:pt x="469" y="310"/>
                  </a:lnTo>
                  <a:lnTo>
                    <a:pt x="469" y="308"/>
                  </a:lnTo>
                  <a:lnTo>
                    <a:pt x="471" y="308"/>
                  </a:lnTo>
                  <a:lnTo>
                    <a:pt x="471" y="306"/>
                  </a:lnTo>
                  <a:lnTo>
                    <a:pt x="474" y="306"/>
                  </a:lnTo>
                  <a:lnTo>
                    <a:pt x="476" y="303"/>
                  </a:lnTo>
                  <a:lnTo>
                    <a:pt x="476" y="303"/>
                  </a:lnTo>
                  <a:lnTo>
                    <a:pt x="476" y="303"/>
                  </a:lnTo>
                  <a:lnTo>
                    <a:pt x="476" y="303"/>
                  </a:lnTo>
                  <a:lnTo>
                    <a:pt x="476" y="303"/>
                  </a:lnTo>
                  <a:lnTo>
                    <a:pt x="476" y="301"/>
                  </a:lnTo>
                  <a:lnTo>
                    <a:pt x="476" y="301"/>
                  </a:lnTo>
                  <a:lnTo>
                    <a:pt x="476" y="301"/>
                  </a:lnTo>
                  <a:lnTo>
                    <a:pt x="476" y="301"/>
                  </a:lnTo>
                  <a:lnTo>
                    <a:pt x="476" y="299"/>
                  </a:lnTo>
                  <a:lnTo>
                    <a:pt x="476" y="297"/>
                  </a:lnTo>
                  <a:lnTo>
                    <a:pt x="476" y="297"/>
                  </a:lnTo>
                  <a:lnTo>
                    <a:pt x="476" y="294"/>
                  </a:lnTo>
                  <a:lnTo>
                    <a:pt x="476" y="294"/>
                  </a:lnTo>
                  <a:lnTo>
                    <a:pt x="476" y="292"/>
                  </a:lnTo>
                  <a:lnTo>
                    <a:pt x="476" y="292"/>
                  </a:lnTo>
                  <a:lnTo>
                    <a:pt x="476" y="290"/>
                  </a:lnTo>
                  <a:lnTo>
                    <a:pt x="478" y="288"/>
                  </a:lnTo>
                  <a:lnTo>
                    <a:pt x="478" y="285"/>
                  </a:lnTo>
                  <a:lnTo>
                    <a:pt x="478" y="285"/>
                  </a:lnTo>
                  <a:lnTo>
                    <a:pt x="480" y="283"/>
                  </a:lnTo>
                  <a:lnTo>
                    <a:pt x="480" y="283"/>
                  </a:lnTo>
                  <a:lnTo>
                    <a:pt x="480" y="281"/>
                  </a:lnTo>
                  <a:lnTo>
                    <a:pt x="480" y="281"/>
                  </a:lnTo>
                  <a:lnTo>
                    <a:pt x="480" y="279"/>
                  </a:lnTo>
                  <a:lnTo>
                    <a:pt x="480" y="279"/>
                  </a:lnTo>
                  <a:lnTo>
                    <a:pt x="480" y="281"/>
                  </a:lnTo>
                  <a:lnTo>
                    <a:pt x="480" y="281"/>
                  </a:lnTo>
                  <a:lnTo>
                    <a:pt x="480" y="281"/>
                  </a:lnTo>
                  <a:lnTo>
                    <a:pt x="480" y="283"/>
                  </a:lnTo>
                  <a:lnTo>
                    <a:pt x="480" y="283"/>
                  </a:lnTo>
                  <a:lnTo>
                    <a:pt x="478" y="283"/>
                  </a:lnTo>
                  <a:lnTo>
                    <a:pt x="478" y="283"/>
                  </a:lnTo>
                  <a:lnTo>
                    <a:pt x="478" y="283"/>
                  </a:lnTo>
                  <a:lnTo>
                    <a:pt x="478" y="283"/>
                  </a:lnTo>
                  <a:lnTo>
                    <a:pt x="480" y="279"/>
                  </a:lnTo>
                  <a:lnTo>
                    <a:pt x="480" y="279"/>
                  </a:lnTo>
                  <a:lnTo>
                    <a:pt x="483" y="279"/>
                  </a:lnTo>
                  <a:lnTo>
                    <a:pt x="485" y="276"/>
                  </a:lnTo>
                  <a:lnTo>
                    <a:pt x="485" y="276"/>
                  </a:lnTo>
                  <a:lnTo>
                    <a:pt x="487" y="276"/>
                  </a:lnTo>
                  <a:lnTo>
                    <a:pt x="487" y="274"/>
                  </a:lnTo>
                  <a:lnTo>
                    <a:pt x="487" y="274"/>
                  </a:lnTo>
                  <a:lnTo>
                    <a:pt x="487" y="274"/>
                  </a:lnTo>
                  <a:lnTo>
                    <a:pt x="489" y="274"/>
                  </a:lnTo>
                  <a:lnTo>
                    <a:pt x="489" y="274"/>
                  </a:lnTo>
                  <a:lnTo>
                    <a:pt x="492" y="274"/>
                  </a:lnTo>
                  <a:lnTo>
                    <a:pt x="492" y="272"/>
                  </a:lnTo>
                  <a:lnTo>
                    <a:pt x="492" y="272"/>
                  </a:lnTo>
                  <a:lnTo>
                    <a:pt x="494" y="272"/>
                  </a:lnTo>
                  <a:lnTo>
                    <a:pt x="496" y="272"/>
                  </a:lnTo>
                  <a:lnTo>
                    <a:pt x="498" y="272"/>
                  </a:lnTo>
                  <a:lnTo>
                    <a:pt x="501" y="272"/>
                  </a:lnTo>
                  <a:lnTo>
                    <a:pt x="505" y="270"/>
                  </a:lnTo>
                  <a:lnTo>
                    <a:pt x="507" y="270"/>
                  </a:lnTo>
                  <a:lnTo>
                    <a:pt x="507" y="270"/>
                  </a:lnTo>
                  <a:lnTo>
                    <a:pt x="507" y="270"/>
                  </a:lnTo>
                  <a:lnTo>
                    <a:pt x="507" y="270"/>
                  </a:lnTo>
                  <a:lnTo>
                    <a:pt x="507" y="270"/>
                  </a:lnTo>
                  <a:lnTo>
                    <a:pt x="510" y="270"/>
                  </a:lnTo>
                  <a:lnTo>
                    <a:pt x="510" y="270"/>
                  </a:lnTo>
                  <a:lnTo>
                    <a:pt x="510" y="270"/>
                  </a:lnTo>
                  <a:lnTo>
                    <a:pt x="512" y="270"/>
                  </a:lnTo>
                  <a:lnTo>
                    <a:pt x="512" y="270"/>
                  </a:lnTo>
                  <a:lnTo>
                    <a:pt x="514" y="270"/>
                  </a:lnTo>
                  <a:lnTo>
                    <a:pt x="514" y="270"/>
                  </a:lnTo>
                  <a:lnTo>
                    <a:pt x="516" y="267"/>
                  </a:lnTo>
                  <a:lnTo>
                    <a:pt x="519" y="267"/>
                  </a:lnTo>
                  <a:lnTo>
                    <a:pt x="519" y="265"/>
                  </a:lnTo>
                  <a:lnTo>
                    <a:pt x="519" y="265"/>
                  </a:lnTo>
                  <a:lnTo>
                    <a:pt x="521" y="265"/>
                  </a:lnTo>
                  <a:lnTo>
                    <a:pt x="521" y="265"/>
                  </a:lnTo>
                  <a:lnTo>
                    <a:pt x="521" y="265"/>
                  </a:lnTo>
                  <a:lnTo>
                    <a:pt x="523" y="265"/>
                  </a:lnTo>
                  <a:lnTo>
                    <a:pt x="523" y="265"/>
                  </a:lnTo>
                  <a:lnTo>
                    <a:pt x="525" y="265"/>
                  </a:lnTo>
                  <a:lnTo>
                    <a:pt x="525" y="265"/>
                  </a:lnTo>
                  <a:lnTo>
                    <a:pt x="525" y="265"/>
                  </a:lnTo>
                  <a:lnTo>
                    <a:pt x="525" y="265"/>
                  </a:lnTo>
                  <a:lnTo>
                    <a:pt x="525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28" y="265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30" y="265"/>
                  </a:lnTo>
                  <a:lnTo>
                    <a:pt x="532" y="265"/>
                  </a:lnTo>
                  <a:lnTo>
                    <a:pt x="532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7" y="265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7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7" y="267"/>
                  </a:lnTo>
                  <a:lnTo>
                    <a:pt x="537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39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1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6" y="267"/>
                  </a:lnTo>
                  <a:lnTo>
                    <a:pt x="546" y="267"/>
                  </a:lnTo>
                  <a:lnTo>
                    <a:pt x="546" y="267"/>
                  </a:lnTo>
                  <a:lnTo>
                    <a:pt x="546" y="267"/>
                  </a:lnTo>
                  <a:lnTo>
                    <a:pt x="548" y="267"/>
                  </a:lnTo>
                  <a:lnTo>
                    <a:pt x="548" y="267"/>
                  </a:lnTo>
                  <a:lnTo>
                    <a:pt x="548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7"/>
                  </a:lnTo>
                  <a:lnTo>
                    <a:pt x="550" y="265"/>
                  </a:lnTo>
                  <a:lnTo>
                    <a:pt x="550" y="265"/>
                  </a:lnTo>
                  <a:lnTo>
                    <a:pt x="550" y="265"/>
                  </a:lnTo>
                  <a:lnTo>
                    <a:pt x="550" y="265"/>
                  </a:lnTo>
                  <a:lnTo>
                    <a:pt x="550" y="265"/>
                  </a:lnTo>
                  <a:lnTo>
                    <a:pt x="550" y="265"/>
                  </a:lnTo>
                  <a:lnTo>
                    <a:pt x="548" y="265"/>
                  </a:lnTo>
                  <a:lnTo>
                    <a:pt x="548" y="265"/>
                  </a:lnTo>
                  <a:lnTo>
                    <a:pt x="548" y="265"/>
                  </a:lnTo>
                  <a:lnTo>
                    <a:pt x="548" y="265"/>
                  </a:lnTo>
                  <a:lnTo>
                    <a:pt x="548" y="267"/>
                  </a:lnTo>
                  <a:lnTo>
                    <a:pt x="546" y="267"/>
                  </a:lnTo>
                  <a:lnTo>
                    <a:pt x="546" y="267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7"/>
                  </a:lnTo>
                  <a:lnTo>
                    <a:pt x="543" y="265"/>
                  </a:lnTo>
                  <a:lnTo>
                    <a:pt x="543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6" y="265"/>
                  </a:lnTo>
                  <a:lnTo>
                    <a:pt x="548" y="265"/>
                  </a:lnTo>
                  <a:lnTo>
                    <a:pt x="550" y="265"/>
                  </a:lnTo>
                  <a:lnTo>
                    <a:pt x="550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5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67"/>
                  </a:lnTo>
                  <a:lnTo>
                    <a:pt x="552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0"/>
                  </a:lnTo>
                  <a:lnTo>
                    <a:pt x="555" y="272"/>
                  </a:lnTo>
                  <a:lnTo>
                    <a:pt x="555" y="272"/>
                  </a:lnTo>
                  <a:lnTo>
                    <a:pt x="555" y="272"/>
                  </a:lnTo>
                  <a:lnTo>
                    <a:pt x="555" y="274"/>
                  </a:lnTo>
                  <a:lnTo>
                    <a:pt x="555" y="274"/>
                  </a:lnTo>
                  <a:lnTo>
                    <a:pt x="557" y="274"/>
                  </a:lnTo>
                  <a:lnTo>
                    <a:pt x="557" y="276"/>
                  </a:lnTo>
                  <a:lnTo>
                    <a:pt x="557" y="276"/>
                  </a:lnTo>
                  <a:lnTo>
                    <a:pt x="557" y="276"/>
                  </a:lnTo>
                  <a:lnTo>
                    <a:pt x="555" y="276"/>
                  </a:lnTo>
                  <a:lnTo>
                    <a:pt x="555" y="276"/>
                  </a:lnTo>
                  <a:lnTo>
                    <a:pt x="555" y="276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5" y="279"/>
                  </a:lnTo>
                  <a:lnTo>
                    <a:pt x="552" y="281"/>
                  </a:lnTo>
                  <a:lnTo>
                    <a:pt x="552" y="283"/>
                  </a:lnTo>
                  <a:lnTo>
                    <a:pt x="552" y="283"/>
                  </a:lnTo>
                  <a:lnTo>
                    <a:pt x="550" y="285"/>
                  </a:lnTo>
                  <a:lnTo>
                    <a:pt x="548" y="288"/>
                  </a:lnTo>
                  <a:lnTo>
                    <a:pt x="548" y="288"/>
                  </a:lnTo>
                  <a:lnTo>
                    <a:pt x="548" y="288"/>
                  </a:lnTo>
                  <a:lnTo>
                    <a:pt x="546" y="290"/>
                  </a:lnTo>
                  <a:lnTo>
                    <a:pt x="546" y="290"/>
                  </a:lnTo>
                  <a:lnTo>
                    <a:pt x="546" y="290"/>
                  </a:lnTo>
                  <a:lnTo>
                    <a:pt x="543" y="292"/>
                  </a:lnTo>
                  <a:lnTo>
                    <a:pt x="541" y="294"/>
                  </a:lnTo>
                  <a:lnTo>
                    <a:pt x="541" y="297"/>
                  </a:lnTo>
                  <a:lnTo>
                    <a:pt x="541" y="297"/>
                  </a:lnTo>
                  <a:lnTo>
                    <a:pt x="541" y="297"/>
                  </a:lnTo>
                  <a:lnTo>
                    <a:pt x="541" y="297"/>
                  </a:lnTo>
                  <a:lnTo>
                    <a:pt x="541" y="297"/>
                  </a:lnTo>
                  <a:lnTo>
                    <a:pt x="539" y="297"/>
                  </a:lnTo>
                  <a:lnTo>
                    <a:pt x="539" y="297"/>
                  </a:lnTo>
                  <a:lnTo>
                    <a:pt x="539" y="299"/>
                  </a:lnTo>
                  <a:lnTo>
                    <a:pt x="539" y="301"/>
                  </a:lnTo>
                  <a:lnTo>
                    <a:pt x="537" y="301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9" y="306"/>
                  </a:lnTo>
                  <a:lnTo>
                    <a:pt x="539" y="306"/>
                  </a:lnTo>
                  <a:lnTo>
                    <a:pt x="539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3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6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4" y="308"/>
                  </a:lnTo>
                  <a:lnTo>
                    <a:pt x="534" y="308"/>
                  </a:lnTo>
                  <a:lnTo>
                    <a:pt x="534" y="308"/>
                  </a:lnTo>
                  <a:lnTo>
                    <a:pt x="534" y="308"/>
                  </a:lnTo>
                  <a:lnTo>
                    <a:pt x="534" y="308"/>
                  </a:lnTo>
                  <a:lnTo>
                    <a:pt x="534" y="308"/>
                  </a:lnTo>
                  <a:lnTo>
                    <a:pt x="534" y="310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2" y="310"/>
                  </a:lnTo>
                  <a:lnTo>
                    <a:pt x="530" y="310"/>
                  </a:lnTo>
                  <a:lnTo>
                    <a:pt x="530" y="310"/>
                  </a:lnTo>
                  <a:lnTo>
                    <a:pt x="530" y="310"/>
                  </a:lnTo>
                  <a:lnTo>
                    <a:pt x="530" y="312"/>
                  </a:lnTo>
                  <a:lnTo>
                    <a:pt x="530" y="312"/>
                  </a:lnTo>
                  <a:lnTo>
                    <a:pt x="530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2"/>
                  </a:lnTo>
                  <a:lnTo>
                    <a:pt x="532" y="315"/>
                  </a:lnTo>
                  <a:lnTo>
                    <a:pt x="532" y="315"/>
                  </a:lnTo>
                  <a:lnTo>
                    <a:pt x="532" y="315"/>
                  </a:lnTo>
                  <a:lnTo>
                    <a:pt x="532" y="315"/>
                  </a:lnTo>
                  <a:lnTo>
                    <a:pt x="532" y="315"/>
                  </a:lnTo>
                  <a:lnTo>
                    <a:pt x="532" y="315"/>
                  </a:lnTo>
                  <a:lnTo>
                    <a:pt x="532" y="312"/>
                  </a:lnTo>
                  <a:lnTo>
                    <a:pt x="534" y="312"/>
                  </a:lnTo>
                  <a:lnTo>
                    <a:pt x="534" y="312"/>
                  </a:lnTo>
                  <a:lnTo>
                    <a:pt x="534" y="312"/>
                  </a:lnTo>
                  <a:lnTo>
                    <a:pt x="534" y="315"/>
                  </a:lnTo>
                  <a:lnTo>
                    <a:pt x="534" y="315"/>
                  </a:lnTo>
                  <a:lnTo>
                    <a:pt x="534" y="315"/>
                  </a:lnTo>
                  <a:lnTo>
                    <a:pt x="534" y="312"/>
                  </a:lnTo>
                  <a:lnTo>
                    <a:pt x="534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5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4" y="312"/>
                  </a:lnTo>
                  <a:lnTo>
                    <a:pt x="534" y="312"/>
                  </a:lnTo>
                  <a:lnTo>
                    <a:pt x="534" y="312"/>
                  </a:lnTo>
                  <a:lnTo>
                    <a:pt x="534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2"/>
                  </a:lnTo>
                  <a:lnTo>
                    <a:pt x="537" y="315"/>
                  </a:lnTo>
                  <a:lnTo>
                    <a:pt x="537" y="315"/>
                  </a:lnTo>
                  <a:lnTo>
                    <a:pt x="537" y="317"/>
                  </a:lnTo>
                  <a:lnTo>
                    <a:pt x="537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4" y="317"/>
                  </a:lnTo>
                  <a:lnTo>
                    <a:pt x="532" y="317"/>
                  </a:lnTo>
                  <a:lnTo>
                    <a:pt x="532" y="317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0" y="319"/>
                  </a:lnTo>
                  <a:lnTo>
                    <a:pt x="532" y="319"/>
                  </a:lnTo>
                  <a:lnTo>
                    <a:pt x="530" y="321"/>
                  </a:lnTo>
                  <a:lnTo>
                    <a:pt x="530" y="321"/>
                  </a:lnTo>
                  <a:lnTo>
                    <a:pt x="530" y="321"/>
                  </a:lnTo>
                  <a:lnTo>
                    <a:pt x="532" y="321"/>
                  </a:lnTo>
                  <a:lnTo>
                    <a:pt x="532" y="321"/>
                  </a:lnTo>
                  <a:lnTo>
                    <a:pt x="532" y="321"/>
                  </a:lnTo>
                  <a:lnTo>
                    <a:pt x="532" y="321"/>
                  </a:lnTo>
                  <a:lnTo>
                    <a:pt x="532" y="321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21"/>
                  </a:lnTo>
                  <a:lnTo>
                    <a:pt x="532" y="324"/>
                  </a:lnTo>
                  <a:lnTo>
                    <a:pt x="532" y="324"/>
                  </a:lnTo>
                  <a:lnTo>
                    <a:pt x="532" y="324"/>
                  </a:lnTo>
                  <a:lnTo>
                    <a:pt x="532" y="324"/>
                  </a:lnTo>
                  <a:lnTo>
                    <a:pt x="532" y="326"/>
                  </a:lnTo>
                  <a:lnTo>
                    <a:pt x="532" y="326"/>
                  </a:lnTo>
                  <a:lnTo>
                    <a:pt x="530" y="330"/>
                  </a:lnTo>
                  <a:lnTo>
                    <a:pt x="530" y="333"/>
                  </a:lnTo>
                  <a:lnTo>
                    <a:pt x="530" y="333"/>
                  </a:lnTo>
                  <a:lnTo>
                    <a:pt x="528" y="333"/>
                  </a:lnTo>
                  <a:lnTo>
                    <a:pt x="528" y="335"/>
                  </a:lnTo>
                  <a:lnTo>
                    <a:pt x="528" y="335"/>
                  </a:lnTo>
                  <a:lnTo>
                    <a:pt x="528" y="337"/>
                  </a:lnTo>
                  <a:lnTo>
                    <a:pt x="528" y="337"/>
                  </a:lnTo>
                  <a:lnTo>
                    <a:pt x="528" y="337"/>
                  </a:lnTo>
                  <a:lnTo>
                    <a:pt x="528" y="337"/>
                  </a:lnTo>
                  <a:lnTo>
                    <a:pt x="528" y="339"/>
                  </a:lnTo>
                  <a:lnTo>
                    <a:pt x="525" y="339"/>
                  </a:lnTo>
                  <a:lnTo>
                    <a:pt x="525" y="342"/>
                  </a:lnTo>
                  <a:lnTo>
                    <a:pt x="525" y="342"/>
                  </a:lnTo>
                  <a:lnTo>
                    <a:pt x="525" y="344"/>
                  </a:lnTo>
                  <a:lnTo>
                    <a:pt x="525" y="344"/>
                  </a:lnTo>
                  <a:lnTo>
                    <a:pt x="525" y="344"/>
                  </a:lnTo>
                  <a:lnTo>
                    <a:pt x="523" y="344"/>
                  </a:lnTo>
                  <a:lnTo>
                    <a:pt x="523" y="346"/>
                  </a:lnTo>
                  <a:lnTo>
                    <a:pt x="523" y="346"/>
                  </a:lnTo>
                  <a:lnTo>
                    <a:pt x="523" y="346"/>
                  </a:lnTo>
                  <a:lnTo>
                    <a:pt x="523" y="344"/>
                  </a:lnTo>
                  <a:lnTo>
                    <a:pt x="523" y="346"/>
                  </a:lnTo>
                  <a:lnTo>
                    <a:pt x="523" y="346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2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42"/>
                  </a:lnTo>
                  <a:lnTo>
                    <a:pt x="523" y="339"/>
                  </a:lnTo>
                  <a:lnTo>
                    <a:pt x="523" y="339"/>
                  </a:lnTo>
                  <a:lnTo>
                    <a:pt x="523" y="339"/>
                  </a:lnTo>
                  <a:lnTo>
                    <a:pt x="523" y="339"/>
                  </a:lnTo>
                  <a:lnTo>
                    <a:pt x="521" y="339"/>
                  </a:lnTo>
                  <a:lnTo>
                    <a:pt x="521" y="339"/>
                  </a:lnTo>
                  <a:lnTo>
                    <a:pt x="521" y="339"/>
                  </a:lnTo>
                  <a:lnTo>
                    <a:pt x="521" y="339"/>
                  </a:lnTo>
                  <a:lnTo>
                    <a:pt x="521" y="339"/>
                  </a:lnTo>
                  <a:lnTo>
                    <a:pt x="521" y="337"/>
                  </a:lnTo>
                  <a:lnTo>
                    <a:pt x="521" y="337"/>
                  </a:lnTo>
                  <a:lnTo>
                    <a:pt x="521" y="337"/>
                  </a:lnTo>
                  <a:lnTo>
                    <a:pt x="521" y="337"/>
                  </a:lnTo>
                  <a:lnTo>
                    <a:pt x="521" y="335"/>
                  </a:lnTo>
                  <a:lnTo>
                    <a:pt x="521" y="335"/>
                  </a:lnTo>
                  <a:lnTo>
                    <a:pt x="521" y="335"/>
                  </a:lnTo>
                  <a:lnTo>
                    <a:pt x="521" y="335"/>
                  </a:lnTo>
                  <a:lnTo>
                    <a:pt x="523" y="335"/>
                  </a:lnTo>
                  <a:lnTo>
                    <a:pt x="523" y="335"/>
                  </a:lnTo>
                  <a:lnTo>
                    <a:pt x="523" y="335"/>
                  </a:lnTo>
                  <a:lnTo>
                    <a:pt x="523" y="335"/>
                  </a:lnTo>
                  <a:lnTo>
                    <a:pt x="523" y="335"/>
                  </a:lnTo>
                  <a:lnTo>
                    <a:pt x="523" y="333"/>
                  </a:lnTo>
                  <a:lnTo>
                    <a:pt x="523" y="333"/>
                  </a:lnTo>
                  <a:lnTo>
                    <a:pt x="523" y="333"/>
                  </a:lnTo>
                  <a:lnTo>
                    <a:pt x="523" y="333"/>
                  </a:lnTo>
                  <a:lnTo>
                    <a:pt x="523" y="333"/>
                  </a:lnTo>
                  <a:lnTo>
                    <a:pt x="523" y="333"/>
                  </a:lnTo>
                  <a:lnTo>
                    <a:pt x="523" y="333"/>
                  </a:lnTo>
                  <a:lnTo>
                    <a:pt x="523" y="330"/>
                  </a:lnTo>
                  <a:lnTo>
                    <a:pt x="523" y="330"/>
                  </a:lnTo>
                  <a:lnTo>
                    <a:pt x="523" y="330"/>
                  </a:lnTo>
                  <a:lnTo>
                    <a:pt x="523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0"/>
                  </a:lnTo>
                  <a:lnTo>
                    <a:pt x="521" y="333"/>
                  </a:lnTo>
                  <a:lnTo>
                    <a:pt x="521" y="333"/>
                  </a:lnTo>
                  <a:lnTo>
                    <a:pt x="521" y="333"/>
                  </a:lnTo>
                  <a:lnTo>
                    <a:pt x="521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21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6" y="335"/>
                  </a:lnTo>
                  <a:lnTo>
                    <a:pt x="516" y="335"/>
                  </a:lnTo>
                  <a:lnTo>
                    <a:pt x="516" y="335"/>
                  </a:lnTo>
                  <a:lnTo>
                    <a:pt x="519" y="335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3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3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9" y="335"/>
                  </a:lnTo>
                  <a:lnTo>
                    <a:pt x="516" y="337"/>
                  </a:lnTo>
                  <a:lnTo>
                    <a:pt x="516" y="337"/>
                  </a:lnTo>
                  <a:lnTo>
                    <a:pt x="516" y="337"/>
                  </a:lnTo>
                  <a:lnTo>
                    <a:pt x="516" y="339"/>
                  </a:lnTo>
                  <a:lnTo>
                    <a:pt x="516" y="339"/>
                  </a:lnTo>
                  <a:lnTo>
                    <a:pt x="516" y="339"/>
                  </a:lnTo>
                  <a:lnTo>
                    <a:pt x="516" y="339"/>
                  </a:lnTo>
                  <a:lnTo>
                    <a:pt x="516" y="339"/>
                  </a:lnTo>
                  <a:lnTo>
                    <a:pt x="516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4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2" y="339"/>
                  </a:lnTo>
                  <a:lnTo>
                    <a:pt x="510" y="339"/>
                  </a:lnTo>
                  <a:lnTo>
                    <a:pt x="510" y="339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6"/>
                  </a:lnTo>
                  <a:lnTo>
                    <a:pt x="507" y="346"/>
                  </a:lnTo>
                  <a:lnTo>
                    <a:pt x="507" y="346"/>
                  </a:lnTo>
                  <a:lnTo>
                    <a:pt x="505" y="346"/>
                  </a:lnTo>
                  <a:lnTo>
                    <a:pt x="507" y="346"/>
                  </a:lnTo>
                  <a:lnTo>
                    <a:pt x="507" y="346"/>
                  </a:lnTo>
                  <a:lnTo>
                    <a:pt x="505" y="346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48"/>
                  </a:lnTo>
                  <a:lnTo>
                    <a:pt x="505" y="351"/>
                  </a:lnTo>
                  <a:lnTo>
                    <a:pt x="505" y="351"/>
                  </a:lnTo>
                  <a:lnTo>
                    <a:pt x="503" y="351"/>
                  </a:lnTo>
                  <a:lnTo>
                    <a:pt x="503" y="351"/>
                  </a:lnTo>
                  <a:lnTo>
                    <a:pt x="503" y="351"/>
                  </a:lnTo>
                  <a:lnTo>
                    <a:pt x="503" y="353"/>
                  </a:lnTo>
                  <a:lnTo>
                    <a:pt x="503" y="353"/>
                  </a:lnTo>
                  <a:lnTo>
                    <a:pt x="503" y="353"/>
                  </a:lnTo>
                  <a:lnTo>
                    <a:pt x="501" y="353"/>
                  </a:lnTo>
                  <a:lnTo>
                    <a:pt x="501" y="353"/>
                  </a:lnTo>
                  <a:lnTo>
                    <a:pt x="501" y="353"/>
                  </a:lnTo>
                  <a:lnTo>
                    <a:pt x="501" y="353"/>
                  </a:lnTo>
                  <a:lnTo>
                    <a:pt x="501" y="351"/>
                  </a:lnTo>
                  <a:lnTo>
                    <a:pt x="501" y="351"/>
                  </a:lnTo>
                  <a:lnTo>
                    <a:pt x="501" y="351"/>
                  </a:lnTo>
                  <a:lnTo>
                    <a:pt x="501" y="351"/>
                  </a:lnTo>
                  <a:lnTo>
                    <a:pt x="498" y="351"/>
                  </a:lnTo>
                  <a:lnTo>
                    <a:pt x="498" y="351"/>
                  </a:lnTo>
                  <a:lnTo>
                    <a:pt x="498" y="351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6" y="353"/>
                  </a:lnTo>
                  <a:lnTo>
                    <a:pt x="496" y="353"/>
                  </a:lnTo>
                  <a:lnTo>
                    <a:pt x="496" y="355"/>
                  </a:lnTo>
                  <a:lnTo>
                    <a:pt x="492" y="355"/>
                  </a:lnTo>
                  <a:lnTo>
                    <a:pt x="487" y="355"/>
                  </a:lnTo>
                  <a:lnTo>
                    <a:pt x="483" y="355"/>
                  </a:lnTo>
                  <a:lnTo>
                    <a:pt x="478" y="355"/>
                  </a:lnTo>
                  <a:lnTo>
                    <a:pt x="474" y="355"/>
                  </a:lnTo>
                  <a:lnTo>
                    <a:pt x="469" y="355"/>
                  </a:lnTo>
                  <a:lnTo>
                    <a:pt x="465" y="355"/>
                  </a:lnTo>
                  <a:lnTo>
                    <a:pt x="460" y="355"/>
                  </a:lnTo>
                  <a:lnTo>
                    <a:pt x="458" y="355"/>
                  </a:lnTo>
                  <a:lnTo>
                    <a:pt x="458" y="355"/>
                  </a:lnTo>
                  <a:lnTo>
                    <a:pt x="458" y="355"/>
                  </a:lnTo>
                  <a:lnTo>
                    <a:pt x="456" y="369"/>
                  </a:lnTo>
                  <a:lnTo>
                    <a:pt x="447" y="369"/>
                  </a:lnTo>
                  <a:lnTo>
                    <a:pt x="447" y="369"/>
                  </a:lnTo>
                  <a:lnTo>
                    <a:pt x="447" y="369"/>
                  </a:lnTo>
                  <a:lnTo>
                    <a:pt x="447" y="369"/>
                  </a:lnTo>
                  <a:lnTo>
                    <a:pt x="447" y="369"/>
                  </a:lnTo>
                  <a:lnTo>
                    <a:pt x="449" y="369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49" y="371"/>
                  </a:lnTo>
                  <a:lnTo>
                    <a:pt x="451" y="371"/>
                  </a:lnTo>
                  <a:lnTo>
                    <a:pt x="451" y="371"/>
                  </a:lnTo>
                  <a:lnTo>
                    <a:pt x="451" y="371"/>
                  </a:lnTo>
                  <a:lnTo>
                    <a:pt x="451" y="373"/>
                  </a:lnTo>
                  <a:lnTo>
                    <a:pt x="451" y="373"/>
                  </a:lnTo>
                  <a:lnTo>
                    <a:pt x="451" y="373"/>
                  </a:lnTo>
                  <a:lnTo>
                    <a:pt x="451" y="373"/>
                  </a:lnTo>
                  <a:lnTo>
                    <a:pt x="451" y="373"/>
                  </a:lnTo>
                  <a:lnTo>
                    <a:pt x="451" y="373"/>
                  </a:lnTo>
                  <a:lnTo>
                    <a:pt x="453" y="373"/>
                  </a:lnTo>
                  <a:lnTo>
                    <a:pt x="453" y="373"/>
                  </a:lnTo>
                  <a:lnTo>
                    <a:pt x="453" y="375"/>
                  </a:lnTo>
                  <a:lnTo>
                    <a:pt x="453" y="375"/>
                  </a:lnTo>
                  <a:lnTo>
                    <a:pt x="453" y="375"/>
                  </a:lnTo>
                  <a:lnTo>
                    <a:pt x="453" y="375"/>
                  </a:lnTo>
                  <a:lnTo>
                    <a:pt x="453" y="375"/>
                  </a:lnTo>
                  <a:lnTo>
                    <a:pt x="453" y="378"/>
                  </a:lnTo>
                  <a:lnTo>
                    <a:pt x="453" y="378"/>
                  </a:lnTo>
                  <a:lnTo>
                    <a:pt x="453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6" y="378"/>
                  </a:lnTo>
                  <a:lnTo>
                    <a:pt x="458" y="380"/>
                  </a:lnTo>
                  <a:lnTo>
                    <a:pt x="458" y="380"/>
                  </a:lnTo>
                  <a:lnTo>
                    <a:pt x="458" y="380"/>
                  </a:lnTo>
                  <a:lnTo>
                    <a:pt x="458" y="380"/>
                  </a:lnTo>
                  <a:lnTo>
                    <a:pt x="458" y="380"/>
                  </a:lnTo>
                  <a:lnTo>
                    <a:pt x="458" y="380"/>
                  </a:lnTo>
                  <a:lnTo>
                    <a:pt x="458" y="380"/>
                  </a:lnTo>
                  <a:lnTo>
                    <a:pt x="460" y="380"/>
                  </a:lnTo>
                  <a:lnTo>
                    <a:pt x="460" y="380"/>
                  </a:lnTo>
                  <a:lnTo>
                    <a:pt x="460" y="382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2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4"/>
                  </a:lnTo>
                  <a:lnTo>
                    <a:pt x="460" y="387"/>
                  </a:lnTo>
                  <a:lnTo>
                    <a:pt x="460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0" y="387"/>
                  </a:lnTo>
                  <a:lnTo>
                    <a:pt x="460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2" y="387"/>
                  </a:lnTo>
                  <a:lnTo>
                    <a:pt x="465" y="387"/>
                  </a:lnTo>
                  <a:lnTo>
                    <a:pt x="465" y="387"/>
                  </a:lnTo>
                  <a:lnTo>
                    <a:pt x="465" y="387"/>
                  </a:lnTo>
                  <a:lnTo>
                    <a:pt x="465" y="387"/>
                  </a:lnTo>
                  <a:lnTo>
                    <a:pt x="465" y="387"/>
                  </a:lnTo>
                  <a:lnTo>
                    <a:pt x="465" y="387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7" y="389"/>
                  </a:lnTo>
                  <a:lnTo>
                    <a:pt x="467" y="389"/>
                  </a:lnTo>
                  <a:lnTo>
                    <a:pt x="467" y="389"/>
                  </a:lnTo>
                  <a:lnTo>
                    <a:pt x="467" y="389"/>
                  </a:lnTo>
                  <a:lnTo>
                    <a:pt x="467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89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3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5" y="396"/>
                  </a:lnTo>
                  <a:lnTo>
                    <a:pt x="462" y="396"/>
                  </a:lnTo>
                  <a:lnTo>
                    <a:pt x="460" y="396"/>
                  </a:lnTo>
                  <a:lnTo>
                    <a:pt x="458" y="396"/>
                  </a:lnTo>
                  <a:lnTo>
                    <a:pt x="456" y="396"/>
                  </a:lnTo>
                  <a:lnTo>
                    <a:pt x="453" y="396"/>
                  </a:lnTo>
                  <a:lnTo>
                    <a:pt x="449" y="396"/>
                  </a:lnTo>
                  <a:lnTo>
                    <a:pt x="447" y="396"/>
                  </a:lnTo>
                  <a:lnTo>
                    <a:pt x="444" y="396"/>
                  </a:lnTo>
                  <a:lnTo>
                    <a:pt x="442" y="396"/>
                  </a:lnTo>
                  <a:lnTo>
                    <a:pt x="438" y="396"/>
                  </a:lnTo>
                  <a:lnTo>
                    <a:pt x="438" y="396"/>
                  </a:lnTo>
                  <a:lnTo>
                    <a:pt x="438" y="396"/>
                  </a:lnTo>
                  <a:lnTo>
                    <a:pt x="438" y="398"/>
                  </a:lnTo>
                  <a:lnTo>
                    <a:pt x="436" y="398"/>
                  </a:lnTo>
                  <a:lnTo>
                    <a:pt x="436" y="398"/>
                  </a:lnTo>
                  <a:lnTo>
                    <a:pt x="436" y="400"/>
                  </a:lnTo>
                  <a:lnTo>
                    <a:pt x="433" y="402"/>
                  </a:lnTo>
                  <a:lnTo>
                    <a:pt x="431" y="407"/>
                  </a:lnTo>
                  <a:lnTo>
                    <a:pt x="429" y="409"/>
                  </a:lnTo>
                  <a:lnTo>
                    <a:pt x="427" y="411"/>
                  </a:lnTo>
                  <a:lnTo>
                    <a:pt x="427" y="414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4" y="416"/>
                  </a:lnTo>
                  <a:lnTo>
                    <a:pt x="427" y="420"/>
                  </a:lnTo>
                  <a:lnTo>
                    <a:pt x="427" y="420"/>
                  </a:lnTo>
                  <a:lnTo>
                    <a:pt x="427" y="423"/>
                  </a:lnTo>
                  <a:lnTo>
                    <a:pt x="427" y="423"/>
                  </a:lnTo>
                  <a:lnTo>
                    <a:pt x="427" y="423"/>
                  </a:lnTo>
                  <a:lnTo>
                    <a:pt x="427" y="423"/>
                  </a:lnTo>
                  <a:lnTo>
                    <a:pt x="427" y="423"/>
                  </a:lnTo>
                  <a:lnTo>
                    <a:pt x="427" y="423"/>
                  </a:lnTo>
                  <a:lnTo>
                    <a:pt x="427" y="425"/>
                  </a:lnTo>
                  <a:lnTo>
                    <a:pt x="424" y="425"/>
                  </a:lnTo>
                  <a:lnTo>
                    <a:pt x="424" y="425"/>
                  </a:lnTo>
                  <a:lnTo>
                    <a:pt x="424" y="425"/>
                  </a:lnTo>
                  <a:lnTo>
                    <a:pt x="424" y="427"/>
                  </a:lnTo>
                  <a:lnTo>
                    <a:pt x="424" y="427"/>
                  </a:lnTo>
                  <a:lnTo>
                    <a:pt x="424" y="427"/>
                  </a:lnTo>
                  <a:lnTo>
                    <a:pt x="424" y="427"/>
                  </a:lnTo>
                  <a:lnTo>
                    <a:pt x="424" y="427"/>
                  </a:lnTo>
                  <a:lnTo>
                    <a:pt x="424" y="427"/>
                  </a:lnTo>
                  <a:lnTo>
                    <a:pt x="424" y="429"/>
                  </a:lnTo>
                  <a:lnTo>
                    <a:pt x="424" y="429"/>
                  </a:lnTo>
                  <a:lnTo>
                    <a:pt x="424" y="429"/>
                  </a:lnTo>
                  <a:lnTo>
                    <a:pt x="424" y="432"/>
                  </a:lnTo>
                  <a:lnTo>
                    <a:pt x="424" y="432"/>
                  </a:lnTo>
                  <a:lnTo>
                    <a:pt x="422" y="434"/>
                  </a:lnTo>
                  <a:lnTo>
                    <a:pt x="422" y="432"/>
                  </a:lnTo>
                  <a:lnTo>
                    <a:pt x="422" y="432"/>
                  </a:lnTo>
                  <a:lnTo>
                    <a:pt x="420" y="429"/>
                  </a:lnTo>
                  <a:lnTo>
                    <a:pt x="418" y="427"/>
                  </a:lnTo>
                  <a:lnTo>
                    <a:pt x="415" y="423"/>
                  </a:lnTo>
                  <a:lnTo>
                    <a:pt x="413" y="418"/>
                  </a:lnTo>
                  <a:lnTo>
                    <a:pt x="411" y="418"/>
                  </a:lnTo>
                  <a:lnTo>
                    <a:pt x="411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20"/>
                  </a:lnTo>
                  <a:lnTo>
                    <a:pt x="413" y="420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3" y="418"/>
                  </a:lnTo>
                  <a:lnTo>
                    <a:pt x="411" y="418"/>
                  </a:lnTo>
                  <a:lnTo>
                    <a:pt x="411" y="418"/>
                  </a:lnTo>
                  <a:lnTo>
                    <a:pt x="411" y="416"/>
                  </a:lnTo>
                  <a:lnTo>
                    <a:pt x="411" y="418"/>
                  </a:lnTo>
                  <a:lnTo>
                    <a:pt x="411" y="418"/>
                  </a:lnTo>
                  <a:lnTo>
                    <a:pt x="411" y="418"/>
                  </a:lnTo>
                  <a:lnTo>
                    <a:pt x="411" y="416"/>
                  </a:lnTo>
                  <a:lnTo>
                    <a:pt x="409" y="416"/>
                  </a:lnTo>
                  <a:lnTo>
                    <a:pt x="409" y="416"/>
                  </a:lnTo>
                  <a:lnTo>
                    <a:pt x="409" y="416"/>
                  </a:lnTo>
                  <a:lnTo>
                    <a:pt x="406" y="414"/>
                  </a:lnTo>
                  <a:lnTo>
                    <a:pt x="406" y="411"/>
                  </a:lnTo>
                  <a:lnTo>
                    <a:pt x="406" y="411"/>
                  </a:lnTo>
                  <a:lnTo>
                    <a:pt x="406" y="409"/>
                  </a:lnTo>
                  <a:lnTo>
                    <a:pt x="404" y="409"/>
                  </a:lnTo>
                  <a:lnTo>
                    <a:pt x="400" y="405"/>
                  </a:lnTo>
                  <a:lnTo>
                    <a:pt x="400" y="405"/>
                  </a:lnTo>
                  <a:lnTo>
                    <a:pt x="397" y="402"/>
                  </a:lnTo>
                  <a:lnTo>
                    <a:pt x="395" y="400"/>
                  </a:lnTo>
                  <a:lnTo>
                    <a:pt x="391" y="398"/>
                  </a:lnTo>
                  <a:lnTo>
                    <a:pt x="391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8"/>
                  </a:lnTo>
                  <a:lnTo>
                    <a:pt x="393" y="396"/>
                  </a:lnTo>
                  <a:lnTo>
                    <a:pt x="393" y="396"/>
                  </a:lnTo>
                  <a:lnTo>
                    <a:pt x="393" y="396"/>
                  </a:lnTo>
                  <a:lnTo>
                    <a:pt x="388" y="396"/>
                  </a:lnTo>
                  <a:lnTo>
                    <a:pt x="388" y="396"/>
                  </a:lnTo>
                  <a:lnTo>
                    <a:pt x="388" y="393"/>
                  </a:lnTo>
                  <a:lnTo>
                    <a:pt x="388" y="393"/>
                  </a:lnTo>
                  <a:lnTo>
                    <a:pt x="388" y="393"/>
                  </a:lnTo>
                  <a:lnTo>
                    <a:pt x="388" y="393"/>
                  </a:lnTo>
                  <a:lnTo>
                    <a:pt x="388" y="393"/>
                  </a:lnTo>
                  <a:lnTo>
                    <a:pt x="388" y="393"/>
                  </a:lnTo>
                  <a:lnTo>
                    <a:pt x="386" y="393"/>
                  </a:lnTo>
                  <a:lnTo>
                    <a:pt x="386" y="393"/>
                  </a:lnTo>
                  <a:lnTo>
                    <a:pt x="386" y="393"/>
                  </a:lnTo>
                  <a:lnTo>
                    <a:pt x="384" y="393"/>
                  </a:lnTo>
                  <a:lnTo>
                    <a:pt x="384" y="391"/>
                  </a:lnTo>
                  <a:lnTo>
                    <a:pt x="384" y="391"/>
                  </a:lnTo>
                  <a:lnTo>
                    <a:pt x="384" y="391"/>
                  </a:lnTo>
                  <a:lnTo>
                    <a:pt x="382" y="391"/>
                  </a:lnTo>
                  <a:lnTo>
                    <a:pt x="382" y="391"/>
                  </a:lnTo>
                  <a:lnTo>
                    <a:pt x="382" y="391"/>
                  </a:lnTo>
                  <a:lnTo>
                    <a:pt x="382" y="391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2" y="391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84" y="393"/>
                  </a:lnTo>
                  <a:lnTo>
                    <a:pt x="384" y="396"/>
                  </a:lnTo>
                  <a:lnTo>
                    <a:pt x="384" y="396"/>
                  </a:lnTo>
                  <a:lnTo>
                    <a:pt x="384" y="393"/>
                  </a:lnTo>
                  <a:lnTo>
                    <a:pt x="384" y="393"/>
                  </a:lnTo>
                  <a:lnTo>
                    <a:pt x="384" y="393"/>
                  </a:lnTo>
                  <a:lnTo>
                    <a:pt x="384" y="393"/>
                  </a:lnTo>
                  <a:lnTo>
                    <a:pt x="386" y="393"/>
                  </a:lnTo>
                  <a:lnTo>
                    <a:pt x="386" y="393"/>
                  </a:lnTo>
                  <a:lnTo>
                    <a:pt x="386" y="393"/>
                  </a:lnTo>
                  <a:lnTo>
                    <a:pt x="386" y="393"/>
                  </a:lnTo>
                  <a:lnTo>
                    <a:pt x="386" y="396"/>
                  </a:lnTo>
                  <a:lnTo>
                    <a:pt x="386" y="396"/>
                  </a:lnTo>
                  <a:lnTo>
                    <a:pt x="386" y="396"/>
                  </a:lnTo>
                  <a:lnTo>
                    <a:pt x="386" y="396"/>
                  </a:lnTo>
                  <a:lnTo>
                    <a:pt x="388" y="396"/>
                  </a:lnTo>
                  <a:lnTo>
                    <a:pt x="388" y="396"/>
                  </a:lnTo>
                  <a:lnTo>
                    <a:pt x="388" y="396"/>
                  </a:lnTo>
                  <a:lnTo>
                    <a:pt x="391" y="398"/>
                  </a:lnTo>
                  <a:lnTo>
                    <a:pt x="391" y="398"/>
                  </a:lnTo>
                  <a:lnTo>
                    <a:pt x="391" y="398"/>
                  </a:lnTo>
                  <a:lnTo>
                    <a:pt x="391" y="398"/>
                  </a:lnTo>
                  <a:lnTo>
                    <a:pt x="391" y="398"/>
                  </a:lnTo>
                  <a:lnTo>
                    <a:pt x="384" y="396"/>
                  </a:lnTo>
                  <a:lnTo>
                    <a:pt x="384" y="393"/>
                  </a:lnTo>
                  <a:lnTo>
                    <a:pt x="382" y="393"/>
                  </a:lnTo>
                  <a:lnTo>
                    <a:pt x="382" y="393"/>
                  </a:lnTo>
                  <a:lnTo>
                    <a:pt x="379" y="393"/>
                  </a:lnTo>
                  <a:lnTo>
                    <a:pt x="379" y="393"/>
                  </a:lnTo>
                  <a:lnTo>
                    <a:pt x="379" y="393"/>
                  </a:lnTo>
                  <a:lnTo>
                    <a:pt x="377" y="393"/>
                  </a:lnTo>
                  <a:lnTo>
                    <a:pt x="377" y="393"/>
                  </a:lnTo>
                  <a:lnTo>
                    <a:pt x="377" y="393"/>
                  </a:lnTo>
                  <a:lnTo>
                    <a:pt x="377" y="393"/>
                  </a:lnTo>
                  <a:lnTo>
                    <a:pt x="377" y="393"/>
                  </a:lnTo>
                  <a:lnTo>
                    <a:pt x="375" y="393"/>
                  </a:lnTo>
                  <a:lnTo>
                    <a:pt x="375" y="393"/>
                  </a:lnTo>
                  <a:lnTo>
                    <a:pt x="375" y="393"/>
                  </a:lnTo>
                  <a:lnTo>
                    <a:pt x="375" y="393"/>
                  </a:lnTo>
                  <a:lnTo>
                    <a:pt x="377" y="391"/>
                  </a:lnTo>
                  <a:lnTo>
                    <a:pt x="379" y="391"/>
                  </a:lnTo>
                  <a:lnTo>
                    <a:pt x="379" y="391"/>
                  </a:lnTo>
                  <a:lnTo>
                    <a:pt x="379" y="391"/>
                  </a:lnTo>
                  <a:lnTo>
                    <a:pt x="377" y="389"/>
                  </a:lnTo>
                  <a:lnTo>
                    <a:pt x="377" y="389"/>
                  </a:lnTo>
                  <a:lnTo>
                    <a:pt x="377" y="389"/>
                  </a:lnTo>
                  <a:lnTo>
                    <a:pt x="377" y="389"/>
                  </a:lnTo>
                  <a:lnTo>
                    <a:pt x="377" y="389"/>
                  </a:lnTo>
                  <a:lnTo>
                    <a:pt x="377" y="389"/>
                  </a:lnTo>
                  <a:lnTo>
                    <a:pt x="377" y="389"/>
                  </a:lnTo>
                  <a:lnTo>
                    <a:pt x="377" y="391"/>
                  </a:lnTo>
                  <a:lnTo>
                    <a:pt x="377" y="391"/>
                  </a:lnTo>
                  <a:lnTo>
                    <a:pt x="377" y="391"/>
                  </a:lnTo>
                  <a:lnTo>
                    <a:pt x="377" y="391"/>
                  </a:lnTo>
                  <a:lnTo>
                    <a:pt x="377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91"/>
                  </a:lnTo>
                  <a:lnTo>
                    <a:pt x="375" y="389"/>
                  </a:lnTo>
                  <a:lnTo>
                    <a:pt x="375" y="389"/>
                  </a:lnTo>
                  <a:lnTo>
                    <a:pt x="375" y="389"/>
                  </a:lnTo>
                  <a:lnTo>
                    <a:pt x="375" y="389"/>
                  </a:lnTo>
                  <a:lnTo>
                    <a:pt x="375" y="389"/>
                  </a:lnTo>
                  <a:lnTo>
                    <a:pt x="375" y="389"/>
                  </a:lnTo>
                  <a:lnTo>
                    <a:pt x="373" y="389"/>
                  </a:lnTo>
                  <a:lnTo>
                    <a:pt x="373" y="389"/>
                  </a:lnTo>
                  <a:lnTo>
                    <a:pt x="373" y="389"/>
                  </a:lnTo>
                  <a:lnTo>
                    <a:pt x="373" y="389"/>
                  </a:lnTo>
                  <a:lnTo>
                    <a:pt x="373" y="389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70" y="391"/>
                  </a:lnTo>
                  <a:lnTo>
                    <a:pt x="368" y="391"/>
                  </a:lnTo>
                  <a:lnTo>
                    <a:pt x="368" y="391"/>
                  </a:lnTo>
                  <a:lnTo>
                    <a:pt x="368" y="391"/>
                  </a:lnTo>
                  <a:lnTo>
                    <a:pt x="368" y="391"/>
                  </a:lnTo>
                  <a:lnTo>
                    <a:pt x="368" y="391"/>
                  </a:lnTo>
                  <a:lnTo>
                    <a:pt x="373" y="391"/>
                  </a:lnTo>
                  <a:lnTo>
                    <a:pt x="373" y="391"/>
                  </a:lnTo>
                  <a:lnTo>
                    <a:pt x="373" y="391"/>
                  </a:lnTo>
                  <a:lnTo>
                    <a:pt x="373" y="391"/>
                  </a:lnTo>
                  <a:lnTo>
                    <a:pt x="373" y="391"/>
                  </a:lnTo>
                  <a:lnTo>
                    <a:pt x="373" y="391"/>
                  </a:lnTo>
                  <a:lnTo>
                    <a:pt x="373" y="391"/>
                  </a:lnTo>
                  <a:lnTo>
                    <a:pt x="373" y="393"/>
                  </a:lnTo>
                  <a:lnTo>
                    <a:pt x="370" y="393"/>
                  </a:lnTo>
                  <a:lnTo>
                    <a:pt x="373" y="393"/>
                  </a:lnTo>
                  <a:lnTo>
                    <a:pt x="375" y="393"/>
                  </a:lnTo>
                  <a:lnTo>
                    <a:pt x="375" y="393"/>
                  </a:lnTo>
                  <a:lnTo>
                    <a:pt x="375" y="393"/>
                  </a:lnTo>
                  <a:lnTo>
                    <a:pt x="375" y="393"/>
                  </a:lnTo>
                  <a:lnTo>
                    <a:pt x="373" y="393"/>
                  </a:lnTo>
                  <a:lnTo>
                    <a:pt x="373" y="393"/>
                  </a:lnTo>
                  <a:lnTo>
                    <a:pt x="370" y="393"/>
                  </a:lnTo>
                  <a:lnTo>
                    <a:pt x="370" y="393"/>
                  </a:lnTo>
                  <a:lnTo>
                    <a:pt x="370" y="393"/>
                  </a:lnTo>
                  <a:lnTo>
                    <a:pt x="370" y="393"/>
                  </a:lnTo>
                  <a:lnTo>
                    <a:pt x="370" y="393"/>
                  </a:lnTo>
                  <a:lnTo>
                    <a:pt x="370" y="393"/>
                  </a:lnTo>
                  <a:lnTo>
                    <a:pt x="368" y="393"/>
                  </a:lnTo>
                  <a:lnTo>
                    <a:pt x="368" y="393"/>
                  </a:lnTo>
                  <a:lnTo>
                    <a:pt x="368" y="393"/>
                  </a:lnTo>
                  <a:lnTo>
                    <a:pt x="368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3"/>
                  </a:lnTo>
                  <a:lnTo>
                    <a:pt x="366" y="396"/>
                  </a:lnTo>
                  <a:lnTo>
                    <a:pt x="364" y="396"/>
                  </a:lnTo>
                  <a:lnTo>
                    <a:pt x="364" y="396"/>
                  </a:lnTo>
                  <a:lnTo>
                    <a:pt x="364" y="396"/>
                  </a:lnTo>
                  <a:lnTo>
                    <a:pt x="361" y="398"/>
                  </a:lnTo>
                  <a:lnTo>
                    <a:pt x="361" y="398"/>
                  </a:lnTo>
                  <a:lnTo>
                    <a:pt x="361" y="398"/>
                  </a:lnTo>
                  <a:lnTo>
                    <a:pt x="361" y="398"/>
                  </a:lnTo>
                  <a:lnTo>
                    <a:pt x="355" y="400"/>
                  </a:lnTo>
                  <a:lnTo>
                    <a:pt x="355" y="400"/>
                  </a:lnTo>
                  <a:lnTo>
                    <a:pt x="355" y="400"/>
                  </a:lnTo>
                  <a:lnTo>
                    <a:pt x="352" y="400"/>
                  </a:lnTo>
                  <a:lnTo>
                    <a:pt x="352" y="400"/>
                  </a:lnTo>
                  <a:lnTo>
                    <a:pt x="352" y="400"/>
                  </a:lnTo>
                  <a:lnTo>
                    <a:pt x="352" y="400"/>
                  </a:lnTo>
                  <a:lnTo>
                    <a:pt x="352" y="402"/>
                  </a:lnTo>
                  <a:lnTo>
                    <a:pt x="352" y="402"/>
                  </a:lnTo>
                  <a:lnTo>
                    <a:pt x="350" y="402"/>
                  </a:lnTo>
                  <a:lnTo>
                    <a:pt x="350" y="402"/>
                  </a:lnTo>
                  <a:lnTo>
                    <a:pt x="350" y="402"/>
                  </a:lnTo>
                  <a:lnTo>
                    <a:pt x="350" y="402"/>
                  </a:lnTo>
                  <a:lnTo>
                    <a:pt x="348" y="402"/>
                  </a:lnTo>
                  <a:lnTo>
                    <a:pt x="348" y="405"/>
                  </a:lnTo>
                  <a:lnTo>
                    <a:pt x="346" y="405"/>
                  </a:lnTo>
                  <a:lnTo>
                    <a:pt x="343" y="405"/>
                  </a:lnTo>
                  <a:lnTo>
                    <a:pt x="341" y="407"/>
                  </a:lnTo>
                  <a:lnTo>
                    <a:pt x="341" y="407"/>
                  </a:lnTo>
                  <a:lnTo>
                    <a:pt x="339" y="405"/>
                  </a:lnTo>
                  <a:lnTo>
                    <a:pt x="339" y="405"/>
                  </a:lnTo>
                  <a:lnTo>
                    <a:pt x="339" y="405"/>
                  </a:lnTo>
                  <a:lnTo>
                    <a:pt x="339" y="407"/>
                  </a:lnTo>
                  <a:lnTo>
                    <a:pt x="339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7" y="407"/>
                  </a:lnTo>
                  <a:lnTo>
                    <a:pt x="334" y="407"/>
                  </a:lnTo>
                  <a:lnTo>
                    <a:pt x="332" y="405"/>
                  </a:lnTo>
                  <a:lnTo>
                    <a:pt x="330" y="405"/>
                  </a:lnTo>
                  <a:lnTo>
                    <a:pt x="330" y="405"/>
                  </a:lnTo>
                  <a:lnTo>
                    <a:pt x="325" y="400"/>
                  </a:lnTo>
                  <a:lnTo>
                    <a:pt x="323" y="400"/>
                  </a:lnTo>
                  <a:lnTo>
                    <a:pt x="323" y="400"/>
                  </a:lnTo>
                  <a:lnTo>
                    <a:pt x="314" y="400"/>
                  </a:lnTo>
                  <a:lnTo>
                    <a:pt x="314" y="400"/>
                  </a:lnTo>
                  <a:lnTo>
                    <a:pt x="314" y="400"/>
                  </a:lnTo>
                  <a:lnTo>
                    <a:pt x="314" y="400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2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10" y="396"/>
                  </a:lnTo>
                  <a:lnTo>
                    <a:pt x="310" y="398"/>
                  </a:lnTo>
                  <a:lnTo>
                    <a:pt x="310" y="398"/>
                  </a:lnTo>
                  <a:lnTo>
                    <a:pt x="307" y="396"/>
                  </a:lnTo>
                  <a:lnTo>
                    <a:pt x="307" y="396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3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5" y="393"/>
                  </a:lnTo>
                  <a:lnTo>
                    <a:pt x="303" y="393"/>
                  </a:lnTo>
                  <a:lnTo>
                    <a:pt x="303" y="393"/>
                  </a:lnTo>
                  <a:lnTo>
                    <a:pt x="303" y="393"/>
                  </a:lnTo>
                  <a:lnTo>
                    <a:pt x="303" y="393"/>
                  </a:lnTo>
                  <a:lnTo>
                    <a:pt x="303" y="393"/>
                  </a:lnTo>
                  <a:lnTo>
                    <a:pt x="303" y="393"/>
                  </a:lnTo>
                  <a:lnTo>
                    <a:pt x="303" y="393"/>
                  </a:lnTo>
                  <a:lnTo>
                    <a:pt x="301" y="391"/>
                  </a:lnTo>
                  <a:lnTo>
                    <a:pt x="298" y="391"/>
                  </a:lnTo>
                  <a:lnTo>
                    <a:pt x="296" y="391"/>
                  </a:lnTo>
                  <a:lnTo>
                    <a:pt x="296" y="391"/>
                  </a:lnTo>
                  <a:lnTo>
                    <a:pt x="296" y="391"/>
                  </a:lnTo>
                  <a:lnTo>
                    <a:pt x="296" y="389"/>
                  </a:lnTo>
                  <a:lnTo>
                    <a:pt x="294" y="389"/>
                  </a:lnTo>
                  <a:lnTo>
                    <a:pt x="294" y="387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4"/>
                  </a:lnTo>
                  <a:lnTo>
                    <a:pt x="292" y="387"/>
                  </a:lnTo>
                  <a:lnTo>
                    <a:pt x="289" y="387"/>
                  </a:lnTo>
                  <a:lnTo>
                    <a:pt x="289" y="384"/>
                  </a:lnTo>
                  <a:lnTo>
                    <a:pt x="289" y="384"/>
                  </a:lnTo>
                  <a:lnTo>
                    <a:pt x="285" y="384"/>
                  </a:lnTo>
                  <a:lnTo>
                    <a:pt x="283" y="382"/>
                  </a:lnTo>
                  <a:lnTo>
                    <a:pt x="283" y="382"/>
                  </a:lnTo>
                  <a:lnTo>
                    <a:pt x="280" y="382"/>
                  </a:lnTo>
                  <a:lnTo>
                    <a:pt x="280" y="382"/>
                  </a:lnTo>
                  <a:lnTo>
                    <a:pt x="280" y="382"/>
                  </a:lnTo>
                  <a:lnTo>
                    <a:pt x="276" y="382"/>
                  </a:lnTo>
                  <a:lnTo>
                    <a:pt x="276" y="382"/>
                  </a:lnTo>
                  <a:lnTo>
                    <a:pt x="276" y="382"/>
                  </a:lnTo>
                  <a:lnTo>
                    <a:pt x="276" y="382"/>
                  </a:lnTo>
                  <a:lnTo>
                    <a:pt x="274" y="382"/>
                  </a:lnTo>
                  <a:lnTo>
                    <a:pt x="274" y="382"/>
                  </a:lnTo>
                  <a:lnTo>
                    <a:pt x="274" y="382"/>
                  </a:lnTo>
                  <a:lnTo>
                    <a:pt x="274" y="380"/>
                  </a:lnTo>
                  <a:lnTo>
                    <a:pt x="272" y="380"/>
                  </a:lnTo>
                  <a:lnTo>
                    <a:pt x="272" y="380"/>
                  </a:lnTo>
                  <a:lnTo>
                    <a:pt x="272" y="380"/>
                  </a:lnTo>
                  <a:lnTo>
                    <a:pt x="272" y="380"/>
                  </a:lnTo>
                  <a:lnTo>
                    <a:pt x="272" y="380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72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9" y="378"/>
                  </a:lnTo>
                  <a:lnTo>
                    <a:pt x="267" y="378"/>
                  </a:lnTo>
                  <a:lnTo>
                    <a:pt x="267" y="375"/>
                  </a:lnTo>
                  <a:lnTo>
                    <a:pt x="267" y="375"/>
                  </a:lnTo>
                  <a:lnTo>
                    <a:pt x="265" y="375"/>
                  </a:lnTo>
                  <a:lnTo>
                    <a:pt x="265" y="375"/>
                  </a:lnTo>
                  <a:lnTo>
                    <a:pt x="263" y="373"/>
                  </a:lnTo>
                  <a:lnTo>
                    <a:pt x="258" y="371"/>
                  </a:lnTo>
                  <a:lnTo>
                    <a:pt x="256" y="371"/>
                  </a:lnTo>
                  <a:lnTo>
                    <a:pt x="254" y="371"/>
                  </a:lnTo>
                  <a:lnTo>
                    <a:pt x="254" y="371"/>
                  </a:lnTo>
                  <a:lnTo>
                    <a:pt x="251" y="369"/>
                  </a:lnTo>
                  <a:lnTo>
                    <a:pt x="251" y="369"/>
                  </a:lnTo>
                  <a:lnTo>
                    <a:pt x="249" y="369"/>
                  </a:lnTo>
                  <a:lnTo>
                    <a:pt x="249" y="369"/>
                  </a:lnTo>
                  <a:lnTo>
                    <a:pt x="247" y="369"/>
                  </a:lnTo>
                  <a:lnTo>
                    <a:pt x="247" y="366"/>
                  </a:lnTo>
                  <a:lnTo>
                    <a:pt x="247" y="366"/>
                  </a:lnTo>
                  <a:lnTo>
                    <a:pt x="247" y="366"/>
                  </a:lnTo>
                  <a:lnTo>
                    <a:pt x="247" y="364"/>
                  </a:lnTo>
                  <a:lnTo>
                    <a:pt x="245" y="364"/>
                  </a:lnTo>
                  <a:lnTo>
                    <a:pt x="242" y="362"/>
                  </a:lnTo>
                  <a:lnTo>
                    <a:pt x="242" y="362"/>
                  </a:lnTo>
                  <a:lnTo>
                    <a:pt x="240" y="362"/>
                  </a:lnTo>
                  <a:lnTo>
                    <a:pt x="240" y="362"/>
                  </a:lnTo>
                  <a:lnTo>
                    <a:pt x="240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60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8" y="360"/>
                  </a:lnTo>
                  <a:lnTo>
                    <a:pt x="238" y="360"/>
                  </a:lnTo>
                  <a:lnTo>
                    <a:pt x="236" y="355"/>
                  </a:lnTo>
                  <a:lnTo>
                    <a:pt x="236" y="355"/>
                  </a:lnTo>
                  <a:lnTo>
                    <a:pt x="236" y="355"/>
                  </a:lnTo>
                  <a:lnTo>
                    <a:pt x="236" y="353"/>
                  </a:lnTo>
                  <a:lnTo>
                    <a:pt x="233" y="353"/>
                  </a:lnTo>
                  <a:lnTo>
                    <a:pt x="233" y="353"/>
                  </a:lnTo>
                  <a:lnTo>
                    <a:pt x="233" y="353"/>
                  </a:lnTo>
                  <a:lnTo>
                    <a:pt x="233" y="353"/>
                  </a:lnTo>
                  <a:lnTo>
                    <a:pt x="231" y="351"/>
                  </a:lnTo>
                  <a:lnTo>
                    <a:pt x="231" y="351"/>
                  </a:lnTo>
                  <a:lnTo>
                    <a:pt x="229" y="351"/>
                  </a:lnTo>
                  <a:lnTo>
                    <a:pt x="229" y="351"/>
                  </a:lnTo>
                  <a:lnTo>
                    <a:pt x="229" y="351"/>
                  </a:lnTo>
                  <a:lnTo>
                    <a:pt x="227" y="353"/>
                  </a:lnTo>
                  <a:lnTo>
                    <a:pt x="227" y="353"/>
                  </a:lnTo>
                  <a:lnTo>
                    <a:pt x="227" y="353"/>
                  </a:lnTo>
                  <a:lnTo>
                    <a:pt x="227" y="353"/>
                  </a:lnTo>
                  <a:lnTo>
                    <a:pt x="224" y="351"/>
                  </a:lnTo>
                  <a:lnTo>
                    <a:pt x="224" y="351"/>
                  </a:lnTo>
                  <a:lnTo>
                    <a:pt x="222" y="351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18" y="348"/>
                  </a:lnTo>
                  <a:lnTo>
                    <a:pt x="215" y="348"/>
                  </a:lnTo>
                  <a:lnTo>
                    <a:pt x="215" y="348"/>
                  </a:lnTo>
                  <a:lnTo>
                    <a:pt x="213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09" y="346"/>
                  </a:lnTo>
                  <a:lnTo>
                    <a:pt x="209" y="346"/>
                  </a:lnTo>
                  <a:lnTo>
                    <a:pt x="209" y="346"/>
                  </a:lnTo>
                  <a:lnTo>
                    <a:pt x="206" y="346"/>
                  </a:lnTo>
                  <a:lnTo>
                    <a:pt x="206" y="344"/>
                  </a:lnTo>
                  <a:lnTo>
                    <a:pt x="206" y="344"/>
                  </a:lnTo>
                  <a:lnTo>
                    <a:pt x="204" y="344"/>
                  </a:lnTo>
                  <a:lnTo>
                    <a:pt x="204" y="344"/>
                  </a:lnTo>
                  <a:lnTo>
                    <a:pt x="204" y="344"/>
                  </a:lnTo>
                  <a:lnTo>
                    <a:pt x="202" y="344"/>
                  </a:lnTo>
                  <a:lnTo>
                    <a:pt x="202" y="344"/>
                  </a:lnTo>
                  <a:lnTo>
                    <a:pt x="202" y="344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39"/>
                  </a:lnTo>
                  <a:lnTo>
                    <a:pt x="200" y="337"/>
                  </a:lnTo>
                  <a:lnTo>
                    <a:pt x="200" y="337"/>
                  </a:lnTo>
                  <a:lnTo>
                    <a:pt x="197" y="337"/>
                  </a:lnTo>
                  <a:lnTo>
                    <a:pt x="197" y="337"/>
                  </a:lnTo>
                  <a:lnTo>
                    <a:pt x="197" y="337"/>
                  </a:lnTo>
                  <a:lnTo>
                    <a:pt x="197" y="337"/>
                  </a:lnTo>
                  <a:lnTo>
                    <a:pt x="197" y="337"/>
                  </a:lnTo>
                  <a:lnTo>
                    <a:pt x="197" y="337"/>
                  </a:lnTo>
                  <a:lnTo>
                    <a:pt x="197" y="337"/>
                  </a:lnTo>
                  <a:lnTo>
                    <a:pt x="197" y="335"/>
                  </a:lnTo>
                  <a:lnTo>
                    <a:pt x="197" y="335"/>
                  </a:lnTo>
                  <a:lnTo>
                    <a:pt x="193" y="330"/>
                  </a:lnTo>
                  <a:lnTo>
                    <a:pt x="193" y="330"/>
                  </a:lnTo>
                  <a:lnTo>
                    <a:pt x="193" y="330"/>
                  </a:lnTo>
                  <a:lnTo>
                    <a:pt x="191" y="328"/>
                  </a:lnTo>
                  <a:lnTo>
                    <a:pt x="188" y="328"/>
                  </a:lnTo>
                  <a:lnTo>
                    <a:pt x="188" y="326"/>
                  </a:lnTo>
                  <a:lnTo>
                    <a:pt x="186" y="326"/>
                  </a:lnTo>
                  <a:lnTo>
                    <a:pt x="186" y="326"/>
                  </a:lnTo>
                  <a:lnTo>
                    <a:pt x="186" y="326"/>
                  </a:lnTo>
                  <a:lnTo>
                    <a:pt x="186" y="326"/>
                  </a:lnTo>
                  <a:lnTo>
                    <a:pt x="186" y="326"/>
                  </a:lnTo>
                  <a:lnTo>
                    <a:pt x="186" y="326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86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2" y="324"/>
                  </a:lnTo>
                  <a:lnTo>
                    <a:pt x="179" y="324"/>
                  </a:lnTo>
                  <a:lnTo>
                    <a:pt x="179" y="321"/>
                  </a:lnTo>
                  <a:lnTo>
                    <a:pt x="179" y="321"/>
                  </a:lnTo>
                  <a:lnTo>
                    <a:pt x="179" y="321"/>
                  </a:lnTo>
                  <a:lnTo>
                    <a:pt x="179" y="321"/>
                  </a:lnTo>
                  <a:lnTo>
                    <a:pt x="179" y="321"/>
                  </a:lnTo>
                  <a:lnTo>
                    <a:pt x="179" y="321"/>
                  </a:lnTo>
                  <a:lnTo>
                    <a:pt x="179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7" y="319"/>
                  </a:lnTo>
                  <a:lnTo>
                    <a:pt x="175" y="319"/>
                  </a:lnTo>
                  <a:lnTo>
                    <a:pt x="175" y="319"/>
                  </a:lnTo>
                  <a:lnTo>
                    <a:pt x="175" y="319"/>
                  </a:lnTo>
                  <a:lnTo>
                    <a:pt x="175" y="319"/>
                  </a:lnTo>
                  <a:lnTo>
                    <a:pt x="175" y="319"/>
                  </a:lnTo>
                  <a:lnTo>
                    <a:pt x="175" y="319"/>
                  </a:lnTo>
                  <a:lnTo>
                    <a:pt x="173" y="319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2"/>
                  </a:lnTo>
                  <a:lnTo>
                    <a:pt x="170" y="312"/>
                  </a:lnTo>
                  <a:lnTo>
                    <a:pt x="170" y="312"/>
                  </a:lnTo>
                  <a:lnTo>
                    <a:pt x="170" y="312"/>
                  </a:lnTo>
                  <a:lnTo>
                    <a:pt x="170" y="312"/>
                  </a:lnTo>
                  <a:lnTo>
                    <a:pt x="170" y="312"/>
                  </a:lnTo>
                  <a:lnTo>
                    <a:pt x="168" y="310"/>
                  </a:lnTo>
                  <a:lnTo>
                    <a:pt x="168" y="310"/>
                  </a:lnTo>
                  <a:lnTo>
                    <a:pt x="168" y="308"/>
                  </a:lnTo>
                  <a:lnTo>
                    <a:pt x="168" y="306"/>
                  </a:lnTo>
                  <a:lnTo>
                    <a:pt x="168" y="306"/>
                  </a:lnTo>
                  <a:lnTo>
                    <a:pt x="166" y="306"/>
                  </a:lnTo>
                  <a:lnTo>
                    <a:pt x="166" y="306"/>
                  </a:lnTo>
                  <a:lnTo>
                    <a:pt x="166" y="306"/>
                  </a:lnTo>
                  <a:lnTo>
                    <a:pt x="166" y="303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6" y="299"/>
                  </a:lnTo>
                  <a:lnTo>
                    <a:pt x="166" y="299"/>
                  </a:lnTo>
                  <a:lnTo>
                    <a:pt x="166" y="297"/>
                  </a:lnTo>
                  <a:lnTo>
                    <a:pt x="166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4"/>
                  </a:lnTo>
                  <a:lnTo>
                    <a:pt x="164" y="294"/>
                  </a:lnTo>
                  <a:lnTo>
                    <a:pt x="164" y="294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6" y="292"/>
                  </a:lnTo>
                  <a:lnTo>
                    <a:pt x="166" y="290"/>
                  </a:lnTo>
                  <a:lnTo>
                    <a:pt x="168" y="292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70" y="290"/>
                  </a:lnTo>
                  <a:lnTo>
                    <a:pt x="170" y="290"/>
                  </a:lnTo>
                  <a:lnTo>
                    <a:pt x="170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8"/>
                  </a:lnTo>
                  <a:lnTo>
                    <a:pt x="173" y="285"/>
                  </a:lnTo>
                  <a:lnTo>
                    <a:pt x="173" y="285"/>
                  </a:lnTo>
                  <a:lnTo>
                    <a:pt x="170" y="285"/>
                  </a:lnTo>
                  <a:lnTo>
                    <a:pt x="170" y="285"/>
                  </a:lnTo>
                  <a:lnTo>
                    <a:pt x="170" y="285"/>
                  </a:lnTo>
                  <a:lnTo>
                    <a:pt x="170" y="285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68" y="283"/>
                  </a:lnTo>
                  <a:lnTo>
                    <a:pt x="170" y="283"/>
                  </a:lnTo>
                  <a:lnTo>
                    <a:pt x="170" y="283"/>
                  </a:lnTo>
                  <a:lnTo>
                    <a:pt x="170" y="283"/>
                  </a:lnTo>
                  <a:lnTo>
                    <a:pt x="170" y="281"/>
                  </a:lnTo>
                  <a:lnTo>
                    <a:pt x="170" y="281"/>
                  </a:lnTo>
                  <a:lnTo>
                    <a:pt x="170" y="281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9"/>
                  </a:lnTo>
                  <a:lnTo>
                    <a:pt x="175" y="279"/>
                  </a:lnTo>
                  <a:lnTo>
                    <a:pt x="175" y="279"/>
                  </a:lnTo>
                  <a:lnTo>
                    <a:pt x="175" y="276"/>
                  </a:lnTo>
                  <a:lnTo>
                    <a:pt x="175" y="276"/>
                  </a:lnTo>
                  <a:lnTo>
                    <a:pt x="175" y="276"/>
                  </a:lnTo>
                  <a:lnTo>
                    <a:pt x="175" y="276"/>
                  </a:lnTo>
                  <a:lnTo>
                    <a:pt x="175" y="272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7" y="267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3" y="265"/>
                  </a:lnTo>
                  <a:lnTo>
                    <a:pt x="173" y="265"/>
                  </a:lnTo>
                  <a:lnTo>
                    <a:pt x="173" y="265"/>
                  </a:lnTo>
                  <a:lnTo>
                    <a:pt x="173" y="263"/>
                  </a:lnTo>
                  <a:lnTo>
                    <a:pt x="170" y="258"/>
                  </a:lnTo>
                  <a:lnTo>
                    <a:pt x="170" y="256"/>
                  </a:lnTo>
                  <a:lnTo>
                    <a:pt x="170" y="256"/>
                  </a:lnTo>
                  <a:lnTo>
                    <a:pt x="170" y="256"/>
                  </a:lnTo>
                  <a:lnTo>
                    <a:pt x="170" y="247"/>
                  </a:lnTo>
                  <a:lnTo>
                    <a:pt x="170" y="247"/>
                  </a:lnTo>
                  <a:lnTo>
                    <a:pt x="170" y="245"/>
                  </a:lnTo>
                  <a:lnTo>
                    <a:pt x="170" y="245"/>
                  </a:lnTo>
                  <a:lnTo>
                    <a:pt x="170" y="243"/>
                  </a:lnTo>
                  <a:lnTo>
                    <a:pt x="170" y="243"/>
                  </a:lnTo>
                  <a:lnTo>
                    <a:pt x="170" y="243"/>
                  </a:lnTo>
                  <a:lnTo>
                    <a:pt x="170" y="243"/>
                  </a:lnTo>
                  <a:lnTo>
                    <a:pt x="170" y="243"/>
                  </a:lnTo>
                  <a:lnTo>
                    <a:pt x="170" y="243"/>
                  </a:lnTo>
                  <a:lnTo>
                    <a:pt x="170" y="243"/>
                  </a:lnTo>
                  <a:lnTo>
                    <a:pt x="170" y="240"/>
                  </a:lnTo>
                  <a:lnTo>
                    <a:pt x="170" y="240"/>
                  </a:lnTo>
                  <a:lnTo>
                    <a:pt x="168" y="238"/>
                  </a:lnTo>
                  <a:lnTo>
                    <a:pt x="168" y="236"/>
                  </a:lnTo>
                  <a:lnTo>
                    <a:pt x="168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4"/>
                  </a:lnTo>
                  <a:lnTo>
                    <a:pt x="166" y="234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4" y="229"/>
                  </a:lnTo>
                  <a:lnTo>
                    <a:pt x="161" y="229"/>
                  </a:lnTo>
                  <a:lnTo>
                    <a:pt x="161" y="229"/>
                  </a:lnTo>
                  <a:lnTo>
                    <a:pt x="161" y="229"/>
                  </a:lnTo>
                  <a:lnTo>
                    <a:pt x="161" y="229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5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59" y="222"/>
                  </a:lnTo>
                  <a:lnTo>
                    <a:pt x="159" y="22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0" name="Freeform 546"/>
            <p:cNvSpPr>
              <a:spLocks noEditPoints="1"/>
            </p:cNvSpPr>
            <p:nvPr/>
          </p:nvSpPr>
          <p:spPr bwMode="auto">
            <a:xfrm>
              <a:off x="5054224" y="2882669"/>
              <a:ext cx="424542" cy="496413"/>
            </a:xfrm>
            <a:custGeom>
              <a:avLst/>
              <a:gdLst>
                <a:gd name="T0" fmla="*/ 14 w 254"/>
                <a:gd name="T1" fmla="*/ 178 h 297"/>
                <a:gd name="T2" fmla="*/ 229 w 254"/>
                <a:gd name="T3" fmla="*/ 176 h 297"/>
                <a:gd name="T4" fmla="*/ 232 w 254"/>
                <a:gd name="T5" fmla="*/ 209 h 297"/>
                <a:gd name="T6" fmla="*/ 236 w 254"/>
                <a:gd name="T7" fmla="*/ 248 h 297"/>
                <a:gd name="T8" fmla="*/ 241 w 254"/>
                <a:gd name="T9" fmla="*/ 263 h 297"/>
                <a:gd name="T10" fmla="*/ 238 w 254"/>
                <a:gd name="T11" fmla="*/ 279 h 297"/>
                <a:gd name="T12" fmla="*/ 238 w 254"/>
                <a:gd name="T13" fmla="*/ 279 h 297"/>
                <a:gd name="T14" fmla="*/ 211 w 254"/>
                <a:gd name="T15" fmla="*/ 279 h 297"/>
                <a:gd name="T16" fmla="*/ 160 w 254"/>
                <a:gd name="T17" fmla="*/ 279 h 297"/>
                <a:gd name="T18" fmla="*/ 144 w 254"/>
                <a:gd name="T19" fmla="*/ 284 h 297"/>
                <a:gd name="T20" fmla="*/ 133 w 254"/>
                <a:gd name="T21" fmla="*/ 281 h 297"/>
                <a:gd name="T22" fmla="*/ 126 w 254"/>
                <a:gd name="T23" fmla="*/ 288 h 297"/>
                <a:gd name="T24" fmla="*/ 115 w 254"/>
                <a:gd name="T25" fmla="*/ 277 h 297"/>
                <a:gd name="T26" fmla="*/ 108 w 254"/>
                <a:gd name="T27" fmla="*/ 284 h 297"/>
                <a:gd name="T28" fmla="*/ 108 w 254"/>
                <a:gd name="T29" fmla="*/ 290 h 297"/>
                <a:gd name="T30" fmla="*/ 106 w 254"/>
                <a:gd name="T31" fmla="*/ 295 h 297"/>
                <a:gd name="T32" fmla="*/ 99 w 254"/>
                <a:gd name="T33" fmla="*/ 297 h 297"/>
                <a:gd name="T34" fmla="*/ 90 w 254"/>
                <a:gd name="T35" fmla="*/ 290 h 297"/>
                <a:gd name="T36" fmla="*/ 86 w 254"/>
                <a:gd name="T37" fmla="*/ 286 h 297"/>
                <a:gd name="T38" fmla="*/ 83 w 254"/>
                <a:gd name="T39" fmla="*/ 281 h 297"/>
                <a:gd name="T40" fmla="*/ 81 w 254"/>
                <a:gd name="T41" fmla="*/ 277 h 297"/>
                <a:gd name="T42" fmla="*/ 79 w 254"/>
                <a:gd name="T43" fmla="*/ 275 h 297"/>
                <a:gd name="T44" fmla="*/ 77 w 254"/>
                <a:gd name="T45" fmla="*/ 270 h 297"/>
                <a:gd name="T46" fmla="*/ 72 w 254"/>
                <a:gd name="T47" fmla="*/ 266 h 297"/>
                <a:gd name="T48" fmla="*/ 70 w 254"/>
                <a:gd name="T49" fmla="*/ 266 h 297"/>
                <a:gd name="T50" fmla="*/ 68 w 254"/>
                <a:gd name="T51" fmla="*/ 263 h 297"/>
                <a:gd name="T52" fmla="*/ 63 w 254"/>
                <a:gd name="T53" fmla="*/ 261 h 297"/>
                <a:gd name="T54" fmla="*/ 59 w 254"/>
                <a:gd name="T55" fmla="*/ 257 h 297"/>
                <a:gd name="T56" fmla="*/ 54 w 254"/>
                <a:gd name="T57" fmla="*/ 252 h 297"/>
                <a:gd name="T58" fmla="*/ 45 w 254"/>
                <a:gd name="T59" fmla="*/ 252 h 297"/>
                <a:gd name="T60" fmla="*/ 41 w 254"/>
                <a:gd name="T61" fmla="*/ 252 h 297"/>
                <a:gd name="T62" fmla="*/ 34 w 254"/>
                <a:gd name="T63" fmla="*/ 254 h 297"/>
                <a:gd name="T64" fmla="*/ 27 w 254"/>
                <a:gd name="T65" fmla="*/ 257 h 297"/>
                <a:gd name="T66" fmla="*/ 20 w 254"/>
                <a:gd name="T67" fmla="*/ 257 h 297"/>
                <a:gd name="T68" fmla="*/ 16 w 254"/>
                <a:gd name="T69" fmla="*/ 257 h 297"/>
                <a:gd name="T70" fmla="*/ 9 w 254"/>
                <a:gd name="T71" fmla="*/ 272 h 297"/>
                <a:gd name="T72" fmla="*/ 16 w 254"/>
                <a:gd name="T73" fmla="*/ 243 h 297"/>
                <a:gd name="T74" fmla="*/ 16 w 254"/>
                <a:gd name="T75" fmla="*/ 194 h 297"/>
                <a:gd name="T76" fmla="*/ 14 w 254"/>
                <a:gd name="T77" fmla="*/ 187 h 297"/>
                <a:gd name="T78" fmla="*/ 14 w 254"/>
                <a:gd name="T79" fmla="*/ 185 h 297"/>
                <a:gd name="T80" fmla="*/ 14 w 254"/>
                <a:gd name="T81" fmla="*/ 185 h 297"/>
                <a:gd name="T82" fmla="*/ 18 w 254"/>
                <a:gd name="T83" fmla="*/ 178 h 297"/>
                <a:gd name="T84" fmla="*/ 16 w 254"/>
                <a:gd name="T85" fmla="*/ 176 h 297"/>
                <a:gd name="T86" fmla="*/ 18 w 254"/>
                <a:gd name="T87" fmla="*/ 167 h 297"/>
                <a:gd name="T88" fmla="*/ 16 w 254"/>
                <a:gd name="T89" fmla="*/ 162 h 297"/>
                <a:gd name="T90" fmla="*/ 14 w 254"/>
                <a:gd name="T91" fmla="*/ 158 h 297"/>
                <a:gd name="T92" fmla="*/ 9 w 254"/>
                <a:gd name="T93" fmla="*/ 155 h 297"/>
                <a:gd name="T94" fmla="*/ 7 w 254"/>
                <a:gd name="T95" fmla="*/ 151 h 297"/>
                <a:gd name="T96" fmla="*/ 5 w 254"/>
                <a:gd name="T97" fmla="*/ 146 h 297"/>
                <a:gd name="T98" fmla="*/ 2 w 254"/>
                <a:gd name="T99" fmla="*/ 151 h 297"/>
                <a:gd name="T100" fmla="*/ 14 w 254"/>
                <a:gd name="T101" fmla="*/ 142 h 297"/>
                <a:gd name="T102" fmla="*/ 83 w 254"/>
                <a:gd name="T103" fmla="*/ 113 h 297"/>
                <a:gd name="T104" fmla="*/ 106 w 254"/>
                <a:gd name="T105" fmla="*/ 90 h 297"/>
                <a:gd name="T106" fmla="*/ 108 w 254"/>
                <a:gd name="T107" fmla="*/ 56 h 297"/>
                <a:gd name="T108" fmla="*/ 115 w 254"/>
                <a:gd name="T109" fmla="*/ 29 h 297"/>
                <a:gd name="T110" fmla="*/ 151 w 254"/>
                <a:gd name="T111" fmla="*/ 29 h 297"/>
                <a:gd name="T112" fmla="*/ 175 w 254"/>
                <a:gd name="T113" fmla="*/ 25 h 297"/>
                <a:gd name="T114" fmla="*/ 196 w 254"/>
                <a:gd name="T115" fmla="*/ 14 h 297"/>
                <a:gd name="T116" fmla="*/ 245 w 254"/>
                <a:gd name="T117" fmla="*/ 54 h 297"/>
                <a:gd name="T118" fmla="*/ 220 w 254"/>
                <a:gd name="T119" fmla="*/ 79 h 297"/>
                <a:gd name="T120" fmla="*/ 225 w 254"/>
                <a:gd name="T121" fmla="*/ 128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4" h="297">
                  <a:moveTo>
                    <a:pt x="16" y="176"/>
                  </a:moveTo>
                  <a:lnTo>
                    <a:pt x="16" y="180"/>
                  </a:lnTo>
                  <a:lnTo>
                    <a:pt x="14" y="180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6" y="178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close/>
                  <a:moveTo>
                    <a:pt x="227" y="144"/>
                  </a:moveTo>
                  <a:lnTo>
                    <a:pt x="227" y="146"/>
                  </a:lnTo>
                  <a:lnTo>
                    <a:pt x="227" y="149"/>
                  </a:lnTo>
                  <a:lnTo>
                    <a:pt x="227" y="151"/>
                  </a:lnTo>
                  <a:lnTo>
                    <a:pt x="227" y="153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9" y="167"/>
                  </a:lnTo>
                  <a:lnTo>
                    <a:pt x="229" y="169"/>
                  </a:lnTo>
                  <a:lnTo>
                    <a:pt x="229" y="173"/>
                  </a:lnTo>
                  <a:lnTo>
                    <a:pt x="229" y="176"/>
                  </a:lnTo>
                  <a:lnTo>
                    <a:pt x="229" y="178"/>
                  </a:lnTo>
                  <a:lnTo>
                    <a:pt x="229" y="182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9"/>
                  </a:lnTo>
                  <a:lnTo>
                    <a:pt x="232" y="189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2" y="194"/>
                  </a:lnTo>
                  <a:lnTo>
                    <a:pt x="232" y="196"/>
                  </a:lnTo>
                  <a:lnTo>
                    <a:pt x="232" y="198"/>
                  </a:lnTo>
                  <a:lnTo>
                    <a:pt x="232" y="200"/>
                  </a:lnTo>
                  <a:lnTo>
                    <a:pt x="232" y="203"/>
                  </a:lnTo>
                  <a:lnTo>
                    <a:pt x="232" y="205"/>
                  </a:lnTo>
                  <a:lnTo>
                    <a:pt x="232" y="207"/>
                  </a:lnTo>
                  <a:lnTo>
                    <a:pt x="232" y="209"/>
                  </a:lnTo>
                  <a:lnTo>
                    <a:pt x="232" y="212"/>
                  </a:lnTo>
                  <a:lnTo>
                    <a:pt x="232" y="214"/>
                  </a:lnTo>
                  <a:lnTo>
                    <a:pt x="234" y="216"/>
                  </a:lnTo>
                  <a:lnTo>
                    <a:pt x="234" y="218"/>
                  </a:lnTo>
                  <a:lnTo>
                    <a:pt x="234" y="221"/>
                  </a:lnTo>
                  <a:lnTo>
                    <a:pt x="234" y="223"/>
                  </a:lnTo>
                  <a:lnTo>
                    <a:pt x="234" y="225"/>
                  </a:lnTo>
                  <a:lnTo>
                    <a:pt x="234" y="227"/>
                  </a:lnTo>
                  <a:lnTo>
                    <a:pt x="234" y="230"/>
                  </a:lnTo>
                  <a:lnTo>
                    <a:pt x="234" y="232"/>
                  </a:lnTo>
                  <a:lnTo>
                    <a:pt x="234" y="234"/>
                  </a:lnTo>
                  <a:lnTo>
                    <a:pt x="234" y="234"/>
                  </a:lnTo>
                  <a:lnTo>
                    <a:pt x="234" y="236"/>
                  </a:lnTo>
                  <a:lnTo>
                    <a:pt x="234" y="239"/>
                  </a:lnTo>
                  <a:lnTo>
                    <a:pt x="236" y="241"/>
                  </a:lnTo>
                  <a:lnTo>
                    <a:pt x="236" y="243"/>
                  </a:lnTo>
                  <a:lnTo>
                    <a:pt x="236" y="245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6" y="252"/>
                  </a:lnTo>
                  <a:lnTo>
                    <a:pt x="236" y="254"/>
                  </a:lnTo>
                  <a:lnTo>
                    <a:pt x="236" y="254"/>
                  </a:lnTo>
                  <a:lnTo>
                    <a:pt x="236" y="257"/>
                  </a:lnTo>
                  <a:lnTo>
                    <a:pt x="236" y="257"/>
                  </a:lnTo>
                  <a:lnTo>
                    <a:pt x="238" y="257"/>
                  </a:lnTo>
                  <a:lnTo>
                    <a:pt x="238" y="257"/>
                  </a:lnTo>
                  <a:lnTo>
                    <a:pt x="238" y="259"/>
                  </a:lnTo>
                  <a:lnTo>
                    <a:pt x="241" y="259"/>
                  </a:lnTo>
                  <a:lnTo>
                    <a:pt x="241" y="259"/>
                  </a:lnTo>
                  <a:lnTo>
                    <a:pt x="241" y="261"/>
                  </a:lnTo>
                  <a:lnTo>
                    <a:pt x="241" y="261"/>
                  </a:lnTo>
                  <a:lnTo>
                    <a:pt x="243" y="261"/>
                  </a:lnTo>
                  <a:lnTo>
                    <a:pt x="243" y="261"/>
                  </a:lnTo>
                  <a:lnTo>
                    <a:pt x="243" y="261"/>
                  </a:lnTo>
                  <a:lnTo>
                    <a:pt x="241" y="261"/>
                  </a:lnTo>
                  <a:lnTo>
                    <a:pt x="241" y="263"/>
                  </a:lnTo>
                  <a:lnTo>
                    <a:pt x="241" y="266"/>
                  </a:lnTo>
                  <a:lnTo>
                    <a:pt x="241" y="268"/>
                  </a:lnTo>
                  <a:lnTo>
                    <a:pt x="241" y="270"/>
                  </a:lnTo>
                  <a:lnTo>
                    <a:pt x="241" y="272"/>
                  </a:lnTo>
                  <a:lnTo>
                    <a:pt x="238" y="275"/>
                  </a:lnTo>
                  <a:lnTo>
                    <a:pt x="238" y="277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8" y="279"/>
                  </a:lnTo>
                  <a:lnTo>
                    <a:pt x="236" y="279"/>
                  </a:lnTo>
                  <a:lnTo>
                    <a:pt x="232" y="279"/>
                  </a:lnTo>
                  <a:lnTo>
                    <a:pt x="232" y="279"/>
                  </a:lnTo>
                  <a:lnTo>
                    <a:pt x="229" y="279"/>
                  </a:lnTo>
                  <a:lnTo>
                    <a:pt x="227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0" y="279"/>
                  </a:lnTo>
                  <a:lnTo>
                    <a:pt x="218" y="279"/>
                  </a:lnTo>
                  <a:lnTo>
                    <a:pt x="214" y="279"/>
                  </a:lnTo>
                  <a:lnTo>
                    <a:pt x="211" y="279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3" y="279"/>
                  </a:lnTo>
                  <a:lnTo>
                    <a:pt x="189" y="279"/>
                  </a:lnTo>
                  <a:lnTo>
                    <a:pt x="187" y="279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8" y="279"/>
                  </a:lnTo>
                  <a:lnTo>
                    <a:pt x="173" y="279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6" y="279"/>
                  </a:lnTo>
                  <a:lnTo>
                    <a:pt x="162" y="279"/>
                  </a:lnTo>
                  <a:lnTo>
                    <a:pt x="160" y="279"/>
                  </a:lnTo>
                  <a:lnTo>
                    <a:pt x="160" y="277"/>
                  </a:lnTo>
                  <a:lnTo>
                    <a:pt x="160" y="277"/>
                  </a:lnTo>
                  <a:lnTo>
                    <a:pt x="160" y="275"/>
                  </a:lnTo>
                  <a:lnTo>
                    <a:pt x="157" y="275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7" y="279"/>
                  </a:lnTo>
                  <a:lnTo>
                    <a:pt x="157" y="279"/>
                  </a:lnTo>
                  <a:lnTo>
                    <a:pt x="157" y="281"/>
                  </a:lnTo>
                  <a:lnTo>
                    <a:pt x="153" y="281"/>
                  </a:lnTo>
                  <a:lnTo>
                    <a:pt x="151" y="281"/>
                  </a:lnTo>
                  <a:lnTo>
                    <a:pt x="151" y="281"/>
                  </a:lnTo>
                  <a:lnTo>
                    <a:pt x="148" y="284"/>
                  </a:lnTo>
                  <a:lnTo>
                    <a:pt x="148" y="284"/>
                  </a:lnTo>
                  <a:lnTo>
                    <a:pt x="146" y="284"/>
                  </a:lnTo>
                  <a:lnTo>
                    <a:pt x="144" y="284"/>
                  </a:lnTo>
                  <a:lnTo>
                    <a:pt x="142" y="284"/>
                  </a:lnTo>
                  <a:lnTo>
                    <a:pt x="142" y="284"/>
                  </a:lnTo>
                  <a:lnTo>
                    <a:pt x="142" y="281"/>
                  </a:lnTo>
                  <a:lnTo>
                    <a:pt x="142" y="281"/>
                  </a:lnTo>
                  <a:lnTo>
                    <a:pt x="142" y="281"/>
                  </a:lnTo>
                  <a:lnTo>
                    <a:pt x="142" y="281"/>
                  </a:lnTo>
                  <a:lnTo>
                    <a:pt x="139" y="281"/>
                  </a:lnTo>
                  <a:lnTo>
                    <a:pt x="139" y="281"/>
                  </a:lnTo>
                  <a:lnTo>
                    <a:pt x="139" y="281"/>
                  </a:lnTo>
                  <a:lnTo>
                    <a:pt x="137" y="281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3" y="281"/>
                  </a:lnTo>
                  <a:lnTo>
                    <a:pt x="133" y="281"/>
                  </a:lnTo>
                  <a:lnTo>
                    <a:pt x="133" y="281"/>
                  </a:lnTo>
                  <a:lnTo>
                    <a:pt x="133" y="281"/>
                  </a:lnTo>
                  <a:lnTo>
                    <a:pt x="130" y="281"/>
                  </a:lnTo>
                  <a:lnTo>
                    <a:pt x="130" y="281"/>
                  </a:lnTo>
                  <a:lnTo>
                    <a:pt x="130" y="281"/>
                  </a:lnTo>
                  <a:lnTo>
                    <a:pt x="130" y="281"/>
                  </a:lnTo>
                  <a:lnTo>
                    <a:pt x="130" y="284"/>
                  </a:lnTo>
                  <a:lnTo>
                    <a:pt x="130" y="284"/>
                  </a:lnTo>
                  <a:lnTo>
                    <a:pt x="130" y="284"/>
                  </a:lnTo>
                  <a:lnTo>
                    <a:pt x="128" y="284"/>
                  </a:lnTo>
                  <a:lnTo>
                    <a:pt x="128" y="284"/>
                  </a:lnTo>
                  <a:lnTo>
                    <a:pt x="128" y="284"/>
                  </a:lnTo>
                  <a:lnTo>
                    <a:pt x="128" y="284"/>
                  </a:lnTo>
                  <a:lnTo>
                    <a:pt x="128" y="284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90"/>
                  </a:lnTo>
                  <a:lnTo>
                    <a:pt x="126" y="288"/>
                  </a:lnTo>
                  <a:lnTo>
                    <a:pt x="124" y="288"/>
                  </a:lnTo>
                  <a:lnTo>
                    <a:pt x="124" y="286"/>
                  </a:lnTo>
                  <a:lnTo>
                    <a:pt x="124" y="286"/>
                  </a:lnTo>
                  <a:lnTo>
                    <a:pt x="119" y="281"/>
                  </a:lnTo>
                  <a:lnTo>
                    <a:pt x="117" y="281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5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9"/>
                  </a:lnTo>
                  <a:lnTo>
                    <a:pt x="112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08" y="281"/>
                  </a:lnTo>
                  <a:lnTo>
                    <a:pt x="108" y="281"/>
                  </a:lnTo>
                  <a:lnTo>
                    <a:pt x="108" y="284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93"/>
                  </a:lnTo>
                  <a:lnTo>
                    <a:pt x="108" y="293"/>
                  </a:lnTo>
                  <a:lnTo>
                    <a:pt x="108" y="293"/>
                  </a:lnTo>
                  <a:lnTo>
                    <a:pt x="108" y="293"/>
                  </a:lnTo>
                  <a:lnTo>
                    <a:pt x="106" y="293"/>
                  </a:lnTo>
                  <a:lnTo>
                    <a:pt x="106" y="293"/>
                  </a:lnTo>
                  <a:lnTo>
                    <a:pt x="108" y="295"/>
                  </a:lnTo>
                  <a:lnTo>
                    <a:pt x="108" y="295"/>
                  </a:lnTo>
                  <a:lnTo>
                    <a:pt x="108" y="295"/>
                  </a:lnTo>
                  <a:lnTo>
                    <a:pt x="108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5" y="295"/>
                  </a:lnTo>
                  <a:lnTo>
                    <a:pt x="95" y="295"/>
                  </a:lnTo>
                  <a:lnTo>
                    <a:pt x="95" y="295"/>
                  </a:lnTo>
                  <a:lnTo>
                    <a:pt x="95" y="295"/>
                  </a:lnTo>
                  <a:lnTo>
                    <a:pt x="95" y="295"/>
                  </a:lnTo>
                  <a:lnTo>
                    <a:pt x="95" y="293"/>
                  </a:lnTo>
                  <a:lnTo>
                    <a:pt x="95" y="293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90" y="290"/>
                  </a:lnTo>
                  <a:lnTo>
                    <a:pt x="88" y="290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8" y="286"/>
                  </a:lnTo>
                  <a:lnTo>
                    <a:pt x="88" y="286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6"/>
                  </a:lnTo>
                  <a:lnTo>
                    <a:pt x="86" y="284"/>
                  </a:lnTo>
                  <a:lnTo>
                    <a:pt x="86" y="284"/>
                  </a:lnTo>
                  <a:lnTo>
                    <a:pt x="86" y="284"/>
                  </a:lnTo>
                  <a:lnTo>
                    <a:pt x="83" y="284"/>
                  </a:lnTo>
                  <a:lnTo>
                    <a:pt x="83" y="284"/>
                  </a:lnTo>
                  <a:lnTo>
                    <a:pt x="83" y="281"/>
                  </a:lnTo>
                  <a:lnTo>
                    <a:pt x="83" y="281"/>
                  </a:lnTo>
                  <a:lnTo>
                    <a:pt x="83" y="281"/>
                  </a:lnTo>
                  <a:lnTo>
                    <a:pt x="83" y="281"/>
                  </a:lnTo>
                  <a:lnTo>
                    <a:pt x="83" y="281"/>
                  </a:lnTo>
                  <a:lnTo>
                    <a:pt x="83" y="281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3" y="279"/>
                  </a:lnTo>
                  <a:lnTo>
                    <a:pt x="81" y="281"/>
                  </a:lnTo>
                  <a:lnTo>
                    <a:pt x="81" y="281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9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81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7" y="277"/>
                  </a:lnTo>
                  <a:lnTo>
                    <a:pt x="79" y="277"/>
                  </a:lnTo>
                  <a:lnTo>
                    <a:pt x="79" y="277"/>
                  </a:lnTo>
                  <a:lnTo>
                    <a:pt x="79" y="275"/>
                  </a:lnTo>
                  <a:lnTo>
                    <a:pt x="79" y="275"/>
                  </a:lnTo>
                  <a:lnTo>
                    <a:pt x="79" y="275"/>
                  </a:lnTo>
                  <a:lnTo>
                    <a:pt x="79" y="275"/>
                  </a:lnTo>
                  <a:lnTo>
                    <a:pt x="79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5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7" y="272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70"/>
                  </a:lnTo>
                  <a:lnTo>
                    <a:pt x="77" y="268"/>
                  </a:lnTo>
                  <a:lnTo>
                    <a:pt x="74" y="268"/>
                  </a:lnTo>
                  <a:lnTo>
                    <a:pt x="74" y="268"/>
                  </a:lnTo>
                  <a:lnTo>
                    <a:pt x="74" y="268"/>
                  </a:lnTo>
                  <a:lnTo>
                    <a:pt x="74" y="268"/>
                  </a:lnTo>
                  <a:lnTo>
                    <a:pt x="74" y="268"/>
                  </a:lnTo>
                  <a:lnTo>
                    <a:pt x="74" y="268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6"/>
                  </a:lnTo>
                  <a:lnTo>
                    <a:pt x="72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70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6"/>
                  </a:lnTo>
                  <a:lnTo>
                    <a:pt x="68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59"/>
                  </a:lnTo>
                  <a:lnTo>
                    <a:pt x="63" y="259"/>
                  </a:lnTo>
                  <a:lnTo>
                    <a:pt x="63" y="259"/>
                  </a:lnTo>
                  <a:lnTo>
                    <a:pt x="61" y="259"/>
                  </a:lnTo>
                  <a:lnTo>
                    <a:pt x="61" y="259"/>
                  </a:lnTo>
                  <a:lnTo>
                    <a:pt x="61" y="259"/>
                  </a:lnTo>
                  <a:lnTo>
                    <a:pt x="59" y="257"/>
                  </a:lnTo>
                  <a:lnTo>
                    <a:pt x="59" y="257"/>
                  </a:lnTo>
                  <a:lnTo>
                    <a:pt x="59" y="257"/>
                  </a:lnTo>
                  <a:lnTo>
                    <a:pt x="59" y="257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4"/>
                  </a:lnTo>
                  <a:lnTo>
                    <a:pt x="56" y="252"/>
                  </a:lnTo>
                  <a:lnTo>
                    <a:pt x="56" y="252"/>
                  </a:lnTo>
                  <a:lnTo>
                    <a:pt x="56" y="252"/>
                  </a:lnTo>
                  <a:lnTo>
                    <a:pt x="54" y="252"/>
                  </a:lnTo>
                  <a:lnTo>
                    <a:pt x="54" y="252"/>
                  </a:lnTo>
                  <a:lnTo>
                    <a:pt x="54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2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50" y="252"/>
                  </a:lnTo>
                  <a:lnTo>
                    <a:pt x="47" y="252"/>
                  </a:lnTo>
                  <a:lnTo>
                    <a:pt x="47" y="252"/>
                  </a:lnTo>
                  <a:lnTo>
                    <a:pt x="45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3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41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38" y="252"/>
                  </a:lnTo>
                  <a:lnTo>
                    <a:pt x="41" y="254"/>
                  </a:lnTo>
                  <a:lnTo>
                    <a:pt x="41" y="254"/>
                  </a:lnTo>
                  <a:lnTo>
                    <a:pt x="41" y="254"/>
                  </a:lnTo>
                  <a:lnTo>
                    <a:pt x="41" y="254"/>
                  </a:lnTo>
                  <a:lnTo>
                    <a:pt x="41" y="254"/>
                  </a:lnTo>
                  <a:lnTo>
                    <a:pt x="38" y="254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4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4"/>
                  </a:lnTo>
                  <a:lnTo>
                    <a:pt x="32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9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8" y="257"/>
                  </a:lnTo>
                  <a:lnTo>
                    <a:pt x="18" y="257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8" y="254"/>
                  </a:lnTo>
                  <a:lnTo>
                    <a:pt x="16" y="257"/>
                  </a:lnTo>
                  <a:lnTo>
                    <a:pt x="16" y="257"/>
                  </a:lnTo>
                  <a:lnTo>
                    <a:pt x="16" y="257"/>
                  </a:lnTo>
                  <a:lnTo>
                    <a:pt x="16" y="257"/>
                  </a:lnTo>
                  <a:lnTo>
                    <a:pt x="16" y="257"/>
                  </a:lnTo>
                  <a:lnTo>
                    <a:pt x="16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9"/>
                  </a:lnTo>
                  <a:lnTo>
                    <a:pt x="14" y="261"/>
                  </a:lnTo>
                  <a:lnTo>
                    <a:pt x="14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6"/>
                  </a:lnTo>
                  <a:lnTo>
                    <a:pt x="11" y="266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70"/>
                  </a:lnTo>
                  <a:lnTo>
                    <a:pt x="9" y="272"/>
                  </a:lnTo>
                  <a:lnTo>
                    <a:pt x="9" y="272"/>
                  </a:lnTo>
                  <a:lnTo>
                    <a:pt x="9" y="272"/>
                  </a:lnTo>
                  <a:lnTo>
                    <a:pt x="9" y="268"/>
                  </a:lnTo>
                  <a:lnTo>
                    <a:pt x="9" y="266"/>
                  </a:lnTo>
                  <a:lnTo>
                    <a:pt x="9" y="261"/>
                  </a:lnTo>
                  <a:lnTo>
                    <a:pt x="9" y="261"/>
                  </a:lnTo>
                  <a:lnTo>
                    <a:pt x="9" y="259"/>
                  </a:lnTo>
                  <a:lnTo>
                    <a:pt x="11" y="259"/>
                  </a:lnTo>
                  <a:lnTo>
                    <a:pt x="11" y="257"/>
                  </a:lnTo>
                  <a:lnTo>
                    <a:pt x="11" y="257"/>
                  </a:lnTo>
                  <a:lnTo>
                    <a:pt x="11" y="257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5"/>
                  </a:lnTo>
                  <a:lnTo>
                    <a:pt x="14" y="245"/>
                  </a:lnTo>
                  <a:lnTo>
                    <a:pt x="16" y="243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18" y="239"/>
                  </a:lnTo>
                  <a:lnTo>
                    <a:pt x="20" y="232"/>
                  </a:lnTo>
                  <a:lnTo>
                    <a:pt x="20" y="227"/>
                  </a:lnTo>
                  <a:lnTo>
                    <a:pt x="20" y="225"/>
                  </a:lnTo>
                  <a:lnTo>
                    <a:pt x="20" y="221"/>
                  </a:lnTo>
                  <a:lnTo>
                    <a:pt x="20" y="216"/>
                  </a:lnTo>
                  <a:lnTo>
                    <a:pt x="20" y="209"/>
                  </a:lnTo>
                  <a:lnTo>
                    <a:pt x="20" y="207"/>
                  </a:lnTo>
                  <a:lnTo>
                    <a:pt x="18" y="205"/>
                  </a:lnTo>
                  <a:lnTo>
                    <a:pt x="18" y="203"/>
                  </a:lnTo>
                  <a:lnTo>
                    <a:pt x="18" y="203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6"/>
                  </a:lnTo>
                  <a:lnTo>
                    <a:pt x="16" y="194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6" y="187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4" y="185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4" y="182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6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8" y="173"/>
                  </a:lnTo>
                  <a:lnTo>
                    <a:pt x="18" y="173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18" y="167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8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11" y="158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9" y="158"/>
                  </a:lnTo>
                  <a:lnTo>
                    <a:pt x="9" y="158"/>
                  </a:lnTo>
                  <a:lnTo>
                    <a:pt x="9" y="158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7" y="153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4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5" y="142"/>
                  </a:lnTo>
                  <a:lnTo>
                    <a:pt x="5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4" y="142"/>
                  </a:lnTo>
                  <a:lnTo>
                    <a:pt x="18" y="142"/>
                  </a:lnTo>
                  <a:lnTo>
                    <a:pt x="23" y="142"/>
                  </a:lnTo>
                  <a:lnTo>
                    <a:pt x="29" y="142"/>
                  </a:lnTo>
                  <a:lnTo>
                    <a:pt x="36" y="142"/>
                  </a:lnTo>
                  <a:lnTo>
                    <a:pt x="45" y="142"/>
                  </a:lnTo>
                  <a:lnTo>
                    <a:pt x="52" y="142"/>
                  </a:lnTo>
                  <a:lnTo>
                    <a:pt x="59" y="142"/>
                  </a:lnTo>
                  <a:lnTo>
                    <a:pt x="65" y="142"/>
                  </a:lnTo>
                  <a:lnTo>
                    <a:pt x="70" y="142"/>
                  </a:lnTo>
                  <a:lnTo>
                    <a:pt x="74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1" y="142"/>
                  </a:lnTo>
                  <a:lnTo>
                    <a:pt x="86" y="142"/>
                  </a:lnTo>
                  <a:lnTo>
                    <a:pt x="86" y="137"/>
                  </a:lnTo>
                  <a:lnTo>
                    <a:pt x="83" y="126"/>
                  </a:lnTo>
                  <a:lnTo>
                    <a:pt x="83" y="113"/>
                  </a:lnTo>
                  <a:lnTo>
                    <a:pt x="83" y="113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6"/>
                  </a:lnTo>
                  <a:lnTo>
                    <a:pt x="83" y="104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8" y="99"/>
                  </a:lnTo>
                  <a:lnTo>
                    <a:pt x="90" y="97"/>
                  </a:lnTo>
                  <a:lnTo>
                    <a:pt x="92" y="97"/>
                  </a:lnTo>
                  <a:lnTo>
                    <a:pt x="95" y="95"/>
                  </a:lnTo>
                  <a:lnTo>
                    <a:pt x="95" y="95"/>
                  </a:lnTo>
                  <a:lnTo>
                    <a:pt x="99" y="95"/>
                  </a:lnTo>
                  <a:lnTo>
                    <a:pt x="99" y="95"/>
                  </a:lnTo>
                  <a:lnTo>
                    <a:pt x="103" y="92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88"/>
                  </a:lnTo>
                  <a:lnTo>
                    <a:pt x="106" y="86"/>
                  </a:lnTo>
                  <a:lnTo>
                    <a:pt x="106" y="83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79"/>
                  </a:lnTo>
                  <a:lnTo>
                    <a:pt x="106" y="77"/>
                  </a:lnTo>
                  <a:lnTo>
                    <a:pt x="106" y="74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0"/>
                  </a:lnTo>
                  <a:lnTo>
                    <a:pt x="108" y="68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59"/>
                  </a:lnTo>
                  <a:lnTo>
                    <a:pt x="108" y="56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2"/>
                  </a:lnTo>
                  <a:lnTo>
                    <a:pt x="108" y="50"/>
                  </a:lnTo>
                  <a:lnTo>
                    <a:pt x="108" y="47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3"/>
                  </a:lnTo>
                  <a:lnTo>
                    <a:pt x="108" y="41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4"/>
                  </a:lnTo>
                  <a:lnTo>
                    <a:pt x="108" y="32"/>
                  </a:lnTo>
                  <a:lnTo>
                    <a:pt x="108" y="29"/>
                  </a:lnTo>
                  <a:lnTo>
                    <a:pt x="110" y="29"/>
                  </a:lnTo>
                  <a:lnTo>
                    <a:pt x="112" y="29"/>
                  </a:lnTo>
                  <a:lnTo>
                    <a:pt x="115" y="29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4" y="29"/>
                  </a:lnTo>
                  <a:lnTo>
                    <a:pt x="126" y="29"/>
                  </a:lnTo>
                  <a:lnTo>
                    <a:pt x="128" y="29"/>
                  </a:lnTo>
                  <a:lnTo>
                    <a:pt x="130" y="29"/>
                  </a:lnTo>
                  <a:lnTo>
                    <a:pt x="133" y="29"/>
                  </a:lnTo>
                  <a:lnTo>
                    <a:pt x="135" y="29"/>
                  </a:lnTo>
                  <a:lnTo>
                    <a:pt x="137" y="29"/>
                  </a:lnTo>
                  <a:lnTo>
                    <a:pt x="139" y="29"/>
                  </a:lnTo>
                  <a:lnTo>
                    <a:pt x="142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48" y="29"/>
                  </a:lnTo>
                  <a:lnTo>
                    <a:pt x="151" y="29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29"/>
                  </a:lnTo>
                  <a:lnTo>
                    <a:pt x="160" y="29"/>
                  </a:lnTo>
                  <a:lnTo>
                    <a:pt x="162" y="29"/>
                  </a:lnTo>
                  <a:lnTo>
                    <a:pt x="164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3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4"/>
                  </a:lnTo>
                  <a:lnTo>
                    <a:pt x="175" y="11"/>
                  </a:lnTo>
                  <a:lnTo>
                    <a:pt x="175" y="9"/>
                  </a:lnTo>
                  <a:lnTo>
                    <a:pt x="175" y="7"/>
                  </a:lnTo>
                  <a:lnTo>
                    <a:pt x="175" y="5"/>
                  </a:lnTo>
                  <a:lnTo>
                    <a:pt x="175" y="2"/>
                  </a:lnTo>
                  <a:lnTo>
                    <a:pt x="175" y="0"/>
                  </a:lnTo>
                  <a:lnTo>
                    <a:pt x="175" y="0"/>
                  </a:lnTo>
                  <a:lnTo>
                    <a:pt x="175" y="0"/>
                  </a:lnTo>
                  <a:lnTo>
                    <a:pt x="180" y="2"/>
                  </a:lnTo>
                  <a:lnTo>
                    <a:pt x="184" y="5"/>
                  </a:lnTo>
                  <a:lnTo>
                    <a:pt x="189" y="7"/>
                  </a:lnTo>
                  <a:lnTo>
                    <a:pt x="193" y="11"/>
                  </a:lnTo>
                  <a:lnTo>
                    <a:pt x="196" y="14"/>
                  </a:lnTo>
                  <a:lnTo>
                    <a:pt x="200" y="16"/>
                  </a:lnTo>
                  <a:lnTo>
                    <a:pt x="205" y="18"/>
                  </a:lnTo>
                  <a:lnTo>
                    <a:pt x="209" y="20"/>
                  </a:lnTo>
                  <a:lnTo>
                    <a:pt x="211" y="25"/>
                  </a:lnTo>
                  <a:lnTo>
                    <a:pt x="216" y="27"/>
                  </a:lnTo>
                  <a:lnTo>
                    <a:pt x="220" y="29"/>
                  </a:lnTo>
                  <a:lnTo>
                    <a:pt x="225" y="32"/>
                  </a:lnTo>
                  <a:lnTo>
                    <a:pt x="227" y="34"/>
                  </a:lnTo>
                  <a:lnTo>
                    <a:pt x="232" y="38"/>
                  </a:lnTo>
                  <a:lnTo>
                    <a:pt x="234" y="41"/>
                  </a:lnTo>
                  <a:lnTo>
                    <a:pt x="238" y="43"/>
                  </a:lnTo>
                  <a:lnTo>
                    <a:pt x="241" y="43"/>
                  </a:lnTo>
                  <a:lnTo>
                    <a:pt x="243" y="45"/>
                  </a:lnTo>
                  <a:lnTo>
                    <a:pt x="247" y="50"/>
                  </a:lnTo>
                  <a:lnTo>
                    <a:pt x="252" y="52"/>
                  </a:lnTo>
                  <a:lnTo>
                    <a:pt x="254" y="54"/>
                  </a:lnTo>
                  <a:lnTo>
                    <a:pt x="250" y="54"/>
                  </a:lnTo>
                  <a:lnTo>
                    <a:pt x="245" y="54"/>
                  </a:lnTo>
                  <a:lnTo>
                    <a:pt x="241" y="54"/>
                  </a:lnTo>
                  <a:lnTo>
                    <a:pt x="236" y="54"/>
                  </a:lnTo>
                  <a:lnTo>
                    <a:pt x="232" y="54"/>
                  </a:lnTo>
                  <a:lnTo>
                    <a:pt x="227" y="54"/>
                  </a:lnTo>
                  <a:lnTo>
                    <a:pt x="223" y="54"/>
                  </a:lnTo>
                  <a:lnTo>
                    <a:pt x="218" y="54"/>
                  </a:lnTo>
                  <a:lnTo>
                    <a:pt x="218" y="56"/>
                  </a:lnTo>
                  <a:lnTo>
                    <a:pt x="218" y="59"/>
                  </a:lnTo>
                  <a:lnTo>
                    <a:pt x="218" y="59"/>
                  </a:lnTo>
                  <a:lnTo>
                    <a:pt x="218" y="61"/>
                  </a:lnTo>
                  <a:lnTo>
                    <a:pt x="218" y="63"/>
                  </a:lnTo>
                  <a:lnTo>
                    <a:pt x="220" y="65"/>
                  </a:lnTo>
                  <a:lnTo>
                    <a:pt x="220" y="68"/>
                  </a:lnTo>
                  <a:lnTo>
                    <a:pt x="220" y="70"/>
                  </a:lnTo>
                  <a:lnTo>
                    <a:pt x="220" y="72"/>
                  </a:lnTo>
                  <a:lnTo>
                    <a:pt x="220" y="72"/>
                  </a:lnTo>
                  <a:lnTo>
                    <a:pt x="220" y="77"/>
                  </a:lnTo>
                  <a:lnTo>
                    <a:pt x="220" y="79"/>
                  </a:lnTo>
                  <a:lnTo>
                    <a:pt x="220" y="81"/>
                  </a:lnTo>
                  <a:lnTo>
                    <a:pt x="220" y="83"/>
                  </a:lnTo>
                  <a:lnTo>
                    <a:pt x="220" y="86"/>
                  </a:lnTo>
                  <a:lnTo>
                    <a:pt x="223" y="90"/>
                  </a:lnTo>
                  <a:lnTo>
                    <a:pt x="223" y="92"/>
                  </a:lnTo>
                  <a:lnTo>
                    <a:pt x="223" y="95"/>
                  </a:lnTo>
                  <a:lnTo>
                    <a:pt x="223" y="97"/>
                  </a:lnTo>
                  <a:lnTo>
                    <a:pt x="223" y="101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3" y="110"/>
                  </a:lnTo>
                  <a:lnTo>
                    <a:pt x="223" y="113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5" y="122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5" y="128"/>
                  </a:lnTo>
                  <a:lnTo>
                    <a:pt x="225" y="133"/>
                  </a:lnTo>
                  <a:lnTo>
                    <a:pt x="225" y="135"/>
                  </a:lnTo>
                  <a:lnTo>
                    <a:pt x="225" y="137"/>
                  </a:lnTo>
                  <a:lnTo>
                    <a:pt x="227" y="142"/>
                  </a:lnTo>
                  <a:lnTo>
                    <a:pt x="227" y="14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1" name="Freeform 547"/>
            <p:cNvSpPr>
              <a:spLocks/>
            </p:cNvSpPr>
            <p:nvPr/>
          </p:nvSpPr>
          <p:spPr bwMode="auto">
            <a:xfrm>
              <a:off x="5216353" y="2972926"/>
              <a:ext cx="573299" cy="590013"/>
            </a:xfrm>
            <a:custGeom>
              <a:avLst/>
              <a:gdLst>
                <a:gd name="T0" fmla="*/ 294 w 343"/>
                <a:gd name="T1" fmla="*/ 113 h 353"/>
                <a:gd name="T2" fmla="*/ 308 w 343"/>
                <a:gd name="T3" fmla="*/ 117 h 353"/>
                <a:gd name="T4" fmla="*/ 323 w 343"/>
                <a:gd name="T5" fmla="*/ 133 h 353"/>
                <a:gd name="T6" fmla="*/ 330 w 343"/>
                <a:gd name="T7" fmla="*/ 142 h 353"/>
                <a:gd name="T8" fmla="*/ 343 w 343"/>
                <a:gd name="T9" fmla="*/ 191 h 353"/>
                <a:gd name="T10" fmla="*/ 337 w 343"/>
                <a:gd name="T11" fmla="*/ 216 h 353"/>
                <a:gd name="T12" fmla="*/ 314 w 343"/>
                <a:gd name="T13" fmla="*/ 230 h 353"/>
                <a:gd name="T14" fmla="*/ 269 w 343"/>
                <a:gd name="T15" fmla="*/ 239 h 353"/>
                <a:gd name="T16" fmla="*/ 233 w 343"/>
                <a:gd name="T17" fmla="*/ 243 h 353"/>
                <a:gd name="T18" fmla="*/ 197 w 343"/>
                <a:gd name="T19" fmla="*/ 261 h 353"/>
                <a:gd name="T20" fmla="*/ 188 w 343"/>
                <a:gd name="T21" fmla="*/ 268 h 353"/>
                <a:gd name="T22" fmla="*/ 177 w 343"/>
                <a:gd name="T23" fmla="*/ 277 h 353"/>
                <a:gd name="T24" fmla="*/ 173 w 343"/>
                <a:gd name="T25" fmla="*/ 274 h 353"/>
                <a:gd name="T26" fmla="*/ 168 w 343"/>
                <a:gd name="T27" fmla="*/ 281 h 353"/>
                <a:gd name="T28" fmla="*/ 164 w 343"/>
                <a:gd name="T29" fmla="*/ 292 h 353"/>
                <a:gd name="T30" fmla="*/ 162 w 343"/>
                <a:gd name="T31" fmla="*/ 301 h 353"/>
                <a:gd name="T32" fmla="*/ 153 w 343"/>
                <a:gd name="T33" fmla="*/ 308 h 353"/>
                <a:gd name="T34" fmla="*/ 144 w 343"/>
                <a:gd name="T35" fmla="*/ 313 h 353"/>
                <a:gd name="T36" fmla="*/ 146 w 343"/>
                <a:gd name="T37" fmla="*/ 319 h 353"/>
                <a:gd name="T38" fmla="*/ 141 w 343"/>
                <a:gd name="T39" fmla="*/ 333 h 353"/>
                <a:gd name="T40" fmla="*/ 141 w 343"/>
                <a:gd name="T41" fmla="*/ 346 h 353"/>
                <a:gd name="T42" fmla="*/ 126 w 343"/>
                <a:gd name="T43" fmla="*/ 349 h 353"/>
                <a:gd name="T44" fmla="*/ 126 w 343"/>
                <a:gd name="T45" fmla="*/ 344 h 353"/>
                <a:gd name="T46" fmla="*/ 123 w 343"/>
                <a:gd name="T47" fmla="*/ 340 h 353"/>
                <a:gd name="T48" fmla="*/ 117 w 343"/>
                <a:gd name="T49" fmla="*/ 344 h 353"/>
                <a:gd name="T50" fmla="*/ 110 w 343"/>
                <a:gd name="T51" fmla="*/ 351 h 353"/>
                <a:gd name="T52" fmla="*/ 101 w 343"/>
                <a:gd name="T53" fmla="*/ 349 h 353"/>
                <a:gd name="T54" fmla="*/ 94 w 343"/>
                <a:gd name="T55" fmla="*/ 349 h 353"/>
                <a:gd name="T56" fmla="*/ 90 w 343"/>
                <a:gd name="T57" fmla="*/ 351 h 353"/>
                <a:gd name="T58" fmla="*/ 83 w 343"/>
                <a:gd name="T59" fmla="*/ 337 h 353"/>
                <a:gd name="T60" fmla="*/ 74 w 343"/>
                <a:gd name="T61" fmla="*/ 333 h 353"/>
                <a:gd name="T62" fmla="*/ 78 w 343"/>
                <a:gd name="T63" fmla="*/ 326 h 353"/>
                <a:gd name="T64" fmla="*/ 74 w 343"/>
                <a:gd name="T65" fmla="*/ 319 h 353"/>
                <a:gd name="T66" fmla="*/ 69 w 343"/>
                <a:gd name="T67" fmla="*/ 306 h 353"/>
                <a:gd name="T68" fmla="*/ 60 w 343"/>
                <a:gd name="T69" fmla="*/ 297 h 353"/>
                <a:gd name="T70" fmla="*/ 54 w 343"/>
                <a:gd name="T71" fmla="*/ 306 h 353"/>
                <a:gd name="T72" fmla="*/ 45 w 343"/>
                <a:gd name="T73" fmla="*/ 306 h 353"/>
                <a:gd name="T74" fmla="*/ 38 w 343"/>
                <a:gd name="T75" fmla="*/ 306 h 353"/>
                <a:gd name="T76" fmla="*/ 31 w 343"/>
                <a:gd name="T77" fmla="*/ 308 h 353"/>
                <a:gd name="T78" fmla="*/ 22 w 343"/>
                <a:gd name="T79" fmla="*/ 308 h 353"/>
                <a:gd name="T80" fmla="*/ 18 w 343"/>
                <a:gd name="T81" fmla="*/ 297 h 353"/>
                <a:gd name="T82" fmla="*/ 18 w 343"/>
                <a:gd name="T83" fmla="*/ 292 h 353"/>
                <a:gd name="T84" fmla="*/ 18 w 343"/>
                <a:gd name="T85" fmla="*/ 288 h 353"/>
                <a:gd name="T86" fmla="*/ 18 w 343"/>
                <a:gd name="T87" fmla="*/ 286 h 353"/>
                <a:gd name="T88" fmla="*/ 13 w 343"/>
                <a:gd name="T89" fmla="*/ 277 h 353"/>
                <a:gd name="T90" fmla="*/ 9 w 343"/>
                <a:gd name="T91" fmla="*/ 277 h 353"/>
                <a:gd name="T92" fmla="*/ 6 w 343"/>
                <a:gd name="T93" fmla="*/ 261 h 353"/>
                <a:gd name="T94" fmla="*/ 2 w 343"/>
                <a:gd name="T95" fmla="*/ 248 h 353"/>
                <a:gd name="T96" fmla="*/ 4 w 343"/>
                <a:gd name="T97" fmla="*/ 243 h 353"/>
                <a:gd name="T98" fmla="*/ 11 w 343"/>
                <a:gd name="T99" fmla="*/ 236 h 353"/>
                <a:gd name="T100" fmla="*/ 15 w 343"/>
                <a:gd name="T101" fmla="*/ 225 h 353"/>
                <a:gd name="T102" fmla="*/ 29 w 343"/>
                <a:gd name="T103" fmla="*/ 234 h 353"/>
                <a:gd name="T104" fmla="*/ 42 w 343"/>
                <a:gd name="T105" fmla="*/ 227 h 353"/>
                <a:gd name="T106" fmla="*/ 65 w 343"/>
                <a:gd name="T107" fmla="*/ 225 h 353"/>
                <a:gd name="T108" fmla="*/ 139 w 343"/>
                <a:gd name="T109" fmla="*/ 225 h 353"/>
                <a:gd name="T110" fmla="*/ 141 w 343"/>
                <a:gd name="T111" fmla="*/ 225 h 353"/>
                <a:gd name="T112" fmla="*/ 141 w 343"/>
                <a:gd name="T113" fmla="*/ 203 h 353"/>
                <a:gd name="T114" fmla="*/ 135 w 343"/>
                <a:gd name="T115" fmla="*/ 153 h 353"/>
                <a:gd name="T116" fmla="*/ 130 w 343"/>
                <a:gd name="T117" fmla="*/ 95 h 353"/>
                <a:gd name="T118" fmla="*/ 123 w 343"/>
                <a:gd name="T119" fmla="*/ 18 h 353"/>
                <a:gd name="T120" fmla="*/ 168 w 343"/>
                <a:gd name="T121" fmla="*/ 7 h 353"/>
                <a:gd name="T122" fmla="*/ 213 w 343"/>
                <a:gd name="T123" fmla="*/ 43 h 353"/>
                <a:gd name="T124" fmla="*/ 260 w 343"/>
                <a:gd name="T125" fmla="*/ 7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43" h="353">
                  <a:moveTo>
                    <a:pt x="281" y="101"/>
                  </a:moveTo>
                  <a:lnTo>
                    <a:pt x="281" y="101"/>
                  </a:lnTo>
                  <a:lnTo>
                    <a:pt x="281" y="101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101"/>
                  </a:lnTo>
                  <a:lnTo>
                    <a:pt x="283" y="104"/>
                  </a:lnTo>
                  <a:lnTo>
                    <a:pt x="285" y="104"/>
                  </a:lnTo>
                  <a:lnTo>
                    <a:pt x="285" y="104"/>
                  </a:lnTo>
                  <a:lnTo>
                    <a:pt x="285" y="104"/>
                  </a:lnTo>
                  <a:lnTo>
                    <a:pt x="285" y="104"/>
                  </a:lnTo>
                  <a:lnTo>
                    <a:pt x="287" y="104"/>
                  </a:lnTo>
                  <a:lnTo>
                    <a:pt x="287" y="104"/>
                  </a:lnTo>
                  <a:lnTo>
                    <a:pt x="287" y="104"/>
                  </a:lnTo>
                  <a:lnTo>
                    <a:pt x="290" y="106"/>
                  </a:lnTo>
                  <a:lnTo>
                    <a:pt x="290" y="106"/>
                  </a:lnTo>
                  <a:lnTo>
                    <a:pt x="290" y="108"/>
                  </a:lnTo>
                  <a:lnTo>
                    <a:pt x="290" y="108"/>
                  </a:lnTo>
                  <a:lnTo>
                    <a:pt x="290" y="110"/>
                  </a:lnTo>
                  <a:lnTo>
                    <a:pt x="292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4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299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5"/>
                  </a:lnTo>
                  <a:lnTo>
                    <a:pt x="305" y="115"/>
                  </a:lnTo>
                  <a:lnTo>
                    <a:pt x="305" y="117"/>
                  </a:lnTo>
                  <a:lnTo>
                    <a:pt x="305" y="117"/>
                  </a:lnTo>
                  <a:lnTo>
                    <a:pt x="305" y="117"/>
                  </a:lnTo>
                  <a:lnTo>
                    <a:pt x="305" y="117"/>
                  </a:lnTo>
                  <a:lnTo>
                    <a:pt x="308" y="117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08" y="119"/>
                  </a:lnTo>
                  <a:lnTo>
                    <a:pt x="310" y="119"/>
                  </a:lnTo>
                  <a:lnTo>
                    <a:pt x="312" y="119"/>
                  </a:lnTo>
                  <a:lnTo>
                    <a:pt x="317" y="119"/>
                  </a:lnTo>
                  <a:lnTo>
                    <a:pt x="319" y="122"/>
                  </a:lnTo>
                  <a:lnTo>
                    <a:pt x="321" y="122"/>
                  </a:lnTo>
                  <a:lnTo>
                    <a:pt x="321" y="122"/>
                  </a:lnTo>
                  <a:lnTo>
                    <a:pt x="321" y="124"/>
                  </a:lnTo>
                  <a:lnTo>
                    <a:pt x="321" y="124"/>
                  </a:lnTo>
                  <a:lnTo>
                    <a:pt x="323" y="124"/>
                  </a:lnTo>
                  <a:lnTo>
                    <a:pt x="323" y="124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3"/>
                  </a:lnTo>
                  <a:lnTo>
                    <a:pt x="323" y="133"/>
                  </a:lnTo>
                  <a:lnTo>
                    <a:pt x="323" y="133"/>
                  </a:lnTo>
                  <a:lnTo>
                    <a:pt x="323" y="133"/>
                  </a:lnTo>
                  <a:lnTo>
                    <a:pt x="323" y="133"/>
                  </a:lnTo>
                  <a:lnTo>
                    <a:pt x="323" y="135"/>
                  </a:lnTo>
                  <a:lnTo>
                    <a:pt x="323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4"/>
                  </a:lnTo>
                  <a:lnTo>
                    <a:pt x="326" y="144"/>
                  </a:lnTo>
                  <a:lnTo>
                    <a:pt x="326" y="144"/>
                  </a:lnTo>
                  <a:lnTo>
                    <a:pt x="326" y="144"/>
                  </a:lnTo>
                  <a:lnTo>
                    <a:pt x="328" y="142"/>
                  </a:lnTo>
                  <a:lnTo>
                    <a:pt x="328" y="142"/>
                  </a:lnTo>
                  <a:lnTo>
                    <a:pt x="330" y="142"/>
                  </a:lnTo>
                  <a:lnTo>
                    <a:pt x="332" y="142"/>
                  </a:lnTo>
                  <a:lnTo>
                    <a:pt x="337" y="140"/>
                  </a:lnTo>
                  <a:lnTo>
                    <a:pt x="339" y="140"/>
                  </a:lnTo>
                  <a:lnTo>
                    <a:pt x="343" y="140"/>
                  </a:lnTo>
                  <a:lnTo>
                    <a:pt x="343" y="142"/>
                  </a:lnTo>
                  <a:lnTo>
                    <a:pt x="343" y="144"/>
                  </a:lnTo>
                  <a:lnTo>
                    <a:pt x="343" y="149"/>
                  </a:lnTo>
                  <a:lnTo>
                    <a:pt x="343" y="151"/>
                  </a:lnTo>
                  <a:lnTo>
                    <a:pt x="343" y="153"/>
                  </a:lnTo>
                  <a:lnTo>
                    <a:pt x="343" y="158"/>
                  </a:lnTo>
                  <a:lnTo>
                    <a:pt x="343" y="160"/>
                  </a:lnTo>
                  <a:lnTo>
                    <a:pt x="343" y="162"/>
                  </a:lnTo>
                  <a:lnTo>
                    <a:pt x="343" y="167"/>
                  </a:lnTo>
                  <a:lnTo>
                    <a:pt x="343" y="169"/>
                  </a:lnTo>
                  <a:lnTo>
                    <a:pt x="343" y="171"/>
                  </a:lnTo>
                  <a:lnTo>
                    <a:pt x="343" y="176"/>
                  </a:lnTo>
                  <a:lnTo>
                    <a:pt x="343" y="178"/>
                  </a:lnTo>
                  <a:lnTo>
                    <a:pt x="343" y="180"/>
                  </a:lnTo>
                  <a:lnTo>
                    <a:pt x="343" y="182"/>
                  </a:lnTo>
                  <a:lnTo>
                    <a:pt x="343" y="187"/>
                  </a:lnTo>
                  <a:lnTo>
                    <a:pt x="343" y="187"/>
                  </a:lnTo>
                  <a:lnTo>
                    <a:pt x="343" y="191"/>
                  </a:lnTo>
                  <a:lnTo>
                    <a:pt x="343" y="191"/>
                  </a:lnTo>
                  <a:lnTo>
                    <a:pt x="343" y="191"/>
                  </a:lnTo>
                  <a:lnTo>
                    <a:pt x="343" y="191"/>
                  </a:lnTo>
                  <a:lnTo>
                    <a:pt x="343" y="191"/>
                  </a:lnTo>
                  <a:lnTo>
                    <a:pt x="343" y="191"/>
                  </a:lnTo>
                  <a:lnTo>
                    <a:pt x="343" y="194"/>
                  </a:lnTo>
                  <a:lnTo>
                    <a:pt x="343" y="194"/>
                  </a:lnTo>
                  <a:lnTo>
                    <a:pt x="343" y="194"/>
                  </a:lnTo>
                  <a:lnTo>
                    <a:pt x="343" y="196"/>
                  </a:lnTo>
                  <a:lnTo>
                    <a:pt x="343" y="196"/>
                  </a:lnTo>
                  <a:lnTo>
                    <a:pt x="343" y="200"/>
                  </a:lnTo>
                  <a:lnTo>
                    <a:pt x="343" y="203"/>
                  </a:lnTo>
                  <a:lnTo>
                    <a:pt x="343" y="205"/>
                  </a:lnTo>
                  <a:lnTo>
                    <a:pt x="343" y="205"/>
                  </a:lnTo>
                  <a:lnTo>
                    <a:pt x="343" y="205"/>
                  </a:lnTo>
                  <a:lnTo>
                    <a:pt x="341" y="205"/>
                  </a:lnTo>
                  <a:lnTo>
                    <a:pt x="341" y="205"/>
                  </a:lnTo>
                  <a:lnTo>
                    <a:pt x="341" y="207"/>
                  </a:lnTo>
                  <a:lnTo>
                    <a:pt x="341" y="207"/>
                  </a:lnTo>
                  <a:lnTo>
                    <a:pt x="339" y="212"/>
                  </a:lnTo>
                  <a:lnTo>
                    <a:pt x="339" y="212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7" y="216"/>
                  </a:lnTo>
                  <a:lnTo>
                    <a:pt x="337" y="216"/>
                  </a:lnTo>
                  <a:lnTo>
                    <a:pt x="337" y="216"/>
                  </a:lnTo>
                  <a:lnTo>
                    <a:pt x="337" y="218"/>
                  </a:lnTo>
                  <a:lnTo>
                    <a:pt x="337" y="221"/>
                  </a:lnTo>
                  <a:lnTo>
                    <a:pt x="337" y="221"/>
                  </a:lnTo>
                  <a:lnTo>
                    <a:pt x="337" y="221"/>
                  </a:lnTo>
                  <a:lnTo>
                    <a:pt x="334" y="223"/>
                  </a:lnTo>
                  <a:lnTo>
                    <a:pt x="334" y="223"/>
                  </a:lnTo>
                  <a:lnTo>
                    <a:pt x="332" y="223"/>
                  </a:lnTo>
                  <a:lnTo>
                    <a:pt x="330" y="225"/>
                  </a:lnTo>
                  <a:lnTo>
                    <a:pt x="330" y="225"/>
                  </a:lnTo>
                  <a:lnTo>
                    <a:pt x="330" y="227"/>
                  </a:lnTo>
                  <a:lnTo>
                    <a:pt x="330" y="230"/>
                  </a:lnTo>
                  <a:lnTo>
                    <a:pt x="328" y="230"/>
                  </a:lnTo>
                  <a:lnTo>
                    <a:pt x="328" y="230"/>
                  </a:lnTo>
                  <a:lnTo>
                    <a:pt x="326" y="230"/>
                  </a:lnTo>
                  <a:lnTo>
                    <a:pt x="323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30"/>
                  </a:lnTo>
                  <a:lnTo>
                    <a:pt x="319" y="230"/>
                  </a:lnTo>
                  <a:lnTo>
                    <a:pt x="319" y="230"/>
                  </a:lnTo>
                  <a:lnTo>
                    <a:pt x="317" y="230"/>
                  </a:lnTo>
                  <a:lnTo>
                    <a:pt x="314" y="230"/>
                  </a:lnTo>
                  <a:lnTo>
                    <a:pt x="314" y="230"/>
                  </a:lnTo>
                  <a:lnTo>
                    <a:pt x="312" y="230"/>
                  </a:lnTo>
                  <a:lnTo>
                    <a:pt x="310" y="230"/>
                  </a:lnTo>
                  <a:lnTo>
                    <a:pt x="308" y="230"/>
                  </a:lnTo>
                  <a:lnTo>
                    <a:pt x="305" y="230"/>
                  </a:lnTo>
                  <a:lnTo>
                    <a:pt x="303" y="230"/>
                  </a:lnTo>
                  <a:lnTo>
                    <a:pt x="301" y="230"/>
                  </a:lnTo>
                  <a:lnTo>
                    <a:pt x="299" y="230"/>
                  </a:lnTo>
                  <a:lnTo>
                    <a:pt x="296" y="230"/>
                  </a:lnTo>
                  <a:lnTo>
                    <a:pt x="296" y="230"/>
                  </a:lnTo>
                  <a:lnTo>
                    <a:pt x="294" y="232"/>
                  </a:lnTo>
                  <a:lnTo>
                    <a:pt x="292" y="232"/>
                  </a:lnTo>
                  <a:lnTo>
                    <a:pt x="290" y="232"/>
                  </a:lnTo>
                  <a:lnTo>
                    <a:pt x="287" y="232"/>
                  </a:lnTo>
                  <a:lnTo>
                    <a:pt x="285" y="232"/>
                  </a:lnTo>
                  <a:lnTo>
                    <a:pt x="283" y="232"/>
                  </a:lnTo>
                  <a:lnTo>
                    <a:pt x="283" y="232"/>
                  </a:lnTo>
                  <a:lnTo>
                    <a:pt x="283" y="232"/>
                  </a:lnTo>
                  <a:lnTo>
                    <a:pt x="281" y="234"/>
                  </a:lnTo>
                  <a:lnTo>
                    <a:pt x="278" y="234"/>
                  </a:lnTo>
                  <a:lnTo>
                    <a:pt x="278" y="236"/>
                  </a:lnTo>
                  <a:lnTo>
                    <a:pt x="276" y="239"/>
                  </a:lnTo>
                  <a:lnTo>
                    <a:pt x="276" y="239"/>
                  </a:lnTo>
                  <a:lnTo>
                    <a:pt x="276" y="239"/>
                  </a:lnTo>
                  <a:lnTo>
                    <a:pt x="272" y="239"/>
                  </a:lnTo>
                  <a:lnTo>
                    <a:pt x="272" y="239"/>
                  </a:lnTo>
                  <a:lnTo>
                    <a:pt x="272" y="239"/>
                  </a:lnTo>
                  <a:lnTo>
                    <a:pt x="269" y="239"/>
                  </a:lnTo>
                  <a:lnTo>
                    <a:pt x="269" y="239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5" y="239"/>
                  </a:lnTo>
                  <a:lnTo>
                    <a:pt x="265" y="239"/>
                  </a:lnTo>
                  <a:lnTo>
                    <a:pt x="263" y="239"/>
                  </a:lnTo>
                  <a:lnTo>
                    <a:pt x="260" y="239"/>
                  </a:lnTo>
                  <a:lnTo>
                    <a:pt x="260" y="239"/>
                  </a:lnTo>
                  <a:lnTo>
                    <a:pt x="260" y="239"/>
                  </a:lnTo>
                  <a:lnTo>
                    <a:pt x="260" y="241"/>
                  </a:lnTo>
                  <a:lnTo>
                    <a:pt x="256" y="239"/>
                  </a:lnTo>
                  <a:lnTo>
                    <a:pt x="256" y="239"/>
                  </a:lnTo>
                  <a:lnTo>
                    <a:pt x="251" y="236"/>
                  </a:lnTo>
                  <a:lnTo>
                    <a:pt x="251" y="236"/>
                  </a:lnTo>
                  <a:lnTo>
                    <a:pt x="249" y="236"/>
                  </a:lnTo>
                  <a:lnTo>
                    <a:pt x="249" y="239"/>
                  </a:lnTo>
                  <a:lnTo>
                    <a:pt x="247" y="239"/>
                  </a:lnTo>
                  <a:lnTo>
                    <a:pt x="247" y="239"/>
                  </a:lnTo>
                  <a:lnTo>
                    <a:pt x="247" y="239"/>
                  </a:lnTo>
                  <a:lnTo>
                    <a:pt x="247" y="236"/>
                  </a:lnTo>
                  <a:lnTo>
                    <a:pt x="247" y="236"/>
                  </a:lnTo>
                  <a:lnTo>
                    <a:pt x="240" y="236"/>
                  </a:lnTo>
                  <a:lnTo>
                    <a:pt x="240" y="236"/>
                  </a:lnTo>
                  <a:lnTo>
                    <a:pt x="240" y="236"/>
                  </a:lnTo>
                  <a:lnTo>
                    <a:pt x="238" y="239"/>
                  </a:lnTo>
                  <a:lnTo>
                    <a:pt x="238" y="239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29" y="243"/>
                  </a:lnTo>
                  <a:lnTo>
                    <a:pt x="229" y="245"/>
                  </a:lnTo>
                  <a:lnTo>
                    <a:pt x="220" y="250"/>
                  </a:lnTo>
                  <a:lnTo>
                    <a:pt x="220" y="250"/>
                  </a:lnTo>
                  <a:lnTo>
                    <a:pt x="218" y="250"/>
                  </a:lnTo>
                  <a:lnTo>
                    <a:pt x="215" y="250"/>
                  </a:lnTo>
                  <a:lnTo>
                    <a:pt x="215" y="250"/>
                  </a:lnTo>
                  <a:lnTo>
                    <a:pt x="215" y="250"/>
                  </a:lnTo>
                  <a:lnTo>
                    <a:pt x="213" y="252"/>
                  </a:lnTo>
                  <a:lnTo>
                    <a:pt x="213" y="256"/>
                  </a:lnTo>
                  <a:lnTo>
                    <a:pt x="213" y="256"/>
                  </a:lnTo>
                  <a:lnTo>
                    <a:pt x="213" y="256"/>
                  </a:lnTo>
                  <a:lnTo>
                    <a:pt x="213" y="259"/>
                  </a:lnTo>
                  <a:lnTo>
                    <a:pt x="211" y="259"/>
                  </a:lnTo>
                  <a:lnTo>
                    <a:pt x="211" y="259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4" y="254"/>
                  </a:lnTo>
                  <a:lnTo>
                    <a:pt x="202" y="256"/>
                  </a:lnTo>
                  <a:lnTo>
                    <a:pt x="202" y="256"/>
                  </a:lnTo>
                  <a:lnTo>
                    <a:pt x="200" y="259"/>
                  </a:lnTo>
                  <a:lnTo>
                    <a:pt x="197" y="261"/>
                  </a:lnTo>
                  <a:lnTo>
                    <a:pt x="195" y="261"/>
                  </a:lnTo>
                  <a:lnTo>
                    <a:pt x="197" y="261"/>
                  </a:lnTo>
                  <a:lnTo>
                    <a:pt x="197" y="261"/>
                  </a:lnTo>
                  <a:lnTo>
                    <a:pt x="197" y="261"/>
                  </a:lnTo>
                  <a:lnTo>
                    <a:pt x="197" y="261"/>
                  </a:lnTo>
                  <a:lnTo>
                    <a:pt x="195" y="265"/>
                  </a:lnTo>
                  <a:lnTo>
                    <a:pt x="195" y="265"/>
                  </a:lnTo>
                  <a:lnTo>
                    <a:pt x="195" y="265"/>
                  </a:lnTo>
                  <a:lnTo>
                    <a:pt x="195" y="268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88" y="270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88" y="279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4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5" y="277"/>
                  </a:lnTo>
                  <a:lnTo>
                    <a:pt x="175" y="277"/>
                  </a:lnTo>
                  <a:lnTo>
                    <a:pt x="175" y="277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3" y="277"/>
                  </a:lnTo>
                  <a:lnTo>
                    <a:pt x="173" y="277"/>
                  </a:lnTo>
                  <a:lnTo>
                    <a:pt x="173" y="277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70" y="277"/>
                  </a:lnTo>
                  <a:lnTo>
                    <a:pt x="170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79"/>
                  </a:lnTo>
                  <a:lnTo>
                    <a:pt x="168" y="281"/>
                  </a:lnTo>
                  <a:lnTo>
                    <a:pt x="168" y="281"/>
                  </a:lnTo>
                  <a:lnTo>
                    <a:pt x="168" y="281"/>
                  </a:lnTo>
                  <a:lnTo>
                    <a:pt x="168" y="281"/>
                  </a:lnTo>
                  <a:lnTo>
                    <a:pt x="168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6" y="283"/>
                  </a:lnTo>
                  <a:lnTo>
                    <a:pt x="166" y="283"/>
                  </a:lnTo>
                  <a:lnTo>
                    <a:pt x="166" y="283"/>
                  </a:lnTo>
                  <a:lnTo>
                    <a:pt x="166" y="283"/>
                  </a:lnTo>
                  <a:lnTo>
                    <a:pt x="166" y="283"/>
                  </a:lnTo>
                  <a:lnTo>
                    <a:pt x="166" y="286"/>
                  </a:lnTo>
                  <a:lnTo>
                    <a:pt x="166" y="286"/>
                  </a:lnTo>
                  <a:lnTo>
                    <a:pt x="168" y="286"/>
                  </a:lnTo>
                  <a:lnTo>
                    <a:pt x="168" y="286"/>
                  </a:lnTo>
                  <a:lnTo>
                    <a:pt x="168" y="288"/>
                  </a:lnTo>
                  <a:lnTo>
                    <a:pt x="168" y="288"/>
                  </a:lnTo>
                  <a:lnTo>
                    <a:pt x="168" y="290"/>
                  </a:lnTo>
                  <a:lnTo>
                    <a:pt x="168" y="290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2" y="292"/>
                  </a:lnTo>
                  <a:lnTo>
                    <a:pt x="162" y="292"/>
                  </a:lnTo>
                  <a:lnTo>
                    <a:pt x="162" y="292"/>
                  </a:lnTo>
                  <a:lnTo>
                    <a:pt x="162" y="292"/>
                  </a:lnTo>
                  <a:lnTo>
                    <a:pt x="162" y="295"/>
                  </a:lnTo>
                  <a:lnTo>
                    <a:pt x="164" y="295"/>
                  </a:lnTo>
                  <a:lnTo>
                    <a:pt x="164" y="295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4" y="299"/>
                  </a:lnTo>
                  <a:lnTo>
                    <a:pt x="164" y="299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1"/>
                  </a:lnTo>
                  <a:lnTo>
                    <a:pt x="162" y="304"/>
                  </a:lnTo>
                  <a:lnTo>
                    <a:pt x="162" y="304"/>
                  </a:lnTo>
                  <a:lnTo>
                    <a:pt x="162" y="304"/>
                  </a:lnTo>
                  <a:lnTo>
                    <a:pt x="159" y="304"/>
                  </a:lnTo>
                  <a:lnTo>
                    <a:pt x="162" y="306"/>
                  </a:lnTo>
                  <a:lnTo>
                    <a:pt x="162" y="306"/>
                  </a:lnTo>
                  <a:lnTo>
                    <a:pt x="159" y="306"/>
                  </a:lnTo>
                  <a:lnTo>
                    <a:pt x="159" y="306"/>
                  </a:lnTo>
                  <a:lnTo>
                    <a:pt x="159" y="306"/>
                  </a:lnTo>
                  <a:lnTo>
                    <a:pt x="159" y="308"/>
                  </a:lnTo>
                  <a:lnTo>
                    <a:pt x="159" y="308"/>
                  </a:lnTo>
                  <a:lnTo>
                    <a:pt x="159" y="308"/>
                  </a:lnTo>
                  <a:lnTo>
                    <a:pt x="159" y="308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57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3" y="308"/>
                  </a:lnTo>
                  <a:lnTo>
                    <a:pt x="153" y="308"/>
                  </a:lnTo>
                  <a:lnTo>
                    <a:pt x="153" y="308"/>
                  </a:lnTo>
                  <a:lnTo>
                    <a:pt x="153" y="308"/>
                  </a:lnTo>
                  <a:lnTo>
                    <a:pt x="153" y="310"/>
                  </a:lnTo>
                  <a:lnTo>
                    <a:pt x="153" y="310"/>
                  </a:lnTo>
                  <a:lnTo>
                    <a:pt x="153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6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3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6" y="315"/>
                  </a:lnTo>
                  <a:lnTo>
                    <a:pt x="146" y="315"/>
                  </a:lnTo>
                  <a:lnTo>
                    <a:pt x="146" y="315"/>
                  </a:lnTo>
                  <a:lnTo>
                    <a:pt x="146" y="315"/>
                  </a:lnTo>
                  <a:lnTo>
                    <a:pt x="146" y="315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22"/>
                  </a:lnTo>
                  <a:lnTo>
                    <a:pt x="148" y="322"/>
                  </a:lnTo>
                  <a:lnTo>
                    <a:pt x="148" y="324"/>
                  </a:lnTo>
                  <a:lnTo>
                    <a:pt x="146" y="324"/>
                  </a:lnTo>
                  <a:lnTo>
                    <a:pt x="146" y="324"/>
                  </a:lnTo>
                  <a:lnTo>
                    <a:pt x="146" y="324"/>
                  </a:lnTo>
                  <a:lnTo>
                    <a:pt x="146" y="324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6" y="331"/>
                  </a:lnTo>
                  <a:lnTo>
                    <a:pt x="144" y="331"/>
                  </a:lnTo>
                  <a:lnTo>
                    <a:pt x="144" y="331"/>
                  </a:lnTo>
                  <a:lnTo>
                    <a:pt x="144" y="331"/>
                  </a:lnTo>
                  <a:lnTo>
                    <a:pt x="144" y="331"/>
                  </a:lnTo>
                  <a:lnTo>
                    <a:pt x="141" y="331"/>
                  </a:lnTo>
                  <a:lnTo>
                    <a:pt x="141" y="331"/>
                  </a:lnTo>
                  <a:lnTo>
                    <a:pt x="141" y="331"/>
                  </a:lnTo>
                  <a:lnTo>
                    <a:pt x="141" y="333"/>
                  </a:lnTo>
                  <a:lnTo>
                    <a:pt x="141" y="333"/>
                  </a:lnTo>
                  <a:lnTo>
                    <a:pt x="141" y="333"/>
                  </a:lnTo>
                  <a:lnTo>
                    <a:pt x="141" y="335"/>
                  </a:lnTo>
                  <a:lnTo>
                    <a:pt x="141" y="335"/>
                  </a:lnTo>
                  <a:lnTo>
                    <a:pt x="141" y="337"/>
                  </a:lnTo>
                  <a:lnTo>
                    <a:pt x="144" y="337"/>
                  </a:lnTo>
                  <a:lnTo>
                    <a:pt x="141" y="337"/>
                  </a:lnTo>
                  <a:lnTo>
                    <a:pt x="141" y="337"/>
                  </a:lnTo>
                  <a:lnTo>
                    <a:pt x="141" y="337"/>
                  </a:lnTo>
                  <a:lnTo>
                    <a:pt x="141" y="340"/>
                  </a:lnTo>
                  <a:lnTo>
                    <a:pt x="141" y="340"/>
                  </a:lnTo>
                  <a:lnTo>
                    <a:pt x="141" y="340"/>
                  </a:lnTo>
                  <a:lnTo>
                    <a:pt x="141" y="340"/>
                  </a:lnTo>
                  <a:lnTo>
                    <a:pt x="141" y="340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4"/>
                  </a:lnTo>
                  <a:lnTo>
                    <a:pt x="141" y="344"/>
                  </a:lnTo>
                  <a:lnTo>
                    <a:pt x="141" y="344"/>
                  </a:lnTo>
                  <a:lnTo>
                    <a:pt x="141" y="346"/>
                  </a:lnTo>
                  <a:lnTo>
                    <a:pt x="141" y="346"/>
                  </a:lnTo>
                  <a:lnTo>
                    <a:pt x="139" y="346"/>
                  </a:lnTo>
                  <a:lnTo>
                    <a:pt x="139" y="346"/>
                  </a:lnTo>
                  <a:lnTo>
                    <a:pt x="139" y="346"/>
                  </a:lnTo>
                  <a:lnTo>
                    <a:pt x="139" y="346"/>
                  </a:lnTo>
                  <a:lnTo>
                    <a:pt x="139" y="346"/>
                  </a:lnTo>
                  <a:lnTo>
                    <a:pt x="137" y="346"/>
                  </a:lnTo>
                  <a:lnTo>
                    <a:pt x="135" y="346"/>
                  </a:lnTo>
                  <a:lnTo>
                    <a:pt x="132" y="349"/>
                  </a:lnTo>
                  <a:lnTo>
                    <a:pt x="132" y="349"/>
                  </a:lnTo>
                  <a:lnTo>
                    <a:pt x="132" y="349"/>
                  </a:lnTo>
                  <a:lnTo>
                    <a:pt x="132" y="349"/>
                  </a:lnTo>
                  <a:lnTo>
                    <a:pt x="132" y="351"/>
                  </a:lnTo>
                  <a:lnTo>
                    <a:pt x="132" y="351"/>
                  </a:lnTo>
                  <a:lnTo>
                    <a:pt x="132" y="351"/>
                  </a:lnTo>
                  <a:lnTo>
                    <a:pt x="130" y="351"/>
                  </a:lnTo>
                  <a:lnTo>
                    <a:pt x="130" y="351"/>
                  </a:lnTo>
                  <a:lnTo>
                    <a:pt x="130" y="351"/>
                  </a:lnTo>
                  <a:lnTo>
                    <a:pt x="130" y="351"/>
                  </a:lnTo>
                  <a:lnTo>
                    <a:pt x="130" y="353"/>
                  </a:lnTo>
                  <a:lnTo>
                    <a:pt x="128" y="353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6" y="351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6" y="349"/>
                  </a:lnTo>
                  <a:lnTo>
                    <a:pt x="128" y="346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6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4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2"/>
                  </a:lnTo>
                  <a:lnTo>
                    <a:pt x="126" y="340"/>
                  </a:lnTo>
                  <a:lnTo>
                    <a:pt x="126" y="340"/>
                  </a:lnTo>
                  <a:lnTo>
                    <a:pt x="126" y="340"/>
                  </a:lnTo>
                  <a:lnTo>
                    <a:pt x="126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1" y="340"/>
                  </a:lnTo>
                  <a:lnTo>
                    <a:pt x="121" y="340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21" y="342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7" y="344"/>
                  </a:lnTo>
                  <a:lnTo>
                    <a:pt x="117" y="344"/>
                  </a:lnTo>
                  <a:lnTo>
                    <a:pt x="117" y="344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7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2" y="349"/>
                  </a:lnTo>
                  <a:lnTo>
                    <a:pt x="112" y="349"/>
                  </a:lnTo>
                  <a:lnTo>
                    <a:pt x="110" y="349"/>
                  </a:lnTo>
                  <a:lnTo>
                    <a:pt x="110" y="349"/>
                  </a:lnTo>
                  <a:lnTo>
                    <a:pt x="110" y="349"/>
                  </a:lnTo>
                  <a:lnTo>
                    <a:pt x="110" y="351"/>
                  </a:lnTo>
                  <a:lnTo>
                    <a:pt x="110" y="351"/>
                  </a:lnTo>
                  <a:lnTo>
                    <a:pt x="110" y="351"/>
                  </a:lnTo>
                  <a:lnTo>
                    <a:pt x="110" y="351"/>
                  </a:lnTo>
                  <a:lnTo>
                    <a:pt x="110" y="351"/>
                  </a:lnTo>
                  <a:lnTo>
                    <a:pt x="110" y="353"/>
                  </a:lnTo>
                  <a:lnTo>
                    <a:pt x="110" y="353"/>
                  </a:lnTo>
                  <a:lnTo>
                    <a:pt x="110" y="353"/>
                  </a:lnTo>
                  <a:lnTo>
                    <a:pt x="110" y="353"/>
                  </a:lnTo>
                  <a:lnTo>
                    <a:pt x="108" y="353"/>
                  </a:lnTo>
                  <a:lnTo>
                    <a:pt x="108" y="353"/>
                  </a:lnTo>
                  <a:lnTo>
                    <a:pt x="108" y="353"/>
                  </a:lnTo>
                  <a:lnTo>
                    <a:pt x="108" y="353"/>
                  </a:lnTo>
                  <a:lnTo>
                    <a:pt x="108" y="351"/>
                  </a:lnTo>
                  <a:lnTo>
                    <a:pt x="105" y="351"/>
                  </a:lnTo>
                  <a:lnTo>
                    <a:pt x="103" y="351"/>
                  </a:lnTo>
                  <a:lnTo>
                    <a:pt x="103" y="351"/>
                  </a:lnTo>
                  <a:lnTo>
                    <a:pt x="101" y="351"/>
                  </a:lnTo>
                  <a:lnTo>
                    <a:pt x="101" y="351"/>
                  </a:lnTo>
                  <a:lnTo>
                    <a:pt x="101" y="351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9"/>
                  </a:lnTo>
                  <a:lnTo>
                    <a:pt x="101" y="346"/>
                  </a:lnTo>
                  <a:lnTo>
                    <a:pt x="101" y="346"/>
                  </a:lnTo>
                  <a:lnTo>
                    <a:pt x="101" y="346"/>
                  </a:lnTo>
                  <a:lnTo>
                    <a:pt x="101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9" y="346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6"/>
                  </a:lnTo>
                  <a:lnTo>
                    <a:pt x="94" y="346"/>
                  </a:lnTo>
                  <a:lnTo>
                    <a:pt x="94" y="346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49"/>
                  </a:lnTo>
                  <a:lnTo>
                    <a:pt x="94" y="351"/>
                  </a:lnTo>
                  <a:lnTo>
                    <a:pt x="94" y="351"/>
                  </a:lnTo>
                  <a:lnTo>
                    <a:pt x="94" y="351"/>
                  </a:lnTo>
                  <a:lnTo>
                    <a:pt x="94" y="351"/>
                  </a:lnTo>
                  <a:lnTo>
                    <a:pt x="92" y="351"/>
                  </a:lnTo>
                  <a:lnTo>
                    <a:pt x="92" y="351"/>
                  </a:lnTo>
                  <a:lnTo>
                    <a:pt x="92" y="351"/>
                  </a:lnTo>
                  <a:lnTo>
                    <a:pt x="92" y="351"/>
                  </a:lnTo>
                  <a:lnTo>
                    <a:pt x="92" y="351"/>
                  </a:lnTo>
                  <a:lnTo>
                    <a:pt x="92" y="353"/>
                  </a:lnTo>
                  <a:lnTo>
                    <a:pt x="92" y="353"/>
                  </a:lnTo>
                  <a:lnTo>
                    <a:pt x="92" y="353"/>
                  </a:lnTo>
                  <a:lnTo>
                    <a:pt x="92" y="353"/>
                  </a:lnTo>
                  <a:lnTo>
                    <a:pt x="90" y="353"/>
                  </a:lnTo>
                  <a:lnTo>
                    <a:pt x="90" y="353"/>
                  </a:lnTo>
                  <a:lnTo>
                    <a:pt x="90" y="353"/>
                  </a:lnTo>
                  <a:lnTo>
                    <a:pt x="90" y="353"/>
                  </a:lnTo>
                  <a:lnTo>
                    <a:pt x="90" y="353"/>
                  </a:lnTo>
                  <a:lnTo>
                    <a:pt x="90" y="351"/>
                  </a:lnTo>
                  <a:lnTo>
                    <a:pt x="90" y="351"/>
                  </a:lnTo>
                  <a:lnTo>
                    <a:pt x="90" y="351"/>
                  </a:lnTo>
                  <a:lnTo>
                    <a:pt x="90" y="351"/>
                  </a:lnTo>
                  <a:lnTo>
                    <a:pt x="90" y="349"/>
                  </a:lnTo>
                  <a:lnTo>
                    <a:pt x="90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7" y="349"/>
                  </a:lnTo>
                  <a:lnTo>
                    <a:pt x="85" y="349"/>
                  </a:lnTo>
                  <a:lnTo>
                    <a:pt x="85" y="349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5" y="346"/>
                  </a:lnTo>
                  <a:lnTo>
                    <a:pt x="83" y="346"/>
                  </a:lnTo>
                  <a:lnTo>
                    <a:pt x="83" y="346"/>
                  </a:lnTo>
                  <a:lnTo>
                    <a:pt x="83" y="344"/>
                  </a:lnTo>
                  <a:lnTo>
                    <a:pt x="83" y="344"/>
                  </a:lnTo>
                  <a:lnTo>
                    <a:pt x="83" y="340"/>
                  </a:lnTo>
                  <a:lnTo>
                    <a:pt x="83" y="340"/>
                  </a:lnTo>
                  <a:lnTo>
                    <a:pt x="81" y="340"/>
                  </a:lnTo>
                  <a:lnTo>
                    <a:pt x="81" y="337"/>
                  </a:lnTo>
                  <a:lnTo>
                    <a:pt x="83" y="337"/>
                  </a:lnTo>
                  <a:lnTo>
                    <a:pt x="83" y="337"/>
                  </a:lnTo>
                  <a:lnTo>
                    <a:pt x="83" y="337"/>
                  </a:lnTo>
                  <a:lnTo>
                    <a:pt x="83" y="335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3" y="333"/>
                  </a:lnTo>
                  <a:lnTo>
                    <a:pt x="81" y="333"/>
                  </a:lnTo>
                  <a:lnTo>
                    <a:pt x="81" y="331"/>
                  </a:lnTo>
                  <a:lnTo>
                    <a:pt x="81" y="331"/>
                  </a:lnTo>
                  <a:lnTo>
                    <a:pt x="81" y="333"/>
                  </a:lnTo>
                  <a:lnTo>
                    <a:pt x="81" y="333"/>
                  </a:lnTo>
                  <a:lnTo>
                    <a:pt x="81" y="333"/>
                  </a:lnTo>
                  <a:lnTo>
                    <a:pt x="81" y="333"/>
                  </a:lnTo>
                  <a:lnTo>
                    <a:pt x="78" y="333"/>
                  </a:lnTo>
                  <a:lnTo>
                    <a:pt x="78" y="333"/>
                  </a:lnTo>
                  <a:lnTo>
                    <a:pt x="78" y="331"/>
                  </a:lnTo>
                  <a:lnTo>
                    <a:pt x="78" y="331"/>
                  </a:lnTo>
                  <a:lnTo>
                    <a:pt x="78" y="333"/>
                  </a:lnTo>
                  <a:lnTo>
                    <a:pt x="78" y="333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6" y="333"/>
                  </a:lnTo>
                  <a:lnTo>
                    <a:pt x="74" y="335"/>
                  </a:lnTo>
                  <a:lnTo>
                    <a:pt x="74" y="335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4" y="333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31"/>
                  </a:lnTo>
                  <a:lnTo>
                    <a:pt x="76" y="328"/>
                  </a:lnTo>
                  <a:lnTo>
                    <a:pt x="76" y="328"/>
                  </a:lnTo>
                  <a:lnTo>
                    <a:pt x="76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8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6"/>
                  </a:lnTo>
                  <a:lnTo>
                    <a:pt x="81" y="324"/>
                  </a:lnTo>
                  <a:lnTo>
                    <a:pt x="81" y="324"/>
                  </a:lnTo>
                  <a:lnTo>
                    <a:pt x="81" y="324"/>
                  </a:lnTo>
                  <a:lnTo>
                    <a:pt x="81" y="324"/>
                  </a:lnTo>
                  <a:lnTo>
                    <a:pt x="81" y="324"/>
                  </a:lnTo>
                  <a:lnTo>
                    <a:pt x="81" y="324"/>
                  </a:lnTo>
                  <a:lnTo>
                    <a:pt x="78" y="324"/>
                  </a:lnTo>
                  <a:lnTo>
                    <a:pt x="78" y="324"/>
                  </a:lnTo>
                  <a:lnTo>
                    <a:pt x="78" y="324"/>
                  </a:lnTo>
                  <a:lnTo>
                    <a:pt x="78" y="322"/>
                  </a:lnTo>
                  <a:lnTo>
                    <a:pt x="78" y="322"/>
                  </a:lnTo>
                  <a:lnTo>
                    <a:pt x="78" y="322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4" y="322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9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72" y="308"/>
                  </a:lnTo>
                  <a:lnTo>
                    <a:pt x="72" y="308"/>
                  </a:lnTo>
                  <a:lnTo>
                    <a:pt x="72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4"/>
                  </a:lnTo>
                  <a:lnTo>
                    <a:pt x="67" y="304"/>
                  </a:lnTo>
                  <a:lnTo>
                    <a:pt x="69" y="301"/>
                  </a:lnTo>
                  <a:lnTo>
                    <a:pt x="69" y="301"/>
                  </a:lnTo>
                  <a:lnTo>
                    <a:pt x="69" y="301"/>
                  </a:lnTo>
                  <a:lnTo>
                    <a:pt x="69" y="301"/>
                  </a:lnTo>
                  <a:lnTo>
                    <a:pt x="69" y="301"/>
                  </a:lnTo>
                  <a:lnTo>
                    <a:pt x="67" y="299"/>
                  </a:lnTo>
                  <a:lnTo>
                    <a:pt x="65" y="299"/>
                  </a:lnTo>
                  <a:lnTo>
                    <a:pt x="65" y="297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301"/>
                  </a:lnTo>
                  <a:lnTo>
                    <a:pt x="60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0" y="301"/>
                  </a:lnTo>
                  <a:lnTo>
                    <a:pt x="60" y="301"/>
                  </a:lnTo>
                  <a:lnTo>
                    <a:pt x="60" y="301"/>
                  </a:lnTo>
                  <a:lnTo>
                    <a:pt x="60" y="304"/>
                  </a:lnTo>
                  <a:lnTo>
                    <a:pt x="60" y="304"/>
                  </a:lnTo>
                  <a:lnTo>
                    <a:pt x="60" y="304"/>
                  </a:lnTo>
                  <a:lnTo>
                    <a:pt x="58" y="304"/>
                  </a:lnTo>
                  <a:lnTo>
                    <a:pt x="58" y="304"/>
                  </a:lnTo>
                  <a:lnTo>
                    <a:pt x="58" y="304"/>
                  </a:lnTo>
                  <a:lnTo>
                    <a:pt x="58" y="304"/>
                  </a:lnTo>
                  <a:lnTo>
                    <a:pt x="56" y="30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54" y="306"/>
                  </a:lnTo>
                  <a:lnTo>
                    <a:pt x="54" y="308"/>
                  </a:lnTo>
                  <a:lnTo>
                    <a:pt x="54" y="308"/>
                  </a:lnTo>
                  <a:lnTo>
                    <a:pt x="54" y="308"/>
                  </a:lnTo>
                  <a:lnTo>
                    <a:pt x="54" y="308"/>
                  </a:lnTo>
                  <a:lnTo>
                    <a:pt x="51" y="308"/>
                  </a:lnTo>
                  <a:lnTo>
                    <a:pt x="51" y="308"/>
                  </a:lnTo>
                  <a:lnTo>
                    <a:pt x="51" y="308"/>
                  </a:lnTo>
                  <a:lnTo>
                    <a:pt x="51" y="308"/>
                  </a:lnTo>
                  <a:lnTo>
                    <a:pt x="51" y="308"/>
                  </a:lnTo>
                  <a:lnTo>
                    <a:pt x="51" y="308"/>
                  </a:lnTo>
                  <a:lnTo>
                    <a:pt x="49" y="308"/>
                  </a:lnTo>
                  <a:lnTo>
                    <a:pt x="49" y="308"/>
                  </a:lnTo>
                  <a:lnTo>
                    <a:pt x="49" y="308"/>
                  </a:lnTo>
                  <a:lnTo>
                    <a:pt x="49" y="308"/>
                  </a:lnTo>
                  <a:lnTo>
                    <a:pt x="49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2" y="306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38" y="306"/>
                  </a:lnTo>
                  <a:lnTo>
                    <a:pt x="38" y="306"/>
                  </a:lnTo>
                  <a:lnTo>
                    <a:pt x="38" y="306"/>
                  </a:lnTo>
                  <a:lnTo>
                    <a:pt x="38" y="306"/>
                  </a:lnTo>
                  <a:lnTo>
                    <a:pt x="38" y="306"/>
                  </a:lnTo>
                  <a:lnTo>
                    <a:pt x="36" y="306"/>
                  </a:lnTo>
                  <a:lnTo>
                    <a:pt x="36" y="306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0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1" y="313"/>
                  </a:lnTo>
                  <a:lnTo>
                    <a:pt x="31" y="310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31" y="308"/>
                  </a:lnTo>
                  <a:lnTo>
                    <a:pt x="31" y="306"/>
                  </a:lnTo>
                  <a:lnTo>
                    <a:pt x="29" y="306"/>
                  </a:lnTo>
                  <a:lnTo>
                    <a:pt x="29" y="306"/>
                  </a:lnTo>
                  <a:lnTo>
                    <a:pt x="29" y="306"/>
                  </a:lnTo>
                  <a:lnTo>
                    <a:pt x="29" y="304"/>
                  </a:lnTo>
                  <a:lnTo>
                    <a:pt x="29" y="304"/>
                  </a:lnTo>
                  <a:lnTo>
                    <a:pt x="27" y="304"/>
                  </a:lnTo>
                  <a:lnTo>
                    <a:pt x="27" y="304"/>
                  </a:lnTo>
                  <a:lnTo>
                    <a:pt x="27" y="304"/>
                  </a:lnTo>
                  <a:lnTo>
                    <a:pt x="24" y="304"/>
                  </a:lnTo>
                  <a:lnTo>
                    <a:pt x="24" y="304"/>
                  </a:lnTo>
                  <a:lnTo>
                    <a:pt x="24" y="304"/>
                  </a:lnTo>
                  <a:lnTo>
                    <a:pt x="24" y="306"/>
                  </a:lnTo>
                  <a:lnTo>
                    <a:pt x="24" y="306"/>
                  </a:lnTo>
                  <a:lnTo>
                    <a:pt x="24" y="306"/>
                  </a:lnTo>
                  <a:lnTo>
                    <a:pt x="24" y="306"/>
                  </a:lnTo>
                  <a:lnTo>
                    <a:pt x="24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2" y="308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20" y="308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5" y="306"/>
                  </a:lnTo>
                  <a:lnTo>
                    <a:pt x="15" y="306"/>
                  </a:lnTo>
                  <a:lnTo>
                    <a:pt x="15" y="304"/>
                  </a:lnTo>
                  <a:lnTo>
                    <a:pt x="15" y="304"/>
                  </a:lnTo>
                  <a:lnTo>
                    <a:pt x="18" y="304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5" y="283"/>
                  </a:lnTo>
                  <a:lnTo>
                    <a:pt x="15" y="283"/>
                  </a:lnTo>
                  <a:lnTo>
                    <a:pt x="15" y="283"/>
                  </a:lnTo>
                  <a:lnTo>
                    <a:pt x="15" y="283"/>
                  </a:lnTo>
                  <a:lnTo>
                    <a:pt x="15" y="283"/>
                  </a:lnTo>
                  <a:lnTo>
                    <a:pt x="15" y="283"/>
                  </a:lnTo>
                  <a:lnTo>
                    <a:pt x="15" y="281"/>
                  </a:lnTo>
                  <a:lnTo>
                    <a:pt x="15" y="281"/>
                  </a:lnTo>
                  <a:lnTo>
                    <a:pt x="15" y="281"/>
                  </a:lnTo>
                  <a:lnTo>
                    <a:pt x="15" y="281"/>
                  </a:lnTo>
                  <a:lnTo>
                    <a:pt x="15" y="281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6" y="274"/>
                  </a:lnTo>
                  <a:lnTo>
                    <a:pt x="6" y="274"/>
                  </a:lnTo>
                  <a:lnTo>
                    <a:pt x="6" y="274"/>
                  </a:lnTo>
                  <a:lnTo>
                    <a:pt x="6" y="274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4" y="272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6" y="265"/>
                  </a:lnTo>
                  <a:lnTo>
                    <a:pt x="6" y="265"/>
                  </a:lnTo>
                  <a:lnTo>
                    <a:pt x="6" y="263"/>
                  </a:lnTo>
                  <a:lnTo>
                    <a:pt x="6" y="263"/>
                  </a:lnTo>
                  <a:lnTo>
                    <a:pt x="6" y="263"/>
                  </a:lnTo>
                  <a:lnTo>
                    <a:pt x="6" y="263"/>
                  </a:lnTo>
                  <a:lnTo>
                    <a:pt x="6" y="263"/>
                  </a:lnTo>
                  <a:lnTo>
                    <a:pt x="6" y="261"/>
                  </a:lnTo>
                  <a:lnTo>
                    <a:pt x="6" y="261"/>
                  </a:lnTo>
                  <a:lnTo>
                    <a:pt x="6" y="259"/>
                  </a:lnTo>
                  <a:lnTo>
                    <a:pt x="6" y="259"/>
                  </a:lnTo>
                  <a:lnTo>
                    <a:pt x="6" y="259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4" y="254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2" y="245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2" y="243"/>
                  </a:lnTo>
                  <a:lnTo>
                    <a:pt x="2" y="243"/>
                  </a:lnTo>
                  <a:lnTo>
                    <a:pt x="2" y="243"/>
                  </a:lnTo>
                  <a:lnTo>
                    <a:pt x="2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4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11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6"/>
                  </a:lnTo>
                  <a:lnTo>
                    <a:pt x="11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6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9" y="234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2"/>
                  </a:lnTo>
                  <a:lnTo>
                    <a:pt x="11" y="230"/>
                  </a:lnTo>
                  <a:lnTo>
                    <a:pt x="11" y="227"/>
                  </a:lnTo>
                  <a:lnTo>
                    <a:pt x="11" y="227"/>
                  </a:lnTo>
                  <a:lnTo>
                    <a:pt x="11" y="225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3" y="225"/>
                  </a:lnTo>
                  <a:lnTo>
                    <a:pt x="15" y="225"/>
                  </a:lnTo>
                  <a:lnTo>
                    <a:pt x="15" y="225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5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18" y="223"/>
                  </a:lnTo>
                  <a:lnTo>
                    <a:pt x="20" y="227"/>
                  </a:lnTo>
                  <a:lnTo>
                    <a:pt x="20" y="227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1" y="230"/>
                  </a:lnTo>
                  <a:lnTo>
                    <a:pt x="33" y="230"/>
                  </a:lnTo>
                  <a:lnTo>
                    <a:pt x="33" y="230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6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0" y="227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2" y="227"/>
                  </a:lnTo>
                  <a:lnTo>
                    <a:pt x="45" y="227"/>
                  </a:lnTo>
                  <a:lnTo>
                    <a:pt x="45" y="227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5" y="230"/>
                  </a:lnTo>
                  <a:lnTo>
                    <a:pt x="47" y="230"/>
                  </a:lnTo>
                  <a:lnTo>
                    <a:pt x="49" y="230"/>
                  </a:lnTo>
                  <a:lnTo>
                    <a:pt x="51" y="230"/>
                  </a:lnTo>
                  <a:lnTo>
                    <a:pt x="51" y="230"/>
                  </a:lnTo>
                  <a:lnTo>
                    <a:pt x="54" y="227"/>
                  </a:lnTo>
                  <a:lnTo>
                    <a:pt x="54" y="227"/>
                  </a:lnTo>
                  <a:lnTo>
                    <a:pt x="56" y="227"/>
                  </a:lnTo>
                  <a:lnTo>
                    <a:pt x="60" y="227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1"/>
                  </a:lnTo>
                  <a:lnTo>
                    <a:pt x="60" y="221"/>
                  </a:lnTo>
                  <a:lnTo>
                    <a:pt x="63" y="221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5"/>
                  </a:lnTo>
                  <a:lnTo>
                    <a:pt x="65" y="225"/>
                  </a:lnTo>
                  <a:lnTo>
                    <a:pt x="69" y="225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4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81" y="225"/>
                  </a:lnTo>
                  <a:lnTo>
                    <a:pt x="83" y="225"/>
                  </a:lnTo>
                  <a:lnTo>
                    <a:pt x="85" y="225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6" y="225"/>
                  </a:lnTo>
                  <a:lnTo>
                    <a:pt x="99" y="225"/>
                  </a:lnTo>
                  <a:lnTo>
                    <a:pt x="103" y="225"/>
                  </a:lnTo>
                  <a:lnTo>
                    <a:pt x="108" y="225"/>
                  </a:lnTo>
                  <a:lnTo>
                    <a:pt x="110" y="225"/>
                  </a:lnTo>
                  <a:lnTo>
                    <a:pt x="114" y="225"/>
                  </a:lnTo>
                  <a:lnTo>
                    <a:pt x="117" y="225"/>
                  </a:lnTo>
                  <a:lnTo>
                    <a:pt x="121" y="225"/>
                  </a:lnTo>
                  <a:lnTo>
                    <a:pt x="123" y="225"/>
                  </a:lnTo>
                  <a:lnTo>
                    <a:pt x="126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2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9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5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44" y="218"/>
                  </a:lnTo>
                  <a:lnTo>
                    <a:pt x="144" y="216"/>
                  </a:lnTo>
                  <a:lnTo>
                    <a:pt x="144" y="214"/>
                  </a:lnTo>
                  <a:lnTo>
                    <a:pt x="144" y="212"/>
                  </a:lnTo>
                  <a:lnTo>
                    <a:pt x="144" y="209"/>
                  </a:lnTo>
                  <a:lnTo>
                    <a:pt x="144" y="207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4" y="207"/>
                  </a:lnTo>
                  <a:lnTo>
                    <a:pt x="144" y="207"/>
                  </a:lnTo>
                  <a:lnTo>
                    <a:pt x="144" y="205"/>
                  </a:lnTo>
                  <a:lnTo>
                    <a:pt x="144" y="205"/>
                  </a:lnTo>
                  <a:lnTo>
                    <a:pt x="141" y="205"/>
                  </a:lnTo>
                  <a:lnTo>
                    <a:pt x="141" y="203"/>
                  </a:lnTo>
                  <a:lnTo>
                    <a:pt x="141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3"/>
                  </a:lnTo>
                  <a:lnTo>
                    <a:pt x="139" y="200"/>
                  </a:lnTo>
                  <a:lnTo>
                    <a:pt x="139" y="198"/>
                  </a:lnTo>
                  <a:lnTo>
                    <a:pt x="139" y="196"/>
                  </a:lnTo>
                  <a:lnTo>
                    <a:pt x="139" y="194"/>
                  </a:lnTo>
                  <a:lnTo>
                    <a:pt x="139" y="191"/>
                  </a:lnTo>
                  <a:lnTo>
                    <a:pt x="139" y="189"/>
                  </a:lnTo>
                  <a:lnTo>
                    <a:pt x="139" y="187"/>
                  </a:lnTo>
                  <a:lnTo>
                    <a:pt x="137" y="185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7" y="176"/>
                  </a:lnTo>
                  <a:lnTo>
                    <a:pt x="137" y="173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7" y="164"/>
                  </a:lnTo>
                  <a:lnTo>
                    <a:pt x="137" y="162"/>
                  </a:lnTo>
                  <a:lnTo>
                    <a:pt x="135" y="160"/>
                  </a:lnTo>
                  <a:lnTo>
                    <a:pt x="135" y="158"/>
                  </a:lnTo>
                  <a:lnTo>
                    <a:pt x="135" y="155"/>
                  </a:lnTo>
                  <a:lnTo>
                    <a:pt x="135" y="153"/>
                  </a:lnTo>
                  <a:lnTo>
                    <a:pt x="135" y="151"/>
                  </a:lnTo>
                  <a:lnTo>
                    <a:pt x="135" y="149"/>
                  </a:lnTo>
                  <a:lnTo>
                    <a:pt x="135" y="146"/>
                  </a:lnTo>
                  <a:lnTo>
                    <a:pt x="135" y="144"/>
                  </a:lnTo>
                  <a:lnTo>
                    <a:pt x="135" y="142"/>
                  </a:lnTo>
                  <a:lnTo>
                    <a:pt x="135" y="140"/>
                  </a:lnTo>
                  <a:lnTo>
                    <a:pt x="135" y="137"/>
                  </a:lnTo>
                  <a:lnTo>
                    <a:pt x="135" y="137"/>
                  </a:lnTo>
                  <a:lnTo>
                    <a:pt x="135" y="135"/>
                  </a:lnTo>
                  <a:lnTo>
                    <a:pt x="132" y="135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2" y="131"/>
                  </a:lnTo>
                  <a:lnTo>
                    <a:pt x="132" y="128"/>
                  </a:lnTo>
                  <a:lnTo>
                    <a:pt x="132" y="124"/>
                  </a:lnTo>
                  <a:lnTo>
                    <a:pt x="132" y="122"/>
                  </a:lnTo>
                  <a:lnTo>
                    <a:pt x="132" y="119"/>
                  </a:lnTo>
                  <a:lnTo>
                    <a:pt x="132" y="115"/>
                  </a:lnTo>
                  <a:lnTo>
                    <a:pt x="132" y="113"/>
                  </a:lnTo>
                  <a:lnTo>
                    <a:pt x="130" y="110"/>
                  </a:lnTo>
                  <a:lnTo>
                    <a:pt x="130" y="106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99"/>
                  </a:lnTo>
                  <a:lnTo>
                    <a:pt x="130" y="97"/>
                  </a:lnTo>
                  <a:lnTo>
                    <a:pt x="130" y="95"/>
                  </a:lnTo>
                  <a:lnTo>
                    <a:pt x="130" y="92"/>
                  </a:lnTo>
                  <a:lnTo>
                    <a:pt x="130" y="90"/>
                  </a:lnTo>
                  <a:lnTo>
                    <a:pt x="130" y="88"/>
                  </a:lnTo>
                  <a:lnTo>
                    <a:pt x="128" y="83"/>
                  </a:lnTo>
                  <a:lnTo>
                    <a:pt x="128" y="81"/>
                  </a:lnTo>
                  <a:lnTo>
                    <a:pt x="128" y="79"/>
                  </a:lnTo>
                  <a:lnTo>
                    <a:pt x="128" y="74"/>
                  </a:lnTo>
                  <a:lnTo>
                    <a:pt x="128" y="72"/>
                  </a:lnTo>
                  <a:lnTo>
                    <a:pt x="128" y="70"/>
                  </a:lnTo>
                  <a:lnTo>
                    <a:pt x="128" y="68"/>
                  </a:lnTo>
                  <a:lnTo>
                    <a:pt x="128" y="63"/>
                  </a:lnTo>
                  <a:lnTo>
                    <a:pt x="126" y="61"/>
                  </a:lnTo>
                  <a:lnTo>
                    <a:pt x="126" y="59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6" y="50"/>
                  </a:lnTo>
                  <a:lnTo>
                    <a:pt x="126" y="47"/>
                  </a:lnTo>
                  <a:lnTo>
                    <a:pt x="126" y="43"/>
                  </a:lnTo>
                  <a:lnTo>
                    <a:pt x="126" y="41"/>
                  </a:lnTo>
                  <a:lnTo>
                    <a:pt x="126" y="38"/>
                  </a:lnTo>
                  <a:lnTo>
                    <a:pt x="123" y="36"/>
                  </a:lnTo>
                  <a:lnTo>
                    <a:pt x="123" y="32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3" y="23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6"/>
                  </a:lnTo>
                  <a:lnTo>
                    <a:pt x="123" y="14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6" y="0"/>
                  </a:lnTo>
                  <a:lnTo>
                    <a:pt x="130" y="0"/>
                  </a:lnTo>
                  <a:lnTo>
                    <a:pt x="135" y="0"/>
                  </a:lnTo>
                  <a:lnTo>
                    <a:pt x="139" y="0"/>
                  </a:lnTo>
                  <a:lnTo>
                    <a:pt x="144" y="0"/>
                  </a:lnTo>
                  <a:lnTo>
                    <a:pt x="148" y="0"/>
                  </a:lnTo>
                  <a:lnTo>
                    <a:pt x="153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9" y="0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4" y="5"/>
                  </a:lnTo>
                  <a:lnTo>
                    <a:pt x="166" y="7"/>
                  </a:lnTo>
                  <a:lnTo>
                    <a:pt x="168" y="7"/>
                  </a:lnTo>
                  <a:lnTo>
                    <a:pt x="168" y="9"/>
                  </a:lnTo>
                  <a:lnTo>
                    <a:pt x="170" y="9"/>
                  </a:lnTo>
                  <a:lnTo>
                    <a:pt x="173" y="11"/>
                  </a:lnTo>
                  <a:lnTo>
                    <a:pt x="175" y="11"/>
                  </a:lnTo>
                  <a:lnTo>
                    <a:pt x="175" y="14"/>
                  </a:lnTo>
                  <a:lnTo>
                    <a:pt x="177" y="14"/>
                  </a:lnTo>
                  <a:lnTo>
                    <a:pt x="179" y="16"/>
                  </a:lnTo>
                  <a:lnTo>
                    <a:pt x="179" y="18"/>
                  </a:lnTo>
                  <a:lnTo>
                    <a:pt x="182" y="18"/>
                  </a:lnTo>
                  <a:lnTo>
                    <a:pt x="184" y="20"/>
                  </a:lnTo>
                  <a:lnTo>
                    <a:pt x="186" y="20"/>
                  </a:lnTo>
                  <a:lnTo>
                    <a:pt x="186" y="23"/>
                  </a:lnTo>
                  <a:lnTo>
                    <a:pt x="188" y="23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3" y="27"/>
                  </a:lnTo>
                  <a:lnTo>
                    <a:pt x="195" y="29"/>
                  </a:lnTo>
                  <a:lnTo>
                    <a:pt x="197" y="29"/>
                  </a:lnTo>
                  <a:lnTo>
                    <a:pt x="200" y="32"/>
                  </a:lnTo>
                  <a:lnTo>
                    <a:pt x="200" y="32"/>
                  </a:lnTo>
                  <a:lnTo>
                    <a:pt x="202" y="34"/>
                  </a:lnTo>
                  <a:lnTo>
                    <a:pt x="204" y="36"/>
                  </a:lnTo>
                  <a:lnTo>
                    <a:pt x="206" y="36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11" y="41"/>
                  </a:lnTo>
                  <a:lnTo>
                    <a:pt x="213" y="43"/>
                  </a:lnTo>
                  <a:lnTo>
                    <a:pt x="215" y="43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20" y="47"/>
                  </a:lnTo>
                  <a:lnTo>
                    <a:pt x="222" y="50"/>
                  </a:lnTo>
                  <a:lnTo>
                    <a:pt x="224" y="50"/>
                  </a:lnTo>
                  <a:lnTo>
                    <a:pt x="224" y="52"/>
                  </a:lnTo>
                  <a:lnTo>
                    <a:pt x="227" y="52"/>
                  </a:lnTo>
                  <a:lnTo>
                    <a:pt x="229" y="54"/>
                  </a:lnTo>
                  <a:lnTo>
                    <a:pt x="231" y="56"/>
                  </a:lnTo>
                  <a:lnTo>
                    <a:pt x="233" y="56"/>
                  </a:lnTo>
                  <a:lnTo>
                    <a:pt x="233" y="59"/>
                  </a:lnTo>
                  <a:lnTo>
                    <a:pt x="236" y="59"/>
                  </a:lnTo>
                  <a:lnTo>
                    <a:pt x="238" y="61"/>
                  </a:lnTo>
                  <a:lnTo>
                    <a:pt x="240" y="63"/>
                  </a:lnTo>
                  <a:lnTo>
                    <a:pt x="242" y="63"/>
                  </a:lnTo>
                  <a:lnTo>
                    <a:pt x="242" y="65"/>
                  </a:lnTo>
                  <a:lnTo>
                    <a:pt x="245" y="65"/>
                  </a:lnTo>
                  <a:lnTo>
                    <a:pt x="247" y="68"/>
                  </a:lnTo>
                  <a:lnTo>
                    <a:pt x="249" y="70"/>
                  </a:lnTo>
                  <a:lnTo>
                    <a:pt x="251" y="70"/>
                  </a:lnTo>
                  <a:lnTo>
                    <a:pt x="251" y="72"/>
                  </a:lnTo>
                  <a:lnTo>
                    <a:pt x="254" y="72"/>
                  </a:lnTo>
                  <a:lnTo>
                    <a:pt x="256" y="74"/>
                  </a:lnTo>
                  <a:lnTo>
                    <a:pt x="258" y="77"/>
                  </a:lnTo>
                  <a:lnTo>
                    <a:pt x="260" y="77"/>
                  </a:lnTo>
                  <a:lnTo>
                    <a:pt x="260" y="79"/>
                  </a:lnTo>
                  <a:lnTo>
                    <a:pt x="263" y="79"/>
                  </a:lnTo>
                  <a:lnTo>
                    <a:pt x="265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69" y="86"/>
                  </a:lnTo>
                  <a:lnTo>
                    <a:pt x="272" y="86"/>
                  </a:lnTo>
                  <a:lnTo>
                    <a:pt x="274" y="88"/>
                  </a:lnTo>
                  <a:lnTo>
                    <a:pt x="276" y="90"/>
                  </a:lnTo>
                  <a:lnTo>
                    <a:pt x="276" y="90"/>
                  </a:lnTo>
                  <a:lnTo>
                    <a:pt x="281" y="92"/>
                  </a:lnTo>
                  <a:lnTo>
                    <a:pt x="281" y="92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7"/>
                  </a:lnTo>
                  <a:lnTo>
                    <a:pt x="281" y="99"/>
                  </a:lnTo>
                  <a:lnTo>
                    <a:pt x="281" y="101"/>
                  </a:lnTo>
                  <a:lnTo>
                    <a:pt x="281" y="101"/>
                  </a:lnTo>
                  <a:lnTo>
                    <a:pt x="281" y="101"/>
                  </a:lnTo>
                  <a:lnTo>
                    <a:pt x="281" y="101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2" name="Freeform 548"/>
            <p:cNvSpPr>
              <a:spLocks noEditPoints="1"/>
            </p:cNvSpPr>
            <p:nvPr/>
          </p:nvSpPr>
          <p:spPr bwMode="auto">
            <a:xfrm>
              <a:off x="9135845" y="3676596"/>
              <a:ext cx="691970" cy="259070"/>
            </a:xfrm>
            <a:custGeom>
              <a:avLst/>
              <a:gdLst>
                <a:gd name="T0" fmla="*/ 99 w 414"/>
                <a:gd name="T1" fmla="*/ 105 h 155"/>
                <a:gd name="T2" fmla="*/ 38 w 414"/>
                <a:gd name="T3" fmla="*/ 103 h 155"/>
                <a:gd name="T4" fmla="*/ 402 w 414"/>
                <a:gd name="T5" fmla="*/ 67 h 155"/>
                <a:gd name="T6" fmla="*/ 328 w 414"/>
                <a:gd name="T7" fmla="*/ 49 h 155"/>
                <a:gd name="T8" fmla="*/ 14 w 414"/>
                <a:gd name="T9" fmla="*/ 45 h 155"/>
                <a:gd name="T10" fmla="*/ 5 w 414"/>
                <a:gd name="T11" fmla="*/ 24 h 155"/>
                <a:gd name="T12" fmla="*/ 2 w 414"/>
                <a:gd name="T13" fmla="*/ 22 h 155"/>
                <a:gd name="T14" fmla="*/ 16 w 414"/>
                <a:gd name="T15" fmla="*/ 20 h 155"/>
                <a:gd name="T16" fmla="*/ 29 w 414"/>
                <a:gd name="T17" fmla="*/ 24 h 155"/>
                <a:gd name="T18" fmla="*/ 34 w 414"/>
                <a:gd name="T19" fmla="*/ 38 h 155"/>
                <a:gd name="T20" fmla="*/ 50 w 414"/>
                <a:gd name="T21" fmla="*/ 33 h 155"/>
                <a:gd name="T22" fmla="*/ 81 w 414"/>
                <a:gd name="T23" fmla="*/ 58 h 155"/>
                <a:gd name="T24" fmla="*/ 81 w 414"/>
                <a:gd name="T25" fmla="*/ 83 h 155"/>
                <a:gd name="T26" fmla="*/ 92 w 414"/>
                <a:gd name="T27" fmla="*/ 114 h 155"/>
                <a:gd name="T28" fmla="*/ 101 w 414"/>
                <a:gd name="T29" fmla="*/ 135 h 155"/>
                <a:gd name="T30" fmla="*/ 97 w 414"/>
                <a:gd name="T31" fmla="*/ 137 h 155"/>
                <a:gd name="T32" fmla="*/ 74 w 414"/>
                <a:gd name="T33" fmla="*/ 132 h 155"/>
                <a:gd name="T34" fmla="*/ 52 w 414"/>
                <a:gd name="T35" fmla="*/ 117 h 155"/>
                <a:gd name="T36" fmla="*/ 38 w 414"/>
                <a:gd name="T37" fmla="*/ 96 h 155"/>
                <a:gd name="T38" fmla="*/ 25 w 414"/>
                <a:gd name="T39" fmla="*/ 81 h 155"/>
                <a:gd name="T40" fmla="*/ 23 w 414"/>
                <a:gd name="T41" fmla="*/ 69 h 155"/>
                <a:gd name="T42" fmla="*/ 20 w 414"/>
                <a:gd name="T43" fmla="*/ 58 h 155"/>
                <a:gd name="T44" fmla="*/ 18 w 414"/>
                <a:gd name="T45" fmla="*/ 49 h 155"/>
                <a:gd name="T46" fmla="*/ 11 w 414"/>
                <a:gd name="T47" fmla="*/ 18 h 155"/>
                <a:gd name="T48" fmla="*/ 360 w 414"/>
                <a:gd name="T49" fmla="*/ 11 h 155"/>
                <a:gd name="T50" fmla="*/ 366 w 414"/>
                <a:gd name="T51" fmla="*/ 9 h 155"/>
                <a:gd name="T52" fmla="*/ 373 w 414"/>
                <a:gd name="T53" fmla="*/ 18 h 155"/>
                <a:gd name="T54" fmla="*/ 380 w 414"/>
                <a:gd name="T55" fmla="*/ 22 h 155"/>
                <a:gd name="T56" fmla="*/ 382 w 414"/>
                <a:gd name="T57" fmla="*/ 33 h 155"/>
                <a:gd name="T58" fmla="*/ 387 w 414"/>
                <a:gd name="T59" fmla="*/ 38 h 155"/>
                <a:gd name="T60" fmla="*/ 398 w 414"/>
                <a:gd name="T61" fmla="*/ 38 h 155"/>
                <a:gd name="T62" fmla="*/ 407 w 414"/>
                <a:gd name="T63" fmla="*/ 45 h 155"/>
                <a:gd name="T64" fmla="*/ 398 w 414"/>
                <a:gd name="T65" fmla="*/ 56 h 155"/>
                <a:gd name="T66" fmla="*/ 396 w 414"/>
                <a:gd name="T67" fmla="*/ 65 h 155"/>
                <a:gd name="T68" fmla="*/ 398 w 414"/>
                <a:gd name="T69" fmla="*/ 72 h 155"/>
                <a:gd name="T70" fmla="*/ 382 w 414"/>
                <a:gd name="T71" fmla="*/ 72 h 155"/>
                <a:gd name="T72" fmla="*/ 360 w 414"/>
                <a:gd name="T73" fmla="*/ 72 h 155"/>
                <a:gd name="T74" fmla="*/ 346 w 414"/>
                <a:gd name="T75" fmla="*/ 72 h 155"/>
                <a:gd name="T76" fmla="*/ 337 w 414"/>
                <a:gd name="T77" fmla="*/ 83 h 155"/>
                <a:gd name="T78" fmla="*/ 330 w 414"/>
                <a:gd name="T79" fmla="*/ 105 h 155"/>
                <a:gd name="T80" fmla="*/ 328 w 414"/>
                <a:gd name="T81" fmla="*/ 117 h 155"/>
                <a:gd name="T82" fmla="*/ 321 w 414"/>
                <a:gd name="T83" fmla="*/ 130 h 155"/>
                <a:gd name="T84" fmla="*/ 297 w 414"/>
                <a:gd name="T85" fmla="*/ 144 h 155"/>
                <a:gd name="T86" fmla="*/ 274 w 414"/>
                <a:gd name="T87" fmla="*/ 137 h 155"/>
                <a:gd name="T88" fmla="*/ 252 w 414"/>
                <a:gd name="T89" fmla="*/ 150 h 155"/>
                <a:gd name="T90" fmla="*/ 229 w 414"/>
                <a:gd name="T91" fmla="*/ 150 h 155"/>
                <a:gd name="T92" fmla="*/ 214 w 414"/>
                <a:gd name="T93" fmla="*/ 130 h 155"/>
                <a:gd name="T94" fmla="*/ 227 w 414"/>
                <a:gd name="T95" fmla="*/ 135 h 155"/>
                <a:gd name="T96" fmla="*/ 234 w 414"/>
                <a:gd name="T97" fmla="*/ 135 h 155"/>
                <a:gd name="T98" fmla="*/ 247 w 414"/>
                <a:gd name="T99" fmla="*/ 141 h 155"/>
                <a:gd name="T100" fmla="*/ 247 w 414"/>
                <a:gd name="T101" fmla="*/ 135 h 155"/>
                <a:gd name="T102" fmla="*/ 247 w 414"/>
                <a:gd name="T103" fmla="*/ 123 h 155"/>
                <a:gd name="T104" fmla="*/ 250 w 414"/>
                <a:gd name="T105" fmla="*/ 119 h 155"/>
                <a:gd name="T106" fmla="*/ 263 w 414"/>
                <a:gd name="T107" fmla="*/ 105 h 155"/>
                <a:gd name="T108" fmla="*/ 303 w 414"/>
                <a:gd name="T109" fmla="*/ 65 h 155"/>
                <a:gd name="T110" fmla="*/ 317 w 414"/>
                <a:gd name="T111" fmla="*/ 78 h 155"/>
                <a:gd name="T112" fmla="*/ 324 w 414"/>
                <a:gd name="T113" fmla="*/ 58 h 155"/>
                <a:gd name="T114" fmla="*/ 328 w 414"/>
                <a:gd name="T115" fmla="*/ 58 h 155"/>
                <a:gd name="T116" fmla="*/ 337 w 414"/>
                <a:gd name="T117" fmla="*/ 49 h 155"/>
                <a:gd name="T118" fmla="*/ 342 w 414"/>
                <a:gd name="T119" fmla="*/ 38 h 155"/>
                <a:gd name="T120" fmla="*/ 351 w 414"/>
                <a:gd name="T121" fmla="*/ 22 h 155"/>
                <a:gd name="T122" fmla="*/ 360 w 414"/>
                <a:gd name="T123" fmla="*/ 9 h 155"/>
                <a:gd name="T124" fmla="*/ 364 w 414"/>
                <a:gd name="T125" fmla="*/ 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4" h="155">
                  <a:moveTo>
                    <a:pt x="252" y="117"/>
                  </a:move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0" y="119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50" y="114"/>
                  </a:lnTo>
                  <a:lnTo>
                    <a:pt x="250" y="114"/>
                  </a:lnTo>
                  <a:lnTo>
                    <a:pt x="250" y="110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50" y="108"/>
                  </a:lnTo>
                  <a:lnTo>
                    <a:pt x="250" y="110"/>
                  </a:lnTo>
                  <a:lnTo>
                    <a:pt x="252" y="110"/>
                  </a:lnTo>
                  <a:lnTo>
                    <a:pt x="252" y="114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close/>
                  <a:moveTo>
                    <a:pt x="99" y="110"/>
                  </a:moveTo>
                  <a:lnTo>
                    <a:pt x="99" y="110"/>
                  </a:lnTo>
                  <a:lnTo>
                    <a:pt x="99" y="110"/>
                  </a:lnTo>
                  <a:lnTo>
                    <a:pt x="99" y="110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8"/>
                  </a:lnTo>
                  <a:lnTo>
                    <a:pt x="101" y="108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99" y="110"/>
                  </a:lnTo>
                  <a:lnTo>
                    <a:pt x="99" y="110"/>
                  </a:lnTo>
                  <a:close/>
                  <a:moveTo>
                    <a:pt x="38" y="101"/>
                  </a:move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close/>
                  <a:moveTo>
                    <a:pt x="38" y="103"/>
                  </a:move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close/>
                  <a:moveTo>
                    <a:pt x="387" y="74"/>
                  </a:moveTo>
                  <a:lnTo>
                    <a:pt x="382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2" y="72"/>
                  </a:lnTo>
                  <a:lnTo>
                    <a:pt x="382" y="72"/>
                  </a:lnTo>
                  <a:lnTo>
                    <a:pt x="382" y="72"/>
                  </a:lnTo>
                  <a:lnTo>
                    <a:pt x="382" y="72"/>
                  </a:lnTo>
                  <a:lnTo>
                    <a:pt x="382" y="72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4" y="74"/>
                  </a:lnTo>
                  <a:lnTo>
                    <a:pt x="387" y="74"/>
                  </a:lnTo>
                  <a:lnTo>
                    <a:pt x="387" y="74"/>
                  </a:lnTo>
                  <a:close/>
                  <a:moveTo>
                    <a:pt x="402" y="67"/>
                  </a:moveTo>
                  <a:lnTo>
                    <a:pt x="402" y="67"/>
                  </a:lnTo>
                  <a:lnTo>
                    <a:pt x="405" y="67"/>
                  </a:lnTo>
                  <a:lnTo>
                    <a:pt x="405" y="67"/>
                  </a:lnTo>
                  <a:lnTo>
                    <a:pt x="405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lnTo>
                    <a:pt x="402" y="67"/>
                  </a:lnTo>
                  <a:close/>
                  <a:moveTo>
                    <a:pt x="398" y="63"/>
                  </a:moveTo>
                  <a:lnTo>
                    <a:pt x="398" y="63"/>
                  </a:lnTo>
                  <a:lnTo>
                    <a:pt x="398" y="63"/>
                  </a:lnTo>
                  <a:lnTo>
                    <a:pt x="400" y="63"/>
                  </a:lnTo>
                  <a:lnTo>
                    <a:pt x="400" y="63"/>
                  </a:lnTo>
                  <a:lnTo>
                    <a:pt x="400" y="63"/>
                  </a:lnTo>
                  <a:lnTo>
                    <a:pt x="400" y="63"/>
                  </a:lnTo>
                  <a:lnTo>
                    <a:pt x="400" y="63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8" y="63"/>
                  </a:lnTo>
                  <a:lnTo>
                    <a:pt x="398" y="63"/>
                  </a:lnTo>
                  <a:close/>
                  <a:moveTo>
                    <a:pt x="330" y="47"/>
                  </a:move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7"/>
                  </a:lnTo>
                  <a:lnTo>
                    <a:pt x="328" y="47"/>
                  </a:lnTo>
                  <a:lnTo>
                    <a:pt x="328" y="47"/>
                  </a:lnTo>
                  <a:lnTo>
                    <a:pt x="328" y="45"/>
                  </a:lnTo>
                  <a:lnTo>
                    <a:pt x="328" y="47"/>
                  </a:lnTo>
                  <a:lnTo>
                    <a:pt x="330" y="47"/>
                  </a:lnTo>
                  <a:lnTo>
                    <a:pt x="330" y="47"/>
                  </a:lnTo>
                  <a:close/>
                  <a:moveTo>
                    <a:pt x="16" y="45"/>
                  </a:move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6" y="45"/>
                  </a:lnTo>
                  <a:close/>
                  <a:moveTo>
                    <a:pt x="391" y="36"/>
                  </a:moveTo>
                  <a:lnTo>
                    <a:pt x="391" y="36"/>
                  </a:lnTo>
                  <a:lnTo>
                    <a:pt x="391" y="36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close/>
                  <a:moveTo>
                    <a:pt x="5" y="27"/>
                  </a:move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close/>
                  <a:moveTo>
                    <a:pt x="5" y="22"/>
                  </a:moveTo>
                  <a:lnTo>
                    <a:pt x="7" y="22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2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9" y="27"/>
                  </a:lnTo>
                  <a:lnTo>
                    <a:pt x="29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9" y="29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4" y="47"/>
                  </a:lnTo>
                  <a:lnTo>
                    <a:pt x="77" y="49"/>
                  </a:lnTo>
                  <a:lnTo>
                    <a:pt x="79" y="51"/>
                  </a:lnTo>
                  <a:lnTo>
                    <a:pt x="81" y="56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9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3" y="78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7"/>
                  </a:lnTo>
                  <a:lnTo>
                    <a:pt x="81" y="87"/>
                  </a:lnTo>
                  <a:lnTo>
                    <a:pt x="83" y="87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9"/>
                  </a:lnTo>
                  <a:lnTo>
                    <a:pt x="83" y="103"/>
                  </a:lnTo>
                  <a:lnTo>
                    <a:pt x="83" y="105"/>
                  </a:lnTo>
                  <a:lnTo>
                    <a:pt x="86" y="105"/>
                  </a:lnTo>
                  <a:lnTo>
                    <a:pt x="86" y="108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2" y="114"/>
                  </a:lnTo>
                  <a:lnTo>
                    <a:pt x="95" y="117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19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5" y="121"/>
                  </a:lnTo>
                  <a:lnTo>
                    <a:pt x="97" y="123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7" y="126"/>
                  </a:lnTo>
                  <a:lnTo>
                    <a:pt x="99" y="126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101" y="130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41"/>
                  </a:lnTo>
                  <a:lnTo>
                    <a:pt x="101" y="141"/>
                  </a:lnTo>
                  <a:lnTo>
                    <a:pt x="101" y="141"/>
                  </a:lnTo>
                  <a:lnTo>
                    <a:pt x="101" y="141"/>
                  </a:lnTo>
                  <a:lnTo>
                    <a:pt x="101" y="141"/>
                  </a:lnTo>
                  <a:lnTo>
                    <a:pt x="101" y="141"/>
                  </a:lnTo>
                  <a:lnTo>
                    <a:pt x="99" y="141"/>
                  </a:lnTo>
                  <a:lnTo>
                    <a:pt x="99" y="141"/>
                  </a:lnTo>
                  <a:lnTo>
                    <a:pt x="99" y="141"/>
                  </a:lnTo>
                  <a:lnTo>
                    <a:pt x="99" y="141"/>
                  </a:lnTo>
                  <a:lnTo>
                    <a:pt x="99" y="141"/>
                  </a:lnTo>
                  <a:lnTo>
                    <a:pt x="99" y="141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9" y="139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5"/>
                  </a:lnTo>
                  <a:lnTo>
                    <a:pt x="95" y="135"/>
                  </a:lnTo>
                  <a:lnTo>
                    <a:pt x="95" y="135"/>
                  </a:lnTo>
                  <a:lnTo>
                    <a:pt x="95" y="135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7" y="139"/>
                  </a:lnTo>
                  <a:lnTo>
                    <a:pt x="95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8" y="141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4"/>
                  </a:lnTo>
                  <a:lnTo>
                    <a:pt x="86" y="141"/>
                  </a:lnTo>
                  <a:lnTo>
                    <a:pt x="86" y="141"/>
                  </a:lnTo>
                  <a:lnTo>
                    <a:pt x="83" y="139"/>
                  </a:lnTo>
                  <a:lnTo>
                    <a:pt x="83" y="139"/>
                  </a:lnTo>
                  <a:lnTo>
                    <a:pt x="83" y="137"/>
                  </a:lnTo>
                  <a:lnTo>
                    <a:pt x="81" y="137"/>
                  </a:lnTo>
                  <a:lnTo>
                    <a:pt x="79" y="135"/>
                  </a:lnTo>
                  <a:lnTo>
                    <a:pt x="77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68" y="130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3"/>
                  </a:lnTo>
                  <a:lnTo>
                    <a:pt x="61" y="123"/>
                  </a:lnTo>
                  <a:lnTo>
                    <a:pt x="59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5" y="112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03"/>
                  </a:lnTo>
                  <a:lnTo>
                    <a:pt x="41" y="103"/>
                  </a:lnTo>
                  <a:lnTo>
                    <a:pt x="41" y="103"/>
                  </a:lnTo>
                  <a:lnTo>
                    <a:pt x="41" y="103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38" y="101"/>
                  </a:lnTo>
                  <a:lnTo>
                    <a:pt x="38" y="99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6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373" y="15"/>
                  </a:moveTo>
                  <a:lnTo>
                    <a:pt x="373" y="15"/>
                  </a:lnTo>
                  <a:lnTo>
                    <a:pt x="373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3" y="15"/>
                  </a:lnTo>
                  <a:lnTo>
                    <a:pt x="373" y="15"/>
                  </a:lnTo>
                  <a:lnTo>
                    <a:pt x="373" y="15"/>
                  </a:lnTo>
                  <a:lnTo>
                    <a:pt x="373" y="13"/>
                  </a:lnTo>
                  <a:lnTo>
                    <a:pt x="373" y="13"/>
                  </a:lnTo>
                  <a:lnTo>
                    <a:pt x="373" y="13"/>
                  </a:lnTo>
                  <a:lnTo>
                    <a:pt x="373" y="13"/>
                  </a:lnTo>
                  <a:lnTo>
                    <a:pt x="373" y="13"/>
                  </a:lnTo>
                  <a:lnTo>
                    <a:pt x="373" y="13"/>
                  </a:lnTo>
                  <a:lnTo>
                    <a:pt x="373" y="13"/>
                  </a:lnTo>
                  <a:lnTo>
                    <a:pt x="375" y="13"/>
                  </a:lnTo>
                  <a:lnTo>
                    <a:pt x="375" y="15"/>
                  </a:lnTo>
                  <a:lnTo>
                    <a:pt x="375" y="15"/>
                  </a:lnTo>
                  <a:lnTo>
                    <a:pt x="373" y="15"/>
                  </a:lnTo>
                  <a:lnTo>
                    <a:pt x="373" y="15"/>
                  </a:lnTo>
                  <a:close/>
                  <a:moveTo>
                    <a:pt x="360" y="9"/>
                  </a:moveTo>
                  <a:lnTo>
                    <a:pt x="360" y="11"/>
                  </a:lnTo>
                  <a:lnTo>
                    <a:pt x="360" y="9"/>
                  </a:lnTo>
                  <a:lnTo>
                    <a:pt x="360" y="9"/>
                  </a:lnTo>
                  <a:lnTo>
                    <a:pt x="360" y="9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2" y="11"/>
                  </a:lnTo>
                  <a:lnTo>
                    <a:pt x="362" y="11"/>
                  </a:lnTo>
                  <a:lnTo>
                    <a:pt x="362" y="13"/>
                  </a:lnTo>
                  <a:lnTo>
                    <a:pt x="360" y="13"/>
                  </a:lnTo>
                  <a:lnTo>
                    <a:pt x="360" y="15"/>
                  </a:lnTo>
                  <a:lnTo>
                    <a:pt x="360" y="15"/>
                  </a:lnTo>
                  <a:lnTo>
                    <a:pt x="360" y="15"/>
                  </a:lnTo>
                  <a:lnTo>
                    <a:pt x="360" y="18"/>
                  </a:lnTo>
                  <a:lnTo>
                    <a:pt x="360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5"/>
                  </a:lnTo>
                  <a:lnTo>
                    <a:pt x="362" y="15"/>
                  </a:lnTo>
                  <a:lnTo>
                    <a:pt x="362" y="15"/>
                  </a:lnTo>
                  <a:lnTo>
                    <a:pt x="362" y="15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3"/>
                  </a:lnTo>
                  <a:lnTo>
                    <a:pt x="364" y="11"/>
                  </a:lnTo>
                  <a:lnTo>
                    <a:pt x="364" y="11"/>
                  </a:lnTo>
                  <a:lnTo>
                    <a:pt x="364" y="11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6" y="9"/>
                  </a:lnTo>
                  <a:lnTo>
                    <a:pt x="366" y="9"/>
                  </a:lnTo>
                  <a:lnTo>
                    <a:pt x="366" y="9"/>
                  </a:lnTo>
                  <a:lnTo>
                    <a:pt x="366" y="9"/>
                  </a:lnTo>
                  <a:lnTo>
                    <a:pt x="366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6" y="6"/>
                  </a:lnTo>
                  <a:lnTo>
                    <a:pt x="366" y="6"/>
                  </a:lnTo>
                  <a:lnTo>
                    <a:pt x="366" y="6"/>
                  </a:lnTo>
                  <a:lnTo>
                    <a:pt x="366" y="9"/>
                  </a:lnTo>
                  <a:lnTo>
                    <a:pt x="366" y="9"/>
                  </a:lnTo>
                  <a:lnTo>
                    <a:pt x="366" y="9"/>
                  </a:lnTo>
                  <a:lnTo>
                    <a:pt x="366" y="6"/>
                  </a:lnTo>
                  <a:lnTo>
                    <a:pt x="366" y="6"/>
                  </a:lnTo>
                  <a:lnTo>
                    <a:pt x="366" y="6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9"/>
                  </a:lnTo>
                  <a:lnTo>
                    <a:pt x="369" y="11"/>
                  </a:lnTo>
                  <a:lnTo>
                    <a:pt x="369" y="11"/>
                  </a:lnTo>
                  <a:lnTo>
                    <a:pt x="369" y="11"/>
                  </a:lnTo>
                  <a:lnTo>
                    <a:pt x="369" y="11"/>
                  </a:lnTo>
                  <a:lnTo>
                    <a:pt x="369" y="11"/>
                  </a:lnTo>
                  <a:lnTo>
                    <a:pt x="369" y="13"/>
                  </a:lnTo>
                  <a:lnTo>
                    <a:pt x="371" y="13"/>
                  </a:lnTo>
                  <a:lnTo>
                    <a:pt x="371" y="13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1" y="15"/>
                  </a:lnTo>
                  <a:lnTo>
                    <a:pt x="373" y="18"/>
                  </a:lnTo>
                  <a:lnTo>
                    <a:pt x="373" y="18"/>
                  </a:lnTo>
                  <a:lnTo>
                    <a:pt x="373" y="18"/>
                  </a:lnTo>
                  <a:lnTo>
                    <a:pt x="373" y="18"/>
                  </a:lnTo>
                  <a:lnTo>
                    <a:pt x="373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5"/>
                  </a:lnTo>
                  <a:lnTo>
                    <a:pt x="375" y="15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5" y="18"/>
                  </a:lnTo>
                  <a:lnTo>
                    <a:pt x="378" y="18"/>
                  </a:lnTo>
                  <a:lnTo>
                    <a:pt x="378" y="20"/>
                  </a:lnTo>
                  <a:lnTo>
                    <a:pt x="378" y="20"/>
                  </a:lnTo>
                  <a:lnTo>
                    <a:pt x="378" y="20"/>
                  </a:lnTo>
                  <a:lnTo>
                    <a:pt x="378" y="20"/>
                  </a:lnTo>
                  <a:lnTo>
                    <a:pt x="378" y="18"/>
                  </a:lnTo>
                  <a:lnTo>
                    <a:pt x="378" y="20"/>
                  </a:lnTo>
                  <a:lnTo>
                    <a:pt x="378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0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2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80" y="24"/>
                  </a:lnTo>
                  <a:lnTo>
                    <a:pt x="378" y="24"/>
                  </a:lnTo>
                  <a:lnTo>
                    <a:pt x="378" y="24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78" y="27"/>
                  </a:lnTo>
                  <a:lnTo>
                    <a:pt x="378" y="29"/>
                  </a:lnTo>
                  <a:lnTo>
                    <a:pt x="380" y="29"/>
                  </a:lnTo>
                  <a:lnTo>
                    <a:pt x="380" y="29"/>
                  </a:lnTo>
                  <a:lnTo>
                    <a:pt x="380" y="29"/>
                  </a:lnTo>
                  <a:lnTo>
                    <a:pt x="380" y="29"/>
                  </a:lnTo>
                  <a:lnTo>
                    <a:pt x="380" y="29"/>
                  </a:lnTo>
                  <a:lnTo>
                    <a:pt x="380" y="29"/>
                  </a:lnTo>
                  <a:lnTo>
                    <a:pt x="378" y="29"/>
                  </a:lnTo>
                  <a:lnTo>
                    <a:pt x="378" y="29"/>
                  </a:lnTo>
                  <a:lnTo>
                    <a:pt x="378" y="29"/>
                  </a:lnTo>
                  <a:lnTo>
                    <a:pt x="378" y="31"/>
                  </a:lnTo>
                  <a:lnTo>
                    <a:pt x="378" y="31"/>
                  </a:lnTo>
                  <a:lnTo>
                    <a:pt x="380" y="31"/>
                  </a:lnTo>
                  <a:lnTo>
                    <a:pt x="380" y="31"/>
                  </a:lnTo>
                  <a:lnTo>
                    <a:pt x="380" y="31"/>
                  </a:lnTo>
                  <a:lnTo>
                    <a:pt x="380" y="31"/>
                  </a:lnTo>
                  <a:lnTo>
                    <a:pt x="380" y="31"/>
                  </a:lnTo>
                  <a:lnTo>
                    <a:pt x="378" y="33"/>
                  </a:lnTo>
                  <a:lnTo>
                    <a:pt x="375" y="33"/>
                  </a:lnTo>
                  <a:lnTo>
                    <a:pt x="375" y="33"/>
                  </a:lnTo>
                  <a:lnTo>
                    <a:pt x="375" y="33"/>
                  </a:lnTo>
                  <a:lnTo>
                    <a:pt x="378" y="33"/>
                  </a:lnTo>
                  <a:lnTo>
                    <a:pt x="378" y="33"/>
                  </a:lnTo>
                  <a:lnTo>
                    <a:pt x="378" y="33"/>
                  </a:lnTo>
                  <a:lnTo>
                    <a:pt x="380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2" y="33"/>
                  </a:lnTo>
                  <a:lnTo>
                    <a:pt x="384" y="31"/>
                  </a:lnTo>
                  <a:lnTo>
                    <a:pt x="384" y="31"/>
                  </a:lnTo>
                  <a:lnTo>
                    <a:pt x="384" y="31"/>
                  </a:lnTo>
                  <a:lnTo>
                    <a:pt x="384" y="31"/>
                  </a:lnTo>
                  <a:lnTo>
                    <a:pt x="384" y="31"/>
                  </a:lnTo>
                  <a:lnTo>
                    <a:pt x="384" y="31"/>
                  </a:lnTo>
                  <a:lnTo>
                    <a:pt x="387" y="29"/>
                  </a:lnTo>
                  <a:lnTo>
                    <a:pt x="387" y="29"/>
                  </a:lnTo>
                  <a:lnTo>
                    <a:pt x="387" y="29"/>
                  </a:lnTo>
                  <a:lnTo>
                    <a:pt x="387" y="29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9" y="33"/>
                  </a:lnTo>
                  <a:lnTo>
                    <a:pt x="389" y="33"/>
                  </a:lnTo>
                  <a:lnTo>
                    <a:pt x="389" y="33"/>
                  </a:lnTo>
                  <a:lnTo>
                    <a:pt x="389" y="33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8"/>
                  </a:lnTo>
                  <a:lnTo>
                    <a:pt x="389" y="36"/>
                  </a:lnTo>
                  <a:lnTo>
                    <a:pt x="389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1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3" y="36"/>
                  </a:lnTo>
                  <a:lnTo>
                    <a:pt x="396" y="36"/>
                  </a:lnTo>
                  <a:lnTo>
                    <a:pt x="396" y="36"/>
                  </a:lnTo>
                  <a:lnTo>
                    <a:pt x="398" y="38"/>
                  </a:lnTo>
                  <a:lnTo>
                    <a:pt x="398" y="38"/>
                  </a:lnTo>
                  <a:lnTo>
                    <a:pt x="398" y="38"/>
                  </a:lnTo>
                  <a:lnTo>
                    <a:pt x="398" y="38"/>
                  </a:lnTo>
                  <a:lnTo>
                    <a:pt x="398" y="38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398" y="40"/>
                  </a:lnTo>
                  <a:lnTo>
                    <a:pt x="398" y="40"/>
                  </a:lnTo>
                  <a:lnTo>
                    <a:pt x="398" y="40"/>
                  </a:lnTo>
                  <a:lnTo>
                    <a:pt x="398" y="40"/>
                  </a:lnTo>
                  <a:lnTo>
                    <a:pt x="398" y="42"/>
                  </a:lnTo>
                  <a:lnTo>
                    <a:pt x="398" y="42"/>
                  </a:lnTo>
                  <a:lnTo>
                    <a:pt x="398" y="42"/>
                  </a:lnTo>
                  <a:lnTo>
                    <a:pt x="398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0" y="42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2" y="42"/>
                  </a:lnTo>
                  <a:lnTo>
                    <a:pt x="402" y="42"/>
                  </a:lnTo>
                  <a:lnTo>
                    <a:pt x="402" y="42"/>
                  </a:lnTo>
                  <a:lnTo>
                    <a:pt x="402" y="42"/>
                  </a:lnTo>
                  <a:lnTo>
                    <a:pt x="405" y="42"/>
                  </a:lnTo>
                  <a:lnTo>
                    <a:pt x="405" y="42"/>
                  </a:lnTo>
                  <a:lnTo>
                    <a:pt x="405" y="45"/>
                  </a:lnTo>
                  <a:lnTo>
                    <a:pt x="405" y="42"/>
                  </a:lnTo>
                  <a:lnTo>
                    <a:pt x="405" y="42"/>
                  </a:lnTo>
                  <a:lnTo>
                    <a:pt x="405" y="42"/>
                  </a:lnTo>
                  <a:lnTo>
                    <a:pt x="405" y="42"/>
                  </a:lnTo>
                  <a:lnTo>
                    <a:pt x="405" y="45"/>
                  </a:lnTo>
                  <a:lnTo>
                    <a:pt x="405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7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09" y="45"/>
                  </a:lnTo>
                  <a:lnTo>
                    <a:pt x="411" y="45"/>
                  </a:lnTo>
                  <a:lnTo>
                    <a:pt x="411" y="45"/>
                  </a:lnTo>
                  <a:lnTo>
                    <a:pt x="411" y="45"/>
                  </a:lnTo>
                  <a:lnTo>
                    <a:pt x="411" y="45"/>
                  </a:lnTo>
                  <a:lnTo>
                    <a:pt x="414" y="45"/>
                  </a:lnTo>
                  <a:lnTo>
                    <a:pt x="414" y="47"/>
                  </a:lnTo>
                  <a:lnTo>
                    <a:pt x="414" y="47"/>
                  </a:lnTo>
                  <a:lnTo>
                    <a:pt x="414" y="47"/>
                  </a:lnTo>
                  <a:lnTo>
                    <a:pt x="414" y="47"/>
                  </a:lnTo>
                  <a:lnTo>
                    <a:pt x="414" y="49"/>
                  </a:lnTo>
                  <a:lnTo>
                    <a:pt x="414" y="49"/>
                  </a:lnTo>
                  <a:lnTo>
                    <a:pt x="414" y="49"/>
                  </a:lnTo>
                  <a:lnTo>
                    <a:pt x="414" y="49"/>
                  </a:lnTo>
                  <a:lnTo>
                    <a:pt x="414" y="51"/>
                  </a:lnTo>
                  <a:lnTo>
                    <a:pt x="411" y="51"/>
                  </a:lnTo>
                  <a:lnTo>
                    <a:pt x="411" y="51"/>
                  </a:lnTo>
                  <a:lnTo>
                    <a:pt x="407" y="54"/>
                  </a:lnTo>
                  <a:lnTo>
                    <a:pt x="405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2" y="56"/>
                  </a:lnTo>
                  <a:lnTo>
                    <a:pt x="400" y="56"/>
                  </a:lnTo>
                  <a:lnTo>
                    <a:pt x="400" y="56"/>
                  </a:lnTo>
                  <a:lnTo>
                    <a:pt x="400" y="56"/>
                  </a:lnTo>
                  <a:lnTo>
                    <a:pt x="400" y="56"/>
                  </a:lnTo>
                  <a:lnTo>
                    <a:pt x="400" y="56"/>
                  </a:lnTo>
                  <a:lnTo>
                    <a:pt x="398" y="56"/>
                  </a:lnTo>
                  <a:lnTo>
                    <a:pt x="398" y="56"/>
                  </a:lnTo>
                  <a:lnTo>
                    <a:pt x="398" y="56"/>
                  </a:lnTo>
                  <a:lnTo>
                    <a:pt x="398" y="56"/>
                  </a:lnTo>
                  <a:lnTo>
                    <a:pt x="398" y="56"/>
                  </a:lnTo>
                  <a:lnTo>
                    <a:pt x="398" y="56"/>
                  </a:lnTo>
                  <a:lnTo>
                    <a:pt x="396" y="54"/>
                  </a:lnTo>
                  <a:lnTo>
                    <a:pt x="396" y="54"/>
                  </a:lnTo>
                  <a:lnTo>
                    <a:pt x="396" y="54"/>
                  </a:lnTo>
                  <a:lnTo>
                    <a:pt x="396" y="54"/>
                  </a:lnTo>
                  <a:lnTo>
                    <a:pt x="396" y="54"/>
                  </a:lnTo>
                  <a:lnTo>
                    <a:pt x="393" y="54"/>
                  </a:lnTo>
                  <a:lnTo>
                    <a:pt x="393" y="56"/>
                  </a:lnTo>
                  <a:lnTo>
                    <a:pt x="393" y="56"/>
                  </a:lnTo>
                  <a:lnTo>
                    <a:pt x="393" y="56"/>
                  </a:lnTo>
                  <a:lnTo>
                    <a:pt x="393" y="56"/>
                  </a:lnTo>
                  <a:lnTo>
                    <a:pt x="393" y="56"/>
                  </a:lnTo>
                  <a:lnTo>
                    <a:pt x="393" y="56"/>
                  </a:lnTo>
                  <a:lnTo>
                    <a:pt x="391" y="56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58"/>
                  </a:lnTo>
                  <a:lnTo>
                    <a:pt x="391" y="60"/>
                  </a:lnTo>
                  <a:lnTo>
                    <a:pt x="391" y="60"/>
                  </a:lnTo>
                  <a:lnTo>
                    <a:pt x="393" y="60"/>
                  </a:lnTo>
                  <a:lnTo>
                    <a:pt x="393" y="63"/>
                  </a:lnTo>
                  <a:lnTo>
                    <a:pt x="393" y="63"/>
                  </a:lnTo>
                  <a:lnTo>
                    <a:pt x="393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3"/>
                  </a:lnTo>
                  <a:lnTo>
                    <a:pt x="396" y="65"/>
                  </a:lnTo>
                  <a:lnTo>
                    <a:pt x="396" y="65"/>
                  </a:lnTo>
                  <a:lnTo>
                    <a:pt x="396" y="65"/>
                  </a:lnTo>
                  <a:lnTo>
                    <a:pt x="396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5"/>
                  </a:lnTo>
                  <a:lnTo>
                    <a:pt x="398" y="67"/>
                  </a:lnTo>
                  <a:lnTo>
                    <a:pt x="398" y="67"/>
                  </a:lnTo>
                  <a:lnTo>
                    <a:pt x="398" y="67"/>
                  </a:lnTo>
                  <a:lnTo>
                    <a:pt x="398" y="67"/>
                  </a:lnTo>
                  <a:lnTo>
                    <a:pt x="398" y="67"/>
                  </a:lnTo>
                  <a:lnTo>
                    <a:pt x="400" y="67"/>
                  </a:lnTo>
                  <a:lnTo>
                    <a:pt x="400" y="67"/>
                  </a:lnTo>
                  <a:lnTo>
                    <a:pt x="400" y="67"/>
                  </a:lnTo>
                  <a:lnTo>
                    <a:pt x="400" y="67"/>
                  </a:lnTo>
                  <a:lnTo>
                    <a:pt x="400" y="67"/>
                  </a:lnTo>
                  <a:lnTo>
                    <a:pt x="400" y="67"/>
                  </a:lnTo>
                  <a:lnTo>
                    <a:pt x="400" y="67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2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400" y="69"/>
                  </a:lnTo>
                  <a:lnTo>
                    <a:pt x="398" y="69"/>
                  </a:lnTo>
                  <a:lnTo>
                    <a:pt x="398" y="69"/>
                  </a:lnTo>
                  <a:lnTo>
                    <a:pt x="398" y="72"/>
                  </a:lnTo>
                  <a:lnTo>
                    <a:pt x="398" y="72"/>
                  </a:lnTo>
                  <a:lnTo>
                    <a:pt x="396" y="72"/>
                  </a:lnTo>
                  <a:lnTo>
                    <a:pt x="396" y="72"/>
                  </a:lnTo>
                  <a:lnTo>
                    <a:pt x="396" y="69"/>
                  </a:lnTo>
                  <a:lnTo>
                    <a:pt x="396" y="72"/>
                  </a:lnTo>
                  <a:lnTo>
                    <a:pt x="396" y="72"/>
                  </a:lnTo>
                  <a:lnTo>
                    <a:pt x="393" y="72"/>
                  </a:lnTo>
                  <a:lnTo>
                    <a:pt x="391" y="72"/>
                  </a:lnTo>
                  <a:lnTo>
                    <a:pt x="391" y="72"/>
                  </a:lnTo>
                  <a:lnTo>
                    <a:pt x="389" y="74"/>
                  </a:lnTo>
                  <a:lnTo>
                    <a:pt x="389" y="74"/>
                  </a:lnTo>
                  <a:lnTo>
                    <a:pt x="387" y="74"/>
                  </a:lnTo>
                  <a:lnTo>
                    <a:pt x="387" y="74"/>
                  </a:lnTo>
                  <a:lnTo>
                    <a:pt x="387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4" y="72"/>
                  </a:lnTo>
                  <a:lnTo>
                    <a:pt x="382" y="72"/>
                  </a:lnTo>
                  <a:lnTo>
                    <a:pt x="382" y="69"/>
                  </a:lnTo>
                  <a:lnTo>
                    <a:pt x="382" y="69"/>
                  </a:lnTo>
                  <a:lnTo>
                    <a:pt x="382" y="69"/>
                  </a:lnTo>
                  <a:lnTo>
                    <a:pt x="382" y="69"/>
                  </a:lnTo>
                  <a:lnTo>
                    <a:pt x="382" y="69"/>
                  </a:lnTo>
                  <a:lnTo>
                    <a:pt x="382" y="69"/>
                  </a:lnTo>
                  <a:lnTo>
                    <a:pt x="380" y="69"/>
                  </a:lnTo>
                  <a:lnTo>
                    <a:pt x="380" y="69"/>
                  </a:lnTo>
                  <a:lnTo>
                    <a:pt x="380" y="69"/>
                  </a:lnTo>
                  <a:lnTo>
                    <a:pt x="380" y="69"/>
                  </a:lnTo>
                  <a:lnTo>
                    <a:pt x="380" y="69"/>
                  </a:lnTo>
                  <a:lnTo>
                    <a:pt x="380" y="69"/>
                  </a:lnTo>
                  <a:lnTo>
                    <a:pt x="380" y="69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2" y="72"/>
                  </a:lnTo>
                  <a:lnTo>
                    <a:pt x="380" y="72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80" y="76"/>
                  </a:lnTo>
                  <a:lnTo>
                    <a:pt x="380" y="74"/>
                  </a:lnTo>
                  <a:lnTo>
                    <a:pt x="380" y="74"/>
                  </a:lnTo>
                  <a:lnTo>
                    <a:pt x="378" y="74"/>
                  </a:lnTo>
                  <a:lnTo>
                    <a:pt x="378" y="74"/>
                  </a:lnTo>
                  <a:lnTo>
                    <a:pt x="378" y="74"/>
                  </a:lnTo>
                  <a:lnTo>
                    <a:pt x="378" y="74"/>
                  </a:lnTo>
                  <a:lnTo>
                    <a:pt x="375" y="74"/>
                  </a:lnTo>
                  <a:lnTo>
                    <a:pt x="375" y="72"/>
                  </a:lnTo>
                  <a:lnTo>
                    <a:pt x="373" y="72"/>
                  </a:lnTo>
                  <a:lnTo>
                    <a:pt x="373" y="72"/>
                  </a:lnTo>
                  <a:lnTo>
                    <a:pt x="373" y="72"/>
                  </a:lnTo>
                  <a:lnTo>
                    <a:pt x="371" y="72"/>
                  </a:lnTo>
                  <a:lnTo>
                    <a:pt x="371" y="69"/>
                  </a:lnTo>
                  <a:lnTo>
                    <a:pt x="371" y="69"/>
                  </a:lnTo>
                  <a:lnTo>
                    <a:pt x="371" y="69"/>
                  </a:lnTo>
                  <a:lnTo>
                    <a:pt x="371" y="72"/>
                  </a:lnTo>
                  <a:lnTo>
                    <a:pt x="371" y="72"/>
                  </a:lnTo>
                  <a:lnTo>
                    <a:pt x="366" y="72"/>
                  </a:lnTo>
                  <a:lnTo>
                    <a:pt x="366" y="72"/>
                  </a:lnTo>
                  <a:lnTo>
                    <a:pt x="364" y="72"/>
                  </a:lnTo>
                  <a:lnTo>
                    <a:pt x="364" y="72"/>
                  </a:lnTo>
                  <a:lnTo>
                    <a:pt x="362" y="72"/>
                  </a:lnTo>
                  <a:lnTo>
                    <a:pt x="362" y="69"/>
                  </a:lnTo>
                  <a:lnTo>
                    <a:pt x="362" y="69"/>
                  </a:lnTo>
                  <a:lnTo>
                    <a:pt x="360" y="72"/>
                  </a:lnTo>
                  <a:lnTo>
                    <a:pt x="360" y="72"/>
                  </a:lnTo>
                  <a:lnTo>
                    <a:pt x="360" y="72"/>
                  </a:lnTo>
                  <a:lnTo>
                    <a:pt x="360" y="72"/>
                  </a:lnTo>
                  <a:lnTo>
                    <a:pt x="360" y="72"/>
                  </a:lnTo>
                  <a:lnTo>
                    <a:pt x="357" y="72"/>
                  </a:lnTo>
                  <a:lnTo>
                    <a:pt x="357" y="69"/>
                  </a:lnTo>
                  <a:lnTo>
                    <a:pt x="357" y="69"/>
                  </a:lnTo>
                  <a:lnTo>
                    <a:pt x="357" y="69"/>
                  </a:lnTo>
                  <a:lnTo>
                    <a:pt x="357" y="69"/>
                  </a:lnTo>
                  <a:lnTo>
                    <a:pt x="357" y="72"/>
                  </a:lnTo>
                  <a:lnTo>
                    <a:pt x="357" y="72"/>
                  </a:lnTo>
                  <a:lnTo>
                    <a:pt x="357" y="72"/>
                  </a:lnTo>
                  <a:lnTo>
                    <a:pt x="357" y="72"/>
                  </a:lnTo>
                  <a:lnTo>
                    <a:pt x="357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5" y="72"/>
                  </a:lnTo>
                  <a:lnTo>
                    <a:pt x="353" y="72"/>
                  </a:lnTo>
                  <a:lnTo>
                    <a:pt x="353" y="69"/>
                  </a:lnTo>
                  <a:lnTo>
                    <a:pt x="353" y="69"/>
                  </a:lnTo>
                  <a:lnTo>
                    <a:pt x="353" y="69"/>
                  </a:lnTo>
                  <a:lnTo>
                    <a:pt x="353" y="69"/>
                  </a:lnTo>
                  <a:lnTo>
                    <a:pt x="353" y="69"/>
                  </a:lnTo>
                  <a:lnTo>
                    <a:pt x="353" y="69"/>
                  </a:lnTo>
                  <a:lnTo>
                    <a:pt x="353" y="69"/>
                  </a:lnTo>
                  <a:lnTo>
                    <a:pt x="351" y="69"/>
                  </a:lnTo>
                  <a:lnTo>
                    <a:pt x="351" y="69"/>
                  </a:lnTo>
                  <a:lnTo>
                    <a:pt x="351" y="69"/>
                  </a:lnTo>
                  <a:lnTo>
                    <a:pt x="351" y="69"/>
                  </a:lnTo>
                  <a:lnTo>
                    <a:pt x="348" y="69"/>
                  </a:lnTo>
                  <a:lnTo>
                    <a:pt x="348" y="69"/>
                  </a:lnTo>
                  <a:lnTo>
                    <a:pt x="348" y="69"/>
                  </a:lnTo>
                  <a:lnTo>
                    <a:pt x="348" y="69"/>
                  </a:lnTo>
                  <a:lnTo>
                    <a:pt x="348" y="72"/>
                  </a:lnTo>
                  <a:lnTo>
                    <a:pt x="348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6" y="72"/>
                  </a:lnTo>
                  <a:lnTo>
                    <a:pt x="344" y="72"/>
                  </a:lnTo>
                  <a:lnTo>
                    <a:pt x="344" y="72"/>
                  </a:lnTo>
                  <a:lnTo>
                    <a:pt x="344" y="69"/>
                  </a:lnTo>
                  <a:lnTo>
                    <a:pt x="344" y="69"/>
                  </a:lnTo>
                  <a:lnTo>
                    <a:pt x="344" y="69"/>
                  </a:lnTo>
                  <a:lnTo>
                    <a:pt x="344" y="69"/>
                  </a:lnTo>
                  <a:lnTo>
                    <a:pt x="344" y="69"/>
                  </a:lnTo>
                  <a:lnTo>
                    <a:pt x="342" y="69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2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42" y="74"/>
                  </a:lnTo>
                  <a:lnTo>
                    <a:pt x="339" y="74"/>
                  </a:lnTo>
                  <a:lnTo>
                    <a:pt x="339" y="74"/>
                  </a:lnTo>
                  <a:lnTo>
                    <a:pt x="339" y="74"/>
                  </a:lnTo>
                  <a:lnTo>
                    <a:pt x="339" y="74"/>
                  </a:lnTo>
                  <a:lnTo>
                    <a:pt x="339" y="74"/>
                  </a:lnTo>
                  <a:lnTo>
                    <a:pt x="339" y="76"/>
                  </a:lnTo>
                  <a:lnTo>
                    <a:pt x="339" y="78"/>
                  </a:lnTo>
                  <a:lnTo>
                    <a:pt x="339" y="78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7" y="85"/>
                  </a:lnTo>
                  <a:lnTo>
                    <a:pt x="337" y="87"/>
                  </a:lnTo>
                  <a:lnTo>
                    <a:pt x="337" y="87"/>
                  </a:lnTo>
                  <a:lnTo>
                    <a:pt x="337" y="87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2"/>
                  </a:lnTo>
                  <a:lnTo>
                    <a:pt x="339" y="92"/>
                  </a:lnTo>
                  <a:lnTo>
                    <a:pt x="339" y="92"/>
                  </a:lnTo>
                  <a:lnTo>
                    <a:pt x="339" y="92"/>
                  </a:lnTo>
                  <a:lnTo>
                    <a:pt x="339" y="92"/>
                  </a:lnTo>
                  <a:lnTo>
                    <a:pt x="339" y="92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7" y="92"/>
                  </a:lnTo>
                  <a:lnTo>
                    <a:pt x="337" y="94"/>
                  </a:lnTo>
                  <a:lnTo>
                    <a:pt x="337" y="94"/>
                  </a:lnTo>
                  <a:lnTo>
                    <a:pt x="337" y="99"/>
                  </a:lnTo>
                  <a:lnTo>
                    <a:pt x="337" y="99"/>
                  </a:lnTo>
                  <a:lnTo>
                    <a:pt x="337" y="99"/>
                  </a:lnTo>
                  <a:lnTo>
                    <a:pt x="337" y="99"/>
                  </a:lnTo>
                  <a:lnTo>
                    <a:pt x="337" y="99"/>
                  </a:lnTo>
                  <a:lnTo>
                    <a:pt x="337" y="101"/>
                  </a:lnTo>
                  <a:lnTo>
                    <a:pt x="337" y="101"/>
                  </a:lnTo>
                  <a:lnTo>
                    <a:pt x="337" y="101"/>
                  </a:lnTo>
                  <a:lnTo>
                    <a:pt x="337" y="101"/>
                  </a:lnTo>
                  <a:lnTo>
                    <a:pt x="335" y="103"/>
                  </a:lnTo>
                  <a:lnTo>
                    <a:pt x="335" y="103"/>
                  </a:lnTo>
                  <a:lnTo>
                    <a:pt x="333" y="103"/>
                  </a:lnTo>
                  <a:lnTo>
                    <a:pt x="333" y="103"/>
                  </a:lnTo>
                  <a:lnTo>
                    <a:pt x="333" y="103"/>
                  </a:lnTo>
                  <a:lnTo>
                    <a:pt x="333" y="101"/>
                  </a:lnTo>
                  <a:lnTo>
                    <a:pt x="333" y="101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0" y="103"/>
                  </a:lnTo>
                  <a:lnTo>
                    <a:pt x="330" y="105"/>
                  </a:lnTo>
                  <a:lnTo>
                    <a:pt x="328" y="105"/>
                  </a:lnTo>
                  <a:lnTo>
                    <a:pt x="328" y="105"/>
                  </a:lnTo>
                  <a:lnTo>
                    <a:pt x="328" y="105"/>
                  </a:lnTo>
                  <a:lnTo>
                    <a:pt x="328" y="105"/>
                  </a:lnTo>
                  <a:lnTo>
                    <a:pt x="328" y="105"/>
                  </a:lnTo>
                  <a:lnTo>
                    <a:pt x="328" y="105"/>
                  </a:lnTo>
                  <a:lnTo>
                    <a:pt x="328" y="108"/>
                  </a:lnTo>
                  <a:lnTo>
                    <a:pt x="328" y="108"/>
                  </a:lnTo>
                  <a:lnTo>
                    <a:pt x="328" y="108"/>
                  </a:lnTo>
                  <a:lnTo>
                    <a:pt x="328" y="108"/>
                  </a:lnTo>
                  <a:lnTo>
                    <a:pt x="328" y="108"/>
                  </a:lnTo>
                  <a:lnTo>
                    <a:pt x="328" y="108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0"/>
                  </a:lnTo>
                  <a:lnTo>
                    <a:pt x="328" y="112"/>
                  </a:lnTo>
                  <a:lnTo>
                    <a:pt x="328" y="112"/>
                  </a:lnTo>
                  <a:lnTo>
                    <a:pt x="328" y="112"/>
                  </a:lnTo>
                  <a:lnTo>
                    <a:pt x="328" y="112"/>
                  </a:lnTo>
                  <a:lnTo>
                    <a:pt x="328" y="112"/>
                  </a:lnTo>
                  <a:lnTo>
                    <a:pt x="328" y="112"/>
                  </a:lnTo>
                  <a:lnTo>
                    <a:pt x="330" y="112"/>
                  </a:lnTo>
                  <a:lnTo>
                    <a:pt x="330" y="112"/>
                  </a:lnTo>
                  <a:lnTo>
                    <a:pt x="330" y="112"/>
                  </a:lnTo>
                  <a:lnTo>
                    <a:pt x="330" y="112"/>
                  </a:lnTo>
                  <a:lnTo>
                    <a:pt x="330" y="112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28" y="114"/>
                  </a:lnTo>
                  <a:lnTo>
                    <a:pt x="328" y="117"/>
                  </a:lnTo>
                  <a:lnTo>
                    <a:pt x="328" y="117"/>
                  </a:lnTo>
                  <a:lnTo>
                    <a:pt x="328" y="117"/>
                  </a:lnTo>
                  <a:lnTo>
                    <a:pt x="326" y="117"/>
                  </a:lnTo>
                  <a:lnTo>
                    <a:pt x="326" y="119"/>
                  </a:lnTo>
                  <a:lnTo>
                    <a:pt x="326" y="119"/>
                  </a:lnTo>
                  <a:lnTo>
                    <a:pt x="326" y="119"/>
                  </a:lnTo>
                  <a:lnTo>
                    <a:pt x="326" y="119"/>
                  </a:lnTo>
                  <a:lnTo>
                    <a:pt x="326" y="119"/>
                  </a:lnTo>
                  <a:lnTo>
                    <a:pt x="326" y="119"/>
                  </a:lnTo>
                  <a:lnTo>
                    <a:pt x="326" y="119"/>
                  </a:lnTo>
                  <a:lnTo>
                    <a:pt x="324" y="119"/>
                  </a:lnTo>
                  <a:lnTo>
                    <a:pt x="324" y="121"/>
                  </a:lnTo>
                  <a:lnTo>
                    <a:pt x="321" y="121"/>
                  </a:lnTo>
                  <a:lnTo>
                    <a:pt x="321" y="121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3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0"/>
                  </a:lnTo>
                  <a:lnTo>
                    <a:pt x="321" y="132"/>
                  </a:lnTo>
                  <a:lnTo>
                    <a:pt x="321" y="132"/>
                  </a:lnTo>
                  <a:lnTo>
                    <a:pt x="321" y="135"/>
                  </a:lnTo>
                  <a:lnTo>
                    <a:pt x="319" y="135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19" y="139"/>
                  </a:lnTo>
                  <a:lnTo>
                    <a:pt x="319" y="139"/>
                  </a:lnTo>
                  <a:lnTo>
                    <a:pt x="319" y="139"/>
                  </a:lnTo>
                  <a:lnTo>
                    <a:pt x="319" y="139"/>
                  </a:lnTo>
                  <a:lnTo>
                    <a:pt x="317" y="139"/>
                  </a:lnTo>
                  <a:lnTo>
                    <a:pt x="317" y="139"/>
                  </a:lnTo>
                  <a:lnTo>
                    <a:pt x="317" y="139"/>
                  </a:lnTo>
                  <a:lnTo>
                    <a:pt x="315" y="139"/>
                  </a:lnTo>
                  <a:lnTo>
                    <a:pt x="315" y="139"/>
                  </a:lnTo>
                  <a:lnTo>
                    <a:pt x="315" y="139"/>
                  </a:lnTo>
                  <a:lnTo>
                    <a:pt x="315" y="139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10" y="141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10" y="139"/>
                  </a:lnTo>
                  <a:lnTo>
                    <a:pt x="308" y="139"/>
                  </a:lnTo>
                  <a:lnTo>
                    <a:pt x="308" y="139"/>
                  </a:lnTo>
                  <a:lnTo>
                    <a:pt x="303" y="139"/>
                  </a:lnTo>
                  <a:lnTo>
                    <a:pt x="303" y="139"/>
                  </a:lnTo>
                  <a:lnTo>
                    <a:pt x="303" y="141"/>
                  </a:lnTo>
                  <a:lnTo>
                    <a:pt x="303" y="141"/>
                  </a:lnTo>
                  <a:lnTo>
                    <a:pt x="299" y="146"/>
                  </a:lnTo>
                  <a:lnTo>
                    <a:pt x="299" y="146"/>
                  </a:lnTo>
                  <a:lnTo>
                    <a:pt x="299" y="144"/>
                  </a:lnTo>
                  <a:lnTo>
                    <a:pt x="297" y="144"/>
                  </a:lnTo>
                  <a:lnTo>
                    <a:pt x="297" y="144"/>
                  </a:lnTo>
                  <a:lnTo>
                    <a:pt x="297" y="144"/>
                  </a:lnTo>
                  <a:lnTo>
                    <a:pt x="297" y="144"/>
                  </a:lnTo>
                  <a:lnTo>
                    <a:pt x="295" y="144"/>
                  </a:lnTo>
                  <a:lnTo>
                    <a:pt x="295" y="144"/>
                  </a:lnTo>
                  <a:lnTo>
                    <a:pt x="292" y="141"/>
                  </a:lnTo>
                  <a:lnTo>
                    <a:pt x="292" y="141"/>
                  </a:lnTo>
                  <a:lnTo>
                    <a:pt x="290" y="141"/>
                  </a:lnTo>
                  <a:lnTo>
                    <a:pt x="290" y="141"/>
                  </a:lnTo>
                  <a:lnTo>
                    <a:pt x="288" y="141"/>
                  </a:lnTo>
                  <a:lnTo>
                    <a:pt x="288" y="141"/>
                  </a:lnTo>
                  <a:lnTo>
                    <a:pt x="288" y="139"/>
                  </a:lnTo>
                  <a:lnTo>
                    <a:pt x="286" y="139"/>
                  </a:lnTo>
                  <a:lnTo>
                    <a:pt x="286" y="139"/>
                  </a:lnTo>
                  <a:lnTo>
                    <a:pt x="286" y="141"/>
                  </a:lnTo>
                  <a:lnTo>
                    <a:pt x="286" y="141"/>
                  </a:lnTo>
                  <a:lnTo>
                    <a:pt x="286" y="141"/>
                  </a:lnTo>
                  <a:lnTo>
                    <a:pt x="286" y="139"/>
                  </a:lnTo>
                  <a:lnTo>
                    <a:pt x="286" y="139"/>
                  </a:lnTo>
                  <a:lnTo>
                    <a:pt x="286" y="139"/>
                  </a:lnTo>
                  <a:lnTo>
                    <a:pt x="286" y="139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6" y="137"/>
                  </a:lnTo>
                  <a:lnTo>
                    <a:pt x="286" y="137"/>
                  </a:lnTo>
                  <a:lnTo>
                    <a:pt x="286" y="137"/>
                  </a:lnTo>
                  <a:lnTo>
                    <a:pt x="286" y="137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3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2" y="137"/>
                  </a:lnTo>
                  <a:lnTo>
                    <a:pt x="272" y="139"/>
                  </a:lnTo>
                  <a:lnTo>
                    <a:pt x="272" y="139"/>
                  </a:lnTo>
                  <a:lnTo>
                    <a:pt x="270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41"/>
                  </a:lnTo>
                  <a:lnTo>
                    <a:pt x="268" y="141"/>
                  </a:lnTo>
                  <a:lnTo>
                    <a:pt x="268" y="141"/>
                  </a:lnTo>
                  <a:lnTo>
                    <a:pt x="268" y="141"/>
                  </a:lnTo>
                  <a:lnTo>
                    <a:pt x="268" y="141"/>
                  </a:lnTo>
                  <a:lnTo>
                    <a:pt x="268" y="141"/>
                  </a:lnTo>
                  <a:lnTo>
                    <a:pt x="268" y="144"/>
                  </a:lnTo>
                  <a:lnTo>
                    <a:pt x="268" y="146"/>
                  </a:lnTo>
                  <a:lnTo>
                    <a:pt x="268" y="146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1" y="150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59" y="150"/>
                  </a:lnTo>
                  <a:lnTo>
                    <a:pt x="256" y="150"/>
                  </a:lnTo>
                  <a:lnTo>
                    <a:pt x="256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2" y="150"/>
                  </a:lnTo>
                  <a:lnTo>
                    <a:pt x="252" y="150"/>
                  </a:lnTo>
                  <a:lnTo>
                    <a:pt x="252" y="150"/>
                  </a:lnTo>
                  <a:lnTo>
                    <a:pt x="247" y="148"/>
                  </a:lnTo>
                  <a:lnTo>
                    <a:pt x="247" y="148"/>
                  </a:lnTo>
                  <a:lnTo>
                    <a:pt x="243" y="150"/>
                  </a:lnTo>
                  <a:lnTo>
                    <a:pt x="243" y="150"/>
                  </a:lnTo>
                  <a:lnTo>
                    <a:pt x="241" y="150"/>
                  </a:lnTo>
                  <a:lnTo>
                    <a:pt x="241" y="150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6" y="153"/>
                  </a:lnTo>
                  <a:lnTo>
                    <a:pt x="234" y="155"/>
                  </a:lnTo>
                  <a:lnTo>
                    <a:pt x="234" y="153"/>
                  </a:lnTo>
                  <a:lnTo>
                    <a:pt x="232" y="153"/>
                  </a:lnTo>
                  <a:lnTo>
                    <a:pt x="232" y="153"/>
                  </a:lnTo>
                  <a:lnTo>
                    <a:pt x="232" y="150"/>
                  </a:lnTo>
                  <a:lnTo>
                    <a:pt x="229" y="150"/>
                  </a:lnTo>
                  <a:lnTo>
                    <a:pt x="229" y="150"/>
                  </a:lnTo>
                  <a:lnTo>
                    <a:pt x="229" y="150"/>
                  </a:lnTo>
                  <a:lnTo>
                    <a:pt x="229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27" y="150"/>
                  </a:lnTo>
                  <a:lnTo>
                    <a:pt x="227" y="148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3" y="146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3" y="144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18" y="141"/>
                  </a:lnTo>
                  <a:lnTo>
                    <a:pt x="218" y="141"/>
                  </a:lnTo>
                  <a:lnTo>
                    <a:pt x="218" y="139"/>
                  </a:lnTo>
                  <a:lnTo>
                    <a:pt x="218" y="139"/>
                  </a:lnTo>
                  <a:lnTo>
                    <a:pt x="218" y="139"/>
                  </a:lnTo>
                  <a:lnTo>
                    <a:pt x="218" y="139"/>
                  </a:lnTo>
                  <a:lnTo>
                    <a:pt x="218" y="139"/>
                  </a:lnTo>
                  <a:lnTo>
                    <a:pt x="218" y="139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6" y="135"/>
                  </a:lnTo>
                  <a:lnTo>
                    <a:pt x="216" y="135"/>
                  </a:lnTo>
                  <a:lnTo>
                    <a:pt x="216" y="135"/>
                  </a:lnTo>
                  <a:lnTo>
                    <a:pt x="216" y="132"/>
                  </a:lnTo>
                  <a:lnTo>
                    <a:pt x="216" y="132"/>
                  </a:lnTo>
                  <a:lnTo>
                    <a:pt x="214" y="132"/>
                  </a:lnTo>
                  <a:lnTo>
                    <a:pt x="214" y="132"/>
                  </a:lnTo>
                  <a:lnTo>
                    <a:pt x="214" y="132"/>
                  </a:lnTo>
                  <a:lnTo>
                    <a:pt x="214" y="130"/>
                  </a:lnTo>
                  <a:lnTo>
                    <a:pt x="214" y="130"/>
                  </a:lnTo>
                  <a:lnTo>
                    <a:pt x="214" y="130"/>
                  </a:lnTo>
                  <a:lnTo>
                    <a:pt x="214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30"/>
                  </a:lnTo>
                  <a:lnTo>
                    <a:pt x="211" y="128"/>
                  </a:lnTo>
                  <a:lnTo>
                    <a:pt x="214" y="128"/>
                  </a:lnTo>
                  <a:lnTo>
                    <a:pt x="214" y="128"/>
                  </a:lnTo>
                  <a:lnTo>
                    <a:pt x="214" y="128"/>
                  </a:lnTo>
                  <a:lnTo>
                    <a:pt x="214" y="128"/>
                  </a:lnTo>
                  <a:lnTo>
                    <a:pt x="214" y="126"/>
                  </a:lnTo>
                  <a:lnTo>
                    <a:pt x="214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28"/>
                  </a:lnTo>
                  <a:lnTo>
                    <a:pt x="216" y="130"/>
                  </a:lnTo>
                  <a:lnTo>
                    <a:pt x="216" y="130"/>
                  </a:lnTo>
                  <a:lnTo>
                    <a:pt x="216" y="130"/>
                  </a:lnTo>
                  <a:lnTo>
                    <a:pt x="218" y="130"/>
                  </a:lnTo>
                  <a:lnTo>
                    <a:pt x="218" y="132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5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9" y="135"/>
                  </a:lnTo>
                  <a:lnTo>
                    <a:pt x="229" y="135"/>
                  </a:lnTo>
                  <a:lnTo>
                    <a:pt x="229" y="135"/>
                  </a:lnTo>
                  <a:lnTo>
                    <a:pt x="229" y="135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0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5"/>
                  </a:lnTo>
                  <a:lnTo>
                    <a:pt x="229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2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6" y="137"/>
                  </a:lnTo>
                  <a:lnTo>
                    <a:pt x="236" y="137"/>
                  </a:lnTo>
                  <a:lnTo>
                    <a:pt x="236" y="137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39"/>
                  </a:lnTo>
                  <a:lnTo>
                    <a:pt x="238" y="139"/>
                  </a:lnTo>
                  <a:lnTo>
                    <a:pt x="236" y="139"/>
                  </a:lnTo>
                  <a:lnTo>
                    <a:pt x="236" y="139"/>
                  </a:lnTo>
                  <a:lnTo>
                    <a:pt x="238" y="139"/>
                  </a:lnTo>
                  <a:lnTo>
                    <a:pt x="238" y="139"/>
                  </a:lnTo>
                  <a:lnTo>
                    <a:pt x="238" y="139"/>
                  </a:lnTo>
                  <a:lnTo>
                    <a:pt x="238" y="139"/>
                  </a:lnTo>
                  <a:lnTo>
                    <a:pt x="238" y="139"/>
                  </a:lnTo>
                  <a:lnTo>
                    <a:pt x="238" y="139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41" y="137"/>
                  </a:lnTo>
                  <a:lnTo>
                    <a:pt x="243" y="137"/>
                  </a:lnTo>
                  <a:lnTo>
                    <a:pt x="243" y="139"/>
                  </a:lnTo>
                  <a:lnTo>
                    <a:pt x="245" y="139"/>
                  </a:lnTo>
                  <a:lnTo>
                    <a:pt x="245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2" y="141"/>
                  </a:lnTo>
                  <a:lnTo>
                    <a:pt x="252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50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7" y="141"/>
                  </a:lnTo>
                  <a:lnTo>
                    <a:pt x="245" y="139"/>
                  </a:lnTo>
                  <a:lnTo>
                    <a:pt x="245" y="139"/>
                  </a:lnTo>
                  <a:lnTo>
                    <a:pt x="245" y="139"/>
                  </a:lnTo>
                  <a:lnTo>
                    <a:pt x="245" y="139"/>
                  </a:lnTo>
                  <a:lnTo>
                    <a:pt x="245" y="137"/>
                  </a:lnTo>
                  <a:lnTo>
                    <a:pt x="243" y="137"/>
                  </a:lnTo>
                  <a:lnTo>
                    <a:pt x="243" y="137"/>
                  </a:lnTo>
                  <a:lnTo>
                    <a:pt x="243" y="137"/>
                  </a:lnTo>
                  <a:lnTo>
                    <a:pt x="243" y="137"/>
                  </a:lnTo>
                  <a:lnTo>
                    <a:pt x="243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5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50" y="135"/>
                  </a:lnTo>
                  <a:lnTo>
                    <a:pt x="250" y="135"/>
                  </a:lnTo>
                  <a:lnTo>
                    <a:pt x="250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7" y="135"/>
                  </a:lnTo>
                  <a:lnTo>
                    <a:pt x="245" y="135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5" y="130"/>
                  </a:lnTo>
                  <a:lnTo>
                    <a:pt x="245" y="130"/>
                  </a:lnTo>
                  <a:lnTo>
                    <a:pt x="245" y="130"/>
                  </a:lnTo>
                  <a:lnTo>
                    <a:pt x="245" y="130"/>
                  </a:lnTo>
                  <a:lnTo>
                    <a:pt x="247" y="130"/>
                  </a:lnTo>
                  <a:lnTo>
                    <a:pt x="247" y="128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47" y="126"/>
                  </a:lnTo>
                  <a:lnTo>
                    <a:pt x="250" y="126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2" y="123"/>
                  </a:lnTo>
                  <a:lnTo>
                    <a:pt x="252" y="123"/>
                  </a:lnTo>
                  <a:lnTo>
                    <a:pt x="252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50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21"/>
                  </a:lnTo>
                  <a:lnTo>
                    <a:pt x="247" y="119"/>
                  </a:lnTo>
                  <a:lnTo>
                    <a:pt x="247" y="117"/>
                  </a:lnTo>
                  <a:lnTo>
                    <a:pt x="247" y="117"/>
                  </a:lnTo>
                  <a:lnTo>
                    <a:pt x="247" y="117"/>
                  </a:lnTo>
                  <a:lnTo>
                    <a:pt x="247" y="117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50" y="119"/>
                  </a:lnTo>
                  <a:lnTo>
                    <a:pt x="250" y="119"/>
                  </a:lnTo>
                  <a:lnTo>
                    <a:pt x="250" y="119"/>
                  </a:lnTo>
                  <a:lnTo>
                    <a:pt x="252" y="119"/>
                  </a:lnTo>
                  <a:lnTo>
                    <a:pt x="252" y="119"/>
                  </a:lnTo>
                  <a:lnTo>
                    <a:pt x="252" y="119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4" y="119"/>
                  </a:lnTo>
                  <a:lnTo>
                    <a:pt x="254" y="119"/>
                  </a:lnTo>
                  <a:lnTo>
                    <a:pt x="254" y="119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7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4" y="114"/>
                  </a:lnTo>
                  <a:lnTo>
                    <a:pt x="254" y="114"/>
                  </a:lnTo>
                  <a:lnTo>
                    <a:pt x="254" y="114"/>
                  </a:lnTo>
                  <a:lnTo>
                    <a:pt x="254" y="114"/>
                  </a:lnTo>
                  <a:lnTo>
                    <a:pt x="254" y="114"/>
                  </a:lnTo>
                  <a:lnTo>
                    <a:pt x="254" y="114"/>
                  </a:lnTo>
                  <a:lnTo>
                    <a:pt x="254" y="114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2" y="114"/>
                  </a:lnTo>
                  <a:lnTo>
                    <a:pt x="252" y="112"/>
                  </a:lnTo>
                  <a:lnTo>
                    <a:pt x="252" y="112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4" y="108"/>
                  </a:lnTo>
                  <a:lnTo>
                    <a:pt x="256" y="108"/>
                  </a:lnTo>
                  <a:lnTo>
                    <a:pt x="256" y="105"/>
                  </a:lnTo>
                  <a:lnTo>
                    <a:pt x="261" y="105"/>
                  </a:lnTo>
                  <a:lnTo>
                    <a:pt x="263" y="105"/>
                  </a:lnTo>
                  <a:lnTo>
                    <a:pt x="270" y="103"/>
                  </a:lnTo>
                  <a:lnTo>
                    <a:pt x="277" y="101"/>
                  </a:lnTo>
                  <a:lnTo>
                    <a:pt x="279" y="101"/>
                  </a:lnTo>
                  <a:lnTo>
                    <a:pt x="281" y="101"/>
                  </a:lnTo>
                  <a:lnTo>
                    <a:pt x="281" y="101"/>
                  </a:lnTo>
                  <a:lnTo>
                    <a:pt x="283" y="99"/>
                  </a:lnTo>
                  <a:lnTo>
                    <a:pt x="286" y="99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8" y="94"/>
                  </a:lnTo>
                  <a:lnTo>
                    <a:pt x="288" y="94"/>
                  </a:lnTo>
                  <a:lnTo>
                    <a:pt x="288" y="94"/>
                  </a:lnTo>
                  <a:lnTo>
                    <a:pt x="288" y="92"/>
                  </a:lnTo>
                  <a:lnTo>
                    <a:pt x="290" y="92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90" y="90"/>
                  </a:lnTo>
                  <a:lnTo>
                    <a:pt x="292" y="90"/>
                  </a:lnTo>
                  <a:lnTo>
                    <a:pt x="292" y="90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5" y="85"/>
                  </a:lnTo>
                  <a:lnTo>
                    <a:pt x="295" y="83"/>
                  </a:lnTo>
                  <a:lnTo>
                    <a:pt x="299" y="78"/>
                  </a:lnTo>
                  <a:lnTo>
                    <a:pt x="303" y="72"/>
                  </a:lnTo>
                  <a:lnTo>
                    <a:pt x="303" y="72"/>
                  </a:lnTo>
                  <a:lnTo>
                    <a:pt x="303" y="69"/>
                  </a:lnTo>
                  <a:lnTo>
                    <a:pt x="303" y="69"/>
                  </a:lnTo>
                  <a:lnTo>
                    <a:pt x="303" y="69"/>
                  </a:lnTo>
                  <a:lnTo>
                    <a:pt x="303" y="67"/>
                  </a:lnTo>
                  <a:lnTo>
                    <a:pt x="303" y="65"/>
                  </a:lnTo>
                  <a:lnTo>
                    <a:pt x="303" y="65"/>
                  </a:lnTo>
                  <a:lnTo>
                    <a:pt x="303" y="65"/>
                  </a:lnTo>
                  <a:lnTo>
                    <a:pt x="306" y="65"/>
                  </a:lnTo>
                  <a:lnTo>
                    <a:pt x="306" y="65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08" y="67"/>
                  </a:lnTo>
                  <a:lnTo>
                    <a:pt x="308" y="67"/>
                  </a:lnTo>
                  <a:lnTo>
                    <a:pt x="308" y="67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7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0" y="69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2" y="74"/>
                  </a:lnTo>
                  <a:lnTo>
                    <a:pt x="312" y="72"/>
                  </a:lnTo>
                  <a:lnTo>
                    <a:pt x="312" y="72"/>
                  </a:lnTo>
                  <a:lnTo>
                    <a:pt x="312" y="74"/>
                  </a:lnTo>
                  <a:lnTo>
                    <a:pt x="315" y="74"/>
                  </a:lnTo>
                  <a:lnTo>
                    <a:pt x="315" y="74"/>
                  </a:lnTo>
                  <a:lnTo>
                    <a:pt x="315" y="76"/>
                  </a:lnTo>
                  <a:lnTo>
                    <a:pt x="317" y="76"/>
                  </a:lnTo>
                  <a:lnTo>
                    <a:pt x="317" y="76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17" y="78"/>
                  </a:lnTo>
                  <a:lnTo>
                    <a:pt x="319" y="78"/>
                  </a:lnTo>
                  <a:lnTo>
                    <a:pt x="321" y="76"/>
                  </a:lnTo>
                  <a:lnTo>
                    <a:pt x="321" y="76"/>
                  </a:lnTo>
                  <a:lnTo>
                    <a:pt x="321" y="74"/>
                  </a:lnTo>
                  <a:lnTo>
                    <a:pt x="321" y="74"/>
                  </a:lnTo>
                  <a:lnTo>
                    <a:pt x="321" y="74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72"/>
                  </a:lnTo>
                  <a:lnTo>
                    <a:pt x="321" y="69"/>
                  </a:lnTo>
                  <a:lnTo>
                    <a:pt x="321" y="69"/>
                  </a:lnTo>
                  <a:lnTo>
                    <a:pt x="321" y="69"/>
                  </a:lnTo>
                  <a:lnTo>
                    <a:pt x="321" y="69"/>
                  </a:lnTo>
                  <a:lnTo>
                    <a:pt x="321" y="69"/>
                  </a:lnTo>
                  <a:lnTo>
                    <a:pt x="321" y="69"/>
                  </a:lnTo>
                  <a:lnTo>
                    <a:pt x="321" y="67"/>
                  </a:lnTo>
                  <a:lnTo>
                    <a:pt x="321" y="67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19" y="60"/>
                  </a:lnTo>
                  <a:lnTo>
                    <a:pt x="319" y="60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1" y="60"/>
                  </a:lnTo>
                  <a:lnTo>
                    <a:pt x="324" y="60"/>
                  </a:lnTo>
                  <a:lnTo>
                    <a:pt x="324" y="60"/>
                  </a:lnTo>
                  <a:lnTo>
                    <a:pt x="324" y="60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4" y="58"/>
                  </a:lnTo>
                  <a:lnTo>
                    <a:pt x="326" y="56"/>
                  </a:lnTo>
                  <a:lnTo>
                    <a:pt x="326" y="58"/>
                  </a:lnTo>
                  <a:lnTo>
                    <a:pt x="326" y="58"/>
                  </a:lnTo>
                  <a:lnTo>
                    <a:pt x="326" y="60"/>
                  </a:lnTo>
                  <a:lnTo>
                    <a:pt x="326" y="60"/>
                  </a:lnTo>
                  <a:lnTo>
                    <a:pt x="326" y="63"/>
                  </a:lnTo>
                  <a:lnTo>
                    <a:pt x="326" y="65"/>
                  </a:lnTo>
                  <a:lnTo>
                    <a:pt x="326" y="65"/>
                  </a:lnTo>
                  <a:lnTo>
                    <a:pt x="326" y="67"/>
                  </a:lnTo>
                  <a:lnTo>
                    <a:pt x="328" y="69"/>
                  </a:lnTo>
                  <a:lnTo>
                    <a:pt x="328" y="69"/>
                  </a:lnTo>
                  <a:lnTo>
                    <a:pt x="328" y="69"/>
                  </a:lnTo>
                  <a:lnTo>
                    <a:pt x="328" y="69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0" y="69"/>
                  </a:lnTo>
                  <a:lnTo>
                    <a:pt x="330" y="72"/>
                  </a:lnTo>
                  <a:lnTo>
                    <a:pt x="330" y="72"/>
                  </a:lnTo>
                  <a:lnTo>
                    <a:pt x="330" y="72"/>
                  </a:lnTo>
                  <a:lnTo>
                    <a:pt x="330" y="72"/>
                  </a:lnTo>
                  <a:lnTo>
                    <a:pt x="333" y="72"/>
                  </a:lnTo>
                  <a:lnTo>
                    <a:pt x="333" y="72"/>
                  </a:lnTo>
                  <a:lnTo>
                    <a:pt x="333" y="72"/>
                  </a:lnTo>
                  <a:lnTo>
                    <a:pt x="333" y="72"/>
                  </a:lnTo>
                  <a:lnTo>
                    <a:pt x="333" y="69"/>
                  </a:lnTo>
                  <a:lnTo>
                    <a:pt x="333" y="69"/>
                  </a:lnTo>
                  <a:lnTo>
                    <a:pt x="333" y="69"/>
                  </a:lnTo>
                  <a:lnTo>
                    <a:pt x="330" y="69"/>
                  </a:lnTo>
                  <a:lnTo>
                    <a:pt x="330" y="67"/>
                  </a:lnTo>
                  <a:lnTo>
                    <a:pt x="330" y="67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30" y="65"/>
                  </a:lnTo>
                  <a:lnTo>
                    <a:pt x="330" y="63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8"/>
                  </a:lnTo>
                  <a:lnTo>
                    <a:pt x="328" y="56"/>
                  </a:lnTo>
                  <a:lnTo>
                    <a:pt x="328" y="56"/>
                  </a:lnTo>
                  <a:lnTo>
                    <a:pt x="328" y="56"/>
                  </a:lnTo>
                  <a:lnTo>
                    <a:pt x="328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6"/>
                  </a:lnTo>
                  <a:lnTo>
                    <a:pt x="330" y="58"/>
                  </a:lnTo>
                  <a:lnTo>
                    <a:pt x="330" y="58"/>
                  </a:lnTo>
                  <a:lnTo>
                    <a:pt x="333" y="58"/>
                  </a:lnTo>
                  <a:lnTo>
                    <a:pt x="333" y="58"/>
                  </a:lnTo>
                  <a:lnTo>
                    <a:pt x="333" y="58"/>
                  </a:lnTo>
                  <a:lnTo>
                    <a:pt x="333" y="56"/>
                  </a:lnTo>
                  <a:lnTo>
                    <a:pt x="333" y="56"/>
                  </a:lnTo>
                  <a:lnTo>
                    <a:pt x="335" y="56"/>
                  </a:lnTo>
                  <a:lnTo>
                    <a:pt x="335" y="54"/>
                  </a:lnTo>
                  <a:lnTo>
                    <a:pt x="335" y="54"/>
                  </a:lnTo>
                  <a:lnTo>
                    <a:pt x="335" y="54"/>
                  </a:lnTo>
                  <a:lnTo>
                    <a:pt x="335" y="54"/>
                  </a:lnTo>
                  <a:lnTo>
                    <a:pt x="335" y="54"/>
                  </a:lnTo>
                  <a:lnTo>
                    <a:pt x="337" y="54"/>
                  </a:lnTo>
                  <a:lnTo>
                    <a:pt x="337" y="54"/>
                  </a:lnTo>
                  <a:lnTo>
                    <a:pt x="337" y="51"/>
                  </a:lnTo>
                  <a:lnTo>
                    <a:pt x="337" y="51"/>
                  </a:lnTo>
                  <a:lnTo>
                    <a:pt x="337" y="51"/>
                  </a:lnTo>
                  <a:lnTo>
                    <a:pt x="337" y="51"/>
                  </a:lnTo>
                  <a:lnTo>
                    <a:pt x="337" y="51"/>
                  </a:lnTo>
                  <a:lnTo>
                    <a:pt x="337" y="49"/>
                  </a:lnTo>
                  <a:lnTo>
                    <a:pt x="337" y="49"/>
                  </a:lnTo>
                  <a:lnTo>
                    <a:pt x="337" y="49"/>
                  </a:lnTo>
                  <a:lnTo>
                    <a:pt x="335" y="49"/>
                  </a:lnTo>
                  <a:lnTo>
                    <a:pt x="335" y="49"/>
                  </a:lnTo>
                  <a:lnTo>
                    <a:pt x="335" y="49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5"/>
                  </a:lnTo>
                  <a:lnTo>
                    <a:pt x="333" y="45"/>
                  </a:lnTo>
                  <a:lnTo>
                    <a:pt x="333" y="45"/>
                  </a:lnTo>
                  <a:lnTo>
                    <a:pt x="333" y="45"/>
                  </a:lnTo>
                  <a:lnTo>
                    <a:pt x="333" y="45"/>
                  </a:lnTo>
                  <a:lnTo>
                    <a:pt x="333" y="45"/>
                  </a:lnTo>
                  <a:lnTo>
                    <a:pt x="335" y="42"/>
                  </a:lnTo>
                  <a:lnTo>
                    <a:pt x="335" y="42"/>
                  </a:lnTo>
                  <a:lnTo>
                    <a:pt x="335" y="40"/>
                  </a:lnTo>
                  <a:lnTo>
                    <a:pt x="337" y="40"/>
                  </a:lnTo>
                  <a:lnTo>
                    <a:pt x="337" y="40"/>
                  </a:lnTo>
                  <a:lnTo>
                    <a:pt x="337" y="42"/>
                  </a:lnTo>
                  <a:lnTo>
                    <a:pt x="337" y="42"/>
                  </a:lnTo>
                  <a:lnTo>
                    <a:pt x="337" y="42"/>
                  </a:lnTo>
                  <a:lnTo>
                    <a:pt x="337" y="42"/>
                  </a:lnTo>
                  <a:lnTo>
                    <a:pt x="337" y="42"/>
                  </a:lnTo>
                  <a:lnTo>
                    <a:pt x="337" y="42"/>
                  </a:lnTo>
                  <a:lnTo>
                    <a:pt x="337" y="42"/>
                  </a:lnTo>
                  <a:lnTo>
                    <a:pt x="339" y="42"/>
                  </a:lnTo>
                  <a:lnTo>
                    <a:pt x="339" y="42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0"/>
                  </a:lnTo>
                  <a:lnTo>
                    <a:pt x="342" y="38"/>
                  </a:lnTo>
                  <a:lnTo>
                    <a:pt x="342" y="38"/>
                  </a:lnTo>
                  <a:lnTo>
                    <a:pt x="344" y="38"/>
                  </a:lnTo>
                  <a:lnTo>
                    <a:pt x="344" y="38"/>
                  </a:lnTo>
                  <a:lnTo>
                    <a:pt x="344" y="36"/>
                  </a:lnTo>
                  <a:lnTo>
                    <a:pt x="346" y="36"/>
                  </a:lnTo>
                  <a:lnTo>
                    <a:pt x="346" y="36"/>
                  </a:lnTo>
                  <a:lnTo>
                    <a:pt x="346" y="33"/>
                  </a:lnTo>
                  <a:lnTo>
                    <a:pt x="346" y="33"/>
                  </a:lnTo>
                  <a:lnTo>
                    <a:pt x="346" y="33"/>
                  </a:lnTo>
                  <a:lnTo>
                    <a:pt x="346" y="31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9"/>
                  </a:lnTo>
                  <a:lnTo>
                    <a:pt x="346" y="27"/>
                  </a:lnTo>
                  <a:lnTo>
                    <a:pt x="348" y="27"/>
                  </a:lnTo>
                  <a:lnTo>
                    <a:pt x="348" y="27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51" y="27"/>
                  </a:lnTo>
                  <a:lnTo>
                    <a:pt x="351" y="27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4"/>
                  </a:lnTo>
                  <a:lnTo>
                    <a:pt x="351" y="22"/>
                  </a:lnTo>
                  <a:lnTo>
                    <a:pt x="351" y="22"/>
                  </a:lnTo>
                  <a:lnTo>
                    <a:pt x="351" y="22"/>
                  </a:lnTo>
                  <a:lnTo>
                    <a:pt x="351" y="22"/>
                  </a:lnTo>
                  <a:lnTo>
                    <a:pt x="353" y="20"/>
                  </a:lnTo>
                  <a:lnTo>
                    <a:pt x="353" y="20"/>
                  </a:lnTo>
                  <a:lnTo>
                    <a:pt x="353" y="20"/>
                  </a:lnTo>
                  <a:lnTo>
                    <a:pt x="353" y="20"/>
                  </a:lnTo>
                  <a:lnTo>
                    <a:pt x="355" y="20"/>
                  </a:lnTo>
                  <a:lnTo>
                    <a:pt x="355" y="20"/>
                  </a:lnTo>
                  <a:lnTo>
                    <a:pt x="355" y="18"/>
                  </a:lnTo>
                  <a:lnTo>
                    <a:pt x="355" y="18"/>
                  </a:lnTo>
                  <a:lnTo>
                    <a:pt x="355" y="18"/>
                  </a:lnTo>
                  <a:lnTo>
                    <a:pt x="355" y="18"/>
                  </a:lnTo>
                  <a:lnTo>
                    <a:pt x="355" y="18"/>
                  </a:lnTo>
                  <a:lnTo>
                    <a:pt x="355" y="15"/>
                  </a:lnTo>
                  <a:lnTo>
                    <a:pt x="357" y="15"/>
                  </a:lnTo>
                  <a:lnTo>
                    <a:pt x="357" y="15"/>
                  </a:lnTo>
                  <a:lnTo>
                    <a:pt x="357" y="13"/>
                  </a:lnTo>
                  <a:lnTo>
                    <a:pt x="357" y="13"/>
                  </a:lnTo>
                  <a:lnTo>
                    <a:pt x="357" y="13"/>
                  </a:lnTo>
                  <a:lnTo>
                    <a:pt x="357" y="13"/>
                  </a:lnTo>
                  <a:lnTo>
                    <a:pt x="357" y="13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9"/>
                  </a:lnTo>
                  <a:lnTo>
                    <a:pt x="357" y="9"/>
                  </a:lnTo>
                  <a:lnTo>
                    <a:pt x="357" y="9"/>
                  </a:lnTo>
                  <a:lnTo>
                    <a:pt x="357" y="9"/>
                  </a:lnTo>
                  <a:lnTo>
                    <a:pt x="357" y="9"/>
                  </a:lnTo>
                  <a:lnTo>
                    <a:pt x="357" y="9"/>
                  </a:lnTo>
                  <a:lnTo>
                    <a:pt x="357" y="6"/>
                  </a:lnTo>
                  <a:lnTo>
                    <a:pt x="357" y="6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9"/>
                  </a:lnTo>
                  <a:lnTo>
                    <a:pt x="360" y="9"/>
                  </a:lnTo>
                  <a:close/>
                  <a:moveTo>
                    <a:pt x="364" y="0"/>
                  </a:moveTo>
                  <a:lnTo>
                    <a:pt x="364" y="0"/>
                  </a:lnTo>
                  <a:lnTo>
                    <a:pt x="364" y="0"/>
                  </a:lnTo>
                  <a:lnTo>
                    <a:pt x="364" y="0"/>
                  </a:lnTo>
                  <a:lnTo>
                    <a:pt x="362" y="0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2" y="2"/>
                  </a:lnTo>
                  <a:lnTo>
                    <a:pt x="360" y="2"/>
                  </a:lnTo>
                  <a:lnTo>
                    <a:pt x="360" y="2"/>
                  </a:lnTo>
                  <a:lnTo>
                    <a:pt x="362" y="0"/>
                  </a:lnTo>
                  <a:lnTo>
                    <a:pt x="362" y="0"/>
                  </a:lnTo>
                  <a:lnTo>
                    <a:pt x="362" y="0"/>
                  </a:lnTo>
                  <a:lnTo>
                    <a:pt x="362" y="0"/>
                  </a:lnTo>
                  <a:lnTo>
                    <a:pt x="364" y="0"/>
                  </a:lnTo>
                  <a:lnTo>
                    <a:pt x="364" y="0"/>
                  </a:lnTo>
                  <a:lnTo>
                    <a:pt x="364" y="0"/>
                  </a:lnTo>
                  <a:close/>
                  <a:moveTo>
                    <a:pt x="369" y="2"/>
                  </a:moveTo>
                  <a:lnTo>
                    <a:pt x="369" y="2"/>
                  </a:lnTo>
                  <a:lnTo>
                    <a:pt x="369" y="2"/>
                  </a:lnTo>
                  <a:lnTo>
                    <a:pt x="369" y="2"/>
                  </a:lnTo>
                  <a:lnTo>
                    <a:pt x="366" y="4"/>
                  </a:lnTo>
                  <a:lnTo>
                    <a:pt x="366" y="4"/>
                  </a:lnTo>
                  <a:lnTo>
                    <a:pt x="366" y="4"/>
                  </a:lnTo>
                  <a:lnTo>
                    <a:pt x="366" y="4"/>
                  </a:lnTo>
                  <a:lnTo>
                    <a:pt x="366" y="4"/>
                  </a:lnTo>
                  <a:lnTo>
                    <a:pt x="366" y="4"/>
                  </a:lnTo>
                  <a:lnTo>
                    <a:pt x="366" y="4"/>
                  </a:lnTo>
                  <a:lnTo>
                    <a:pt x="364" y="4"/>
                  </a:lnTo>
                  <a:lnTo>
                    <a:pt x="364" y="4"/>
                  </a:lnTo>
                  <a:lnTo>
                    <a:pt x="364" y="4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64" y="2"/>
                  </a:lnTo>
                  <a:lnTo>
                    <a:pt x="364" y="0"/>
                  </a:lnTo>
                  <a:lnTo>
                    <a:pt x="364" y="0"/>
                  </a:lnTo>
                  <a:lnTo>
                    <a:pt x="364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6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2"/>
                  </a:lnTo>
                  <a:lnTo>
                    <a:pt x="369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3" name="Freeform 549"/>
            <p:cNvSpPr>
              <a:spLocks noEditPoints="1"/>
            </p:cNvSpPr>
            <p:nvPr/>
          </p:nvSpPr>
          <p:spPr bwMode="auto">
            <a:xfrm>
              <a:off x="6782478" y="4341823"/>
              <a:ext cx="111986" cy="307542"/>
            </a:xfrm>
            <a:custGeom>
              <a:avLst/>
              <a:gdLst>
                <a:gd name="T0" fmla="*/ 45 w 67"/>
                <a:gd name="T1" fmla="*/ 63 h 184"/>
                <a:gd name="T2" fmla="*/ 42 w 67"/>
                <a:gd name="T3" fmla="*/ 60 h 184"/>
                <a:gd name="T4" fmla="*/ 13 w 67"/>
                <a:gd name="T5" fmla="*/ 2 h 184"/>
                <a:gd name="T6" fmla="*/ 20 w 67"/>
                <a:gd name="T7" fmla="*/ 4 h 184"/>
                <a:gd name="T8" fmla="*/ 27 w 67"/>
                <a:gd name="T9" fmla="*/ 6 h 184"/>
                <a:gd name="T10" fmla="*/ 29 w 67"/>
                <a:gd name="T11" fmla="*/ 4 h 184"/>
                <a:gd name="T12" fmla="*/ 36 w 67"/>
                <a:gd name="T13" fmla="*/ 6 h 184"/>
                <a:gd name="T14" fmla="*/ 42 w 67"/>
                <a:gd name="T15" fmla="*/ 15 h 184"/>
                <a:gd name="T16" fmla="*/ 42 w 67"/>
                <a:gd name="T17" fmla="*/ 24 h 184"/>
                <a:gd name="T18" fmla="*/ 42 w 67"/>
                <a:gd name="T19" fmla="*/ 29 h 184"/>
                <a:gd name="T20" fmla="*/ 45 w 67"/>
                <a:gd name="T21" fmla="*/ 33 h 184"/>
                <a:gd name="T22" fmla="*/ 45 w 67"/>
                <a:gd name="T23" fmla="*/ 42 h 184"/>
                <a:gd name="T24" fmla="*/ 45 w 67"/>
                <a:gd name="T25" fmla="*/ 45 h 184"/>
                <a:gd name="T26" fmla="*/ 49 w 67"/>
                <a:gd name="T27" fmla="*/ 47 h 184"/>
                <a:gd name="T28" fmla="*/ 42 w 67"/>
                <a:gd name="T29" fmla="*/ 51 h 184"/>
                <a:gd name="T30" fmla="*/ 38 w 67"/>
                <a:gd name="T31" fmla="*/ 81 h 184"/>
                <a:gd name="T32" fmla="*/ 40 w 67"/>
                <a:gd name="T33" fmla="*/ 96 h 184"/>
                <a:gd name="T34" fmla="*/ 58 w 67"/>
                <a:gd name="T35" fmla="*/ 117 h 184"/>
                <a:gd name="T36" fmla="*/ 62 w 67"/>
                <a:gd name="T37" fmla="*/ 137 h 184"/>
                <a:gd name="T38" fmla="*/ 62 w 67"/>
                <a:gd name="T39" fmla="*/ 157 h 184"/>
                <a:gd name="T40" fmla="*/ 56 w 67"/>
                <a:gd name="T41" fmla="*/ 162 h 184"/>
                <a:gd name="T42" fmla="*/ 51 w 67"/>
                <a:gd name="T43" fmla="*/ 166 h 184"/>
                <a:gd name="T44" fmla="*/ 49 w 67"/>
                <a:gd name="T45" fmla="*/ 173 h 184"/>
                <a:gd name="T46" fmla="*/ 51 w 67"/>
                <a:gd name="T47" fmla="*/ 175 h 184"/>
                <a:gd name="T48" fmla="*/ 51 w 67"/>
                <a:gd name="T49" fmla="*/ 182 h 184"/>
                <a:gd name="T50" fmla="*/ 47 w 67"/>
                <a:gd name="T51" fmla="*/ 182 h 184"/>
                <a:gd name="T52" fmla="*/ 45 w 67"/>
                <a:gd name="T53" fmla="*/ 175 h 184"/>
                <a:gd name="T54" fmla="*/ 42 w 67"/>
                <a:gd name="T55" fmla="*/ 173 h 184"/>
                <a:gd name="T56" fmla="*/ 38 w 67"/>
                <a:gd name="T57" fmla="*/ 166 h 184"/>
                <a:gd name="T58" fmla="*/ 31 w 67"/>
                <a:gd name="T59" fmla="*/ 155 h 184"/>
                <a:gd name="T60" fmla="*/ 33 w 67"/>
                <a:gd name="T61" fmla="*/ 148 h 184"/>
                <a:gd name="T62" fmla="*/ 38 w 67"/>
                <a:gd name="T63" fmla="*/ 141 h 184"/>
                <a:gd name="T64" fmla="*/ 38 w 67"/>
                <a:gd name="T65" fmla="*/ 132 h 184"/>
                <a:gd name="T66" fmla="*/ 38 w 67"/>
                <a:gd name="T67" fmla="*/ 123 h 184"/>
                <a:gd name="T68" fmla="*/ 33 w 67"/>
                <a:gd name="T69" fmla="*/ 119 h 184"/>
                <a:gd name="T70" fmla="*/ 22 w 67"/>
                <a:gd name="T71" fmla="*/ 121 h 184"/>
                <a:gd name="T72" fmla="*/ 18 w 67"/>
                <a:gd name="T73" fmla="*/ 121 h 184"/>
                <a:gd name="T74" fmla="*/ 13 w 67"/>
                <a:gd name="T75" fmla="*/ 114 h 184"/>
                <a:gd name="T76" fmla="*/ 9 w 67"/>
                <a:gd name="T77" fmla="*/ 108 h 184"/>
                <a:gd name="T78" fmla="*/ 6 w 67"/>
                <a:gd name="T79" fmla="*/ 108 h 184"/>
                <a:gd name="T80" fmla="*/ 2 w 67"/>
                <a:gd name="T81" fmla="*/ 103 h 184"/>
                <a:gd name="T82" fmla="*/ 2 w 67"/>
                <a:gd name="T83" fmla="*/ 99 h 184"/>
                <a:gd name="T84" fmla="*/ 6 w 67"/>
                <a:gd name="T85" fmla="*/ 92 h 184"/>
                <a:gd name="T86" fmla="*/ 6 w 67"/>
                <a:gd name="T87" fmla="*/ 83 h 184"/>
                <a:gd name="T88" fmla="*/ 9 w 67"/>
                <a:gd name="T89" fmla="*/ 76 h 184"/>
                <a:gd name="T90" fmla="*/ 11 w 67"/>
                <a:gd name="T91" fmla="*/ 76 h 184"/>
                <a:gd name="T92" fmla="*/ 15 w 67"/>
                <a:gd name="T93" fmla="*/ 74 h 184"/>
                <a:gd name="T94" fmla="*/ 20 w 67"/>
                <a:gd name="T95" fmla="*/ 69 h 184"/>
                <a:gd name="T96" fmla="*/ 13 w 67"/>
                <a:gd name="T97" fmla="*/ 65 h 184"/>
                <a:gd name="T98" fmla="*/ 15 w 67"/>
                <a:gd name="T99" fmla="*/ 51 h 184"/>
                <a:gd name="T100" fmla="*/ 13 w 67"/>
                <a:gd name="T101" fmla="*/ 47 h 184"/>
                <a:gd name="T102" fmla="*/ 15 w 67"/>
                <a:gd name="T103" fmla="*/ 40 h 184"/>
                <a:gd name="T104" fmla="*/ 15 w 67"/>
                <a:gd name="T105" fmla="*/ 36 h 184"/>
                <a:gd name="T106" fmla="*/ 20 w 67"/>
                <a:gd name="T107" fmla="*/ 33 h 184"/>
                <a:gd name="T108" fmla="*/ 22 w 67"/>
                <a:gd name="T109" fmla="*/ 27 h 184"/>
                <a:gd name="T110" fmla="*/ 20 w 67"/>
                <a:gd name="T111" fmla="*/ 18 h 184"/>
                <a:gd name="T112" fmla="*/ 18 w 67"/>
                <a:gd name="T113" fmla="*/ 11 h 184"/>
                <a:gd name="T114" fmla="*/ 13 w 67"/>
                <a:gd name="T115" fmla="*/ 6 h 184"/>
                <a:gd name="T116" fmla="*/ 11 w 67"/>
                <a:gd name="T117" fmla="*/ 4 h 184"/>
                <a:gd name="T118" fmla="*/ 9 w 67"/>
                <a:gd name="T119" fmla="*/ 2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7" h="184">
                  <a:moveTo>
                    <a:pt x="45" y="65"/>
                  </a:moveTo>
                  <a:lnTo>
                    <a:pt x="42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close/>
                  <a:moveTo>
                    <a:pt x="42" y="63"/>
                  </a:moveTo>
                  <a:lnTo>
                    <a:pt x="42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3"/>
                  </a:lnTo>
                  <a:lnTo>
                    <a:pt x="42" y="63"/>
                  </a:lnTo>
                  <a:close/>
                  <a:moveTo>
                    <a:pt x="11" y="2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0" y="15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1"/>
                  </a:lnTo>
                  <a:lnTo>
                    <a:pt x="42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6"/>
                  </a:lnTo>
                  <a:lnTo>
                    <a:pt x="40" y="58"/>
                  </a:lnTo>
                  <a:lnTo>
                    <a:pt x="40" y="60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9"/>
                  </a:lnTo>
                  <a:lnTo>
                    <a:pt x="38" y="74"/>
                  </a:lnTo>
                  <a:lnTo>
                    <a:pt x="38" y="78"/>
                  </a:lnTo>
                  <a:lnTo>
                    <a:pt x="38" y="81"/>
                  </a:lnTo>
                  <a:lnTo>
                    <a:pt x="40" y="85"/>
                  </a:lnTo>
                  <a:lnTo>
                    <a:pt x="40" y="87"/>
                  </a:lnTo>
                  <a:lnTo>
                    <a:pt x="40" y="90"/>
                  </a:lnTo>
                  <a:lnTo>
                    <a:pt x="40" y="92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2" y="96"/>
                  </a:lnTo>
                  <a:lnTo>
                    <a:pt x="42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9" y="101"/>
                  </a:lnTo>
                  <a:lnTo>
                    <a:pt x="51" y="103"/>
                  </a:lnTo>
                  <a:lnTo>
                    <a:pt x="51" y="105"/>
                  </a:lnTo>
                  <a:lnTo>
                    <a:pt x="53" y="108"/>
                  </a:lnTo>
                  <a:lnTo>
                    <a:pt x="56" y="110"/>
                  </a:lnTo>
                  <a:lnTo>
                    <a:pt x="58" y="112"/>
                  </a:lnTo>
                  <a:lnTo>
                    <a:pt x="58" y="117"/>
                  </a:lnTo>
                  <a:lnTo>
                    <a:pt x="60" y="119"/>
                  </a:lnTo>
                  <a:lnTo>
                    <a:pt x="62" y="121"/>
                  </a:lnTo>
                  <a:lnTo>
                    <a:pt x="65" y="123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30"/>
                  </a:lnTo>
                  <a:lnTo>
                    <a:pt x="65" y="130"/>
                  </a:lnTo>
                  <a:lnTo>
                    <a:pt x="65" y="130"/>
                  </a:lnTo>
                  <a:lnTo>
                    <a:pt x="67" y="130"/>
                  </a:lnTo>
                  <a:lnTo>
                    <a:pt x="65" y="132"/>
                  </a:lnTo>
                  <a:lnTo>
                    <a:pt x="65" y="135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5" y="141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5" y="148"/>
                  </a:lnTo>
                  <a:lnTo>
                    <a:pt x="62" y="150"/>
                  </a:lnTo>
                  <a:lnTo>
                    <a:pt x="62" y="155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8" y="159"/>
                  </a:lnTo>
                  <a:lnTo>
                    <a:pt x="58" y="159"/>
                  </a:lnTo>
                  <a:lnTo>
                    <a:pt x="58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3" y="159"/>
                  </a:lnTo>
                  <a:lnTo>
                    <a:pt x="53" y="159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51" y="164"/>
                  </a:lnTo>
                  <a:lnTo>
                    <a:pt x="51" y="164"/>
                  </a:lnTo>
                  <a:lnTo>
                    <a:pt x="51" y="164"/>
                  </a:lnTo>
                  <a:lnTo>
                    <a:pt x="51" y="166"/>
                  </a:lnTo>
                  <a:lnTo>
                    <a:pt x="51" y="166"/>
                  </a:lnTo>
                  <a:lnTo>
                    <a:pt x="51" y="166"/>
                  </a:lnTo>
                  <a:lnTo>
                    <a:pt x="51" y="166"/>
                  </a:lnTo>
                  <a:lnTo>
                    <a:pt x="51" y="168"/>
                  </a:lnTo>
                  <a:lnTo>
                    <a:pt x="51" y="168"/>
                  </a:lnTo>
                  <a:lnTo>
                    <a:pt x="49" y="168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71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49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3"/>
                  </a:lnTo>
                  <a:lnTo>
                    <a:pt x="51" y="175"/>
                  </a:lnTo>
                  <a:lnTo>
                    <a:pt x="51" y="175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77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0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1" y="182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51" y="184"/>
                  </a:lnTo>
                  <a:lnTo>
                    <a:pt x="49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4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2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9" y="180"/>
                  </a:lnTo>
                  <a:lnTo>
                    <a:pt x="49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7" y="177"/>
                  </a:lnTo>
                  <a:lnTo>
                    <a:pt x="45" y="177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2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2" y="173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40" y="171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68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8" y="166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59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0"/>
                  </a:lnTo>
                  <a:lnTo>
                    <a:pt x="31" y="150"/>
                  </a:lnTo>
                  <a:lnTo>
                    <a:pt x="31" y="150"/>
                  </a:lnTo>
                  <a:lnTo>
                    <a:pt x="33" y="150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5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8"/>
                  </a:lnTo>
                  <a:lnTo>
                    <a:pt x="38" y="126"/>
                  </a:lnTo>
                  <a:lnTo>
                    <a:pt x="38" y="126"/>
                  </a:lnTo>
                  <a:lnTo>
                    <a:pt x="38" y="123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6" y="121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31" y="119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5" y="117"/>
                  </a:lnTo>
                  <a:lnTo>
                    <a:pt x="13" y="117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2" y="105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4" y="99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0" y="24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3" y="9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4" name="Freeform 550"/>
            <p:cNvSpPr>
              <a:spLocks noEditPoints="1"/>
            </p:cNvSpPr>
            <p:nvPr/>
          </p:nvSpPr>
          <p:spPr bwMode="auto">
            <a:xfrm>
              <a:off x="7131806" y="4442109"/>
              <a:ext cx="269100" cy="544885"/>
            </a:xfrm>
            <a:custGeom>
              <a:avLst/>
              <a:gdLst>
                <a:gd name="T0" fmla="*/ 119 w 161"/>
                <a:gd name="T1" fmla="*/ 32 h 326"/>
                <a:gd name="T2" fmla="*/ 116 w 161"/>
                <a:gd name="T3" fmla="*/ 34 h 326"/>
                <a:gd name="T4" fmla="*/ 116 w 161"/>
                <a:gd name="T5" fmla="*/ 30 h 326"/>
                <a:gd name="T6" fmla="*/ 139 w 161"/>
                <a:gd name="T7" fmla="*/ 7 h 326"/>
                <a:gd name="T8" fmla="*/ 141 w 161"/>
                <a:gd name="T9" fmla="*/ 7 h 326"/>
                <a:gd name="T10" fmla="*/ 143 w 161"/>
                <a:gd name="T11" fmla="*/ 12 h 326"/>
                <a:gd name="T12" fmla="*/ 146 w 161"/>
                <a:gd name="T13" fmla="*/ 18 h 326"/>
                <a:gd name="T14" fmla="*/ 148 w 161"/>
                <a:gd name="T15" fmla="*/ 23 h 326"/>
                <a:gd name="T16" fmla="*/ 152 w 161"/>
                <a:gd name="T17" fmla="*/ 32 h 326"/>
                <a:gd name="T18" fmla="*/ 155 w 161"/>
                <a:gd name="T19" fmla="*/ 41 h 326"/>
                <a:gd name="T20" fmla="*/ 155 w 161"/>
                <a:gd name="T21" fmla="*/ 63 h 326"/>
                <a:gd name="T22" fmla="*/ 159 w 161"/>
                <a:gd name="T23" fmla="*/ 81 h 326"/>
                <a:gd name="T24" fmla="*/ 152 w 161"/>
                <a:gd name="T25" fmla="*/ 95 h 326"/>
                <a:gd name="T26" fmla="*/ 148 w 161"/>
                <a:gd name="T27" fmla="*/ 86 h 326"/>
                <a:gd name="T28" fmla="*/ 143 w 161"/>
                <a:gd name="T29" fmla="*/ 93 h 326"/>
                <a:gd name="T30" fmla="*/ 146 w 161"/>
                <a:gd name="T31" fmla="*/ 111 h 326"/>
                <a:gd name="T32" fmla="*/ 137 w 161"/>
                <a:gd name="T33" fmla="*/ 137 h 326"/>
                <a:gd name="T34" fmla="*/ 119 w 161"/>
                <a:gd name="T35" fmla="*/ 185 h 326"/>
                <a:gd name="T36" fmla="*/ 107 w 161"/>
                <a:gd name="T37" fmla="*/ 218 h 326"/>
                <a:gd name="T38" fmla="*/ 85 w 161"/>
                <a:gd name="T39" fmla="*/ 279 h 326"/>
                <a:gd name="T40" fmla="*/ 78 w 161"/>
                <a:gd name="T41" fmla="*/ 299 h 326"/>
                <a:gd name="T42" fmla="*/ 69 w 161"/>
                <a:gd name="T43" fmla="*/ 313 h 326"/>
                <a:gd name="T44" fmla="*/ 42 w 161"/>
                <a:gd name="T45" fmla="*/ 324 h 326"/>
                <a:gd name="T46" fmla="*/ 15 w 161"/>
                <a:gd name="T47" fmla="*/ 317 h 326"/>
                <a:gd name="T48" fmla="*/ 9 w 161"/>
                <a:gd name="T49" fmla="*/ 306 h 326"/>
                <a:gd name="T50" fmla="*/ 4 w 161"/>
                <a:gd name="T51" fmla="*/ 281 h 326"/>
                <a:gd name="T52" fmla="*/ 4 w 161"/>
                <a:gd name="T53" fmla="*/ 268 h 326"/>
                <a:gd name="T54" fmla="*/ 0 w 161"/>
                <a:gd name="T55" fmla="*/ 248 h 326"/>
                <a:gd name="T56" fmla="*/ 0 w 161"/>
                <a:gd name="T57" fmla="*/ 239 h 326"/>
                <a:gd name="T58" fmla="*/ 6 w 161"/>
                <a:gd name="T59" fmla="*/ 223 h 326"/>
                <a:gd name="T60" fmla="*/ 20 w 161"/>
                <a:gd name="T61" fmla="*/ 203 h 326"/>
                <a:gd name="T62" fmla="*/ 26 w 161"/>
                <a:gd name="T63" fmla="*/ 187 h 326"/>
                <a:gd name="T64" fmla="*/ 26 w 161"/>
                <a:gd name="T65" fmla="*/ 173 h 326"/>
                <a:gd name="T66" fmla="*/ 22 w 161"/>
                <a:gd name="T67" fmla="*/ 140 h 326"/>
                <a:gd name="T68" fmla="*/ 29 w 161"/>
                <a:gd name="T69" fmla="*/ 117 h 326"/>
                <a:gd name="T70" fmla="*/ 33 w 161"/>
                <a:gd name="T71" fmla="*/ 104 h 326"/>
                <a:gd name="T72" fmla="*/ 47 w 161"/>
                <a:gd name="T73" fmla="*/ 97 h 326"/>
                <a:gd name="T74" fmla="*/ 53 w 161"/>
                <a:gd name="T75" fmla="*/ 97 h 326"/>
                <a:gd name="T76" fmla="*/ 58 w 161"/>
                <a:gd name="T77" fmla="*/ 95 h 326"/>
                <a:gd name="T78" fmla="*/ 65 w 161"/>
                <a:gd name="T79" fmla="*/ 93 h 326"/>
                <a:gd name="T80" fmla="*/ 71 w 161"/>
                <a:gd name="T81" fmla="*/ 90 h 326"/>
                <a:gd name="T82" fmla="*/ 74 w 161"/>
                <a:gd name="T83" fmla="*/ 95 h 326"/>
                <a:gd name="T84" fmla="*/ 74 w 161"/>
                <a:gd name="T85" fmla="*/ 88 h 326"/>
                <a:gd name="T86" fmla="*/ 87 w 161"/>
                <a:gd name="T87" fmla="*/ 79 h 326"/>
                <a:gd name="T88" fmla="*/ 89 w 161"/>
                <a:gd name="T89" fmla="*/ 86 h 326"/>
                <a:gd name="T90" fmla="*/ 89 w 161"/>
                <a:gd name="T91" fmla="*/ 79 h 326"/>
                <a:gd name="T92" fmla="*/ 94 w 161"/>
                <a:gd name="T93" fmla="*/ 70 h 326"/>
                <a:gd name="T94" fmla="*/ 98 w 161"/>
                <a:gd name="T95" fmla="*/ 75 h 326"/>
                <a:gd name="T96" fmla="*/ 105 w 161"/>
                <a:gd name="T97" fmla="*/ 66 h 326"/>
                <a:gd name="T98" fmla="*/ 107 w 161"/>
                <a:gd name="T99" fmla="*/ 63 h 326"/>
                <a:gd name="T100" fmla="*/ 103 w 161"/>
                <a:gd name="T101" fmla="*/ 61 h 326"/>
                <a:gd name="T102" fmla="*/ 110 w 161"/>
                <a:gd name="T103" fmla="*/ 52 h 326"/>
                <a:gd name="T104" fmla="*/ 110 w 161"/>
                <a:gd name="T105" fmla="*/ 54 h 326"/>
                <a:gd name="T106" fmla="*/ 110 w 161"/>
                <a:gd name="T107" fmla="*/ 41 h 326"/>
                <a:gd name="T108" fmla="*/ 112 w 161"/>
                <a:gd name="T109" fmla="*/ 39 h 326"/>
                <a:gd name="T110" fmla="*/ 116 w 161"/>
                <a:gd name="T111" fmla="*/ 43 h 326"/>
                <a:gd name="T112" fmla="*/ 121 w 161"/>
                <a:gd name="T113" fmla="*/ 36 h 326"/>
                <a:gd name="T114" fmla="*/ 128 w 161"/>
                <a:gd name="T115" fmla="*/ 32 h 326"/>
                <a:gd name="T116" fmla="*/ 130 w 161"/>
                <a:gd name="T117" fmla="*/ 18 h 326"/>
                <a:gd name="T118" fmla="*/ 128 w 161"/>
                <a:gd name="T119" fmla="*/ 12 h 326"/>
                <a:gd name="T120" fmla="*/ 134 w 161"/>
                <a:gd name="T121" fmla="*/ 9 h 326"/>
                <a:gd name="T122" fmla="*/ 137 w 161"/>
                <a:gd name="T123" fmla="*/ 5 h 326"/>
                <a:gd name="T124" fmla="*/ 139 w 161"/>
                <a:gd name="T12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326">
                  <a:moveTo>
                    <a:pt x="143" y="122"/>
                  </a:moveTo>
                  <a:lnTo>
                    <a:pt x="143" y="124"/>
                  </a:lnTo>
                  <a:lnTo>
                    <a:pt x="143" y="122"/>
                  </a:lnTo>
                  <a:lnTo>
                    <a:pt x="143" y="122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3" y="120"/>
                  </a:lnTo>
                  <a:lnTo>
                    <a:pt x="146" y="120"/>
                  </a:lnTo>
                  <a:lnTo>
                    <a:pt x="146" y="117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8" y="113"/>
                  </a:lnTo>
                  <a:lnTo>
                    <a:pt x="148" y="115"/>
                  </a:lnTo>
                  <a:lnTo>
                    <a:pt x="148" y="115"/>
                  </a:lnTo>
                  <a:lnTo>
                    <a:pt x="146" y="117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3" y="122"/>
                  </a:lnTo>
                  <a:close/>
                  <a:moveTo>
                    <a:pt x="119" y="32"/>
                  </a:move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6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6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9" y="30"/>
                  </a:lnTo>
                  <a:lnTo>
                    <a:pt x="119" y="32"/>
                  </a:lnTo>
                  <a:lnTo>
                    <a:pt x="116" y="32"/>
                  </a:lnTo>
                  <a:lnTo>
                    <a:pt x="119" y="32"/>
                  </a:lnTo>
                  <a:close/>
                  <a:moveTo>
                    <a:pt x="141" y="5"/>
                  </a:moveTo>
                  <a:lnTo>
                    <a:pt x="141" y="5"/>
                  </a:lnTo>
                  <a:lnTo>
                    <a:pt x="141" y="5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7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7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12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3" y="12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3" y="14"/>
                  </a:lnTo>
                  <a:lnTo>
                    <a:pt x="146" y="14"/>
                  </a:lnTo>
                  <a:lnTo>
                    <a:pt x="143" y="14"/>
                  </a:lnTo>
                  <a:lnTo>
                    <a:pt x="146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8"/>
                  </a:lnTo>
                  <a:lnTo>
                    <a:pt x="146" y="18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8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3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30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2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4"/>
                  </a:lnTo>
                  <a:lnTo>
                    <a:pt x="152" y="36"/>
                  </a:lnTo>
                  <a:lnTo>
                    <a:pt x="152" y="36"/>
                  </a:lnTo>
                  <a:lnTo>
                    <a:pt x="152" y="36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39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3"/>
                  </a:lnTo>
                  <a:lnTo>
                    <a:pt x="155" y="45"/>
                  </a:lnTo>
                  <a:lnTo>
                    <a:pt x="155" y="50"/>
                  </a:lnTo>
                  <a:lnTo>
                    <a:pt x="155" y="50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4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7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3"/>
                  </a:lnTo>
                  <a:lnTo>
                    <a:pt x="157" y="66"/>
                  </a:lnTo>
                  <a:lnTo>
                    <a:pt x="157" y="66"/>
                  </a:lnTo>
                  <a:lnTo>
                    <a:pt x="155" y="68"/>
                  </a:lnTo>
                  <a:lnTo>
                    <a:pt x="155" y="68"/>
                  </a:lnTo>
                  <a:lnTo>
                    <a:pt x="155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68"/>
                  </a:lnTo>
                  <a:lnTo>
                    <a:pt x="157" y="70"/>
                  </a:lnTo>
                  <a:lnTo>
                    <a:pt x="157" y="75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7"/>
                  </a:lnTo>
                  <a:lnTo>
                    <a:pt x="159" y="77"/>
                  </a:lnTo>
                  <a:lnTo>
                    <a:pt x="159" y="77"/>
                  </a:lnTo>
                  <a:lnTo>
                    <a:pt x="159" y="77"/>
                  </a:lnTo>
                  <a:lnTo>
                    <a:pt x="159" y="77"/>
                  </a:lnTo>
                  <a:lnTo>
                    <a:pt x="161" y="79"/>
                  </a:lnTo>
                  <a:lnTo>
                    <a:pt x="161" y="79"/>
                  </a:lnTo>
                  <a:lnTo>
                    <a:pt x="161" y="81"/>
                  </a:lnTo>
                  <a:lnTo>
                    <a:pt x="161" y="81"/>
                  </a:lnTo>
                  <a:lnTo>
                    <a:pt x="159" y="81"/>
                  </a:lnTo>
                  <a:lnTo>
                    <a:pt x="159" y="81"/>
                  </a:lnTo>
                  <a:lnTo>
                    <a:pt x="159" y="81"/>
                  </a:lnTo>
                  <a:lnTo>
                    <a:pt x="159" y="81"/>
                  </a:lnTo>
                  <a:lnTo>
                    <a:pt x="159" y="81"/>
                  </a:lnTo>
                  <a:lnTo>
                    <a:pt x="159" y="81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4"/>
                  </a:lnTo>
                  <a:lnTo>
                    <a:pt x="159" y="86"/>
                  </a:lnTo>
                  <a:lnTo>
                    <a:pt x="159" y="86"/>
                  </a:lnTo>
                  <a:lnTo>
                    <a:pt x="159" y="86"/>
                  </a:lnTo>
                  <a:lnTo>
                    <a:pt x="159" y="88"/>
                  </a:lnTo>
                  <a:lnTo>
                    <a:pt x="157" y="90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7" y="93"/>
                  </a:lnTo>
                  <a:lnTo>
                    <a:pt x="155" y="95"/>
                  </a:lnTo>
                  <a:lnTo>
                    <a:pt x="155" y="97"/>
                  </a:lnTo>
                  <a:lnTo>
                    <a:pt x="155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2" y="97"/>
                  </a:lnTo>
                  <a:lnTo>
                    <a:pt x="152" y="95"/>
                  </a:lnTo>
                  <a:lnTo>
                    <a:pt x="152" y="95"/>
                  </a:lnTo>
                  <a:lnTo>
                    <a:pt x="152" y="95"/>
                  </a:lnTo>
                  <a:lnTo>
                    <a:pt x="150" y="95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3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50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6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6" y="84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3" y="88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3"/>
                  </a:lnTo>
                  <a:lnTo>
                    <a:pt x="143" y="93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1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4"/>
                  </a:lnTo>
                  <a:lnTo>
                    <a:pt x="146" y="104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3" y="113"/>
                  </a:lnTo>
                  <a:lnTo>
                    <a:pt x="143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39" y="117"/>
                  </a:lnTo>
                  <a:lnTo>
                    <a:pt x="139" y="117"/>
                  </a:lnTo>
                  <a:lnTo>
                    <a:pt x="139" y="120"/>
                  </a:lnTo>
                  <a:lnTo>
                    <a:pt x="137" y="122"/>
                  </a:lnTo>
                  <a:lnTo>
                    <a:pt x="137" y="124"/>
                  </a:lnTo>
                  <a:lnTo>
                    <a:pt x="134" y="129"/>
                  </a:lnTo>
                  <a:lnTo>
                    <a:pt x="134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40"/>
                  </a:lnTo>
                  <a:lnTo>
                    <a:pt x="134" y="142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6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4" y="149"/>
                  </a:lnTo>
                  <a:lnTo>
                    <a:pt x="132" y="151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0" y="155"/>
                  </a:lnTo>
                  <a:lnTo>
                    <a:pt x="130" y="158"/>
                  </a:lnTo>
                  <a:lnTo>
                    <a:pt x="130" y="160"/>
                  </a:lnTo>
                  <a:lnTo>
                    <a:pt x="128" y="164"/>
                  </a:lnTo>
                  <a:lnTo>
                    <a:pt x="125" y="169"/>
                  </a:lnTo>
                  <a:lnTo>
                    <a:pt x="125" y="169"/>
                  </a:lnTo>
                  <a:lnTo>
                    <a:pt x="123" y="178"/>
                  </a:lnTo>
                  <a:lnTo>
                    <a:pt x="119" y="185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9" y="189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4"/>
                  </a:lnTo>
                  <a:lnTo>
                    <a:pt x="116" y="194"/>
                  </a:lnTo>
                  <a:lnTo>
                    <a:pt x="114" y="196"/>
                  </a:lnTo>
                  <a:lnTo>
                    <a:pt x="114" y="200"/>
                  </a:lnTo>
                  <a:lnTo>
                    <a:pt x="112" y="205"/>
                  </a:lnTo>
                  <a:lnTo>
                    <a:pt x="110" y="214"/>
                  </a:lnTo>
                  <a:lnTo>
                    <a:pt x="107" y="214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6"/>
                  </a:lnTo>
                  <a:lnTo>
                    <a:pt x="107" y="218"/>
                  </a:lnTo>
                  <a:lnTo>
                    <a:pt x="107" y="218"/>
                  </a:lnTo>
                  <a:lnTo>
                    <a:pt x="107" y="218"/>
                  </a:lnTo>
                  <a:lnTo>
                    <a:pt x="107" y="218"/>
                  </a:lnTo>
                  <a:lnTo>
                    <a:pt x="107" y="221"/>
                  </a:lnTo>
                  <a:lnTo>
                    <a:pt x="107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5"/>
                  </a:lnTo>
                  <a:lnTo>
                    <a:pt x="105" y="225"/>
                  </a:lnTo>
                  <a:lnTo>
                    <a:pt x="103" y="234"/>
                  </a:lnTo>
                  <a:lnTo>
                    <a:pt x="96" y="248"/>
                  </a:lnTo>
                  <a:lnTo>
                    <a:pt x="96" y="250"/>
                  </a:lnTo>
                  <a:lnTo>
                    <a:pt x="94" y="252"/>
                  </a:lnTo>
                  <a:lnTo>
                    <a:pt x="94" y="257"/>
                  </a:lnTo>
                  <a:lnTo>
                    <a:pt x="92" y="259"/>
                  </a:lnTo>
                  <a:lnTo>
                    <a:pt x="92" y="261"/>
                  </a:lnTo>
                  <a:lnTo>
                    <a:pt x="92" y="263"/>
                  </a:lnTo>
                  <a:lnTo>
                    <a:pt x="89" y="266"/>
                  </a:lnTo>
                  <a:lnTo>
                    <a:pt x="89" y="270"/>
                  </a:lnTo>
                  <a:lnTo>
                    <a:pt x="87" y="277"/>
                  </a:lnTo>
                  <a:lnTo>
                    <a:pt x="87" y="277"/>
                  </a:lnTo>
                  <a:lnTo>
                    <a:pt x="87" y="277"/>
                  </a:lnTo>
                  <a:lnTo>
                    <a:pt x="87" y="277"/>
                  </a:lnTo>
                  <a:lnTo>
                    <a:pt x="85" y="277"/>
                  </a:lnTo>
                  <a:lnTo>
                    <a:pt x="85" y="277"/>
                  </a:lnTo>
                  <a:lnTo>
                    <a:pt x="85" y="279"/>
                  </a:lnTo>
                  <a:lnTo>
                    <a:pt x="85" y="279"/>
                  </a:lnTo>
                  <a:lnTo>
                    <a:pt x="87" y="279"/>
                  </a:lnTo>
                  <a:lnTo>
                    <a:pt x="87" y="279"/>
                  </a:lnTo>
                  <a:lnTo>
                    <a:pt x="85" y="284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0" y="295"/>
                  </a:lnTo>
                  <a:lnTo>
                    <a:pt x="80" y="295"/>
                  </a:lnTo>
                  <a:lnTo>
                    <a:pt x="80" y="295"/>
                  </a:lnTo>
                  <a:lnTo>
                    <a:pt x="78" y="293"/>
                  </a:lnTo>
                  <a:lnTo>
                    <a:pt x="78" y="295"/>
                  </a:lnTo>
                  <a:lnTo>
                    <a:pt x="78" y="295"/>
                  </a:lnTo>
                  <a:lnTo>
                    <a:pt x="78" y="299"/>
                  </a:lnTo>
                  <a:lnTo>
                    <a:pt x="76" y="304"/>
                  </a:lnTo>
                  <a:lnTo>
                    <a:pt x="76" y="304"/>
                  </a:lnTo>
                  <a:lnTo>
                    <a:pt x="76" y="304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4" y="306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11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1" y="311"/>
                  </a:lnTo>
                  <a:lnTo>
                    <a:pt x="71" y="311"/>
                  </a:lnTo>
                  <a:lnTo>
                    <a:pt x="71" y="311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2" y="315"/>
                  </a:lnTo>
                  <a:lnTo>
                    <a:pt x="62" y="315"/>
                  </a:lnTo>
                  <a:lnTo>
                    <a:pt x="60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1" y="317"/>
                  </a:lnTo>
                  <a:lnTo>
                    <a:pt x="49" y="320"/>
                  </a:lnTo>
                  <a:lnTo>
                    <a:pt x="44" y="322"/>
                  </a:lnTo>
                  <a:lnTo>
                    <a:pt x="42" y="324"/>
                  </a:lnTo>
                  <a:lnTo>
                    <a:pt x="42" y="324"/>
                  </a:lnTo>
                  <a:lnTo>
                    <a:pt x="42" y="324"/>
                  </a:lnTo>
                  <a:lnTo>
                    <a:pt x="42" y="324"/>
                  </a:lnTo>
                  <a:lnTo>
                    <a:pt x="40" y="324"/>
                  </a:lnTo>
                  <a:lnTo>
                    <a:pt x="40" y="324"/>
                  </a:lnTo>
                  <a:lnTo>
                    <a:pt x="33" y="324"/>
                  </a:lnTo>
                  <a:lnTo>
                    <a:pt x="33" y="326"/>
                  </a:lnTo>
                  <a:lnTo>
                    <a:pt x="33" y="326"/>
                  </a:lnTo>
                  <a:lnTo>
                    <a:pt x="33" y="326"/>
                  </a:lnTo>
                  <a:lnTo>
                    <a:pt x="31" y="326"/>
                  </a:lnTo>
                  <a:lnTo>
                    <a:pt x="31" y="324"/>
                  </a:lnTo>
                  <a:lnTo>
                    <a:pt x="31" y="324"/>
                  </a:lnTo>
                  <a:lnTo>
                    <a:pt x="31" y="324"/>
                  </a:lnTo>
                  <a:lnTo>
                    <a:pt x="31" y="324"/>
                  </a:lnTo>
                  <a:lnTo>
                    <a:pt x="29" y="322"/>
                  </a:lnTo>
                  <a:lnTo>
                    <a:pt x="29" y="322"/>
                  </a:lnTo>
                  <a:lnTo>
                    <a:pt x="29" y="322"/>
                  </a:lnTo>
                  <a:lnTo>
                    <a:pt x="29" y="322"/>
                  </a:lnTo>
                  <a:lnTo>
                    <a:pt x="26" y="320"/>
                  </a:lnTo>
                  <a:lnTo>
                    <a:pt x="26" y="320"/>
                  </a:lnTo>
                  <a:lnTo>
                    <a:pt x="24" y="320"/>
                  </a:lnTo>
                  <a:lnTo>
                    <a:pt x="24" y="320"/>
                  </a:lnTo>
                  <a:lnTo>
                    <a:pt x="22" y="317"/>
                  </a:lnTo>
                  <a:lnTo>
                    <a:pt x="20" y="317"/>
                  </a:lnTo>
                  <a:lnTo>
                    <a:pt x="17" y="317"/>
                  </a:lnTo>
                  <a:lnTo>
                    <a:pt x="17" y="317"/>
                  </a:lnTo>
                  <a:lnTo>
                    <a:pt x="15" y="317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7" y="315"/>
                  </a:lnTo>
                  <a:lnTo>
                    <a:pt x="17" y="317"/>
                  </a:lnTo>
                  <a:lnTo>
                    <a:pt x="17" y="317"/>
                  </a:lnTo>
                  <a:lnTo>
                    <a:pt x="17" y="317"/>
                  </a:lnTo>
                  <a:lnTo>
                    <a:pt x="17" y="315"/>
                  </a:lnTo>
                  <a:lnTo>
                    <a:pt x="17" y="315"/>
                  </a:lnTo>
                  <a:lnTo>
                    <a:pt x="17" y="315"/>
                  </a:lnTo>
                  <a:lnTo>
                    <a:pt x="17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3" y="313"/>
                  </a:lnTo>
                  <a:lnTo>
                    <a:pt x="13" y="313"/>
                  </a:lnTo>
                  <a:lnTo>
                    <a:pt x="13" y="313"/>
                  </a:lnTo>
                  <a:lnTo>
                    <a:pt x="11" y="313"/>
                  </a:lnTo>
                  <a:lnTo>
                    <a:pt x="11" y="311"/>
                  </a:lnTo>
                  <a:lnTo>
                    <a:pt x="11" y="311"/>
                  </a:lnTo>
                  <a:lnTo>
                    <a:pt x="11" y="308"/>
                  </a:lnTo>
                  <a:lnTo>
                    <a:pt x="11" y="308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4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299"/>
                  </a:lnTo>
                  <a:lnTo>
                    <a:pt x="9" y="299"/>
                  </a:lnTo>
                  <a:lnTo>
                    <a:pt x="9" y="299"/>
                  </a:lnTo>
                  <a:lnTo>
                    <a:pt x="6" y="299"/>
                  </a:lnTo>
                  <a:lnTo>
                    <a:pt x="6" y="299"/>
                  </a:lnTo>
                  <a:lnTo>
                    <a:pt x="6" y="297"/>
                  </a:lnTo>
                  <a:lnTo>
                    <a:pt x="4" y="297"/>
                  </a:lnTo>
                  <a:lnTo>
                    <a:pt x="4" y="295"/>
                  </a:lnTo>
                  <a:lnTo>
                    <a:pt x="4" y="293"/>
                  </a:lnTo>
                  <a:lnTo>
                    <a:pt x="4" y="288"/>
                  </a:lnTo>
                  <a:lnTo>
                    <a:pt x="4" y="286"/>
                  </a:lnTo>
                  <a:lnTo>
                    <a:pt x="4" y="286"/>
                  </a:lnTo>
                  <a:lnTo>
                    <a:pt x="4" y="286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6" y="279"/>
                  </a:lnTo>
                  <a:lnTo>
                    <a:pt x="6" y="277"/>
                  </a:lnTo>
                  <a:lnTo>
                    <a:pt x="6" y="277"/>
                  </a:lnTo>
                  <a:lnTo>
                    <a:pt x="6" y="277"/>
                  </a:lnTo>
                  <a:lnTo>
                    <a:pt x="6" y="277"/>
                  </a:lnTo>
                  <a:lnTo>
                    <a:pt x="6" y="277"/>
                  </a:lnTo>
                  <a:lnTo>
                    <a:pt x="6" y="275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9" y="275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68"/>
                  </a:lnTo>
                  <a:lnTo>
                    <a:pt x="4" y="266"/>
                  </a:lnTo>
                  <a:lnTo>
                    <a:pt x="4" y="266"/>
                  </a:lnTo>
                  <a:lnTo>
                    <a:pt x="4" y="266"/>
                  </a:lnTo>
                  <a:lnTo>
                    <a:pt x="2" y="263"/>
                  </a:lnTo>
                  <a:lnTo>
                    <a:pt x="2" y="263"/>
                  </a:lnTo>
                  <a:lnTo>
                    <a:pt x="2" y="263"/>
                  </a:lnTo>
                  <a:lnTo>
                    <a:pt x="2" y="263"/>
                  </a:lnTo>
                  <a:lnTo>
                    <a:pt x="2" y="261"/>
                  </a:lnTo>
                  <a:lnTo>
                    <a:pt x="2" y="261"/>
                  </a:lnTo>
                  <a:lnTo>
                    <a:pt x="2" y="261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5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0" y="243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41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2" y="236"/>
                  </a:lnTo>
                  <a:lnTo>
                    <a:pt x="2" y="236"/>
                  </a:lnTo>
                  <a:lnTo>
                    <a:pt x="2" y="239"/>
                  </a:lnTo>
                  <a:lnTo>
                    <a:pt x="2" y="239"/>
                  </a:lnTo>
                  <a:lnTo>
                    <a:pt x="2" y="236"/>
                  </a:lnTo>
                  <a:lnTo>
                    <a:pt x="2" y="234"/>
                  </a:lnTo>
                  <a:lnTo>
                    <a:pt x="2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4" y="232"/>
                  </a:lnTo>
                  <a:lnTo>
                    <a:pt x="4" y="232"/>
                  </a:lnTo>
                  <a:lnTo>
                    <a:pt x="4" y="232"/>
                  </a:lnTo>
                  <a:lnTo>
                    <a:pt x="4" y="225"/>
                  </a:lnTo>
                  <a:lnTo>
                    <a:pt x="6" y="225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6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9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1" y="223"/>
                  </a:lnTo>
                  <a:lnTo>
                    <a:pt x="13" y="221"/>
                  </a:lnTo>
                  <a:lnTo>
                    <a:pt x="13" y="221"/>
                  </a:lnTo>
                  <a:lnTo>
                    <a:pt x="13" y="221"/>
                  </a:lnTo>
                  <a:lnTo>
                    <a:pt x="13" y="218"/>
                  </a:lnTo>
                  <a:lnTo>
                    <a:pt x="15" y="214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7" y="209"/>
                  </a:lnTo>
                  <a:lnTo>
                    <a:pt x="17" y="209"/>
                  </a:lnTo>
                  <a:lnTo>
                    <a:pt x="20" y="207"/>
                  </a:lnTo>
                  <a:lnTo>
                    <a:pt x="20" y="207"/>
                  </a:lnTo>
                  <a:lnTo>
                    <a:pt x="20" y="205"/>
                  </a:lnTo>
                  <a:lnTo>
                    <a:pt x="20" y="205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5"/>
                  </a:lnTo>
                  <a:lnTo>
                    <a:pt x="22" y="203"/>
                  </a:lnTo>
                  <a:lnTo>
                    <a:pt x="22" y="203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22" y="200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6"/>
                  </a:lnTo>
                  <a:lnTo>
                    <a:pt x="26" y="194"/>
                  </a:lnTo>
                  <a:lnTo>
                    <a:pt x="26" y="194"/>
                  </a:lnTo>
                  <a:lnTo>
                    <a:pt x="29" y="194"/>
                  </a:lnTo>
                  <a:lnTo>
                    <a:pt x="29" y="191"/>
                  </a:lnTo>
                  <a:lnTo>
                    <a:pt x="29" y="191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7"/>
                  </a:lnTo>
                  <a:lnTo>
                    <a:pt x="26" y="187"/>
                  </a:lnTo>
                  <a:lnTo>
                    <a:pt x="26" y="187"/>
                  </a:lnTo>
                  <a:lnTo>
                    <a:pt x="26" y="187"/>
                  </a:lnTo>
                  <a:lnTo>
                    <a:pt x="26" y="187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26" y="182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29" y="178"/>
                  </a:lnTo>
                  <a:lnTo>
                    <a:pt x="29" y="178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3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69"/>
                  </a:lnTo>
                  <a:lnTo>
                    <a:pt x="24" y="169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4" y="164"/>
                  </a:lnTo>
                  <a:lnTo>
                    <a:pt x="24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4" y="162"/>
                  </a:lnTo>
                  <a:lnTo>
                    <a:pt x="24" y="160"/>
                  </a:lnTo>
                  <a:lnTo>
                    <a:pt x="22" y="158"/>
                  </a:lnTo>
                  <a:lnTo>
                    <a:pt x="22" y="155"/>
                  </a:lnTo>
                  <a:lnTo>
                    <a:pt x="22" y="153"/>
                  </a:lnTo>
                  <a:lnTo>
                    <a:pt x="22" y="149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2" y="140"/>
                  </a:lnTo>
                  <a:lnTo>
                    <a:pt x="22" y="140"/>
                  </a:lnTo>
                  <a:lnTo>
                    <a:pt x="22" y="140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0" y="133"/>
                  </a:lnTo>
                  <a:lnTo>
                    <a:pt x="20" y="133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4" y="129"/>
                  </a:lnTo>
                  <a:lnTo>
                    <a:pt x="24" y="126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4"/>
                  </a:lnTo>
                  <a:lnTo>
                    <a:pt x="26" y="122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6"/>
                  </a:lnTo>
                  <a:lnTo>
                    <a:pt x="31" y="106"/>
                  </a:lnTo>
                  <a:lnTo>
                    <a:pt x="31" y="106"/>
                  </a:lnTo>
                  <a:lnTo>
                    <a:pt x="31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9" y="97"/>
                  </a:lnTo>
                  <a:lnTo>
                    <a:pt x="49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5"/>
                  </a:lnTo>
                  <a:lnTo>
                    <a:pt x="58" y="95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69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71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7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4" y="95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4" y="93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8" y="86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3" y="81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89" y="86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4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3" y="68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5" y="66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3"/>
                  </a:lnTo>
                  <a:lnTo>
                    <a:pt x="110" y="63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07" y="63"/>
                  </a:lnTo>
                  <a:lnTo>
                    <a:pt x="107" y="63"/>
                  </a:lnTo>
                  <a:lnTo>
                    <a:pt x="107" y="63"/>
                  </a:lnTo>
                  <a:lnTo>
                    <a:pt x="107" y="63"/>
                  </a:lnTo>
                  <a:lnTo>
                    <a:pt x="107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5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61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57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2"/>
                  </a:lnTo>
                  <a:lnTo>
                    <a:pt x="107" y="52"/>
                  </a:lnTo>
                  <a:lnTo>
                    <a:pt x="107" y="52"/>
                  </a:lnTo>
                  <a:lnTo>
                    <a:pt x="107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07" y="48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10" y="41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2" y="39"/>
                  </a:lnTo>
                  <a:lnTo>
                    <a:pt x="110" y="39"/>
                  </a:lnTo>
                  <a:lnTo>
                    <a:pt x="110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41"/>
                  </a:lnTo>
                  <a:lnTo>
                    <a:pt x="114" y="39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5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9" y="41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6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0" y="21"/>
                  </a:lnTo>
                  <a:lnTo>
                    <a:pt x="130" y="21"/>
                  </a:lnTo>
                  <a:lnTo>
                    <a:pt x="130" y="21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4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28" y="14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2" y="14"/>
                  </a:lnTo>
                  <a:lnTo>
                    <a:pt x="132" y="14"/>
                  </a:lnTo>
                  <a:lnTo>
                    <a:pt x="132" y="14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7"/>
                  </a:lnTo>
                  <a:lnTo>
                    <a:pt x="134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5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3"/>
                  </a:lnTo>
                  <a:lnTo>
                    <a:pt x="137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41" y="3"/>
                  </a:lnTo>
                  <a:lnTo>
                    <a:pt x="141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5" name="Freeform 551"/>
            <p:cNvSpPr>
              <a:spLocks/>
            </p:cNvSpPr>
            <p:nvPr/>
          </p:nvSpPr>
          <p:spPr bwMode="auto">
            <a:xfrm>
              <a:off x="6301108" y="2280956"/>
              <a:ext cx="81900" cy="60171"/>
            </a:xfrm>
            <a:custGeom>
              <a:avLst/>
              <a:gdLst>
                <a:gd name="T0" fmla="*/ 38 w 49"/>
                <a:gd name="T1" fmla="*/ 7 h 36"/>
                <a:gd name="T2" fmla="*/ 43 w 49"/>
                <a:gd name="T3" fmla="*/ 9 h 36"/>
                <a:gd name="T4" fmla="*/ 43 w 49"/>
                <a:gd name="T5" fmla="*/ 9 h 36"/>
                <a:gd name="T6" fmla="*/ 45 w 49"/>
                <a:gd name="T7" fmla="*/ 9 h 36"/>
                <a:gd name="T8" fmla="*/ 45 w 49"/>
                <a:gd name="T9" fmla="*/ 12 h 36"/>
                <a:gd name="T10" fmla="*/ 45 w 49"/>
                <a:gd name="T11" fmla="*/ 12 h 36"/>
                <a:gd name="T12" fmla="*/ 47 w 49"/>
                <a:gd name="T13" fmla="*/ 16 h 36"/>
                <a:gd name="T14" fmla="*/ 49 w 49"/>
                <a:gd name="T15" fmla="*/ 16 h 36"/>
                <a:gd name="T16" fmla="*/ 47 w 49"/>
                <a:gd name="T17" fmla="*/ 18 h 36"/>
                <a:gd name="T18" fmla="*/ 47 w 49"/>
                <a:gd name="T19" fmla="*/ 21 h 36"/>
                <a:gd name="T20" fmla="*/ 47 w 49"/>
                <a:gd name="T21" fmla="*/ 23 h 36"/>
                <a:gd name="T22" fmla="*/ 47 w 49"/>
                <a:gd name="T23" fmla="*/ 25 h 36"/>
                <a:gd name="T24" fmla="*/ 45 w 49"/>
                <a:gd name="T25" fmla="*/ 27 h 36"/>
                <a:gd name="T26" fmla="*/ 43 w 49"/>
                <a:gd name="T27" fmla="*/ 30 h 36"/>
                <a:gd name="T28" fmla="*/ 43 w 49"/>
                <a:gd name="T29" fmla="*/ 30 h 36"/>
                <a:gd name="T30" fmla="*/ 40 w 49"/>
                <a:gd name="T31" fmla="*/ 30 h 36"/>
                <a:gd name="T32" fmla="*/ 38 w 49"/>
                <a:gd name="T33" fmla="*/ 30 h 36"/>
                <a:gd name="T34" fmla="*/ 36 w 49"/>
                <a:gd name="T35" fmla="*/ 30 h 36"/>
                <a:gd name="T36" fmla="*/ 36 w 49"/>
                <a:gd name="T37" fmla="*/ 30 h 36"/>
                <a:gd name="T38" fmla="*/ 34 w 49"/>
                <a:gd name="T39" fmla="*/ 30 h 36"/>
                <a:gd name="T40" fmla="*/ 31 w 49"/>
                <a:gd name="T41" fmla="*/ 30 h 36"/>
                <a:gd name="T42" fmla="*/ 29 w 49"/>
                <a:gd name="T43" fmla="*/ 30 h 36"/>
                <a:gd name="T44" fmla="*/ 29 w 49"/>
                <a:gd name="T45" fmla="*/ 32 h 36"/>
                <a:gd name="T46" fmla="*/ 27 w 49"/>
                <a:gd name="T47" fmla="*/ 34 h 36"/>
                <a:gd name="T48" fmla="*/ 27 w 49"/>
                <a:gd name="T49" fmla="*/ 34 h 36"/>
                <a:gd name="T50" fmla="*/ 25 w 49"/>
                <a:gd name="T51" fmla="*/ 36 h 36"/>
                <a:gd name="T52" fmla="*/ 22 w 49"/>
                <a:gd name="T53" fmla="*/ 36 h 36"/>
                <a:gd name="T54" fmla="*/ 18 w 49"/>
                <a:gd name="T55" fmla="*/ 36 h 36"/>
                <a:gd name="T56" fmla="*/ 11 w 49"/>
                <a:gd name="T57" fmla="*/ 36 h 36"/>
                <a:gd name="T58" fmla="*/ 9 w 49"/>
                <a:gd name="T59" fmla="*/ 34 h 36"/>
                <a:gd name="T60" fmla="*/ 5 w 49"/>
                <a:gd name="T61" fmla="*/ 34 h 36"/>
                <a:gd name="T62" fmla="*/ 5 w 49"/>
                <a:gd name="T63" fmla="*/ 32 h 36"/>
                <a:gd name="T64" fmla="*/ 2 w 49"/>
                <a:gd name="T65" fmla="*/ 27 h 36"/>
                <a:gd name="T66" fmla="*/ 2 w 49"/>
                <a:gd name="T67" fmla="*/ 25 h 36"/>
                <a:gd name="T68" fmla="*/ 2 w 49"/>
                <a:gd name="T69" fmla="*/ 23 h 36"/>
                <a:gd name="T70" fmla="*/ 0 w 49"/>
                <a:gd name="T71" fmla="*/ 23 h 36"/>
                <a:gd name="T72" fmla="*/ 0 w 49"/>
                <a:gd name="T73" fmla="*/ 21 h 36"/>
                <a:gd name="T74" fmla="*/ 2 w 49"/>
                <a:gd name="T75" fmla="*/ 18 h 36"/>
                <a:gd name="T76" fmla="*/ 0 w 49"/>
                <a:gd name="T77" fmla="*/ 16 h 36"/>
                <a:gd name="T78" fmla="*/ 2 w 49"/>
                <a:gd name="T79" fmla="*/ 12 h 36"/>
                <a:gd name="T80" fmla="*/ 2 w 49"/>
                <a:gd name="T81" fmla="*/ 12 h 36"/>
                <a:gd name="T82" fmla="*/ 5 w 49"/>
                <a:gd name="T83" fmla="*/ 12 h 36"/>
                <a:gd name="T84" fmla="*/ 5 w 49"/>
                <a:gd name="T85" fmla="*/ 7 h 36"/>
                <a:gd name="T86" fmla="*/ 11 w 49"/>
                <a:gd name="T87" fmla="*/ 5 h 36"/>
                <a:gd name="T88" fmla="*/ 13 w 49"/>
                <a:gd name="T89" fmla="*/ 7 h 36"/>
                <a:gd name="T90" fmla="*/ 16 w 49"/>
                <a:gd name="T91" fmla="*/ 7 h 36"/>
                <a:gd name="T92" fmla="*/ 16 w 49"/>
                <a:gd name="T93" fmla="*/ 5 h 36"/>
                <a:gd name="T94" fmla="*/ 18 w 49"/>
                <a:gd name="T95" fmla="*/ 5 h 36"/>
                <a:gd name="T96" fmla="*/ 18 w 49"/>
                <a:gd name="T97" fmla="*/ 5 h 36"/>
                <a:gd name="T98" fmla="*/ 22 w 49"/>
                <a:gd name="T99" fmla="*/ 5 h 36"/>
                <a:gd name="T100" fmla="*/ 25 w 49"/>
                <a:gd name="T101" fmla="*/ 3 h 36"/>
                <a:gd name="T102" fmla="*/ 29 w 49"/>
                <a:gd name="T103" fmla="*/ 3 h 36"/>
                <a:gd name="T104" fmla="*/ 34 w 49"/>
                <a:gd name="T105" fmla="*/ 0 h 36"/>
                <a:gd name="T106" fmla="*/ 34 w 49"/>
                <a:gd name="T107" fmla="*/ 3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" h="36">
                  <a:moveTo>
                    <a:pt x="34" y="3"/>
                  </a:moveTo>
                  <a:lnTo>
                    <a:pt x="36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1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6" name="Freeform 552"/>
            <p:cNvSpPr>
              <a:spLocks noEditPoints="1"/>
            </p:cNvSpPr>
            <p:nvPr/>
          </p:nvSpPr>
          <p:spPr bwMode="auto">
            <a:xfrm>
              <a:off x="9545344" y="3081569"/>
              <a:ext cx="3343" cy="5014"/>
            </a:xfrm>
            <a:custGeom>
              <a:avLst/>
              <a:gdLst>
                <a:gd name="T0" fmla="*/ 0 w 2"/>
                <a:gd name="T1" fmla="*/ 3 h 3"/>
                <a:gd name="T2" fmla="*/ 0 w 2"/>
                <a:gd name="T3" fmla="*/ 3 h 3"/>
                <a:gd name="T4" fmla="*/ 0 w 2"/>
                <a:gd name="T5" fmla="*/ 3 h 3"/>
                <a:gd name="T6" fmla="*/ 0 w 2"/>
                <a:gd name="T7" fmla="*/ 3 h 3"/>
                <a:gd name="T8" fmla="*/ 2 w 2"/>
                <a:gd name="T9" fmla="*/ 3 h 3"/>
                <a:gd name="T10" fmla="*/ 2 w 2"/>
                <a:gd name="T11" fmla="*/ 3 h 3"/>
                <a:gd name="T12" fmla="*/ 2 w 2"/>
                <a:gd name="T13" fmla="*/ 3 h 3"/>
                <a:gd name="T14" fmla="*/ 2 w 2"/>
                <a:gd name="T15" fmla="*/ 3 h 3"/>
                <a:gd name="T16" fmla="*/ 2 w 2"/>
                <a:gd name="T17" fmla="*/ 3 h 3"/>
                <a:gd name="T18" fmla="*/ 2 w 2"/>
                <a:gd name="T19" fmla="*/ 3 h 3"/>
                <a:gd name="T20" fmla="*/ 2 w 2"/>
                <a:gd name="T21" fmla="*/ 3 h 3"/>
                <a:gd name="T22" fmla="*/ 2 w 2"/>
                <a:gd name="T23" fmla="*/ 3 h 3"/>
                <a:gd name="T24" fmla="*/ 2 w 2"/>
                <a:gd name="T25" fmla="*/ 3 h 3"/>
                <a:gd name="T26" fmla="*/ 2 w 2"/>
                <a:gd name="T27" fmla="*/ 3 h 3"/>
                <a:gd name="T28" fmla="*/ 2 w 2"/>
                <a:gd name="T29" fmla="*/ 3 h 3"/>
                <a:gd name="T30" fmla="*/ 0 w 2"/>
                <a:gd name="T31" fmla="*/ 3 h 3"/>
                <a:gd name="T32" fmla="*/ 2 w 2"/>
                <a:gd name="T33" fmla="*/ 3 h 3"/>
                <a:gd name="T34" fmla="*/ 2 w 2"/>
                <a:gd name="T35" fmla="*/ 3 h 3"/>
                <a:gd name="T36" fmla="*/ 0 w 2"/>
                <a:gd name="T37" fmla="*/ 3 h 3"/>
                <a:gd name="T38" fmla="*/ 0 w 2"/>
                <a:gd name="T39" fmla="*/ 3 h 3"/>
                <a:gd name="T40" fmla="*/ 0 w 2"/>
                <a:gd name="T41" fmla="*/ 3 h 3"/>
                <a:gd name="T42" fmla="*/ 0 w 2"/>
                <a:gd name="T43" fmla="*/ 3 h 3"/>
                <a:gd name="T44" fmla="*/ 0 w 2"/>
                <a:gd name="T45" fmla="*/ 3 h 3"/>
                <a:gd name="T46" fmla="*/ 0 w 2"/>
                <a:gd name="T47" fmla="*/ 3 h 3"/>
                <a:gd name="T48" fmla="*/ 0 w 2"/>
                <a:gd name="T49" fmla="*/ 3 h 3"/>
                <a:gd name="T50" fmla="*/ 0 w 2"/>
                <a:gd name="T51" fmla="*/ 3 h 3"/>
                <a:gd name="T52" fmla="*/ 0 w 2"/>
                <a:gd name="T53" fmla="*/ 3 h 3"/>
                <a:gd name="T54" fmla="*/ 0 w 2"/>
                <a:gd name="T55" fmla="*/ 3 h 3"/>
                <a:gd name="T56" fmla="*/ 0 w 2"/>
                <a:gd name="T57" fmla="*/ 3 h 3"/>
                <a:gd name="T58" fmla="*/ 0 w 2"/>
                <a:gd name="T59" fmla="*/ 3 h 3"/>
                <a:gd name="T60" fmla="*/ 0 w 2"/>
                <a:gd name="T61" fmla="*/ 3 h 3"/>
                <a:gd name="T62" fmla="*/ 0 w 2"/>
                <a:gd name="T63" fmla="*/ 3 h 3"/>
                <a:gd name="T64" fmla="*/ 0 w 2"/>
                <a:gd name="T65" fmla="*/ 0 h 3"/>
                <a:gd name="T66" fmla="*/ 0 w 2"/>
                <a:gd name="T67" fmla="*/ 0 h 3"/>
                <a:gd name="T68" fmla="*/ 0 w 2"/>
                <a:gd name="T69" fmla="*/ 0 h 3"/>
                <a:gd name="T70" fmla="*/ 0 w 2"/>
                <a:gd name="T71" fmla="*/ 0 h 3"/>
                <a:gd name="T72" fmla="*/ 0 w 2"/>
                <a:gd name="T73" fmla="*/ 0 h 3"/>
                <a:gd name="T74" fmla="*/ 0 w 2"/>
                <a:gd name="T75" fmla="*/ 0 h 3"/>
                <a:gd name="T76" fmla="*/ 0 w 2"/>
                <a:gd name="T77" fmla="*/ 0 h 3"/>
                <a:gd name="T78" fmla="*/ 0 w 2"/>
                <a:gd name="T79" fmla="*/ 0 h 3"/>
                <a:gd name="T80" fmla="*/ 0 w 2"/>
                <a:gd name="T81" fmla="*/ 0 h 3"/>
                <a:gd name="T82" fmla="*/ 0 w 2"/>
                <a:gd name="T83" fmla="*/ 0 h 3"/>
                <a:gd name="T84" fmla="*/ 0 w 2"/>
                <a:gd name="T85" fmla="*/ 0 h 3"/>
                <a:gd name="T86" fmla="*/ 0 w 2"/>
                <a:gd name="T87" fmla="*/ 3 h 3"/>
                <a:gd name="T88" fmla="*/ 0 w 2"/>
                <a:gd name="T89" fmla="*/ 3 h 3"/>
                <a:gd name="T90" fmla="*/ 0 w 2"/>
                <a:gd name="T91" fmla="*/ 3 h 3"/>
                <a:gd name="T92" fmla="*/ 0 w 2"/>
                <a:gd name="T93" fmla="*/ 3 h 3"/>
                <a:gd name="T94" fmla="*/ 0 w 2"/>
                <a:gd name="T95" fmla="*/ 3 h 3"/>
                <a:gd name="T96" fmla="*/ 0 w 2"/>
                <a:gd name="T97" fmla="*/ 3 h 3"/>
                <a:gd name="T98" fmla="*/ 0 w 2"/>
                <a:gd name="T99" fmla="*/ 3 h 3"/>
                <a:gd name="T100" fmla="*/ 0 w 2"/>
                <a:gd name="T101" fmla="*/ 3 h 3"/>
                <a:gd name="T102" fmla="*/ 0 w 2"/>
                <a:gd name="T103" fmla="*/ 0 h 3"/>
                <a:gd name="T104" fmla="*/ 0 w 2"/>
                <a:gd name="T105" fmla="*/ 0 h 3"/>
                <a:gd name="T106" fmla="*/ 0 w 2"/>
                <a:gd name="T107" fmla="*/ 0 h 3"/>
                <a:gd name="T108" fmla="*/ 0 w 2"/>
                <a:gd name="T109" fmla="*/ 0 h 3"/>
                <a:gd name="T110" fmla="*/ 0 w 2"/>
                <a:gd name="T111" fmla="*/ 0 h 3"/>
                <a:gd name="T112" fmla="*/ 0 w 2"/>
                <a:gd name="T1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" h="3">
                  <a:moveTo>
                    <a:pt x="0" y="3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7" name="Freeform 554"/>
            <p:cNvSpPr>
              <a:spLocks noEditPoints="1"/>
            </p:cNvSpPr>
            <p:nvPr/>
          </p:nvSpPr>
          <p:spPr bwMode="auto">
            <a:xfrm>
              <a:off x="6255980" y="1741086"/>
              <a:ext cx="172157" cy="96943"/>
            </a:xfrm>
            <a:custGeom>
              <a:avLst/>
              <a:gdLst>
                <a:gd name="T0" fmla="*/ 2 w 103"/>
                <a:gd name="T1" fmla="*/ 18 h 58"/>
                <a:gd name="T2" fmla="*/ 2 w 103"/>
                <a:gd name="T3" fmla="*/ 20 h 58"/>
                <a:gd name="T4" fmla="*/ 2 w 103"/>
                <a:gd name="T5" fmla="*/ 24 h 58"/>
                <a:gd name="T6" fmla="*/ 67 w 103"/>
                <a:gd name="T7" fmla="*/ 4 h 58"/>
                <a:gd name="T8" fmla="*/ 79 w 103"/>
                <a:gd name="T9" fmla="*/ 6 h 58"/>
                <a:gd name="T10" fmla="*/ 88 w 103"/>
                <a:gd name="T11" fmla="*/ 11 h 58"/>
                <a:gd name="T12" fmla="*/ 99 w 103"/>
                <a:gd name="T13" fmla="*/ 18 h 58"/>
                <a:gd name="T14" fmla="*/ 99 w 103"/>
                <a:gd name="T15" fmla="*/ 22 h 58"/>
                <a:gd name="T16" fmla="*/ 97 w 103"/>
                <a:gd name="T17" fmla="*/ 24 h 58"/>
                <a:gd name="T18" fmla="*/ 101 w 103"/>
                <a:gd name="T19" fmla="*/ 27 h 58"/>
                <a:gd name="T20" fmla="*/ 99 w 103"/>
                <a:gd name="T21" fmla="*/ 29 h 58"/>
                <a:gd name="T22" fmla="*/ 94 w 103"/>
                <a:gd name="T23" fmla="*/ 29 h 58"/>
                <a:gd name="T24" fmla="*/ 90 w 103"/>
                <a:gd name="T25" fmla="*/ 33 h 58"/>
                <a:gd name="T26" fmla="*/ 88 w 103"/>
                <a:gd name="T27" fmla="*/ 36 h 58"/>
                <a:gd name="T28" fmla="*/ 88 w 103"/>
                <a:gd name="T29" fmla="*/ 36 h 58"/>
                <a:gd name="T30" fmla="*/ 85 w 103"/>
                <a:gd name="T31" fmla="*/ 40 h 58"/>
                <a:gd name="T32" fmla="*/ 85 w 103"/>
                <a:gd name="T33" fmla="*/ 42 h 58"/>
                <a:gd name="T34" fmla="*/ 85 w 103"/>
                <a:gd name="T35" fmla="*/ 47 h 58"/>
                <a:gd name="T36" fmla="*/ 88 w 103"/>
                <a:gd name="T37" fmla="*/ 49 h 58"/>
                <a:gd name="T38" fmla="*/ 90 w 103"/>
                <a:gd name="T39" fmla="*/ 49 h 58"/>
                <a:gd name="T40" fmla="*/ 88 w 103"/>
                <a:gd name="T41" fmla="*/ 51 h 58"/>
                <a:gd name="T42" fmla="*/ 83 w 103"/>
                <a:gd name="T43" fmla="*/ 51 h 58"/>
                <a:gd name="T44" fmla="*/ 85 w 103"/>
                <a:gd name="T45" fmla="*/ 49 h 58"/>
                <a:gd name="T46" fmla="*/ 79 w 103"/>
                <a:gd name="T47" fmla="*/ 49 h 58"/>
                <a:gd name="T48" fmla="*/ 74 w 103"/>
                <a:gd name="T49" fmla="*/ 51 h 58"/>
                <a:gd name="T50" fmla="*/ 72 w 103"/>
                <a:gd name="T51" fmla="*/ 54 h 58"/>
                <a:gd name="T52" fmla="*/ 74 w 103"/>
                <a:gd name="T53" fmla="*/ 56 h 58"/>
                <a:gd name="T54" fmla="*/ 70 w 103"/>
                <a:gd name="T55" fmla="*/ 56 h 58"/>
                <a:gd name="T56" fmla="*/ 63 w 103"/>
                <a:gd name="T57" fmla="*/ 58 h 58"/>
                <a:gd name="T58" fmla="*/ 58 w 103"/>
                <a:gd name="T59" fmla="*/ 56 h 58"/>
                <a:gd name="T60" fmla="*/ 54 w 103"/>
                <a:gd name="T61" fmla="*/ 56 h 58"/>
                <a:gd name="T62" fmla="*/ 49 w 103"/>
                <a:gd name="T63" fmla="*/ 56 h 58"/>
                <a:gd name="T64" fmla="*/ 49 w 103"/>
                <a:gd name="T65" fmla="*/ 54 h 58"/>
                <a:gd name="T66" fmla="*/ 47 w 103"/>
                <a:gd name="T67" fmla="*/ 51 h 58"/>
                <a:gd name="T68" fmla="*/ 43 w 103"/>
                <a:gd name="T69" fmla="*/ 47 h 58"/>
                <a:gd name="T70" fmla="*/ 40 w 103"/>
                <a:gd name="T71" fmla="*/ 47 h 58"/>
                <a:gd name="T72" fmla="*/ 36 w 103"/>
                <a:gd name="T73" fmla="*/ 45 h 58"/>
                <a:gd name="T74" fmla="*/ 34 w 103"/>
                <a:gd name="T75" fmla="*/ 40 h 58"/>
                <a:gd name="T76" fmla="*/ 34 w 103"/>
                <a:gd name="T77" fmla="*/ 38 h 58"/>
                <a:gd name="T78" fmla="*/ 36 w 103"/>
                <a:gd name="T79" fmla="*/ 38 h 58"/>
                <a:gd name="T80" fmla="*/ 34 w 103"/>
                <a:gd name="T81" fmla="*/ 33 h 58"/>
                <a:gd name="T82" fmla="*/ 32 w 103"/>
                <a:gd name="T83" fmla="*/ 31 h 58"/>
                <a:gd name="T84" fmla="*/ 23 w 103"/>
                <a:gd name="T85" fmla="*/ 31 h 58"/>
                <a:gd name="T86" fmla="*/ 20 w 103"/>
                <a:gd name="T87" fmla="*/ 29 h 58"/>
                <a:gd name="T88" fmla="*/ 16 w 103"/>
                <a:gd name="T89" fmla="*/ 29 h 58"/>
                <a:gd name="T90" fmla="*/ 7 w 103"/>
                <a:gd name="T91" fmla="*/ 27 h 58"/>
                <a:gd name="T92" fmla="*/ 7 w 103"/>
                <a:gd name="T93" fmla="*/ 24 h 58"/>
                <a:gd name="T94" fmla="*/ 5 w 103"/>
                <a:gd name="T95" fmla="*/ 24 h 58"/>
                <a:gd name="T96" fmla="*/ 5 w 103"/>
                <a:gd name="T97" fmla="*/ 20 h 58"/>
                <a:gd name="T98" fmla="*/ 2 w 103"/>
                <a:gd name="T99" fmla="*/ 18 h 58"/>
                <a:gd name="T100" fmla="*/ 0 w 103"/>
                <a:gd name="T101" fmla="*/ 13 h 58"/>
                <a:gd name="T102" fmla="*/ 2 w 103"/>
                <a:gd name="T103" fmla="*/ 9 h 58"/>
                <a:gd name="T104" fmla="*/ 7 w 103"/>
                <a:gd name="T105" fmla="*/ 4 h 58"/>
                <a:gd name="T106" fmla="*/ 25 w 103"/>
                <a:gd name="T107" fmla="*/ 2 h 58"/>
                <a:gd name="T108" fmla="*/ 32 w 103"/>
                <a:gd name="T109" fmla="*/ 0 h 58"/>
                <a:gd name="T110" fmla="*/ 38 w 103"/>
                <a:gd name="T111" fmla="*/ 2 h 58"/>
                <a:gd name="T112" fmla="*/ 45 w 103"/>
                <a:gd name="T113" fmla="*/ 2 h 58"/>
                <a:gd name="T114" fmla="*/ 54 w 103"/>
                <a:gd name="T115" fmla="*/ 4 h 58"/>
                <a:gd name="T116" fmla="*/ 61 w 103"/>
                <a:gd name="T117" fmla="*/ 2 h 58"/>
                <a:gd name="T118" fmla="*/ 65 w 103"/>
                <a:gd name="T11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3" h="58">
                  <a:moveTo>
                    <a:pt x="2" y="27"/>
                  </a:moveTo>
                  <a:lnTo>
                    <a:pt x="2" y="27"/>
                  </a:lnTo>
                  <a:lnTo>
                    <a:pt x="0" y="27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7"/>
                  </a:lnTo>
                  <a:close/>
                  <a:moveTo>
                    <a:pt x="65" y="0"/>
                  </a:moveTo>
                  <a:lnTo>
                    <a:pt x="67" y="2"/>
                  </a:lnTo>
                  <a:lnTo>
                    <a:pt x="67" y="2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8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49"/>
                  </a:lnTo>
                  <a:lnTo>
                    <a:pt x="83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67" y="56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2" y="56"/>
                  </a:lnTo>
                  <a:lnTo>
                    <a:pt x="52" y="58"/>
                  </a:lnTo>
                  <a:lnTo>
                    <a:pt x="52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3" y="49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2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1" y="4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8" name="Freeform 555"/>
            <p:cNvSpPr>
              <a:spLocks/>
            </p:cNvSpPr>
            <p:nvPr/>
          </p:nvSpPr>
          <p:spPr bwMode="auto">
            <a:xfrm>
              <a:off x="5936737" y="2090413"/>
              <a:ext cx="8358" cy="6686"/>
            </a:xfrm>
            <a:custGeom>
              <a:avLst/>
              <a:gdLst>
                <a:gd name="T0" fmla="*/ 2 w 5"/>
                <a:gd name="T1" fmla="*/ 4 h 4"/>
                <a:gd name="T2" fmla="*/ 2 w 5"/>
                <a:gd name="T3" fmla="*/ 4 h 4"/>
                <a:gd name="T4" fmla="*/ 2 w 5"/>
                <a:gd name="T5" fmla="*/ 4 h 4"/>
                <a:gd name="T6" fmla="*/ 0 w 5"/>
                <a:gd name="T7" fmla="*/ 4 h 4"/>
                <a:gd name="T8" fmla="*/ 0 w 5"/>
                <a:gd name="T9" fmla="*/ 4 h 4"/>
                <a:gd name="T10" fmla="*/ 2 w 5"/>
                <a:gd name="T11" fmla="*/ 4 h 4"/>
                <a:gd name="T12" fmla="*/ 2 w 5"/>
                <a:gd name="T13" fmla="*/ 4 h 4"/>
                <a:gd name="T14" fmla="*/ 2 w 5"/>
                <a:gd name="T15" fmla="*/ 4 h 4"/>
                <a:gd name="T16" fmla="*/ 2 w 5"/>
                <a:gd name="T17" fmla="*/ 4 h 4"/>
                <a:gd name="T18" fmla="*/ 2 w 5"/>
                <a:gd name="T19" fmla="*/ 4 h 4"/>
                <a:gd name="T20" fmla="*/ 2 w 5"/>
                <a:gd name="T21" fmla="*/ 2 h 4"/>
                <a:gd name="T22" fmla="*/ 0 w 5"/>
                <a:gd name="T23" fmla="*/ 2 h 4"/>
                <a:gd name="T24" fmla="*/ 0 w 5"/>
                <a:gd name="T25" fmla="*/ 2 h 4"/>
                <a:gd name="T26" fmla="*/ 2 w 5"/>
                <a:gd name="T27" fmla="*/ 0 h 4"/>
                <a:gd name="T28" fmla="*/ 2 w 5"/>
                <a:gd name="T29" fmla="*/ 0 h 4"/>
                <a:gd name="T30" fmla="*/ 2 w 5"/>
                <a:gd name="T31" fmla="*/ 0 h 4"/>
                <a:gd name="T32" fmla="*/ 2 w 5"/>
                <a:gd name="T33" fmla="*/ 2 h 4"/>
                <a:gd name="T34" fmla="*/ 2 w 5"/>
                <a:gd name="T35" fmla="*/ 2 h 4"/>
                <a:gd name="T36" fmla="*/ 2 w 5"/>
                <a:gd name="T37" fmla="*/ 2 h 4"/>
                <a:gd name="T38" fmla="*/ 2 w 5"/>
                <a:gd name="T39" fmla="*/ 2 h 4"/>
                <a:gd name="T40" fmla="*/ 2 w 5"/>
                <a:gd name="T41" fmla="*/ 2 h 4"/>
                <a:gd name="T42" fmla="*/ 2 w 5"/>
                <a:gd name="T43" fmla="*/ 2 h 4"/>
                <a:gd name="T44" fmla="*/ 2 w 5"/>
                <a:gd name="T45" fmla="*/ 2 h 4"/>
                <a:gd name="T46" fmla="*/ 2 w 5"/>
                <a:gd name="T47" fmla="*/ 2 h 4"/>
                <a:gd name="T48" fmla="*/ 2 w 5"/>
                <a:gd name="T49" fmla="*/ 2 h 4"/>
                <a:gd name="T50" fmla="*/ 5 w 5"/>
                <a:gd name="T51" fmla="*/ 4 h 4"/>
                <a:gd name="T52" fmla="*/ 5 w 5"/>
                <a:gd name="T53" fmla="*/ 4 h 4"/>
                <a:gd name="T54" fmla="*/ 5 w 5"/>
                <a:gd name="T55" fmla="*/ 4 h 4"/>
                <a:gd name="T56" fmla="*/ 2 w 5"/>
                <a:gd name="T5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" h="4"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9" name="Freeform 556"/>
            <p:cNvSpPr>
              <a:spLocks/>
            </p:cNvSpPr>
            <p:nvPr/>
          </p:nvSpPr>
          <p:spPr bwMode="auto">
            <a:xfrm>
              <a:off x="5955123" y="2646998"/>
              <a:ext cx="553242" cy="544885"/>
            </a:xfrm>
            <a:custGeom>
              <a:avLst/>
              <a:gdLst>
                <a:gd name="T0" fmla="*/ 59 w 331"/>
                <a:gd name="T1" fmla="*/ 6 h 326"/>
                <a:gd name="T2" fmla="*/ 81 w 331"/>
                <a:gd name="T3" fmla="*/ 6 h 326"/>
                <a:gd name="T4" fmla="*/ 97 w 331"/>
                <a:gd name="T5" fmla="*/ 11 h 326"/>
                <a:gd name="T6" fmla="*/ 108 w 331"/>
                <a:gd name="T7" fmla="*/ 18 h 326"/>
                <a:gd name="T8" fmla="*/ 119 w 331"/>
                <a:gd name="T9" fmla="*/ 22 h 326"/>
                <a:gd name="T10" fmla="*/ 128 w 331"/>
                <a:gd name="T11" fmla="*/ 40 h 326"/>
                <a:gd name="T12" fmla="*/ 164 w 331"/>
                <a:gd name="T13" fmla="*/ 49 h 326"/>
                <a:gd name="T14" fmla="*/ 173 w 331"/>
                <a:gd name="T15" fmla="*/ 56 h 326"/>
                <a:gd name="T16" fmla="*/ 191 w 331"/>
                <a:gd name="T17" fmla="*/ 67 h 326"/>
                <a:gd name="T18" fmla="*/ 207 w 331"/>
                <a:gd name="T19" fmla="*/ 67 h 326"/>
                <a:gd name="T20" fmla="*/ 218 w 331"/>
                <a:gd name="T21" fmla="*/ 49 h 326"/>
                <a:gd name="T22" fmla="*/ 214 w 331"/>
                <a:gd name="T23" fmla="*/ 36 h 326"/>
                <a:gd name="T24" fmla="*/ 216 w 331"/>
                <a:gd name="T25" fmla="*/ 24 h 326"/>
                <a:gd name="T26" fmla="*/ 232 w 331"/>
                <a:gd name="T27" fmla="*/ 11 h 326"/>
                <a:gd name="T28" fmla="*/ 247 w 331"/>
                <a:gd name="T29" fmla="*/ 6 h 326"/>
                <a:gd name="T30" fmla="*/ 256 w 331"/>
                <a:gd name="T31" fmla="*/ 6 h 326"/>
                <a:gd name="T32" fmla="*/ 263 w 331"/>
                <a:gd name="T33" fmla="*/ 9 h 326"/>
                <a:gd name="T34" fmla="*/ 277 w 331"/>
                <a:gd name="T35" fmla="*/ 13 h 326"/>
                <a:gd name="T36" fmla="*/ 277 w 331"/>
                <a:gd name="T37" fmla="*/ 18 h 326"/>
                <a:gd name="T38" fmla="*/ 279 w 331"/>
                <a:gd name="T39" fmla="*/ 20 h 326"/>
                <a:gd name="T40" fmla="*/ 281 w 331"/>
                <a:gd name="T41" fmla="*/ 24 h 326"/>
                <a:gd name="T42" fmla="*/ 295 w 331"/>
                <a:gd name="T43" fmla="*/ 27 h 326"/>
                <a:gd name="T44" fmla="*/ 308 w 331"/>
                <a:gd name="T45" fmla="*/ 27 h 326"/>
                <a:gd name="T46" fmla="*/ 315 w 331"/>
                <a:gd name="T47" fmla="*/ 29 h 326"/>
                <a:gd name="T48" fmla="*/ 319 w 331"/>
                <a:gd name="T49" fmla="*/ 36 h 326"/>
                <a:gd name="T50" fmla="*/ 315 w 331"/>
                <a:gd name="T51" fmla="*/ 51 h 326"/>
                <a:gd name="T52" fmla="*/ 315 w 331"/>
                <a:gd name="T53" fmla="*/ 65 h 326"/>
                <a:gd name="T54" fmla="*/ 313 w 331"/>
                <a:gd name="T55" fmla="*/ 74 h 326"/>
                <a:gd name="T56" fmla="*/ 317 w 331"/>
                <a:gd name="T57" fmla="*/ 87 h 326"/>
                <a:gd name="T58" fmla="*/ 322 w 331"/>
                <a:gd name="T59" fmla="*/ 150 h 326"/>
                <a:gd name="T60" fmla="*/ 326 w 331"/>
                <a:gd name="T61" fmla="*/ 224 h 326"/>
                <a:gd name="T62" fmla="*/ 328 w 331"/>
                <a:gd name="T63" fmla="*/ 281 h 326"/>
                <a:gd name="T64" fmla="*/ 331 w 331"/>
                <a:gd name="T65" fmla="*/ 310 h 326"/>
                <a:gd name="T66" fmla="*/ 324 w 331"/>
                <a:gd name="T67" fmla="*/ 314 h 326"/>
                <a:gd name="T68" fmla="*/ 306 w 331"/>
                <a:gd name="T69" fmla="*/ 323 h 326"/>
                <a:gd name="T70" fmla="*/ 279 w 331"/>
                <a:gd name="T71" fmla="*/ 308 h 326"/>
                <a:gd name="T72" fmla="*/ 250 w 331"/>
                <a:gd name="T73" fmla="*/ 292 h 326"/>
                <a:gd name="T74" fmla="*/ 220 w 331"/>
                <a:gd name="T75" fmla="*/ 276 h 326"/>
                <a:gd name="T76" fmla="*/ 194 w 331"/>
                <a:gd name="T77" fmla="*/ 260 h 326"/>
                <a:gd name="T78" fmla="*/ 164 w 331"/>
                <a:gd name="T79" fmla="*/ 245 h 326"/>
                <a:gd name="T80" fmla="*/ 140 w 331"/>
                <a:gd name="T81" fmla="*/ 233 h 326"/>
                <a:gd name="T82" fmla="*/ 128 w 331"/>
                <a:gd name="T83" fmla="*/ 240 h 326"/>
                <a:gd name="T84" fmla="*/ 108 w 331"/>
                <a:gd name="T85" fmla="*/ 251 h 326"/>
                <a:gd name="T86" fmla="*/ 88 w 331"/>
                <a:gd name="T87" fmla="*/ 238 h 326"/>
                <a:gd name="T88" fmla="*/ 68 w 331"/>
                <a:gd name="T89" fmla="*/ 233 h 326"/>
                <a:gd name="T90" fmla="*/ 50 w 331"/>
                <a:gd name="T91" fmla="*/ 211 h 326"/>
                <a:gd name="T92" fmla="*/ 25 w 331"/>
                <a:gd name="T93" fmla="*/ 204 h 326"/>
                <a:gd name="T94" fmla="*/ 18 w 331"/>
                <a:gd name="T95" fmla="*/ 186 h 326"/>
                <a:gd name="T96" fmla="*/ 7 w 331"/>
                <a:gd name="T97" fmla="*/ 164 h 326"/>
                <a:gd name="T98" fmla="*/ 14 w 331"/>
                <a:gd name="T99" fmla="*/ 150 h 326"/>
                <a:gd name="T100" fmla="*/ 14 w 331"/>
                <a:gd name="T101" fmla="*/ 134 h 326"/>
                <a:gd name="T102" fmla="*/ 14 w 331"/>
                <a:gd name="T103" fmla="*/ 105 h 326"/>
                <a:gd name="T104" fmla="*/ 12 w 331"/>
                <a:gd name="T105" fmla="*/ 67 h 326"/>
                <a:gd name="T106" fmla="*/ 21 w 331"/>
                <a:gd name="T107" fmla="*/ 49 h 326"/>
                <a:gd name="T108" fmla="*/ 25 w 331"/>
                <a:gd name="T109" fmla="*/ 33 h 326"/>
                <a:gd name="T110" fmla="*/ 27 w 331"/>
                <a:gd name="T111" fmla="*/ 29 h 326"/>
                <a:gd name="T112" fmla="*/ 45 w 331"/>
                <a:gd name="T113" fmla="*/ 15 h 326"/>
                <a:gd name="T114" fmla="*/ 43 w 331"/>
                <a:gd name="T115" fmla="*/ 0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1" h="326">
                  <a:moveTo>
                    <a:pt x="50" y="2"/>
                  </a:moveTo>
                  <a:lnTo>
                    <a:pt x="50" y="2"/>
                  </a:lnTo>
                  <a:lnTo>
                    <a:pt x="50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9" y="6"/>
                  </a:lnTo>
                  <a:lnTo>
                    <a:pt x="59" y="9"/>
                  </a:lnTo>
                  <a:lnTo>
                    <a:pt x="61" y="9"/>
                  </a:lnTo>
                  <a:lnTo>
                    <a:pt x="68" y="9"/>
                  </a:lnTo>
                  <a:lnTo>
                    <a:pt x="70" y="9"/>
                  </a:lnTo>
                  <a:lnTo>
                    <a:pt x="74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2" y="9"/>
                  </a:lnTo>
                  <a:lnTo>
                    <a:pt x="95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9" y="11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13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22" y="22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4" y="36"/>
                  </a:lnTo>
                  <a:lnTo>
                    <a:pt x="126" y="38"/>
                  </a:lnTo>
                  <a:lnTo>
                    <a:pt x="128" y="40"/>
                  </a:lnTo>
                  <a:lnTo>
                    <a:pt x="128" y="42"/>
                  </a:lnTo>
                  <a:lnTo>
                    <a:pt x="131" y="42"/>
                  </a:lnTo>
                  <a:lnTo>
                    <a:pt x="137" y="45"/>
                  </a:lnTo>
                  <a:lnTo>
                    <a:pt x="142" y="47"/>
                  </a:lnTo>
                  <a:lnTo>
                    <a:pt x="151" y="47"/>
                  </a:lnTo>
                  <a:lnTo>
                    <a:pt x="155" y="47"/>
                  </a:lnTo>
                  <a:lnTo>
                    <a:pt x="160" y="49"/>
                  </a:lnTo>
                  <a:lnTo>
                    <a:pt x="162" y="49"/>
                  </a:lnTo>
                  <a:lnTo>
                    <a:pt x="162" y="49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4" y="51"/>
                  </a:lnTo>
                  <a:lnTo>
                    <a:pt x="164" y="51"/>
                  </a:lnTo>
                  <a:lnTo>
                    <a:pt x="164" y="51"/>
                  </a:lnTo>
                  <a:lnTo>
                    <a:pt x="164" y="51"/>
                  </a:lnTo>
                  <a:lnTo>
                    <a:pt x="169" y="51"/>
                  </a:lnTo>
                  <a:lnTo>
                    <a:pt x="169" y="54"/>
                  </a:lnTo>
                  <a:lnTo>
                    <a:pt x="171" y="54"/>
                  </a:lnTo>
                  <a:lnTo>
                    <a:pt x="173" y="54"/>
                  </a:lnTo>
                  <a:lnTo>
                    <a:pt x="173" y="54"/>
                  </a:lnTo>
                  <a:lnTo>
                    <a:pt x="173" y="56"/>
                  </a:lnTo>
                  <a:lnTo>
                    <a:pt x="173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80" y="58"/>
                  </a:lnTo>
                  <a:lnTo>
                    <a:pt x="180" y="58"/>
                  </a:lnTo>
                  <a:lnTo>
                    <a:pt x="180" y="58"/>
                  </a:lnTo>
                  <a:lnTo>
                    <a:pt x="182" y="60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6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69"/>
                  </a:lnTo>
                  <a:lnTo>
                    <a:pt x="203" y="69"/>
                  </a:lnTo>
                  <a:lnTo>
                    <a:pt x="203" y="69"/>
                  </a:lnTo>
                  <a:lnTo>
                    <a:pt x="205" y="69"/>
                  </a:lnTo>
                  <a:lnTo>
                    <a:pt x="205" y="67"/>
                  </a:lnTo>
                  <a:lnTo>
                    <a:pt x="207" y="67"/>
                  </a:lnTo>
                  <a:lnTo>
                    <a:pt x="207" y="67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12" y="63"/>
                  </a:lnTo>
                  <a:lnTo>
                    <a:pt x="214" y="60"/>
                  </a:lnTo>
                  <a:lnTo>
                    <a:pt x="216" y="58"/>
                  </a:lnTo>
                  <a:lnTo>
                    <a:pt x="216" y="58"/>
                  </a:lnTo>
                  <a:lnTo>
                    <a:pt x="216" y="56"/>
                  </a:lnTo>
                  <a:lnTo>
                    <a:pt x="218" y="56"/>
                  </a:lnTo>
                  <a:lnTo>
                    <a:pt x="218" y="54"/>
                  </a:lnTo>
                  <a:lnTo>
                    <a:pt x="218" y="51"/>
                  </a:lnTo>
                  <a:lnTo>
                    <a:pt x="218" y="49"/>
                  </a:lnTo>
                  <a:lnTo>
                    <a:pt x="218" y="47"/>
                  </a:lnTo>
                  <a:lnTo>
                    <a:pt x="218" y="47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6" y="42"/>
                  </a:lnTo>
                  <a:lnTo>
                    <a:pt x="216" y="42"/>
                  </a:lnTo>
                  <a:lnTo>
                    <a:pt x="214" y="38"/>
                  </a:lnTo>
                  <a:lnTo>
                    <a:pt x="214" y="38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6"/>
                  </a:lnTo>
                  <a:lnTo>
                    <a:pt x="214" y="33"/>
                  </a:lnTo>
                  <a:lnTo>
                    <a:pt x="214" y="33"/>
                  </a:lnTo>
                  <a:lnTo>
                    <a:pt x="214" y="31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6" y="24"/>
                  </a:lnTo>
                  <a:lnTo>
                    <a:pt x="216" y="24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3" y="18"/>
                  </a:lnTo>
                  <a:lnTo>
                    <a:pt x="223" y="18"/>
                  </a:lnTo>
                  <a:lnTo>
                    <a:pt x="223" y="18"/>
                  </a:lnTo>
                  <a:lnTo>
                    <a:pt x="225" y="15"/>
                  </a:lnTo>
                  <a:lnTo>
                    <a:pt x="229" y="13"/>
                  </a:lnTo>
                  <a:lnTo>
                    <a:pt x="232" y="11"/>
                  </a:lnTo>
                  <a:lnTo>
                    <a:pt x="234" y="9"/>
                  </a:lnTo>
                  <a:lnTo>
                    <a:pt x="236" y="9"/>
                  </a:lnTo>
                  <a:lnTo>
                    <a:pt x="238" y="9"/>
                  </a:lnTo>
                  <a:lnTo>
                    <a:pt x="241" y="9"/>
                  </a:lnTo>
                  <a:lnTo>
                    <a:pt x="243" y="9"/>
                  </a:lnTo>
                  <a:lnTo>
                    <a:pt x="243" y="9"/>
                  </a:lnTo>
                  <a:lnTo>
                    <a:pt x="245" y="6"/>
                  </a:lnTo>
                  <a:lnTo>
                    <a:pt x="245" y="6"/>
                  </a:lnTo>
                  <a:lnTo>
                    <a:pt x="247" y="6"/>
                  </a:lnTo>
                  <a:lnTo>
                    <a:pt x="247" y="6"/>
                  </a:lnTo>
                  <a:lnTo>
                    <a:pt x="247" y="6"/>
                  </a:lnTo>
                  <a:lnTo>
                    <a:pt x="250" y="6"/>
                  </a:lnTo>
                  <a:lnTo>
                    <a:pt x="250" y="6"/>
                  </a:lnTo>
                  <a:lnTo>
                    <a:pt x="252" y="6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6" y="6"/>
                  </a:lnTo>
                  <a:lnTo>
                    <a:pt x="259" y="6"/>
                  </a:lnTo>
                  <a:lnTo>
                    <a:pt x="261" y="6"/>
                  </a:lnTo>
                  <a:lnTo>
                    <a:pt x="261" y="6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5" y="9"/>
                  </a:lnTo>
                  <a:lnTo>
                    <a:pt x="270" y="11"/>
                  </a:lnTo>
                  <a:lnTo>
                    <a:pt x="272" y="11"/>
                  </a:lnTo>
                  <a:lnTo>
                    <a:pt x="272" y="11"/>
                  </a:lnTo>
                  <a:lnTo>
                    <a:pt x="272" y="11"/>
                  </a:lnTo>
                  <a:lnTo>
                    <a:pt x="272" y="11"/>
                  </a:lnTo>
                  <a:lnTo>
                    <a:pt x="272" y="13"/>
                  </a:lnTo>
                  <a:lnTo>
                    <a:pt x="274" y="11"/>
                  </a:lnTo>
                  <a:lnTo>
                    <a:pt x="274" y="13"/>
                  </a:lnTo>
                  <a:lnTo>
                    <a:pt x="274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7" y="13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5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18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7" y="20"/>
                  </a:lnTo>
                  <a:lnTo>
                    <a:pt x="279" y="20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79" y="22"/>
                  </a:lnTo>
                  <a:lnTo>
                    <a:pt x="281" y="24"/>
                  </a:lnTo>
                  <a:lnTo>
                    <a:pt x="281" y="24"/>
                  </a:lnTo>
                  <a:lnTo>
                    <a:pt x="281" y="24"/>
                  </a:lnTo>
                  <a:lnTo>
                    <a:pt x="281" y="24"/>
                  </a:lnTo>
                  <a:lnTo>
                    <a:pt x="281" y="24"/>
                  </a:lnTo>
                  <a:lnTo>
                    <a:pt x="281" y="22"/>
                  </a:lnTo>
                  <a:lnTo>
                    <a:pt x="281" y="22"/>
                  </a:lnTo>
                  <a:lnTo>
                    <a:pt x="281" y="22"/>
                  </a:lnTo>
                  <a:lnTo>
                    <a:pt x="281" y="22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6" y="24"/>
                  </a:lnTo>
                  <a:lnTo>
                    <a:pt x="288" y="24"/>
                  </a:lnTo>
                  <a:lnTo>
                    <a:pt x="292" y="24"/>
                  </a:lnTo>
                  <a:lnTo>
                    <a:pt x="295" y="27"/>
                  </a:lnTo>
                  <a:lnTo>
                    <a:pt x="295" y="27"/>
                  </a:lnTo>
                  <a:lnTo>
                    <a:pt x="295" y="27"/>
                  </a:lnTo>
                  <a:lnTo>
                    <a:pt x="295" y="27"/>
                  </a:lnTo>
                  <a:lnTo>
                    <a:pt x="295" y="27"/>
                  </a:lnTo>
                  <a:lnTo>
                    <a:pt x="297" y="29"/>
                  </a:lnTo>
                  <a:lnTo>
                    <a:pt x="297" y="29"/>
                  </a:lnTo>
                  <a:lnTo>
                    <a:pt x="301" y="29"/>
                  </a:lnTo>
                  <a:lnTo>
                    <a:pt x="306" y="29"/>
                  </a:lnTo>
                  <a:lnTo>
                    <a:pt x="308" y="29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3" y="29"/>
                  </a:lnTo>
                  <a:lnTo>
                    <a:pt x="315" y="29"/>
                  </a:lnTo>
                  <a:lnTo>
                    <a:pt x="315" y="29"/>
                  </a:lnTo>
                  <a:lnTo>
                    <a:pt x="315" y="31"/>
                  </a:lnTo>
                  <a:lnTo>
                    <a:pt x="315" y="31"/>
                  </a:lnTo>
                  <a:lnTo>
                    <a:pt x="315" y="31"/>
                  </a:lnTo>
                  <a:lnTo>
                    <a:pt x="315" y="31"/>
                  </a:lnTo>
                  <a:lnTo>
                    <a:pt x="317" y="33"/>
                  </a:lnTo>
                  <a:lnTo>
                    <a:pt x="317" y="33"/>
                  </a:lnTo>
                  <a:lnTo>
                    <a:pt x="317" y="36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7" y="38"/>
                  </a:lnTo>
                  <a:lnTo>
                    <a:pt x="317" y="38"/>
                  </a:lnTo>
                  <a:lnTo>
                    <a:pt x="317" y="40"/>
                  </a:lnTo>
                  <a:lnTo>
                    <a:pt x="313" y="42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3" y="47"/>
                  </a:lnTo>
                  <a:lnTo>
                    <a:pt x="313" y="49"/>
                  </a:lnTo>
                  <a:lnTo>
                    <a:pt x="315" y="51"/>
                  </a:lnTo>
                  <a:lnTo>
                    <a:pt x="315" y="51"/>
                  </a:lnTo>
                  <a:lnTo>
                    <a:pt x="315" y="54"/>
                  </a:lnTo>
                  <a:lnTo>
                    <a:pt x="315" y="54"/>
                  </a:lnTo>
                  <a:lnTo>
                    <a:pt x="317" y="56"/>
                  </a:lnTo>
                  <a:lnTo>
                    <a:pt x="317" y="58"/>
                  </a:lnTo>
                  <a:lnTo>
                    <a:pt x="317" y="58"/>
                  </a:lnTo>
                  <a:lnTo>
                    <a:pt x="317" y="58"/>
                  </a:lnTo>
                  <a:lnTo>
                    <a:pt x="317" y="60"/>
                  </a:lnTo>
                  <a:lnTo>
                    <a:pt x="317" y="60"/>
                  </a:lnTo>
                  <a:lnTo>
                    <a:pt x="315" y="63"/>
                  </a:lnTo>
                  <a:lnTo>
                    <a:pt x="315" y="63"/>
                  </a:lnTo>
                  <a:lnTo>
                    <a:pt x="315" y="65"/>
                  </a:lnTo>
                  <a:lnTo>
                    <a:pt x="315" y="65"/>
                  </a:lnTo>
                  <a:lnTo>
                    <a:pt x="315" y="67"/>
                  </a:lnTo>
                  <a:lnTo>
                    <a:pt x="313" y="67"/>
                  </a:lnTo>
                  <a:lnTo>
                    <a:pt x="313" y="67"/>
                  </a:lnTo>
                  <a:lnTo>
                    <a:pt x="313" y="67"/>
                  </a:lnTo>
                  <a:lnTo>
                    <a:pt x="313" y="69"/>
                  </a:lnTo>
                  <a:lnTo>
                    <a:pt x="313" y="71"/>
                  </a:lnTo>
                  <a:lnTo>
                    <a:pt x="313" y="71"/>
                  </a:lnTo>
                  <a:lnTo>
                    <a:pt x="313" y="71"/>
                  </a:lnTo>
                  <a:lnTo>
                    <a:pt x="313" y="74"/>
                  </a:lnTo>
                  <a:lnTo>
                    <a:pt x="313" y="74"/>
                  </a:lnTo>
                  <a:lnTo>
                    <a:pt x="315" y="78"/>
                  </a:lnTo>
                  <a:lnTo>
                    <a:pt x="315" y="78"/>
                  </a:lnTo>
                  <a:lnTo>
                    <a:pt x="315" y="78"/>
                  </a:lnTo>
                  <a:lnTo>
                    <a:pt x="315" y="80"/>
                  </a:lnTo>
                  <a:lnTo>
                    <a:pt x="315" y="80"/>
                  </a:lnTo>
                  <a:lnTo>
                    <a:pt x="315" y="83"/>
                  </a:lnTo>
                  <a:lnTo>
                    <a:pt x="317" y="85"/>
                  </a:lnTo>
                  <a:lnTo>
                    <a:pt x="317" y="85"/>
                  </a:lnTo>
                  <a:lnTo>
                    <a:pt x="317" y="87"/>
                  </a:lnTo>
                  <a:lnTo>
                    <a:pt x="317" y="87"/>
                  </a:lnTo>
                  <a:lnTo>
                    <a:pt x="317" y="87"/>
                  </a:lnTo>
                  <a:lnTo>
                    <a:pt x="319" y="92"/>
                  </a:lnTo>
                  <a:lnTo>
                    <a:pt x="319" y="94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19" y="103"/>
                  </a:lnTo>
                  <a:lnTo>
                    <a:pt x="319" y="112"/>
                  </a:lnTo>
                  <a:lnTo>
                    <a:pt x="322" y="123"/>
                  </a:lnTo>
                  <a:lnTo>
                    <a:pt x="322" y="132"/>
                  </a:lnTo>
                  <a:lnTo>
                    <a:pt x="322" y="137"/>
                  </a:lnTo>
                  <a:lnTo>
                    <a:pt x="322" y="143"/>
                  </a:lnTo>
                  <a:lnTo>
                    <a:pt x="322" y="150"/>
                  </a:lnTo>
                  <a:lnTo>
                    <a:pt x="322" y="155"/>
                  </a:lnTo>
                  <a:lnTo>
                    <a:pt x="324" y="161"/>
                  </a:lnTo>
                  <a:lnTo>
                    <a:pt x="324" y="168"/>
                  </a:lnTo>
                  <a:lnTo>
                    <a:pt x="324" y="175"/>
                  </a:lnTo>
                  <a:lnTo>
                    <a:pt x="324" y="184"/>
                  </a:lnTo>
                  <a:lnTo>
                    <a:pt x="324" y="191"/>
                  </a:lnTo>
                  <a:lnTo>
                    <a:pt x="324" y="197"/>
                  </a:lnTo>
                  <a:lnTo>
                    <a:pt x="326" y="204"/>
                  </a:lnTo>
                  <a:lnTo>
                    <a:pt x="326" y="211"/>
                  </a:lnTo>
                  <a:lnTo>
                    <a:pt x="326" y="218"/>
                  </a:lnTo>
                  <a:lnTo>
                    <a:pt x="326" y="224"/>
                  </a:lnTo>
                  <a:lnTo>
                    <a:pt x="326" y="231"/>
                  </a:lnTo>
                  <a:lnTo>
                    <a:pt x="326" y="238"/>
                  </a:lnTo>
                  <a:lnTo>
                    <a:pt x="326" y="245"/>
                  </a:lnTo>
                  <a:lnTo>
                    <a:pt x="326" y="251"/>
                  </a:lnTo>
                  <a:lnTo>
                    <a:pt x="328" y="260"/>
                  </a:lnTo>
                  <a:lnTo>
                    <a:pt x="328" y="267"/>
                  </a:lnTo>
                  <a:lnTo>
                    <a:pt x="328" y="269"/>
                  </a:lnTo>
                  <a:lnTo>
                    <a:pt x="328" y="272"/>
                  </a:lnTo>
                  <a:lnTo>
                    <a:pt x="328" y="276"/>
                  </a:lnTo>
                  <a:lnTo>
                    <a:pt x="328" y="278"/>
                  </a:lnTo>
                  <a:lnTo>
                    <a:pt x="328" y="281"/>
                  </a:lnTo>
                  <a:lnTo>
                    <a:pt x="328" y="285"/>
                  </a:lnTo>
                  <a:lnTo>
                    <a:pt x="328" y="287"/>
                  </a:lnTo>
                  <a:lnTo>
                    <a:pt x="328" y="290"/>
                  </a:lnTo>
                  <a:lnTo>
                    <a:pt x="328" y="292"/>
                  </a:lnTo>
                  <a:lnTo>
                    <a:pt x="328" y="296"/>
                  </a:lnTo>
                  <a:lnTo>
                    <a:pt x="328" y="299"/>
                  </a:lnTo>
                  <a:lnTo>
                    <a:pt x="328" y="301"/>
                  </a:lnTo>
                  <a:lnTo>
                    <a:pt x="328" y="303"/>
                  </a:lnTo>
                  <a:lnTo>
                    <a:pt x="328" y="305"/>
                  </a:lnTo>
                  <a:lnTo>
                    <a:pt x="328" y="308"/>
                  </a:lnTo>
                  <a:lnTo>
                    <a:pt x="331" y="310"/>
                  </a:lnTo>
                  <a:lnTo>
                    <a:pt x="331" y="314"/>
                  </a:lnTo>
                  <a:lnTo>
                    <a:pt x="331" y="314"/>
                  </a:lnTo>
                  <a:lnTo>
                    <a:pt x="331" y="314"/>
                  </a:lnTo>
                  <a:lnTo>
                    <a:pt x="331" y="314"/>
                  </a:lnTo>
                  <a:lnTo>
                    <a:pt x="331" y="314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28" y="314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19" y="314"/>
                  </a:lnTo>
                  <a:lnTo>
                    <a:pt x="317" y="314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08" y="314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10" y="323"/>
                  </a:lnTo>
                  <a:lnTo>
                    <a:pt x="310" y="326"/>
                  </a:lnTo>
                  <a:lnTo>
                    <a:pt x="306" y="323"/>
                  </a:lnTo>
                  <a:lnTo>
                    <a:pt x="304" y="323"/>
                  </a:lnTo>
                  <a:lnTo>
                    <a:pt x="301" y="321"/>
                  </a:lnTo>
                  <a:lnTo>
                    <a:pt x="299" y="319"/>
                  </a:lnTo>
                  <a:lnTo>
                    <a:pt x="297" y="319"/>
                  </a:lnTo>
                  <a:lnTo>
                    <a:pt x="295" y="317"/>
                  </a:lnTo>
                  <a:lnTo>
                    <a:pt x="290" y="317"/>
                  </a:lnTo>
                  <a:lnTo>
                    <a:pt x="288" y="314"/>
                  </a:lnTo>
                  <a:lnTo>
                    <a:pt x="286" y="312"/>
                  </a:lnTo>
                  <a:lnTo>
                    <a:pt x="283" y="312"/>
                  </a:lnTo>
                  <a:lnTo>
                    <a:pt x="281" y="310"/>
                  </a:lnTo>
                  <a:lnTo>
                    <a:pt x="279" y="308"/>
                  </a:lnTo>
                  <a:lnTo>
                    <a:pt x="277" y="308"/>
                  </a:lnTo>
                  <a:lnTo>
                    <a:pt x="272" y="305"/>
                  </a:lnTo>
                  <a:lnTo>
                    <a:pt x="270" y="303"/>
                  </a:lnTo>
                  <a:lnTo>
                    <a:pt x="268" y="303"/>
                  </a:lnTo>
                  <a:lnTo>
                    <a:pt x="265" y="301"/>
                  </a:lnTo>
                  <a:lnTo>
                    <a:pt x="263" y="299"/>
                  </a:lnTo>
                  <a:lnTo>
                    <a:pt x="261" y="299"/>
                  </a:lnTo>
                  <a:lnTo>
                    <a:pt x="256" y="296"/>
                  </a:lnTo>
                  <a:lnTo>
                    <a:pt x="254" y="296"/>
                  </a:lnTo>
                  <a:lnTo>
                    <a:pt x="252" y="294"/>
                  </a:lnTo>
                  <a:lnTo>
                    <a:pt x="250" y="292"/>
                  </a:lnTo>
                  <a:lnTo>
                    <a:pt x="247" y="292"/>
                  </a:lnTo>
                  <a:lnTo>
                    <a:pt x="245" y="290"/>
                  </a:lnTo>
                  <a:lnTo>
                    <a:pt x="243" y="287"/>
                  </a:lnTo>
                  <a:lnTo>
                    <a:pt x="238" y="287"/>
                  </a:lnTo>
                  <a:lnTo>
                    <a:pt x="236" y="285"/>
                  </a:lnTo>
                  <a:lnTo>
                    <a:pt x="234" y="283"/>
                  </a:lnTo>
                  <a:lnTo>
                    <a:pt x="232" y="283"/>
                  </a:lnTo>
                  <a:lnTo>
                    <a:pt x="229" y="281"/>
                  </a:lnTo>
                  <a:lnTo>
                    <a:pt x="227" y="278"/>
                  </a:lnTo>
                  <a:lnTo>
                    <a:pt x="223" y="278"/>
                  </a:lnTo>
                  <a:lnTo>
                    <a:pt x="220" y="276"/>
                  </a:lnTo>
                  <a:lnTo>
                    <a:pt x="218" y="274"/>
                  </a:lnTo>
                  <a:lnTo>
                    <a:pt x="216" y="274"/>
                  </a:lnTo>
                  <a:lnTo>
                    <a:pt x="214" y="272"/>
                  </a:lnTo>
                  <a:lnTo>
                    <a:pt x="212" y="272"/>
                  </a:lnTo>
                  <a:lnTo>
                    <a:pt x="209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0" y="265"/>
                  </a:lnTo>
                  <a:lnTo>
                    <a:pt x="198" y="263"/>
                  </a:lnTo>
                  <a:lnTo>
                    <a:pt x="196" y="263"/>
                  </a:lnTo>
                  <a:lnTo>
                    <a:pt x="194" y="260"/>
                  </a:lnTo>
                  <a:lnTo>
                    <a:pt x="189" y="258"/>
                  </a:lnTo>
                  <a:lnTo>
                    <a:pt x="187" y="258"/>
                  </a:lnTo>
                  <a:lnTo>
                    <a:pt x="185" y="256"/>
                  </a:lnTo>
                  <a:lnTo>
                    <a:pt x="182" y="254"/>
                  </a:lnTo>
                  <a:lnTo>
                    <a:pt x="180" y="254"/>
                  </a:lnTo>
                  <a:lnTo>
                    <a:pt x="178" y="251"/>
                  </a:lnTo>
                  <a:lnTo>
                    <a:pt x="176" y="249"/>
                  </a:lnTo>
                  <a:lnTo>
                    <a:pt x="171" y="249"/>
                  </a:lnTo>
                  <a:lnTo>
                    <a:pt x="169" y="247"/>
                  </a:lnTo>
                  <a:lnTo>
                    <a:pt x="167" y="247"/>
                  </a:lnTo>
                  <a:lnTo>
                    <a:pt x="164" y="245"/>
                  </a:lnTo>
                  <a:lnTo>
                    <a:pt x="162" y="242"/>
                  </a:lnTo>
                  <a:lnTo>
                    <a:pt x="160" y="242"/>
                  </a:lnTo>
                  <a:lnTo>
                    <a:pt x="158" y="240"/>
                  </a:lnTo>
                  <a:lnTo>
                    <a:pt x="153" y="238"/>
                  </a:lnTo>
                  <a:lnTo>
                    <a:pt x="151" y="238"/>
                  </a:lnTo>
                  <a:lnTo>
                    <a:pt x="149" y="236"/>
                  </a:lnTo>
                  <a:lnTo>
                    <a:pt x="146" y="233"/>
                  </a:lnTo>
                  <a:lnTo>
                    <a:pt x="144" y="233"/>
                  </a:lnTo>
                  <a:lnTo>
                    <a:pt x="142" y="231"/>
                  </a:lnTo>
                  <a:lnTo>
                    <a:pt x="142" y="231"/>
                  </a:lnTo>
                  <a:lnTo>
                    <a:pt x="140" y="233"/>
                  </a:lnTo>
                  <a:lnTo>
                    <a:pt x="140" y="233"/>
                  </a:lnTo>
                  <a:lnTo>
                    <a:pt x="137" y="233"/>
                  </a:lnTo>
                  <a:lnTo>
                    <a:pt x="137" y="233"/>
                  </a:lnTo>
                  <a:lnTo>
                    <a:pt x="135" y="236"/>
                  </a:lnTo>
                  <a:lnTo>
                    <a:pt x="135" y="236"/>
                  </a:lnTo>
                  <a:lnTo>
                    <a:pt x="133" y="236"/>
                  </a:lnTo>
                  <a:lnTo>
                    <a:pt x="133" y="236"/>
                  </a:lnTo>
                  <a:lnTo>
                    <a:pt x="131" y="238"/>
                  </a:lnTo>
                  <a:lnTo>
                    <a:pt x="131" y="238"/>
                  </a:lnTo>
                  <a:lnTo>
                    <a:pt x="128" y="238"/>
                  </a:lnTo>
                  <a:lnTo>
                    <a:pt x="128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4" y="240"/>
                  </a:lnTo>
                  <a:lnTo>
                    <a:pt x="124" y="242"/>
                  </a:lnTo>
                  <a:lnTo>
                    <a:pt x="122" y="242"/>
                  </a:lnTo>
                  <a:lnTo>
                    <a:pt x="122" y="242"/>
                  </a:lnTo>
                  <a:lnTo>
                    <a:pt x="122" y="242"/>
                  </a:lnTo>
                  <a:lnTo>
                    <a:pt x="117" y="245"/>
                  </a:lnTo>
                  <a:lnTo>
                    <a:pt x="115" y="247"/>
                  </a:lnTo>
                  <a:lnTo>
                    <a:pt x="110" y="249"/>
                  </a:lnTo>
                  <a:lnTo>
                    <a:pt x="108" y="251"/>
                  </a:lnTo>
                  <a:lnTo>
                    <a:pt x="106" y="251"/>
                  </a:lnTo>
                  <a:lnTo>
                    <a:pt x="106" y="251"/>
                  </a:lnTo>
                  <a:lnTo>
                    <a:pt x="106" y="251"/>
                  </a:lnTo>
                  <a:lnTo>
                    <a:pt x="104" y="251"/>
                  </a:lnTo>
                  <a:lnTo>
                    <a:pt x="101" y="247"/>
                  </a:lnTo>
                  <a:lnTo>
                    <a:pt x="99" y="245"/>
                  </a:lnTo>
                  <a:lnTo>
                    <a:pt x="97" y="242"/>
                  </a:lnTo>
                  <a:lnTo>
                    <a:pt x="95" y="240"/>
                  </a:lnTo>
                  <a:lnTo>
                    <a:pt x="92" y="240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3" y="236"/>
                  </a:lnTo>
                  <a:lnTo>
                    <a:pt x="81" y="236"/>
                  </a:lnTo>
                  <a:lnTo>
                    <a:pt x="79" y="236"/>
                  </a:lnTo>
                  <a:lnTo>
                    <a:pt x="77" y="236"/>
                  </a:lnTo>
                  <a:lnTo>
                    <a:pt x="77" y="233"/>
                  </a:lnTo>
                  <a:lnTo>
                    <a:pt x="74" y="233"/>
                  </a:lnTo>
                  <a:lnTo>
                    <a:pt x="72" y="233"/>
                  </a:lnTo>
                  <a:lnTo>
                    <a:pt x="70" y="233"/>
                  </a:lnTo>
                  <a:lnTo>
                    <a:pt x="68" y="233"/>
                  </a:lnTo>
                  <a:lnTo>
                    <a:pt x="68" y="231"/>
                  </a:lnTo>
                  <a:lnTo>
                    <a:pt x="65" y="231"/>
                  </a:lnTo>
                  <a:lnTo>
                    <a:pt x="63" y="231"/>
                  </a:lnTo>
                  <a:lnTo>
                    <a:pt x="61" y="231"/>
                  </a:lnTo>
                  <a:lnTo>
                    <a:pt x="59" y="229"/>
                  </a:lnTo>
                  <a:lnTo>
                    <a:pt x="59" y="227"/>
                  </a:lnTo>
                  <a:lnTo>
                    <a:pt x="56" y="224"/>
                  </a:lnTo>
                  <a:lnTo>
                    <a:pt x="54" y="218"/>
                  </a:lnTo>
                  <a:lnTo>
                    <a:pt x="52" y="215"/>
                  </a:lnTo>
                  <a:lnTo>
                    <a:pt x="50" y="213"/>
                  </a:lnTo>
                  <a:lnTo>
                    <a:pt x="50" y="211"/>
                  </a:lnTo>
                  <a:lnTo>
                    <a:pt x="50" y="211"/>
                  </a:lnTo>
                  <a:lnTo>
                    <a:pt x="43" y="209"/>
                  </a:lnTo>
                  <a:lnTo>
                    <a:pt x="36" y="206"/>
                  </a:lnTo>
                  <a:lnTo>
                    <a:pt x="34" y="206"/>
                  </a:lnTo>
                  <a:lnTo>
                    <a:pt x="34" y="204"/>
                  </a:lnTo>
                  <a:lnTo>
                    <a:pt x="32" y="206"/>
                  </a:lnTo>
                  <a:lnTo>
                    <a:pt x="30" y="206"/>
                  </a:lnTo>
                  <a:lnTo>
                    <a:pt x="27" y="206"/>
                  </a:lnTo>
                  <a:lnTo>
                    <a:pt x="27" y="206"/>
                  </a:lnTo>
                  <a:lnTo>
                    <a:pt x="27" y="206"/>
                  </a:lnTo>
                  <a:lnTo>
                    <a:pt x="25" y="204"/>
                  </a:lnTo>
                  <a:lnTo>
                    <a:pt x="23" y="204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3" y="200"/>
                  </a:lnTo>
                  <a:lnTo>
                    <a:pt x="18" y="200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1"/>
                  </a:lnTo>
                  <a:lnTo>
                    <a:pt x="18" y="188"/>
                  </a:lnTo>
                  <a:lnTo>
                    <a:pt x="18" y="186"/>
                  </a:lnTo>
                  <a:lnTo>
                    <a:pt x="18" y="186"/>
                  </a:lnTo>
                  <a:lnTo>
                    <a:pt x="14" y="182"/>
                  </a:lnTo>
                  <a:lnTo>
                    <a:pt x="12" y="177"/>
                  </a:lnTo>
                  <a:lnTo>
                    <a:pt x="9" y="173"/>
                  </a:lnTo>
                  <a:lnTo>
                    <a:pt x="5" y="168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1"/>
                  </a:lnTo>
                  <a:lnTo>
                    <a:pt x="14" y="159"/>
                  </a:lnTo>
                  <a:lnTo>
                    <a:pt x="14" y="159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2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1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6" y="128"/>
                  </a:lnTo>
                  <a:lnTo>
                    <a:pt x="16" y="125"/>
                  </a:lnTo>
                  <a:lnTo>
                    <a:pt x="12" y="119"/>
                  </a:lnTo>
                  <a:lnTo>
                    <a:pt x="12" y="116"/>
                  </a:lnTo>
                  <a:lnTo>
                    <a:pt x="14" y="105"/>
                  </a:lnTo>
                  <a:lnTo>
                    <a:pt x="14" y="101"/>
                  </a:lnTo>
                  <a:lnTo>
                    <a:pt x="14" y="96"/>
                  </a:lnTo>
                  <a:lnTo>
                    <a:pt x="9" y="85"/>
                  </a:lnTo>
                  <a:lnTo>
                    <a:pt x="7" y="80"/>
                  </a:lnTo>
                  <a:lnTo>
                    <a:pt x="5" y="76"/>
                  </a:lnTo>
                  <a:lnTo>
                    <a:pt x="3" y="74"/>
                  </a:lnTo>
                  <a:lnTo>
                    <a:pt x="0" y="74"/>
                  </a:lnTo>
                  <a:lnTo>
                    <a:pt x="5" y="69"/>
                  </a:lnTo>
                  <a:lnTo>
                    <a:pt x="9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6" y="65"/>
                  </a:lnTo>
                  <a:lnTo>
                    <a:pt x="18" y="60"/>
                  </a:lnTo>
                  <a:lnTo>
                    <a:pt x="18" y="58"/>
                  </a:lnTo>
                  <a:lnTo>
                    <a:pt x="21" y="56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49"/>
                  </a:lnTo>
                  <a:lnTo>
                    <a:pt x="18" y="49"/>
                  </a:lnTo>
                  <a:lnTo>
                    <a:pt x="18" y="47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3" y="36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7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43" y="20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3" y="9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50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0" name="Freeform 557"/>
            <p:cNvSpPr>
              <a:spLocks/>
            </p:cNvSpPr>
            <p:nvPr/>
          </p:nvSpPr>
          <p:spPr bwMode="auto">
            <a:xfrm>
              <a:off x="5241424" y="3626453"/>
              <a:ext cx="143743" cy="165471"/>
            </a:xfrm>
            <a:custGeom>
              <a:avLst/>
              <a:gdLst>
                <a:gd name="T0" fmla="*/ 45 w 86"/>
                <a:gd name="T1" fmla="*/ 21 h 99"/>
                <a:gd name="T2" fmla="*/ 43 w 86"/>
                <a:gd name="T3" fmla="*/ 25 h 99"/>
                <a:gd name="T4" fmla="*/ 43 w 86"/>
                <a:gd name="T5" fmla="*/ 27 h 99"/>
                <a:gd name="T6" fmla="*/ 45 w 86"/>
                <a:gd name="T7" fmla="*/ 27 h 99"/>
                <a:gd name="T8" fmla="*/ 48 w 86"/>
                <a:gd name="T9" fmla="*/ 30 h 99"/>
                <a:gd name="T10" fmla="*/ 50 w 86"/>
                <a:gd name="T11" fmla="*/ 32 h 99"/>
                <a:gd name="T12" fmla="*/ 52 w 86"/>
                <a:gd name="T13" fmla="*/ 32 h 99"/>
                <a:gd name="T14" fmla="*/ 54 w 86"/>
                <a:gd name="T15" fmla="*/ 30 h 99"/>
                <a:gd name="T16" fmla="*/ 57 w 86"/>
                <a:gd name="T17" fmla="*/ 25 h 99"/>
                <a:gd name="T18" fmla="*/ 59 w 86"/>
                <a:gd name="T19" fmla="*/ 23 h 99"/>
                <a:gd name="T20" fmla="*/ 63 w 86"/>
                <a:gd name="T21" fmla="*/ 25 h 99"/>
                <a:gd name="T22" fmla="*/ 66 w 86"/>
                <a:gd name="T23" fmla="*/ 32 h 99"/>
                <a:gd name="T24" fmla="*/ 68 w 86"/>
                <a:gd name="T25" fmla="*/ 39 h 99"/>
                <a:gd name="T26" fmla="*/ 66 w 86"/>
                <a:gd name="T27" fmla="*/ 41 h 99"/>
                <a:gd name="T28" fmla="*/ 61 w 86"/>
                <a:gd name="T29" fmla="*/ 48 h 99"/>
                <a:gd name="T30" fmla="*/ 63 w 86"/>
                <a:gd name="T31" fmla="*/ 50 h 99"/>
                <a:gd name="T32" fmla="*/ 63 w 86"/>
                <a:gd name="T33" fmla="*/ 52 h 99"/>
                <a:gd name="T34" fmla="*/ 66 w 86"/>
                <a:gd name="T35" fmla="*/ 52 h 99"/>
                <a:gd name="T36" fmla="*/ 68 w 86"/>
                <a:gd name="T37" fmla="*/ 54 h 99"/>
                <a:gd name="T38" fmla="*/ 70 w 86"/>
                <a:gd name="T39" fmla="*/ 54 h 99"/>
                <a:gd name="T40" fmla="*/ 75 w 86"/>
                <a:gd name="T41" fmla="*/ 54 h 99"/>
                <a:gd name="T42" fmla="*/ 77 w 86"/>
                <a:gd name="T43" fmla="*/ 59 h 99"/>
                <a:gd name="T44" fmla="*/ 77 w 86"/>
                <a:gd name="T45" fmla="*/ 61 h 99"/>
                <a:gd name="T46" fmla="*/ 79 w 86"/>
                <a:gd name="T47" fmla="*/ 63 h 99"/>
                <a:gd name="T48" fmla="*/ 81 w 86"/>
                <a:gd name="T49" fmla="*/ 63 h 99"/>
                <a:gd name="T50" fmla="*/ 84 w 86"/>
                <a:gd name="T51" fmla="*/ 66 h 99"/>
                <a:gd name="T52" fmla="*/ 86 w 86"/>
                <a:gd name="T53" fmla="*/ 72 h 99"/>
                <a:gd name="T54" fmla="*/ 84 w 86"/>
                <a:gd name="T55" fmla="*/ 75 h 99"/>
                <a:gd name="T56" fmla="*/ 86 w 86"/>
                <a:gd name="T57" fmla="*/ 77 h 99"/>
                <a:gd name="T58" fmla="*/ 86 w 86"/>
                <a:gd name="T59" fmla="*/ 79 h 99"/>
                <a:gd name="T60" fmla="*/ 84 w 86"/>
                <a:gd name="T61" fmla="*/ 84 h 99"/>
                <a:gd name="T62" fmla="*/ 84 w 86"/>
                <a:gd name="T63" fmla="*/ 86 h 99"/>
                <a:gd name="T64" fmla="*/ 81 w 86"/>
                <a:gd name="T65" fmla="*/ 90 h 99"/>
                <a:gd name="T66" fmla="*/ 81 w 86"/>
                <a:gd name="T67" fmla="*/ 99 h 99"/>
                <a:gd name="T68" fmla="*/ 79 w 86"/>
                <a:gd name="T69" fmla="*/ 99 h 99"/>
                <a:gd name="T70" fmla="*/ 77 w 86"/>
                <a:gd name="T71" fmla="*/ 97 h 99"/>
                <a:gd name="T72" fmla="*/ 68 w 86"/>
                <a:gd name="T73" fmla="*/ 95 h 99"/>
                <a:gd name="T74" fmla="*/ 54 w 86"/>
                <a:gd name="T75" fmla="*/ 86 h 99"/>
                <a:gd name="T76" fmla="*/ 52 w 86"/>
                <a:gd name="T77" fmla="*/ 86 h 99"/>
                <a:gd name="T78" fmla="*/ 45 w 86"/>
                <a:gd name="T79" fmla="*/ 81 h 99"/>
                <a:gd name="T80" fmla="*/ 41 w 86"/>
                <a:gd name="T81" fmla="*/ 75 h 99"/>
                <a:gd name="T82" fmla="*/ 32 w 86"/>
                <a:gd name="T83" fmla="*/ 66 h 99"/>
                <a:gd name="T84" fmla="*/ 30 w 86"/>
                <a:gd name="T85" fmla="*/ 63 h 99"/>
                <a:gd name="T86" fmla="*/ 25 w 86"/>
                <a:gd name="T87" fmla="*/ 59 h 99"/>
                <a:gd name="T88" fmla="*/ 23 w 86"/>
                <a:gd name="T89" fmla="*/ 57 h 99"/>
                <a:gd name="T90" fmla="*/ 14 w 86"/>
                <a:gd name="T91" fmla="*/ 54 h 99"/>
                <a:gd name="T92" fmla="*/ 14 w 86"/>
                <a:gd name="T93" fmla="*/ 50 h 99"/>
                <a:gd name="T94" fmla="*/ 3 w 86"/>
                <a:gd name="T95" fmla="*/ 41 h 99"/>
                <a:gd name="T96" fmla="*/ 3 w 86"/>
                <a:gd name="T97" fmla="*/ 36 h 99"/>
                <a:gd name="T98" fmla="*/ 3 w 86"/>
                <a:gd name="T99" fmla="*/ 34 h 99"/>
                <a:gd name="T100" fmla="*/ 12 w 86"/>
                <a:gd name="T101" fmla="*/ 25 h 99"/>
                <a:gd name="T102" fmla="*/ 18 w 86"/>
                <a:gd name="T103" fmla="*/ 12 h 99"/>
                <a:gd name="T104" fmla="*/ 25 w 86"/>
                <a:gd name="T105" fmla="*/ 9 h 99"/>
                <a:gd name="T106" fmla="*/ 27 w 86"/>
                <a:gd name="T107" fmla="*/ 3 h 99"/>
                <a:gd name="T108" fmla="*/ 32 w 86"/>
                <a:gd name="T109" fmla="*/ 3 h 99"/>
                <a:gd name="T110" fmla="*/ 34 w 86"/>
                <a:gd name="T111" fmla="*/ 3 h 99"/>
                <a:gd name="T112" fmla="*/ 36 w 86"/>
                <a:gd name="T113" fmla="*/ 0 h 99"/>
                <a:gd name="T114" fmla="*/ 39 w 86"/>
                <a:gd name="T115" fmla="*/ 3 h 99"/>
                <a:gd name="T116" fmla="*/ 39 w 86"/>
                <a:gd name="T117" fmla="*/ 5 h 99"/>
                <a:gd name="T118" fmla="*/ 41 w 86"/>
                <a:gd name="T119" fmla="*/ 5 h 99"/>
                <a:gd name="T120" fmla="*/ 41 w 86"/>
                <a:gd name="T121" fmla="*/ 7 h 99"/>
                <a:gd name="T122" fmla="*/ 43 w 86"/>
                <a:gd name="T123" fmla="*/ 12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6" h="99">
                  <a:moveTo>
                    <a:pt x="43" y="14"/>
                  </a:move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50" y="30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0"/>
                  </a:lnTo>
                  <a:lnTo>
                    <a:pt x="54" y="30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6" y="27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3" y="45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3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3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4" y="66"/>
                  </a:lnTo>
                  <a:lnTo>
                    <a:pt x="84" y="68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5"/>
                  </a:lnTo>
                  <a:lnTo>
                    <a:pt x="86" y="75"/>
                  </a:lnTo>
                  <a:lnTo>
                    <a:pt x="86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6" y="75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7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81"/>
                  </a:lnTo>
                  <a:lnTo>
                    <a:pt x="84" y="81"/>
                  </a:lnTo>
                  <a:lnTo>
                    <a:pt x="84" y="81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3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4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0" y="95"/>
                  </a:lnTo>
                  <a:lnTo>
                    <a:pt x="68" y="95"/>
                  </a:lnTo>
                  <a:lnTo>
                    <a:pt x="68" y="95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3" y="93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4" y="88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3" y="77"/>
                  </a:lnTo>
                  <a:lnTo>
                    <a:pt x="43" y="77"/>
                  </a:lnTo>
                  <a:lnTo>
                    <a:pt x="41" y="77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39" y="72"/>
                  </a:lnTo>
                  <a:lnTo>
                    <a:pt x="36" y="72"/>
                  </a:lnTo>
                  <a:lnTo>
                    <a:pt x="34" y="68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18" y="57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50"/>
                  </a:lnTo>
                  <a:lnTo>
                    <a:pt x="9" y="48"/>
                  </a:lnTo>
                  <a:lnTo>
                    <a:pt x="5" y="45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7" y="30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4" y="25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1" y="3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1" name="Freeform 558"/>
            <p:cNvSpPr>
              <a:spLocks/>
            </p:cNvSpPr>
            <p:nvPr/>
          </p:nvSpPr>
          <p:spPr bwMode="auto">
            <a:xfrm>
              <a:off x="6556836" y="5103993"/>
              <a:ext cx="81900" cy="83571"/>
            </a:xfrm>
            <a:custGeom>
              <a:avLst/>
              <a:gdLst>
                <a:gd name="T0" fmla="*/ 38 w 49"/>
                <a:gd name="T1" fmla="*/ 5 h 50"/>
                <a:gd name="T2" fmla="*/ 40 w 49"/>
                <a:gd name="T3" fmla="*/ 9 h 50"/>
                <a:gd name="T4" fmla="*/ 42 w 49"/>
                <a:gd name="T5" fmla="*/ 9 h 50"/>
                <a:gd name="T6" fmla="*/ 45 w 49"/>
                <a:gd name="T7" fmla="*/ 11 h 50"/>
                <a:gd name="T8" fmla="*/ 47 w 49"/>
                <a:gd name="T9" fmla="*/ 14 h 50"/>
                <a:gd name="T10" fmla="*/ 49 w 49"/>
                <a:gd name="T11" fmla="*/ 16 h 50"/>
                <a:gd name="T12" fmla="*/ 49 w 49"/>
                <a:gd name="T13" fmla="*/ 18 h 50"/>
                <a:gd name="T14" fmla="*/ 49 w 49"/>
                <a:gd name="T15" fmla="*/ 20 h 50"/>
                <a:gd name="T16" fmla="*/ 47 w 49"/>
                <a:gd name="T17" fmla="*/ 20 h 50"/>
                <a:gd name="T18" fmla="*/ 45 w 49"/>
                <a:gd name="T19" fmla="*/ 23 h 50"/>
                <a:gd name="T20" fmla="*/ 45 w 49"/>
                <a:gd name="T21" fmla="*/ 25 h 50"/>
                <a:gd name="T22" fmla="*/ 42 w 49"/>
                <a:gd name="T23" fmla="*/ 27 h 50"/>
                <a:gd name="T24" fmla="*/ 42 w 49"/>
                <a:gd name="T25" fmla="*/ 32 h 50"/>
                <a:gd name="T26" fmla="*/ 42 w 49"/>
                <a:gd name="T27" fmla="*/ 32 h 50"/>
                <a:gd name="T28" fmla="*/ 40 w 49"/>
                <a:gd name="T29" fmla="*/ 34 h 50"/>
                <a:gd name="T30" fmla="*/ 31 w 49"/>
                <a:gd name="T31" fmla="*/ 38 h 50"/>
                <a:gd name="T32" fmla="*/ 29 w 49"/>
                <a:gd name="T33" fmla="*/ 38 h 50"/>
                <a:gd name="T34" fmla="*/ 24 w 49"/>
                <a:gd name="T35" fmla="*/ 38 h 50"/>
                <a:gd name="T36" fmla="*/ 24 w 49"/>
                <a:gd name="T37" fmla="*/ 41 h 50"/>
                <a:gd name="T38" fmla="*/ 22 w 49"/>
                <a:gd name="T39" fmla="*/ 41 h 50"/>
                <a:gd name="T40" fmla="*/ 22 w 49"/>
                <a:gd name="T41" fmla="*/ 43 h 50"/>
                <a:gd name="T42" fmla="*/ 20 w 49"/>
                <a:gd name="T43" fmla="*/ 45 h 50"/>
                <a:gd name="T44" fmla="*/ 20 w 49"/>
                <a:gd name="T45" fmla="*/ 47 h 50"/>
                <a:gd name="T46" fmla="*/ 20 w 49"/>
                <a:gd name="T47" fmla="*/ 50 h 50"/>
                <a:gd name="T48" fmla="*/ 16 w 49"/>
                <a:gd name="T49" fmla="*/ 50 h 50"/>
                <a:gd name="T50" fmla="*/ 16 w 49"/>
                <a:gd name="T51" fmla="*/ 50 h 50"/>
                <a:gd name="T52" fmla="*/ 13 w 49"/>
                <a:gd name="T53" fmla="*/ 50 h 50"/>
                <a:gd name="T54" fmla="*/ 9 w 49"/>
                <a:gd name="T55" fmla="*/ 45 h 50"/>
                <a:gd name="T56" fmla="*/ 9 w 49"/>
                <a:gd name="T57" fmla="*/ 43 h 50"/>
                <a:gd name="T58" fmla="*/ 7 w 49"/>
                <a:gd name="T59" fmla="*/ 43 h 50"/>
                <a:gd name="T60" fmla="*/ 7 w 49"/>
                <a:gd name="T61" fmla="*/ 43 h 50"/>
                <a:gd name="T62" fmla="*/ 4 w 49"/>
                <a:gd name="T63" fmla="*/ 38 h 50"/>
                <a:gd name="T64" fmla="*/ 7 w 49"/>
                <a:gd name="T65" fmla="*/ 38 h 50"/>
                <a:gd name="T66" fmla="*/ 4 w 49"/>
                <a:gd name="T67" fmla="*/ 36 h 50"/>
                <a:gd name="T68" fmla="*/ 0 w 49"/>
                <a:gd name="T69" fmla="*/ 29 h 50"/>
                <a:gd name="T70" fmla="*/ 0 w 49"/>
                <a:gd name="T71" fmla="*/ 27 h 50"/>
                <a:gd name="T72" fmla="*/ 0 w 49"/>
                <a:gd name="T73" fmla="*/ 25 h 50"/>
                <a:gd name="T74" fmla="*/ 0 w 49"/>
                <a:gd name="T75" fmla="*/ 25 h 50"/>
                <a:gd name="T76" fmla="*/ 2 w 49"/>
                <a:gd name="T77" fmla="*/ 25 h 50"/>
                <a:gd name="T78" fmla="*/ 2 w 49"/>
                <a:gd name="T79" fmla="*/ 25 h 50"/>
                <a:gd name="T80" fmla="*/ 7 w 49"/>
                <a:gd name="T81" fmla="*/ 23 h 50"/>
                <a:gd name="T82" fmla="*/ 7 w 49"/>
                <a:gd name="T83" fmla="*/ 23 h 50"/>
                <a:gd name="T84" fmla="*/ 9 w 49"/>
                <a:gd name="T85" fmla="*/ 20 h 50"/>
                <a:gd name="T86" fmla="*/ 9 w 49"/>
                <a:gd name="T87" fmla="*/ 20 h 50"/>
                <a:gd name="T88" fmla="*/ 9 w 49"/>
                <a:gd name="T89" fmla="*/ 18 h 50"/>
                <a:gd name="T90" fmla="*/ 9 w 49"/>
                <a:gd name="T91" fmla="*/ 18 h 50"/>
                <a:gd name="T92" fmla="*/ 11 w 49"/>
                <a:gd name="T93" fmla="*/ 16 h 50"/>
                <a:gd name="T94" fmla="*/ 13 w 49"/>
                <a:gd name="T95" fmla="*/ 14 h 50"/>
                <a:gd name="T96" fmla="*/ 13 w 49"/>
                <a:gd name="T97" fmla="*/ 11 h 50"/>
                <a:gd name="T98" fmla="*/ 13 w 49"/>
                <a:gd name="T99" fmla="*/ 11 h 50"/>
                <a:gd name="T100" fmla="*/ 16 w 49"/>
                <a:gd name="T101" fmla="*/ 11 h 50"/>
                <a:gd name="T102" fmla="*/ 16 w 49"/>
                <a:gd name="T103" fmla="*/ 9 h 50"/>
                <a:gd name="T104" fmla="*/ 16 w 49"/>
                <a:gd name="T105" fmla="*/ 9 h 50"/>
                <a:gd name="T106" fmla="*/ 18 w 49"/>
                <a:gd name="T107" fmla="*/ 9 h 50"/>
                <a:gd name="T108" fmla="*/ 20 w 49"/>
                <a:gd name="T109" fmla="*/ 7 h 50"/>
                <a:gd name="T110" fmla="*/ 20 w 49"/>
                <a:gd name="T111" fmla="*/ 7 h 50"/>
                <a:gd name="T112" fmla="*/ 22 w 49"/>
                <a:gd name="T113" fmla="*/ 5 h 50"/>
                <a:gd name="T114" fmla="*/ 24 w 49"/>
                <a:gd name="T115" fmla="*/ 5 h 50"/>
                <a:gd name="T116" fmla="*/ 27 w 49"/>
                <a:gd name="T117" fmla="*/ 2 h 50"/>
                <a:gd name="T118" fmla="*/ 31 w 49"/>
                <a:gd name="T119" fmla="*/ 2 h 50"/>
                <a:gd name="T120" fmla="*/ 36 w 49"/>
                <a:gd name="T121" fmla="*/ 0 h 50"/>
                <a:gd name="T122" fmla="*/ 36 w 49"/>
                <a:gd name="T123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9" h="50">
                  <a:moveTo>
                    <a:pt x="36" y="2"/>
                  </a:move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9" y="16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3" y="36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1"/>
                  </a:lnTo>
                  <a:lnTo>
                    <a:pt x="4" y="41"/>
                  </a:lnTo>
                  <a:lnTo>
                    <a:pt x="4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2"/>
                  </a:lnTo>
                  <a:lnTo>
                    <a:pt x="24" y="5"/>
                  </a:lnTo>
                  <a:lnTo>
                    <a:pt x="27" y="2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2" name="Freeform 559"/>
            <p:cNvSpPr>
              <a:spLocks/>
            </p:cNvSpPr>
            <p:nvPr/>
          </p:nvSpPr>
          <p:spPr bwMode="auto">
            <a:xfrm>
              <a:off x="6815906" y="2586827"/>
              <a:ext cx="45129" cy="63514"/>
            </a:xfrm>
            <a:custGeom>
              <a:avLst/>
              <a:gdLst>
                <a:gd name="T0" fmla="*/ 22 w 27"/>
                <a:gd name="T1" fmla="*/ 2 h 38"/>
                <a:gd name="T2" fmla="*/ 20 w 27"/>
                <a:gd name="T3" fmla="*/ 2 h 38"/>
                <a:gd name="T4" fmla="*/ 20 w 27"/>
                <a:gd name="T5" fmla="*/ 4 h 38"/>
                <a:gd name="T6" fmla="*/ 20 w 27"/>
                <a:gd name="T7" fmla="*/ 4 h 38"/>
                <a:gd name="T8" fmla="*/ 22 w 27"/>
                <a:gd name="T9" fmla="*/ 4 h 38"/>
                <a:gd name="T10" fmla="*/ 25 w 27"/>
                <a:gd name="T11" fmla="*/ 6 h 38"/>
                <a:gd name="T12" fmla="*/ 25 w 27"/>
                <a:gd name="T13" fmla="*/ 6 h 38"/>
                <a:gd name="T14" fmla="*/ 25 w 27"/>
                <a:gd name="T15" fmla="*/ 9 h 38"/>
                <a:gd name="T16" fmla="*/ 25 w 27"/>
                <a:gd name="T17" fmla="*/ 9 h 38"/>
                <a:gd name="T18" fmla="*/ 25 w 27"/>
                <a:gd name="T19" fmla="*/ 11 h 38"/>
                <a:gd name="T20" fmla="*/ 27 w 27"/>
                <a:gd name="T21" fmla="*/ 11 h 38"/>
                <a:gd name="T22" fmla="*/ 25 w 27"/>
                <a:gd name="T23" fmla="*/ 15 h 38"/>
                <a:gd name="T24" fmla="*/ 22 w 27"/>
                <a:gd name="T25" fmla="*/ 15 h 38"/>
                <a:gd name="T26" fmla="*/ 20 w 27"/>
                <a:gd name="T27" fmla="*/ 18 h 38"/>
                <a:gd name="T28" fmla="*/ 20 w 27"/>
                <a:gd name="T29" fmla="*/ 20 h 38"/>
                <a:gd name="T30" fmla="*/ 22 w 27"/>
                <a:gd name="T31" fmla="*/ 20 h 38"/>
                <a:gd name="T32" fmla="*/ 20 w 27"/>
                <a:gd name="T33" fmla="*/ 20 h 38"/>
                <a:gd name="T34" fmla="*/ 18 w 27"/>
                <a:gd name="T35" fmla="*/ 20 h 38"/>
                <a:gd name="T36" fmla="*/ 16 w 27"/>
                <a:gd name="T37" fmla="*/ 20 h 38"/>
                <a:gd name="T38" fmla="*/ 16 w 27"/>
                <a:gd name="T39" fmla="*/ 22 h 38"/>
                <a:gd name="T40" fmla="*/ 16 w 27"/>
                <a:gd name="T41" fmla="*/ 24 h 38"/>
                <a:gd name="T42" fmla="*/ 16 w 27"/>
                <a:gd name="T43" fmla="*/ 24 h 38"/>
                <a:gd name="T44" fmla="*/ 18 w 27"/>
                <a:gd name="T45" fmla="*/ 27 h 38"/>
                <a:gd name="T46" fmla="*/ 16 w 27"/>
                <a:gd name="T47" fmla="*/ 27 h 38"/>
                <a:gd name="T48" fmla="*/ 16 w 27"/>
                <a:gd name="T49" fmla="*/ 29 h 38"/>
                <a:gd name="T50" fmla="*/ 13 w 27"/>
                <a:gd name="T51" fmla="*/ 31 h 38"/>
                <a:gd name="T52" fmla="*/ 11 w 27"/>
                <a:gd name="T53" fmla="*/ 33 h 38"/>
                <a:gd name="T54" fmla="*/ 9 w 27"/>
                <a:gd name="T55" fmla="*/ 33 h 38"/>
                <a:gd name="T56" fmla="*/ 9 w 27"/>
                <a:gd name="T57" fmla="*/ 33 h 38"/>
                <a:gd name="T58" fmla="*/ 9 w 27"/>
                <a:gd name="T59" fmla="*/ 33 h 38"/>
                <a:gd name="T60" fmla="*/ 9 w 27"/>
                <a:gd name="T61" fmla="*/ 36 h 38"/>
                <a:gd name="T62" fmla="*/ 7 w 27"/>
                <a:gd name="T63" fmla="*/ 38 h 38"/>
                <a:gd name="T64" fmla="*/ 4 w 27"/>
                <a:gd name="T65" fmla="*/ 38 h 38"/>
                <a:gd name="T66" fmla="*/ 2 w 27"/>
                <a:gd name="T67" fmla="*/ 38 h 38"/>
                <a:gd name="T68" fmla="*/ 2 w 27"/>
                <a:gd name="T69" fmla="*/ 38 h 38"/>
                <a:gd name="T70" fmla="*/ 0 w 27"/>
                <a:gd name="T71" fmla="*/ 38 h 38"/>
                <a:gd name="T72" fmla="*/ 0 w 27"/>
                <a:gd name="T73" fmla="*/ 38 h 38"/>
                <a:gd name="T74" fmla="*/ 0 w 27"/>
                <a:gd name="T75" fmla="*/ 36 h 38"/>
                <a:gd name="T76" fmla="*/ 2 w 27"/>
                <a:gd name="T77" fmla="*/ 36 h 38"/>
                <a:gd name="T78" fmla="*/ 2 w 27"/>
                <a:gd name="T79" fmla="*/ 31 h 38"/>
                <a:gd name="T80" fmla="*/ 2 w 27"/>
                <a:gd name="T81" fmla="*/ 29 h 38"/>
                <a:gd name="T82" fmla="*/ 4 w 27"/>
                <a:gd name="T83" fmla="*/ 27 h 38"/>
                <a:gd name="T84" fmla="*/ 4 w 27"/>
                <a:gd name="T85" fmla="*/ 24 h 38"/>
                <a:gd name="T86" fmla="*/ 4 w 27"/>
                <a:gd name="T87" fmla="*/ 20 h 38"/>
                <a:gd name="T88" fmla="*/ 4 w 27"/>
                <a:gd name="T89" fmla="*/ 18 h 38"/>
                <a:gd name="T90" fmla="*/ 7 w 27"/>
                <a:gd name="T91" fmla="*/ 18 h 38"/>
                <a:gd name="T92" fmla="*/ 7 w 27"/>
                <a:gd name="T93" fmla="*/ 18 h 38"/>
                <a:gd name="T94" fmla="*/ 7 w 27"/>
                <a:gd name="T95" fmla="*/ 18 h 38"/>
                <a:gd name="T96" fmla="*/ 9 w 27"/>
                <a:gd name="T97" fmla="*/ 15 h 38"/>
                <a:gd name="T98" fmla="*/ 9 w 27"/>
                <a:gd name="T99" fmla="*/ 13 h 38"/>
                <a:gd name="T100" fmla="*/ 7 w 27"/>
                <a:gd name="T101" fmla="*/ 11 h 38"/>
                <a:gd name="T102" fmla="*/ 7 w 27"/>
                <a:gd name="T103" fmla="*/ 9 h 38"/>
                <a:gd name="T104" fmla="*/ 9 w 27"/>
                <a:gd name="T105" fmla="*/ 6 h 38"/>
                <a:gd name="T106" fmla="*/ 11 w 27"/>
                <a:gd name="T107" fmla="*/ 6 h 38"/>
                <a:gd name="T108" fmla="*/ 13 w 27"/>
                <a:gd name="T109" fmla="*/ 4 h 38"/>
                <a:gd name="T110" fmla="*/ 13 w 27"/>
                <a:gd name="T111" fmla="*/ 2 h 38"/>
                <a:gd name="T112" fmla="*/ 16 w 27"/>
                <a:gd name="T113" fmla="*/ 2 h 38"/>
                <a:gd name="T114" fmla="*/ 18 w 27"/>
                <a:gd name="T115" fmla="*/ 2 h 38"/>
                <a:gd name="T116" fmla="*/ 18 w 27"/>
                <a:gd name="T117" fmla="*/ 2 h 38"/>
                <a:gd name="T118" fmla="*/ 20 w 27"/>
                <a:gd name="T11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" h="38">
                  <a:moveTo>
                    <a:pt x="20" y="2"/>
                  </a:moveTo>
                  <a:lnTo>
                    <a:pt x="2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2" y="33"/>
                  </a:lnTo>
                  <a:lnTo>
                    <a:pt x="0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11" y="6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3" name="Freeform 560"/>
            <p:cNvSpPr>
              <a:spLocks/>
            </p:cNvSpPr>
            <p:nvPr/>
          </p:nvSpPr>
          <p:spPr bwMode="auto">
            <a:xfrm>
              <a:off x="6252637" y="1680914"/>
              <a:ext cx="210600" cy="90257"/>
            </a:xfrm>
            <a:custGeom>
              <a:avLst/>
              <a:gdLst>
                <a:gd name="T0" fmla="*/ 72 w 126"/>
                <a:gd name="T1" fmla="*/ 2 h 54"/>
                <a:gd name="T2" fmla="*/ 74 w 126"/>
                <a:gd name="T3" fmla="*/ 4 h 54"/>
                <a:gd name="T4" fmla="*/ 81 w 126"/>
                <a:gd name="T5" fmla="*/ 4 h 54"/>
                <a:gd name="T6" fmla="*/ 87 w 126"/>
                <a:gd name="T7" fmla="*/ 9 h 54"/>
                <a:gd name="T8" fmla="*/ 92 w 126"/>
                <a:gd name="T9" fmla="*/ 11 h 54"/>
                <a:gd name="T10" fmla="*/ 94 w 126"/>
                <a:gd name="T11" fmla="*/ 11 h 54"/>
                <a:gd name="T12" fmla="*/ 96 w 126"/>
                <a:gd name="T13" fmla="*/ 9 h 54"/>
                <a:gd name="T14" fmla="*/ 101 w 126"/>
                <a:gd name="T15" fmla="*/ 11 h 54"/>
                <a:gd name="T16" fmla="*/ 110 w 126"/>
                <a:gd name="T17" fmla="*/ 13 h 54"/>
                <a:gd name="T18" fmla="*/ 114 w 126"/>
                <a:gd name="T19" fmla="*/ 20 h 54"/>
                <a:gd name="T20" fmla="*/ 114 w 126"/>
                <a:gd name="T21" fmla="*/ 22 h 54"/>
                <a:gd name="T22" fmla="*/ 117 w 126"/>
                <a:gd name="T23" fmla="*/ 27 h 54"/>
                <a:gd name="T24" fmla="*/ 119 w 126"/>
                <a:gd name="T25" fmla="*/ 29 h 54"/>
                <a:gd name="T26" fmla="*/ 123 w 126"/>
                <a:gd name="T27" fmla="*/ 33 h 54"/>
                <a:gd name="T28" fmla="*/ 123 w 126"/>
                <a:gd name="T29" fmla="*/ 38 h 54"/>
                <a:gd name="T30" fmla="*/ 126 w 126"/>
                <a:gd name="T31" fmla="*/ 40 h 54"/>
                <a:gd name="T32" fmla="*/ 121 w 126"/>
                <a:gd name="T33" fmla="*/ 42 h 54"/>
                <a:gd name="T34" fmla="*/ 117 w 126"/>
                <a:gd name="T35" fmla="*/ 47 h 54"/>
                <a:gd name="T36" fmla="*/ 112 w 126"/>
                <a:gd name="T37" fmla="*/ 49 h 54"/>
                <a:gd name="T38" fmla="*/ 105 w 126"/>
                <a:gd name="T39" fmla="*/ 49 h 54"/>
                <a:gd name="T40" fmla="*/ 101 w 126"/>
                <a:gd name="T41" fmla="*/ 54 h 54"/>
                <a:gd name="T42" fmla="*/ 90 w 126"/>
                <a:gd name="T43" fmla="*/ 47 h 54"/>
                <a:gd name="T44" fmla="*/ 81 w 126"/>
                <a:gd name="T45" fmla="*/ 42 h 54"/>
                <a:gd name="T46" fmla="*/ 69 w 126"/>
                <a:gd name="T47" fmla="*/ 40 h 54"/>
                <a:gd name="T48" fmla="*/ 67 w 126"/>
                <a:gd name="T49" fmla="*/ 36 h 54"/>
                <a:gd name="T50" fmla="*/ 60 w 126"/>
                <a:gd name="T51" fmla="*/ 40 h 54"/>
                <a:gd name="T52" fmla="*/ 54 w 126"/>
                <a:gd name="T53" fmla="*/ 40 h 54"/>
                <a:gd name="T54" fmla="*/ 47 w 126"/>
                <a:gd name="T55" fmla="*/ 38 h 54"/>
                <a:gd name="T56" fmla="*/ 38 w 126"/>
                <a:gd name="T57" fmla="*/ 38 h 54"/>
                <a:gd name="T58" fmla="*/ 34 w 126"/>
                <a:gd name="T59" fmla="*/ 36 h 54"/>
                <a:gd name="T60" fmla="*/ 20 w 126"/>
                <a:gd name="T61" fmla="*/ 38 h 54"/>
                <a:gd name="T62" fmla="*/ 7 w 126"/>
                <a:gd name="T63" fmla="*/ 40 h 54"/>
                <a:gd name="T64" fmla="*/ 2 w 126"/>
                <a:gd name="T65" fmla="*/ 45 h 54"/>
                <a:gd name="T66" fmla="*/ 0 w 126"/>
                <a:gd name="T67" fmla="*/ 40 h 54"/>
                <a:gd name="T68" fmla="*/ 0 w 126"/>
                <a:gd name="T69" fmla="*/ 36 h 54"/>
                <a:gd name="T70" fmla="*/ 0 w 126"/>
                <a:gd name="T71" fmla="*/ 36 h 54"/>
                <a:gd name="T72" fmla="*/ 2 w 126"/>
                <a:gd name="T73" fmla="*/ 38 h 54"/>
                <a:gd name="T74" fmla="*/ 2 w 126"/>
                <a:gd name="T75" fmla="*/ 36 h 54"/>
                <a:gd name="T76" fmla="*/ 0 w 126"/>
                <a:gd name="T77" fmla="*/ 33 h 54"/>
                <a:gd name="T78" fmla="*/ 0 w 126"/>
                <a:gd name="T79" fmla="*/ 27 h 54"/>
                <a:gd name="T80" fmla="*/ 4 w 126"/>
                <a:gd name="T81" fmla="*/ 24 h 54"/>
                <a:gd name="T82" fmla="*/ 4 w 126"/>
                <a:gd name="T83" fmla="*/ 20 h 54"/>
                <a:gd name="T84" fmla="*/ 7 w 126"/>
                <a:gd name="T85" fmla="*/ 15 h 54"/>
                <a:gd name="T86" fmla="*/ 22 w 126"/>
                <a:gd name="T87" fmla="*/ 6 h 54"/>
                <a:gd name="T88" fmla="*/ 22 w 126"/>
                <a:gd name="T89" fmla="*/ 9 h 54"/>
                <a:gd name="T90" fmla="*/ 34 w 126"/>
                <a:gd name="T91" fmla="*/ 15 h 54"/>
                <a:gd name="T92" fmla="*/ 36 w 126"/>
                <a:gd name="T93" fmla="*/ 18 h 54"/>
                <a:gd name="T94" fmla="*/ 42 w 126"/>
                <a:gd name="T95" fmla="*/ 22 h 54"/>
                <a:gd name="T96" fmla="*/ 49 w 126"/>
                <a:gd name="T97" fmla="*/ 22 h 54"/>
                <a:gd name="T98" fmla="*/ 54 w 126"/>
                <a:gd name="T99" fmla="*/ 20 h 54"/>
                <a:gd name="T100" fmla="*/ 54 w 126"/>
                <a:gd name="T101" fmla="*/ 11 h 54"/>
                <a:gd name="T102" fmla="*/ 51 w 126"/>
                <a:gd name="T103" fmla="*/ 6 h 54"/>
                <a:gd name="T104" fmla="*/ 54 w 126"/>
                <a:gd name="T105" fmla="*/ 4 h 54"/>
                <a:gd name="T106" fmla="*/ 58 w 126"/>
                <a:gd name="T107" fmla="*/ 2 h 54"/>
                <a:gd name="T108" fmla="*/ 65 w 126"/>
                <a:gd name="T109" fmla="*/ 0 h 54"/>
                <a:gd name="T110" fmla="*/ 67 w 126"/>
                <a:gd name="T111" fmla="*/ 2 h 54"/>
                <a:gd name="T112" fmla="*/ 69 w 126"/>
                <a:gd name="T113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26" h="54">
                  <a:moveTo>
                    <a:pt x="69" y="0"/>
                  </a:move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10" y="13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2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7"/>
                  </a:lnTo>
                  <a:lnTo>
                    <a:pt x="112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3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1" y="42"/>
                  </a:lnTo>
                  <a:lnTo>
                    <a:pt x="121" y="42"/>
                  </a:lnTo>
                  <a:lnTo>
                    <a:pt x="121" y="42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51"/>
                  </a:lnTo>
                  <a:lnTo>
                    <a:pt x="112" y="51"/>
                  </a:lnTo>
                  <a:lnTo>
                    <a:pt x="110" y="51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08" y="49"/>
                  </a:lnTo>
                  <a:lnTo>
                    <a:pt x="105" y="49"/>
                  </a:lnTo>
                  <a:lnTo>
                    <a:pt x="105" y="49"/>
                  </a:lnTo>
                  <a:lnTo>
                    <a:pt x="105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0" y="49"/>
                  </a:lnTo>
                  <a:lnTo>
                    <a:pt x="90" y="47"/>
                  </a:lnTo>
                  <a:lnTo>
                    <a:pt x="85" y="47"/>
                  </a:lnTo>
                  <a:lnTo>
                    <a:pt x="85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3" y="38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1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2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1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3" y="38"/>
                  </a:lnTo>
                  <a:lnTo>
                    <a:pt x="11" y="38"/>
                  </a:lnTo>
                  <a:lnTo>
                    <a:pt x="11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0" y="36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1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7" y="24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1" y="22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5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4" name="Freeform 561"/>
            <p:cNvSpPr>
              <a:spLocks/>
            </p:cNvSpPr>
            <p:nvPr/>
          </p:nvSpPr>
          <p:spPr bwMode="auto">
            <a:xfrm>
              <a:off x="9094059" y="3071540"/>
              <a:ext cx="294171" cy="340971"/>
            </a:xfrm>
            <a:custGeom>
              <a:avLst/>
              <a:gdLst>
                <a:gd name="T0" fmla="*/ 36 w 176"/>
                <a:gd name="T1" fmla="*/ 4 h 204"/>
                <a:gd name="T2" fmla="*/ 48 w 176"/>
                <a:gd name="T3" fmla="*/ 20 h 204"/>
                <a:gd name="T4" fmla="*/ 54 w 176"/>
                <a:gd name="T5" fmla="*/ 22 h 204"/>
                <a:gd name="T6" fmla="*/ 54 w 176"/>
                <a:gd name="T7" fmla="*/ 31 h 204"/>
                <a:gd name="T8" fmla="*/ 63 w 176"/>
                <a:gd name="T9" fmla="*/ 40 h 204"/>
                <a:gd name="T10" fmla="*/ 70 w 176"/>
                <a:gd name="T11" fmla="*/ 42 h 204"/>
                <a:gd name="T12" fmla="*/ 75 w 176"/>
                <a:gd name="T13" fmla="*/ 40 h 204"/>
                <a:gd name="T14" fmla="*/ 86 w 176"/>
                <a:gd name="T15" fmla="*/ 38 h 204"/>
                <a:gd name="T16" fmla="*/ 90 w 176"/>
                <a:gd name="T17" fmla="*/ 47 h 204"/>
                <a:gd name="T18" fmla="*/ 99 w 176"/>
                <a:gd name="T19" fmla="*/ 54 h 204"/>
                <a:gd name="T20" fmla="*/ 99 w 176"/>
                <a:gd name="T21" fmla="*/ 63 h 204"/>
                <a:gd name="T22" fmla="*/ 93 w 176"/>
                <a:gd name="T23" fmla="*/ 69 h 204"/>
                <a:gd name="T24" fmla="*/ 86 w 176"/>
                <a:gd name="T25" fmla="*/ 69 h 204"/>
                <a:gd name="T26" fmla="*/ 81 w 176"/>
                <a:gd name="T27" fmla="*/ 76 h 204"/>
                <a:gd name="T28" fmla="*/ 93 w 176"/>
                <a:gd name="T29" fmla="*/ 83 h 204"/>
                <a:gd name="T30" fmla="*/ 106 w 176"/>
                <a:gd name="T31" fmla="*/ 90 h 204"/>
                <a:gd name="T32" fmla="*/ 113 w 176"/>
                <a:gd name="T33" fmla="*/ 99 h 204"/>
                <a:gd name="T34" fmla="*/ 117 w 176"/>
                <a:gd name="T35" fmla="*/ 103 h 204"/>
                <a:gd name="T36" fmla="*/ 124 w 176"/>
                <a:gd name="T37" fmla="*/ 112 h 204"/>
                <a:gd name="T38" fmla="*/ 140 w 176"/>
                <a:gd name="T39" fmla="*/ 126 h 204"/>
                <a:gd name="T40" fmla="*/ 149 w 176"/>
                <a:gd name="T41" fmla="*/ 141 h 204"/>
                <a:gd name="T42" fmla="*/ 155 w 176"/>
                <a:gd name="T43" fmla="*/ 146 h 204"/>
                <a:gd name="T44" fmla="*/ 162 w 176"/>
                <a:gd name="T45" fmla="*/ 150 h 204"/>
                <a:gd name="T46" fmla="*/ 164 w 176"/>
                <a:gd name="T47" fmla="*/ 159 h 204"/>
                <a:gd name="T48" fmla="*/ 169 w 176"/>
                <a:gd name="T49" fmla="*/ 166 h 204"/>
                <a:gd name="T50" fmla="*/ 173 w 176"/>
                <a:gd name="T51" fmla="*/ 175 h 204"/>
                <a:gd name="T52" fmla="*/ 173 w 176"/>
                <a:gd name="T53" fmla="*/ 182 h 204"/>
                <a:gd name="T54" fmla="*/ 171 w 176"/>
                <a:gd name="T55" fmla="*/ 189 h 204"/>
                <a:gd name="T56" fmla="*/ 164 w 176"/>
                <a:gd name="T57" fmla="*/ 193 h 204"/>
                <a:gd name="T58" fmla="*/ 155 w 176"/>
                <a:gd name="T59" fmla="*/ 193 h 204"/>
                <a:gd name="T60" fmla="*/ 151 w 176"/>
                <a:gd name="T61" fmla="*/ 191 h 204"/>
                <a:gd name="T62" fmla="*/ 144 w 176"/>
                <a:gd name="T63" fmla="*/ 195 h 204"/>
                <a:gd name="T64" fmla="*/ 144 w 176"/>
                <a:gd name="T65" fmla="*/ 204 h 204"/>
                <a:gd name="T66" fmla="*/ 133 w 176"/>
                <a:gd name="T67" fmla="*/ 200 h 204"/>
                <a:gd name="T68" fmla="*/ 129 w 176"/>
                <a:gd name="T69" fmla="*/ 193 h 204"/>
                <a:gd name="T70" fmla="*/ 131 w 176"/>
                <a:gd name="T71" fmla="*/ 182 h 204"/>
                <a:gd name="T72" fmla="*/ 129 w 176"/>
                <a:gd name="T73" fmla="*/ 175 h 204"/>
                <a:gd name="T74" fmla="*/ 131 w 176"/>
                <a:gd name="T75" fmla="*/ 162 h 204"/>
                <a:gd name="T76" fmla="*/ 117 w 176"/>
                <a:gd name="T77" fmla="*/ 148 h 204"/>
                <a:gd name="T78" fmla="*/ 111 w 176"/>
                <a:gd name="T79" fmla="*/ 137 h 204"/>
                <a:gd name="T80" fmla="*/ 104 w 176"/>
                <a:gd name="T81" fmla="*/ 119 h 204"/>
                <a:gd name="T82" fmla="*/ 88 w 176"/>
                <a:gd name="T83" fmla="*/ 101 h 204"/>
                <a:gd name="T84" fmla="*/ 77 w 176"/>
                <a:gd name="T85" fmla="*/ 96 h 204"/>
                <a:gd name="T86" fmla="*/ 70 w 176"/>
                <a:gd name="T87" fmla="*/ 103 h 204"/>
                <a:gd name="T88" fmla="*/ 63 w 176"/>
                <a:gd name="T89" fmla="*/ 112 h 204"/>
                <a:gd name="T90" fmla="*/ 50 w 176"/>
                <a:gd name="T91" fmla="*/ 103 h 204"/>
                <a:gd name="T92" fmla="*/ 39 w 176"/>
                <a:gd name="T93" fmla="*/ 114 h 204"/>
                <a:gd name="T94" fmla="*/ 34 w 176"/>
                <a:gd name="T95" fmla="*/ 119 h 204"/>
                <a:gd name="T96" fmla="*/ 27 w 176"/>
                <a:gd name="T97" fmla="*/ 112 h 204"/>
                <a:gd name="T98" fmla="*/ 30 w 176"/>
                <a:gd name="T99" fmla="*/ 103 h 204"/>
                <a:gd name="T100" fmla="*/ 30 w 176"/>
                <a:gd name="T101" fmla="*/ 94 h 204"/>
                <a:gd name="T102" fmla="*/ 27 w 176"/>
                <a:gd name="T103" fmla="*/ 78 h 204"/>
                <a:gd name="T104" fmla="*/ 25 w 176"/>
                <a:gd name="T105" fmla="*/ 69 h 204"/>
                <a:gd name="T106" fmla="*/ 12 w 176"/>
                <a:gd name="T107" fmla="*/ 69 h 204"/>
                <a:gd name="T108" fmla="*/ 12 w 176"/>
                <a:gd name="T109" fmla="*/ 56 h 204"/>
                <a:gd name="T110" fmla="*/ 3 w 176"/>
                <a:gd name="T111" fmla="*/ 54 h 204"/>
                <a:gd name="T112" fmla="*/ 5 w 176"/>
                <a:gd name="T113" fmla="*/ 40 h 204"/>
                <a:gd name="T114" fmla="*/ 9 w 176"/>
                <a:gd name="T115" fmla="*/ 31 h 204"/>
                <a:gd name="T116" fmla="*/ 21 w 176"/>
                <a:gd name="T117" fmla="*/ 27 h 204"/>
                <a:gd name="T118" fmla="*/ 27 w 176"/>
                <a:gd name="T119" fmla="*/ 31 h 204"/>
                <a:gd name="T120" fmla="*/ 32 w 176"/>
                <a:gd name="T121" fmla="*/ 29 h 204"/>
                <a:gd name="T122" fmla="*/ 30 w 176"/>
                <a:gd name="T123" fmla="*/ 18 h 204"/>
                <a:gd name="T124" fmla="*/ 23 w 176"/>
                <a:gd name="T125" fmla="*/ 6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" h="204">
                  <a:moveTo>
                    <a:pt x="30" y="2"/>
                  </a:moveTo>
                  <a:lnTo>
                    <a:pt x="30" y="4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5"/>
                  </a:lnTo>
                  <a:lnTo>
                    <a:pt x="48" y="15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8"/>
                  </a:lnTo>
                  <a:lnTo>
                    <a:pt x="50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2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2" y="42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90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7" y="56"/>
                  </a:lnTo>
                  <a:lnTo>
                    <a:pt x="97" y="56"/>
                  </a:lnTo>
                  <a:lnTo>
                    <a:pt x="97" y="54"/>
                  </a:lnTo>
                  <a:lnTo>
                    <a:pt x="99" y="54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102" y="60"/>
                  </a:lnTo>
                  <a:lnTo>
                    <a:pt x="99" y="60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5" y="69"/>
                  </a:lnTo>
                  <a:lnTo>
                    <a:pt x="95" y="69"/>
                  </a:lnTo>
                  <a:lnTo>
                    <a:pt x="95" y="69"/>
                  </a:lnTo>
                  <a:lnTo>
                    <a:pt x="95" y="69"/>
                  </a:lnTo>
                  <a:lnTo>
                    <a:pt x="95" y="69"/>
                  </a:lnTo>
                  <a:lnTo>
                    <a:pt x="93" y="69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6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69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1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8" y="78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3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5"/>
                  </a:lnTo>
                  <a:lnTo>
                    <a:pt x="95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7" y="85"/>
                  </a:lnTo>
                  <a:lnTo>
                    <a:pt x="99" y="85"/>
                  </a:lnTo>
                  <a:lnTo>
                    <a:pt x="99" y="87"/>
                  </a:lnTo>
                  <a:lnTo>
                    <a:pt x="99" y="87"/>
                  </a:lnTo>
                  <a:lnTo>
                    <a:pt x="99" y="87"/>
                  </a:lnTo>
                  <a:lnTo>
                    <a:pt x="99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2" y="90"/>
                  </a:lnTo>
                  <a:lnTo>
                    <a:pt x="104" y="90"/>
                  </a:lnTo>
                  <a:lnTo>
                    <a:pt x="104" y="90"/>
                  </a:lnTo>
                  <a:lnTo>
                    <a:pt x="104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11" y="92"/>
                  </a:lnTo>
                  <a:lnTo>
                    <a:pt x="111" y="92"/>
                  </a:lnTo>
                  <a:lnTo>
                    <a:pt x="111" y="92"/>
                  </a:lnTo>
                  <a:lnTo>
                    <a:pt x="111" y="90"/>
                  </a:lnTo>
                  <a:lnTo>
                    <a:pt x="111" y="92"/>
                  </a:lnTo>
                  <a:lnTo>
                    <a:pt x="111" y="92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3" y="94"/>
                  </a:lnTo>
                  <a:lnTo>
                    <a:pt x="113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3" y="99"/>
                  </a:lnTo>
                  <a:lnTo>
                    <a:pt x="113" y="99"/>
                  </a:lnTo>
                  <a:lnTo>
                    <a:pt x="113" y="99"/>
                  </a:lnTo>
                  <a:lnTo>
                    <a:pt x="113" y="99"/>
                  </a:lnTo>
                  <a:lnTo>
                    <a:pt x="113" y="99"/>
                  </a:lnTo>
                  <a:lnTo>
                    <a:pt x="113" y="101"/>
                  </a:lnTo>
                  <a:lnTo>
                    <a:pt x="113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117" y="101"/>
                  </a:lnTo>
                  <a:lnTo>
                    <a:pt x="115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3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2"/>
                  </a:lnTo>
                  <a:lnTo>
                    <a:pt x="126" y="112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9" y="117"/>
                  </a:lnTo>
                  <a:lnTo>
                    <a:pt x="129" y="117"/>
                  </a:lnTo>
                  <a:lnTo>
                    <a:pt x="131" y="117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1" y="119"/>
                  </a:lnTo>
                  <a:lnTo>
                    <a:pt x="133" y="121"/>
                  </a:lnTo>
                  <a:lnTo>
                    <a:pt x="138" y="126"/>
                  </a:lnTo>
                  <a:lnTo>
                    <a:pt x="138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3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6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7" y="132"/>
                  </a:lnTo>
                  <a:lnTo>
                    <a:pt x="147" y="132"/>
                  </a:lnTo>
                  <a:lnTo>
                    <a:pt x="147" y="132"/>
                  </a:lnTo>
                  <a:lnTo>
                    <a:pt x="147" y="139"/>
                  </a:lnTo>
                  <a:lnTo>
                    <a:pt x="147" y="139"/>
                  </a:lnTo>
                  <a:lnTo>
                    <a:pt x="147" y="139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49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4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3" y="146"/>
                  </a:lnTo>
                  <a:lnTo>
                    <a:pt x="153" y="146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4"/>
                  </a:lnTo>
                  <a:lnTo>
                    <a:pt x="153" y="141"/>
                  </a:lnTo>
                  <a:lnTo>
                    <a:pt x="153" y="141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58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48"/>
                  </a:lnTo>
                  <a:lnTo>
                    <a:pt x="160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62" y="150"/>
                  </a:lnTo>
                  <a:lnTo>
                    <a:pt x="162" y="153"/>
                  </a:lnTo>
                  <a:lnTo>
                    <a:pt x="164" y="153"/>
                  </a:lnTo>
                  <a:lnTo>
                    <a:pt x="164" y="153"/>
                  </a:lnTo>
                  <a:lnTo>
                    <a:pt x="164" y="153"/>
                  </a:lnTo>
                  <a:lnTo>
                    <a:pt x="167" y="155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9" y="155"/>
                  </a:lnTo>
                  <a:lnTo>
                    <a:pt x="167" y="155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2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4" y="164"/>
                  </a:lnTo>
                  <a:lnTo>
                    <a:pt x="167" y="164"/>
                  </a:lnTo>
                  <a:lnTo>
                    <a:pt x="167" y="164"/>
                  </a:lnTo>
                  <a:lnTo>
                    <a:pt x="167" y="164"/>
                  </a:lnTo>
                  <a:lnTo>
                    <a:pt x="169" y="166"/>
                  </a:lnTo>
                  <a:lnTo>
                    <a:pt x="169" y="168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3"/>
                  </a:lnTo>
                  <a:lnTo>
                    <a:pt x="176" y="173"/>
                  </a:lnTo>
                  <a:lnTo>
                    <a:pt x="176" y="173"/>
                  </a:lnTo>
                  <a:lnTo>
                    <a:pt x="176" y="173"/>
                  </a:lnTo>
                  <a:lnTo>
                    <a:pt x="176" y="175"/>
                  </a:lnTo>
                  <a:lnTo>
                    <a:pt x="176" y="175"/>
                  </a:lnTo>
                  <a:lnTo>
                    <a:pt x="176" y="175"/>
                  </a:lnTo>
                  <a:lnTo>
                    <a:pt x="176" y="175"/>
                  </a:lnTo>
                  <a:lnTo>
                    <a:pt x="176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5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1" y="177"/>
                  </a:lnTo>
                  <a:lnTo>
                    <a:pt x="171" y="177"/>
                  </a:lnTo>
                  <a:lnTo>
                    <a:pt x="171" y="177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1" y="180"/>
                  </a:lnTo>
                  <a:lnTo>
                    <a:pt x="173" y="180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6"/>
                  </a:lnTo>
                  <a:lnTo>
                    <a:pt x="173" y="189"/>
                  </a:lnTo>
                  <a:lnTo>
                    <a:pt x="173" y="189"/>
                  </a:lnTo>
                  <a:lnTo>
                    <a:pt x="173" y="189"/>
                  </a:lnTo>
                  <a:lnTo>
                    <a:pt x="173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71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9" y="191"/>
                  </a:lnTo>
                  <a:lnTo>
                    <a:pt x="169" y="191"/>
                  </a:lnTo>
                  <a:lnTo>
                    <a:pt x="169" y="191"/>
                  </a:lnTo>
                  <a:lnTo>
                    <a:pt x="169" y="191"/>
                  </a:lnTo>
                  <a:lnTo>
                    <a:pt x="169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3"/>
                  </a:lnTo>
                  <a:lnTo>
                    <a:pt x="167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2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58" y="193"/>
                  </a:lnTo>
                  <a:lnTo>
                    <a:pt x="158" y="193"/>
                  </a:lnTo>
                  <a:lnTo>
                    <a:pt x="158" y="193"/>
                  </a:lnTo>
                  <a:lnTo>
                    <a:pt x="158" y="193"/>
                  </a:lnTo>
                  <a:lnTo>
                    <a:pt x="158" y="193"/>
                  </a:lnTo>
                  <a:lnTo>
                    <a:pt x="155" y="193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89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3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9" y="193"/>
                  </a:lnTo>
                  <a:lnTo>
                    <a:pt x="149" y="193"/>
                  </a:lnTo>
                  <a:lnTo>
                    <a:pt x="149" y="193"/>
                  </a:lnTo>
                  <a:lnTo>
                    <a:pt x="149" y="193"/>
                  </a:lnTo>
                  <a:lnTo>
                    <a:pt x="149" y="191"/>
                  </a:lnTo>
                  <a:lnTo>
                    <a:pt x="147" y="191"/>
                  </a:lnTo>
                  <a:lnTo>
                    <a:pt x="147" y="191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2" y="195"/>
                  </a:lnTo>
                  <a:lnTo>
                    <a:pt x="144" y="195"/>
                  </a:lnTo>
                  <a:lnTo>
                    <a:pt x="144" y="195"/>
                  </a:lnTo>
                  <a:lnTo>
                    <a:pt x="144" y="197"/>
                  </a:lnTo>
                  <a:lnTo>
                    <a:pt x="144" y="197"/>
                  </a:lnTo>
                  <a:lnTo>
                    <a:pt x="144" y="197"/>
                  </a:lnTo>
                  <a:lnTo>
                    <a:pt x="144" y="197"/>
                  </a:lnTo>
                  <a:lnTo>
                    <a:pt x="144" y="197"/>
                  </a:lnTo>
                  <a:lnTo>
                    <a:pt x="147" y="200"/>
                  </a:lnTo>
                  <a:lnTo>
                    <a:pt x="147" y="200"/>
                  </a:lnTo>
                  <a:lnTo>
                    <a:pt x="147" y="200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2"/>
                  </a:lnTo>
                  <a:lnTo>
                    <a:pt x="147" y="204"/>
                  </a:lnTo>
                  <a:lnTo>
                    <a:pt x="147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4" y="204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2" y="204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8" y="200"/>
                  </a:lnTo>
                  <a:lnTo>
                    <a:pt x="138" y="200"/>
                  </a:lnTo>
                  <a:lnTo>
                    <a:pt x="138" y="200"/>
                  </a:lnTo>
                  <a:lnTo>
                    <a:pt x="138" y="200"/>
                  </a:lnTo>
                  <a:lnTo>
                    <a:pt x="138" y="200"/>
                  </a:lnTo>
                  <a:lnTo>
                    <a:pt x="138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197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26" y="195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29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3"/>
                  </a:lnTo>
                  <a:lnTo>
                    <a:pt x="131" y="191"/>
                  </a:lnTo>
                  <a:lnTo>
                    <a:pt x="131" y="191"/>
                  </a:lnTo>
                  <a:lnTo>
                    <a:pt x="131" y="191"/>
                  </a:lnTo>
                  <a:lnTo>
                    <a:pt x="131" y="191"/>
                  </a:lnTo>
                  <a:lnTo>
                    <a:pt x="133" y="191"/>
                  </a:lnTo>
                  <a:lnTo>
                    <a:pt x="133" y="189"/>
                  </a:lnTo>
                  <a:lnTo>
                    <a:pt x="133" y="189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4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1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1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3" y="180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9" y="177"/>
                  </a:lnTo>
                  <a:lnTo>
                    <a:pt x="129" y="175"/>
                  </a:lnTo>
                  <a:lnTo>
                    <a:pt x="129" y="175"/>
                  </a:lnTo>
                  <a:lnTo>
                    <a:pt x="129" y="175"/>
                  </a:lnTo>
                  <a:lnTo>
                    <a:pt x="129" y="175"/>
                  </a:lnTo>
                  <a:lnTo>
                    <a:pt x="131" y="173"/>
                  </a:lnTo>
                  <a:lnTo>
                    <a:pt x="131" y="173"/>
                  </a:lnTo>
                  <a:lnTo>
                    <a:pt x="131" y="173"/>
                  </a:lnTo>
                  <a:lnTo>
                    <a:pt x="131" y="173"/>
                  </a:lnTo>
                  <a:lnTo>
                    <a:pt x="131" y="173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29" y="171"/>
                  </a:lnTo>
                  <a:lnTo>
                    <a:pt x="129" y="171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6"/>
                  </a:lnTo>
                  <a:lnTo>
                    <a:pt x="131" y="166"/>
                  </a:lnTo>
                  <a:lnTo>
                    <a:pt x="133" y="166"/>
                  </a:lnTo>
                  <a:lnTo>
                    <a:pt x="133" y="164"/>
                  </a:lnTo>
                  <a:lnTo>
                    <a:pt x="131" y="162"/>
                  </a:lnTo>
                  <a:lnTo>
                    <a:pt x="131" y="162"/>
                  </a:lnTo>
                  <a:lnTo>
                    <a:pt x="131" y="162"/>
                  </a:lnTo>
                  <a:lnTo>
                    <a:pt x="129" y="162"/>
                  </a:lnTo>
                  <a:lnTo>
                    <a:pt x="129" y="162"/>
                  </a:lnTo>
                  <a:lnTo>
                    <a:pt x="129" y="162"/>
                  </a:lnTo>
                  <a:lnTo>
                    <a:pt x="129" y="162"/>
                  </a:lnTo>
                  <a:lnTo>
                    <a:pt x="126" y="162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4" y="157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6" y="155"/>
                  </a:lnTo>
                  <a:lnTo>
                    <a:pt x="124" y="155"/>
                  </a:lnTo>
                  <a:lnTo>
                    <a:pt x="122" y="155"/>
                  </a:lnTo>
                  <a:lnTo>
                    <a:pt x="122" y="155"/>
                  </a:lnTo>
                  <a:lnTo>
                    <a:pt x="120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7" y="148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8"/>
                  </a:lnTo>
                  <a:lnTo>
                    <a:pt x="115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3" y="144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11" y="144"/>
                  </a:lnTo>
                  <a:lnTo>
                    <a:pt x="111" y="141"/>
                  </a:lnTo>
                  <a:lnTo>
                    <a:pt x="111" y="141"/>
                  </a:lnTo>
                  <a:lnTo>
                    <a:pt x="111" y="141"/>
                  </a:lnTo>
                  <a:lnTo>
                    <a:pt x="111" y="141"/>
                  </a:lnTo>
                  <a:lnTo>
                    <a:pt x="111" y="139"/>
                  </a:lnTo>
                  <a:lnTo>
                    <a:pt x="111" y="139"/>
                  </a:lnTo>
                  <a:lnTo>
                    <a:pt x="111" y="139"/>
                  </a:lnTo>
                  <a:lnTo>
                    <a:pt x="111" y="139"/>
                  </a:lnTo>
                  <a:lnTo>
                    <a:pt x="111" y="137"/>
                  </a:lnTo>
                  <a:lnTo>
                    <a:pt x="111" y="137"/>
                  </a:lnTo>
                  <a:lnTo>
                    <a:pt x="111" y="135"/>
                  </a:lnTo>
                  <a:lnTo>
                    <a:pt x="111" y="135"/>
                  </a:lnTo>
                  <a:lnTo>
                    <a:pt x="111" y="135"/>
                  </a:lnTo>
                  <a:lnTo>
                    <a:pt x="111" y="135"/>
                  </a:lnTo>
                  <a:lnTo>
                    <a:pt x="111" y="135"/>
                  </a:lnTo>
                  <a:lnTo>
                    <a:pt x="111" y="135"/>
                  </a:lnTo>
                  <a:lnTo>
                    <a:pt x="108" y="132"/>
                  </a:lnTo>
                  <a:lnTo>
                    <a:pt x="108" y="130"/>
                  </a:lnTo>
                  <a:lnTo>
                    <a:pt x="108" y="130"/>
                  </a:lnTo>
                  <a:lnTo>
                    <a:pt x="111" y="128"/>
                  </a:lnTo>
                  <a:lnTo>
                    <a:pt x="111" y="126"/>
                  </a:lnTo>
                  <a:lnTo>
                    <a:pt x="111" y="126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8" y="121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4" y="119"/>
                  </a:lnTo>
                  <a:lnTo>
                    <a:pt x="102" y="117"/>
                  </a:lnTo>
                  <a:lnTo>
                    <a:pt x="102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4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7" y="112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0" y="103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99"/>
                  </a:lnTo>
                  <a:lnTo>
                    <a:pt x="86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79" y="99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79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6" y="108"/>
                  </a:lnTo>
                  <a:lnTo>
                    <a:pt x="66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0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4" y="108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48" y="108"/>
                  </a:lnTo>
                  <a:lnTo>
                    <a:pt x="45" y="108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8"/>
                  </a:lnTo>
                  <a:lnTo>
                    <a:pt x="43" y="110"/>
                  </a:lnTo>
                  <a:lnTo>
                    <a:pt x="43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39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39" y="112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6" y="114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9"/>
                  </a:lnTo>
                  <a:lnTo>
                    <a:pt x="34" y="119"/>
                  </a:lnTo>
                  <a:lnTo>
                    <a:pt x="34" y="119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30" y="119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30" y="101"/>
                  </a:lnTo>
                  <a:lnTo>
                    <a:pt x="30" y="99"/>
                  </a:lnTo>
                  <a:lnTo>
                    <a:pt x="30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27" y="81"/>
                  </a:lnTo>
                  <a:lnTo>
                    <a:pt x="27" y="78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4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7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5" name="Freeform 562"/>
            <p:cNvSpPr>
              <a:spLocks noEditPoints="1"/>
            </p:cNvSpPr>
            <p:nvPr/>
          </p:nvSpPr>
          <p:spPr bwMode="auto">
            <a:xfrm>
              <a:off x="7888961" y="2247527"/>
              <a:ext cx="324256" cy="162128"/>
            </a:xfrm>
            <a:custGeom>
              <a:avLst/>
              <a:gdLst>
                <a:gd name="T0" fmla="*/ 90 w 194"/>
                <a:gd name="T1" fmla="*/ 9 h 97"/>
                <a:gd name="T2" fmla="*/ 106 w 194"/>
                <a:gd name="T3" fmla="*/ 9 h 97"/>
                <a:gd name="T4" fmla="*/ 119 w 194"/>
                <a:gd name="T5" fmla="*/ 9 h 97"/>
                <a:gd name="T6" fmla="*/ 126 w 194"/>
                <a:gd name="T7" fmla="*/ 7 h 97"/>
                <a:gd name="T8" fmla="*/ 140 w 194"/>
                <a:gd name="T9" fmla="*/ 9 h 97"/>
                <a:gd name="T10" fmla="*/ 151 w 194"/>
                <a:gd name="T11" fmla="*/ 9 h 97"/>
                <a:gd name="T12" fmla="*/ 169 w 194"/>
                <a:gd name="T13" fmla="*/ 11 h 97"/>
                <a:gd name="T14" fmla="*/ 189 w 194"/>
                <a:gd name="T15" fmla="*/ 23 h 97"/>
                <a:gd name="T16" fmla="*/ 187 w 194"/>
                <a:gd name="T17" fmla="*/ 32 h 97"/>
                <a:gd name="T18" fmla="*/ 173 w 194"/>
                <a:gd name="T19" fmla="*/ 38 h 97"/>
                <a:gd name="T20" fmla="*/ 164 w 194"/>
                <a:gd name="T21" fmla="*/ 47 h 97"/>
                <a:gd name="T22" fmla="*/ 151 w 194"/>
                <a:gd name="T23" fmla="*/ 54 h 97"/>
                <a:gd name="T24" fmla="*/ 137 w 194"/>
                <a:gd name="T25" fmla="*/ 56 h 97"/>
                <a:gd name="T26" fmla="*/ 133 w 194"/>
                <a:gd name="T27" fmla="*/ 68 h 97"/>
                <a:gd name="T28" fmla="*/ 122 w 194"/>
                <a:gd name="T29" fmla="*/ 70 h 97"/>
                <a:gd name="T30" fmla="*/ 115 w 194"/>
                <a:gd name="T31" fmla="*/ 61 h 97"/>
                <a:gd name="T32" fmla="*/ 104 w 194"/>
                <a:gd name="T33" fmla="*/ 65 h 97"/>
                <a:gd name="T34" fmla="*/ 99 w 194"/>
                <a:gd name="T35" fmla="*/ 70 h 97"/>
                <a:gd name="T36" fmla="*/ 90 w 194"/>
                <a:gd name="T37" fmla="*/ 79 h 97"/>
                <a:gd name="T38" fmla="*/ 92 w 194"/>
                <a:gd name="T39" fmla="*/ 88 h 97"/>
                <a:gd name="T40" fmla="*/ 79 w 194"/>
                <a:gd name="T41" fmla="*/ 92 h 97"/>
                <a:gd name="T42" fmla="*/ 65 w 194"/>
                <a:gd name="T43" fmla="*/ 92 h 97"/>
                <a:gd name="T44" fmla="*/ 61 w 194"/>
                <a:gd name="T45" fmla="*/ 95 h 97"/>
                <a:gd name="T46" fmla="*/ 52 w 194"/>
                <a:gd name="T47" fmla="*/ 95 h 97"/>
                <a:gd name="T48" fmla="*/ 45 w 194"/>
                <a:gd name="T49" fmla="*/ 88 h 97"/>
                <a:gd name="T50" fmla="*/ 36 w 194"/>
                <a:gd name="T51" fmla="*/ 88 h 97"/>
                <a:gd name="T52" fmla="*/ 30 w 194"/>
                <a:gd name="T53" fmla="*/ 90 h 97"/>
                <a:gd name="T54" fmla="*/ 23 w 194"/>
                <a:gd name="T55" fmla="*/ 86 h 97"/>
                <a:gd name="T56" fmla="*/ 18 w 194"/>
                <a:gd name="T57" fmla="*/ 88 h 97"/>
                <a:gd name="T58" fmla="*/ 7 w 194"/>
                <a:gd name="T59" fmla="*/ 88 h 97"/>
                <a:gd name="T60" fmla="*/ 0 w 194"/>
                <a:gd name="T61" fmla="*/ 83 h 97"/>
                <a:gd name="T62" fmla="*/ 3 w 194"/>
                <a:gd name="T63" fmla="*/ 77 h 97"/>
                <a:gd name="T64" fmla="*/ 16 w 194"/>
                <a:gd name="T65" fmla="*/ 74 h 97"/>
                <a:gd name="T66" fmla="*/ 23 w 194"/>
                <a:gd name="T67" fmla="*/ 79 h 97"/>
                <a:gd name="T68" fmla="*/ 27 w 194"/>
                <a:gd name="T69" fmla="*/ 72 h 97"/>
                <a:gd name="T70" fmla="*/ 34 w 194"/>
                <a:gd name="T71" fmla="*/ 70 h 97"/>
                <a:gd name="T72" fmla="*/ 43 w 194"/>
                <a:gd name="T73" fmla="*/ 72 h 97"/>
                <a:gd name="T74" fmla="*/ 50 w 194"/>
                <a:gd name="T75" fmla="*/ 72 h 97"/>
                <a:gd name="T76" fmla="*/ 52 w 194"/>
                <a:gd name="T77" fmla="*/ 65 h 97"/>
                <a:gd name="T78" fmla="*/ 54 w 194"/>
                <a:gd name="T79" fmla="*/ 65 h 97"/>
                <a:gd name="T80" fmla="*/ 61 w 194"/>
                <a:gd name="T81" fmla="*/ 63 h 97"/>
                <a:gd name="T82" fmla="*/ 63 w 194"/>
                <a:gd name="T83" fmla="*/ 56 h 97"/>
                <a:gd name="T84" fmla="*/ 50 w 194"/>
                <a:gd name="T85" fmla="*/ 52 h 97"/>
                <a:gd name="T86" fmla="*/ 43 w 194"/>
                <a:gd name="T87" fmla="*/ 50 h 97"/>
                <a:gd name="T88" fmla="*/ 34 w 194"/>
                <a:gd name="T89" fmla="*/ 43 h 97"/>
                <a:gd name="T90" fmla="*/ 34 w 194"/>
                <a:gd name="T91" fmla="*/ 43 h 97"/>
                <a:gd name="T92" fmla="*/ 27 w 194"/>
                <a:gd name="T93" fmla="*/ 50 h 97"/>
                <a:gd name="T94" fmla="*/ 21 w 194"/>
                <a:gd name="T95" fmla="*/ 47 h 97"/>
                <a:gd name="T96" fmla="*/ 9 w 194"/>
                <a:gd name="T97" fmla="*/ 43 h 97"/>
                <a:gd name="T98" fmla="*/ 12 w 194"/>
                <a:gd name="T99" fmla="*/ 32 h 97"/>
                <a:gd name="T100" fmla="*/ 14 w 194"/>
                <a:gd name="T101" fmla="*/ 23 h 97"/>
                <a:gd name="T102" fmla="*/ 16 w 194"/>
                <a:gd name="T103" fmla="*/ 18 h 97"/>
                <a:gd name="T104" fmla="*/ 16 w 194"/>
                <a:gd name="T105" fmla="*/ 11 h 97"/>
                <a:gd name="T106" fmla="*/ 27 w 194"/>
                <a:gd name="T107" fmla="*/ 9 h 97"/>
                <a:gd name="T108" fmla="*/ 48 w 194"/>
                <a:gd name="T109" fmla="*/ 16 h 97"/>
                <a:gd name="T110" fmla="*/ 61 w 194"/>
                <a:gd name="T111" fmla="*/ 20 h 97"/>
                <a:gd name="T112" fmla="*/ 59 w 194"/>
                <a:gd name="T113" fmla="*/ 5 h 97"/>
                <a:gd name="T114" fmla="*/ 72 w 194"/>
                <a:gd name="T115" fmla="*/ 2 h 97"/>
                <a:gd name="T116" fmla="*/ 34 w 194"/>
                <a:gd name="T117" fmla="*/ 79 h 97"/>
                <a:gd name="T118" fmla="*/ 36 w 194"/>
                <a:gd name="T119" fmla="*/ 77 h 97"/>
                <a:gd name="T120" fmla="*/ 45 w 194"/>
                <a:gd name="T121" fmla="*/ 79 h 97"/>
                <a:gd name="T122" fmla="*/ 27 w 194"/>
                <a:gd name="T123" fmla="*/ 8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4" h="97">
                  <a:moveTo>
                    <a:pt x="72" y="2"/>
                  </a:move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7" y="11"/>
                  </a:lnTo>
                  <a:lnTo>
                    <a:pt x="97" y="9"/>
                  </a:lnTo>
                  <a:lnTo>
                    <a:pt x="99" y="9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2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9" y="9"/>
                  </a:lnTo>
                  <a:lnTo>
                    <a:pt x="149" y="9"/>
                  </a:lnTo>
                  <a:lnTo>
                    <a:pt x="149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5" y="9"/>
                  </a:lnTo>
                  <a:lnTo>
                    <a:pt x="158" y="9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60" y="11"/>
                  </a:lnTo>
                  <a:lnTo>
                    <a:pt x="162" y="11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64" y="11"/>
                  </a:lnTo>
                  <a:lnTo>
                    <a:pt x="167" y="11"/>
                  </a:lnTo>
                  <a:lnTo>
                    <a:pt x="167" y="11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1"/>
                  </a:lnTo>
                  <a:lnTo>
                    <a:pt x="169" y="14"/>
                  </a:lnTo>
                  <a:lnTo>
                    <a:pt x="169" y="14"/>
                  </a:lnTo>
                  <a:lnTo>
                    <a:pt x="169" y="14"/>
                  </a:lnTo>
                  <a:lnTo>
                    <a:pt x="169" y="14"/>
                  </a:lnTo>
                  <a:lnTo>
                    <a:pt x="171" y="16"/>
                  </a:lnTo>
                  <a:lnTo>
                    <a:pt x="171" y="16"/>
                  </a:lnTo>
                  <a:lnTo>
                    <a:pt x="173" y="16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6" y="18"/>
                  </a:lnTo>
                  <a:lnTo>
                    <a:pt x="178" y="18"/>
                  </a:lnTo>
                  <a:lnTo>
                    <a:pt x="180" y="18"/>
                  </a:lnTo>
                  <a:lnTo>
                    <a:pt x="180" y="18"/>
                  </a:lnTo>
                  <a:lnTo>
                    <a:pt x="185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7" y="20"/>
                  </a:lnTo>
                  <a:lnTo>
                    <a:pt x="189" y="23"/>
                  </a:lnTo>
                  <a:lnTo>
                    <a:pt x="189" y="23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4" y="25"/>
                  </a:lnTo>
                  <a:lnTo>
                    <a:pt x="194" y="25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7"/>
                  </a:lnTo>
                  <a:lnTo>
                    <a:pt x="194" y="29"/>
                  </a:lnTo>
                  <a:lnTo>
                    <a:pt x="194" y="29"/>
                  </a:lnTo>
                  <a:lnTo>
                    <a:pt x="189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29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7" y="32"/>
                  </a:lnTo>
                  <a:lnTo>
                    <a:pt x="185" y="32"/>
                  </a:lnTo>
                  <a:lnTo>
                    <a:pt x="185" y="32"/>
                  </a:lnTo>
                  <a:lnTo>
                    <a:pt x="185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0" y="34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6" y="36"/>
                  </a:lnTo>
                  <a:lnTo>
                    <a:pt x="176" y="36"/>
                  </a:lnTo>
                  <a:lnTo>
                    <a:pt x="176" y="36"/>
                  </a:lnTo>
                  <a:lnTo>
                    <a:pt x="173" y="38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1"/>
                  </a:lnTo>
                  <a:lnTo>
                    <a:pt x="169" y="43"/>
                  </a:lnTo>
                  <a:lnTo>
                    <a:pt x="167" y="43"/>
                  </a:lnTo>
                  <a:lnTo>
                    <a:pt x="167" y="43"/>
                  </a:lnTo>
                  <a:lnTo>
                    <a:pt x="164" y="43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0"/>
                  </a:lnTo>
                  <a:lnTo>
                    <a:pt x="162" y="52"/>
                  </a:lnTo>
                  <a:lnTo>
                    <a:pt x="162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58" y="52"/>
                  </a:lnTo>
                  <a:lnTo>
                    <a:pt x="155" y="52"/>
                  </a:lnTo>
                  <a:lnTo>
                    <a:pt x="155" y="52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49" y="54"/>
                  </a:lnTo>
                  <a:lnTo>
                    <a:pt x="149" y="52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0" y="52"/>
                  </a:lnTo>
                  <a:lnTo>
                    <a:pt x="140" y="52"/>
                  </a:lnTo>
                  <a:lnTo>
                    <a:pt x="137" y="52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5" y="63"/>
                  </a:lnTo>
                  <a:lnTo>
                    <a:pt x="135" y="63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5" y="68"/>
                  </a:lnTo>
                  <a:lnTo>
                    <a:pt x="135" y="68"/>
                  </a:lnTo>
                  <a:lnTo>
                    <a:pt x="133" y="68"/>
                  </a:lnTo>
                  <a:lnTo>
                    <a:pt x="133" y="68"/>
                  </a:lnTo>
                  <a:lnTo>
                    <a:pt x="133" y="70"/>
                  </a:lnTo>
                  <a:lnTo>
                    <a:pt x="133" y="68"/>
                  </a:lnTo>
                  <a:lnTo>
                    <a:pt x="131" y="68"/>
                  </a:lnTo>
                  <a:lnTo>
                    <a:pt x="131" y="68"/>
                  </a:lnTo>
                  <a:lnTo>
                    <a:pt x="131" y="65"/>
                  </a:lnTo>
                  <a:lnTo>
                    <a:pt x="131" y="68"/>
                  </a:lnTo>
                  <a:lnTo>
                    <a:pt x="131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4" y="70"/>
                  </a:lnTo>
                  <a:lnTo>
                    <a:pt x="124" y="70"/>
                  </a:lnTo>
                  <a:lnTo>
                    <a:pt x="124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19" y="70"/>
                  </a:lnTo>
                  <a:lnTo>
                    <a:pt x="119" y="70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5" y="63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8" y="65"/>
                  </a:lnTo>
                  <a:lnTo>
                    <a:pt x="106" y="65"/>
                  </a:lnTo>
                  <a:lnTo>
                    <a:pt x="106" y="65"/>
                  </a:lnTo>
                  <a:lnTo>
                    <a:pt x="104" y="65"/>
                  </a:lnTo>
                  <a:lnTo>
                    <a:pt x="104" y="65"/>
                  </a:lnTo>
                  <a:lnTo>
                    <a:pt x="104" y="65"/>
                  </a:lnTo>
                  <a:lnTo>
                    <a:pt x="101" y="65"/>
                  </a:lnTo>
                  <a:lnTo>
                    <a:pt x="101" y="65"/>
                  </a:lnTo>
                  <a:lnTo>
                    <a:pt x="101" y="65"/>
                  </a:lnTo>
                  <a:lnTo>
                    <a:pt x="101" y="65"/>
                  </a:lnTo>
                  <a:lnTo>
                    <a:pt x="101" y="65"/>
                  </a:lnTo>
                  <a:lnTo>
                    <a:pt x="101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2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5" y="74"/>
                  </a:lnTo>
                  <a:lnTo>
                    <a:pt x="95" y="74"/>
                  </a:lnTo>
                  <a:lnTo>
                    <a:pt x="95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0" y="86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88" y="90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1" y="95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2" y="92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5" y="90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2" y="90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5" y="7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21" y="74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0"/>
                  </a:lnTo>
                  <a:lnTo>
                    <a:pt x="32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0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8" y="72"/>
                  </a:lnTo>
                  <a:lnTo>
                    <a:pt x="48" y="70"/>
                  </a:lnTo>
                  <a:lnTo>
                    <a:pt x="48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5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3" y="56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7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8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9" y="11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3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8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1" y="18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2"/>
                  </a:lnTo>
                  <a:lnTo>
                    <a:pt x="72" y="2"/>
                  </a:lnTo>
                  <a:close/>
                  <a:moveTo>
                    <a:pt x="32" y="74"/>
                  </a:moveTo>
                  <a:lnTo>
                    <a:pt x="32" y="72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4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4" y="77"/>
                  </a:lnTo>
                  <a:lnTo>
                    <a:pt x="34" y="79"/>
                  </a:lnTo>
                  <a:lnTo>
                    <a:pt x="32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close/>
                  <a:moveTo>
                    <a:pt x="48" y="79"/>
                  </a:move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8" y="79"/>
                  </a:lnTo>
                  <a:close/>
                  <a:moveTo>
                    <a:pt x="25" y="81"/>
                  </a:moveTo>
                  <a:lnTo>
                    <a:pt x="23" y="79"/>
                  </a:lnTo>
                  <a:lnTo>
                    <a:pt x="23" y="79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5" y="81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6" name="Freeform 563"/>
            <p:cNvSpPr>
              <a:spLocks noEditPoints="1"/>
            </p:cNvSpPr>
            <p:nvPr/>
          </p:nvSpPr>
          <p:spPr bwMode="auto">
            <a:xfrm>
              <a:off x="7217048" y="2770684"/>
              <a:ext cx="68529" cy="60171"/>
            </a:xfrm>
            <a:custGeom>
              <a:avLst/>
              <a:gdLst>
                <a:gd name="T0" fmla="*/ 36 w 41"/>
                <a:gd name="T1" fmla="*/ 9 h 36"/>
                <a:gd name="T2" fmla="*/ 34 w 41"/>
                <a:gd name="T3" fmla="*/ 11 h 36"/>
                <a:gd name="T4" fmla="*/ 29 w 41"/>
                <a:gd name="T5" fmla="*/ 6 h 36"/>
                <a:gd name="T6" fmla="*/ 29 w 41"/>
                <a:gd name="T7" fmla="*/ 6 h 36"/>
                <a:gd name="T8" fmla="*/ 29 w 41"/>
                <a:gd name="T9" fmla="*/ 6 h 36"/>
                <a:gd name="T10" fmla="*/ 29 w 41"/>
                <a:gd name="T11" fmla="*/ 4 h 36"/>
                <a:gd name="T12" fmla="*/ 32 w 41"/>
                <a:gd name="T13" fmla="*/ 4 h 36"/>
                <a:gd name="T14" fmla="*/ 32 w 41"/>
                <a:gd name="T15" fmla="*/ 4 h 36"/>
                <a:gd name="T16" fmla="*/ 32 w 41"/>
                <a:gd name="T17" fmla="*/ 4 h 36"/>
                <a:gd name="T18" fmla="*/ 29 w 41"/>
                <a:gd name="T19" fmla="*/ 2 h 36"/>
                <a:gd name="T20" fmla="*/ 29 w 41"/>
                <a:gd name="T21" fmla="*/ 2 h 36"/>
                <a:gd name="T22" fmla="*/ 32 w 41"/>
                <a:gd name="T23" fmla="*/ 2 h 36"/>
                <a:gd name="T24" fmla="*/ 29 w 41"/>
                <a:gd name="T25" fmla="*/ 9 h 36"/>
                <a:gd name="T26" fmla="*/ 32 w 41"/>
                <a:gd name="T27" fmla="*/ 11 h 36"/>
                <a:gd name="T28" fmla="*/ 32 w 41"/>
                <a:gd name="T29" fmla="*/ 13 h 36"/>
                <a:gd name="T30" fmla="*/ 29 w 41"/>
                <a:gd name="T31" fmla="*/ 11 h 36"/>
                <a:gd name="T32" fmla="*/ 29 w 41"/>
                <a:gd name="T33" fmla="*/ 11 h 36"/>
                <a:gd name="T34" fmla="*/ 29 w 41"/>
                <a:gd name="T35" fmla="*/ 11 h 36"/>
                <a:gd name="T36" fmla="*/ 27 w 41"/>
                <a:gd name="T37" fmla="*/ 11 h 36"/>
                <a:gd name="T38" fmla="*/ 25 w 41"/>
                <a:gd name="T39" fmla="*/ 15 h 36"/>
                <a:gd name="T40" fmla="*/ 23 w 41"/>
                <a:gd name="T41" fmla="*/ 15 h 36"/>
                <a:gd name="T42" fmla="*/ 25 w 41"/>
                <a:gd name="T43" fmla="*/ 15 h 36"/>
                <a:gd name="T44" fmla="*/ 25 w 41"/>
                <a:gd name="T45" fmla="*/ 15 h 36"/>
                <a:gd name="T46" fmla="*/ 25 w 41"/>
                <a:gd name="T47" fmla="*/ 18 h 36"/>
                <a:gd name="T48" fmla="*/ 29 w 41"/>
                <a:gd name="T49" fmla="*/ 15 h 36"/>
                <a:gd name="T50" fmla="*/ 29 w 41"/>
                <a:gd name="T51" fmla="*/ 18 h 36"/>
                <a:gd name="T52" fmla="*/ 32 w 41"/>
                <a:gd name="T53" fmla="*/ 18 h 36"/>
                <a:gd name="T54" fmla="*/ 32 w 41"/>
                <a:gd name="T55" fmla="*/ 22 h 36"/>
                <a:gd name="T56" fmla="*/ 36 w 41"/>
                <a:gd name="T57" fmla="*/ 27 h 36"/>
                <a:gd name="T58" fmla="*/ 36 w 41"/>
                <a:gd name="T59" fmla="*/ 29 h 36"/>
                <a:gd name="T60" fmla="*/ 38 w 41"/>
                <a:gd name="T61" fmla="*/ 31 h 36"/>
                <a:gd name="T62" fmla="*/ 38 w 41"/>
                <a:gd name="T63" fmla="*/ 33 h 36"/>
                <a:gd name="T64" fmla="*/ 38 w 41"/>
                <a:gd name="T65" fmla="*/ 33 h 36"/>
                <a:gd name="T66" fmla="*/ 38 w 41"/>
                <a:gd name="T67" fmla="*/ 33 h 36"/>
                <a:gd name="T68" fmla="*/ 38 w 41"/>
                <a:gd name="T69" fmla="*/ 33 h 36"/>
                <a:gd name="T70" fmla="*/ 38 w 41"/>
                <a:gd name="T71" fmla="*/ 33 h 36"/>
                <a:gd name="T72" fmla="*/ 38 w 41"/>
                <a:gd name="T73" fmla="*/ 36 h 36"/>
                <a:gd name="T74" fmla="*/ 36 w 41"/>
                <a:gd name="T75" fmla="*/ 36 h 36"/>
                <a:gd name="T76" fmla="*/ 25 w 41"/>
                <a:gd name="T77" fmla="*/ 36 h 36"/>
                <a:gd name="T78" fmla="*/ 23 w 41"/>
                <a:gd name="T79" fmla="*/ 36 h 36"/>
                <a:gd name="T80" fmla="*/ 23 w 41"/>
                <a:gd name="T81" fmla="*/ 31 h 36"/>
                <a:gd name="T82" fmla="*/ 18 w 41"/>
                <a:gd name="T83" fmla="*/ 24 h 36"/>
                <a:gd name="T84" fmla="*/ 16 w 41"/>
                <a:gd name="T85" fmla="*/ 24 h 36"/>
                <a:gd name="T86" fmla="*/ 7 w 41"/>
                <a:gd name="T87" fmla="*/ 24 h 36"/>
                <a:gd name="T88" fmla="*/ 2 w 41"/>
                <a:gd name="T89" fmla="*/ 20 h 36"/>
                <a:gd name="T90" fmla="*/ 7 w 41"/>
                <a:gd name="T91" fmla="*/ 13 h 36"/>
                <a:gd name="T92" fmla="*/ 7 w 41"/>
                <a:gd name="T93" fmla="*/ 9 h 36"/>
                <a:gd name="T94" fmla="*/ 9 w 41"/>
                <a:gd name="T95" fmla="*/ 2 h 36"/>
                <a:gd name="T96" fmla="*/ 20 w 41"/>
                <a:gd name="T97" fmla="*/ 0 h 36"/>
                <a:gd name="T98" fmla="*/ 27 w 41"/>
                <a:gd name="T99" fmla="*/ 2 h 36"/>
                <a:gd name="T100" fmla="*/ 27 w 41"/>
                <a:gd name="T101" fmla="*/ 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" h="36">
                  <a:moveTo>
                    <a:pt x="32" y="2"/>
                  </a:moveTo>
                  <a:lnTo>
                    <a:pt x="34" y="6"/>
                  </a:lnTo>
                  <a:lnTo>
                    <a:pt x="36" y="6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close/>
                  <a:moveTo>
                    <a:pt x="29" y="6"/>
                  </a:move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4" y="24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36" y="36"/>
                  </a:lnTo>
                  <a:lnTo>
                    <a:pt x="34" y="36"/>
                  </a:lnTo>
                  <a:lnTo>
                    <a:pt x="29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0" y="27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1" y="24"/>
                  </a:lnTo>
                  <a:lnTo>
                    <a:pt x="9" y="24"/>
                  </a:lnTo>
                  <a:lnTo>
                    <a:pt x="7" y="24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5" y="18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6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9" y="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7" name="Freeform 564"/>
            <p:cNvSpPr>
              <a:spLocks/>
            </p:cNvSpPr>
            <p:nvPr/>
          </p:nvSpPr>
          <p:spPr bwMode="auto">
            <a:xfrm>
              <a:off x="6282722" y="2247527"/>
              <a:ext cx="55158" cy="56828"/>
            </a:xfrm>
            <a:custGeom>
              <a:avLst/>
              <a:gdLst>
                <a:gd name="T0" fmla="*/ 16 w 33"/>
                <a:gd name="T1" fmla="*/ 0 h 34"/>
                <a:gd name="T2" fmla="*/ 16 w 33"/>
                <a:gd name="T3" fmla="*/ 2 h 34"/>
                <a:gd name="T4" fmla="*/ 18 w 33"/>
                <a:gd name="T5" fmla="*/ 5 h 34"/>
                <a:gd name="T6" fmla="*/ 20 w 33"/>
                <a:gd name="T7" fmla="*/ 7 h 34"/>
                <a:gd name="T8" fmla="*/ 22 w 33"/>
                <a:gd name="T9" fmla="*/ 7 h 34"/>
                <a:gd name="T10" fmla="*/ 22 w 33"/>
                <a:gd name="T11" fmla="*/ 9 h 34"/>
                <a:gd name="T12" fmla="*/ 24 w 33"/>
                <a:gd name="T13" fmla="*/ 9 h 34"/>
                <a:gd name="T14" fmla="*/ 27 w 33"/>
                <a:gd name="T15" fmla="*/ 9 h 34"/>
                <a:gd name="T16" fmla="*/ 27 w 33"/>
                <a:gd name="T17" fmla="*/ 11 h 34"/>
                <a:gd name="T18" fmla="*/ 27 w 33"/>
                <a:gd name="T19" fmla="*/ 11 h 34"/>
                <a:gd name="T20" fmla="*/ 27 w 33"/>
                <a:gd name="T21" fmla="*/ 11 h 34"/>
                <a:gd name="T22" fmla="*/ 31 w 33"/>
                <a:gd name="T23" fmla="*/ 14 h 34"/>
                <a:gd name="T24" fmla="*/ 33 w 33"/>
                <a:gd name="T25" fmla="*/ 14 h 34"/>
                <a:gd name="T26" fmla="*/ 33 w 33"/>
                <a:gd name="T27" fmla="*/ 14 h 34"/>
                <a:gd name="T28" fmla="*/ 33 w 33"/>
                <a:gd name="T29" fmla="*/ 16 h 34"/>
                <a:gd name="T30" fmla="*/ 33 w 33"/>
                <a:gd name="T31" fmla="*/ 16 h 34"/>
                <a:gd name="T32" fmla="*/ 33 w 33"/>
                <a:gd name="T33" fmla="*/ 16 h 34"/>
                <a:gd name="T34" fmla="*/ 31 w 33"/>
                <a:gd name="T35" fmla="*/ 18 h 34"/>
                <a:gd name="T36" fmla="*/ 31 w 33"/>
                <a:gd name="T37" fmla="*/ 20 h 34"/>
                <a:gd name="T38" fmla="*/ 31 w 33"/>
                <a:gd name="T39" fmla="*/ 23 h 34"/>
                <a:gd name="T40" fmla="*/ 29 w 33"/>
                <a:gd name="T41" fmla="*/ 25 h 34"/>
                <a:gd name="T42" fmla="*/ 29 w 33"/>
                <a:gd name="T43" fmla="*/ 25 h 34"/>
                <a:gd name="T44" fmla="*/ 29 w 33"/>
                <a:gd name="T45" fmla="*/ 25 h 34"/>
                <a:gd name="T46" fmla="*/ 27 w 33"/>
                <a:gd name="T47" fmla="*/ 25 h 34"/>
                <a:gd name="T48" fmla="*/ 27 w 33"/>
                <a:gd name="T49" fmla="*/ 27 h 34"/>
                <a:gd name="T50" fmla="*/ 27 w 33"/>
                <a:gd name="T51" fmla="*/ 27 h 34"/>
                <a:gd name="T52" fmla="*/ 24 w 33"/>
                <a:gd name="T53" fmla="*/ 27 h 34"/>
                <a:gd name="T54" fmla="*/ 22 w 33"/>
                <a:gd name="T55" fmla="*/ 25 h 34"/>
                <a:gd name="T56" fmla="*/ 20 w 33"/>
                <a:gd name="T57" fmla="*/ 27 h 34"/>
                <a:gd name="T58" fmla="*/ 16 w 33"/>
                <a:gd name="T59" fmla="*/ 27 h 34"/>
                <a:gd name="T60" fmla="*/ 16 w 33"/>
                <a:gd name="T61" fmla="*/ 32 h 34"/>
                <a:gd name="T62" fmla="*/ 16 w 33"/>
                <a:gd name="T63" fmla="*/ 34 h 34"/>
                <a:gd name="T64" fmla="*/ 13 w 33"/>
                <a:gd name="T65" fmla="*/ 32 h 34"/>
                <a:gd name="T66" fmla="*/ 13 w 33"/>
                <a:gd name="T67" fmla="*/ 34 h 34"/>
                <a:gd name="T68" fmla="*/ 13 w 33"/>
                <a:gd name="T69" fmla="*/ 32 h 34"/>
                <a:gd name="T70" fmla="*/ 13 w 33"/>
                <a:gd name="T71" fmla="*/ 32 h 34"/>
                <a:gd name="T72" fmla="*/ 13 w 33"/>
                <a:gd name="T73" fmla="*/ 29 h 34"/>
                <a:gd name="T74" fmla="*/ 11 w 33"/>
                <a:gd name="T75" fmla="*/ 27 h 34"/>
                <a:gd name="T76" fmla="*/ 11 w 33"/>
                <a:gd name="T77" fmla="*/ 25 h 34"/>
                <a:gd name="T78" fmla="*/ 4 w 33"/>
                <a:gd name="T79" fmla="*/ 23 h 34"/>
                <a:gd name="T80" fmla="*/ 4 w 33"/>
                <a:gd name="T81" fmla="*/ 20 h 34"/>
                <a:gd name="T82" fmla="*/ 4 w 33"/>
                <a:gd name="T83" fmla="*/ 20 h 34"/>
                <a:gd name="T84" fmla="*/ 4 w 33"/>
                <a:gd name="T85" fmla="*/ 20 h 34"/>
                <a:gd name="T86" fmla="*/ 2 w 33"/>
                <a:gd name="T87" fmla="*/ 18 h 34"/>
                <a:gd name="T88" fmla="*/ 2 w 33"/>
                <a:gd name="T89" fmla="*/ 18 h 34"/>
                <a:gd name="T90" fmla="*/ 2 w 33"/>
                <a:gd name="T91" fmla="*/ 16 h 34"/>
                <a:gd name="T92" fmla="*/ 2 w 33"/>
                <a:gd name="T93" fmla="*/ 16 h 34"/>
                <a:gd name="T94" fmla="*/ 2 w 33"/>
                <a:gd name="T95" fmla="*/ 14 h 34"/>
                <a:gd name="T96" fmla="*/ 0 w 33"/>
                <a:gd name="T97" fmla="*/ 11 h 34"/>
                <a:gd name="T98" fmla="*/ 2 w 33"/>
                <a:gd name="T99" fmla="*/ 11 h 34"/>
                <a:gd name="T100" fmla="*/ 4 w 33"/>
                <a:gd name="T101" fmla="*/ 11 h 34"/>
                <a:gd name="T102" fmla="*/ 4 w 33"/>
                <a:gd name="T103" fmla="*/ 11 h 34"/>
                <a:gd name="T104" fmla="*/ 9 w 33"/>
                <a:gd name="T105" fmla="*/ 9 h 34"/>
                <a:gd name="T106" fmla="*/ 9 w 33"/>
                <a:gd name="T107" fmla="*/ 7 h 34"/>
                <a:gd name="T108" fmla="*/ 9 w 33"/>
                <a:gd name="T109" fmla="*/ 7 h 34"/>
                <a:gd name="T110" fmla="*/ 9 w 33"/>
                <a:gd name="T111" fmla="*/ 7 h 34"/>
                <a:gd name="T112" fmla="*/ 11 w 33"/>
                <a:gd name="T113" fmla="*/ 5 h 34"/>
                <a:gd name="T114" fmla="*/ 11 w 33"/>
                <a:gd name="T115" fmla="*/ 2 h 34"/>
                <a:gd name="T116" fmla="*/ 11 w 33"/>
                <a:gd name="T117" fmla="*/ 2 h 34"/>
                <a:gd name="T118" fmla="*/ 11 w 33"/>
                <a:gd name="T119" fmla="*/ 2 h 34"/>
                <a:gd name="T120" fmla="*/ 11 w 33"/>
                <a:gd name="T121" fmla="*/ 0 h 34"/>
                <a:gd name="T122" fmla="*/ 13 w 33"/>
                <a:gd name="T123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" h="34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29" y="20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9" y="25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8" name="Freeform 565"/>
            <p:cNvSpPr>
              <a:spLocks noEditPoints="1"/>
            </p:cNvSpPr>
            <p:nvPr/>
          </p:nvSpPr>
          <p:spPr bwMode="auto">
            <a:xfrm>
              <a:off x="9774329" y="2431384"/>
              <a:ext cx="157114" cy="215613"/>
            </a:xfrm>
            <a:custGeom>
              <a:avLst/>
              <a:gdLst>
                <a:gd name="T0" fmla="*/ 52 w 94"/>
                <a:gd name="T1" fmla="*/ 122 h 129"/>
                <a:gd name="T2" fmla="*/ 47 w 94"/>
                <a:gd name="T3" fmla="*/ 106 h 129"/>
                <a:gd name="T4" fmla="*/ 45 w 94"/>
                <a:gd name="T5" fmla="*/ 104 h 129"/>
                <a:gd name="T6" fmla="*/ 32 w 94"/>
                <a:gd name="T7" fmla="*/ 102 h 129"/>
                <a:gd name="T8" fmla="*/ 54 w 94"/>
                <a:gd name="T9" fmla="*/ 102 h 129"/>
                <a:gd name="T10" fmla="*/ 47 w 94"/>
                <a:gd name="T11" fmla="*/ 102 h 129"/>
                <a:gd name="T12" fmla="*/ 47 w 94"/>
                <a:gd name="T13" fmla="*/ 99 h 129"/>
                <a:gd name="T14" fmla="*/ 54 w 94"/>
                <a:gd name="T15" fmla="*/ 99 h 129"/>
                <a:gd name="T16" fmla="*/ 36 w 94"/>
                <a:gd name="T17" fmla="*/ 97 h 129"/>
                <a:gd name="T18" fmla="*/ 36 w 94"/>
                <a:gd name="T19" fmla="*/ 97 h 129"/>
                <a:gd name="T20" fmla="*/ 29 w 94"/>
                <a:gd name="T21" fmla="*/ 95 h 129"/>
                <a:gd name="T22" fmla="*/ 27 w 94"/>
                <a:gd name="T23" fmla="*/ 93 h 129"/>
                <a:gd name="T24" fmla="*/ 27 w 94"/>
                <a:gd name="T25" fmla="*/ 90 h 129"/>
                <a:gd name="T26" fmla="*/ 70 w 94"/>
                <a:gd name="T27" fmla="*/ 90 h 129"/>
                <a:gd name="T28" fmla="*/ 68 w 94"/>
                <a:gd name="T29" fmla="*/ 88 h 129"/>
                <a:gd name="T30" fmla="*/ 32 w 94"/>
                <a:gd name="T31" fmla="*/ 88 h 129"/>
                <a:gd name="T32" fmla="*/ 29 w 94"/>
                <a:gd name="T33" fmla="*/ 88 h 129"/>
                <a:gd name="T34" fmla="*/ 63 w 94"/>
                <a:gd name="T35" fmla="*/ 90 h 129"/>
                <a:gd name="T36" fmla="*/ 81 w 94"/>
                <a:gd name="T37" fmla="*/ 90 h 129"/>
                <a:gd name="T38" fmla="*/ 77 w 94"/>
                <a:gd name="T39" fmla="*/ 88 h 129"/>
                <a:gd name="T40" fmla="*/ 81 w 94"/>
                <a:gd name="T41" fmla="*/ 86 h 129"/>
                <a:gd name="T42" fmla="*/ 27 w 94"/>
                <a:gd name="T43" fmla="*/ 84 h 129"/>
                <a:gd name="T44" fmla="*/ 18 w 94"/>
                <a:gd name="T45" fmla="*/ 50 h 129"/>
                <a:gd name="T46" fmla="*/ 9 w 94"/>
                <a:gd name="T47" fmla="*/ 32 h 129"/>
                <a:gd name="T48" fmla="*/ 7 w 94"/>
                <a:gd name="T49" fmla="*/ 27 h 129"/>
                <a:gd name="T50" fmla="*/ 94 w 94"/>
                <a:gd name="T51" fmla="*/ 25 h 129"/>
                <a:gd name="T52" fmla="*/ 7 w 94"/>
                <a:gd name="T53" fmla="*/ 23 h 129"/>
                <a:gd name="T54" fmla="*/ 7 w 94"/>
                <a:gd name="T55" fmla="*/ 23 h 129"/>
                <a:gd name="T56" fmla="*/ 77 w 94"/>
                <a:gd name="T57" fmla="*/ 48 h 129"/>
                <a:gd name="T58" fmla="*/ 88 w 94"/>
                <a:gd name="T59" fmla="*/ 70 h 129"/>
                <a:gd name="T60" fmla="*/ 85 w 94"/>
                <a:gd name="T61" fmla="*/ 81 h 129"/>
                <a:gd name="T62" fmla="*/ 79 w 94"/>
                <a:gd name="T63" fmla="*/ 84 h 129"/>
                <a:gd name="T64" fmla="*/ 74 w 94"/>
                <a:gd name="T65" fmla="*/ 84 h 129"/>
                <a:gd name="T66" fmla="*/ 72 w 94"/>
                <a:gd name="T67" fmla="*/ 86 h 129"/>
                <a:gd name="T68" fmla="*/ 63 w 94"/>
                <a:gd name="T69" fmla="*/ 86 h 129"/>
                <a:gd name="T70" fmla="*/ 63 w 94"/>
                <a:gd name="T71" fmla="*/ 93 h 129"/>
                <a:gd name="T72" fmla="*/ 56 w 94"/>
                <a:gd name="T73" fmla="*/ 90 h 129"/>
                <a:gd name="T74" fmla="*/ 56 w 94"/>
                <a:gd name="T75" fmla="*/ 97 h 129"/>
                <a:gd name="T76" fmla="*/ 54 w 94"/>
                <a:gd name="T77" fmla="*/ 93 h 129"/>
                <a:gd name="T78" fmla="*/ 50 w 94"/>
                <a:gd name="T79" fmla="*/ 99 h 129"/>
                <a:gd name="T80" fmla="*/ 43 w 94"/>
                <a:gd name="T81" fmla="*/ 102 h 129"/>
                <a:gd name="T82" fmla="*/ 41 w 94"/>
                <a:gd name="T83" fmla="*/ 97 h 129"/>
                <a:gd name="T84" fmla="*/ 34 w 94"/>
                <a:gd name="T85" fmla="*/ 93 h 129"/>
                <a:gd name="T86" fmla="*/ 41 w 94"/>
                <a:gd name="T87" fmla="*/ 95 h 129"/>
                <a:gd name="T88" fmla="*/ 38 w 94"/>
                <a:gd name="T89" fmla="*/ 88 h 129"/>
                <a:gd name="T90" fmla="*/ 34 w 94"/>
                <a:gd name="T91" fmla="*/ 86 h 129"/>
                <a:gd name="T92" fmla="*/ 29 w 94"/>
                <a:gd name="T93" fmla="*/ 81 h 129"/>
                <a:gd name="T94" fmla="*/ 29 w 94"/>
                <a:gd name="T95" fmla="*/ 79 h 129"/>
                <a:gd name="T96" fmla="*/ 27 w 94"/>
                <a:gd name="T97" fmla="*/ 70 h 129"/>
                <a:gd name="T98" fmla="*/ 27 w 94"/>
                <a:gd name="T99" fmla="*/ 63 h 129"/>
                <a:gd name="T100" fmla="*/ 23 w 94"/>
                <a:gd name="T101" fmla="*/ 57 h 129"/>
                <a:gd name="T102" fmla="*/ 18 w 94"/>
                <a:gd name="T103" fmla="*/ 48 h 129"/>
                <a:gd name="T104" fmla="*/ 16 w 94"/>
                <a:gd name="T105" fmla="*/ 48 h 129"/>
                <a:gd name="T106" fmla="*/ 9 w 94"/>
                <a:gd name="T107" fmla="*/ 43 h 129"/>
                <a:gd name="T108" fmla="*/ 11 w 94"/>
                <a:gd name="T109" fmla="*/ 43 h 129"/>
                <a:gd name="T110" fmla="*/ 14 w 94"/>
                <a:gd name="T111" fmla="*/ 39 h 129"/>
                <a:gd name="T112" fmla="*/ 16 w 94"/>
                <a:gd name="T113" fmla="*/ 39 h 129"/>
                <a:gd name="T114" fmla="*/ 23 w 94"/>
                <a:gd name="T115" fmla="*/ 41 h 129"/>
                <a:gd name="T116" fmla="*/ 23 w 94"/>
                <a:gd name="T117" fmla="*/ 39 h 129"/>
                <a:gd name="T118" fmla="*/ 18 w 94"/>
                <a:gd name="T119" fmla="*/ 34 h 129"/>
                <a:gd name="T120" fmla="*/ 18 w 94"/>
                <a:gd name="T121" fmla="*/ 32 h 129"/>
                <a:gd name="T122" fmla="*/ 9 w 94"/>
                <a:gd name="T123" fmla="*/ 21 h 129"/>
                <a:gd name="T124" fmla="*/ 23 w 94"/>
                <a:gd name="T125" fmla="*/ 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29">
                  <a:moveTo>
                    <a:pt x="59" y="122"/>
                  </a:move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6" y="126"/>
                  </a:lnTo>
                  <a:lnTo>
                    <a:pt x="54" y="126"/>
                  </a:lnTo>
                  <a:lnTo>
                    <a:pt x="54" y="129"/>
                  </a:lnTo>
                  <a:lnTo>
                    <a:pt x="50" y="129"/>
                  </a:lnTo>
                  <a:lnTo>
                    <a:pt x="50" y="129"/>
                  </a:lnTo>
                  <a:lnTo>
                    <a:pt x="50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6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50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4" y="120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47" y="106"/>
                  </a:move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7" y="106"/>
                  </a:lnTo>
                  <a:close/>
                  <a:moveTo>
                    <a:pt x="52" y="106"/>
                  </a:move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6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34" y="102"/>
                  </a:move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4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50" y="102"/>
                  </a:lnTo>
                  <a:close/>
                  <a:moveTo>
                    <a:pt x="52" y="102"/>
                  </a:moveTo>
                  <a:lnTo>
                    <a:pt x="52" y="102"/>
                  </a:lnTo>
                  <a:lnTo>
                    <a:pt x="52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2"/>
                  </a:lnTo>
                  <a:close/>
                  <a:moveTo>
                    <a:pt x="47" y="102"/>
                  </a:move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close/>
                  <a:moveTo>
                    <a:pt x="47" y="99"/>
                  </a:move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close/>
                  <a:moveTo>
                    <a:pt x="61" y="99"/>
                  </a:move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61" y="99"/>
                  </a:lnTo>
                  <a:lnTo>
                    <a:pt x="61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4" y="99"/>
                  </a:lnTo>
                  <a:close/>
                  <a:moveTo>
                    <a:pt x="65" y="97"/>
                  </a:move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close/>
                  <a:moveTo>
                    <a:pt x="36" y="97"/>
                  </a:move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6" y="95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close/>
                  <a:moveTo>
                    <a:pt x="32" y="97"/>
                  </a:move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close/>
                  <a:moveTo>
                    <a:pt x="29" y="95"/>
                  </a:move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29" y="95"/>
                  </a:lnTo>
                  <a:close/>
                  <a:moveTo>
                    <a:pt x="65" y="95"/>
                  </a:moveTo>
                  <a:lnTo>
                    <a:pt x="65" y="95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5" y="93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5" y="95"/>
                  </a:lnTo>
                  <a:close/>
                  <a:moveTo>
                    <a:pt x="29" y="93"/>
                  </a:moveTo>
                  <a:lnTo>
                    <a:pt x="29" y="93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close/>
                  <a:moveTo>
                    <a:pt x="29" y="90"/>
                  </a:move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close/>
                  <a:moveTo>
                    <a:pt x="27" y="90"/>
                  </a:move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close/>
                  <a:moveTo>
                    <a:pt x="32" y="90"/>
                  </a:moveTo>
                  <a:lnTo>
                    <a:pt x="32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close/>
                  <a:moveTo>
                    <a:pt x="72" y="90"/>
                  </a:move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close/>
                  <a:moveTo>
                    <a:pt x="29" y="88"/>
                  </a:move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7" y="90"/>
                  </a:lnTo>
                  <a:lnTo>
                    <a:pt x="27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close/>
                  <a:moveTo>
                    <a:pt x="68" y="88"/>
                  </a:move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8" y="88"/>
                  </a:lnTo>
                  <a:close/>
                  <a:moveTo>
                    <a:pt x="34" y="88"/>
                  </a:move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close/>
                  <a:moveTo>
                    <a:pt x="27" y="88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close/>
                  <a:moveTo>
                    <a:pt x="32" y="88"/>
                  </a:moveTo>
                  <a:lnTo>
                    <a:pt x="32" y="88"/>
                  </a:lnTo>
                  <a:lnTo>
                    <a:pt x="32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close/>
                  <a:moveTo>
                    <a:pt x="65" y="90"/>
                  </a:moveTo>
                  <a:lnTo>
                    <a:pt x="65" y="90"/>
                  </a:lnTo>
                  <a:lnTo>
                    <a:pt x="65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68" y="93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3"/>
                  </a:lnTo>
                  <a:lnTo>
                    <a:pt x="65" y="90"/>
                  </a:lnTo>
                  <a:lnTo>
                    <a:pt x="63" y="90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close/>
                  <a:moveTo>
                    <a:pt x="79" y="86"/>
                  </a:moveTo>
                  <a:lnTo>
                    <a:pt x="79" y="86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3"/>
                  </a:lnTo>
                  <a:lnTo>
                    <a:pt x="81" y="93"/>
                  </a:lnTo>
                  <a:lnTo>
                    <a:pt x="81" y="93"/>
                  </a:lnTo>
                  <a:lnTo>
                    <a:pt x="81" y="93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81" y="93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79" y="90"/>
                  </a:lnTo>
                  <a:lnTo>
                    <a:pt x="79" y="93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close/>
                  <a:moveTo>
                    <a:pt x="27" y="84"/>
                  </a:move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close/>
                  <a:moveTo>
                    <a:pt x="81" y="86"/>
                  </a:move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close/>
                  <a:moveTo>
                    <a:pt x="27" y="84"/>
                  </a:moveTo>
                  <a:lnTo>
                    <a:pt x="27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close/>
                  <a:moveTo>
                    <a:pt x="27" y="84"/>
                  </a:move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11" y="32"/>
                  </a:move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close/>
                  <a:moveTo>
                    <a:pt x="11" y="32"/>
                  </a:moveTo>
                  <a:lnTo>
                    <a:pt x="11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close/>
                  <a:moveTo>
                    <a:pt x="7" y="27"/>
                  </a:move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close/>
                  <a:moveTo>
                    <a:pt x="9" y="25"/>
                  </a:move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close/>
                  <a:moveTo>
                    <a:pt x="94" y="27"/>
                  </a:move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2" y="27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7"/>
                  </a:lnTo>
                  <a:close/>
                  <a:moveTo>
                    <a:pt x="5" y="23"/>
                  </a:moveTo>
                  <a:lnTo>
                    <a:pt x="5" y="23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7" y="23"/>
                  </a:move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close/>
                  <a:moveTo>
                    <a:pt x="36" y="5"/>
                  </a:moveTo>
                  <a:lnTo>
                    <a:pt x="41" y="7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5" y="14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9" y="23"/>
                  </a:lnTo>
                  <a:lnTo>
                    <a:pt x="59" y="25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5" y="32"/>
                  </a:lnTo>
                  <a:lnTo>
                    <a:pt x="68" y="32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9"/>
                  </a:lnTo>
                  <a:lnTo>
                    <a:pt x="72" y="39"/>
                  </a:lnTo>
                  <a:lnTo>
                    <a:pt x="72" y="41"/>
                  </a:lnTo>
                  <a:lnTo>
                    <a:pt x="74" y="41"/>
                  </a:lnTo>
                  <a:lnTo>
                    <a:pt x="74" y="43"/>
                  </a:lnTo>
                  <a:lnTo>
                    <a:pt x="74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8"/>
                  </a:lnTo>
                  <a:lnTo>
                    <a:pt x="77" y="48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6"/>
                  </a:lnTo>
                  <a:lnTo>
                    <a:pt x="85" y="68"/>
                  </a:lnTo>
                  <a:lnTo>
                    <a:pt x="85" y="68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8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6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1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4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7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2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61" y="86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3" y="88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3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61" y="95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3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9" y="93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9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9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6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2" y="90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0" y="93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3"/>
                  </a:lnTo>
                  <a:lnTo>
                    <a:pt x="41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3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29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4" y="84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29" y="81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9" y="70"/>
                  </a:lnTo>
                  <a:lnTo>
                    <a:pt x="29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29" y="66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0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5" y="43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3" y="36"/>
                  </a:lnTo>
                  <a:lnTo>
                    <a:pt x="23" y="39"/>
                  </a:lnTo>
                  <a:lnTo>
                    <a:pt x="23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6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9" name="Freeform 566"/>
            <p:cNvSpPr>
              <a:spLocks/>
            </p:cNvSpPr>
            <p:nvPr/>
          </p:nvSpPr>
          <p:spPr bwMode="auto">
            <a:xfrm>
              <a:off x="9669030" y="2259228"/>
              <a:ext cx="158786" cy="210600"/>
            </a:xfrm>
            <a:custGeom>
              <a:avLst/>
              <a:gdLst>
                <a:gd name="T0" fmla="*/ 83 w 95"/>
                <a:gd name="T1" fmla="*/ 9 h 126"/>
                <a:gd name="T2" fmla="*/ 90 w 95"/>
                <a:gd name="T3" fmla="*/ 13 h 126"/>
                <a:gd name="T4" fmla="*/ 88 w 95"/>
                <a:gd name="T5" fmla="*/ 16 h 126"/>
                <a:gd name="T6" fmla="*/ 86 w 95"/>
                <a:gd name="T7" fmla="*/ 20 h 126"/>
                <a:gd name="T8" fmla="*/ 83 w 95"/>
                <a:gd name="T9" fmla="*/ 25 h 126"/>
                <a:gd name="T10" fmla="*/ 86 w 95"/>
                <a:gd name="T11" fmla="*/ 36 h 126"/>
                <a:gd name="T12" fmla="*/ 92 w 95"/>
                <a:gd name="T13" fmla="*/ 47 h 126"/>
                <a:gd name="T14" fmla="*/ 88 w 95"/>
                <a:gd name="T15" fmla="*/ 54 h 126"/>
                <a:gd name="T16" fmla="*/ 86 w 95"/>
                <a:gd name="T17" fmla="*/ 58 h 126"/>
                <a:gd name="T18" fmla="*/ 79 w 95"/>
                <a:gd name="T19" fmla="*/ 67 h 126"/>
                <a:gd name="T20" fmla="*/ 70 w 95"/>
                <a:gd name="T21" fmla="*/ 70 h 126"/>
                <a:gd name="T22" fmla="*/ 65 w 95"/>
                <a:gd name="T23" fmla="*/ 74 h 126"/>
                <a:gd name="T24" fmla="*/ 70 w 95"/>
                <a:gd name="T25" fmla="*/ 85 h 126"/>
                <a:gd name="T26" fmla="*/ 68 w 95"/>
                <a:gd name="T27" fmla="*/ 85 h 126"/>
                <a:gd name="T28" fmla="*/ 74 w 95"/>
                <a:gd name="T29" fmla="*/ 90 h 126"/>
                <a:gd name="T30" fmla="*/ 83 w 95"/>
                <a:gd name="T31" fmla="*/ 97 h 126"/>
                <a:gd name="T32" fmla="*/ 95 w 95"/>
                <a:gd name="T33" fmla="*/ 108 h 126"/>
                <a:gd name="T34" fmla="*/ 70 w 95"/>
                <a:gd name="T35" fmla="*/ 117 h 126"/>
                <a:gd name="T36" fmla="*/ 61 w 95"/>
                <a:gd name="T37" fmla="*/ 121 h 126"/>
                <a:gd name="T38" fmla="*/ 56 w 95"/>
                <a:gd name="T39" fmla="*/ 121 h 126"/>
                <a:gd name="T40" fmla="*/ 50 w 95"/>
                <a:gd name="T41" fmla="*/ 117 h 126"/>
                <a:gd name="T42" fmla="*/ 52 w 95"/>
                <a:gd name="T43" fmla="*/ 119 h 126"/>
                <a:gd name="T44" fmla="*/ 50 w 95"/>
                <a:gd name="T45" fmla="*/ 124 h 126"/>
                <a:gd name="T46" fmla="*/ 45 w 95"/>
                <a:gd name="T47" fmla="*/ 124 h 126"/>
                <a:gd name="T48" fmla="*/ 45 w 95"/>
                <a:gd name="T49" fmla="*/ 119 h 126"/>
                <a:gd name="T50" fmla="*/ 43 w 95"/>
                <a:gd name="T51" fmla="*/ 121 h 126"/>
                <a:gd name="T52" fmla="*/ 36 w 95"/>
                <a:gd name="T53" fmla="*/ 119 h 126"/>
                <a:gd name="T54" fmla="*/ 41 w 95"/>
                <a:gd name="T55" fmla="*/ 117 h 126"/>
                <a:gd name="T56" fmla="*/ 29 w 95"/>
                <a:gd name="T57" fmla="*/ 115 h 126"/>
                <a:gd name="T58" fmla="*/ 29 w 95"/>
                <a:gd name="T59" fmla="*/ 106 h 126"/>
                <a:gd name="T60" fmla="*/ 32 w 95"/>
                <a:gd name="T61" fmla="*/ 103 h 126"/>
                <a:gd name="T62" fmla="*/ 36 w 95"/>
                <a:gd name="T63" fmla="*/ 101 h 126"/>
                <a:gd name="T64" fmla="*/ 41 w 95"/>
                <a:gd name="T65" fmla="*/ 103 h 126"/>
                <a:gd name="T66" fmla="*/ 36 w 95"/>
                <a:gd name="T67" fmla="*/ 101 h 126"/>
                <a:gd name="T68" fmla="*/ 32 w 95"/>
                <a:gd name="T69" fmla="*/ 99 h 126"/>
                <a:gd name="T70" fmla="*/ 29 w 95"/>
                <a:gd name="T71" fmla="*/ 92 h 126"/>
                <a:gd name="T72" fmla="*/ 29 w 95"/>
                <a:gd name="T73" fmla="*/ 88 h 126"/>
                <a:gd name="T74" fmla="*/ 27 w 95"/>
                <a:gd name="T75" fmla="*/ 83 h 126"/>
                <a:gd name="T76" fmla="*/ 23 w 95"/>
                <a:gd name="T77" fmla="*/ 81 h 126"/>
                <a:gd name="T78" fmla="*/ 16 w 95"/>
                <a:gd name="T79" fmla="*/ 79 h 126"/>
                <a:gd name="T80" fmla="*/ 11 w 95"/>
                <a:gd name="T81" fmla="*/ 76 h 126"/>
                <a:gd name="T82" fmla="*/ 9 w 95"/>
                <a:gd name="T83" fmla="*/ 76 h 126"/>
                <a:gd name="T84" fmla="*/ 2 w 95"/>
                <a:gd name="T85" fmla="*/ 74 h 126"/>
                <a:gd name="T86" fmla="*/ 0 w 95"/>
                <a:gd name="T87" fmla="*/ 67 h 126"/>
                <a:gd name="T88" fmla="*/ 5 w 95"/>
                <a:gd name="T89" fmla="*/ 58 h 126"/>
                <a:gd name="T90" fmla="*/ 9 w 95"/>
                <a:gd name="T91" fmla="*/ 56 h 126"/>
                <a:gd name="T92" fmla="*/ 14 w 95"/>
                <a:gd name="T93" fmla="*/ 54 h 126"/>
                <a:gd name="T94" fmla="*/ 16 w 95"/>
                <a:gd name="T95" fmla="*/ 49 h 126"/>
                <a:gd name="T96" fmla="*/ 20 w 95"/>
                <a:gd name="T97" fmla="*/ 47 h 126"/>
                <a:gd name="T98" fmla="*/ 25 w 95"/>
                <a:gd name="T99" fmla="*/ 38 h 126"/>
                <a:gd name="T100" fmla="*/ 23 w 95"/>
                <a:gd name="T101" fmla="*/ 29 h 126"/>
                <a:gd name="T102" fmla="*/ 32 w 95"/>
                <a:gd name="T103" fmla="*/ 31 h 126"/>
                <a:gd name="T104" fmla="*/ 36 w 95"/>
                <a:gd name="T105" fmla="*/ 34 h 126"/>
                <a:gd name="T106" fmla="*/ 41 w 95"/>
                <a:gd name="T107" fmla="*/ 34 h 126"/>
                <a:gd name="T108" fmla="*/ 52 w 95"/>
                <a:gd name="T109" fmla="*/ 36 h 126"/>
                <a:gd name="T110" fmla="*/ 52 w 95"/>
                <a:gd name="T111" fmla="*/ 29 h 126"/>
                <a:gd name="T112" fmla="*/ 56 w 95"/>
                <a:gd name="T113" fmla="*/ 22 h 126"/>
                <a:gd name="T114" fmla="*/ 65 w 95"/>
                <a:gd name="T115" fmla="*/ 18 h 126"/>
                <a:gd name="T116" fmla="*/ 63 w 95"/>
                <a:gd name="T117" fmla="*/ 13 h 126"/>
                <a:gd name="T118" fmla="*/ 70 w 95"/>
                <a:gd name="T119" fmla="*/ 13 h 126"/>
                <a:gd name="T120" fmla="*/ 70 w 95"/>
                <a:gd name="T121" fmla="*/ 7 h 126"/>
                <a:gd name="T122" fmla="*/ 68 w 95"/>
                <a:gd name="T123" fmla="*/ 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5" h="126">
                  <a:moveTo>
                    <a:pt x="70" y="0"/>
                  </a:moveTo>
                  <a:lnTo>
                    <a:pt x="70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7" y="2"/>
                  </a:lnTo>
                  <a:lnTo>
                    <a:pt x="77" y="4"/>
                  </a:lnTo>
                  <a:lnTo>
                    <a:pt x="79" y="4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40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0" y="49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3" y="58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79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7" y="67"/>
                  </a:lnTo>
                  <a:lnTo>
                    <a:pt x="77" y="67"/>
                  </a:lnTo>
                  <a:lnTo>
                    <a:pt x="77" y="67"/>
                  </a:lnTo>
                  <a:lnTo>
                    <a:pt x="77" y="70"/>
                  </a:lnTo>
                  <a:lnTo>
                    <a:pt x="77" y="70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70" y="83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4"/>
                  </a:lnTo>
                  <a:lnTo>
                    <a:pt x="83" y="97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88" y="97"/>
                  </a:lnTo>
                  <a:lnTo>
                    <a:pt x="90" y="101"/>
                  </a:lnTo>
                  <a:lnTo>
                    <a:pt x="90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5" y="101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0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3" y="110"/>
                  </a:lnTo>
                  <a:lnTo>
                    <a:pt x="81" y="110"/>
                  </a:lnTo>
                  <a:lnTo>
                    <a:pt x="81" y="110"/>
                  </a:lnTo>
                  <a:lnTo>
                    <a:pt x="79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4" y="110"/>
                  </a:lnTo>
                  <a:lnTo>
                    <a:pt x="74" y="110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3" y="119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4" y="121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4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2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2" y="121"/>
                  </a:lnTo>
                  <a:lnTo>
                    <a:pt x="52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50" y="121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5" y="124"/>
                  </a:lnTo>
                  <a:lnTo>
                    <a:pt x="45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21"/>
                  </a:lnTo>
                  <a:lnTo>
                    <a:pt x="47" y="121"/>
                  </a:lnTo>
                  <a:lnTo>
                    <a:pt x="47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21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38" y="121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8" y="119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6" y="115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32" y="106"/>
                  </a:lnTo>
                  <a:lnTo>
                    <a:pt x="32" y="108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32" y="106"/>
                  </a:lnTo>
                  <a:lnTo>
                    <a:pt x="29" y="106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3"/>
                  </a:lnTo>
                  <a:lnTo>
                    <a:pt x="41" y="103"/>
                  </a:lnTo>
                  <a:lnTo>
                    <a:pt x="43" y="103"/>
                  </a:lnTo>
                  <a:lnTo>
                    <a:pt x="41" y="103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6" y="101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2" y="101"/>
                  </a:lnTo>
                  <a:lnTo>
                    <a:pt x="32" y="99"/>
                  </a:lnTo>
                  <a:lnTo>
                    <a:pt x="34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4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1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7"/>
                  </a:lnTo>
                  <a:lnTo>
                    <a:pt x="20" y="4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8"/>
                  </a:lnTo>
                  <a:lnTo>
                    <a:pt x="56" y="38"/>
                  </a:lnTo>
                  <a:lnTo>
                    <a:pt x="56" y="36"/>
                  </a:lnTo>
                  <a:lnTo>
                    <a:pt x="56" y="34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5"/>
                  </a:lnTo>
                  <a:lnTo>
                    <a:pt x="45" y="25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7" y="22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3" y="22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5" y="20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68" y="7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0" name="Freeform 567"/>
            <p:cNvSpPr>
              <a:spLocks/>
            </p:cNvSpPr>
            <p:nvPr/>
          </p:nvSpPr>
          <p:spPr bwMode="auto">
            <a:xfrm>
              <a:off x="6834293" y="3746796"/>
              <a:ext cx="282471" cy="406156"/>
            </a:xfrm>
            <a:custGeom>
              <a:avLst/>
              <a:gdLst>
                <a:gd name="T0" fmla="*/ 36 w 169"/>
                <a:gd name="T1" fmla="*/ 5 h 243"/>
                <a:gd name="T2" fmla="*/ 38 w 169"/>
                <a:gd name="T3" fmla="*/ 12 h 243"/>
                <a:gd name="T4" fmla="*/ 45 w 169"/>
                <a:gd name="T5" fmla="*/ 25 h 243"/>
                <a:gd name="T6" fmla="*/ 63 w 169"/>
                <a:gd name="T7" fmla="*/ 27 h 243"/>
                <a:gd name="T8" fmla="*/ 67 w 169"/>
                <a:gd name="T9" fmla="*/ 30 h 243"/>
                <a:gd name="T10" fmla="*/ 88 w 169"/>
                <a:gd name="T11" fmla="*/ 45 h 243"/>
                <a:gd name="T12" fmla="*/ 97 w 169"/>
                <a:gd name="T13" fmla="*/ 45 h 243"/>
                <a:gd name="T14" fmla="*/ 99 w 169"/>
                <a:gd name="T15" fmla="*/ 45 h 243"/>
                <a:gd name="T16" fmla="*/ 110 w 169"/>
                <a:gd name="T17" fmla="*/ 50 h 243"/>
                <a:gd name="T18" fmla="*/ 119 w 169"/>
                <a:gd name="T19" fmla="*/ 50 h 243"/>
                <a:gd name="T20" fmla="*/ 130 w 169"/>
                <a:gd name="T21" fmla="*/ 36 h 243"/>
                <a:gd name="T22" fmla="*/ 142 w 169"/>
                <a:gd name="T23" fmla="*/ 32 h 243"/>
                <a:gd name="T24" fmla="*/ 153 w 169"/>
                <a:gd name="T25" fmla="*/ 39 h 243"/>
                <a:gd name="T26" fmla="*/ 169 w 169"/>
                <a:gd name="T27" fmla="*/ 36 h 243"/>
                <a:gd name="T28" fmla="*/ 148 w 169"/>
                <a:gd name="T29" fmla="*/ 66 h 243"/>
                <a:gd name="T30" fmla="*/ 148 w 169"/>
                <a:gd name="T31" fmla="*/ 102 h 243"/>
                <a:gd name="T32" fmla="*/ 148 w 169"/>
                <a:gd name="T33" fmla="*/ 140 h 243"/>
                <a:gd name="T34" fmla="*/ 155 w 169"/>
                <a:gd name="T35" fmla="*/ 162 h 243"/>
                <a:gd name="T36" fmla="*/ 155 w 169"/>
                <a:gd name="T37" fmla="*/ 178 h 243"/>
                <a:gd name="T38" fmla="*/ 151 w 169"/>
                <a:gd name="T39" fmla="*/ 180 h 243"/>
                <a:gd name="T40" fmla="*/ 151 w 169"/>
                <a:gd name="T41" fmla="*/ 178 h 243"/>
                <a:gd name="T42" fmla="*/ 146 w 169"/>
                <a:gd name="T43" fmla="*/ 180 h 243"/>
                <a:gd name="T44" fmla="*/ 148 w 169"/>
                <a:gd name="T45" fmla="*/ 185 h 243"/>
                <a:gd name="T46" fmla="*/ 148 w 169"/>
                <a:gd name="T47" fmla="*/ 185 h 243"/>
                <a:gd name="T48" fmla="*/ 146 w 169"/>
                <a:gd name="T49" fmla="*/ 187 h 243"/>
                <a:gd name="T50" fmla="*/ 139 w 169"/>
                <a:gd name="T51" fmla="*/ 191 h 243"/>
                <a:gd name="T52" fmla="*/ 133 w 169"/>
                <a:gd name="T53" fmla="*/ 198 h 243"/>
                <a:gd name="T54" fmla="*/ 133 w 169"/>
                <a:gd name="T55" fmla="*/ 205 h 243"/>
                <a:gd name="T56" fmla="*/ 128 w 169"/>
                <a:gd name="T57" fmla="*/ 212 h 243"/>
                <a:gd name="T58" fmla="*/ 128 w 169"/>
                <a:gd name="T59" fmla="*/ 214 h 243"/>
                <a:gd name="T60" fmla="*/ 124 w 169"/>
                <a:gd name="T61" fmla="*/ 216 h 243"/>
                <a:gd name="T62" fmla="*/ 124 w 169"/>
                <a:gd name="T63" fmla="*/ 225 h 243"/>
                <a:gd name="T64" fmla="*/ 124 w 169"/>
                <a:gd name="T65" fmla="*/ 227 h 243"/>
                <a:gd name="T66" fmla="*/ 119 w 169"/>
                <a:gd name="T67" fmla="*/ 227 h 243"/>
                <a:gd name="T68" fmla="*/ 119 w 169"/>
                <a:gd name="T69" fmla="*/ 230 h 243"/>
                <a:gd name="T70" fmla="*/ 117 w 169"/>
                <a:gd name="T71" fmla="*/ 236 h 243"/>
                <a:gd name="T72" fmla="*/ 115 w 169"/>
                <a:gd name="T73" fmla="*/ 241 h 243"/>
                <a:gd name="T74" fmla="*/ 112 w 169"/>
                <a:gd name="T75" fmla="*/ 243 h 243"/>
                <a:gd name="T76" fmla="*/ 94 w 169"/>
                <a:gd name="T77" fmla="*/ 230 h 243"/>
                <a:gd name="T78" fmla="*/ 79 w 169"/>
                <a:gd name="T79" fmla="*/ 216 h 243"/>
                <a:gd name="T80" fmla="*/ 79 w 169"/>
                <a:gd name="T81" fmla="*/ 212 h 243"/>
                <a:gd name="T82" fmla="*/ 63 w 169"/>
                <a:gd name="T83" fmla="*/ 194 h 243"/>
                <a:gd name="T84" fmla="*/ 5 w 169"/>
                <a:gd name="T85" fmla="*/ 158 h 243"/>
                <a:gd name="T86" fmla="*/ 0 w 169"/>
                <a:gd name="T87" fmla="*/ 131 h 243"/>
                <a:gd name="T88" fmla="*/ 7 w 169"/>
                <a:gd name="T89" fmla="*/ 117 h 243"/>
                <a:gd name="T90" fmla="*/ 11 w 169"/>
                <a:gd name="T91" fmla="*/ 108 h 243"/>
                <a:gd name="T92" fmla="*/ 18 w 169"/>
                <a:gd name="T93" fmla="*/ 104 h 243"/>
                <a:gd name="T94" fmla="*/ 22 w 169"/>
                <a:gd name="T95" fmla="*/ 93 h 243"/>
                <a:gd name="T96" fmla="*/ 22 w 169"/>
                <a:gd name="T97" fmla="*/ 81 h 243"/>
                <a:gd name="T98" fmla="*/ 20 w 169"/>
                <a:gd name="T99" fmla="*/ 70 h 243"/>
                <a:gd name="T100" fmla="*/ 16 w 169"/>
                <a:gd name="T101" fmla="*/ 63 h 243"/>
                <a:gd name="T102" fmla="*/ 14 w 169"/>
                <a:gd name="T103" fmla="*/ 59 h 243"/>
                <a:gd name="T104" fmla="*/ 11 w 169"/>
                <a:gd name="T105" fmla="*/ 50 h 243"/>
                <a:gd name="T106" fmla="*/ 11 w 169"/>
                <a:gd name="T107" fmla="*/ 43 h 243"/>
                <a:gd name="T108" fmla="*/ 5 w 169"/>
                <a:gd name="T109" fmla="*/ 43 h 243"/>
                <a:gd name="T110" fmla="*/ 5 w 169"/>
                <a:gd name="T111" fmla="*/ 41 h 243"/>
                <a:gd name="T112" fmla="*/ 5 w 169"/>
                <a:gd name="T113" fmla="*/ 34 h 243"/>
                <a:gd name="T114" fmla="*/ 9 w 169"/>
                <a:gd name="T115" fmla="*/ 23 h 243"/>
                <a:gd name="T116" fmla="*/ 25 w 169"/>
                <a:gd name="T117" fmla="*/ 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" h="243">
                  <a:moveTo>
                    <a:pt x="29" y="5"/>
                  </a:move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7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2"/>
                  </a:lnTo>
                  <a:lnTo>
                    <a:pt x="70" y="32"/>
                  </a:lnTo>
                  <a:lnTo>
                    <a:pt x="72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9" y="39"/>
                  </a:lnTo>
                  <a:lnTo>
                    <a:pt x="81" y="41"/>
                  </a:lnTo>
                  <a:lnTo>
                    <a:pt x="83" y="41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3" y="48"/>
                  </a:lnTo>
                  <a:lnTo>
                    <a:pt x="106" y="48"/>
                  </a:lnTo>
                  <a:lnTo>
                    <a:pt x="106" y="48"/>
                  </a:lnTo>
                  <a:lnTo>
                    <a:pt x="106" y="48"/>
                  </a:lnTo>
                  <a:lnTo>
                    <a:pt x="106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119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4" y="43"/>
                  </a:lnTo>
                  <a:lnTo>
                    <a:pt x="124" y="41"/>
                  </a:lnTo>
                  <a:lnTo>
                    <a:pt x="124" y="41"/>
                  </a:lnTo>
                  <a:lnTo>
                    <a:pt x="124" y="41"/>
                  </a:lnTo>
                  <a:lnTo>
                    <a:pt x="126" y="39"/>
                  </a:lnTo>
                  <a:lnTo>
                    <a:pt x="128" y="39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9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51" y="36"/>
                  </a:lnTo>
                  <a:lnTo>
                    <a:pt x="151" y="39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5" y="39"/>
                  </a:lnTo>
                  <a:lnTo>
                    <a:pt x="157" y="39"/>
                  </a:lnTo>
                  <a:lnTo>
                    <a:pt x="160" y="39"/>
                  </a:lnTo>
                  <a:lnTo>
                    <a:pt x="160" y="39"/>
                  </a:lnTo>
                  <a:lnTo>
                    <a:pt x="162" y="36"/>
                  </a:lnTo>
                  <a:lnTo>
                    <a:pt x="162" y="36"/>
                  </a:lnTo>
                  <a:lnTo>
                    <a:pt x="162" y="36"/>
                  </a:lnTo>
                  <a:lnTo>
                    <a:pt x="162" y="36"/>
                  </a:lnTo>
                  <a:lnTo>
                    <a:pt x="162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9" y="36"/>
                  </a:lnTo>
                  <a:lnTo>
                    <a:pt x="166" y="41"/>
                  </a:lnTo>
                  <a:lnTo>
                    <a:pt x="164" y="43"/>
                  </a:lnTo>
                  <a:lnTo>
                    <a:pt x="162" y="45"/>
                  </a:lnTo>
                  <a:lnTo>
                    <a:pt x="160" y="48"/>
                  </a:lnTo>
                  <a:lnTo>
                    <a:pt x="160" y="50"/>
                  </a:lnTo>
                  <a:lnTo>
                    <a:pt x="160" y="52"/>
                  </a:lnTo>
                  <a:lnTo>
                    <a:pt x="157" y="54"/>
                  </a:lnTo>
                  <a:lnTo>
                    <a:pt x="157" y="57"/>
                  </a:lnTo>
                  <a:lnTo>
                    <a:pt x="155" y="57"/>
                  </a:lnTo>
                  <a:lnTo>
                    <a:pt x="153" y="59"/>
                  </a:lnTo>
                  <a:lnTo>
                    <a:pt x="151" y="61"/>
                  </a:lnTo>
                  <a:lnTo>
                    <a:pt x="151" y="63"/>
                  </a:lnTo>
                  <a:lnTo>
                    <a:pt x="148" y="63"/>
                  </a:lnTo>
                  <a:lnTo>
                    <a:pt x="148" y="66"/>
                  </a:lnTo>
                  <a:lnTo>
                    <a:pt x="148" y="66"/>
                  </a:lnTo>
                  <a:lnTo>
                    <a:pt x="148" y="70"/>
                  </a:lnTo>
                  <a:lnTo>
                    <a:pt x="148" y="72"/>
                  </a:lnTo>
                  <a:lnTo>
                    <a:pt x="148" y="75"/>
                  </a:lnTo>
                  <a:lnTo>
                    <a:pt x="148" y="77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3"/>
                  </a:lnTo>
                  <a:lnTo>
                    <a:pt x="148" y="97"/>
                  </a:lnTo>
                  <a:lnTo>
                    <a:pt x="148" y="99"/>
                  </a:lnTo>
                  <a:lnTo>
                    <a:pt x="148" y="102"/>
                  </a:lnTo>
                  <a:lnTo>
                    <a:pt x="148" y="106"/>
                  </a:lnTo>
                  <a:lnTo>
                    <a:pt x="148" y="108"/>
                  </a:lnTo>
                  <a:lnTo>
                    <a:pt x="148" y="111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20"/>
                  </a:lnTo>
                  <a:lnTo>
                    <a:pt x="148" y="124"/>
                  </a:lnTo>
                  <a:lnTo>
                    <a:pt x="148" y="126"/>
                  </a:lnTo>
                  <a:lnTo>
                    <a:pt x="148" y="129"/>
                  </a:lnTo>
                  <a:lnTo>
                    <a:pt x="148" y="133"/>
                  </a:lnTo>
                  <a:lnTo>
                    <a:pt x="148" y="133"/>
                  </a:lnTo>
                  <a:lnTo>
                    <a:pt x="148" y="135"/>
                  </a:lnTo>
                  <a:lnTo>
                    <a:pt x="148" y="138"/>
                  </a:lnTo>
                  <a:lnTo>
                    <a:pt x="148" y="140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7"/>
                  </a:lnTo>
                  <a:lnTo>
                    <a:pt x="148" y="149"/>
                  </a:lnTo>
                  <a:lnTo>
                    <a:pt x="148" y="151"/>
                  </a:lnTo>
                  <a:lnTo>
                    <a:pt x="148" y="153"/>
                  </a:lnTo>
                  <a:lnTo>
                    <a:pt x="151" y="153"/>
                  </a:lnTo>
                  <a:lnTo>
                    <a:pt x="151" y="153"/>
                  </a:lnTo>
                  <a:lnTo>
                    <a:pt x="151" y="156"/>
                  </a:lnTo>
                  <a:lnTo>
                    <a:pt x="151" y="156"/>
                  </a:lnTo>
                  <a:lnTo>
                    <a:pt x="153" y="158"/>
                  </a:lnTo>
                  <a:lnTo>
                    <a:pt x="153" y="160"/>
                  </a:lnTo>
                  <a:lnTo>
                    <a:pt x="155" y="160"/>
                  </a:lnTo>
                  <a:lnTo>
                    <a:pt x="155" y="162"/>
                  </a:lnTo>
                  <a:lnTo>
                    <a:pt x="157" y="165"/>
                  </a:lnTo>
                  <a:lnTo>
                    <a:pt x="157" y="165"/>
                  </a:lnTo>
                  <a:lnTo>
                    <a:pt x="160" y="167"/>
                  </a:lnTo>
                  <a:lnTo>
                    <a:pt x="160" y="169"/>
                  </a:lnTo>
                  <a:lnTo>
                    <a:pt x="160" y="169"/>
                  </a:lnTo>
                  <a:lnTo>
                    <a:pt x="162" y="169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0" y="173"/>
                  </a:lnTo>
                  <a:lnTo>
                    <a:pt x="157" y="176"/>
                  </a:lnTo>
                  <a:lnTo>
                    <a:pt x="157" y="176"/>
                  </a:lnTo>
                  <a:lnTo>
                    <a:pt x="157" y="176"/>
                  </a:lnTo>
                  <a:lnTo>
                    <a:pt x="157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5" y="178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53" y="178"/>
                  </a:lnTo>
                  <a:lnTo>
                    <a:pt x="153" y="178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51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51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6" y="180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6" y="178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6" y="180"/>
                  </a:lnTo>
                  <a:lnTo>
                    <a:pt x="148" y="180"/>
                  </a:lnTo>
                  <a:lnTo>
                    <a:pt x="148" y="180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6" y="185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4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4" y="189"/>
                  </a:lnTo>
                  <a:lnTo>
                    <a:pt x="144" y="191"/>
                  </a:lnTo>
                  <a:lnTo>
                    <a:pt x="142" y="191"/>
                  </a:lnTo>
                  <a:lnTo>
                    <a:pt x="142" y="194"/>
                  </a:lnTo>
                  <a:lnTo>
                    <a:pt x="142" y="191"/>
                  </a:lnTo>
                  <a:lnTo>
                    <a:pt x="139" y="191"/>
                  </a:lnTo>
                  <a:lnTo>
                    <a:pt x="139" y="191"/>
                  </a:lnTo>
                  <a:lnTo>
                    <a:pt x="139" y="191"/>
                  </a:lnTo>
                  <a:lnTo>
                    <a:pt x="137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5" y="194"/>
                  </a:lnTo>
                  <a:lnTo>
                    <a:pt x="133" y="196"/>
                  </a:lnTo>
                  <a:lnTo>
                    <a:pt x="133" y="196"/>
                  </a:lnTo>
                  <a:lnTo>
                    <a:pt x="133" y="196"/>
                  </a:lnTo>
                  <a:lnTo>
                    <a:pt x="133" y="196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3"/>
                  </a:lnTo>
                  <a:lnTo>
                    <a:pt x="133" y="205"/>
                  </a:lnTo>
                  <a:lnTo>
                    <a:pt x="133" y="205"/>
                  </a:lnTo>
                  <a:lnTo>
                    <a:pt x="133" y="205"/>
                  </a:lnTo>
                  <a:lnTo>
                    <a:pt x="133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7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30" y="209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6" y="214"/>
                  </a:lnTo>
                  <a:lnTo>
                    <a:pt x="126" y="216"/>
                  </a:lnTo>
                  <a:lnTo>
                    <a:pt x="126" y="216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4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18"/>
                  </a:lnTo>
                  <a:lnTo>
                    <a:pt x="126" y="221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1" y="225"/>
                  </a:lnTo>
                  <a:lnTo>
                    <a:pt x="124" y="227"/>
                  </a:lnTo>
                  <a:lnTo>
                    <a:pt x="124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19" y="232"/>
                  </a:lnTo>
                  <a:lnTo>
                    <a:pt x="119" y="234"/>
                  </a:lnTo>
                  <a:lnTo>
                    <a:pt x="119" y="236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6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7" y="241"/>
                  </a:lnTo>
                  <a:lnTo>
                    <a:pt x="117" y="241"/>
                  </a:lnTo>
                  <a:lnTo>
                    <a:pt x="117" y="239"/>
                  </a:lnTo>
                  <a:lnTo>
                    <a:pt x="117" y="239"/>
                  </a:lnTo>
                  <a:lnTo>
                    <a:pt x="115" y="239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1"/>
                  </a:lnTo>
                  <a:lnTo>
                    <a:pt x="115" y="243"/>
                  </a:lnTo>
                  <a:lnTo>
                    <a:pt x="112" y="241"/>
                  </a:lnTo>
                  <a:lnTo>
                    <a:pt x="112" y="241"/>
                  </a:lnTo>
                  <a:lnTo>
                    <a:pt x="112" y="241"/>
                  </a:lnTo>
                  <a:lnTo>
                    <a:pt x="112" y="241"/>
                  </a:lnTo>
                  <a:lnTo>
                    <a:pt x="112" y="241"/>
                  </a:lnTo>
                  <a:lnTo>
                    <a:pt x="112" y="241"/>
                  </a:lnTo>
                  <a:lnTo>
                    <a:pt x="112" y="243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10" y="243"/>
                  </a:lnTo>
                  <a:lnTo>
                    <a:pt x="108" y="241"/>
                  </a:lnTo>
                  <a:lnTo>
                    <a:pt x="108" y="241"/>
                  </a:lnTo>
                  <a:lnTo>
                    <a:pt x="106" y="239"/>
                  </a:lnTo>
                  <a:lnTo>
                    <a:pt x="103" y="236"/>
                  </a:lnTo>
                  <a:lnTo>
                    <a:pt x="101" y="236"/>
                  </a:lnTo>
                  <a:lnTo>
                    <a:pt x="99" y="234"/>
                  </a:lnTo>
                  <a:lnTo>
                    <a:pt x="99" y="232"/>
                  </a:lnTo>
                  <a:lnTo>
                    <a:pt x="97" y="232"/>
                  </a:lnTo>
                  <a:lnTo>
                    <a:pt x="94" y="230"/>
                  </a:lnTo>
                  <a:lnTo>
                    <a:pt x="92" y="230"/>
                  </a:lnTo>
                  <a:lnTo>
                    <a:pt x="92" y="227"/>
                  </a:lnTo>
                  <a:lnTo>
                    <a:pt x="90" y="225"/>
                  </a:lnTo>
                  <a:lnTo>
                    <a:pt x="88" y="225"/>
                  </a:lnTo>
                  <a:lnTo>
                    <a:pt x="85" y="223"/>
                  </a:lnTo>
                  <a:lnTo>
                    <a:pt x="83" y="221"/>
                  </a:lnTo>
                  <a:lnTo>
                    <a:pt x="83" y="221"/>
                  </a:lnTo>
                  <a:lnTo>
                    <a:pt x="81" y="218"/>
                  </a:lnTo>
                  <a:lnTo>
                    <a:pt x="81" y="218"/>
                  </a:lnTo>
                  <a:lnTo>
                    <a:pt x="81" y="218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79" y="216"/>
                  </a:lnTo>
                  <a:lnTo>
                    <a:pt x="79" y="214"/>
                  </a:lnTo>
                  <a:lnTo>
                    <a:pt x="79" y="214"/>
                  </a:lnTo>
                  <a:lnTo>
                    <a:pt x="79" y="214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6" y="214"/>
                  </a:lnTo>
                  <a:lnTo>
                    <a:pt x="79" y="212"/>
                  </a:lnTo>
                  <a:lnTo>
                    <a:pt x="79" y="212"/>
                  </a:lnTo>
                  <a:lnTo>
                    <a:pt x="79" y="212"/>
                  </a:lnTo>
                  <a:lnTo>
                    <a:pt x="79" y="212"/>
                  </a:lnTo>
                  <a:lnTo>
                    <a:pt x="79" y="212"/>
                  </a:lnTo>
                  <a:lnTo>
                    <a:pt x="79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07"/>
                  </a:lnTo>
                  <a:lnTo>
                    <a:pt x="79" y="205"/>
                  </a:lnTo>
                  <a:lnTo>
                    <a:pt x="79" y="205"/>
                  </a:lnTo>
                  <a:lnTo>
                    <a:pt x="76" y="203"/>
                  </a:lnTo>
                  <a:lnTo>
                    <a:pt x="72" y="200"/>
                  </a:lnTo>
                  <a:lnTo>
                    <a:pt x="67" y="198"/>
                  </a:lnTo>
                  <a:lnTo>
                    <a:pt x="63" y="194"/>
                  </a:lnTo>
                  <a:lnTo>
                    <a:pt x="58" y="191"/>
                  </a:lnTo>
                  <a:lnTo>
                    <a:pt x="54" y="189"/>
                  </a:lnTo>
                  <a:lnTo>
                    <a:pt x="49" y="187"/>
                  </a:lnTo>
                  <a:lnTo>
                    <a:pt x="45" y="182"/>
                  </a:lnTo>
                  <a:lnTo>
                    <a:pt x="40" y="180"/>
                  </a:lnTo>
                  <a:lnTo>
                    <a:pt x="36" y="178"/>
                  </a:lnTo>
                  <a:lnTo>
                    <a:pt x="31" y="176"/>
                  </a:lnTo>
                  <a:lnTo>
                    <a:pt x="27" y="171"/>
                  </a:lnTo>
                  <a:lnTo>
                    <a:pt x="22" y="169"/>
                  </a:lnTo>
                  <a:lnTo>
                    <a:pt x="18" y="167"/>
                  </a:lnTo>
                  <a:lnTo>
                    <a:pt x="14" y="165"/>
                  </a:lnTo>
                  <a:lnTo>
                    <a:pt x="9" y="160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2" y="158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0" y="156"/>
                  </a:lnTo>
                  <a:lnTo>
                    <a:pt x="0" y="151"/>
                  </a:lnTo>
                  <a:lnTo>
                    <a:pt x="0" y="149"/>
                  </a:lnTo>
                  <a:lnTo>
                    <a:pt x="0" y="144"/>
                  </a:lnTo>
                  <a:lnTo>
                    <a:pt x="2" y="140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0" y="133"/>
                  </a:lnTo>
                  <a:lnTo>
                    <a:pt x="0" y="131"/>
                  </a:lnTo>
                  <a:lnTo>
                    <a:pt x="0" y="129"/>
                  </a:lnTo>
                  <a:lnTo>
                    <a:pt x="2" y="129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11" y="113"/>
                  </a:lnTo>
                  <a:lnTo>
                    <a:pt x="11" y="113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20" y="102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20" y="97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79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8" y="68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5" y="36"/>
                  </a:lnTo>
                  <a:lnTo>
                    <a:pt x="5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7" y="25"/>
                  </a:lnTo>
                  <a:lnTo>
                    <a:pt x="9" y="23"/>
                  </a:lnTo>
                  <a:lnTo>
                    <a:pt x="11" y="21"/>
                  </a:lnTo>
                  <a:lnTo>
                    <a:pt x="11" y="18"/>
                  </a:lnTo>
                  <a:lnTo>
                    <a:pt x="14" y="18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9" y="5"/>
                  </a:lnTo>
                  <a:lnTo>
                    <a:pt x="29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1" name="Freeform 568"/>
            <p:cNvSpPr>
              <a:spLocks/>
            </p:cNvSpPr>
            <p:nvPr/>
          </p:nvSpPr>
          <p:spPr bwMode="auto">
            <a:xfrm>
              <a:off x="7074978" y="1777857"/>
              <a:ext cx="1246883" cy="574970"/>
            </a:xfrm>
            <a:custGeom>
              <a:avLst/>
              <a:gdLst>
                <a:gd name="T0" fmla="*/ 395 w 746"/>
                <a:gd name="T1" fmla="*/ 16 h 344"/>
                <a:gd name="T2" fmla="*/ 409 w 746"/>
                <a:gd name="T3" fmla="*/ 29 h 344"/>
                <a:gd name="T4" fmla="*/ 424 w 746"/>
                <a:gd name="T5" fmla="*/ 32 h 344"/>
                <a:gd name="T6" fmla="*/ 445 w 746"/>
                <a:gd name="T7" fmla="*/ 34 h 344"/>
                <a:gd name="T8" fmla="*/ 456 w 746"/>
                <a:gd name="T9" fmla="*/ 41 h 344"/>
                <a:gd name="T10" fmla="*/ 485 w 746"/>
                <a:gd name="T11" fmla="*/ 29 h 344"/>
                <a:gd name="T12" fmla="*/ 521 w 746"/>
                <a:gd name="T13" fmla="*/ 43 h 344"/>
                <a:gd name="T14" fmla="*/ 597 w 746"/>
                <a:gd name="T15" fmla="*/ 97 h 344"/>
                <a:gd name="T16" fmla="*/ 631 w 746"/>
                <a:gd name="T17" fmla="*/ 106 h 344"/>
                <a:gd name="T18" fmla="*/ 674 w 746"/>
                <a:gd name="T19" fmla="*/ 110 h 344"/>
                <a:gd name="T20" fmla="*/ 703 w 746"/>
                <a:gd name="T21" fmla="*/ 133 h 344"/>
                <a:gd name="T22" fmla="*/ 725 w 746"/>
                <a:gd name="T23" fmla="*/ 128 h 344"/>
                <a:gd name="T24" fmla="*/ 739 w 746"/>
                <a:gd name="T25" fmla="*/ 144 h 344"/>
                <a:gd name="T26" fmla="*/ 734 w 746"/>
                <a:gd name="T27" fmla="*/ 189 h 344"/>
                <a:gd name="T28" fmla="*/ 687 w 746"/>
                <a:gd name="T29" fmla="*/ 189 h 344"/>
                <a:gd name="T30" fmla="*/ 681 w 746"/>
                <a:gd name="T31" fmla="*/ 232 h 344"/>
                <a:gd name="T32" fmla="*/ 667 w 746"/>
                <a:gd name="T33" fmla="*/ 263 h 344"/>
                <a:gd name="T34" fmla="*/ 676 w 746"/>
                <a:gd name="T35" fmla="*/ 299 h 344"/>
                <a:gd name="T36" fmla="*/ 629 w 746"/>
                <a:gd name="T37" fmla="*/ 290 h 344"/>
                <a:gd name="T38" fmla="*/ 593 w 746"/>
                <a:gd name="T39" fmla="*/ 288 h 344"/>
                <a:gd name="T40" fmla="*/ 546 w 746"/>
                <a:gd name="T41" fmla="*/ 290 h 344"/>
                <a:gd name="T42" fmla="*/ 505 w 746"/>
                <a:gd name="T43" fmla="*/ 292 h 344"/>
                <a:gd name="T44" fmla="*/ 499 w 746"/>
                <a:gd name="T45" fmla="*/ 308 h 344"/>
                <a:gd name="T46" fmla="*/ 481 w 746"/>
                <a:gd name="T47" fmla="*/ 319 h 344"/>
                <a:gd name="T48" fmla="*/ 472 w 746"/>
                <a:gd name="T49" fmla="*/ 328 h 344"/>
                <a:gd name="T50" fmla="*/ 467 w 746"/>
                <a:gd name="T51" fmla="*/ 342 h 344"/>
                <a:gd name="T52" fmla="*/ 456 w 746"/>
                <a:gd name="T53" fmla="*/ 335 h 344"/>
                <a:gd name="T54" fmla="*/ 440 w 746"/>
                <a:gd name="T55" fmla="*/ 331 h 344"/>
                <a:gd name="T56" fmla="*/ 375 w 746"/>
                <a:gd name="T57" fmla="*/ 270 h 344"/>
                <a:gd name="T58" fmla="*/ 267 w 746"/>
                <a:gd name="T59" fmla="*/ 241 h 344"/>
                <a:gd name="T60" fmla="*/ 198 w 746"/>
                <a:gd name="T61" fmla="*/ 241 h 344"/>
                <a:gd name="T62" fmla="*/ 211 w 746"/>
                <a:gd name="T63" fmla="*/ 326 h 344"/>
                <a:gd name="T64" fmla="*/ 150 w 746"/>
                <a:gd name="T65" fmla="*/ 304 h 344"/>
                <a:gd name="T66" fmla="*/ 132 w 746"/>
                <a:gd name="T67" fmla="*/ 290 h 344"/>
                <a:gd name="T68" fmla="*/ 110 w 746"/>
                <a:gd name="T69" fmla="*/ 265 h 344"/>
                <a:gd name="T70" fmla="*/ 105 w 746"/>
                <a:gd name="T71" fmla="*/ 250 h 344"/>
                <a:gd name="T72" fmla="*/ 103 w 746"/>
                <a:gd name="T73" fmla="*/ 241 h 344"/>
                <a:gd name="T74" fmla="*/ 121 w 746"/>
                <a:gd name="T75" fmla="*/ 232 h 344"/>
                <a:gd name="T76" fmla="*/ 137 w 746"/>
                <a:gd name="T77" fmla="*/ 223 h 344"/>
                <a:gd name="T78" fmla="*/ 132 w 746"/>
                <a:gd name="T79" fmla="*/ 198 h 344"/>
                <a:gd name="T80" fmla="*/ 110 w 746"/>
                <a:gd name="T81" fmla="*/ 196 h 344"/>
                <a:gd name="T82" fmla="*/ 85 w 746"/>
                <a:gd name="T83" fmla="*/ 196 h 344"/>
                <a:gd name="T84" fmla="*/ 72 w 746"/>
                <a:gd name="T85" fmla="*/ 205 h 344"/>
                <a:gd name="T86" fmla="*/ 63 w 746"/>
                <a:gd name="T87" fmla="*/ 207 h 344"/>
                <a:gd name="T88" fmla="*/ 43 w 746"/>
                <a:gd name="T89" fmla="*/ 182 h 344"/>
                <a:gd name="T90" fmla="*/ 7 w 746"/>
                <a:gd name="T91" fmla="*/ 144 h 344"/>
                <a:gd name="T92" fmla="*/ 27 w 746"/>
                <a:gd name="T93" fmla="*/ 126 h 344"/>
                <a:gd name="T94" fmla="*/ 54 w 746"/>
                <a:gd name="T95" fmla="*/ 92 h 344"/>
                <a:gd name="T96" fmla="*/ 67 w 746"/>
                <a:gd name="T97" fmla="*/ 88 h 344"/>
                <a:gd name="T98" fmla="*/ 94 w 746"/>
                <a:gd name="T99" fmla="*/ 90 h 344"/>
                <a:gd name="T100" fmla="*/ 121 w 746"/>
                <a:gd name="T101" fmla="*/ 99 h 344"/>
                <a:gd name="T102" fmla="*/ 132 w 746"/>
                <a:gd name="T103" fmla="*/ 101 h 344"/>
                <a:gd name="T104" fmla="*/ 171 w 746"/>
                <a:gd name="T105" fmla="*/ 99 h 344"/>
                <a:gd name="T106" fmla="*/ 198 w 746"/>
                <a:gd name="T107" fmla="*/ 99 h 344"/>
                <a:gd name="T108" fmla="*/ 227 w 746"/>
                <a:gd name="T109" fmla="*/ 113 h 344"/>
                <a:gd name="T110" fmla="*/ 245 w 746"/>
                <a:gd name="T111" fmla="*/ 90 h 344"/>
                <a:gd name="T112" fmla="*/ 236 w 746"/>
                <a:gd name="T113" fmla="*/ 68 h 344"/>
                <a:gd name="T114" fmla="*/ 251 w 746"/>
                <a:gd name="T115" fmla="*/ 56 h 344"/>
                <a:gd name="T116" fmla="*/ 227 w 746"/>
                <a:gd name="T117" fmla="*/ 38 h 344"/>
                <a:gd name="T118" fmla="*/ 238 w 746"/>
                <a:gd name="T119" fmla="*/ 34 h 344"/>
                <a:gd name="T120" fmla="*/ 274 w 746"/>
                <a:gd name="T121" fmla="*/ 27 h 344"/>
                <a:gd name="T122" fmla="*/ 296 w 746"/>
                <a:gd name="T123" fmla="*/ 20 h 344"/>
                <a:gd name="T124" fmla="*/ 339 w 746"/>
                <a:gd name="T125" fmla="*/ 7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6" h="344">
                  <a:moveTo>
                    <a:pt x="355" y="2"/>
                  </a:moveTo>
                  <a:lnTo>
                    <a:pt x="355" y="2"/>
                  </a:lnTo>
                  <a:lnTo>
                    <a:pt x="355" y="2"/>
                  </a:lnTo>
                  <a:lnTo>
                    <a:pt x="357" y="2"/>
                  </a:lnTo>
                  <a:lnTo>
                    <a:pt x="357" y="2"/>
                  </a:lnTo>
                  <a:lnTo>
                    <a:pt x="359" y="2"/>
                  </a:lnTo>
                  <a:lnTo>
                    <a:pt x="364" y="2"/>
                  </a:lnTo>
                  <a:lnTo>
                    <a:pt x="366" y="5"/>
                  </a:lnTo>
                  <a:lnTo>
                    <a:pt x="366" y="5"/>
                  </a:lnTo>
                  <a:lnTo>
                    <a:pt x="368" y="5"/>
                  </a:lnTo>
                  <a:lnTo>
                    <a:pt x="368" y="5"/>
                  </a:lnTo>
                  <a:lnTo>
                    <a:pt x="371" y="7"/>
                  </a:lnTo>
                  <a:lnTo>
                    <a:pt x="371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9" y="5"/>
                  </a:lnTo>
                  <a:lnTo>
                    <a:pt x="379" y="5"/>
                  </a:lnTo>
                  <a:lnTo>
                    <a:pt x="379" y="5"/>
                  </a:lnTo>
                  <a:lnTo>
                    <a:pt x="379" y="5"/>
                  </a:lnTo>
                  <a:lnTo>
                    <a:pt x="379" y="5"/>
                  </a:lnTo>
                  <a:lnTo>
                    <a:pt x="382" y="2"/>
                  </a:lnTo>
                  <a:lnTo>
                    <a:pt x="382" y="2"/>
                  </a:lnTo>
                  <a:lnTo>
                    <a:pt x="382" y="2"/>
                  </a:lnTo>
                  <a:lnTo>
                    <a:pt x="384" y="5"/>
                  </a:lnTo>
                  <a:lnTo>
                    <a:pt x="384" y="5"/>
                  </a:lnTo>
                  <a:lnTo>
                    <a:pt x="384" y="5"/>
                  </a:lnTo>
                  <a:lnTo>
                    <a:pt x="384" y="5"/>
                  </a:lnTo>
                  <a:lnTo>
                    <a:pt x="384" y="5"/>
                  </a:lnTo>
                  <a:lnTo>
                    <a:pt x="386" y="7"/>
                  </a:lnTo>
                  <a:lnTo>
                    <a:pt x="388" y="7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11"/>
                  </a:lnTo>
                  <a:lnTo>
                    <a:pt x="388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4"/>
                  </a:lnTo>
                  <a:lnTo>
                    <a:pt x="391" y="14"/>
                  </a:lnTo>
                  <a:lnTo>
                    <a:pt x="391" y="14"/>
                  </a:lnTo>
                  <a:lnTo>
                    <a:pt x="391" y="14"/>
                  </a:lnTo>
                  <a:lnTo>
                    <a:pt x="391" y="14"/>
                  </a:lnTo>
                  <a:lnTo>
                    <a:pt x="393" y="16"/>
                  </a:lnTo>
                  <a:lnTo>
                    <a:pt x="393" y="16"/>
                  </a:lnTo>
                  <a:lnTo>
                    <a:pt x="395" y="16"/>
                  </a:lnTo>
                  <a:lnTo>
                    <a:pt x="395" y="16"/>
                  </a:lnTo>
                  <a:lnTo>
                    <a:pt x="395" y="16"/>
                  </a:lnTo>
                  <a:lnTo>
                    <a:pt x="395" y="16"/>
                  </a:lnTo>
                  <a:lnTo>
                    <a:pt x="397" y="16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7" y="18"/>
                  </a:lnTo>
                  <a:lnTo>
                    <a:pt x="397" y="20"/>
                  </a:lnTo>
                  <a:lnTo>
                    <a:pt x="397" y="20"/>
                  </a:lnTo>
                  <a:lnTo>
                    <a:pt x="397" y="23"/>
                  </a:lnTo>
                  <a:lnTo>
                    <a:pt x="397" y="23"/>
                  </a:lnTo>
                  <a:lnTo>
                    <a:pt x="397" y="23"/>
                  </a:lnTo>
                  <a:lnTo>
                    <a:pt x="397" y="23"/>
                  </a:lnTo>
                  <a:lnTo>
                    <a:pt x="397" y="23"/>
                  </a:lnTo>
                  <a:lnTo>
                    <a:pt x="397" y="23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400" y="25"/>
                  </a:lnTo>
                  <a:lnTo>
                    <a:pt x="400" y="25"/>
                  </a:lnTo>
                  <a:lnTo>
                    <a:pt x="400" y="25"/>
                  </a:lnTo>
                  <a:lnTo>
                    <a:pt x="400" y="25"/>
                  </a:lnTo>
                  <a:lnTo>
                    <a:pt x="400" y="25"/>
                  </a:lnTo>
                  <a:lnTo>
                    <a:pt x="400" y="25"/>
                  </a:lnTo>
                  <a:lnTo>
                    <a:pt x="400" y="25"/>
                  </a:lnTo>
                  <a:lnTo>
                    <a:pt x="397" y="25"/>
                  </a:lnTo>
                  <a:lnTo>
                    <a:pt x="397" y="25"/>
                  </a:lnTo>
                  <a:lnTo>
                    <a:pt x="397" y="25"/>
                  </a:lnTo>
                  <a:lnTo>
                    <a:pt x="397" y="25"/>
                  </a:lnTo>
                  <a:lnTo>
                    <a:pt x="397" y="25"/>
                  </a:lnTo>
                  <a:lnTo>
                    <a:pt x="397" y="27"/>
                  </a:lnTo>
                  <a:lnTo>
                    <a:pt x="397" y="27"/>
                  </a:lnTo>
                  <a:lnTo>
                    <a:pt x="397" y="27"/>
                  </a:lnTo>
                  <a:lnTo>
                    <a:pt x="400" y="27"/>
                  </a:lnTo>
                  <a:lnTo>
                    <a:pt x="400" y="27"/>
                  </a:lnTo>
                  <a:lnTo>
                    <a:pt x="400" y="27"/>
                  </a:lnTo>
                  <a:lnTo>
                    <a:pt x="400" y="29"/>
                  </a:lnTo>
                  <a:lnTo>
                    <a:pt x="400" y="29"/>
                  </a:lnTo>
                  <a:lnTo>
                    <a:pt x="400" y="29"/>
                  </a:lnTo>
                  <a:lnTo>
                    <a:pt x="400" y="29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4" y="29"/>
                  </a:lnTo>
                  <a:lnTo>
                    <a:pt x="404" y="29"/>
                  </a:lnTo>
                  <a:lnTo>
                    <a:pt x="404" y="27"/>
                  </a:lnTo>
                  <a:lnTo>
                    <a:pt x="404" y="29"/>
                  </a:lnTo>
                  <a:lnTo>
                    <a:pt x="404" y="29"/>
                  </a:lnTo>
                  <a:lnTo>
                    <a:pt x="406" y="29"/>
                  </a:lnTo>
                  <a:lnTo>
                    <a:pt x="406" y="29"/>
                  </a:lnTo>
                  <a:lnTo>
                    <a:pt x="406" y="29"/>
                  </a:lnTo>
                  <a:lnTo>
                    <a:pt x="406" y="29"/>
                  </a:lnTo>
                  <a:lnTo>
                    <a:pt x="406" y="29"/>
                  </a:lnTo>
                  <a:lnTo>
                    <a:pt x="406" y="29"/>
                  </a:lnTo>
                  <a:lnTo>
                    <a:pt x="409" y="29"/>
                  </a:lnTo>
                  <a:lnTo>
                    <a:pt x="409" y="29"/>
                  </a:lnTo>
                  <a:lnTo>
                    <a:pt x="409" y="29"/>
                  </a:lnTo>
                  <a:lnTo>
                    <a:pt x="409" y="29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1" y="29"/>
                  </a:lnTo>
                  <a:lnTo>
                    <a:pt x="411" y="27"/>
                  </a:lnTo>
                  <a:lnTo>
                    <a:pt x="411" y="27"/>
                  </a:lnTo>
                  <a:lnTo>
                    <a:pt x="411" y="27"/>
                  </a:lnTo>
                  <a:lnTo>
                    <a:pt x="411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8" y="29"/>
                  </a:lnTo>
                  <a:lnTo>
                    <a:pt x="418" y="29"/>
                  </a:lnTo>
                  <a:lnTo>
                    <a:pt x="418" y="29"/>
                  </a:lnTo>
                  <a:lnTo>
                    <a:pt x="420" y="29"/>
                  </a:lnTo>
                  <a:lnTo>
                    <a:pt x="420" y="29"/>
                  </a:lnTo>
                  <a:lnTo>
                    <a:pt x="420" y="29"/>
                  </a:lnTo>
                  <a:lnTo>
                    <a:pt x="420" y="29"/>
                  </a:lnTo>
                  <a:lnTo>
                    <a:pt x="418" y="29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18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5" y="25"/>
                  </a:lnTo>
                  <a:lnTo>
                    <a:pt x="418" y="25"/>
                  </a:lnTo>
                  <a:lnTo>
                    <a:pt x="418" y="25"/>
                  </a:lnTo>
                  <a:lnTo>
                    <a:pt x="418" y="25"/>
                  </a:lnTo>
                  <a:lnTo>
                    <a:pt x="420" y="25"/>
                  </a:lnTo>
                  <a:lnTo>
                    <a:pt x="420" y="27"/>
                  </a:lnTo>
                  <a:lnTo>
                    <a:pt x="420" y="27"/>
                  </a:lnTo>
                  <a:lnTo>
                    <a:pt x="420" y="27"/>
                  </a:lnTo>
                  <a:lnTo>
                    <a:pt x="422" y="27"/>
                  </a:lnTo>
                  <a:lnTo>
                    <a:pt x="422" y="27"/>
                  </a:lnTo>
                  <a:lnTo>
                    <a:pt x="422" y="29"/>
                  </a:lnTo>
                  <a:lnTo>
                    <a:pt x="422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29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2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2"/>
                  </a:lnTo>
                  <a:lnTo>
                    <a:pt x="424" y="34"/>
                  </a:lnTo>
                  <a:lnTo>
                    <a:pt x="424" y="34"/>
                  </a:lnTo>
                  <a:lnTo>
                    <a:pt x="424" y="34"/>
                  </a:lnTo>
                  <a:lnTo>
                    <a:pt x="424" y="34"/>
                  </a:lnTo>
                  <a:lnTo>
                    <a:pt x="424" y="34"/>
                  </a:lnTo>
                  <a:lnTo>
                    <a:pt x="427" y="34"/>
                  </a:lnTo>
                  <a:lnTo>
                    <a:pt x="427" y="34"/>
                  </a:lnTo>
                  <a:lnTo>
                    <a:pt x="427" y="34"/>
                  </a:lnTo>
                  <a:lnTo>
                    <a:pt x="427" y="34"/>
                  </a:lnTo>
                  <a:lnTo>
                    <a:pt x="427" y="34"/>
                  </a:lnTo>
                  <a:lnTo>
                    <a:pt x="429" y="34"/>
                  </a:lnTo>
                  <a:lnTo>
                    <a:pt x="429" y="34"/>
                  </a:lnTo>
                  <a:lnTo>
                    <a:pt x="429" y="34"/>
                  </a:lnTo>
                  <a:lnTo>
                    <a:pt x="431" y="34"/>
                  </a:lnTo>
                  <a:lnTo>
                    <a:pt x="431" y="34"/>
                  </a:lnTo>
                  <a:lnTo>
                    <a:pt x="431" y="34"/>
                  </a:lnTo>
                  <a:lnTo>
                    <a:pt x="429" y="32"/>
                  </a:lnTo>
                  <a:lnTo>
                    <a:pt x="429" y="32"/>
                  </a:lnTo>
                  <a:lnTo>
                    <a:pt x="429" y="32"/>
                  </a:lnTo>
                  <a:lnTo>
                    <a:pt x="429" y="32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7" y="32"/>
                  </a:lnTo>
                  <a:lnTo>
                    <a:pt x="427" y="29"/>
                  </a:lnTo>
                  <a:lnTo>
                    <a:pt x="427" y="29"/>
                  </a:lnTo>
                  <a:lnTo>
                    <a:pt x="427" y="29"/>
                  </a:lnTo>
                  <a:lnTo>
                    <a:pt x="429" y="29"/>
                  </a:lnTo>
                  <a:lnTo>
                    <a:pt x="433" y="29"/>
                  </a:lnTo>
                  <a:lnTo>
                    <a:pt x="433" y="29"/>
                  </a:lnTo>
                  <a:lnTo>
                    <a:pt x="433" y="29"/>
                  </a:lnTo>
                  <a:lnTo>
                    <a:pt x="433" y="29"/>
                  </a:lnTo>
                  <a:lnTo>
                    <a:pt x="433" y="32"/>
                  </a:lnTo>
                  <a:lnTo>
                    <a:pt x="436" y="32"/>
                  </a:lnTo>
                  <a:lnTo>
                    <a:pt x="436" y="32"/>
                  </a:lnTo>
                  <a:lnTo>
                    <a:pt x="436" y="32"/>
                  </a:lnTo>
                  <a:lnTo>
                    <a:pt x="436" y="34"/>
                  </a:lnTo>
                  <a:lnTo>
                    <a:pt x="438" y="34"/>
                  </a:lnTo>
                  <a:lnTo>
                    <a:pt x="440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2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4"/>
                  </a:lnTo>
                  <a:lnTo>
                    <a:pt x="445" y="32"/>
                  </a:lnTo>
                  <a:lnTo>
                    <a:pt x="445" y="32"/>
                  </a:lnTo>
                  <a:lnTo>
                    <a:pt x="447" y="32"/>
                  </a:lnTo>
                  <a:lnTo>
                    <a:pt x="445" y="32"/>
                  </a:lnTo>
                  <a:lnTo>
                    <a:pt x="445" y="32"/>
                  </a:lnTo>
                  <a:lnTo>
                    <a:pt x="445" y="32"/>
                  </a:lnTo>
                  <a:lnTo>
                    <a:pt x="445" y="32"/>
                  </a:lnTo>
                  <a:lnTo>
                    <a:pt x="447" y="32"/>
                  </a:lnTo>
                  <a:lnTo>
                    <a:pt x="447" y="32"/>
                  </a:lnTo>
                  <a:lnTo>
                    <a:pt x="447" y="32"/>
                  </a:lnTo>
                  <a:lnTo>
                    <a:pt x="447" y="32"/>
                  </a:lnTo>
                  <a:lnTo>
                    <a:pt x="447" y="32"/>
                  </a:lnTo>
                  <a:lnTo>
                    <a:pt x="449" y="32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5" y="36"/>
                  </a:lnTo>
                  <a:lnTo>
                    <a:pt x="445" y="36"/>
                  </a:lnTo>
                  <a:lnTo>
                    <a:pt x="445" y="36"/>
                  </a:lnTo>
                  <a:lnTo>
                    <a:pt x="445" y="36"/>
                  </a:lnTo>
                  <a:lnTo>
                    <a:pt x="445" y="36"/>
                  </a:lnTo>
                  <a:lnTo>
                    <a:pt x="445" y="36"/>
                  </a:lnTo>
                  <a:lnTo>
                    <a:pt x="445" y="38"/>
                  </a:lnTo>
                  <a:lnTo>
                    <a:pt x="445" y="38"/>
                  </a:lnTo>
                  <a:lnTo>
                    <a:pt x="445" y="41"/>
                  </a:lnTo>
                  <a:lnTo>
                    <a:pt x="445" y="41"/>
                  </a:lnTo>
                  <a:lnTo>
                    <a:pt x="442" y="41"/>
                  </a:lnTo>
                  <a:lnTo>
                    <a:pt x="442" y="41"/>
                  </a:lnTo>
                  <a:lnTo>
                    <a:pt x="442" y="41"/>
                  </a:lnTo>
                  <a:lnTo>
                    <a:pt x="442" y="41"/>
                  </a:lnTo>
                  <a:lnTo>
                    <a:pt x="445" y="41"/>
                  </a:lnTo>
                  <a:lnTo>
                    <a:pt x="445" y="43"/>
                  </a:lnTo>
                  <a:lnTo>
                    <a:pt x="447" y="43"/>
                  </a:lnTo>
                  <a:lnTo>
                    <a:pt x="447" y="45"/>
                  </a:lnTo>
                  <a:lnTo>
                    <a:pt x="449" y="45"/>
                  </a:lnTo>
                  <a:lnTo>
                    <a:pt x="449" y="45"/>
                  </a:lnTo>
                  <a:lnTo>
                    <a:pt x="449" y="45"/>
                  </a:lnTo>
                  <a:lnTo>
                    <a:pt x="449" y="45"/>
                  </a:lnTo>
                  <a:lnTo>
                    <a:pt x="449" y="45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3"/>
                  </a:lnTo>
                  <a:lnTo>
                    <a:pt x="451" y="41"/>
                  </a:lnTo>
                  <a:lnTo>
                    <a:pt x="451" y="41"/>
                  </a:lnTo>
                  <a:lnTo>
                    <a:pt x="454" y="41"/>
                  </a:lnTo>
                  <a:lnTo>
                    <a:pt x="454" y="41"/>
                  </a:lnTo>
                  <a:lnTo>
                    <a:pt x="454" y="43"/>
                  </a:lnTo>
                  <a:lnTo>
                    <a:pt x="454" y="43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8" y="41"/>
                  </a:lnTo>
                  <a:lnTo>
                    <a:pt x="458" y="41"/>
                  </a:lnTo>
                  <a:lnTo>
                    <a:pt x="458" y="41"/>
                  </a:lnTo>
                  <a:lnTo>
                    <a:pt x="458" y="43"/>
                  </a:lnTo>
                  <a:lnTo>
                    <a:pt x="458" y="43"/>
                  </a:lnTo>
                  <a:lnTo>
                    <a:pt x="458" y="43"/>
                  </a:lnTo>
                  <a:lnTo>
                    <a:pt x="460" y="43"/>
                  </a:lnTo>
                  <a:lnTo>
                    <a:pt x="460" y="43"/>
                  </a:lnTo>
                  <a:lnTo>
                    <a:pt x="460" y="43"/>
                  </a:lnTo>
                  <a:lnTo>
                    <a:pt x="460" y="43"/>
                  </a:lnTo>
                  <a:lnTo>
                    <a:pt x="460" y="43"/>
                  </a:lnTo>
                  <a:lnTo>
                    <a:pt x="460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5" y="45"/>
                  </a:lnTo>
                  <a:lnTo>
                    <a:pt x="465" y="45"/>
                  </a:lnTo>
                  <a:lnTo>
                    <a:pt x="465" y="45"/>
                  </a:lnTo>
                  <a:lnTo>
                    <a:pt x="465" y="45"/>
                  </a:lnTo>
                  <a:lnTo>
                    <a:pt x="465" y="45"/>
                  </a:lnTo>
                  <a:lnTo>
                    <a:pt x="467" y="45"/>
                  </a:lnTo>
                  <a:lnTo>
                    <a:pt x="465" y="43"/>
                  </a:lnTo>
                  <a:lnTo>
                    <a:pt x="465" y="43"/>
                  </a:lnTo>
                  <a:lnTo>
                    <a:pt x="465" y="43"/>
                  </a:lnTo>
                  <a:lnTo>
                    <a:pt x="465" y="43"/>
                  </a:lnTo>
                  <a:lnTo>
                    <a:pt x="465" y="41"/>
                  </a:lnTo>
                  <a:lnTo>
                    <a:pt x="465" y="41"/>
                  </a:lnTo>
                  <a:lnTo>
                    <a:pt x="465" y="41"/>
                  </a:lnTo>
                  <a:lnTo>
                    <a:pt x="465" y="41"/>
                  </a:lnTo>
                  <a:lnTo>
                    <a:pt x="467" y="41"/>
                  </a:lnTo>
                  <a:lnTo>
                    <a:pt x="467" y="41"/>
                  </a:lnTo>
                  <a:lnTo>
                    <a:pt x="467" y="38"/>
                  </a:lnTo>
                  <a:lnTo>
                    <a:pt x="467" y="38"/>
                  </a:lnTo>
                  <a:lnTo>
                    <a:pt x="467" y="38"/>
                  </a:lnTo>
                  <a:lnTo>
                    <a:pt x="467" y="38"/>
                  </a:lnTo>
                  <a:lnTo>
                    <a:pt x="469" y="38"/>
                  </a:lnTo>
                  <a:lnTo>
                    <a:pt x="469" y="38"/>
                  </a:lnTo>
                  <a:lnTo>
                    <a:pt x="469" y="38"/>
                  </a:lnTo>
                  <a:lnTo>
                    <a:pt x="469" y="36"/>
                  </a:lnTo>
                  <a:lnTo>
                    <a:pt x="469" y="36"/>
                  </a:lnTo>
                  <a:lnTo>
                    <a:pt x="469" y="36"/>
                  </a:lnTo>
                  <a:lnTo>
                    <a:pt x="469" y="36"/>
                  </a:lnTo>
                  <a:lnTo>
                    <a:pt x="472" y="36"/>
                  </a:lnTo>
                  <a:lnTo>
                    <a:pt x="472" y="36"/>
                  </a:lnTo>
                  <a:lnTo>
                    <a:pt x="474" y="36"/>
                  </a:lnTo>
                  <a:lnTo>
                    <a:pt x="474" y="36"/>
                  </a:lnTo>
                  <a:lnTo>
                    <a:pt x="476" y="36"/>
                  </a:lnTo>
                  <a:lnTo>
                    <a:pt x="476" y="34"/>
                  </a:lnTo>
                  <a:lnTo>
                    <a:pt x="478" y="34"/>
                  </a:lnTo>
                  <a:lnTo>
                    <a:pt x="476" y="32"/>
                  </a:lnTo>
                  <a:lnTo>
                    <a:pt x="478" y="32"/>
                  </a:lnTo>
                  <a:lnTo>
                    <a:pt x="478" y="29"/>
                  </a:lnTo>
                  <a:lnTo>
                    <a:pt x="478" y="29"/>
                  </a:lnTo>
                  <a:lnTo>
                    <a:pt x="481" y="32"/>
                  </a:lnTo>
                  <a:lnTo>
                    <a:pt x="481" y="32"/>
                  </a:lnTo>
                  <a:lnTo>
                    <a:pt x="483" y="29"/>
                  </a:lnTo>
                  <a:lnTo>
                    <a:pt x="485" y="29"/>
                  </a:lnTo>
                  <a:lnTo>
                    <a:pt x="487" y="27"/>
                  </a:lnTo>
                  <a:lnTo>
                    <a:pt x="490" y="27"/>
                  </a:lnTo>
                  <a:lnTo>
                    <a:pt x="490" y="27"/>
                  </a:lnTo>
                  <a:lnTo>
                    <a:pt x="490" y="27"/>
                  </a:lnTo>
                  <a:lnTo>
                    <a:pt x="487" y="25"/>
                  </a:lnTo>
                  <a:lnTo>
                    <a:pt x="490" y="25"/>
                  </a:lnTo>
                  <a:lnTo>
                    <a:pt x="490" y="25"/>
                  </a:lnTo>
                  <a:lnTo>
                    <a:pt x="490" y="25"/>
                  </a:lnTo>
                  <a:lnTo>
                    <a:pt x="492" y="25"/>
                  </a:lnTo>
                  <a:lnTo>
                    <a:pt x="494" y="25"/>
                  </a:lnTo>
                  <a:lnTo>
                    <a:pt x="494" y="25"/>
                  </a:lnTo>
                  <a:lnTo>
                    <a:pt x="494" y="25"/>
                  </a:lnTo>
                  <a:lnTo>
                    <a:pt x="494" y="25"/>
                  </a:lnTo>
                  <a:lnTo>
                    <a:pt x="496" y="25"/>
                  </a:lnTo>
                  <a:lnTo>
                    <a:pt x="496" y="25"/>
                  </a:lnTo>
                  <a:lnTo>
                    <a:pt x="496" y="25"/>
                  </a:lnTo>
                  <a:lnTo>
                    <a:pt x="496" y="25"/>
                  </a:lnTo>
                  <a:lnTo>
                    <a:pt x="496" y="23"/>
                  </a:lnTo>
                  <a:lnTo>
                    <a:pt x="496" y="23"/>
                  </a:lnTo>
                  <a:lnTo>
                    <a:pt x="496" y="23"/>
                  </a:lnTo>
                  <a:lnTo>
                    <a:pt x="496" y="23"/>
                  </a:lnTo>
                  <a:lnTo>
                    <a:pt x="496" y="23"/>
                  </a:lnTo>
                  <a:lnTo>
                    <a:pt x="499" y="23"/>
                  </a:lnTo>
                  <a:lnTo>
                    <a:pt x="499" y="23"/>
                  </a:lnTo>
                  <a:lnTo>
                    <a:pt x="499" y="23"/>
                  </a:lnTo>
                  <a:lnTo>
                    <a:pt x="499" y="23"/>
                  </a:lnTo>
                  <a:lnTo>
                    <a:pt x="501" y="23"/>
                  </a:lnTo>
                  <a:lnTo>
                    <a:pt x="501" y="23"/>
                  </a:lnTo>
                  <a:lnTo>
                    <a:pt x="499" y="23"/>
                  </a:lnTo>
                  <a:lnTo>
                    <a:pt x="499" y="23"/>
                  </a:lnTo>
                  <a:lnTo>
                    <a:pt x="499" y="23"/>
                  </a:lnTo>
                  <a:lnTo>
                    <a:pt x="499" y="25"/>
                  </a:lnTo>
                  <a:lnTo>
                    <a:pt x="499" y="25"/>
                  </a:lnTo>
                  <a:lnTo>
                    <a:pt x="499" y="25"/>
                  </a:lnTo>
                  <a:lnTo>
                    <a:pt x="499" y="25"/>
                  </a:lnTo>
                  <a:lnTo>
                    <a:pt x="499" y="25"/>
                  </a:lnTo>
                  <a:lnTo>
                    <a:pt x="501" y="25"/>
                  </a:lnTo>
                  <a:lnTo>
                    <a:pt x="501" y="27"/>
                  </a:lnTo>
                  <a:lnTo>
                    <a:pt x="501" y="27"/>
                  </a:lnTo>
                  <a:lnTo>
                    <a:pt x="501" y="27"/>
                  </a:lnTo>
                  <a:lnTo>
                    <a:pt x="501" y="27"/>
                  </a:lnTo>
                  <a:lnTo>
                    <a:pt x="501" y="27"/>
                  </a:lnTo>
                  <a:lnTo>
                    <a:pt x="501" y="27"/>
                  </a:lnTo>
                  <a:lnTo>
                    <a:pt x="501" y="29"/>
                  </a:lnTo>
                  <a:lnTo>
                    <a:pt x="499" y="29"/>
                  </a:lnTo>
                  <a:lnTo>
                    <a:pt x="499" y="29"/>
                  </a:lnTo>
                  <a:lnTo>
                    <a:pt x="499" y="29"/>
                  </a:lnTo>
                  <a:lnTo>
                    <a:pt x="499" y="29"/>
                  </a:lnTo>
                  <a:lnTo>
                    <a:pt x="496" y="29"/>
                  </a:lnTo>
                  <a:lnTo>
                    <a:pt x="494" y="29"/>
                  </a:lnTo>
                  <a:lnTo>
                    <a:pt x="494" y="29"/>
                  </a:lnTo>
                  <a:lnTo>
                    <a:pt x="494" y="29"/>
                  </a:lnTo>
                  <a:lnTo>
                    <a:pt x="494" y="29"/>
                  </a:lnTo>
                  <a:lnTo>
                    <a:pt x="496" y="32"/>
                  </a:lnTo>
                  <a:lnTo>
                    <a:pt x="496" y="32"/>
                  </a:lnTo>
                  <a:lnTo>
                    <a:pt x="499" y="34"/>
                  </a:lnTo>
                  <a:lnTo>
                    <a:pt x="499" y="34"/>
                  </a:lnTo>
                  <a:lnTo>
                    <a:pt x="501" y="34"/>
                  </a:lnTo>
                  <a:lnTo>
                    <a:pt x="503" y="36"/>
                  </a:lnTo>
                  <a:lnTo>
                    <a:pt x="508" y="38"/>
                  </a:lnTo>
                  <a:lnTo>
                    <a:pt x="512" y="41"/>
                  </a:lnTo>
                  <a:lnTo>
                    <a:pt x="517" y="43"/>
                  </a:lnTo>
                  <a:lnTo>
                    <a:pt x="521" y="43"/>
                  </a:lnTo>
                  <a:lnTo>
                    <a:pt x="523" y="45"/>
                  </a:lnTo>
                  <a:lnTo>
                    <a:pt x="526" y="47"/>
                  </a:lnTo>
                  <a:lnTo>
                    <a:pt x="530" y="50"/>
                  </a:lnTo>
                  <a:lnTo>
                    <a:pt x="532" y="52"/>
                  </a:lnTo>
                  <a:lnTo>
                    <a:pt x="535" y="54"/>
                  </a:lnTo>
                  <a:lnTo>
                    <a:pt x="539" y="56"/>
                  </a:lnTo>
                  <a:lnTo>
                    <a:pt x="541" y="59"/>
                  </a:lnTo>
                  <a:lnTo>
                    <a:pt x="543" y="61"/>
                  </a:lnTo>
                  <a:lnTo>
                    <a:pt x="548" y="63"/>
                  </a:lnTo>
                  <a:lnTo>
                    <a:pt x="552" y="68"/>
                  </a:lnTo>
                  <a:lnTo>
                    <a:pt x="557" y="72"/>
                  </a:lnTo>
                  <a:lnTo>
                    <a:pt x="561" y="74"/>
                  </a:lnTo>
                  <a:lnTo>
                    <a:pt x="564" y="79"/>
                  </a:lnTo>
                  <a:lnTo>
                    <a:pt x="564" y="79"/>
                  </a:lnTo>
                  <a:lnTo>
                    <a:pt x="564" y="79"/>
                  </a:lnTo>
                  <a:lnTo>
                    <a:pt x="564" y="79"/>
                  </a:lnTo>
                  <a:lnTo>
                    <a:pt x="568" y="81"/>
                  </a:lnTo>
                  <a:lnTo>
                    <a:pt x="570" y="83"/>
                  </a:lnTo>
                  <a:lnTo>
                    <a:pt x="575" y="88"/>
                  </a:lnTo>
                  <a:lnTo>
                    <a:pt x="577" y="90"/>
                  </a:lnTo>
                  <a:lnTo>
                    <a:pt x="582" y="92"/>
                  </a:lnTo>
                  <a:lnTo>
                    <a:pt x="584" y="95"/>
                  </a:lnTo>
                  <a:lnTo>
                    <a:pt x="586" y="99"/>
                  </a:lnTo>
                  <a:lnTo>
                    <a:pt x="588" y="101"/>
                  </a:lnTo>
                  <a:lnTo>
                    <a:pt x="591" y="101"/>
                  </a:lnTo>
                  <a:lnTo>
                    <a:pt x="593" y="104"/>
                  </a:lnTo>
                  <a:lnTo>
                    <a:pt x="593" y="106"/>
                  </a:lnTo>
                  <a:lnTo>
                    <a:pt x="593" y="106"/>
                  </a:lnTo>
                  <a:lnTo>
                    <a:pt x="595" y="106"/>
                  </a:lnTo>
                  <a:lnTo>
                    <a:pt x="595" y="106"/>
                  </a:lnTo>
                  <a:lnTo>
                    <a:pt x="595" y="106"/>
                  </a:lnTo>
                  <a:lnTo>
                    <a:pt x="597" y="106"/>
                  </a:lnTo>
                  <a:lnTo>
                    <a:pt x="595" y="106"/>
                  </a:lnTo>
                  <a:lnTo>
                    <a:pt x="595" y="106"/>
                  </a:lnTo>
                  <a:lnTo>
                    <a:pt x="595" y="104"/>
                  </a:lnTo>
                  <a:lnTo>
                    <a:pt x="595" y="104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7" y="104"/>
                  </a:lnTo>
                  <a:lnTo>
                    <a:pt x="597" y="104"/>
                  </a:lnTo>
                  <a:lnTo>
                    <a:pt x="597" y="104"/>
                  </a:lnTo>
                  <a:lnTo>
                    <a:pt x="597" y="104"/>
                  </a:lnTo>
                  <a:lnTo>
                    <a:pt x="597" y="104"/>
                  </a:lnTo>
                  <a:lnTo>
                    <a:pt x="597" y="104"/>
                  </a:lnTo>
                  <a:lnTo>
                    <a:pt x="597" y="104"/>
                  </a:lnTo>
                  <a:lnTo>
                    <a:pt x="600" y="104"/>
                  </a:lnTo>
                  <a:lnTo>
                    <a:pt x="600" y="104"/>
                  </a:lnTo>
                  <a:lnTo>
                    <a:pt x="600" y="104"/>
                  </a:lnTo>
                  <a:lnTo>
                    <a:pt x="600" y="104"/>
                  </a:lnTo>
                  <a:lnTo>
                    <a:pt x="602" y="101"/>
                  </a:lnTo>
                  <a:lnTo>
                    <a:pt x="602" y="101"/>
                  </a:lnTo>
                  <a:lnTo>
                    <a:pt x="602" y="101"/>
                  </a:lnTo>
                  <a:lnTo>
                    <a:pt x="600" y="101"/>
                  </a:lnTo>
                  <a:lnTo>
                    <a:pt x="600" y="99"/>
                  </a:lnTo>
                  <a:lnTo>
                    <a:pt x="600" y="99"/>
                  </a:lnTo>
                  <a:lnTo>
                    <a:pt x="600" y="99"/>
                  </a:lnTo>
                  <a:lnTo>
                    <a:pt x="600" y="99"/>
                  </a:lnTo>
                  <a:lnTo>
                    <a:pt x="600" y="99"/>
                  </a:lnTo>
                  <a:lnTo>
                    <a:pt x="600" y="99"/>
                  </a:lnTo>
                  <a:lnTo>
                    <a:pt x="600" y="97"/>
                  </a:lnTo>
                  <a:lnTo>
                    <a:pt x="597" y="97"/>
                  </a:lnTo>
                  <a:lnTo>
                    <a:pt x="597" y="97"/>
                  </a:lnTo>
                  <a:lnTo>
                    <a:pt x="597" y="97"/>
                  </a:lnTo>
                  <a:lnTo>
                    <a:pt x="600" y="97"/>
                  </a:lnTo>
                  <a:lnTo>
                    <a:pt x="600" y="97"/>
                  </a:lnTo>
                  <a:lnTo>
                    <a:pt x="600" y="97"/>
                  </a:lnTo>
                  <a:lnTo>
                    <a:pt x="602" y="97"/>
                  </a:lnTo>
                  <a:lnTo>
                    <a:pt x="602" y="95"/>
                  </a:lnTo>
                  <a:lnTo>
                    <a:pt x="602" y="95"/>
                  </a:lnTo>
                  <a:lnTo>
                    <a:pt x="602" y="95"/>
                  </a:lnTo>
                  <a:lnTo>
                    <a:pt x="602" y="95"/>
                  </a:lnTo>
                  <a:lnTo>
                    <a:pt x="602" y="95"/>
                  </a:lnTo>
                  <a:lnTo>
                    <a:pt x="602" y="95"/>
                  </a:lnTo>
                  <a:lnTo>
                    <a:pt x="602" y="95"/>
                  </a:lnTo>
                  <a:lnTo>
                    <a:pt x="604" y="95"/>
                  </a:lnTo>
                  <a:lnTo>
                    <a:pt x="604" y="95"/>
                  </a:lnTo>
                  <a:lnTo>
                    <a:pt x="604" y="95"/>
                  </a:lnTo>
                  <a:lnTo>
                    <a:pt x="606" y="95"/>
                  </a:lnTo>
                  <a:lnTo>
                    <a:pt x="606" y="95"/>
                  </a:lnTo>
                  <a:lnTo>
                    <a:pt x="606" y="95"/>
                  </a:lnTo>
                  <a:lnTo>
                    <a:pt x="606" y="95"/>
                  </a:lnTo>
                  <a:lnTo>
                    <a:pt x="606" y="95"/>
                  </a:lnTo>
                  <a:lnTo>
                    <a:pt x="606" y="97"/>
                  </a:lnTo>
                  <a:lnTo>
                    <a:pt x="606" y="97"/>
                  </a:lnTo>
                  <a:lnTo>
                    <a:pt x="609" y="97"/>
                  </a:lnTo>
                  <a:lnTo>
                    <a:pt x="609" y="97"/>
                  </a:lnTo>
                  <a:lnTo>
                    <a:pt x="609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97"/>
                  </a:lnTo>
                  <a:lnTo>
                    <a:pt x="611" y="101"/>
                  </a:lnTo>
                  <a:lnTo>
                    <a:pt x="613" y="101"/>
                  </a:lnTo>
                  <a:lnTo>
                    <a:pt x="613" y="101"/>
                  </a:lnTo>
                  <a:lnTo>
                    <a:pt x="613" y="101"/>
                  </a:lnTo>
                  <a:lnTo>
                    <a:pt x="613" y="101"/>
                  </a:lnTo>
                  <a:lnTo>
                    <a:pt x="613" y="104"/>
                  </a:lnTo>
                  <a:lnTo>
                    <a:pt x="615" y="104"/>
                  </a:lnTo>
                  <a:lnTo>
                    <a:pt x="615" y="101"/>
                  </a:lnTo>
                  <a:lnTo>
                    <a:pt x="618" y="101"/>
                  </a:lnTo>
                  <a:lnTo>
                    <a:pt x="620" y="104"/>
                  </a:lnTo>
                  <a:lnTo>
                    <a:pt x="620" y="104"/>
                  </a:lnTo>
                  <a:lnTo>
                    <a:pt x="620" y="104"/>
                  </a:lnTo>
                  <a:lnTo>
                    <a:pt x="620" y="106"/>
                  </a:lnTo>
                  <a:lnTo>
                    <a:pt x="620" y="106"/>
                  </a:lnTo>
                  <a:lnTo>
                    <a:pt x="620" y="106"/>
                  </a:lnTo>
                  <a:lnTo>
                    <a:pt x="620" y="106"/>
                  </a:lnTo>
                  <a:lnTo>
                    <a:pt x="622" y="108"/>
                  </a:lnTo>
                  <a:lnTo>
                    <a:pt x="622" y="108"/>
                  </a:lnTo>
                  <a:lnTo>
                    <a:pt x="627" y="108"/>
                  </a:lnTo>
                  <a:lnTo>
                    <a:pt x="627" y="106"/>
                  </a:lnTo>
                  <a:lnTo>
                    <a:pt x="627" y="106"/>
                  </a:lnTo>
                  <a:lnTo>
                    <a:pt x="627" y="106"/>
                  </a:lnTo>
                  <a:lnTo>
                    <a:pt x="627" y="106"/>
                  </a:lnTo>
                  <a:lnTo>
                    <a:pt x="629" y="106"/>
                  </a:lnTo>
                  <a:lnTo>
                    <a:pt x="629" y="106"/>
                  </a:lnTo>
                  <a:lnTo>
                    <a:pt x="629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3" y="108"/>
                  </a:lnTo>
                  <a:lnTo>
                    <a:pt x="633" y="108"/>
                  </a:lnTo>
                  <a:lnTo>
                    <a:pt x="636" y="108"/>
                  </a:lnTo>
                  <a:lnTo>
                    <a:pt x="636" y="108"/>
                  </a:lnTo>
                  <a:lnTo>
                    <a:pt x="636" y="108"/>
                  </a:lnTo>
                  <a:lnTo>
                    <a:pt x="636" y="108"/>
                  </a:lnTo>
                  <a:lnTo>
                    <a:pt x="636" y="108"/>
                  </a:lnTo>
                  <a:lnTo>
                    <a:pt x="636" y="106"/>
                  </a:lnTo>
                  <a:lnTo>
                    <a:pt x="636" y="106"/>
                  </a:lnTo>
                  <a:lnTo>
                    <a:pt x="638" y="108"/>
                  </a:lnTo>
                  <a:lnTo>
                    <a:pt x="638" y="108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40" y="108"/>
                  </a:lnTo>
                  <a:lnTo>
                    <a:pt x="640" y="108"/>
                  </a:lnTo>
                  <a:lnTo>
                    <a:pt x="642" y="106"/>
                  </a:lnTo>
                  <a:lnTo>
                    <a:pt x="642" y="106"/>
                  </a:lnTo>
                  <a:lnTo>
                    <a:pt x="645" y="106"/>
                  </a:lnTo>
                  <a:lnTo>
                    <a:pt x="642" y="104"/>
                  </a:lnTo>
                  <a:lnTo>
                    <a:pt x="642" y="104"/>
                  </a:lnTo>
                  <a:lnTo>
                    <a:pt x="645" y="104"/>
                  </a:lnTo>
                  <a:lnTo>
                    <a:pt x="645" y="104"/>
                  </a:lnTo>
                  <a:lnTo>
                    <a:pt x="647" y="104"/>
                  </a:lnTo>
                  <a:lnTo>
                    <a:pt x="649" y="104"/>
                  </a:lnTo>
                  <a:lnTo>
                    <a:pt x="649" y="104"/>
                  </a:lnTo>
                  <a:lnTo>
                    <a:pt x="649" y="101"/>
                  </a:lnTo>
                  <a:lnTo>
                    <a:pt x="649" y="101"/>
                  </a:lnTo>
                  <a:lnTo>
                    <a:pt x="649" y="101"/>
                  </a:lnTo>
                  <a:lnTo>
                    <a:pt x="649" y="101"/>
                  </a:lnTo>
                  <a:lnTo>
                    <a:pt x="649" y="101"/>
                  </a:lnTo>
                  <a:lnTo>
                    <a:pt x="649" y="101"/>
                  </a:lnTo>
                  <a:lnTo>
                    <a:pt x="651" y="101"/>
                  </a:lnTo>
                  <a:lnTo>
                    <a:pt x="651" y="101"/>
                  </a:lnTo>
                  <a:lnTo>
                    <a:pt x="651" y="101"/>
                  </a:lnTo>
                  <a:lnTo>
                    <a:pt x="654" y="101"/>
                  </a:lnTo>
                  <a:lnTo>
                    <a:pt x="656" y="101"/>
                  </a:lnTo>
                  <a:lnTo>
                    <a:pt x="656" y="101"/>
                  </a:lnTo>
                  <a:lnTo>
                    <a:pt x="656" y="101"/>
                  </a:lnTo>
                  <a:lnTo>
                    <a:pt x="656" y="101"/>
                  </a:lnTo>
                  <a:lnTo>
                    <a:pt x="658" y="104"/>
                  </a:lnTo>
                  <a:lnTo>
                    <a:pt x="660" y="104"/>
                  </a:lnTo>
                  <a:lnTo>
                    <a:pt x="660" y="104"/>
                  </a:lnTo>
                  <a:lnTo>
                    <a:pt x="660" y="104"/>
                  </a:lnTo>
                  <a:lnTo>
                    <a:pt x="663" y="104"/>
                  </a:lnTo>
                  <a:lnTo>
                    <a:pt x="663" y="104"/>
                  </a:lnTo>
                  <a:lnTo>
                    <a:pt x="663" y="104"/>
                  </a:lnTo>
                  <a:lnTo>
                    <a:pt x="663" y="104"/>
                  </a:lnTo>
                  <a:lnTo>
                    <a:pt x="665" y="104"/>
                  </a:lnTo>
                  <a:lnTo>
                    <a:pt x="665" y="106"/>
                  </a:lnTo>
                  <a:lnTo>
                    <a:pt x="665" y="106"/>
                  </a:lnTo>
                  <a:lnTo>
                    <a:pt x="665" y="106"/>
                  </a:lnTo>
                  <a:lnTo>
                    <a:pt x="667" y="106"/>
                  </a:lnTo>
                  <a:lnTo>
                    <a:pt x="667" y="108"/>
                  </a:lnTo>
                  <a:lnTo>
                    <a:pt x="667" y="108"/>
                  </a:lnTo>
                  <a:lnTo>
                    <a:pt x="672" y="110"/>
                  </a:lnTo>
                  <a:lnTo>
                    <a:pt x="672" y="110"/>
                  </a:lnTo>
                  <a:lnTo>
                    <a:pt x="672" y="110"/>
                  </a:lnTo>
                  <a:lnTo>
                    <a:pt x="672" y="110"/>
                  </a:lnTo>
                  <a:lnTo>
                    <a:pt x="674" y="110"/>
                  </a:lnTo>
                  <a:lnTo>
                    <a:pt x="674" y="113"/>
                  </a:lnTo>
                  <a:lnTo>
                    <a:pt x="674" y="113"/>
                  </a:lnTo>
                  <a:lnTo>
                    <a:pt x="674" y="113"/>
                  </a:lnTo>
                  <a:lnTo>
                    <a:pt x="674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7"/>
                  </a:lnTo>
                  <a:lnTo>
                    <a:pt x="676" y="117"/>
                  </a:lnTo>
                  <a:lnTo>
                    <a:pt x="676" y="117"/>
                  </a:lnTo>
                  <a:lnTo>
                    <a:pt x="678" y="117"/>
                  </a:lnTo>
                  <a:lnTo>
                    <a:pt x="678" y="117"/>
                  </a:lnTo>
                  <a:lnTo>
                    <a:pt x="678" y="117"/>
                  </a:lnTo>
                  <a:lnTo>
                    <a:pt x="678" y="119"/>
                  </a:lnTo>
                  <a:lnTo>
                    <a:pt x="678" y="119"/>
                  </a:lnTo>
                  <a:lnTo>
                    <a:pt x="678" y="119"/>
                  </a:lnTo>
                  <a:lnTo>
                    <a:pt x="681" y="119"/>
                  </a:lnTo>
                  <a:lnTo>
                    <a:pt x="681" y="119"/>
                  </a:lnTo>
                  <a:lnTo>
                    <a:pt x="681" y="119"/>
                  </a:lnTo>
                  <a:lnTo>
                    <a:pt x="681" y="119"/>
                  </a:lnTo>
                  <a:lnTo>
                    <a:pt x="681" y="119"/>
                  </a:lnTo>
                  <a:lnTo>
                    <a:pt x="683" y="119"/>
                  </a:lnTo>
                  <a:lnTo>
                    <a:pt x="683" y="119"/>
                  </a:lnTo>
                  <a:lnTo>
                    <a:pt x="683" y="119"/>
                  </a:lnTo>
                  <a:lnTo>
                    <a:pt x="685" y="119"/>
                  </a:lnTo>
                  <a:lnTo>
                    <a:pt x="685" y="119"/>
                  </a:lnTo>
                  <a:lnTo>
                    <a:pt x="685" y="119"/>
                  </a:lnTo>
                  <a:lnTo>
                    <a:pt x="687" y="119"/>
                  </a:lnTo>
                  <a:lnTo>
                    <a:pt x="687" y="122"/>
                  </a:lnTo>
                  <a:lnTo>
                    <a:pt x="687" y="122"/>
                  </a:lnTo>
                  <a:lnTo>
                    <a:pt x="687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4" y="122"/>
                  </a:lnTo>
                  <a:lnTo>
                    <a:pt x="694" y="122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4"/>
                  </a:lnTo>
                  <a:lnTo>
                    <a:pt x="694" y="126"/>
                  </a:lnTo>
                  <a:lnTo>
                    <a:pt x="694" y="126"/>
                  </a:lnTo>
                  <a:lnTo>
                    <a:pt x="694" y="126"/>
                  </a:lnTo>
                  <a:lnTo>
                    <a:pt x="696" y="126"/>
                  </a:lnTo>
                  <a:lnTo>
                    <a:pt x="696" y="126"/>
                  </a:lnTo>
                  <a:lnTo>
                    <a:pt x="696" y="128"/>
                  </a:lnTo>
                  <a:lnTo>
                    <a:pt x="699" y="128"/>
                  </a:lnTo>
                  <a:lnTo>
                    <a:pt x="699" y="128"/>
                  </a:lnTo>
                  <a:lnTo>
                    <a:pt x="699" y="128"/>
                  </a:lnTo>
                  <a:lnTo>
                    <a:pt x="701" y="131"/>
                  </a:lnTo>
                  <a:lnTo>
                    <a:pt x="701" y="131"/>
                  </a:lnTo>
                  <a:lnTo>
                    <a:pt x="701" y="133"/>
                  </a:lnTo>
                  <a:lnTo>
                    <a:pt x="703" y="133"/>
                  </a:lnTo>
                  <a:lnTo>
                    <a:pt x="703" y="133"/>
                  </a:lnTo>
                  <a:lnTo>
                    <a:pt x="703" y="133"/>
                  </a:lnTo>
                  <a:lnTo>
                    <a:pt x="705" y="133"/>
                  </a:lnTo>
                  <a:lnTo>
                    <a:pt x="705" y="133"/>
                  </a:lnTo>
                  <a:lnTo>
                    <a:pt x="705" y="133"/>
                  </a:lnTo>
                  <a:lnTo>
                    <a:pt x="705" y="133"/>
                  </a:lnTo>
                  <a:lnTo>
                    <a:pt x="705" y="133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10" y="133"/>
                  </a:lnTo>
                  <a:lnTo>
                    <a:pt x="710" y="133"/>
                  </a:lnTo>
                  <a:lnTo>
                    <a:pt x="710" y="133"/>
                  </a:lnTo>
                  <a:lnTo>
                    <a:pt x="710" y="133"/>
                  </a:lnTo>
                  <a:lnTo>
                    <a:pt x="710" y="133"/>
                  </a:lnTo>
                  <a:lnTo>
                    <a:pt x="710" y="135"/>
                  </a:lnTo>
                  <a:lnTo>
                    <a:pt x="712" y="135"/>
                  </a:lnTo>
                  <a:lnTo>
                    <a:pt x="712" y="135"/>
                  </a:lnTo>
                  <a:lnTo>
                    <a:pt x="712" y="133"/>
                  </a:lnTo>
                  <a:lnTo>
                    <a:pt x="712" y="133"/>
                  </a:lnTo>
                  <a:lnTo>
                    <a:pt x="712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9" y="135"/>
                  </a:lnTo>
                  <a:lnTo>
                    <a:pt x="719" y="135"/>
                  </a:lnTo>
                  <a:lnTo>
                    <a:pt x="719" y="135"/>
                  </a:lnTo>
                  <a:lnTo>
                    <a:pt x="719" y="135"/>
                  </a:lnTo>
                  <a:lnTo>
                    <a:pt x="719" y="135"/>
                  </a:lnTo>
                  <a:lnTo>
                    <a:pt x="721" y="135"/>
                  </a:lnTo>
                  <a:lnTo>
                    <a:pt x="721" y="137"/>
                  </a:lnTo>
                  <a:lnTo>
                    <a:pt x="721" y="135"/>
                  </a:lnTo>
                  <a:lnTo>
                    <a:pt x="721" y="135"/>
                  </a:lnTo>
                  <a:lnTo>
                    <a:pt x="721" y="133"/>
                  </a:lnTo>
                  <a:lnTo>
                    <a:pt x="723" y="133"/>
                  </a:lnTo>
                  <a:lnTo>
                    <a:pt x="723" y="133"/>
                  </a:lnTo>
                  <a:lnTo>
                    <a:pt x="725" y="133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3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31"/>
                  </a:lnTo>
                  <a:lnTo>
                    <a:pt x="725" y="128"/>
                  </a:lnTo>
                  <a:lnTo>
                    <a:pt x="725" y="128"/>
                  </a:lnTo>
                  <a:lnTo>
                    <a:pt x="725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31"/>
                  </a:lnTo>
                  <a:lnTo>
                    <a:pt x="728" y="131"/>
                  </a:lnTo>
                  <a:lnTo>
                    <a:pt x="728" y="131"/>
                  </a:lnTo>
                  <a:lnTo>
                    <a:pt x="730" y="131"/>
                  </a:lnTo>
                  <a:lnTo>
                    <a:pt x="730" y="131"/>
                  </a:lnTo>
                  <a:lnTo>
                    <a:pt x="730" y="131"/>
                  </a:lnTo>
                  <a:lnTo>
                    <a:pt x="730" y="131"/>
                  </a:lnTo>
                  <a:lnTo>
                    <a:pt x="730" y="131"/>
                  </a:lnTo>
                  <a:lnTo>
                    <a:pt x="730" y="131"/>
                  </a:lnTo>
                  <a:lnTo>
                    <a:pt x="728" y="133"/>
                  </a:lnTo>
                  <a:lnTo>
                    <a:pt x="728" y="133"/>
                  </a:lnTo>
                  <a:lnTo>
                    <a:pt x="728" y="133"/>
                  </a:lnTo>
                  <a:lnTo>
                    <a:pt x="728" y="133"/>
                  </a:lnTo>
                  <a:lnTo>
                    <a:pt x="728" y="133"/>
                  </a:lnTo>
                  <a:lnTo>
                    <a:pt x="728" y="133"/>
                  </a:lnTo>
                  <a:lnTo>
                    <a:pt x="728" y="135"/>
                  </a:lnTo>
                  <a:lnTo>
                    <a:pt x="730" y="135"/>
                  </a:lnTo>
                  <a:lnTo>
                    <a:pt x="730" y="135"/>
                  </a:lnTo>
                  <a:lnTo>
                    <a:pt x="730" y="135"/>
                  </a:lnTo>
                  <a:lnTo>
                    <a:pt x="730" y="135"/>
                  </a:lnTo>
                  <a:lnTo>
                    <a:pt x="732" y="135"/>
                  </a:lnTo>
                  <a:lnTo>
                    <a:pt x="732" y="135"/>
                  </a:lnTo>
                  <a:lnTo>
                    <a:pt x="732" y="135"/>
                  </a:lnTo>
                  <a:lnTo>
                    <a:pt x="732" y="135"/>
                  </a:lnTo>
                  <a:lnTo>
                    <a:pt x="732" y="137"/>
                  </a:lnTo>
                  <a:lnTo>
                    <a:pt x="734" y="137"/>
                  </a:lnTo>
                  <a:lnTo>
                    <a:pt x="734" y="137"/>
                  </a:lnTo>
                  <a:lnTo>
                    <a:pt x="734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9" y="140"/>
                  </a:lnTo>
                  <a:lnTo>
                    <a:pt x="739" y="140"/>
                  </a:lnTo>
                  <a:lnTo>
                    <a:pt x="739" y="142"/>
                  </a:lnTo>
                  <a:lnTo>
                    <a:pt x="739" y="142"/>
                  </a:lnTo>
                  <a:lnTo>
                    <a:pt x="739" y="142"/>
                  </a:lnTo>
                  <a:lnTo>
                    <a:pt x="739" y="142"/>
                  </a:lnTo>
                  <a:lnTo>
                    <a:pt x="739" y="142"/>
                  </a:lnTo>
                  <a:lnTo>
                    <a:pt x="741" y="142"/>
                  </a:lnTo>
                  <a:lnTo>
                    <a:pt x="741" y="142"/>
                  </a:lnTo>
                  <a:lnTo>
                    <a:pt x="743" y="142"/>
                  </a:lnTo>
                  <a:lnTo>
                    <a:pt x="743" y="142"/>
                  </a:lnTo>
                  <a:lnTo>
                    <a:pt x="743" y="142"/>
                  </a:lnTo>
                  <a:lnTo>
                    <a:pt x="746" y="142"/>
                  </a:lnTo>
                  <a:lnTo>
                    <a:pt x="746" y="144"/>
                  </a:lnTo>
                  <a:lnTo>
                    <a:pt x="746" y="144"/>
                  </a:lnTo>
                  <a:lnTo>
                    <a:pt x="743" y="144"/>
                  </a:lnTo>
                  <a:lnTo>
                    <a:pt x="743" y="144"/>
                  </a:lnTo>
                  <a:lnTo>
                    <a:pt x="741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9"/>
                  </a:lnTo>
                  <a:lnTo>
                    <a:pt x="737" y="149"/>
                  </a:lnTo>
                  <a:lnTo>
                    <a:pt x="737" y="149"/>
                  </a:lnTo>
                  <a:lnTo>
                    <a:pt x="737" y="149"/>
                  </a:lnTo>
                  <a:lnTo>
                    <a:pt x="739" y="151"/>
                  </a:lnTo>
                  <a:lnTo>
                    <a:pt x="739" y="151"/>
                  </a:lnTo>
                  <a:lnTo>
                    <a:pt x="739" y="151"/>
                  </a:lnTo>
                  <a:lnTo>
                    <a:pt x="739" y="151"/>
                  </a:lnTo>
                  <a:lnTo>
                    <a:pt x="739" y="151"/>
                  </a:lnTo>
                  <a:lnTo>
                    <a:pt x="739" y="153"/>
                  </a:lnTo>
                  <a:lnTo>
                    <a:pt x="739" y="153"/>
                  </a:lnTo>
                  <a:lnTo>
                    <a:pt x="739" y="153"/>
                  </a:lnTo>
                  <a:lnTo>
                    <a:pt x="739" y="153"/>
                  </a:lnTo>
                  <a:lnTo>
                    <a:pt x="739" y="153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8"/>
                  </a:lnTo>
                  <a:lnTo>
                    <a:pt x="739" y="158"/>
                  </a:lnTo>
                  <a:lnTo>
                    <a:pt x="739" y="158"/>
                  </a:lnTo>
                  <a:lnTo>
                    <a:pt x="739" y="158"/>
                  </a:lnTo>
                  <a:lnTo>
                    <a:pt x="739" y="158"/>
                  </a:lnTo>
                  <a:lnTo>
                    <a:pt x="737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2" y="160"/>
                  </a:lnTo>
                  <a:lnTo>
                    <a:pt x="730" y="160"/>
                  </a:lnTo>
                  <a:lnTo>
                    <a:pt x="725" y="160"/>
                  </a:lnTo>
                  <a:lnTo>
                    <a:pt x="725" y="162"/>
                  </a:lnTo>
                  <a:lnTo>
                    <a:pt x="725" y="162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30" y="180"/>
                  </a:lnTo>
                  <a:lnTo>
                    <a:pt x="730" y="180"/>
                  </a:lnTo>
                  <a:lnTo>
                    <a:pt x="730" y="182"/>
                  </a:lnTo>
                  <a:lnTo>
                    <a:pt x="730" y="182"/>
                  </a:lnTo>
                  <a:lnTo>
                    <a:pt x="730" y="182"/>
                  </a:lnTo>
                  <a:lnTo>
                    <a:pt x="732" y="182"/>
                  </a:lnTo>
                  <a:lnTo>
                    <a:pt x="734" y="185"/>
                  </a:lnTo>
                  <a:lnTo>
                    <a:pt x="734" y="185"/>
                  </a:lnTo>
                  <a:lnTo>
                    <a:pt x="734" y="185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9"/>
                  </a:lnTo>
                  <a:lnTo>
                    <a:pt x="734" y="189"/>
                  </a:lnTo>
                  <a:lnTo>
                    <a:pt x="734" y="189"/>
                  </a:lnTo>
                  <a:lnTo>
                    <a:pt x="734" y="189"/>
                  </a:lnTo>
                  <a:lnTo>
                    <a:pt x="734" y="189"/>
                  </a:lnTo>
                  <a:lnTo>
                    <a:pt x="734" y="189"/>
                  </a:lnTo>
                  <a:lnTo>
                    <a:pt x="734" y="189"/>
                  </a:lnTo>
                  <a:lnTo>
                    <a:pt x="734" y="191"/>
                  </a:lnTo>
                  <a:lnTo>
                    <a:pt x="734" y="191"/>
                  </a:lnTo>
                  <a:lnTo>
                    <a:pt x="734" y="191"/>
                  </a:lnTo>
                  <a:lnTo>
                    <a:pt x="734" y="191"/>
                  </a:lnTo>
                  <a:lnTo>
                    <a:pt x="734" y="191"/>
                  </a:lnTo>
                  <a:lnTo>
                    <a:pt x="734" y="191"/>
                  </a:lnTo>
                  <a:lnTo>
                    <a:pt x="734" y="191"/>
                  </a:lnTo>
                  <a:lnTo>
                    <a:pt x="732" y="191"/>
                  </a:lnTo>
                  <a:lnTo>
                    <a:pt x="730" y="194"/>
                  </a:lnTo>
                  <a:lnTo>
                    <a:pt x="730" y="194"/>
                  </a:lnTo>
                  <a:lnTo>
                    <a:pt x="730" y="194"/>
                  </a:lnTo>
                  <a:lnTo>
                    <a:pt x="728" y="194"/>
                  </a:lnTo>
                  <a:lnTo>
                    <a:pt x="728" y="194"/>
                  </a:lnTo>
                  <a:lnTo>
                    <a:pt x="728" y="194"/>
                  </a:lnTo>
                  <a:lnTo>
                    <a:pt x="728" y="194"/>
                  </a:lnTo>
                  <a:lnTo>
                    <a:pt x="728" y="196"/>
                  </a:lnTo>
                  <a:lnTo>
                    <a:pt x="728" y="196"/>
                  </a:lnTo>
                  <a:lnTo>
                    <a:pt x="728" y="196"/>
                  </a:lnTo>
                  <a:lnTo>
                    <a:pt x="725" y="196"/>
                  </a:lnTo>
                  <a:lnTo>
                    <a:pt x="725" y="196"/>
                  </a:lnTo>
                  <a:lnTo>
                    <a:pt x="725" y="196"/>
                  </a:lnTo>
                  <a:lnTo>
                    <a:pt x="725" y="196"/>
                  </a:lnTo>
                  <a:lnTo>
                    <a:pt x="725" y="198"/>
                  </a:lnTo>
                  <a:lnTo>
                    <a:pt x="723" y="198"/>
                  </a:lnTo>
                  <a:lnTo>
                    <a:pt x="723" y="198"/>
                  </a:lnTo>
                  <a:lnTo>
                    <a:pt x="723" y="198"/>
                  </a:lnTo>
                  <a:lnTo>
                    <a:pt x="721" y="198"/>
                  </a:lnTo>
                  <a:lnTo>
                    <a:pt x="721" y="198"/>
                  </a:lnTo>
                  <a:lnTo>
                    <a:pt x="721" y="198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19" y="194"/>
                  </a:lnTo>
                  <a:lnTo>
                    <a:pt x="719" y="194"/>
                  </a:lnTo>
                  <a:lnTo>
                    <a:pt x="719" y="194"/>
                  </a:lnTo>
                  <a:lnTo>
                    <a:pt x="716" y="194"/>
                  </a:lnTo>
                  <a:lnTo>
                    <a:pt x="716" y="194"/>
                  </a:lnTo>
                  <a:lnTo>
                    <a:pt x="714" y="194"/>
                  </a:lnTo>
                  <a:lnTo>
                    <a:pt x="714" y="194"/>
                  </a:lnTo>
                  <a:lnTo>
                    <a:pt x="714" y="194"/>
                  </a:lnTo>
                  <a:lnTo>
                    <a:pt x="714" y="194"/>
                  </a:lnTo>
                  <a:lnTo>
                    <a:pt x="712" y="194"/>
                  </a:lnTo>
                  <a:lnTo>
                    <a:pt x="710" y="194"/>
                  </a:lnTo>
                  <a:lnTo>
                    <a:pt x="710" y="194"/>
                  </a:lnTo>
                  <a:lnTo>
                    <a:pt x="710" y="194"/>
                  </a:lnTo>
                  <a:lnTo>
                    <a:pt x="710" y="194"/>
                  </a:lnTo>
                  <a:lnTo>
                    <a:pt x="707" y="194"/>
                  </a:lnTo>
                  <a:lnTo>
                    <a:pt x="707" y="194"/>
                  </a:lnTo>
                  <a:lnTo>
                    <a:pt x="707" y="194"/>
                  </a:lnTo>
                  <a:lnTo>
                    <a:pt x="705" y="194"/>
                  </a:lnTo>
                  <a:lnTo>
                    <a:pt x="696" y="191"/>
                  </a:lnTo>
                  <a:lnTo>
                    <a:pt x="694" y="189"/>
                  </a:lnTo>
                  <a:lnTo>
                    <a:pt x="692" y="189"/>
                  </a:lnTo>
                  <a:lnTo>
                    <a:pt x="690" y="189"/>
                  </a:lnTo>
                  <a:lnTo>
                    <a:pt x="690" y="189"/>
                  </a:lnTo>
                  <a:lnTo>
                    <a:pt x="690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89"/>
                  </a:lnTo>
                  <a:lnTo>
                    <a:pt x="687" y="191"/>
                  </a:lnTo>
                  <a:lnTo>
                    <a:pt x="687" y="191"/>
                  </a:lnTo>
                  <a:lnTo>
                    <a:pt x="687" y="191"/>
                  </a:lnTo>
                  <a:lnTo>
                    <a:pt x="687" y="191"/>
                  </a:lnTo>
                  <a:lnTo>
                    <a:pt x="687" y="191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87" y="194"/>
                  </a:lnTo>
                  <a:lnTo>
                    <a:pt x="687" y="196"/>
                  </a:lnTo>
                  <a:lnTo>
                    <a:pt x="687" y="200"/>
                  </a:lnTo>
                  <a:lnTo>
                    <a:pt x="687" y="205"/>
                  </a:lnTo>
                  <a:lnTo>
                    <a:pt x="687" y="207"/>
                  </a:lnTo>
                  <a:lnTo>
                    <a:pt x="687" y="207"/>
                  </a:lnTo>
                  <a:lnTo>
                    <a:pt x="687" y="209"/>
                  </a:lnTo>
                  <a:lnTo>
                    <a:pt x="687" y="209"/>
                  </a:lnTo>
                  <a:lnTo>
                    <a:pt x="687" y="211"/>
                  </a:lnTo>
                  <a:lnTo>
                    <a:pt x="687" y="211"/>
                  </a:lnTo>
                  <a:lnTo>
                    <a:pt x="687" y="214"/>
                  </a:lnTo>
                  <a:lnTo>
                    <a:pt x="690" y="216"/>
                  </a:lnTo>
                  <a:lnTo>
                    <a:pt x="690" y="216"/>
                  </a:lnTo>
                  <a:lnTo>
                    <a:pt x="690" y="218"/>
                  </a:lnTo>
                  <a:lnTo>
                    <a:pt x="690" y="220"/>
                  </a:lnTo>
                  <a:lnTo>
                    <a:pt x="690" y="220"/>
                  </a:lnTo>
                  <a:lnTo>
                    <a:pt x="687" y="223"/>
                  </a:lnTo>
                  <a:lnTo>
                    <a:pt x="690" y="225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9"/>
                  </a:lnTo>
                  <a:lnTo>
                    <a:pt x="690" y="229"/>
                  </a:lnTo>
                  <a:lnTo>
                    <a:pt x="690" y="229"/>
                  </a:lnTo>
                  <a:lnTo>
                    <a:pt x="690" y="229"/>
                  </a:lnTo>
                  <a:lnTo>
                    <a:pt x="694" y="229"/>
                  </a:lnTo>
                  <a:lnTo>
                    <a:pt x="696" y="229"/>
                  </a:lnTo>
                  <a:lnTo>
                    <a:pt x="696" y="229"/>
                  </a:lnTo>
                  <a:lnTo>
                    <a:pt x="696" y="232"/>
                  </a:lnTo>
                  <a:lnTo>
                    <a:pt x="696" y="232"/>
                  </a:lnTo>
                  <a:lnTo>
                    <a:pt x="699" y="234"/>
                  </a:lnTo>
                  <a:lnTo>
                    <a:pt x="699" y="236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4" y="236"/>
                  </a:lnTo>
                  <a:lnTo>
                    <a:pt x="692" y="236"/>
                  </a:lnTo>
                  <a:lnTo>
                    <a:pt x="692" y="234"/>
                  </a:lnTo>
                  <a:lnTo>
                    <a:pt x="692" y="234"/>
                  </a:lnTo>
                  <a:lnTo>
                    <a:pt x="690" y="234"/>
                  </a:lnTo>
                  <a:lnTo>
                    <a:pt x="687" y="236"/>
                  </a:lnTo>
                  <a:lnTo>
                    <a:pt x="685" y="236"/>
                  </a:lnTo>
                  <a:lnTo>
                    <a:pt x="685" y="236"/>
                  </a:lnTo>
                  <a:lnTo>
                    <a:pt x="685" y="236"/>
                  </a:lnTo>
                  <a:lnTo>
                    <a:pt x="685" y="236"/>
                  </a:lnTo>
                  <a:lnTo>
                    <a:pt x="683" y="236"/>
                  </a:lnTo>
                  <a:lnTo>
                    <a:pt x="683" y="236"/>
                  </a:lnTo>
                  <a:lnTo>
                    <a:pt x="683" y="236"/>
                  </a:lnTo>
                  <a:lnTo>
                    <a:pt x="683" y="234"/>
                  </a:lnTo>
                  <a:lnTo>
                    <a:pt x="681" y="234"/>
                  </a:lnTo>
                  <a:lnTo>
                    <a:pt x="681" y="234"/>
                  </a:lnTo>
                  <a:lnTo>
                    <a:pt x="681" y="232"/>
                  </a:lnTo>
                  <a:lnTo>
                    <a:pt x="681" y="232"/>
                  </a:lnTo>
                  <a:lnTo>
                    <a:pt x="678" y="232"/>
                  </a:lnTo>
                  <a:lnTo>
                    <a:pt x="678" y="232"/>
                  </a:lnTo>
                  <a:lnTo>
                    <a:pt x="676" y="234"/>
                  </a:lnTo>
                  <a:lnTo>
                    <a:pt x="669" y="236"/>
                  </a:lnTo>
                  <a:lnTo>
                    <a:pt x="669" y="236"/>
                  </a:lnTo>
                  <a:lnTo>
                    <a:pt x="669" y="236"/>
                  </a:lnTo>
                  <a:lnTo>
                    <a:pt x="667" y="236"/>
                  </a:lnTo>
                  <a:lnTo>
                    <a:pt x="665" y="236"/>
                  </a:lnTo>
                  <a:lnTo>
                    <a:pt x="665" y="236"/>
                  </a:lnTo>
                  <a:lnTo>
                    <a:pt x="663" y="236"/>
                  </a:lnTo>
                  <a:lnTo>
                    <a:pt x="663" y="236"/>
                  </a:lnTo>
                  <a:lnTo>
                    <a:pt x="660" y="238"/>
                  </a:lnTo>
                  <a:lnTo>
                    <a:pt x="658" y="238"/>
                  </a:lnTo>
                  <a:lnTo>
                    <a:pt x="658" y="238"/>
                  </a:lnTo>
                  <a:lnTo>
                    <a:pt x="658" y="238"/>
                  </a:lnTo>
                  <a:lnTo>
                    <a:pt x="658" y="238"/>
                  </a:lnTo>
                  <a:lnTo>
                    <a:pt x="658" y="238"/>
                  </a:lnTo>
                  <a:lnTo>
                    <a:pt x="658" y="238"/>
                  </a:lnTo>
                  <a:lnTo>
                    <a:pt x="656" y="238"/>
                  </a:lnTo>
                  <a:lnTo>
                    <a:pt x="654" y="238"/>
                  </a:lnTo>
                  <a:lnTo>
                    <a:pt x="654" y="238"/>
                  </a:lnTo>
                  <a:lnTo>
                    <a:pt x="651" y="238"/>
                  </a:lnTo>
                  <a:lnTo>
                    <a:pt x="651" y="241"/>
                  </a:lnTo>
                  <a:lnTo>
                    <a:pt x="651" y="241"/>
                  </a:lnTo>
                  <a:lnTo>
                    <a:pt x="651" y="241"/>
                  </a:lnTo>
                  <a:lnTo>
                    <a:pt x="649" y="241"/>
                  </a:lnTo>
                  <a:lnTo>
                    <a:pt x="649" y="243"/>
                  </a:lnTo>
                  <a:lnTo>
                    <a:pt x="649" y="243"/>
                  </a:lnTo>
                  <a:lnTo>
                    <a:pt x="649" y="243"/>
                  </a:lnTo>
                  <a:lnTo>
                    <a:pt x="649" y="243"/>
                  </a:lnTo>
                  <a:lnTo>
                    <a:pt x="651" y="245"/>
                  </a:lnTo>
                  <a:lnTo>
                    <a:pt x="654" y="245"/>
                  </a:lnTo>
                  <a:lnTo>
                    <a:pt x="656" y="245"/>
                  </a:lnTo>
                  <a:lnTo>
                    <a:pt x="656" y="245"/>
                  </a:lnTo>
                  <a:lnTo>
                    <a:pt x="658" y="245"/>
                  </a:lnTo>
                  <a:lnTo>
                    <a:pt x="658" y="245"/>
                  </a:lnTo>
                  <a:lnTo>
                    <a:pt x="663" y="245"/>
                  </a:lnTo>
                  <a:lnTo>
                    <a:pt x="663" y="247"/>
                  </a:lnTo>
                  <a:lnTo>
                    <a:pt x="663" y="247"/>
                  </a:lnTo>
                  <a:lnTo>
                    <a:pt x="663" y="247"/>
                  </a:lnTo>
                  <a:lnTo>
                    <a:pt x="663" y="247"/>
                  </a:lnTo>
                  <a:lnTo>
                    <a:pt x="660" y="247"/>
                  </a:lnTo>
                  <a:lnTo>
                    <a:pt x="660" y="247"/>
                  </a:lnTo>
                  <a:lnTo>
                    <a:pt x="660" y="247"/>
                  </a:lnTo>
                  <a:lnTo>
                    <a:pt x="660" y="247"/>
                  </a:lnTo>
                  <a:lnTo>
                    <a:pt x="660" y="250"/>
                  </a:lnTo>
                  <a:lnTo>
                    <a:pt x="660" y="250"/>
                  </a:lnTo>
                  <a:lnTo>
                    <a:pt x="663" y="250"/>
                  </a:lnTo>
                  <a:lnTo>
                    <a:pt x="663" y="250"/>
                  </a:lnTo>
                  <a:lnTo>
                    <a:pt x="660" y="250"/>
                  </a:lnTo>
                  <a:lnTo>
                    <a:pt x="663" y="252"/>
                  </a:lnTo>
                  <a:lnTo>
                    <a:pt x="663" y="252"/>
                  </a:lnTo>
                  <a:lnTo>
                    <a:pt x="663" y="254"/>
                  </a:lnTo>
                  <a:lnTo>
                    <a:pt x="665" y="256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5" y="261"/>
                  </a:lnTo>
                  <a:lnTo>
                    <a:pt x="665" y="261"/>
                  </a:lnTo>
                  <a:lnTo>
                    <a:pt x="665" y="261"/>
                  </a:lnTo>
                  <a:lnTo>
                    <a:pt x="667" y="261"/>
                  </a:lnTo>
                  <a:lnTo>
                    <a:pt x="667" y="263"/>
                  </a:lnTo>
                  <a:lnTo>
                    <a:pt x="667" y="263"/>
                  </a:lnTo>
                  <a:lnTo>
                    <a:pt x="667" y="263"/>
                  </a:lnTo>
                  <a:lnTo>
                    <a:pt x="667" y="263"/>
                  </a:lnTo>
                  <a:lnTo>
                    <a:pt x="667" y="263"/>
                  </a:lnTo>
                  <a:lnTo>
                    <a:pt x="667" y="263"/>
                  </a:lnTo>
                  <a:lnTo>
                    <a:pt x="669" y="265"/>
                  </a:lnTo>
                  <a:lnTo>
                    <a:pt x="669" y="265"/>
                  </a:lnTo>
                  <a:lnTo>
                    <a:pt x="678" y="277"/>
                  </a:lnTo>
                  <a:lnTo>
                    <a:pt x="678" y="277"/>
                  </a:lnTo>
                  <a:lnTo>
                    <a:pt x="678" y="277"/>
                  </a:lnTo>
                  <a:lnTo>
                    <a:pt x="678" y="279"/>
                  </a:lnTo>
                  <a:lnTo>
                    <a:pt x="678" y="279"/>
                  </a:lnTo>
                  <a:lnTo>
                    <a:pt x="678" y="279"/>
                  </a:lnTo>
                  <a:lnTo>
                    <a:pt x="681" y="281"/>
                  </a:lnTo>
                  <a:lnTo>
                    <a:pt x="681" y="281"/>
                  </a:lnTo>
                  <a:lnTo>
                    <a:pt x="681" y="281"/>
                  </a:lnTo>
                  <a:lnTo>
                    <a:pt x="681" y="281"/>
                  </a:lnTo>
                  <a:lnTo>
                    <a:pt x="681" y="281"/>
                  </a:lnTo>
                  <a:lnTo>
                    <a:pt x="681" y="283"/>
                  </a:lnTo>
                  <a:lnTo>
                    <a:pt x="683" y="283"/>
                  </a:lnTo>
                  <a:lnTo>
                    <a:pt x="683" y="283"/>
                  </a:lnTo>
                  <a:lnTo>
                    <a:pt x="683" y="283"/>
                  </a:lnTo>
                  <a:lnTo>
                    <a:pt x="683" y="283"/>
                  </a:lnTo>
                  <a:lnTo>
                    <a:pt x="683" y="286"/>
                  </a:lnTo>
                  <a:lnTo>
                    <a:pt x="681" y="286"/>
                  </a:lnTo>
                  <a:lnTo>
                    <a:pt x="681" y="286"/>
                  </a:lnTo>
                  <a:lnTo>
                    <a:pt x="681" y="283"/>
                  </a:lnTo>
                  <a:lnTo>
                    <a:pt x="678" y="283"/>
                  </a:lnTo>
                  <a:lnTo>
                    <a:pt x="678" y="283"/>
                  </a:lnTo>
                  <a:lnTo>
                    <a:pt x="678" y="286"/>
                  </a:lnTo>
                  <a:lnTo>
                    <a:pt x="676" y="286"/>
                  </a:lnTo>
                  <a:lnTo>
                    <a:pt x="676" y="286"/>
                  </a:lnTo>
                  <a:lnTo>
                    <a:pt x="676" y="288"/>
                  </a:lnTo>
                  <a:lnTo>
                    <a:pt x="676" y="288"/>
                  </a:lnTo>
                  <a:lnTo>
                    <a:pt x="676" y="288"/>
                  </a:lnTo>
                  <a:lnTo>
                    <a:pt x="678" y="288"/>
                  </a:lnTo>
                  <a:lnTo>
                    <a:pt x="678" y="288"/>
                  </a:lnTo>
                  <a:lnTo>
                    <a:pt x="681" y="288"/>
                  </a:lnTo>
                  <a:lnTo>
                    <a:pt x="681" y="290"/>
                  </a:lnTo>
                  <a:lnTo>
                    <a:pt x="681" y="290"/>
                  </a:lnTo>
                  <a:lnTo>
                    <a:pt x="681" y="290"/>
                  </a:lnTo>
                  <a:lnTo>
                    <a:pt x="678" y="290"/>
                  </a:lnTo>
                  <a:lnTo>
                    <a:pt x="678" y="290"/>
                  </a:lnTo>
                  <a:lnTo>
                    <a:pt x="678" y="290"/>
                  </a:lnTo>
                  <a:lnTo>
                    <a:pt x="676" y="292"/>
                  </a:lnTo>
                  <a:lnTo>
                    <a:pt x="676" y="292"/>
                  </a:lnTo>
                  <a:lnTo>
                    <a:pt x="676" y="290"/>
                  </a:lnTo>
                  <a:lnTo>
                    <a:pt x="676" y="290"/>
                  </a:lnTo>
                  <a:lnTo>
                    <a:pt x="674" y="292"/>
                  </a:lnTo>
                  <a:lnTo>
                    <a:pt x="674" y="292"/>
                  </a:lnTo>
                  <a:lnTo>
                    <a:pt x="674" y="292"/>
                  </a:lnTo>
                  <a:lnTo>
                    <a:pt x="674" y="295"/>
                  </a:lnTo>
                  <a:lnTo>
                    <a:pt x="674" y="295"/>
                  </a:lnTo>
                  <a:lnTo>
                    <a:pt x="674" y="295"/>
                  </a:lnTo>
                  <a:lnTo>
                    <a:pt x="674" y="297"/>
                  </a:lnTo>
                  <a:lnTo>
                    <a:pt x="674" y="297"/>
                  </a:lnTo>
                  <a:lnTo>
                    <a:pt x="676" y="297"/>
                  </a:lnTo>
                  <a:lnTo>
                    <a:pt x="676" y="297"/>
                  </a:lnTo>
                  <a:lnTo>
                    <a:pt x="676" y="297"/>
                  </a:lnTo>
                  <a:lnTo>
                    <a:pt x="676" y="299"/>
                  </a:lnTo>
                  <a:lnTo>
                    <a:pt x="676" y="299"/>
                  </a:lnTo>
                  <a:lnTo>
                    <a:pt x="676" y="299"/>
                  </a:lnTo>
                  <a:lnTo>
                    <a:pt x="676" y="299"/>
                  </a:lnTo>
                  <a:lnTo>
                    <a:pt x="676" y="299"/>
                  </a:lnTo>
                  <a:lnTo>
                    <a:pt x="676" y="301"/>
                  </a:lnTo>
                  <a:lnTo>
                    <a:pt x="678" y="301"/>
                  </a:lnTo>
                  <a:lnTo>
                    <a:pt x="678" y="304"/>
                  </a:lnTo>
                  <a:lnTo>
                    <a:pt x="678" y="304"/>
                  </a:lnTo>
                  <a:lnTo>
                    <a:pt x="678" y="304"/>
                  </a:lnTo>
                  <a:lnTo>
                    <a:pt x="681" y="306"/>
                  </a:lnTo>
                  <a:lnTo>
                    <a:pt x="681" y="306"/>
                  </a:lnTo>
                  <a:lnTo>
                    <a:pt x="681" y="306"/>
                  </a:lnTo>
                  <a:lnTo>
                    <a:pt x="681" y="306"/>
                  </a:lnTo>
                  <a:lnTo>
                    <a:pt x="678" y="306"/>
                  </a:lnTo>
                  <a:lnTo>
                    <a:pt x="678" y="306"/>
                  </a:lnTo>
                  <a:lnTo>
                    <a:pt x="676" y="304"/>
                  </a:lnTo>
                  <a:lnTo>
                    <a:pt x="676" y="304"/>
                  </a:lnTo>
                  <a:lnTo>
                    <a:pt x="674" y="301"/>
                  </a:lnTo>
                  <a:lnTo>
                    <a:pt x="674" y="301"/>
                  </a:lnTo>
                  <a:lnTo>
                    <a:pt x="674" y="301"/>
                  </a:lnTo>
                  <a:lnTo>
                    <a:pt x="672" y="301"/>
                  </a:lnTo>
                  <a:lnTo>
                    <a:pt x="667" y="299"/>
                  </a:lnTo>
                  <a:lnTo>
                    <a:pt x="667" y="299"/>
                  </a:lnTo>
                  <a:lnTo>
                    <a:pt x="665" y="299"/>
                  </a:lnTo>
                  <a:lnTo>
                    <a:pt x="663" y="299"/>
                  </a:lnTo>
                  <a:lnTo>
                    <a:pt x="663" y="299"/>
                  </a:lnTo>
                  <a:lnTo>
                    <a:pt x="660" y="299"/>
                  </a:lnTo>
                  <a:lnTo>
                    <a:pt x="660" y="297"/>
                  </a:lnTo>
                  <a:lnTo>
                    <a:pt x="658" y="297"/>
                  </a:lnTo>
                  <a:lnTo>
                    <a:pt x="658" y="295"/>
                  </a:lnTo>
                  <a:lnTo>
                    <a:pt x="656" y="295"/>
                  </a:lnTo>
                  <a:lnTo>
                    <a:pt x="656" y="295"/>
                  </a:lnTo>
                  <a:lnTo>
                    <a:pt x="656" y="295"/>
                  </a:lnTo>
                  <a:lnTo>
                    <a:pt x="656" y="295"/>
                  </a:lnTo>
                  <a:lnTo>
                    <a:pt x="656" y="292"/>
                  </a:lnTo>
                  <a:lnTo>
                    <a:pt x="656" y="292"/>
                  </a:lnTo>
                  <a:lnTo>
                    <a:pt x="654" y="292"/>
                  </a:lnTo>
                  <a:lnTo>
                    <a:pt x="654" y="292"/>
                  </a:lnTo>
                  <a:lnTo>
                    <a:pt x="654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51" y="292"/>
                  </a:lnTo>
                  <a:lnTo>
                    <a:pt x="649" y="292"/>
                  </a:lnTo>
                  <a:lnTo>
                    <a:pt x="647" y="292"/>
                  </a:lnTo>
                  <a:lnTo>
                    <a:pt x="645" y="292"/>
                  </a:lnTo>
                  <a:lnTo>
                    <a:pt x="645" y="292"/>
                  </a:lnTo>
                  <a:lnTo>
                    <a:pt x="645" y="290"/>
                  </a:lnTo>
                  <a:lnTo>
                    <a:pt x="642" y="290"/>
                  </a:lnTo>
                  <a:lnTo>
                    <a:pt x="640" y="290"/>
                  </a:lnTo>
                  <a:lnTo>
                    <a:pt x="640" y="290"/>
                  </a:lnTo>
                  <a:lnTo>
                    <a:pt x="638" y="290"/>
                  </a:lnTo>
                  <a:lnTo>
                    <a:pt x="638" y="290"/>
                  </a:lnTo>
                  <a:lnTo>
                    <a:pt x="638" y="290"/>
                  </a:lnTo>
                  <a:lnTo>
                    <a:pt x="638" y="290"/>
                  </a:lnTo>
                  <a:lnTo>
                    <a:pt x="638" y="290"/>
                  </a:lnTo>
                  <a:lnTo>
                    <a:pt x="636" y="290"/>
                  </a:lnTo>
                  <a:lnTo>
                    <a:pt x="636" y="290"/>
                  </a:lnTo>
                  <a:lnTo>
                    <a:pt x="636" y="290"/>
                  </a:lnTo>
                  <a:lnTo>
                    <a:pt x="633" y="290"/>
                  </a:lnTo>
                  <a:lnTo>
                    <a:pt x="631" y="290"/>
                  </a:lnTo>
                  <a:lnTo>
                    <a:pt x="631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29" y="290"/>
                  </a:lnTo>
                  <a:lnTo>
                    <a:pt x="627" y="290"/>
                  </a:lnTo>
                  <a:lnTo>
                    <a:pt x="627" y="290"/>
                  </a:lnTo>
                  <a:lnTo>
                    <a:pt x="627" y="290"/>
                  </a:lnTo>
                  <a:lnTo>
                    <a:pt x="627" y="290"/>
                  </a:lnTo>
                  <a:lnTo>
                    <a:pt x="627" y="290"/>
                  </a:lnTo>
                  <a:lnTo>
                    <a:pt x="624" y="290"/>
                  </a:lnTo>
                  <a:lnTo>
                    <a:pt x="624" y="290"/>
                  </a:lnTo>
                  <a:lnTo>
                    <a:pt x="622" y="290"/>
                  </a:lnTo>
                  <a:lnTo>
                    <a:pt x="622" y="290"/>
                  </a:lnTo>
                  <a:lnTo>
                    <a:pt x="622" y="290"/>
                  </a:lnTo>
                  <a:lnTo>
                    <a:pt x="622" y="290"/>
                  </a:lnTo>
                  <a:lnTo>
                    <a:pt x="622" y="290"/>
                  </a:lnTo>
                  <a:lnTo>
                    <a:pt x="620" y="290"/>
                  </a:lnTo>
                  <a:lnTo>
                    <a:pt x="620" y="288"/>
                  </a:lnTo>
                  <a:lnTo>
                    <a:pt x="620" y="288"/>
                  </a:lnTo>
                  <a:lnTo>
                    <a:pt x="620" y="288"/>
                  </a:lnTo>
                  <a:lnTo>
                    <a:pt x="620" y="290"/>
                  </a:lnTo>
                  <a:lnTo>
                    <a:pt x="618" y="290"/>
                  </a:lnTo>
                  <a:lnTo>
                    <a:pt x="615" y="290"/>
                  </a:lnTo>
                  <a:lnTo>
                    <a:pt x="615" y="290"/>
                  </a:lnTo>
                  <a:lnTo>
                    <a:pt x="615" y="290"/>
                  </a:lnTo>
                  <a:lnTo>
                    <a:pt x="615" y="288"/>
                  </a:lnTo>
                  <a:lnTo>
                    <a:pt x="613" y="288"/>
                  </a:lnTo>
                  <a:lnTo>
                    <a:pt x="613" y="288"/>
                  </a:lnTo>
                  <a:lnTo>
                    <a:pt x="613" y="288"/>
                  </a:lnTo>
                  <a:lnTo>
                    <a:pt x="611" y="288"/>
                  </a:lnTo>
                  <a:lnTo>
                    <a:pt x="611" y="288"/>
                  </a:lnTo>
                  <a:lnTo>
                    <a:pt x="611" y="288"/>
                  </a:lnTo>
                  <a:lnTo>
                    <a:pt x="609" y="288"/>
                  </a:lnTo>
                  <a:lnTo>
                    <a:pt x="609" y="288"/>
                  </a:lnTo>
                  <a:lnTo>
                    <a:pt x="609" y="288"/>
                  </a:lnTo>
                  <a:lnTo>
                    <a:pt x="609" y="288"/>
                  </a:lnTo>
                  <a:lnTo>
                    <a:pt x="609" y="288"/>
                  </a:lnTo>
                  <a:lnTo>
                    <a:pt x="609" y="288"/>
                  </a:lnTo>
                  <a:lnTo>
                    <a:pt x="609" y="288"/>
                  </a:lnTo>
                  <a:lnTo>
                    <a:pt x="606" y="288"/>
                  </a:lnTo>
                  <a:lnTo>
                    <a:pt x="606" y="288"/>
                  </a:lnTo>
                  <a:lnTo>
                    <a:pt x="606" y="288"/>
                  </a:lnTo>
                  <a:lnTo>
                    <a:pt x="606" y="288"/>
                  </a:lnTo>
                  <a:lnTo>
                    <a:pt x="606" y="288"/>
                  </a:lnTo>
                  <a:lnTo>
                    <a:pt x="606" y="290"/>
                  </a:lnTo>
                  <a:lnTo>
                    <a:pt x="606" y="290"/>
                  </a:lnTo>
                  <a:lnTo>
                    <a:pt x="604" y="290"/>
                  </a:lnTo>
                  <a:lnTo>
                    <a:pt x="604" y="290"/>
                  </a:lnTo>
                  <a:lnTo>
                    <a:pt x="604" y="290"/>
                  </a:lnTo>
                  <a:lnTo>
                    <a:pt x="604" y="290"/>
                  </a:lnTo>
                  <a:lnTo>
                    <a:pt x="602" y="290"/>
                  </a:lnTo>
                  <a:lnTo>
                    <a:pt x="602" y="288"/>
                  </a:lnTo>
                  <a:lnTo>
                    <a:pt x="602" y="290"/>
                  </a:lnTo>
                  <a:lnTo>
                    <a:pt x="602" y="290"/>
                  </a:lnTo>
                  <a:lnTo>
                    <a:pt x="602" y="290"/>
                  </a:lnTo>
                  <a:lnTo>
                    <a:pt x="602" y="290"/>
                  </a:lnTo>
                  <a:lnTo>
                    <a:pt x="600" y="290"/>
                  </a:lnTo>
                  <a:lnTo>
                    <a:pt x="600" y="290"/>
                  </a:lnTo>
                  <a:lnTo>
                    <a:pt x="600" y="290"/>
                  </a:lnTo>
                  <a:lnTo>
                    <a:pt x="600" y="290"/>
                  </a:lnTo>
                  <a:lnTo>
                    <a:pt x="600" y="290"/>
                  </a:lnTo>
                  <a:lnTo>
                    <a:pt x="597" y="288"/>
                  </a:lnTo>
                  <a:lnTo>
                    <a:pt x="595" y="288"/>
                  </a:lnTo>
                  <a:lnTo>
                    <a:pt x="595" y="288"/>
                  </a:lnTo>
                  <a:lnTo>
                    <a:pt x="593" y="288"/>
                  </a:lnTo>
                  <a:lnTo>
                    <a:pt x="593" y="288"/>
                  </a:lnTo>
                  <a:lnTo>
                    <a:pt x="593" y="288"/>
                  </a:lnTo>
                  <a:lnTo>
                    <a:pt x="591" y="288"/>
                  </a:lnTo>
                  <a:lnTo>
                    <a:pt x="591" y="288"/>
                  </a:lnTo>
                  <a:lnTo>
                    <a:pt x="588" y="288"/>
                  </a:lnTo>
                  <a:lnTo>
                    <a:pt x="588" y="288"/>
                  </a:lnTo>
                  <a:lnTo>
                    <a:pt x="588" y="288"/>
                  </a:lnTo>
                  <a:lnTo>
                    <a:pt x="588" y="290"/>
                  </a:lnTo>
                  <a:lnTo>
                    <a:pt x="588" y="290"/>
                  </a:lnTo>
                  <a:lnTo>
                    <a:pt x="588" y="290"/>
                  </a:lnTo>
                  <a:lnTo>
                    <a:pt x="588" y="292"/>
                  </a:lnTo>
                  <a:lnTo>
                    <a:pt x="586" y="292"/>
                  </a:lnTo>
                  <a:lnTo>
                    <a:pt x="586" y="292"/>
                  </a:lnTo>
                  <a:lnTo>
                    <a:pt x="586" y="290"/>
                  </a:lnTo>
                  <a:lnTo>
                    <a:pt x="584" y="290"/>
                  </a:lnTo>
                  <a:lnTo>
                    <a:pt x="584" y="290"/>
                  </a:lnTo>
                  <a:lnTo>
                    <a:pt x="579" y="290"/>
                  </a:lnTo>
                  <a:lnTo>
                    <a:pt x="579" y="290"/>
                  </a:lnTo>
                  <a:lnTo>
                    <a:pt x="577" y="290"/>
                  </a:lnTo>
                  <a:lnTo>
                    <a:pt x="577" y="290"/>
                  </a:lnTo>
                  <a:lnTo>
                    <a:pt x="575" y="290"/>
                  </a:lnTo>
                  <a:lnTo>
                    <a:pt x="575" y="290"/>
                  </a:lnTo>
                  <a:lnTo>
                    <a:pt x="575" y="288"/>
                  </a:lnTo>
                  <a:lnTo>
                    <a:pt x="573" y="288"/>
                  </a:lnTo>
                  <a:lnTo>
                    <a:pt x="573" y="288"/>
                  </a:lnTo>
                  <a:lnTo>
                    <a:pt x="570" y="288"/>
                  </a:lnTo>
                  <a:lnTo>
                    <a:pt x="568" y="288"/>
                  </a:lnTo>
                  <a:lnTo>
                    <a:pt x="568" y="288"/>
                  </a:lnTo>
                  <a:lnTo>
                    <a:pt x="566" y="286"/>
                  </a:lnTo>
                  <a:lnTo>
                    <a:pt x="566" y="286"/>
                  </a:lnTo>
                  <a:lnTo>
                    <a:pt x="564" y="286"/>
                  </a:lnTo>
                  <a:lnTo>
                    <a:pt x="564" y="283"/>
                  </a:lnTo>
                  <a:lnTo>
                    <a:pt x="564" y="283"/>
                  </a:lnTo>
                  <a:lnTo>
                    <a:pt x="561" y="283"/>
                  </a:lnTo>
                  <a:lnTo>
                    <a:pt x="561" y="283"/>
                  </a:lnTo>
                  <a:lnTo>
                    <a:pt x="561" y="283"/>
                  </a:lnTo>
                  <a:lnTo>
                    <a:pt x="561" y="283"/>
                  </a:lnTo>
                  <a:lnTo>
                    <a:pt x="559" y="283"/>
                  </a:lnTo>
                  <a:lnTo>
                    <a:pt x="559" y="283"/>
                  </a:lnTo>
                  <a:lnTo>
                    <a:pt x="557" y="281"/>
                  </a:lnTo>
                  <a:lnTo>
                    <a:pt x="557" y="281"/>
                  </a:lnTo>
                  <a:lnTo>
                    <a:pt x="557" y="281"/>
                  </a:lnTo>
                  <a:lnTo>
                    <a:pt x="555" y="281"/>
                  </a:lnTo>
                  <a:lnTo>
                    <a:pt x="557" y="281"/>
                  </a:lnTo>
                  <a:lnTo>
                    <a:pt x="557" y="281"/>
                  </a:lnTo>
                  <a:lnTo>
                    <a:pt x="557" y="281"/>
                  </a:lnTo>
                  <a:lnTo>
                    <a:pt x="557" y="283"/>
                  </a:lnTo>
                  <a:lnTo>
                    <a:pt x="552" y="283"/>
                  </a:lnTo>
                  <a:lnTo>
                    <a:pt x="552" y="283"/>
                  </a:lnTo>
                  <a:lnTo>
                    <a:pt x="552" y="281"/>
                  </a:lnTo>
                  <a:lnTo>
                    <a:pt x="552" y="281"/>
                  </a:lnTo>
                  <a:lnTo>
                    <a:pt x="550" y="283"/>
                  </a:lnTo>
                  <a:lnTo>
                    <a:pt x="550" y="283"/>
                  </a:lnTo>
                  <a:lnTo>
                    <a:pt x="550" y="283"/>
                  </a:lnTo>
                  <a:lnTo>
                    <a:pt x="550" y="283"/>
                  </a:lnTo>
                  <a:lnTo>
                    <a:pt x="550" y="283"/>
                  </a:lnTo>
                  <a:lnTo>
                    <a:pt x="546" y="286"/>
                  </a:lnTo>
                  <a:lnTo>
                    <a:pt x="546" y="286"/>
                  </a:lnTo>
                  <a:lnTo>
                    <a:pt x="546" y="286"/>
                  </a:lnTo>
                  <a:lnTo>
                    <a:pt x="546" y="286"/>
                  </a:lnTo>
                  <a:lnTo>
                    <a:pt x="546" y="288"/>
                  </a:lnTo>
                  <a:lnTo>
                    <a:pt x="546" y="290"/>
                  </a:lnTo>
                  <a:lnTo>
                    <a:pt x="546" y="290"/>
                  </a:lnTo>
                  <a:lnTo>
                    <a:pt x="546" y="290"/>
                  </a:lnTo>
                  <a:lnTo>
                    <a:pt x="546" y="290"/>
                  </a:lnTo>
                  <a:lnTo>
                    <a:pt x="546" y="290"/>
                  </a:lnTo>
                  <a:lnTo>
                    <a:pt x="546" y="292"/>
                  </a:lnTo>
                  <a:lnTo>
                    <a:pt x="546" y="292"/>
                  </a:lnTo>
                  <a:lnTo>
                    <a:pt x="546" y="292"/>
                  </a:lnTo>
                  <a:lnTo>
                    <a:pt x="546" y="295"/>
                  </a:lnTo>
                  <a:lnTo>
                    <a:pt x="546" y="297"/>
                  </a:lnTo>
                  <a:lnTo>
                    <a:pt x="546" y="297"/>
                  </a:lnTo>
                  <a:lnTo>
                    <a:pt x="546" y="297"/>
                  </a:lnTo>
                  <a:lnTo>
                    <a:pt x="548" y="299"/>
                  </a:lnTo>
                  <a:lnTo>
                    <a:pt x="550" y="301"/>
                  </a:lnTo>
                  <a:lnTo>
                    <a:pt x="550" y="301"/>
                  </a:lnTo>
                  <a:lnTo>
                    <a:pt x="548" y="301"/>
                  </a:lnTo>
                  <a:lnTo>
                    <a:pt x="548" y="301"/>
                  </a:lnTo>
                  <a:lnTo>
                    <a:pt x="546" y="301"/>
                  </a:lnTo>
                  <a:lnTo>
                    <a:pt x="546" y="299"/>
                  </a:lnTo>
                  <a:lnTo>
                    <a:pt x="546" y="299"/>
                  </a:lnTo>
                  <a:lnTo>
                    <a:pt x="546" y="299"/>
                  </a:lnTo>
                  <a:lnTo>
                    <a:pt x="546" y="299"/>
                  </a:lnTo>
                  <a:lnTo>
                    <a:pt x="543" y="299"/>
                  </a:lnTo>
                  <a:lnTo>
                    <a:pt x="543" y="299"/>
                  </a:lnTo>
                  <a:lnTo>
                    <a:pt x="543" y="299"/>
                  </a:lnTo>
                  <a:lnTo>
                    <a:pt x="541" y="299"/>
                  </a:lnTo>
                  <a:lnTo>
                    <a:pt x="541" y="297"/>
                  </a:lnTo>
                  <a:lnTo>
                    <a:pt x="541" y="297"/>
                  </a:lnTo>
                  <a:lnTo>
                    <a:pt x="539" y="297"/>
                  </a:lnTo>
                  <a:lnTo>
                    <a:pt x="537" y="297"/>
                  </a:lnTo>
                  <a:lnTo>
                    <a:pt x="537" y="297"/>
                  </a:lnTo>
                  <a:lnTo>
                    <a:pt x="537" y="297"/>
                  </a:lnTo>
                  <a:lnTo>
                    <a:pt x="535" y="297"/>
                  </a:lnTo>
                  <a:lnTo>
                    <a:pt x="535" y="297"/>
                  </a:lnTo>
                  <a:lnTo>
                    <a:pt x="535" y="297"/>
                  </a:lnTo>
                  <a:lnTo>
                    <a:pt x="532" y="295"/>
                  </a:lnTo>
                  <a:lnTo>
                    <a:pt x="532" y="295"/>
                  </a:lnTo>
                  <a:lnTo>
                    <a:pt x="530" y="295"/>
                  </a:lnTo>
                  <a:lnTo>
                    <a:pt x="528" y="295"/>
                  </a:lnTo>
                  <a:lnTo>
                    <a:pt x="528" y="295"/>
                  </a:lnTo>
                  <a:lnTo>
                    <a:pt x="526" y="292"/>
                  </a:lnTo>
                  <a:lnTo>
                    <a:pt x="523" y="292"/>
                  </a:lnTo>
                  <a:lnTo>
                    <a:pt x="521" y="292"/>
                  </a:lnTo>
                  <a:lnTo>
                    <a:pt x="521" y="292"/>
                  </a:lnTo>
                  <a:lnTo>
                    <a:pt x="521" y="292"/>
                  </a:lnTo>
                  <a:lnTo>
                    <a:pt x="521" y="292"/>
                  </a:lnTo>
                  <a:lnTo>
                    <a:pt x="519" y="292"/>
                  </a:lnTo>
                  <a:lnTo>
                    <a:pt x="517" y="292"/>
                  </a:lnTo>
                  <a:lnTo>
                    <a:pt x="517" y="292"/>
                  </a:lnTo>
                  <a:lnTo>
                    <a:pt x="514" y="290"/>
                  </a:lnTo>
                  <a:lnTo>
                    <a:pt x="514" y="290"/>
                  </a:lnTo>
                  <a:lnTo>
                    <a:pt x="514" y="290"/>
                  </a:lnTo>
                  <a:lnTo>
                    <a:pt x="514" y="290"/>
                  </a:lnTo>
                  <a:lnTo>
                    <a:pt x="514" y="290"/>
                  </a:lnTo>
                  <a:lnTo>
                    <a:pt x="512" y="290"/>
                  </a:lnTo>
                  <a:lnTo>
                    <a:pt x="512" y="292"/>
                  </a:lnTo>
                  <a:lnTo>
                    <a:pt x="510" y="292"/>
                  </a:lnTo>
                  <a:lnTo>
                    <a:pt x="510" y="292"/>
                  </a:lnTo>
                  <a:lnTo>
                    <a:pt x="510" y="292"/>
                  </a:lnTo>
                  <a:lnTo>
                    <a:pt x="508" y="292"/>
                  </a:lnTo>
                  <a:lnTo>
                    <a:pt x="508" y="292"/>
                  </a:lnTo>
                  <a:lnTo>
                    <a:pt x="508" y="292"/>
                  </a:lnTo>
                  <a:lnTo>
                    <a:pt x="508" y="292"/>
                  </a:lnTo>
                  <a:lnTo>
                    <a:pt x="508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5" y="292"/>
                  </a:lnTo>
                  <a:lnTo>
                    <a:pt x="503" y="292"/>
                  </a:lnTo>
                  <a:lnTo>
                    <a:pt x="503" y="292"/>
                  </a:lnTo>
                  <a:lnTo>
                    <a:pt x="503" y="295"/>
                  </a:lnTo>
                  <a:lnTo>
                    <a:pt x="503" y="295"/>
                  </a:lnTo>
                  <a:lnTo>
                    <a:pt x="503" y="295"/>
                  </a:lnTo>
                  <a:lnTo>
                    <a:pt x="503" y="295"/>
                  </a:lnTo>
                  <a:lnTo>
                    <a:pt x="503" y="295"/>
                  </a:lnTo>
                  <a:lnTo>
                    <a:pt x="503" y="295"/>
                  </a:lnTo>
                  <a:lnTo>
                    <a:pt x="503" y="297"/>
                  </a:lnTo>
                  <a:lnTo>
                    <a:pt x="503" y="297"/>
                  </a:lnTo>
                  <a:lnTo>
                    <a:pt x="503" y="297"/>
                  </a:lnTo>
                  <a:lnTo>
                    <a:pt x="501" y="297"/>
                  </a:lnTo>
                  <a:lnTo>
                    <a:pt x="501" y="297"/>
                  </a:lnTo>
                  <a:lnTo>
                    <a:pt x="501" y="299"/>
                  </a:lnTo>
                  <a:lnTo>
                    <a:pt x="501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3" y="299"/>
                  </a:lnTo>
                  <a:lnTo>
                    <a:pt x="501" y="299"/>
                  </a:lnTo>
                  <a:lnTo>
                    <a:pt x="501" y="299"/>
                  </a:lnTo>
                  <a:lnTo>
                    <a:pt x="501" y="299"/>
                  </a:lnTo>
                  <a:lnTo>
                    <a:pt x="501" y="299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501" y="301"/>
                  </a:lnTo>
                  <a:lnTo>
                    <a:pt x="499" y="304"/>
                  </a:lnTo>
                  <a:lnTo>
                    <a:pt x="499" y="304"/>
                  </a:lnTo>
                  <a:lnTo>
                    <a:pt x="501" y="304"/>
                  </a:lnTo>
                  <a:lnTo>
                    <a:pt x="501" y="304"/>
                  </a:lnTo>
                  <a:lnTo>
                    <a:pt x="501" y="304"/>
                  </a:lnTo>
                  <a:lnTo>
                    <a:pt x="501" y="306"/>
                  </a:lnTo>
                  <a:lnTo>
                    <a:pt x="501" y="306"/>
                  </a:lnTo>
                  <a:lnTo>
                    <a:pt x="501" y="306"/>
                  </a:lnTo>
                  <a:lnTo>
                    <a:pt x="501" y="306"/>
                  </a:lnTo>
                  <a:lnTo>
                    <a:pt x="501" y="306"/>
                  </a:lnTo>
                  <a:lnTo>
                    <a:pt x="501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499" y="308"/>
                  </a:lnTo>
                  <a:lnTo>
                    <a:pt x="499" y="308"/>
                  </a:lnTo>
                  <a:lnTo>
                    <a:pt x="496" y="308"/>
                  </a:lnTo>
                  <a:lnTo>
                    <a:pt x="496" y="308"/>
                  </a:lnTo>
                  <a:lnTo>
                    <a:pt x="496" y="308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6" y="310"/>
                  </a:lnTo>
                  <a:lnTo>
                    <a:pt x="494" y="310"/>
                  </a:lnTo>
                  <a:lnTo>
                    <a:pt x="494" y="310"/>
                  </a:lnTo>
                  <a:lnTo>
                    <a:pt x="494" y="310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4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0"/>
                  </a:lnTo>
                  <a:lnTo>
                    <a:pt x="492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3"/>
                  </a:lnTo>
                  <a:lnTo>
                    <a:pt x="490" y="315"/>
                  </a:lnTo>
                  <a:lnTo>
                    <a:pt x="490" y="315"/>
                  </a:lnTo>
                  <a:lnTo>
                    <a:pt x="490" y="315"/>
                  </a:lnTo>
                  <a:lnTo>
                    <a:pt x="487" y="315"/>
                  </a:lnTo>
                  <a:lnTo>
                    <a:pt x="487" y="315"/>
                  </a:lnTo>
                  <a:lnTo>
                    <a:pt x="487" y="317"/>
                  </a:lnTo>
                  <a:lnTo>
                    <a:pt x="487" y="317"/>
                  </a:lnTo>
                  <a:lnTo>
                    <a:pt x="487" y="317"/>
                  </a:lnTo>
                  <a:lnTo>
                    <a:pt x="487" y="317"/>
                  </a:lnTo>
                  <a:lnTo>
                    <a:pt x="487" y="317"/>
                  </a:lnTo>
                  <a:lnTo>
                    <a:pt x="487" y="317"/>
                  </a:lnTo>
                  <a:lnTo>
                    <a:pt x="485" y="317"/>
                  </a:lnTo>
                  <a:lnTo>
                    <a:pt x="485" y="317"/>
                  </a:lnTo>
                  <a:lnTo>
                    <a:pt x="485" y="317"/>
                  </a:lnTo>
                  <a:lnTo>
                    <a:pt x="485" y="317"/>
                  </a:lnTo>
                  <a:lnTo>
                    <a:pt x="485" y="317"/>
                  </a:lnTo>
                  <a:lnTo>
                    <a:pt x="483" y="317"/>
                  </a:lnTo>
                  <a:lnTo>
                    <a:pt x="483" y="317"/>
                  </a:lnTo>
                  <a:lnTo>
                    <a:pt x="481" y="319"/>
                  </a:lnTo>
                  <a:lnTo>
                    <a:pt x="481" y="319"/>
                  </a:lnTo>
                  <a:lnTo>
                    <a:pt x="481" y="319"/>
                  </a:lnTo>
                  <a:lnTo>
                    <a:pt x="481" y="319"/>
                  </a:lnTo>
                  <a:lnTo>
                    <a:pt x="481" y="319"/>
                  </a:lnTo>
                  <a:lnTo>
                    <a:pt x="478" y="319"/>
                  </a:lnTo>
                  <a:lnTo>
                    <a:pt x="478" y="322"/>
                  </a:lnTo>
                  <a:lnTo>
                    <a:pt x="478" y="322"/>
                  </a:lnTo>
                  <a:lnTo>
                    <a:pt x="478" y="322"/>
                  </a:lnTo>
                  <a:lnTo>
                    <a:pt x="478" y="322"/>
                  </a:lnTo>
                  <a:lnTo>
                    <a:pt x="476" y="322"/>
                  </a:lnTo>
                  <a:lnTo>
                    <a:pt x="476" y="322"/>
                  </a:lnTo>
                  <a:lnTo>
                    <a:pt x="476" y="322"/>
                  </a:lnTo>
                  <a:lnTo>
                    <a:pt x="476" y="322"/>
                  </a:lnTo>
                  <a:lnTo>
                    <a:pt x="476" y="322"/>
                  </a:lnTo>
                  <a:lnTo>
                    <a:pt x="478" y="322"/>
                  </a:lnTo>
                  <a:lnTo>
                    <a:pt x="478" y="324"/>
                  </a:lnTo>
                  <a:lnTo>
                    <a:pt x="478" y="324"/>
                  </a:lnTo>
                  <a:lnTo>
                    <a:pt x="478" y="324"/>
                  </a:lnTo>
                  <a:lnTo>
                    <a:pt x="478" y="324"/>
                  </a:lnTo>
                  <a:lnTo>
                    <a:pt x="478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6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4" y="324"/>
                  </a:lnTo>
                  <a:lnTo>
                    <a:pt x="472" y="324"/>
                  </a:lnTo>
                  <a:lnTo>
                    <a:pt x="472" y="324"/>
                  </a:lnTo>
                  <a:lnTo>
                    <a:pt x="472" y="324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6"/>
                  </a:lnTo>
                  <a:lnTo>
                    <a:pt x="472" y="328"/>
                  </a:lnTo>
                  <a:lnTo>
                    <a:pt x="472" y="328"/>
                  </a:lnTo>
                  <a:lnTo>
                    <a:pt x="472" y="328"/>
                  </a:lnTo>
                  <a:lnTo>
                    <a:pt x="472" y="328"/>
                  </a:lnTo>
                  <a:lnTo>
                    <a:pt x="472" y="331"/>
                  </a:lnTo>
                  <a:lnTo>
                    <a:pt x="472" y="331"/>
                  </a:lnTo>
                  <a:lnTo>
                    <a:pt x="472" y="331"/>
                  </a:lnTo>
                  <a:lnTo>
                    <a:pt x="472" y="331"/>
                  </a:lnTo>
                  <a:lnTo>
                    <a:pt x="472" y="331"/>
                  </a:lnTo>
                  <a:lnTo>
                    <a:pt x="472" y="331"/>
                  </a:lnTo>
                  <a:lnTo>
                    <a:pt x="472" y="331"/>
                  </a:lnTo>
                  <a:lnTo>
                    <a:pt x="469" y="331"/>
                  </a:lnTo>
                  <a:lnTo>
                    <a:pt x="469" y="331"/>
                  </a:lnTo>
                  <a:lnTo>
                    <a:pt x="469" y="331"/>
                  </a:lnTo>
                  <a:lnTo>
                    <a:pt x="469" y="331"/>
                  </a:lnTo>
                  <a:lnTo>
                    <a:pt x="469" y="331"/>
                  </a:lnTo>
                  <a:lnTo>
                    <a:pt x="469" y="331"/>
                  </a:lnTo>
                  <a:lnTo>
                    <a:pt x="469" y="331"/>
                  </a:lnTo>
                  <a:lnTo>
                    <a:pt x="469" y="333"/>
                  </a:lnTo>
                  <a:lnTo>
                    <a:pt x="469" y="333"/>
                  </a:lnTo>
                  <a:lnTo>
                    <a:pt x="467" y="333"/>
                  </a:lnTo>
                  <a:lnTo>
                    <a:pt x="467" y="333"/>
                  </a:lnTo>
                  <a:lnTo>
                    <a:pt x="467" y="333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7"/>
                  </a:lnTo>
                  <a:lnTo>
                    <a:pt x="467" y="337"/>
                  </a:lnTo>
                  <a:lnTo>
                    <a:pt x="467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7" y="337"/>
                  </a:lnTo>
                  <a:lnTo>
                    <a:pt x="467" y="337"/>
                  </a:lnTo>
                  <a:lnTo>
                    <a:pt x="467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5" y="337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4"/>
                  </a:lnTo>
                  <a:lnTo>
                    <a:pt x="469" y="344"/>
                  </a:lnTo>
                  <a:lnTo>
                    <a:pt x="469" y="344"/>
                  </a:lnTo>
                  <a:lnTo>
                    <a:pt x="469" y="344"/>
                  </a:lnTo>
                  <a:lnTo>
                    <a:pt x="469" y="344"/>
                  </a:lnTo>
                  <a:lnTo>
                    <a:pt x="469" y="344"/>
                  </a:lnTo>
                  <a:lnTo>
                    <a:pt x="469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7" y="344"/>
                  </a:lnTo>
                  <a:lnTo>
                    <a:pt x="465" y="344"/>
                  </a:lnTo>
                  <a:lnTo>
                    <a:pt x="465" y="344"/>
                  </a:lnTo>
                  <a:lnTo>
                    <a:pt x="465" y="344"/>
                  </a:lnTo>
                  <a:lnTo>
                    <a:pt x="465" y="344"/>
                  </a:lnTo>
                  <a:lnTo>
                    <a:pt x="463" y="344"/>
                  </a:lnTo>
                  <a:lnTo>
                    <a:pt x="460" y="342"/>
                  </a:lnTo>
                  <a:lnTo>
                    <a:pt x="460" y="342"/>
                  </a:lnTo>
                  <a:lnTo>
                    <a:pt x="458" y="342"/>
                  </a:lnTo>
                  <a:lnTo>
                    <a:pt x="458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7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5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6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3"/>
                  </a:lnTo>
                  <a:lnTo>
                    <a:pt x="454" y="331"/>
                  </a:lnTo>
                  <a:lnTo>
                    <a:pt x="454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51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9" y="331"/>
                  </a:lnTo>
                  <a:lnTo>
                    <a:pt x="447" y="331"/>
                  </a:lnTo>
                  <a:lnTo>
                    <a:pt x="445" y="331"/>
                  </a:lnTo>
                  <a:lnTo>
                    <a:pt x="442" y="331"/>
                  </a:lnTo>
                  <a:lnTo>
                    <a:pt x="442" y="331"/>
                  </a:lnTo>
                  <a:lnTo>
                    <a:pt x="440" y="331"/>
                  </a:lnTo>
                  <a:lnTo>
                    <a:pt x="438" y="331"/>
                  </a:lnTo>
                  <a:lnTo>
                    <a:pt x="433" y="331"/>
                  </a:lnTo>
                  <a:lnTo>
                    <a:pt x="433" y="331"/>
                  </a:lnTo>
                  <a:lnTo>
                    <a:pt x="431" y="331"/>
                  </a:lnTo>
                  <a:lnTo>
                    <a:pt x="429" y="331"/>
                  </a:lnTo>
                  <a:lnTo>
                    <a:pt x="429" y="331"/>
                  </a:lnTo>
                  <a:lnTo>
                    <a:pt x="429" y="331"/>
                  </a:lnTo>
                  <a:lnTo>
                    <a:pt x="427" y="331"/>
                  </a:lnTo>
                  <a:lnTo>
                    <a:pt x="427" y="326"/>
                  </a:lnTo>
                  <a:lnTo>
                    <a:pt x="424" y="322"/>
                  </a:lnTo>
                  <a:lnTo>
                    <a:pt x="422" y="319"/>
                  </a:lnTo>
                  <a:lnTo>
                    <a:pt x="420" y="317"/>
                  </a:lnTo>
                  <a:lnTo>
                    <a:pt x="420" y="315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8" y="310"/>
                  </a:lnTo>
                  <a:lnTo>
                    <a:pt x="415" y="310"/>
                  </a:lnTo>
                  <a:lnTo>
                    <a:pt x="413" y="310"/>
                  </a:lnTo>
                  <a:lnTo>
                    <a:pt x="411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6" y="306"/>
                  </a:lnTo>
                  <a:lnTo>
                    <a:pt x="406" y="301"/>
                  </a:lnTo>
                  <a:lnTo>
                    <a:pt x="406" y="301"/>
                  </a:lnTo>
                  <a:lnTo>
                    <a:pt x="406" y="301"/>
                  </a:lnTo>
                  <a:lnTo>
                    <a:pt x="406" y="301"/>
                  </a:lnTo>
                  <a:lnTo>
                    <a:pt x="406" y="301"/>
                  </a:lnTo>
                  <a:lnTo>
                    <a:pt x="406" y="301"/>
                  </a:lnTo>
                  <a:lnTo>
                    <a:pt x="406" y="301"/>
                  </a:lnTo>
                  <a:lnTo>
                    <a:pt x="406" y="299"/>
                  </a:lnTo>
                  <a:lnTo>
                    <a:pt x="406" y="299"/>
                  </a:lnTo>
                  <a:lnTo>
                    <a:pt x="404" y="292"/>
                  </a:lnTo>
                  <a:lnTo>
                    <a:pt x="404" y="288"/>
                  </a:lnTo>
                  <a:lnTo>
                    <a:pt x="402" y="288"/>
                  </a:lnTo>
                  <a:lnTo>
                    <a:pt x="400" y="290"/>
                  </a:lnTo>
                  <a:lnTo>
                    <a:pt x="400" y="290"/>
                  </a:lnTo>
                  <a:lnTo>
                    <a:pt x="400" y="290"/>
                  </a:lnTo>
                  <a:lnTo>
                    <a:pt x="397" y="288"/>
                  </a:lnTo>
                  <a:lnTo>
                    <a:pt x="395" y="286"/>
                  </a:lnTo>
                  <a:lnTo>
                    <a:pt x="393" y="283"/>
                  </a:lnTo>
                  <a:lnTo>
                    <a:pt x="391" y="281"/>
                  </a:lnTo>
                  <a:lnTo>
                    <a:pt x="391" y="279"/>
                  </a:lnTo>
                  <a:lnTo>
                    <a:pt x="388" y="279"/>
                  </a:lnTo>
                  <a:lnTo>
                    <a:pt x="386" y="279"/>
                  </a:lnTo>
                  <a:lnTo>
                    <a:pt x="384" y="277"/>
                  </a:lnTo>
                  <a:lnTo>
                    <a:pt x="384" y="277"/>
                  </a:lnTo>
                  <a:lnTo>
                    <a:pt x="382" y="277"/>
                  </a:lnTo>
                  <a:lnTo>
                    <a:pt x="379" y="272"/>
                  </a:lnTo>
                  <a:lnTo>
                    <a:pt x="377" y="270"/>
                  </a:lnTo>
                  <a:lnTo>
                    <a:pt x="377" y="270"/>
                  </a:lnTo>
                  <a:lnTo>
                    <a:pt x="375" y="270"/>
                  </a:lnTo>
                  <a:lnTo>
                    <a:pt x="375" y="270"/>
                  </a:lnTo>
                  <a:lnTo>
                    <a:pt x="375" y="270"/>
                  </a:lnTo>
                  <a:lnTo>
                    <a:pt x="375" y="270"/>
                  </a:lnTo>
                  <a:lnTo>
                    <a:pt x="375" y="270"/>
                  </a:lnTo>
                  <a:lnTo>
                    <a:pt x="373" y="272"/>
                  </a:lnTo>
                  <a:lnTo>
                    <a:pt x="371" y="272"/>
                  </a:lnTo>
                  <a:lnTo>
                    <a:pt x="371" y="272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6" y="274"/>
                  </a:lnTo>
                  <a:lnTo>
                    <a:pt x="364" y="274"/>
                  </a:lnTo>
                  <a:lnTo>
                    <a:pt x="362" y="274"/>
                  </a:lnTo>
                  <a:lnTo>
                    <a:pt x="359" y="274"/>
                  </a:lnTo>
                  <a:lnTo>
                    <a:pt x="357" y="274"/>
                  </a:lnTo>
                  <a:lnTo>
                    <a:pt x="353" y="272"/>
                  </a:lnTo>
                  <a:lnTo>
                    <a:pt x="350" y="272"/>
                  </a:lnTo>
                  <a:lnTo>
                    <a:pt x="348" y="272"/>
                  </a:lnTo>
                  <a:lnTo>
                    <a:pt x="344" y="272"/>
                  </a:lnTo>
                  <a:lnTo>
                    <a:pt x="341" y="272"/>
                  </a:lnTo>
                  <a:lnTo>
                    <a:pt x="341" y="272"/>
                  </a:lnTo>
                  <a:lnTo>
                    <a:pt x="339" y="272"/>
                  </a:lnTo>
                  <a:lnTo>
                    <a:pt x="337" y="274"/>
                  </a:lnTo>
                  <a:lnTo>
                    <a:pt x="337" y="274"/>
                  </a:lnTo>
                  <a:lnTo>
                    <a:pt x="335" y="274"/>
                  </a:lnTo>
                  <a:lnTo>
                    <a:pt x="332" y="274"/>
                  </a:lnTo>
                  <a:lnTo>
                    <a:pt x="330" y="274"/>
                  </a:lnTo>
                  <a:lnTo>
                    <a:pt x="330" y="274"/>
                  </a:lnTo>
                  <a:lnTo>
                    <a:pt x="328" y="274"/>
                  </a:lnTo>
                  <a:lnTo>
                    <a:pt x="328" y="274"/>
                  </a:lnTo>
                  <a:lnTo>
                    <a:pt x="328" y="274"/>
                  </a:lnTo>
                  <a:lnTo>
                    <a:pt x="326" y="274"/>
                  </a:lnTo>
                  <a:lnTo>
                    <a:pt x="326" y="274"/>
                  </a:lnTo>
                  <a:lnTo>
                    <a:pt x="326" y="277"/>
                  </a:lnTo>
                  <a:lnTo>
                    <a:pt x="323" y="277"/>
                  </a:lnTo>
                  <a:lnTo>
                    <a:pt x="323" y="277"/>
                  </a:lnTo>
                  <a:lnTo>
                    <a:pt x="321" y="277"/>
                  </a:lnTo>
                  <a:lnTo>
                    <a:pt x="321" y="277"/>
                  </a:lnTo>
                  <a:lnTo>
                    <a:pt x="319" y="274"/>
                  </a:lnTo>
                  <a:lnTo>
                    <a:pt x="319" y="272"/>
                  </a:lnTo>
                  <a:lnTo>
                    <a:pt x="317" y="272"/>
                  </a:lnTo>
                  <a:lnTo>
                    <a:pt x="317" y="270"/>
                  </a:lnTo>
                  <a:lnTo>
                    <a:pt x="314" y="270"/>
                  </a:lnTo>
                  <a:lnTo>
                    <a:pt x="312" y="268"/>
                  </a:lnTo>
                  <a:lnTo>
                    <a:pt x="312" y="268"/>
                  </a:lnTo>
                  <a:lnTo>
                    <a:pt x="310" y="265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5" y="263"/>
                  </a:lnTo>
                  <a:lnTo>
                    <a:pt x="305" y="261"/>
                  </a:lnTo>
                  <a:lnTo>
                    <a:pt x="301" y="259"/>
                  </a:lnTo>
                  <a:lnTo>
                    <a:pt x="301" y="259"/>
                  </a:lnTo>
                  <a:lnTo>
                    <a:pt x="299" y="259"/>
                  </a:lnTo>
                  <a:lnTo>
                    <a:pt x="299" y="256"/>
                  </a:lnTo>
                  <a:lnTo>
                    <a:pt x="299" y="256"/>
                  </a:lnTo>
                  <a:lnTo>
                    <a:pt x="299" y="254"/>
                  </a:lnTo>
                  <a:lnTo>
                    <a:pt x="299" y="254"/>
                  </a:lnTo>
                  <a:lnTo>
                    <a:pt x="296" y="254"/>
                  </a:lnTo>
                  <a:lnTo>
                    <a:pt x="294" y="254"/>
                  </a:lnTo>
                  <a:lnTo>
                    <a:pt x="292" y="252"/>
                  </a:lnTo>
                  <a:lnTo>
                    <a:pt x="287" y="250"/>
                  </a:lnTo>
                  <a:lnTo>
                    <a:pt x="285" y="247"/>
                  </a:lnTo>
                  <a:lnTo>
                    <a:pt x="281" y="245"/>
                  </a:lnTo>
                  <a:lnTo>
                    <a:pt x="276" y="243"/>
                  </a:lnTo>
                  <a:lnTo>
                    <a:pt x="272" y="243"/>
                  </a:lnTo>
                  <a:lnTo>
                    <a:pt x="267" y="241"/>
                  </a:lnTo>
                  <a:lnTo>
                    <a:pt x="263" y="238"/>
                  </a:lnTo>
                  <a:lnTo>
                    <a:pt x="258" y="236"/>
                  </a:lnTo>
                  <a:lnTo>
                    <a:pt x="256" y="234"/>
                  </a:lnTo>
                  <a:lnTo>
                    <a:pt x="251" y="232"/>
                  </a:lnTo>
                  <a:lnTo>
                    <a:pt x="249" y="229"/>
                  </a:lnTo>
                  <a:lnTo>
                    <a:pt x="247" y="229"/>
                  </a:lnTo>
                  <a:lnTo>
                    <a:pt x="245" y="229"/>
                  </a:lnTo>
                  <a:lnTo>
                    <a:pt x="245" y="227"/>
                  </a:lnTo>
                  <a:lnTo>
                    <a:pt x="242" y="227"/>
                  </a:lnTo>
                  <a:lnTo>
                    <a:pt x="242" y="227"/>
                  </a:lnTo>
                  <a:lnTo>
                    <a:pt x="242" y="227"/>
                  </a:lnTo>
                  <a:lnTo>
                    <a:pt x="240" y="227"/>
                  </a:lnTo>
                  <a:lnTo>
                    <a:pt x="240" y="227"/>
                  </a:lnTo>
                  <a:lnTo>
                    <a:pt x="238" y="227"/>
                  </a:lnTo>
                  <a:lnTo>
                    <a:pt x="238" y="229"/>
                  </a:lnTo>
                  <a:lnTo>
                    <a:pt x="238" y="229"/>
                  </a:lnTo>
                  <a:lnTo>
                    <a:pt x="236" y="229"/>
                  </a:lnTo>
                  <a:lnTo>
                    <a:pt x="236" y="229"/>
                  </a:lnTo>
                  <a:lnTo>
                    <a:pt x="233" y="229"/>
                  </a:lnTo>
                  <a:lnTo>
                    <a:pt x="233" y="229"/>
                  </a:lnTo>
                  <a:lnTo>
                    <a:pt x="231" y="229"/>
                  </a:lnTo>
                  <a:lnTo>
                    <a:pt x="229" y="232"/>
                  </a:lnTo>
                  <a:lnTo>
                    <a:pt x="227" y="232"/>
                  </a:lnTo>
                  <a:lnTo>
                    <a:pt x="224" y="232"/>
                  </a:lnTo>
                  <a:lnTo>
                    <a:pt x="222" y="234"/>
                  </a:lnTo>
                  <a:lnTo>
                    <a:pt x="220" y="234"/>
                  </a:lnTo>
                  <a:lnTo>
                    <a:pt x="220" y="234"/>
                  </a:lnTo>
                  <a:lnTo>
                    <a:pt x="218" y="234"/>
                  </a:lnTo>
                  <a:lnTo>
                    <a:pt x="215" y="234"/>
                  </a:lnTo>
                  <a:lnTo>
                    <a:pt x="215" y="236"/>
                  </a:lnTo>
                  <a:lnTo>
                    <a:pt x="213" y="236"/>
                  </a:lnTo>
                  <a:lnTo>
                    <a:pt x="211" y="236"/>
                  </a:lnTo>
                  <a:lnTo>
                    <a:pt x="209" y="236"/>
                  </a:lnTo>
                  <a:lnTo>
                    <a:pt x="209" y="238"/>
                  </a:lnTo>
                  <a:lnTo>
                    <a:pt x="207" y="238"/>
                  </a:lnTo>
                  <a:lnTo>
                    <a:pt x="204" y="238"/>
                  </a:lnTo>
                  <a:lnTo>
                    <a:pt x="202" y="238"/>
                  </a:lnTo>
                  <a:lnTo>
                    <a:pt x="202" y="238"/>
                  </a:lnTo>
                  <a:lnTo>
                    <a:pt x="200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198" y="241"/>
                  </a:lnTo>
                  <a:lnTo>
                    <a:pt x="200" y="245"/>
                  </a:lnTo>
                  <a:lnTo>
                    <a:pt x="202" y="252"/>
                  </a:lnTo>
                  <a:lnTo>
                    <a:pt x="202" y="256"/>
                  </a:lnTo>
                  <a:lnTo>
                    <a:pt x="204" y="261"/>
                  </a:lnTo>
                  <a:lnTo>
                    <a:pt x="207" y="268"/>
                  </a:lnTo>
                  <a:lnTo>
                    <a:pt x="207" y="272"/>
                  </a:lnTo>
                  <a:lnTo>
                    <a:pt x="209" y="279"/>
                  </a:lnTo>
                  <a:lnTo>
                    <a:pt x="209" y="283"/>
                  </a:lnTo>
                  <a:lnTo>
                    <a:pt x="211" y="288"/>
                  </a:lnTo>
                  <a:lnTo>
                    <a:pt x="213" y="295"/>
                  </a:lnTo>
                  <a:lnTo>
                    <a:pt x="213" y="299"/>
                  </a:lnTo>
                  <a:lnTo>
                    <a:pt x="215" y="306"/>
                  </a:lnTo>
                  <a:lnTo>
                    <a:pt x="218" y="310"/>
                  </a:lnTo>
                  <a:lnTo>
                    <a:pt x="218" y="315"/>
                  </a:lnTo>
                  <a:lnTo>
                    <a:pt x="220" y="322"/>
                  </a:lnTo>
                  <a:lnTo>
                    <a:pt x="220" y="326"/>
                  </a:lnTo>
                  <a:lnTo>
                    <a:pt x="220" y="326"/>
                  </a:lnTo>
                  <a:lnTo>
                    <a:pt x="218" y="326"/>
                  </a:lnTo>
                  <a:lnTo>
                    <a:pt x="218" y="328"/>
                  </a:lnTo>
                  <a:lnTo>
                    <a:pt x="215" y="328"/>
                  </a:lnTo>
                  <a:lnTo>
                    <a:pt x="215" y="328"/>
                  </a:lnTo>
                  <a:lnTo>
                    <a:pt x="211" y="328"/>
                  </a:lnTo>
                  <a:lnTo>
                    <a:pt x="211" y="328"/>
                  </a:lnTo>
                  <a:lnTo>
                    <a:pt x="211" y="328"/>
                  </a:lnTo>
                  <a:lnTo>
                    <a:pt x="211" y="328"/>
                  </a:lnTo>
                  <a:lnTo>
                    <a:pt x="211" y="326"/>
                  </a:lnTo>
                  <a:lnTo>
                    <a:pt x="209" y="326"/>
                  </a:lnTo>
                  <a:lnTo>
                    <a:pt x="209" y="326"/>
                  </a:lnTo>
                  <a:lnTo>
                    <a:pt x="209" y="326"/>
                  </a:lnTo>
                  <a:lnTo>
                    <a:pt x="207" y="324"/>
                  </a:lnTo>
                  <a:lnTo>
                    <a:pt x="207" y="324"/>
                  </a:lnTo>
                  <a:lnTo>
                    <a:pt x="207" y="324"/>
                  </a:lnTo>
                  <a:lnTo>
                    <a:pt x="204" y="322"/>
                  </a:lnTo>
                  <a:lnTo>
                    <a:pt x="202" y="319"/>
                  </a:lnTo>
                  <a:lnTo>
                    <a:pt x="200" y="317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5"/>
                  </a:lnTo>
                  <a:lnTo>
                    <a:pt x="198" y="313"/>
                  </a:lnTo>
                  <a:lnTo>
                    <a:pt x="198" y="313"/>
                  </a:lnTo>
                  <a:lnTo>
                    <a:pt x="198" y="313"/>
                  </a:lnTo>
                  <a:lnTo>
                    <a:pt x="193" y="310"/>
                  </a:lnTo>
                  <a:lnTo>
                    <a:pt x="191" y="308"/>
                  </a:lnTo>
                  <a:lnTo>
                    <a:pt x="189" y="308"/>
                  </a:lnTo>
                  <a:lnTo>
                    <a:pt x="184" y="306"/>
                  </a:lnTo>
                  <a:lnTo>
                    <a:pt x="182" y="304"/>
                  </a:lnTo>
                  <a:lnTo>
                    <a:pt x="180" y="304"/>
                  </a:lnTo>
                  <a:lnTo>
                    <a:pt x="177" y="304"/>
                  </a:lnTo>
                  <a:lnTo>
                    <a:pt x="173" y="304"/>
                  </a:lnTo>
                  <a:lnTo>
                    <a:pt x="171" y="304"/>
                  </a:lnTo>
                  <a:lnTo>
                    <a:pt x="168" y="304"/>
                  </a:lnTo>
                  <a:lnTo>
                    <a:pt x="166" y="304"/>
                  </a:lnTo>
                  <a:lnTo>
                    <a:pt x="162" y="306"/>
                  </a:lnTo>
                  <a:lnTo>
                    <a:pt x="162" y="306"/>
                  </a:lnTo>
                  <a:lnTo>
                    <a:pt x="159" y="308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5" y="310"/>
                  </a:lnTo>
                  <a:lnTo>
                    <a:pt x="153" y="313"/>
                  </a:lnTo>
                  <a:lnTo>
                    <a:pt x="150" y="315"/>
                  </a:lnTo>
                  <a:lnTo>
                    <a:pt x="150" y="317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3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48" y="306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50" y="304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301"/>
                  </a:lnTo>
                  <a:lnTo>
                    <a:pt x="150" y="299"/>
                  </a:lnTo>
                  <a:lnTo>
                    <a:pt x="150" y="299"/>
                  </a:lnTo>
                  <a:lnTo>
                    <a:pt x="150" y="299"/>
                  </a:lnTo>
                  <a:lnTo>
                    <a:pt x="150" y="299"/>
                  </a:lnTo>
                  <a:lnTo>
                    <a:pt x="150" y="297"/>
                  </a:lnTo>
                  <a:lnTo>
                    <a:pt x="150" y="297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48" y="292"/>
                  </a:lnTo>
                  <a:lnTo>
                    <a:pt x="148" y="292"/>
                  </a:lnTo>
                  <a:lnTo>
                    <a:pt x="148" y="292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48" y="295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7"/>
                  </a:lnTo>
                  <a:lnTo>
                    <a:pt x="150" y="297"/>
                  </a:lnTo>
                  <a:lnTo>
                    <a:pt x="150" y="297"/>
                  </a:lnTo>
                  <a:lnTo>
                    <a:pt x="150" y="297"/>
                  </a:lnTo>
                  <a:lnTo>
                    <a:pt x="150" y="297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5"/>
                  </a:lnTo>
                  <a:lnTo>
                    <a:pt x="150" y="292"/>
                  </a:lnTo>
                  <a:lnTo>
                    <a:pt x="148" y="292"/>
                  </a:lnTo>
                  <a:lnTo>
                    <a:pt x="148" y="292"/>
                  </a:lnTo>
                  <a:lnTo>
                    <a:pt x="148" y="292"/>
                  </a:lnTo>
                  <a:lnTo>
                    <a:pt x="146" y="292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41" y="292"/>
                  </a:lnTo>
                  <a:lnTo>
                    <a:pt x="141" y="292"/>
                  </a:lnTo>
                  <a:lnTo>
                    <a:pt x="141" y="292"/>
                  </a:lnTo>
                  <a:lnTo>
                    <a:pt x="141" y="292"/>
                  </a:lnTo>
                  <a:lnTo>
                    <a:pt x="141" y="292"/>
                  </a:lnTo>
                  <a:lnTo>
                    <a:pt x="141" y="292"/>
                  </a:lnTo>
                  <a:lnTo>
                    <a:pt x="139" y="290"/>
                  </a:lnTo>
                  <a:lnTo>
                    <a:pt x="139" y="290"/>
                  </a:lnTo>
                  <a:lnTo>
                    <a:pt x="139" y="290"/>
                  </a:lnTo>
                  <a:lnTo>
                    <a:pt x="137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5" y="290"/>
                  </a:lnTo>
                  <a:lnTo>
                    <a:pt x="132" y="290"/>
                  </a:lnTo>
                  <a:lnTo>
                    <a:pt x="132" y="290"/>
                  </a:lnTo>
                  <a:lnTo>
                    <a:pt x="132" y="288"/>
                  </a:lnTo>
                  <a:lnTo>
                    <a:pt x="132" y="288"/>
                  </a:lnTo>
                  <a:lnTo>
                    <a:pt x="130" y="288"/>
                  </a:lnTo>
                  <a:lnTo>
                    <a:pt x="130" y="288"/>
                  </a:lnTo>
                  <a:lnTo>
                    <a:pt x="130" y="286"/>
                  </a:lnTo>
                  <a:lnTo>
                    <a:pt x="130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6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6" y="283"/>
                  </a:lnTo>
                  <a:lnTo>
                    <a:pt x="123" y="283"/>
                  </a:lnTo>
                  <a:lnTo>
                    <a:pt x="123" y="283"/>
                  </a:lnTo>
                  <a:lnTo>
                    <a:pt x="121" y="283"/>
                  </a:lnTo>
                  <a:lnTo>
                    <a:pt x="121" y="283"/>
                  </a:lnTo>
                  <a:lnTo>
                    <a:pt x="121" y="283"/>
                  </a:lnTo>
                  <a:lnTo>
                    <a:pt x="119" y="283"/>
                  </a:lnTo>
                  <a:lnTo>
                    <a:pt x="121" y="281"/>
                  </a:lnTo>
                  <a:lnTo>
                    <a:pt x="121" y="279"/>
                  </a:lnTo>
                  <a:lnTo>
                    <a:pt x="119" y="277"/>
                  </a:lnTo>
                  <a:lnTo>
                    <a:pt x="119" y="277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9" y="274"/>
                  </a:lnTo>
                  <a:lnTo>
                    <a:pt x="117" y="274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4" y="272"/>
                  </a:lnTo>
                  <a:lnTo>
                    <a:pt x="114" y="272"/>
                  </a:lnTo>
                  <a:lnTo>
                    <a:pt x="114" y="272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1"/>
                  </a:lnTo>
                  <a:lnTo>
                    <a:pt x="105" y="259"/>
                  </a:lnTo>
                  <a:lnTo>
                    <a:pt x="105" y="259"/>
                  </a:lnTo>
                  <a:lnTo>
                    <a:pt x="105" y="259"/>
                  </a:lnTo>
                  <a:lnTo>
                    <a:pt x="105" y="259"/>
                  </a:lnTo>
                  <a:lnTo>
                    <a:pt x="103" y="256"/>
                  </a:lnTo>
                  <a:lnTo>
                    <a:pt x="96" y="25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4"/>
                  </a:lnTo>
                  <a:lnTo>
                    <a:pt x="94" y="252"/>
                  </a:lnTo>
                  <a:lnTo>
                    <a:pt x="92" y="252"/>
                  </a:lnTo>
                  <a:lnTo>
                    <a:pt x="94" y="252"/>
                  </a:lnTo>
                  <a:lnTo>
                    <a:pt x="92" y="252"/>
                  </a:lnTo>
                  <a:lnTo>
                    <a:pt x="92" y="252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50"/>
                  </a:lnTo>
                  <a:lnTo>
                    <a:pt x="94" y="247"/>
                  </a:lnTo>
                  <a:lnTo>
                    <a:pt x="94" y="247"/>
                  </a:lnTo>
                  <a:lnTo>
                    <a:pt x="94" y="247"/>
                  </a:lnTo>
                  <a:lnTo>
                    <a:pt x="94" y="247"/>
                  </a:lnTo>
                  <a:lnTo>
                    <a:pt x="94" y="247"/>
                  </a:lnTo>
                  <a:lnTo>
                    <a:pt x="94" y="247"/>
                  </a:lnTo>
                  <a:lnTo>
                    <a:pt x="96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99" y="250"/>
                  </a:lnTo>
                  <a:lnTo>
                    <a:pt x="101" y="250"/>
                  </a:lnTo>
                  <a:lnTo>
                    <a:pt x="101" y="250"/>
                  </a:lnTo>
                  <a:lnTo>
                    <a:pt x="101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3" y="250"/>
                  </a:lnTo>
                  <a:lnTo>
                    <a:pt x="105" y="250"/>
                  </a:lnTo>
                  <a:lnTo>
                    <a:pt x="105" y="250"/>
                  </a:lnTo>
                  <a:lnTo>
                    <a:pt x="105" y="250"/>
                  </a:lnTo>
                  <a:lnTo>
                    <a:pt x="105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0"/>
                  </a:lnTo>
                  <a:lnTo>
                    <a:pt x="108" y="252"/>
                  </a:lnTo>
                  <a:lnTo>
                    <a:pt x="108" y="252"/>
                  </a:lnTo>
                  <a:lnTo>
                    <a:pt x="108" y="252"/>
                  </a:lnTo>
                  <a:lnTo>
                    <a:pt x="108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0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2"/>
                  </a:lnTo>
                  <a:lnTo>
                    <a:pt x="112" y="250"/>
                  </a:lnTo>
                  <a:lnTo>
                    <a:pt x="112" y="250"/>
                  </a:lnTo>
                  <a:lnTo>
                    <a:pt x="112" y="250"/>
                  </a:lnTo>
                  <a:lnTo>
                    <a:pt x="114" y="250"/>
                  </a:lnTo>
                  <a:lnTo>
                    <a:pt x="114" y="250"/>
                  </a:lnTo>
                  <a:lnTo>
                    <a:pt x="114" y="250"/>
                  </a:lnTo>
                  <a:lnTo>
                    <a:pt x="114" y="252"/>
                  </a:lnTo>
                  <a:lnTo>
                    <a:pt x="114" y="252"/>
                  </a:lnTo>
                  <a:lnTo>
                    <a:pt x="117" y="252"/>
                  </a:lnTo>
                  <a:lnTo>
                    <a:pt x="117" y="252"/>
                  </a:lnTo>
                  <a:lnTo>
                    <a:pt x="119" y="252"/>
                  </a:lnTo>
                  <a:lnTo>
                    <a:pt x="119" y="252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7" y="250"/>
                  </a:lnTo>
                  <a:lnTo>
                    <a:pt x="117" y="250"/>
                  </a:lnTo>
                  <a:lnTo>
                    <a:pt x="114" y="250"/>
                  </a:lnTo>
                  <a:lnTo>
                    <a:pt x="114" y="250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50"/>
                  </a:lnTo>
                  <a:lnTo>
                    <a:pt x="112" y="247"/>
                  </a:lnTo>
                  <a:lnTo>
                    <a:pt x="110" y="247"/>
                  </a:lnTo>
                  <a:lnTo>
                    <a:pt x="110" y="245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8" y="245"/>
                  </a:lnTo>
                  <a:lnTo>
                    <a:pt x="105" y="245"/>
                  </a:lnTo>
                  <a:lnTo>
                    <a:pt x="105" y="245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3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3" y="241"/>
                  </a:lnTo>
                  <a:lnTo>
                    <a:pt x="103" y="241"/>
                  </a:lnTo>
                  <a:lnTo>
                    <a:pt x="103" y="241"/>
                  </a:lnTo>
                  <a:lnTo>
                    <a:pt x="103" y="241"/>
                  </a:lnTo>
                  <a:lnTo>
                    <a:pt x="103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41"/>
                  </a:lnTo>
                  <a:lnTo>
                    <a:pt x="105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10" y="241"/>
                  </a:lnTo>
                  <a:lnTo>
                    <a:pt x="110" y="241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8" y="234"/>
                  </a:lnTo>
                  <a:lnTo>
                    <a:pt x="110" y="234"/>
                  </a:lnTo>
                  <a:lnTo>
                    <a:pt x="110" y="232"/>
                  </a:lnTo>
                  <a:lnTo>
                    <a:pt x="110" y="232"/>
                  </a:lnTo>
                  <a:lnTo>
                    <a:pt x="110" y="232"/>
                  </a:lnTo>
                  <a:lnTo>
                    <a:pt x="110" y="232"/>
                  </a:lnTo>
                  <a:lnTo>
                    <a:pt x="110" y="232"/>
                  </a:lnTo>
                  <a:lnTo>
                    <a:pt x="112" y="232"/>
                  </a:lnTo>
                  <a:lnTo>
                    <a:pt x="112" y="232"/>
                  </a:lnTo>
                  <a:lnTo>
                    <a:pt x="112" y="232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114" y="232"/>
                  </a:lnTo>
                  <a:lnTo>
                    <a:pt x="117" y="232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8" y="232"/>
                  </a:lnTo>
                  <a:lnTo>
                    <a:pt x="130" y="232"/>
                  </a:lnTo>
                  <a:lnTo>
                    <a:pt x="130" y="232"/>
                  </a:lnTo>
                  <a:lnTo>
                    <a:pt x="132" y="232"/>
                  </a:lnTo>
                  <a:lnTo>
                    <a:pt x="135" y="232"/>
                  </a:lnTo>
                  <a:lnTo>
                    <a:pt x="137" y="232"/>
                  </a:lnTo>
                  <a:lnTo>
                    <a:pt x="139" y="232"/>
                  </a:lnTo>
                  <a:lnTo>
                    <a:pt x="139" y="234"/>
                  </a:lnTo>
                  <a:lnTo>
                    <a:pt x="141" y="232"/>
                  </a:lnTo>
                  <a:lnTo>
                    <a:pt x="141" y="232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4" y="234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46" y="232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1" y="232"/>
                  </a:lnTo>
                  <a:lnTo>
                    <a:pt x="141" y="232"/>
                  </a:lnTo>
                  <a:lnTo>
                    <a:pt x="141" y="232"/>
                  </a:lnTo>
                  <a:lnTo>
                    <a:pt x="141" y="232"/>
                  </a:lnTo>
                  <a:lnTo>
                    <a:pt x="141" y="232"/>
                  </a:lnTo>
                  <a:lnTo>
                    <a:pt x="141" y="229"/>
                  </a:lnTo>
                  <a:lnTo>
                    <a:pt x="137" y="229"/>
                  </a:lnTo>
                  <a:lnTo>
                    <a:pt x="137" y="229"/>
                  </a:lnTo>
                  <a:lnTo>
                    <a:pt x="137" y="229"/>
                  </a:lnTo>
                  <a:lnTo>
                    <a:pt x="137" y="229"/>
                  </a:lnTo>
                  <a:lnTo>
                    <a:pt x="137" y="229"/>
                  </a:lnTo>
                  <a:lnTo>
                    <a:pt x="137" y="229"/>
                  </a:lnTo>
                  <a:lnTo>
                    <a:pt x="135" y="229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7" y="223"/>
                  </a:lnTo>
                  <a:lnTo>
                    <a:pt x="137" y="223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7" y="218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09"/>
                  </a:lnTo>
                  <a:lnTo>
                    <a:pt x="137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7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2" y="205"/>
                  </a:lnTo>
                  <a:lnTo>
                    <a:pt x="132" y="202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2" y="200"/>
                  </a:lnTo>
                  <a:lnTo>
                    <a:pt x="132" y="198"/>
                  </a:lnTo>
                  <a:lnTo>
                    <a:pt x="132" y="198"/>
                  </a:lnTo>
                  <a:lnTo>
                    <a:pt x="132" y="196"/>
                  </a:lnTo>
                  <a:lnTo>
                    <a:pt x="132" y="196"/>
                  </a:lnTo>
                  <a:lnTo>
                    <a:pt x="132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6" y="196"/>
                  </a:lnTo>
                  <a:lnTo>
                    <a:pt x="126" y="196"/>
                  </a:lnTo>
                  <a:lnTo>
                    <a:pt x="123" y="196"/>
                  </a:lnTo>
                  <a:lnTo>
                    <a:pt x="123" y="194"/>
                  </a:lnTo>
                  <a:lnTo>
                    <a:pt x="121" y="194"/>
                  </a:lnTo>
                  <a:lnTo>
                    <a:pt x="121" y="194"/>
                  </a:lnTo>
                  <a:lnTo>
                    <a:pt x="121" y="194"/>
                  </a:lnTo>
                  <a:lnTo>
                    <a:pt x="119" y="194"/>
                  </a:lnTo>
                  <a:lnTo>
                    <a:pt x="119" y="194"/>
                  </a:lnTo>
                  <a:lnTo>
                    <a:pt x="119" y="194"/>
                  </a:lnTo>
                  <a:lnTo>
                    <a:pt x="119" y="194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14" y="196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7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4" y="198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2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08" y="196"/>
                  </a:lnTo>
                  <a:lnTo>
                    <a:pt x="108" y="196"/>
                  </a:lnTo>
                  <a:lnTo>
                    <a:pt x="108" y="196"/>
                  </a:lnTo>
                  <a:lnTo>
                    <a:pt x="108" y="196"/>
                  </a:lnTo>
                  <a:lnTo>
                    <a:pt x="108" y="196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5" y="194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99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4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7" y="194"/>
                  </a:lnTo>
                  <a:lnTo>
                    <a:pt x="87" y="194"/>
                  </a:lnTo>
                  <a:lnTo>
                    <a:pt x="87" y="194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198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200"/>
                  </a:lnTo>
                  <a:lnTo>
                    <a:pt x="78" y="200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6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2" y="205"/>
                  </a:lnTo>
                  <a:lnTo>
                    <a:pt x="72" y="202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2"/>
                  </a:lnTo>
                  <a:lnTo>
                    <a:pt x="67" y="202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2"/>
                  </a:lnTo>
                  <a:lnTo>
                    <a:pt x="63" y="202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5" y="205"/>
                  </a:lnTo>
                  <a:lnTo>
                    <a:pt x="63" y="205"/>
                  </a:lnTo>
                  <a:lnTo>
                    <a:pt x="63" y="205"/>
                  </a:lnTo>
                  <a:lnTo>
                    <a:pt x="63" y="205"/>
                  </a:lnTo>
                  <a:lnTo>
                    <a:pt x="63" y="205"/>
                  </a:lnTo>
                  <a:lnTo>
                    <a:pt x="65" y="205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5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5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0" y="207"/>
                  </a:lnTo>
                  <a:lnTo>
                    <a:pt x="58" y="207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6" y="205"/>
                  </a:lnTo>
                  <a:lnTo>
                    <a:pt x="54" y="205"/>
                  </a:lnTo>
                  <a:lnTo>
                    <a:pt x="54" y="205"/>
                  </a:lnTo>
                  <a:lnTo>
                    <a:pt x="51" y="205"/>
                  </a:lnTo>
                  <a:lnTo>
                    <a:pt x="51" y="205"/>
                  </a:lnTo>
                  <a:lnTo>
                    <a:pt x="49" y="205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7" y="200"/>
                  </a:lnTo>
                  <a:lnTo>
                    <a:pt x="47" y="200"/>
                  </a:lnTo>
                  <a:lnTo>
                    <a:pt x="49" y="198"/>
                  </a:lnTo>
                  <a:lnTo>
                    <a:pt x="49" y="198"/>
                  </a:lnTo>
                  <a:lnTo>
                    <a:pt x="51" y="200"/>
                  </a:lnTo>
                  <a:lnTo>
                    <a:pt x="51" y="200"/>
                  </a:lnTo>
                  <a:lnTo>
                    <a:pt x="51" y="200"/>
                  </a:lnTo>
                  <a:lnTo>
                    <a:pt x="51" y="200"/>
                  </a:lnTo>
                  <a:lnTo>
                    <a:pt x="54" y="200"/>
                  </a:lnTo>
                  <a:lnTo>
                    <a:pt x="56" y="200"/>
                  </a:lnTo>
                  <a:lnTo>
                    <a:pt x="56" y="200"/>
                  </a:lnTo>
                  <a:lnTo>
                    <a:pt x="56" y="198"/>
                  </a:lnTo>
                  <a:lnTo>
                    <a:pt x="49" y="191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5" y="185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36" y="178"/>
                  </a:lnTo>
                  <a:lnTo>
                    <a:pt x="36" y="176"/>
                  </a:lnTo>
                  <a:lnTo>
                    <a:pt x="34" y="176"/>
                  </a:lnTo>
                  <a:lnTo>
                    <a:pt x="27" y="176"/>
                  </a:lnTo>
                  <a:lnTo>
                    <a:pt x="22" y="173"/>
                  </a:lnTo>
                  <a:lnTo>
                    <a:pt x="22" y="173"/>
                  </a:lnTo>
                  <a:lnTo>
                    <a:pt x="20" y="173"/>
                  </a:lnTo>
                  <a:lnTo>
                    <a:pt x="20" y="176"/>
                  </a:lnTo>
                  <a:lnTo>
                    <a:pt x="22" y="176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18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6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1" y="16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2" y="149"/>
                  </a:lnTo>
                  <a:lnTo>
                    <a:pt x="4" y="149"/>
                  </a:lnTo>
                  <a:lnTo>
                    <a:pt x="4" y="149"/>
                  </a:lnTo>
                  <a:lnTo>
                    <a:pt x="4" y="149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4" y="142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2" y="126"/>
                  </a:lnTo>
                  <a:lnTo>
                    <a:pt x="4" y="126"/>
                  </a:lnTo>
                  <a:lnTo>
                    <a:pt x="7" y="124"/>
                  </a:lnTo>
                  <a:lnTo>
                    <a:pt x="7" y="124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4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9" y="115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9" y="115"/>
                  </a:lnTo>
                  <a:lnTo>
                    <a:pt x="11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4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8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19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3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31" y="110"/>
                  </a:lnTo>
                  <a:lnTo>
                    <a:pt x="34" y="108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40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7"/>
                  </a:lnTo>
                  <a:lnTo>
                    <a:pt x="47" y="97"/>
                  </a:lnTo>
                  <a:lnTo>
                    <a:pt x="49" y="95"/>
                  </a:lnTo>
                  <a:lnTo>
                    <a:pt x="51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58" y="86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5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6" y="88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1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3" y="83"/>
                  </a:lnTo>
                  <a:lnTo>
                    <a:pt x="85" y="86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7" y="83"/>
                  </a:lnTo>
                  <a:lnTo>
                    <a:pt x="87" y="86"/>
                  </a:lnTo>
                  <a:lnTo>
                    <a:pt x="87" y="86"/>
                  </a:lnTo>
                  <a:lnTo>
                    <a:pt x="90" y="88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4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08" y="90"/>
                  </a:lnTo>
                  <a:lnTo>
                    <a:pt x="110" y="90"/>
                  </a:lnTo>
                  <a:lnTo>
                    <a:pt x="110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2" y="95"/>
                  </a:lnTo>
                  <a:lnTo>
                    <a:pt x="114" y="95"/>
                  </a:lnTo>
                  <a:lnTo>
                    <a:pt x="114" y="95"/>
                  </a:lnTo>
                  <a:lnTo>
                    <a:pt x="114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21" y="97"/>
                  </a:lnTo>
                  <a:lnTo>
                    <a:pt x="121" y="97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99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3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0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0" y="106"/>
                  </a:lnTo>
                  <a:lnTo>
                    <a:pt x="130" y="106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10"/>
                  </a:lnTo>
                  <a:lnTo>
                    <a:pt x="132" y="110"/>
                  </a:lnTo>
                  <a:lnTo>
                    <a:pt x="132" y="110"/>
                  </a:lnTo>
                  <a:lnTo>
                    <a:pt x="132" y="110"/>
                  </a:lnTo>
                  <a:lnTo>
                    <a:pt x="132" y="110"/>
                  </a:lnTo>
                  <a:lnTo>
                    <a:pt x="132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7" y="110"/>
                  </a:lnTo>
                  <a:lnTo>
                    <a:pt x="135" y="108"/>
                  </a:lnTo>
                  <a:lnTo>
                    <a:pt x="135" y="108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5" y="106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2" y="101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4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6"/>
                  </a:lnTo>
                  <a:lnTo>
                    <a:pt x="144" y="106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0" y="108"/>
                  </a:lnTo>
                  <a:lnTo>
                    <a:pt x="153" y="110"/>
                  </a:lnTo>
                  <a:lnTo>
                    <a:pt x="153" y="110"/>
                  </a:lnTo>
                  <a:lnTo>
                    <a:pt x="153" y="110"/>
                  </a:lnTo>
                  <a:lnTo>
                    <a:pt x="153" y="110"/>
                  </a:lnTo>
                  <a:lnTo>
                    <a:pt x="153" y="110"/>
                  </a:lnTo>
                  <a:lnTo>
                    <a:pt x="155" y="110"/>
                  </a:lnTo>
                  <a:lnTo>
                    <a:pt x="155" y="113"/>
                  </a:lnTo>
                  <a:lnTo>
                    <a:pt x="155" y="113"/>
                  </a:lnTo>
                  <a:lnTo>
                    <a:pt x="157" y="110"/>
                  </a:lnTo>
                  <a:lnTo>
                    <a:pt x="159" y="108"/>
                  </a:lnTo>
                  <a:lnTo>
                    <a:pt x="162" y="108"/>
                  </a:lnTo>
                  <a:lnTo>
                    <a:pt x="162" y="106"/>
                  </a:lnTo>
                  <a:lnTo>
                    <a:pt x="162" y="104"/>
                  </a:lnTo>
                  <a:lnTo>
                    <a:pt x="162" y="104"/>
                  </a:lnTo>
                  <a:lnTo>
                    <a:pt x="162" y="104"/>
                  </a:lnTo>
                  <a:lnTo>
                    <a:pt x="162" y="104"/>
                  </a:lnTo>
                  <a:lnTo>
                    <a:pt x="164" y="104"/>
                  </a:lnTo>
                  <a:lnTo>
                    <a:pt x="164" y="104"/>
                  </a:lnTo>
                  <a:lnTo>
                    <a:pt x="164" y="104"/>
                  </a:lnTo>
                  <a:lnTo>
                    <a:pt x="164" y="104"/>
                  </a:lnTo>
                  <a:lnTo>
                    <a:pt x="166" y="104"/>
                  </a:lnTo>
                  <a:lnTo>
                    <a:pt x="164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6" y="99"/>
                  </a:lnTo>
                  <a:lnTo>
                    <a:pt x="166" y="99"/>
                  </a:lnTo>
                  <a:lnTo>
                    <a:pt x="166" y="99"/>
                  </a:lnTo>
                  <a:lnTo>
                    <a:pt x="166" y="99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1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3" y="99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7" y="99"/>
                  </a:lnTo>
                  <a:lnTo>
                    <a:pt x="177" y="99"/>
                  </a:lnTo>
                  <a:lnTo>
                    <a:pt x="177" y="99"/>
                  </a:lnTo>
                  <a:lnTo>
                    <a:pt x="180" y="99"/>
                  </a:lnTo>
                  <a:lnTo>
                    <a:pt x="180" y="99"/>
                  </a:lnTo>
                  <a:lnTo>
                    <a:pt x="180" y="99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0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1"/>
                  </a:lnTo>
                  <a:lnTo>
                    <a:pt x="182" y="104"/>
                  </a:lnTo>
                  <a:lnTo>
                    <a:pt x="182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9" y="104"/>
                  </a:lnTo>
                  <a:lnTo>
                    <a:pt x="189" y="104"/>
                  </a:lnTo>
                  <a:lnTo>
                    <a:pt x="191" y="104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91" y="99"/>
                  </a:lnTo>
                  <a:lnTo>
                    <a:pt x="191" y="99"/>
                  </a:lnTo>
                  <a:lnTo>
                    <a:pt x="191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5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9"/>
                  </a:lnTo>
                  <a:lnTo>
                    <a:pt x="198" y="97"/>
                  </a:lnTo>
                  <a:lnTo>
                    <a:pt x="200" y="97"/>
                  </a:lnTo>
                  <a:lnTo>
                    <a:pt x="200" y="97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0" y="99"/>
                  </a:lnTo>
                  <a:lnTo>
                    <a:pt x="202" y="99"/>
                  </a:lnTo>
                  <a:lnTo>
                    <a:pt x="204" y="99"/>
                  </a:lnTo>
                  <a:lnTo>
                    <a:pt x="204" y="99"/>
                  </a:lnTo>
                  <a:lnTo>
                    <a:pt x="204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4" y="101"/>
                  </a:lnTo>
                  <a:lnTo>
                    <a:pt x="204" y="104"/>
                  </a:lnTo>
                  <a:lnTo>
                    <a:pt x="204" y="104"/>
                  </a:lnTo>
                  <a:lnTo>
                    <a:pt x="204" y="104"/>
                  </a:lnTo>
                  <a:lnTo>
                    <a:pt x="204" y="104"/>
                  </a:lnTo>
                  <a:lnTo>
                    <a:pt x="207" y="104"/>
                  </a:lnTo>
                  <a:lnTo>
                    <a:pt x="207" y="104"/>
                  </a:lnTo>
                  <a:lnTo>
                    <a:pt x="207" y="104"/>
                  </a:lnTo>
                  <a:lnTo>
                    <a:pt x="207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8"/>
                  </a:lnTo>
                  <a:lnTo>
                    <a:pt x="218" y="108"/>
                  </a:lnTo>
                  <a:lnTo>
                    <a:pt x="220" y="108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22" y="110"/>
                  </a:lnTo>
                  <a:lnTo>
                    <a:pt x="222" y="110"/>
                  </a:lnTo>
                  <a:lnTo>
                    <a:pt x="224" y="110"/>
                  </a:lnTo>
                  <a:lnTo>
                    <a:pt x="224" y="110"/>
                  </a:lnTo>
                  <a:lnTo>
                    <a:pt x="224" y="110"/>
                  </a:lnTo>
                  <a:lnTo>
                    <a:pt x="227" y="110"/>
                  </a:lnTo>
                  <a:lnTo>
                    <a:pt x="227" y="110"/>
                  </a:lnTo>
                  <a:lnTo>
                    <a:pt x="227" y="113"/>
                  </a:lnTo>
                  <a:lnTo>
                    <a:pt x="224" y="110"/>
                  </a:lnTo>
                  <a:lnTo>
                    <a:pt x="224" y="113"/>
                  </a:lnTo>
                  <a:lnTo>
                    <a:pt x="224" y="113"/>
                  </a:lnTo>
                  <a:lnTo>
                    <a:pt x="224" y="113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3"/>
                  </a:lnTo>
                  <a:lnTo>
                    <a:pt x="229" y="113"/>
                  </a:lnTo>
                  <a:lnTo>
                    <a:pt x="231" y="110"/>
                  </a:lnTo>
                  <a:lnTo>
                    <a:pt x="231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31" y="108"/>
                  </a:lnTo>
                  <a:lnTo>
                    <a:pt x="231" y="108"/>
                  </a:lnTo>
                  <a:lnTo>
                    <a:pt x="231" y="108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31" y="106"/>
                  </a:lnTo>
                  <a:lnTo>
                    <a:pt x="231" y="104"/>
                  </a:lnTo>
                  <a:lnTo>
                    <a:pt x="231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8" y="108"/>
                  </a:lnTo>
                  <a:lnTo>
                    <a:pt x="238" y="108"/>
                  </a:lnTo>
                  <a:lnTo>
                    <a:pt x="247" y="108"/>
                  </a:lnTo>
                  <a:lnTo>
                    <a:pt x="247" y="108"/>
                  </a:lnTo>
                  <a:lnTo>
                    <a:pt x="258" y="106"/>
                  </a:lnTo>
                  <a:lnTo>
                    <a:pt x="258" y="106"/>
                  </a:lnTo>
                  <a:lnTo>
                    <a:pt x="258" y="106"/>
                  </a:lnTo>
                  <a:lnTo>
                    <a:pt x="258" y="104"/>
                  </a:lnTo>
                  <a:lnTo>
                    <a:pt x="258" y="101"/>
                  </a:lnTo>
                  <a:lnTo>
                    <a:pt x="258" y="101"/>
                  </a:lnTo>
                  <a:lnTo>
                    <a:pt x="256" y="97"/>
                  </a:lnTo>
                  <a:lnTo>
                    <a:pt x="256" y="97"/>
                  </a:lnTo>
                  <a:lnTo>
                    <a:pt x="256" y="97"/>
                  </a:lnTo>
                  <a:lnTo>
                    <a:pt x="258" y="95"/>
                  </a:lnTo>
                  <a:lnTo>
                    <a:pt x="258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4" y="92"/>
                  </a:lnTo>
                  <a:lnTo>
                    <a:pt x="254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1" y="90"/>
                  </a:lnTo>
                  <a:lnTo>
                    <a:pt x="251" y="90"/>
                  </a:lnTo>
                  <a:lnTo>
                    <a:pt x="251" y="90"/>
                  </a:lnTo>
                  <a:lnTo>
                    <a:pt x="251" y="90"/>
                  </a:lnTo>
                  <a:lnTo>
                    <a:pt x="251" y="90"/>
                  </a:lnTo>
                  <a:lnTo>
                    <a:pt x="249" y="90"/>
                  </a:lnTo>
                  <a:lnTo>
                    <a:pt x="249" y="90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7" y="90"/>
                  </a:lnTo>
                  <a:lnTo>
                    <a:pt x="247" y="90"/>
                  </a:lnTo>
                  <a:lnTo>
                    <a:pt x="247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2" y="90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42" y="88"/>
                  </a:lnTo>
                  <a:lnTo>
                    <a:pt x="236" y="88"/>
                  </a:lnTo>
                  <a:lnTo>
                    <a:pt x="236" y="88"/>
                  </a:lnTo>
                  <a:lnTo>
                    <a:pt x="233" y="88"/>
                  </a:lnTo>
                  <a:lnTo>
                    <a:pt x="233" y="86"/>
                  </a:lnTo>
                  <a:lnTo>
                    <a:pt x="233" y="86"/>
                  </a:lnTo>
                  <a:lnTo>
                    <a:pt x="233" y="86"/>
                  </a:lnTo>
                  <a:lnTo>
                    <a:pt x="231" y="86"/>
                  </a:lnTo>
                  <a:lnTo>
                    <a:pt x="231" y="86"/>
                  </a:lnTo>
                  <a:lnTo>
                    <a:pt x="231" y="86"/>
                  </a:lnTo>
                  <a:lnTo>
                    <a:pt x="231" y="86"/>
                  </a:lnTo>
                  <a:lnTo>
                    <a:pt x="231" y="86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4" y="81"/>
                  </a:lnTo>
                  <a:lnTo>
                    <a:pt x="222" y="79"/>
                  </a:lnTo>
                  <a:lnTo>
                    <a:pt x="222" y="79"/>
                  </a:lnTo>
                  <a:lnTo>
                    <a:pt x="222" y="79"/>
                  </a:lnTo>
                  <a:lnTo>
                    <a:pt x="222" y="79"/>
                  </a:lnTo>
                  <a:lnTo>
                    <a:pt x="222" y="79"/>
                  </a:lnTo>
                  <a:lnTo>
                    <a:pt x="227" y="79"/>
                  </a:lnTo>
                  <a:lnTo>
                    <a:pt x="229" y="77"/>
                  </a:lnTo>
                  <a:lnTo>
                    <a:pt x="229" y="74"/>
                  </a:lnTo>
                  <a:lnTo>
                    <a:pt x="231" y="74"/>
                  </a:lnTo>
                  <a:lnTo>
                    <a:pt x="231" y="74"/>
                  </a:lnTo>
                  <a:lnTo>
                    <a:pt x="231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3" y="74"/>
                  </a:lnTo>
                  <a:lnTo>
                    <a:pt x="236" y="72"/>
                  </a:lnTo>
                  <a:lnTo>
                    <a:pt x="236" y="72"/>
                  </a:lnTo>
                  <a:lnTo>
                    <a:pt x="236" y="72"/>
                  </a:lnTo>
                  <a:lnTo>
                    <a:pt x="238" y="72"/>
                  </a:lnTo>
                  <a:lnTo>
                    <a:pt x="238" y="72"/>
                  </a:lnTo>
                  <a:lnTo>
                    <a:pt x="238" y="72"/>
                  </a:lnTo>
                  <a:lnTo>
                    <a:pt x="238" y="70"/>
                  </a:lnTo>
                  <a:lnTo>
                    <a:pt x="236" y="70"/>
                  </a:lnTo>
                  <a:lnTo>
                    <a:pt x="236" y="70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6" y="68"/>
                  </a:lnTo>
                  <a:lnTo>
                    <a:pt x="233" y="68"/>
                  </a:lnTo>
                  <a:lnTo>
                    <a:pt x="233" y="65"/>
                  </a:lnTo>
                  <a:lnTo>
                    <a:pt x="233" y="65"/>
                  </a:lnTo>
                  <a:lnTo>
                    <a:pt x="231" y="65"/>
                  </a:lnTo>
                  <a:lnTo>
                    <a:pt x="231" y="65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31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1"/>
                  </a:lnTo>
                  <a:lnTo>
                    <a:pt x="229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59"/>
                  </a:lnTo>
                  <a:lnTo>
                    <a:pt x="231" y="59"/>
                  </a:lnTo>
                  <a:lnTo>
                    <a:pt x="233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6"/>
                  </a:lnTo>
                  <a:lnTo>
                    <a:pt x="236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40" y="54"/>
                  </a:lnTo>
                  <a:lnTo>
                    <a:pt x="240" y="56"/>
                  </a:lnTo>
                  <a:lnTo>
                    <a:pt x="242" y="56"/>
                  </a:lnTo>
                  <a:lnTo>
                    <a:pt x="242" y="56"/>
                  </a:lnTo>
                  <a:lnTo>
                    <a:pt x="245" y="56"/>
                  </a:lnTo>
                  <a:lnTo>
                    <a:pt x="245" y="56"/>
                  </a:lnTo>
                  <a:lnTo>
                    <a:pt x="245" y="56"/>
                  </a:lnTo>
                  <a:lnTo>
                    <a:pt x="245" y="56"/>
                  </a:lnTo>
                  <a:lnTo>
                    <a:pt x="247" y="56"/>
                  </a:lnTo>
                  <a:lnTo>
                    <a:pt x="247" y="56"/>
                  </a:lnTo>
                  <a:lnTo>
                    <a:pt x="249" y="56"/>
                  </a:lnTo>
                  <a:lnTo>
                    <a:pt x="249" y="56"/>
                  </a:lnTo>
                  <a:lnTo>
                    <a:pt x="251" y="56"/>
                  </a:lnTo>
                  <a:lnTo>
                    <a:pt x="251" y="56"/>
                  </a:lnTo>
                  <a:lnTo>
                    <a:pt x="251" y="56"/>
                  </a:lnTo>
                  <a:lnTo>
                    <a:pt x="251" y="56"/>
                  </a:lnTo>
                  <a:lnTo>
                    <a:pt x="251" y="54"/>
                  </a:lnTo>
                  <a:lnTo>
                    <a:pt x="251" y="54"/>
                  </a:lnTo>
                  <a:lnTo>
                    <a:pt x="251" y="54"/>
                  </a:lnTo>
                  <a:lnTo>
                    <a:pt x="249" y="52"/>
                  </a:lnTo>
                  <a:lnTo>
                    <a:pt x="249" y="52"/>
                  </a:lnTo>
                  <a:lnTo>
                    <a:pt x="245" y="52"/>
                  </a:lnTo>
                  <a:lnTo>
                    <a:pt x="245" y="52"/>
                  </a:lnTo>
                  <a:lnTo>
                    <a:pt x="242" y="52"/>
                  </a:lnTo>
                  <a:lnTo>
                    <a:pt x="242" y="50"/>
                  </a:lnTo>
                  <a:lnTo>
                    <a:pt x="240" y="50"/>
                  </a:lnTo>
                  <a:lnTo>
                    <a:pt x="240" y="50"/>
                  </a:lnTo>
                  <a:lnTo>
                    <a:pt x="240" y="50"/>
                  </a:lnTo>
                  <a:lnTo>
                    <a:pt x="238" y="50"/>
                  </a:lnTo>
                  <a:lnTo>
                    <a:pt x="236" y="50"/>
                  </a:lnTo>
                  <a:lnTo>
                    <a:pt x="236" y="50"/>
                  </a:lnTo>
                  <a:lnTo>
                    <a:pt x="233" y="50"/>
                  </a:lnTo>
                  <a:lnTo>
                    <a:pt x="233" y="50"/>
                  </a:lnTo>
                  <a:lnTo>
                    <a:pt x="231" y="50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31" y="47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31" y="45"/>
                  </a:lnTo>
                  <a:lnTo>
                    <a:pt x="231" y="43"/>
                  </a:lnTo>
                  <a:lnTo>
                    <a:pt x="233" y="45"/>
                  </a:lnTo>
                  <a:lnTo>
                    <a:pt x="233" y="45"/>
                  </a:lnTo>
                  <a:lnTo>
                    <a:pt x="233" y="45"/>
                  </a:lnTo>
                  <a:lnTo>
                    <a:pt x="233" y="45"/>
                  </a:lnTo>
                  <a:lnTo>
                    <a:pt x="236" y="45"/>
                  </a:lnTo>
                  <a:lnTo>
                    <a:pt x="236" y="45"/>
                  </a:lnTo>
                  <a:lnTo>
                    <a:pt x="236" y="45"/>
                  </a:lnTo>
                  <a:lnTo>
                    <a:pt x="236" y="45"/>
                  </a:lnTo>
                  <a:lnTo>
                    <a:pt x="238" y="45"/>
                  </a:lnTo>
                  <a:lnTo>
                    <a:pt x="238" y="43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6" y="43"/>
                  </a:lnTo>
                  <a:lnTo>
                    <a:pt x="233" y="43"/>
                  </a:lnTo>
                  <a:lnTo>
                    <a:pt x="233" y="43"/>
                  </a:lnTo>
                  <a:lnTo>
                    <a:pt x="233" y="43"/>
                  </a:lnTo>
                  <a:lnTo>
                    <a:pt x="231" y="43"/>
                  </a:lnTo>
                  <a:lnTo>
                    <a:pt x="229" y="43"/>
                  </a:lnTo>
                  <a:lnTo>
                    <a:pt x="229" y="43"/>
                  </a:lnTo>
                  <a:lnTo>
                    <a:pt x="229" y="43"/>
                  </a:lnTo>
                  <a:lnTo>
                    <a:pt x="229" y="43"/>
                  </a:lnTo>
                  <a:lnTo>
                    <a:pt x="229" y="43"/>
                  </a:lnTo>
                  <a:lnTo>
                    <a:pt x="227" y="41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7" y="41"/>
                  </a:lnTo>
                  <a:lnTo>
                    <a:pt x="227" y="41"/>
                  </a:lnTo>
                  <a:lnTo>
                    <a:pt x="227" y="41"/>
                  </a:lnTo>
                  <a:lnTo>
                    <a:pt x="227" y="41"/>
                  </a:lnTo>
                  <a:lnTo>
                    <a:pt x="227" y="41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9" y="38"/>
                  </a:lnTo>
                  <a:lnTo>
                    <a:pt x="229" y="38"/>
                  </a:lnTo>
                  <a:lnTo>
                    <a:pt x="229" y="38"/>
                  </a:lnTo>
                  <a:lnTo>
                    <a:pt x="229" y="36"/>
                  </a:lnTo>
                  <a:lnTo>
                    <a:pt x="229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4" y="36"/>
                  </a:lnTo>
                  <a:lnTo>
                    <a:pt x="224" y="36"/>
                  </a:lnTo>
                  <a:lnTo>
                    <a:pt x="224" y="36"/>
                  </a:lnTo>
                  <a:lnTo>
                    <a:pt x="224" y="36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4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9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4"/>
                  </a:lnTo>
                  <a:lnTo>
                    <a:pt x="227" y="32"/>
                  </a:lnTo>
                  <a:lnTo>
                    <a:pt x="227" y="32"/>
                  </a:lnTo>
                  <a:lnTo>
                    <a:pt x="229" y="32"/>
                  </a:lnTo>
                  <a:lnTo>
                    <a:pt x="229" y="32"/>
                  </a:lnTo>
                  <a:lnTo>
                    <a:pt x="229" y="32"/>
                  </a:lnTo>
                  <a:lnTo>
                    <a:pt x="229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3" y="34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38" y="34"/>
                  </a:lnTo>
                  <a:lnTo>
                    <a:pt x="240" y="34"/>
                  </a:lnTo>
                  <a:lnTo>
                    <a:pt x="242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40" y="32"/>
                  </a:lnTo>
                  <a:lnTo>
                    <a:pt x="247" y="32"/>
                  </a:lnTo>
                  <a:lnTo>
                    <a:pt x="249" y="32"/>
                  </a:lnTo>
                  <a:lnTo>
                    <a:pt x="249" y="32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49" y="34"/>
                  </a:lnTo>
                  <a:lnTo>
                    <a:pt x="249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51" y="36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4" y="32"/>
                  </a:lnTo>
                  <a:lnTo>
                    <a:pt x="254" y="32"/>
                  </a:lnTo>
                  <a:lnTo>
                    <a:pt x="254" y="32"/>
                  </a:lnTo>
                  <a:lnTo>
                    <a:pt x="256" y="32"/>
                  </a:lnTo>
                  <a:lnTo>
                    <a:pt x="256" y="32"/>
                  </a:lnTo>
                  <a:lnTo>
                    <a:pt x="258" y="32"/>
                  </a:lnTo>
                  <a:lnTo>
                    <a:pt x="258" y="32"/>
                  </a:lnTo>
                  <a:lnTo>
                    <a:pt x="260" y="32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58" y="29"/>
                  </a:lnTo>
                  <a:lnTo>
                    <a:pt x="258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7"/>
                  </a:lnTo>
                  <a:lnTo>
                    <a:pt x="267" y="27"/>
                  </a:lnTo>
                  <a:lnTo>
                    <a:pt x="269" y="27"/>
                  </a:lnTo>
                  <a:lnTo>
                    <a:pt x="269" y="27"/>
                  </a:lnTo>
                  <a:lnTo>
                    <a:pt x="269" y="27"/>
                  </a:lnTo>
                  <a:lnTo>
                    <a:pt x="272" y="27"/>
                  </a:lnTo>
                  <a:lnTo>
                    <a:pt x="272" y="29"/>
                  </a:lnTo>
                  <a:lnTo>
                    <a:pt x="272" y="29"/>
                  </a:lnTo>
                  <a:lnTo>
                    <a:pt x="272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7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4" y="25"/>
                  </a:lnTo>
                  <a:lnTo>
                    <a:pt x="276" y="25"/>
                  </a:lnTo>
                  <a:lnTo>
                    <a:pt x="276" y="25"/>
                  </a:lnTo>
                  <a:lnTo>
                    <a:pt x="276" y="25"/>
                  </a:lnTo>
                  <a:lnTo>
                    <a:pt x="276" y="25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78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1" y="25"/>
                  </a:lnTo>
                  <a:lnTo>
                    <a:pt x="283" y="25"/>
                  </a:lnTo>
                  <a:lnTo>
                    <a:pt x="283" y="25"/>
                  </a:lnTo>
                  <a:lnTo>
                    <a:pt x="283" y="25"/>
                  </a:lnTo>
                  <a:lnTo>
                    <a:pt x="283" y="25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7" y="25"/>
                  </a:lnTo>
                  <a:lnTo>
                    <a:pt x="287" y="25"/>
                  </a:lnTo>
                  <a:lnTo>
                    <a:pt x="290" y="23"/>
                  </a:lnTo>
                  <a:lnTo>
                    <a:pt x="290" y="25"/>
                  </a:lnTo>
                  <a:lnTo>
                    <a:pt x="292" y="25"/>
                  </a:lnTo>
                  <a:lnTo>
                    <a:pt x="292" y="25"/>
                  </a:lnTo>
                  <a:lnTo>
                    <a:pt x="292" y="25"/>
                  </a:lnTo>
                  <a:lnTo>
                    <a:pt x="292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5"/>
                  </a:lnTo>
                  <a:lnTo>
                    <a:pt x="294" y="23"/>
                  </a:lnTo>
                  <a:lnTo>
                    <a:pt x="294" y="23"/>
                  </a:lnTo>
                  <a:lnTo>
                    <a:pt x="292" y="23"/>
                  </a:lnTo>
                  <a:lnTo>
                    <a:pt x="292" y="23"/>
                  </a:lnTo>
                  <a:lnTo>
                    <a:pt x="292" y="20"/>
                  </a:lnTo>
                  <a:lnTo>
                    <a:pt x="292" y="20"/>
                  </a:lnTo>
                  <a:lnTo>
                    <a:pt x="294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18"/>
                  </a:lnTo>
                  <a:lnTo>
                    <a:pt x="296" y="18"/>
                  </a:lnTo>
                  <a:lnTo>
                    <a:pt x="296" y="18"/>
                  </a:lnTo>
                  <a:lnTo>
                    <a:pt x="299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1" y="18"/>
                  </a:lnTo>
                  <a:lnTo>
                    <a:pt x="303" y="18"/>
                  </a:lnTo>
                  <a:lnTo>
                    <a:pt x="303" y="18"/>
                  </a:lnTo>
                  <a:lnTo>
                    <a:pt x="303" y="16"/>
                  </a:lnTo>
                  <a:lnTo>
                    <a:pt x="305" y="18"/>
                  </a:lnTo>
                  <a:lnTo>
                    <a:pt x="305" y="18"/>
                  </a:lnTo>
                  <a:lnTo>
                    <a:pt x="305" y="18"/>
                  </a:lnTo>
                  <a:lnTo>
                    <a:pt x="312" y="16"/>
                  </a:lnTo>
                  <a:lnTo>
                    <a:pt x="314" y="16"/>
                  </a:lnTo>
                  <a:lnTo>
                    <a:pt x="317" y="16"/>
                  </a:lnTo>
                  <a:lnTo>
                    <a:pt x="317" y="16"/>
                  </a:lnTo>
                  <a:lnTo>
                    <a:pt x="317" y="16"/>
                  </a:lnTo>
                  <a:lnTo>
                    <a:pt x="319" y="16"/>
                  </a:lnTo>
                  <a:lnTo>
                    <a:pt x="319" y="16"/>
                  </a:lnTo>
                  <a:lnTo>
                    <a:pt x="321" y="16"/>
                  </a:lnTo>
                  <a:lnTo>
                    <a:pt x="321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6" y="16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6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32" y="14"/>
                  </a:lnTo>
                  <a:lnTo>
                    <a:pt x="332" y="14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7" y="11"/>
                  </a:lnTo>
                  <a:lnTo>
                    <a:pt x="339" y="11"/>
                  </a:lnTo>
                  <a:lnTo>
                    <a:pt x="341" y="11"/>
                  </a:lnTo>
                  <a:lnTo>
                    <a:pt x="341" y="11"/>
                  </a:lnTo>
                  <a:lnTo>
                    <a:pt x="341" y="11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9"/>
                  </a:lnTo>
                  <a:lnTo>
                    <a:pt x="341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7"/>
                  </a:lnTo>
                  <a:lnTo>
                    <a:pt x="339" y="5"/>
                  </a:lnTo>
                  <a:lnTo>
                    <a:pt x="339" y="7"/>
                  </a:lnTo>
                  <a:lnTo>
                    <a:pt x="341" y="7"/>
                  </a:lnTo>
                  <a:lnTo>
                    <a:pt x="341" y="7"/>
                  </a:lnTo>
                  <a:lnTo>
                    <a:pt x="341" y="7"/>
                  </a:lnTo>
                  <a:lnTo>
                    <a:pt x="341" y="5"/>
                  </a:lnTo>
                  <a:lnTo>
                    <a:pt x="341" y="5"/>
                  </a:lnTo>
                  <a:lnTo>
                    <a:pt x="344" y="7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2"/>
                  </a:lnTo>
                  <a:lnTo>
                    <a:pt x="346" y="2"/>
                  </a:lnTo>
                  <a:lnTo>
                    <a:pt x="346" y="2"/>
                  </a:lnTo>
                  <a:lnTo>
                    <a:pt x="346" y="2"/>
                  </a:lnTo>
                  <a:lnTo>
                    <a:pt x="346" y="2"/>
                  </a:lnTo>
                  <a:lnTo>
                    <a:pt x="348" y="2"/>
                  </a:lnTo>
                  <a:lnTo>
                    <a:pt x="348" y="2"/>
                  </a:lnTo>
                  <a:lnTo>
                    <a:pt x="348" y="2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50" y="5"/>
                  </a:lnTo>
                  <a:lnTo>
                    <a:pt x="353" y="5"/>
                  </a:lnTo>
                  <a:lnTo>
                    <a:pt x="353" y="5"/>
                  </a:lnTo>
                  <a:lnTo>
                    <a:pt x="350" y="2"/>
                  </a:lnTo>
                  <a:lnTo>
                    <a:pt x="350" y="2"/>
                  </a:lnTo>
                  <a:lnTo>
                    <a:pt x="350" y="2"/>
                  </a:lnTo>
                  <a:lnTo>
                    <a:pt x="350" y="2"/>
                  </a:lnTo>
                  <a:lnTo>
                    <a:pt x="350" y="2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50" y="0"/>
                  </a:lnTo>
                  <a:lnTo>
                    <a:pt x="353" y="0"/>
                  </a:lnTo>
                  <a:lnTo>
                    <a:pt x="353" y="2"/>
                  </a:lnTo>
                  <a:lnTo>
                    <a:pt x="355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2" name="Freeform 569"/>
            <p:cNvSpPr>
              <a:spLocks/>
            </p:cNvSpPr>
            <p:nvPr/>
          </p:nvSpPr>
          <p:spPr bwMode="auto">
            <a:xfrm>
              <a:off x="6822592" y="2638640"/>
              <a:ext cx="135386" cy="165471"/>
            </a:xfrm>
            <a:custGeom>
              <a:avLst/>
              <a:gdLst>
                <a:gd name="T0" fmla="*/ 81 w 81"/>
                <a:gd name="T1" fmla="*/ 27 h 99"/>
                <a:gd name="T2" fmla="*/ 77 w 81"/>
                <a:gd name="T3" fmla="*/ 34 h 99"/>
                <a:gd name="T4" fmla="*/ 65 w 81"/>
                <a:gd name="T5" fmla="*/ 36 h 99"/>
                <a:gd name="T6" fmla="*/ 36 w 81"/>
                <a:gd name="T7" fmla="*/ 45 h 99"/>
                <a:gd name="T8" fmla="*/ 50 w 81"/>
                <a:gd name="T9" fmla="*/ 56 h 99"/>
                <a:gd name="T10" fmla="*/ 59 w 81"/>
                <a:gd name="T11" fmla="*/ 68 h 99"/>
                <a:gd name="T12" fmla="*/ 59 w 81"/>
                <a:gd name="T13" fmla="*/ 70 h 99"/>
                <a:gd name="T14" fmla="*/ 52 w 81"/>
                <a:gd name="T15" fmla="*/ 76 h 99"/>
                <a:gd name="T16" fmla="*/ 43 w 81"/>
                <a:gd name="T17" fmla="*/ 83 h 99"/>
                <a:gd name="T18" fmla="*/ 34 w 81"/>
                <a:gd name="T19" fmla="*/ 85 h 99"/>
                <a:gd name="T20" fmla="*/ 27 w 81"/>
                <a:gd name="T21" fmla="*/ 97 h 99"/>
                <a:gd name="T22" fmla="*/ 16 w 81"/>
                <a:gd name="T23" fmla="*/ 99 h 99"/>
                <a:gd name="T24" fmla="*/ 3 w 81"/>
                <a:gd name="T25" fmla="*/ 97 h 99"/>
                <a:gd name="T26" fmla="*/ 0 w 81"/>
                <a:gd name="T27" fmla="*/ 92 h 99"/>
                <a:gd name="T28" fmla="*/ 0 w 81"/>
                <a:gd name="T29" fmla="*/ 90 h 99"/>
                <a:gd name="T30" fmla="*/ 3 w 81"/>
                <a:gd name="T31" fmla="*/ 83 h 99"/>
                <a:gd name="T32" fmla="*/ 3 w 81"/>
                <a:gd name="T33" fmla="*/ 81 h 99"/>
                <a:gd name="T34" fmla="*/ 3 w 81"/>
                <a:gd name="T35" fmla="*/ 74 h 99"/>
                <a:gd name="T36" fmla="*/ 3 w 81"/>
                <a:gd name="T37" fmla="*/ 72 h 99"/>
                <a:gd name="T38" fmla="*/ 3 w 81"/>
                <a:gd name="T39" fmla="*/ 70 h 99"/>
                <a:gd name="T40" fmla="*/ 5 w 81"/>
                <a:gd name="T41" fmla="*/ 61 h 99"/>
                <a:gd name="T42" fmla="*/ 5 w 81"/>
                <a:gd name="T43" fmla="*/ 59 h 99"/>
                <a:gd name="T44" fmla="*/ 7 w 81"/>
                <a:gd name="T45" fmla="*/ 54 h 99"/>
                <a:gd name="T46" fmla="*/ 7 w 81"/>
                <a:gd name="T47" fmla="*/ 52 h 99"/>
                <a:gd name="T48" fmla="*/ 7 w 81"/>
                <a:gd name="T49" fmla="*/ 47 h 99"/>
                <a:gd name="T50" fmla="*/ 7 w 81"/>
                <a:gd name="T51" fmla="*/ 45 h 99"/>
                <a:gd name="T52" fmla="*/ 7 w 81"/>
                <a:gd name="T53" fmla="*/ 38 h 99"/>
                <a:gd name="T54" fmla="*/ 7 w 81"/>
                <a:gd name="T55" fmla="*/ 34 h 99"/>
                <a:gd name="T56" fmla="*/ 7 w 81"/>
                <a:gd name="T57" fmla="*/ 34 h 99"/>
                <a:gd name="T58" fmla="*/ 7 w 81"/>
                <a:gd name="T59" fmla="*/ 29 h 99"/>
                <a:gd name="T60" fmla="*/ 7 w 81"/>
                <a:gd name="T61" fmla="*/ 29 h 99"/>
                <a:gd name="T62" fmla="*/ 7 w 81"/>
                <a:gd name="T63" fmla="*/ 27 h 99"/>
                <a:gd name="T64" fmla="*/ 7 w 81"/>
                <a:gd name="T65" fmla="*/ 25 h 99"/>
                <a:gd name="T66" fmla="*/ 7 w 81"/>
                <a:gd name="T67" fmla="*/ 25 h 99"/>
                <a:gd name="T68" fmla="*/ 7 w 81"/>
                <a:gd name="T69" fmla="*/ 23 h 99"/>
                <a:gd name="T70" fmla="*/ 7 w 81"/>
                <a:gd name="T71" fmla="*/ 23 h 99"/>
                <a:gd name="T72" fmla="*/ 7 w 81"/>
                <a:gd name="T73" fmla="*/ 23 h 99"/>
                <a:gd name="T74" fmla="*/ 7 w 81"/>
                <a:gd name="T75" fmla="*/ 23 h 99"/>
                <a:gd name="T76" fmla="*/ 7 w 81"/>
                <a:gd name="T77" fmla="*/ 20 h 99"/>
                <a:gd name="T78" fmla="*/ 7 w 81"/>
                <a:gd name="T79" fmla="*/ 20 h 99"/>
                <a:gd name="T80" fmla="*/ 7 w 81"/>
                <a:gd name="T81" fmla="*/ 20 h 99"/>
                <a:gd name="T82" fmla="*/ 7 w 81"/>
                <a:gd name="T83" fmla="*/ 18 h 99"/>
                <a:gd name="T84" fmla="*/ 7 w 81"/>
                <a:gd name="T85" fmla="*/ 18 h 99"/>
                <a:gd name="T86" fmla="*/ 7 w 81"/>
                <a:gd name="T87" fmla="*/ 16 h 99"/>
                <a:gd name="T88" fmla="*/ 9 w 81"/>
                <a:gd name="T89" fmla="*/ 16 h 99"/>
                <a:gd name="T90" fmla="*/ 9 w 81"/>
                <a:gd name="T91" fmla="*/ 16 h 99"/>
                <a:gd name="T92" fmla="*/ 14 w 81"/>
                <a:gd name="T93" fmla="*/ 16 h 99"/>
                <a:gd name="T94" fmla="*/ 14 w 81"/>
                <a:gd name="T95" fmla="*/ 18 h 99"/>
                <a:gd name="T96" fmla="*/ 14 w 81"/>
                <a:gd name="T97" fmla="*/ 18 h 99"/>
                <a:gd name="T98" fmla="*/ 16 w 81"/>
                <a:gd name="T99" fmla="*/ 20 h 99"/>
                <a:gd name="T100" fmla="*/ 18 w 81"/>
                <a:gd name="T101" fmla="*/ 20 h 99"/>
                <a:gd name="T102" fmla="*/ 23 w 81"/>
                <a:gd name="T103" fmla="*/ 25 h 99"/>
                <a:gd name="T104" fmla="*/ 29 w 81"/>
                <a:gd name="T105" fmla="*/ 25 h 99"/>
                <a:gd name="T106" fmla="*/ 34 w 81"/>
                <a:gd name="T107" fmla="*/ 23 h 99"/>
                <a:gd name="T108" fmla="*/ 43 w 81"/>
                <a:gd name="T109" fmla="*/ 18 h 99"/>
                <a:gd name="T110" fmla="*/ 59 w 81"/>
                <a:gd name="T111" fmla="*/ 7 h 99"/>
                <a:gd name="T112" fmla="*/ 72 w 81"/>
                <a:gd name="T113" fmla="*/ 14 h 99"/>
                <a:gd name="T114" fmla="*/ 74 w 81"/>
                <a:gd name="T115" fmla="*/ 2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1" h="99">
                  <a:moveTo>
                    <a:pt x="77" y="25"/>
                  </a:moveTo>
                  <a:lnTo>
                    <a:pt x="77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4" y="34"/>
                  </a:lnTo>
                  <a:lnTo>
                    <a:pt x="70" y="36"/>
                  </a:lnTo>
                  <a:lnTo>
                    <a:pt x="65" y="36"/>
                  </a:lnTo>
                  <a:lnTo>
                    <a:pt x="61" y="38"/>
                  </a:lnTo>
                  <a:lnTo>
                    <a:pt x="56" y="38"/>
                  </a:lnTo>
                  <a:lnTo>
                    <a:pt x="52" y="41"/>
                  </a:lnTo>
                  <a:lnTo>
                    <a:pt x="47" y="43"/>
                  </a:lnTo>
                  <a:lnTo>
                    <a:pt x="41" y="43"/>
                  </a:lnTo>
                  <a:lnTo>
                    <a:pt x="36" y="45"/>
                  </a:lnTo>
                  <a:lnTo>
                    <a:pt x="41" y="47"/>
                  </a:lnTo>
                  <a:lnTo>
                    <a:pt x="43" y="52"/>
                  </a:lnTo>
                  <a:lnTo>
                    <a:pt x="45" y="54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2" y="59"/>
                  </a:lnTo>
                  <a:lnTo>
                    <a:pt x="54" y="63"/>
                  </a:lnTo>
                  <a:lnTo>
                    <a:pt x="56" y="65"/>
                  </a:lnTo>
                  <a:lnTo>
                    <a:pt x="59" y="68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4"/>
                  </a:lnTo>
                  <a:lnTo>
                    <a:pt x="52" y="74"/>
                  </a:lnTo>
                  <a:lnTo>
                    <a:pt x="52" y="76"/>
                  </a:lnTo>
                  <a:lnTo>
                    <a:pt x="52" y="79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47" y="81"/>
                  </a:lnTo>
                  <a:lnTo>
                    <a:pt x="45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8"/>
                  </a:lnTo>
                  <a:lnTo>
                    <a:pt x="34" y="90"/>
                  </a:lnTo>
                  <a:lnTo>
                    <a:pt x="32" y="92"/>
                  </a:lnTo>
                  <a:lnTo>
                    <a:pt x="29" y="94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3" y="99"/>
                  </a:lnTo>
                  <a:lnTo>
                    <a:pt x="21" y="99"/>
                  </a:lnTo>
                  <a:lnTo>
                    <a:pt x="18" y="99"/>
                  </a:lnTo>
                  <a:lnTo>
                    <a:pt x="16" y="99"/>
                  </a:lnTo>
                  <a:lnTo>
                    <a:pt x="12" y="99"/>
                  </a:lnTo>
                  <a:lnTo>
                    <a:pt x="9" y="97"/>
                  </a:lnTo>
                  <a:lnTo>
                    <a:pt x="7" y="97"/>
                  </a:lnTo>
                  <a:lnTo>
                    <a:pt x="5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3" y="85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5" y="79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3" y="70"/>
                  </a:lnTo>
                  <a:lnTo>
                    <a:pt x="3" y="70"/>
                  </a:lnTo>
                  <a:lnTo>
                    <a:pt x="5" y="65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3"/>
                  </a:lnTo>
                  <a:lnTo>
                    <a:pt x="7" y="41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1" y="20"/>
                  </a:lnTo>
                  <a:lnTo>
                    <a:pt x="21" y="23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4" y="23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41" y="20"/>
                  </a:lnTo>
                  <a:lnTo>
                    <a:pt x="43" y="18"/>
                  </a:lnTo>
                  <a:lnTo>
                    <a:pt x="45" y="16"/>
                  </a:lnTo>
                  <a:lnTo>
                    <a:pt x="50" y="14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9" y="7"/>
                  </a:lnTo>
                  <a:lnTo>
                    <a:pt x="63" y="2"/>
                  </a:lnTo>
                  <a:lnTo>
                    <a:pt x="68" y="0"/>
                  </a:lnTo>
                  <a:lnTo>
                    <a:pt x="70" y="5"/>
                  </a:lnTo>
                  <a:lnTo>
                    <a:pt x="70" y="7"/>
                  </a:lnTo>
                  <a:lnTo>
                    <a:pt x="72" y="9"/>
                  </a:lnTo>
                  <a:lnTo>
                    <a:pt x="72" y="14"/>
                  </a:lnTo>
                  <a:lnTo>
                    <a:pt x="74" y="16"/>
                  </a:lnTo>
                  <a:lnTo>
                    <a:pt x="77" y="20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7" y="25"/>
                  </a:lnTo>
                  <a:lnTo>
                    <a:pt x="77" y="2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3" name="Freeform 570"/>
            <p:cNvSpPr>
              <a:spLocks noEditPoints="1"/>
            </p:cNvSpPr>
            <p:nvPr/>
          </p:nvSpPr>
          <p:spPr bwMode="auto">
            <a:xfrm>
              <a:off x="9876286" y="2157270"/>
              <a:ext cx="419528" cy="845741"/>
            </a:xfrm>
            <a:custGeom>
              <a:avLst/>
              <a:gdLst>
                <a:gd name="T0" fmla="*/ 33 w 251"/>
                <a:gd name="T1" fmla="*/ 495 h 506"/>
                <a:gd name="T2" fmla="*/ 78 w 251"/>
                <a:gd name="T3" fmla="*/ 450 h 506"/>
                <a:gd name="T4" fmla="*/ 76 w 251"/>
                <a:gd name="T5" fmla="*/ 448 h 506"/>
                <a:gd name="T6" fmla="*/ 85 w 251"/>
                <a:gd name="T7" fmla="*/ 418 h 506"/>
                <a:gd name="T8" fmla="*/ 92 w 251"/>
                <a:gd name="T9" fmla="*/ 412 h 506"/>
                <a:gd name="T10" fmla="*/ 92 w 251"/>
                <a:gd name="T11" fmla="*/ 358 h 506"/>
                <a:gd name="T12" fmla="*/ 74 w 251"/>
                <a:gd name="T13" fmla="*/ 324 h 506"/>
                <a:gd name="T14" fmla="*/ 76 w 251"/>
                <a:gd name="T15" fmla="*/ 308 h 506"/>
                <a:gd name="T16" fmla="*/ 117 w 251"/>
                <a:gd name="T17" fmla="*/ 304 h 506"/>
                <a:gd name="T18" fmla="*/ 42 w 251"/>
                <a:gd name="T19" fmla="*/ 302 h 506"/>
                <a:gd name="T20" fmla="*/ 47 w 251"/>
                <a:gd name="T21" fmla="*/ 302 h 506"/>
                <a:gd name="T22" fmla="*/ 49 w 251"/>
                <a:gd name="T23" fmla="*/ 286 h 506"/>
                <a:gd name="T24" fmla="*/ 101 w 251"/>
                <a:gd name="T25" fmla="*/ 277 h 506"/>
                <a:gd name="T26" fmla="*/ 99 w 251"/>
                <a:gd name="T27" fmla="*/ 293 h 506"/>
                <a:gd name="T28" fmla="*/ 101 w 251"/>
                <a:gd name="T29" fmla="*/ 308 h 506"/>
                <a:gd name="T30" fmla="*/ 101 w 251"/>
                <a:gd name="T31" fmla="*/ 338 h 506"/>
                <a:gd name="T32" fmla="*/ 90 w 251"/>
                <a:gd name="T33" fmla="*/ 340 h 506"/>
                <a:gd name="T34" fmla="*/ 78 w 251"/>
                <a:gd name="T35" fmla="*/ 308 h 506"/>
                <a:gd name="T36" fmla="*/ 72 w 251"/>
                <a:gd name="T37" fmla="*/ 306 h 506"/>
                <a:gd name="T38" fmla="*/ 60 w 251"/>
                <a:gd name="T39" fmla="*/ 299 h 506"/>
                <a:gd name="T40" fmla="*/ 58 w 251"/>
                <a:gd name="T41" fmla="*/ 290 h 506"/>
                <a:gd name="T42" fmla="*/ 65 w 251"/>
                <a:gd name="T43" fmla="*/ 281 h 506"/>
                <a:gd name="T44" fmla="*/ 103 w 251"/>
                <a:gd name="T45" fmla="*/ 270 h 506"/>
                <a:gd name="T46" fmla="*/ 38 w 251"/>
                <a:gd name="T47" fmla="*/ 266 h 506"/>
                <a:gd name="T48" fmla="*/ 148 w 251"/>
                <a:gd name="T49" fmla="*/ 277 h 506"/>
                <a:gd name="T50" fmla="*/ 126 w 251"/>
                <a:gd name="T51" fmla="*/ 297 h 506"/>
                <a:gd name="T52" fmla="*/ 112 w 251"/>
                <a:gd name="T53" fmla="*/ 293 h 506"/>
                <a:gd name="T54" fmla="*/ 112 w 251"/>
                <a:gd name="T55" fmla="*/ 272 h 506"/>
                <a:gd name="T56" fmla="*/ 123 w 251"/>
                <a:gd name="T57" fmla="*/ 263 h 506"/>
                <a:gd name="T58" fmla="*/ 38 w 251"/>
                <a:gd name="T59" fmla="*/ 259 h 506"/>
                <a:gd name="T60" fmla="*/ 94 w 251"/>
                <a:gd name="T61" fmla="*/ 223 h 506"/>
                <a:gd name="T62" fmla="*/ 157 w 251"/>
                <a:gd name="T63" fmla="*/ 198 h 506"/>
                <a:gd name="T64" fmla="*/ 206 w 251"/>
                <a:gd name="T65" fmla="*/ 119 h 506"/>
                <a:gd name="T66" fmla="*/ 227 w 251"/>
                <a:gd name="T67" fmla="*/ 146 h 506"/>
                <a:gd name="T68" fmla="*/ 227 w 251"/>
                <a:gd name="T69" fmla="*/ 162 h 506"/>
                <a:gd name="T70" fmla="*/ 222 w 251"/>
                <a:gd name="T71" fmla="*/ 171 h 506"/>
                <a:gd name="T72" fmla="*/ 247 w 251"/>
                <a:gd name="T73" fmla="*/ 248 h 506"/>
                <a:gd name="T74" fmla="*/ 231 w 251"/>
                <a:gd name="T75" fmla="*/ 234 h 506"/>
                <a:gd name="T76" fmla="*/ 224 w 251"/>
                <a:gd name="T77" fmla="*/ 254 h 506"/>
                <a:gd name="T78" fmla="*/ 211 w 251"/>
                <a:gd name="T79" fmla="*/ 259 h 506"/>
                <a:gd name="T80" fmla="*/ 180 w 251"/>
                <a:gd name="T81" fmla="*/ 250 h 506"/>
                <a:gd name="T82" fmla="*/ 186 w 251"/>
                <a:gd name="T83" fmla="*/ 266 h 506"/>
                <a:gd name="T84" fmla="*/ 175 w 251"/>
                <a:gd name="T85" fmla="*/ 286 h 506"/>
                <a:gd name="T86" fmla="*/ 157 w 251"/>
                <a:gd name="T87" fmla="*/ 259 h 506"/>
                <a:gd name="T88" fmla="*/ 128 w 251"/>
                <a:gd name="T89" fmla="*/ 259 h 506"/>
                <a:gd name="T90" fmla="*/ 112 w 251"/>
                <a:gd name="T91" fmla="*/ 266 h 506"/>
                <a:gd name="T92" fmla="*/ 96 w 251"/>
                <a:gd name="T93" fmla="*/ 277 h 506"/>
                <a:gd name="T94" fmla="*/ 76 w 251"/>
                <a:gd name="T95" fmla="*/ 275 h 506"/>
                <a:gd name="T96" fmla="*/ 74 w 251"/>
                <a:gd name="T97" fmla="*/ 263 h 506"/>
                <a:gd name="T98" fmla="*/ 96 w 251"/>
                <a:gd name="T99" fmla="*/ 236 h 506"/>
                <a:gd name="T100" fmla="*/ 139 w 251"/>
                <a:gd name="T101" fmla="*/ 236 h 506"/>
                <a:gd name="T102" fmla="*/ 153 w 251"/>
                <a:gd name="T103" fmla="*/ 234 h 506"/>
                <a:gd name="T104" fmla="*/ 159 w 251"/>
                <a:gd name="T105" fmla="*/ 189 h 506"/>
                <a:gd name="T106" fmla="*/ 191 w 251"/>
                <a:gd name="T107" fmla="*/ 169 h 506"/>
                <a:gd name="T108" fmla="*/ 171 w 251"/>
                <a:gd name="T109" fmla="*/ 106 h 506"/>
                <a:gd name="T110" fmla="*/ 175 w 251"/>
                <a:gd name="T111" fmla="*/ 99 h 506"/>
                <a:gd name="T112" fmla="*/ 123 w 251"/>
                <a:gd name="T113" fmla="*/ 7 h 506"/>
                <a:gd name="T114" fmla="*/ 200 w 251"/>
                <a:gd name="T115" fmla="*/ 34 h 506"/>
                <a:gd name="T116" fmla="*/ 240 w 251"/>
                <a:gd name="T117" fmla="*/ 52 h 506"/>
                <a:gd name="T118" fmla="*/ 220 w 251"/>
                <a:gd name="T119" fmla="*/ 61 h 506"/>
                <a:gd name="T120" fmla="*/ 164 w 251"/>
                <a:gd name="T121" fmla="*/ 81 h 506"/>
                <a:gd name="T122" fmla="*/ 146 w 251"/>
                <a:gd name="T123" fmla="*/ 79 h 506"/>
                <a:gd name="T124" fmla="*/ 157 w 251"/>
                <a:gd name="T125" fmla="*/ 5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506">
                  <a:moveTo>
                    <a:pt x="2" y="502"/>
                  </a:moveTo>
                  <a:lnTo>
                    <a:pt x="2" y="502"/>
                  </a:lnTo>
                  <a:lnTo>
                    <a:pt x="4" y="502"/>
                  </a:lnTo>
                  <a:lnTo>
                    <a:pt x="4" y="502"/>
                  </a:lnTo>
                  <a:lnTo>
                    <a:pt x="4" y="502"/>
                  </a:lnTo>
                  <a:lnTo>
                    <a:pt x="4" y="502"/>
                  </a:lnTo>
                  <a:lnTo>
                    <a:pt x="7" y="504"/>
                  </a:lnTo>
                  <a:lnTo>
                    <a:pt x="4" y="504"/>
                  </a:lnTo>
                  <a:lnTo>
                    <a:pt x="4" y="506"/>
                  </a:lnTo>
                  <a:lnTo>
                    <a:pt x="4" y="506"/>
                  </a:lnTo>
                  <a:lnTo>
                    <a:pt x="2" y="504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" y="504"/>
                  </a:lnTo>
                  <a:lnTo>
                    <a:pt x="2" y="504"/>
                  </a:lnTo>
                  <a:lnTo>
                    <a:pt x="2" y="504"/>
                  </a:lnTo>
                  <a:lnTo>
                    <a:pt x="2" y="504"/>
                  </a:lnTo>
                  <a:lnTo>
                    <a:pt x="2" y="504"/>
                  </a:lnTo>
                  <a:lnTo>
                    <a:pt x="2" y="504"/>
                  </a:lnTo>
                  <a:lnTo>
                    <a:pt x="2" y="502"/>
                  </a:lnTo>
                  <a:lnTo>
                    <a:pt x="2" y="502"/>
                  </a:lnTo>
                  <a:lnTo>
                    <a:pt x="2" y="502"/>
                  </a:lnTo>
                  <a:lnTo>
                    <a:pt x="2" y="502"/>
                  </a:lnTo>
                  <a:lnTo>
                    <a:pt x="2" y="502"/>
                  </a:lnTo>
                  <a:lnTo>
                    <a:pt x="2" y="502"/>
                  </a:lnTo>
                  <a:close/>
                  <a:moveTo>
                    <a:pt x="11" y="502"/>
                  </a:moveTo>
                  <a:lnTo>
                    <a:pt x="11" y="502"/>
                  </a:lnTo>
                  <a:lnTo>
                    <a:pt x="11" y="504"/>
                  </a:lnTo>
                  <a:lnTo>
                    <a:pt x="11" y="504"/>
                  </a:lnTo>
                  <a:lnTo>
                    <a:pt x="11" y="504"/>
                  </a:lnTo>
                  <a:lnTo>
                    <a:pt x="9" y="504"/>
                  </a:lnTo>
                  <a:lnTo>
                    <a:pt x="9" y="504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499"/>
                  </a:lnTo>
                  <a:lnTo>
                    <a:pt x="9" y="499"/>
                  </a:lnTo>
                  <a:lnTo>
                    <a:pt x="9" y="499"/>
                  </a:lnTo>
                  <a:lnTo>
                    <a:pt x="9" y="499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9" y="502"/>
                  </a:lnTo>
                  <a:lnTo>
                    <a:pt x="11" y="502"/>
                  </a:lnTo>
                  <a:lnTo>
                    <a:pt x="11" y="502"/>
                  </a:lnTo>
                  <a:lnTo>
                    <a:pt x="11" y="502"/>
                  </a:lnTo>
                  <a:lnTo>
                    <a:pt x="11" y="499"/>
                  </a:lnTo>
                  <a:lnTo>
                    <a:pt x="11" y="499"/>
                  </a:lnTo>
                  <a:lnTo>
                    <a:pt x="11" y="499"/>
                  </a:lnTo>
                  <a:lnTo>
                    <a:pt x="11" y="499"/>
                  </a:lnTo>
                  <a:lnTo>
                    <a:pt x="11" y="499"/>
                  </a:lnTo>
                  <a:lnTo>
                    <a:pt x="11" y="497"/>
                  </a:lnTo>
                  <a:lnTo>
                    <a:pt x="11" y="497"/>
                  </a:lnTo>
                  <a:lnTo>
                    <a:pt x="13" y="497"/>
                  </a:lnTo>
                  <a:lnTo>
                    <a:pt x="13" y="497"/>
                  </a:lnTo>
                  <a:lnTo>
                    <a:pt x="13" y="497"/>
                  </a:lnTo>
                  <a:lnTo>
                    <a:pt x="13" y="497"/>
                  </a:lnTo>
                  <a:lnTo>
                    <a:pt x="13" y="499"/>
                  </a:lnTo>
                  <a:lnTo>
                    <a:pt x="13" y="499"/>
                  </a:lnTo>
                  <a:lnTo>
                    <a:pt x="11" y="499"/>
                  </a:lnTo>
                  <a:lnTo>
                    <a:pt x="11" y="502"/>
                  </a:lnTo>
                  <a:close/>
                  <a:moveTo>
                    <a:pt x="29" y="493"/>
                  </a:moveTo>
                  <a:lnTo>
                    <a:pt x="29" y="493"/>
                  </a:lnTo>
                  <a:lnTo>
                    <a:pt x="29" y="493"/>
                  </a:lnTo>
                  <a:lnTo>
                    <a:pt x="27" y="493"/>
                  </a:lnTo>
                  <a:lnTo>
                    <a:pt x="27" y="493"/>
                  </a:lnTo>
                  <a:lnTo>
                    <a:pt x="29" y="493"/>
                  </a:lnTo>
                  <a:lnTo>
                    <a:pt x="29" y="493"/>
                  </a:lnTo>
                  <a:lnTo>
                    <a:pt x="29" y="490"/>
                  </a:lnTo>
                  <a:lnTo>
                    <a:pt x="29" y="490"/>
                  </a:lnTo>
                  <a:lnTo>
                    <a:pt x="29" y="490"/>
                  </a:lnTo>
                  <a:lnTo>
                    <a:pt x="29" y="490"/>
                  </a:lnTo>
                  <a:lnTo>
                    <a:pt x="29" y="490"/>
                  </a:lnTo>
                  <a:lnTo>
                    <a:pt x="29" y="493"/>
                  </a:lnTo>
                  <a:lnTo>
                    <a:pt x="29" y="493"/>
                  </a:lnTo>
                  <a:lnTo>
                    <a:pt x="29" y="493"/>
                  </a:lnTo>
                  <a:close/>
                  <a:moveTo>
                    <a:pt x="33" y="493"/>
                  </a:moveTo>
                  <a:lnTo>
                    <a:pt x="33" y="493"/>
                  </a:lnTo>
                  <a:lnTo>
                    <a:pt x="33" y="493"/>
                  </a:lnTo>
                  <a:lnTo>
                    <a:pt x="33" y="493"/>
                  </a:lnTo>
                  <a:lnTo>
                    <a:pt x="33" y="493"/>
                  </a:lnTo>
                  <a:lnTo>
                    <a:pt x="33" y="493"/>
                  </a:lnTo>
                  <a:lnTo>
                    <a:pt x="33" y="493"/>
                  </a:lnTo>
                  <a:lnTo>
                    <a:pt x="33" y="495"/>
                  </a:lnTo>
                  <a:lnTo>
                    <a:pt x="33" y="495"/>
                  </a:lnTo>
                  <a:lnTo>
                    <a:pt x="33" y="495"/>
                  </a:lnTo>
                  <a:lnTo>
                    <a:pt x="31" y="495"/>
                  </a:lnTo>
                  <a:lnTo>
                    <a:pt x="31" y="495"/>
                  </a:lnTo>
                  <a:lnTo>
                    <a:pt x="31" y="493"/>
                  </a:lnTo>
                  <a:lnTo>
                    <a:pt x="31" y="493"/>
                  </a:lnTo>
                  <a:lnTo>
                    <a:pt x="31" y="493"/>
                  </a:lnTo>
                  <a:lnTo>
                    <a:pt x="31" y="490"/>
                  </a:lnTo>
                  <a:lnTo>
                    <a:pt x="31" y="490"/>
                  </a:lnTo>
                  <a:lnTo>
                    <a:pt x="29" y="490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1" y="490"/>
                  </a:lnTo>
                  <a:lnTo>
                    <a:pt x="31" y="490"/>
                  </a:lnTo>
                  <a:lnTo>
                    <a:pt x="31" y="490"/>
                  </a:lnTo>
                  <a:lnTo>
                    <a:pt x="31" y="490"/>
                  </a:lnTo>
                  <a:lnTo>
                    <a:pt x="31" y="493"/>
                  </a:lnTo>
                  <a:lnTo>
                    <a:pt x="31" y="493"/>
                  </a:lnTo>
                  <a:lnTo>
                    <a:pt x="31" y="493"/>
                  </a:lnTo>
                  <a:lnTo>
                    <a:pt x="33" y="493"/>
                  </a:lnTo>
                  <a:close/>
                  <a:moveTo>
                    <a:pt x="9" y="466"/>
                  </a:moveTo>
                  <a:lnTo>
                    <a:pt x="9" y="466"/>
                  </a:lnTo>
                  <a:lnTo>
                    <a:pt x="9" y="466"/>
                  </a:lnTo>
                  <a:lnTo>
                    <a:pt x="9" y="466"/>
                  </a:lnTo>
                  <a:lnTo>
                    <a:pt x="9" y="466"/>
                  </a:lnTo>
                  <a:close/>
                  <a:moveTo>
                    <a:pt x="65" y="459"/>
                  </a:moveTo>
                  <a:lnTo>
                    <a:pt x="65" y="461"/>
                  </a:lnTo>
                  <a:lnTo>
                    <a:pt x="65" y="461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lnTo>
                    <a:pt x="65" y="459"/>
                  </a:lnTo>
                  <a:close/>
                  <a:moveTo>
                    <a:pt x="54" y="457"/>
                  </a:move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4"/>
                  </a:lnTo>
                  <a:lnTo>
                    <a:pt x="49" y="454"/>
                  </a:lnTo>
                  <a:lnTo>
                    <a:pt x="49" y="454"/>
                  </a:lnTo>
                  <a:lnTo>
                    <a:pt x="51" y="454"/>
                  </a:lnTo>
                  <a:lnTo>
                    <a:pt x="51" y="454"/>
                  </a:lnTo>
                  <a:lnTo>
                    <a:pt x="51" y="454"/>
                  </a:lnTo>
                  <a:lnTo>
                    <a:pt x="51" y="454"/>
                  </a:lnTo>
                  <a:lnTo>
                    <a:pt x="51" y="454"/>
                  </a:lnTo>
                  <a:lnTo>
                    <a:pt x="51" y="454"/>
                  </a:lnTo>
                  <a:lnTo>
                    <a:pt x="51" y="454"/>
                  </a:lnTo>
                  <a:lnTo>
                    <a:pt x="54" y="457"/>
                  </a:lnTo>
                  <a:lnTo>
                    <a:pt x="54" y="457"/>
                  </a:lnTo>
                  <a:lnTo>
                    <a:pt x="54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1" y="457"/>
                  </a:lnTo>
                  <a:lnTo>
                    <a:pt x="54" y="457"/>
                  </a:lnTo>
                  <a:close/>
                  <a:moveTo>
                    <a:pt x="60" y="450"/>
                  </a:moveTo>
                  <a:lnTo>
                    <a:pt x="60" y="450"/>
                  </a:lnTo>
                  <a:lnTo>
                    <a:pt x="60" y="450"/>
                  </a:lnTo>
                  <a:lnTo>
                    <a:pt x="60" y="450"/>
                  </a:lnTo>
                  <a:lnTo>
                    <a:pt x="58" y="450"/>
                  </a:lnTo>
                  <a:lnTo>
                    <a:pt x="58" y="450"/>
                  </a:lnTo>
                  <a:lnTo>
                    <a:pt x="60" y="450"/>
                  </a:lnTo>
                  <a:lnTo>
                    <a:pt x="60" y="450"/>
                  </a:lnTo>
                  <a:lnTo>
                    <a:pt x="60" y="450"/>
                  </a:lnTo>
                  <a:lnTo>
                    <a:pt x="60" y="450"/>
                  </a:lnTo>
                  <a:close/>
                  <a:moveTo>
                    <a:pt x="69" y="445"/>
                  </a:moveTo>
                  <a:lnTo>
                    <a:pt x="72" y="448"/>
                  </a:lnTo>
                  <a:lnTo>
                    <a:pt x="69" y="448"/>
                  </a:lnTo>
                  <a:lnTo>
                    <a:pt x="69" y="448"/>
                  </a:lnTo>
                  <a:lnTo>
                    <a:pt x="69" y="445"/>
                  </a:lnTo>
                  <a:lnTo>
                    <a:pt x="69" y="445"/>
                  </a:lnTo>
                  <a:lnTo>
                    <a:pt x="69" y="445"/>
                  </a:lnTo>
                  <a:lnTo>
                    <a:pt x="69" y="445"/>
                  </a:lnTo>
                  <a:close/>
                  <a:moveTo>
                    <a:pt x="81" y="448"/>
                  </a:moveTo>
                  <a:lnTo>
                    <a:pt x="81" y="448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8" y="450"/>
                  </a:lnTo>
                  <a:lnTo>
                    <a:pt x="76" y="450"/>
                  </a:lnTo>
                  <a:lnTo>
                    <a:pt x="76" y="450"/>
                  </a:lnTo>
                  <a:lnTo>
                    <a:pt x="76" y="452"/>
                  </a:lnTo>
                  <a:lnTo>
                    <a:pt x="76" y="452"/>
                  </a:lnTo>
                  <a:lnTo>
                    <a:pt x="76" y="452"/>
                  </a:lnTo>
                  <a:lnTo>
                    <a:pt x="76" y="452"/>
                  </a:lnTo>
                  <a:lnTo>
                    <a:pt x="76" y="452"/>
                  </a:lnTo>
                  <a:lnTo>
                    <a:pt x="76" y="452"/>
                  </a:lnTo>
                  <a:lnTo>
                    <a:pt x="74" y="452"/>
                  </a:lnTo>
                  <a:lnTo>
                    <a:pt x="74" y="452"/>
                  </a:lnTo>
                  <a:lnTo>
                    <a:pt x="74" y="452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4"/>
                  </a:lnTo>
                  <a:lnTo>
                    <a:pt x="74" y="457"/>
                  </a:lnTo>
                  <a:lnTo>
                    <a:pt x="76" y="457"/>
                  </a:lnTo>
                  <a:lnTo>
                    <a:pt x="76" y="457"/>
                  </a:lnTo>
                  <a:lnTo>
                    <a:pt x="76" y="457"/>
                  </a:lnTo>
                  <a:lnTo>
                    <a:pt x="74" y="457"/>
                  </a:lnTo>
                  <a:lnTo>
                    <a:pt x="74" y="457"/>
                  </a:lnTo>
                  <a:lnTo>
                    <a:pt x="74" y="457"/>
                  </a:lnTo>
                  <a:lnTo>
                    <a:pt x="74" y="457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59"/>
                  </a:lnTo>
                  <a:lnTo>
                    <a:pt x="74" y="461"/>
                  </a:lnTo>
                  <a:lnTo>
                    <a:pt x="74" y="461"/>
                  </a:lnTo>
                  <a:lnTo>
                    <a:pt x="74" y="461"/>
                  </a:lnTo>
                  <a:lnTo>
                    <a:pt x="74" y="461"/>
                  </a:lnTo>
                  <a:lnTo>
                    <a:pt x="74" y="461"/>
                  </a:lnTo>
                  <a:lnTo>
                    <a:pt x="72" y="461"/>
                  </a:lnTo>
                  <a:lnTo>
                    <a:pt x="72" y="461"/>
                  </a:lnTo>
                  <a:lnTo>
                    <a:pt x="72" y="461"/>
                  </a:lnTo>
                  <a:lnTo>
                    <a:pt x="69" y="459"/>
                  </a:lnTo>
                  <a:lnTo>
                    <a:pt x="69" y="459"/>
                  </a:lnTo>
                  <a:lnTo>
                    <a:pt x="72" y="459"/>
                  </a:lnTo>
                  <a:lnTo>
                    <a:pt x="72" y="459"/>
                  </a:lnTo>
                  <a:lnTo>
                    <a:pt x="72" y="457"/>
                  </a:lnTo>
                  <a:lnTo>
                    <a:pt x="72" y="457"/>
                  </a:lnTo>
                  <a:lnTo>
                    <a:pt x="72" y="457"/>
                  </a:lnTo>
                  <a:lnTo>
                    <a:pt x="72" y="457"/>
                  </a:lnTo>
                  <a:lnTo>
                    <a:pt x="72" y="457"/>
                  </a:lnTo>
                  <a:lnTo>
                    <a:pt x="72" y="457"/>
                  </a:lnTo>
                  <a:lnTo>
                    <a:pt x="72" y="457"/>
                  </a:lnTo>
                  <a:lnTo>
                    <a:pt x="72" y="454"/>
                  </a:lnTo>
                  <a:lnTo>
                    <a:pt x="72" y="454"/>
                  </a:lnTo>
                  <a:lnTo>
                    <a:pt x="72" y="454"/>
                  </a:lnTo>
                  <a:lnTo>
                    <a:pt x="72" y="454"/>
                  </a:lnTo>
                  <a:lnTo>
                    <a:pt x="72" y="454"/>
                  </a:lnTo>
                  <a:lnTo>
                    <a:pt x="72" y="454"/>
                  </a:lnTo>
                  <a:lnTo>
                    <a:pt x="72" y="454"/>
                  </a:lnTo>
                  <a:lnTo>
                    <a:pt x="72" y="452"/>
                  </a:lnTo>
                  <a:lnTo>
                    <a:pt x="72" y="452"/>
                  </a:lnTo>
                  <a:lnTo>
                    <a:pt x="72" y="452"/>
                  </a:lnTo>
                  <a:lnTo>
                    <a:pt x="72" y="452"/>
                  </a:lnTo>
                  <a:lnTo>
                    <a:pt x="72" y="452"/>
                  </a:lnTo>
                  <a:lnTo>
                    <a:pt x="74" y="452"/>
                  </a:lnTo>
                  <a:lnTo>
                    <a:pt x="74" y="452"/>
                  </a:lnTo>
                  <a:lnTo>
                    <a:pt x="74" y="452"/>
                  </a:lnTo>
                  <a:lnTo>
                    <a:pt x="74" y="450"/>
                  </a:lnTo>
                  <a:lnTo>
                    <a:pt x="74" y="450"/>
                  </a:lnTo>
                  <a:lnTo>
                    <a:pt x="74" y="450"/>
                  </a:lnTo>
                  <a:lnTo>
                    <a:pt x="74" y="450"/>
                  </a:lnTo>
                  <a:lnTo>
                    <a:pt x="74" y="450"/>
                  </a:lnTo>
                  <a:lnTo>
                    <a:pt x="72" y="450"/>
                  </a:lnTo>
                  <a:lnTo>
                    <a:pt x="72" y="448"/>
                  </a:lnTo>
                  <a:lnTo>
                    <a:pt x="72" y="448"/>
                  </a:lnTo>
                  <a:lnTo>
                    <a:pt x="72" y="448"/>
                  </a:lnTo>
                  <a:lnTo>
                    <a:pt x="72" y="448"/>
                  </a:lnTo>
                  <a:lnTo>
                    <a:pt x="72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4" y="448"/>
                  </a:lnTo>
                  <a:lnTo>
                    <a:pt x="76" y="448"/>
                  </a:lnTo>
                  <a:lnTo>
                    <a:pt x="76" y="448"/>
                  </a:lnTo>
                  <a:lnTo>
                    <a:pt x="76" y="448"/>
                  </a:lnTo>
                  <a:lnTo>
                    <a:pt x="76" y="448"/>
                  </a:lnTo>
                  <a:lnTo>
                    <a:pt x="76" y="448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5"/>
                  </a:lnTo>
                  <a:lnTo>
                    <a:pt x="78" y="443"/>
                  </a:lnTo>
                  <a:lnTo>
                    <a:pt x="78" y="443"/>
                  </a:lnTo>
                  <a:lnTo>
                    <a:pt x="78" y="443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5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1" y="448"/>
                  </a:lnTo>
                  <a:close/>
                  <a:moveTo>
                    <a:pt x="81" y="439"/>
                  </a:move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lnTo>
                    <a:pt x="81" y="439"/>
                  </a:lnTo>
                  <a:close/>
                  <a:moveTo>
                    <a:pt x="72" y="439"/>
                  </a:moveTo>
                  <a:lnTo>
                    <a:pt x="72" y="441"/>
                  </a:lnTo>
                  <a:lnTo>
                    <a:pt x="72" y="439"/>
                  </a:lnTo>
                  <a:lnTo>
                    <a:pt x="72" y="439"/>
                  </a:lnTo>
                  <a:lnTo>
                    <a:pt x="72" y="439"/>
                  </a:lnTo>
                  <a:lnTo>
                    <a:pt x="72" y="439"/>
                  </a:lnTo>
                  <a:lnTo>
                    <a:pt x="72" y="439"/>
                  </a:lnTo>
                  <a:lnTo>
                    <a:pt x="72" y="439"/>
                  </a:lnTo>
                  <a:lnTo>
                    <a:pt x="72" y="439"/>
                  </a:lnTo>
                  <a:close/>
                  <a:moveTo>
                    <a:pt x="83" y="430"/>
                  </a:moveTo>
                  <a:lnTo>
                    <a:pt x="83" y="430"/>
                  </a:lnTo>
                  <a:lnTo>
                    <a:pt x="83" y="432"/>
                  </a:lnTo>
                  <a:lnTo>
                    <a:pt x="83" y="432"/>
                  </a:lnTo>
                  <a:lnTo>
                    <a:pt x="83" y="432"/>
                  </a:lnTo>
                  <a:lnTo>
                    <a:pt x="83" y="432"/>
                  </a:lnTo>
                  <a:lnTo>
                    <a:pt x="83" y="432"/>
                  </a:lnTo>
                  <a:lnTo>
                    <a:pt x="83" y="432"/>
                  </a:lnTo>
                  <a:lnTo>
                    <a:pt x="83" y="432"/>
                  </a:lnTo>
                  <a:lnTo>
                    <a:pt x="81" y="432"/>
                  </a:lnTo>
                  <a:lnTo>
                    <a:pt x="81" y="432"/>
                  </a:lnTo>
                  <a:lnTo>
                    <a:pt x="81" y="432"/>
                  </a:lnTo>
                  <a:lnTo>
                    <a:pt x="81" y="432"/>
                  </a:lnTo>
                  <a:lnTo>
                    <a:pt x="81" y="432"/>
                  </a:lnTo>
                  <a:lnTo>
                    <a:pt x="81" y="432"/>
                  </a:lnTo>
                  <a:lnTo>
                    <a:pt x="81" y="430"/>
                  </a:lnTo>
                  <a:lnTo>
                    <a:pt x="81" y="430"/>
                  </a:lnTo>
                  <a:lnTo>
                    <a:pt x="81" y="430"/>
                  </a:lnTo>
                  <a:lnTo>
                    <a:pt x="81" y="430"/>
                  </a:lnTo>
                  <a:lnTo>
                    <a:pt x="81" y="430"/>
                  </a:lnTo>
                  <a:lnTo>
                    <a:pt x="81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lnTo>
                    <a:pt x="83" y="430"/>
                  </a:lnTo>
                  <a:close/>
                  <a:moveTo>
                    <a:pt x="87" y="423"/>
                  </a:moveTo>
                  <a:lnTo>
                    <a:pt x="87" y="423"/>
                  </a:lnTo>
                  <a:lnTo>
                    <a:pt x="87" y="423"/>
                  </a:lnTo>
                  <a:lnTo>
                    <a:pt x="87" y="423"/>
                  </a:lnTo>
                  <a:lnTo>
                    <a:pt x="85" y="423"/>
                  </a:lnTo>
                  <a:lnTo>
                    <a:pt x="85" y="423"/>
                  </a:lnTo>
                  <a:lnTo>
                    <a:pt x="85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1"/>
                  </a:lnTo>
                  <a:lnTo>
                    <a:pt x="85" y="421"/>
                  </a:lnTo>
                  <a:lnTo>
                    <a:pt x="85" y="421"/>
                  </a:lnTo>
                  <a:lnTo>
                    <a:pt x="85" y="418"/>
                  </a:lnTo>
                  <a:lnTo>
                    <a:pt x="85" y="418"/>
                  </a:lnTo>
                  <a:lnTo>
                    <a:pt x="85" y="418"/>
                  </a:lnTo>
                  <a:lnTo>
                    <a:pt x="85" y="418"/>
                  </a:lnTo>
                  <a:lnTo>
                    <a:pt x="85" y="418"/>
                  </a:lnTo>
                  <a:lnTo>
                    <a:pt x="87" y="421"/>
                  </a:lnTo>
                  <a:lnTo>
                    <a:pt x="87" y="421"/>
                  </a:lnTo>
                  <a:lnTo>
                    <a:pt x="87" y="421"/>
                  </a:lnTo>
                  <a:lnTo>
                    <a:pt x="87" y="421"/>
                  </a:lnTo>
                  <a:lnTo>
                    <a:pt x="87" y="421"/>
                  </a:lnTo>
                  <a:lnTo>
                    <a:pt x="87" y="421"/>
                  </a:lnTo>
                  <a:lnTo>
                    <a:pt x="87" y="423"/>
                  </a:lnTo>
                  <a:lnTo>
                    <a:pt x="87" y="423"/>
                  </a:lnTo>
                  <a:lnTo>
                    <a:pt x="87" y="423"/>
                  </a:lnTo>
                  <a:lnTo>
                    <a:pt x="87" y="423"/>
                  </a:lnTo>
                  <a:lnTo>
                    <a:pt x="87" y="423"/>
                  </a:lnTo>
                  <a:close/>
                  <a:moveTo>
                    <a:pt x="87" y="412"/>
                  </a:move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90" y="414"/>
                  </a:lnTo>
                  <a:lnTo>
                    <a:pt x="87" y="412"/>
                  </a:lnTo>
                  <a:lnTo>
                    <a:pt x="87" y="412"/>
                  </a:lnTo>
                  <a:lnTo>
                    <a:pt x="87" y="412"/>
                  </a:lnTo>
                  <a:lnTo>
                    <a:pt x="87" y="412"/>
                  </a:lnTo>
                  <a:lnTo>
                    <a:pt x="87" y="412"/>
                  </a:lnTo>
                  <a:close/>
                  <a:moveTo>
                    <a:pt x="103" y="409"/>
                  </a:moveTo>
                  <a:lnTo>
                    <a:pt x="103" y="409"/>
                  </a:lnTo>
                  <a:lnTo>
                    <a:pt x="103" y="409"/>
                  </a:lnTo>
                  <a:lnTo>
                    <a:pt x="103" y="409"/>
                  </a:lnTo>
                  <a:lnTo>
                    <a:pt x="103" y="407"/>
                  </a:lnTo>
                  <a:lnTo>
                    <a:pt x="103" y="407"/>
                  </a:lnTo>
                  <a:lnTo>
                    <a:pt x="103" y="407"/>
                  </a:lnTo>
                  <a:lnTo>
                    <a:pt x="103" y="407"/>
                  </a:lnTo>
                  <a:lnTo>
                    <a:pt x="103" y="409"/>
                  </a:lnTo>
                  <a:lnTo>
                    <a:pt x="103" y="409"/>
                  </a:lnTo>
                  <a:lnTo>
                    <a:pt x="103" y="409"/>
                  </a:lnTo>
                  <a:close/>
                  <a:moveTo>
                    <a:pt x="96" y="405"/>
                  </a:move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7"/>
                  </a:lnTo>
                  <a:lnTo>
                    <a:pt x="96" y="407"/>
                  </a:lnTo>
                  <a:lnTo>
                    <a:pt x="96" y="407"/>
                  </a:lnTo>
                  <a:lnTo>
                    <a:pt x="96" y="407"/>
                  </a:lnTo>
                  <a:lnTo>
                    <a:pt x="96" y="407"/>
                  </a:lnTo>
                  <a:lnTo>
                    <a:pt x="96" y="407"/>
                  </a:lnTo>
                  <a:lnTo>
                    <a:pt x="96" y="407"/>
                  </a:lnTo>
                  <a:lnTo>
                    <a:pt x="94" y="407"/>
                  </a:lnTo>
                  <a:lnTo>
                    <a:pt x="94" y="407"/>
                  </a:lnTo>
                  <a:lnTo>
                    <a:pt x="94" y="409"/>
                  </a:lnTo>
                  <a:lnTo>
                    <a:pt x="94" y="409"/>
                  </a:lnTo>
                  <a:lnTo>
                    <a:pt x="94" y="409"/>
                  </a:lnTo>
                  <a:lnTo>
                    <a:pt x="94" y="409"/>
                  </a:lnTo>
                  <a:lnTo>
                    <a:pt x="94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2" y="409"/>
                  </a:lnTo>
                  <a:lnTo>
                    <a:pt x="94" y="412"/>
                  </a:lnTo>
                  <a:lnTo>
                    <a:pt x="94" y="412"/>
                  </a:lnTo>
                  <a:lnTo>
                    <a:pt x="92" y="412"/>
                  </a:lnTo>
                  <a:lnTo>
                    <a:pt x="92" y="412"/>
                  </a:lnTo>
                  <a:lnTo>
                    <a:pt x="92" y="412"/>
                  </a:lnTo>
                  <a:lnTo>
                    <a:pt x="92" y="412"/>
                  </a:lnTo>
                  <a:lnTo>
                    <a:pt x="92" y="412"/>
                  </a:lnTo>
                  <a:lnTo>
                    <a:pt x="92" y="412"/>
                  </a:lnTo>
                  <a:lnTo>
                    <a:pt x="92" y="412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4"/>
                  </a:lnTo>
                  <a:lnTo>
                    <a:pt x="92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90" y="412"/>
                  </a:lnTo>
                  <a:lnTo>
                    <a:pt x="87" y="412"/>
                  </a:lnTo>
                  <a:lnTo>
                    <a:pt x="87" y="412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90" y="409"/>
                  </a:lnTo>
                  <a:lnTo>
                    <a:pt x="90" y="409"/>
                  </a:lnTo>
                  <a:lnTo>
                    <a:pt x="90" y="409"/>
                  </a:lnTo>
                  <a:lnTo>
                    <a:pt x="90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87" y="409"/>
                  </a:lnTo>
                  <a:lnTo>
                    <a:pt x="90" y="409"/>
                  </a:lnTo>
                  <a:lnTo>
                    <a:pt x="90" y="409"/>
                  </a:lnTo>
                  <a:lnTo>
                    <a:pt x="90" y="409"/>
                  </a:lnTo>
                  <a:lnTo>
                    <a:pt x="90" y="407"/>
                  </a:lnTo>
                  <a:lnTo>
                    <a:pt x="90" y="407"/>
                  </a:lnTo>
                  <a:lnTo>
                    <a:pt x="90" y="407"/>
                  </a:lnTo>
                  <a:lnTo>
                    <a:pt x="90" y="407"/>
                  </a:lnTo>
                  <a:lnTo>
                    <a:pt x="90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2" y="407"/>
                  </a:lnTo>
                  <a:lnTo>
                    <a:pt x="94" y="407"/>
                  </a:lnTo>
                  <a:lnTo>
                    <a:pt x="94" y="407"/>
                  </a:lnTo>
                  <a:lnTo>
                    <a:pt x="94" y="405"/>
                  </a:lnTo>
                  <a:lnTo>
                    <a:pt x="94" y="405"/>
                  </a:lnTo>
                  <a:lnTo>
                    <a:pt x="94" y="405"/>
                  </a:lnTo>
                  <a:lnTo>
                    <a:pt x="94" y="405"/>
                  </a:lnTo>
                  <a:lnTo>
                    <a:pt x="94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lnTo>
                    <a:pt x="96" y="405"/>
                  </a:lnTo>
                  <a:close/>
                  <a:moveTo>
                    <a:pt x="101" y="362"/>
                  </a:moveTo>
                  <a:lnTo>
                    <a:pt x="99" y="362"/>
                  </a:lnTo>
                  <a:lnTo>
                    <a:pt x="99" y="362"/>
                  </a:lnTo>
                  <a:lnTo>
                    <a:pt x="99" y="362"/>
                  </a:lnTo>
                  <a:lnTo>
                    <a:pt x="96" y="362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6" y="360"/>
                  </a:lnTo>
                  <a:lnTo>
                    <a:pt x="94" y="360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6" y="358"/>
                  </a:lnTo>
                  <a:lnTo>
                    <a:pt x="99" y="358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1" y="360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lnTo>
                    <a:pt x="101" y="362"/>
                  </a:lnTo>
                  <a:close/>
                  <a:moveTo>
                    <a:pt x="92" y="358"/>
                  </a:moveTo>
                  <a:lnTo>
                    <a:pt x="92" y="358"/>
                  </a:lnTo>
                  <a:lnTo>
                    <a:pt x="92" y="358"/>
                  </a:lnTo>
                  <a:lnTo>
                    <a:pt x="92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0" y="358"/>
                  </a:lnTo>
                  <a:lnTo>
                    <a:pt x="92" y="358"/>
                  </a:lnTo>
                  <a:lnTo>
                    <a:pt x="92" y="358"/>
                  </a:lnTo>
                  <a:lnTo>
                    <a:pt x="92" y="358"/>
                  </a:lnTo>
                  <a:lnTo>
                    <a:pt x="92" y="358"/>
                  </a:lnTo>
                  <a:close/>
                  <a:moveTo>
                    <a:pt x="105" y="360"/>
                  </a:moveTo>
                  <a:lnTo>
                    <a:pt x="105" y="360"/>
                  </a:lnTo>
                  <a:lnTo>
                    <a:pt x="105" y="360"/>
                  </a:lnTo>
                  <a:lnTo>
                    <a:pt x="105" y="360"/>
                  </a:lnTo>
                  <a:lnTo>
                    <a:pt x="105" y="358"/>
                  </a:lnTo>
                  <a:lnTo>
                    <a:pt x="105" y="358"/>
                  </a:lnTo>
                  <a:lnTo>
                    <a:pt x="105" y="358"/>
                  </a:lnTo>
                  <a:lnTo>
                    <a:pt x="105" y="356"/>
                  </a:lnTo>
                  <a:lnTo>
                    <a:pt x="105" y="356"/>
                  </a:lnTo>
                  <a:lnTo>
                    <a:pt x="105" y="356"/>
                  </a:lnTo>
                  <a:lnTo>
                    <a:pt x="105" y="353"/>
                  </a:lnTo>
                  <a:lnTo>
                    <a:pt x="105" y="353"/>
                  </a:lnTo>
                  <a:lnTo>
                    <a:pt x="103" y="353"/>
                  </a:lnTo>
                  <a:lnTo>
                    <a:pt x="103" y="353"/>
                  </a:lnTo>
                  <a:lnTo>
                    <a:pt x="103" y="353"/>
                  </a:lnTo>
                  <a:lnTo>
                    <a:pt x="103" y="353"/>
                  </a:lnTo>
                  <a:lnTo>
                    <a:pt x="103" y="351"/>
                  </a:lnTo>
                  <a:lnTo>
                    <a:pt x="105" y="349"/>
                  </a:lnTo>
                  <a:lnTo>
                    <a:pt x="105" y="349"/>
                  </a:lnTo>
                  <a:lnTo>
                    <a:pt x="105" y="349"/>
                  </a:lnTo>
                  <a:lnTo>
                    <a:pt x="105" y="349"/>
                  </a:lnTo>
                  <a:lnTo>
                    <a:pt x="105" y="349"/>
                  </a:lnTo>
                  <a:lnTo>
                    <a:pt x="105" y="349"/>
                  </a:lnTo>
                  <a:lnTo>
                    <a:pt x="105" y="351"/>
                  </a:lnTo>
                  <a:lnTo>
                    <a:pt x="105" y="351"/>
                  </a:lnTo>
                  <a:lnTo>
                    <a:pt x="108" y="353"/>
                  </a:lnTo>
                  <a:lnTo>
                    <a:pt x="108" y="353"/>
                  </a:lnTo>
                  <a:lnTo>
                    <a:pt x="108" y="353"/>
                  </a:lnTo>
                  <a:lnTo>
                    <a:pt x="108" y="356"/>
                  </a:lnTo>
                  <a:lnTo>
                    <a:pt x="105" y="356"/>
                  </a:lnTo>
                  <a:lnTo>
                    <a:pt x="105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5" y="360"/>
                  </a:lnTo>
                  <a:lnTo>
                    <a:pt x="105" y="360"/>
                  </a:lnTo>
                  <a:lnTo>
                    <a:pt x="105" y="360"/>
                  </a:lnTo>
                  <a:close/>
                  <a:moveTo>
                    <a:pt x="83" y="349"/>
                  </a:move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1" y="349"/>
                  </a:lnTo>
                  <a:lnTo>
                    <a:pt x="81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lnTo>
                    <a:pt x="83" y="349"/>
                  </a:lnTo>
                  <a:close/>
                  <a:moveTo>
                    <a:pt x="72" y="331"/>
                  </a:moveTo>
                  <a:lnTo>
                    <a:pt x="69" y="331"/>
                  </a:lnTo>
                  <a:lnTo>
                    <a:pt x="69" y="329"/>
                  </a:lnTo>
                  <a:lnTo>
                    <a:pt x="69" y="329"/>
                  </a:lnTo>
                  <a:lnTo>
                    <a:pt x="69" y="329"/>
                  </a:lnTo>
                  <a:lnTo>
                    <a:pt x="69" y="329"/>
                  </a:lnTo>
                  <a:lnTo>
                    <a:pt x="69" y="329"/>
                  </a:lnTo>
                  <a:lnTo>
                    <a:pt x="69" y="329"/>
                  </a:lnTo>
                  <a:lnTo>
                    <a:pt x="69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9"/>
                  </a:lnTo>
                  <a:lnTo>
                    <a:pt x="72" y="329"/>
                  </a:lnTo>
                  <a:lnTo>
                    <a:pt x="72" y="329"/>
                  </a:lnTo>
                  <a:lnTo>
                    <a:pt x="72" y="331"/>
                  </a:lnTo>
                  <a:close/>
                  <a:moveTo>
                    <a:pt x="72" y="324"/>
                  </a:move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4"/>
                  </a:lnTo>
                  <a:lnTo>
                    <a:pt x="74" y="326"/>
                  </a:lnTo>
                  <a:lnTo>
                    <a:pt x="74" y="326"/>
                  </a:lnTo>
                  <a:lnTo>
                    <a:pt x="74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6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lnTo>
                    <a:pt x="72" y="324"/>
                  </a:lnTo>
                  <a:close/>
                  <a:moveTo>
                    <a:pt x="76" y="317"/>
                  </a:moveTo>
                  <a:lnTo>
                    <a:pt x="76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7"/>
                  </a:lnTo>
                  <a:lnTo>
                    <a:pt x="74" y="317"/>
                  </a:lnTo>
                  <a:lnTo>
                    <a:pt x="76" y="317"/>
                  </a:lnTo>
                  <a:lnTo>
                    <a:pt x="76" y="317"/>
                  </a:lnTo>
                  <a:lnTo>
                    <a:pt x="76" y="317"/>
                  </a:lnTo>
                  <a:lnTo>
                    <a:pt x="76" y="317"/>
                  </a:lnTo>
                  <a:lnTo>
                    <a:pt x="76" y="317"/>
                  </a:lnTo>
                  <a:close/>
                  <a:moveTo>
                    <a:pt x="76" y="315"/>
                  </a:moveTo>
                  <a:lnTo>
                    <a:pt x="76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3"/>
                  </a:lnTo>
                  <a:lnTo>
                    <a:pt x="76" y="313"/>
                  </a:lnTo>
                  <a:lnTo>
                    <a:pt x="76" y="315"/>
                  </a:lnTo>
                  <a:lnTo>
                    <a:pt x="76" y="315"/>
                  </a:lnTo>
                  <a:lnTo>
                    <a:pt x="76" y="315"/>
                  </a:lnTo>
                  <a:lnTo>
                    <a:pt x="76" y="315"/>
                  </a:lnTo>
                  <a:lnTo>
                    <a:pt x="76" y="315"/>
                  </a:lnTo>
                  <a:lnTo>
                    <a:pt x="76" y="315"/>
                  </a:lnTo>
                  <a:lnTo>
                    <a:pt x="76" y="315"/>
                  </a:lnTo>
                  <a:close/>
                  <a:moveTo>
                    <a:pt x="76" y="308"/>
                  </a:move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8" y="308"/>
                  </a:lnTo>
                  <a:lnTo>
                    <a:pt x="78" y="308"/>
                  </a:lnTo>
                  <a:lnTo>
                    <a:pt x="76" y="308"/>
                  </a:lnTo>
                  <a:lnTo>
                    <a:pt x="78" y="311"/>
                  </a:lnTo>
                  <a:lnTo>
                    <a:pt x="76" y="313"/>
                  </a:lnTo>
                  <a:lnTo>
                    <a:pt x="76" y="313"/>
                  </a:lnTo>
                  <a:lnTo>
                    <a:pt x="76" y="313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6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08"/>
                  </a:lnTo>
                  <a:lnTo>
                    <a:pt x="74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close/>
                  <a:moveTo>
                    <a:pt x="72" y="308"/>
                  </a:moveTo>
                  <a:lnTo>
                    <a:pt x="72" y="311"/>
                  </a:lnTo>
                  <a:lnTo>
                    <a:pt x="74" y="311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3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4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7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69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5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72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1"/>
                  </a:lnTo>
                  <a:lnTo>
                    <a:pt x="69" y="311"/>
                  </a:lnTo>
                  <a:lnTo>
                    <a:pt x="69" y="311"/>
                  </a:lnTo>
                  <a:lnTo>
                    <a:pt x="69" y="311"/>
                  </a:lnTo>
                  <a:lnTo>
                    <a:pt x="69" y="308"/>
                  </a:lnTo>
                  <a:lnTo>
                    <a:pt x="67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72" y="308"/>
                  </a:lnTo>
                  <a:lnTo>
                    <a:pt x="72" y="308"/>
                  </a:lnTo>
                  <a:lnTo>
                    <a:pt x="72" y="308"/>
                  </a:lnTo>
                  <a:close/>
                  <a:moveTo>
                    <a:pt x="76" y="306"/>
                  </a:move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8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close/>
                  <a:moveTo>
                    <a:pt x="119" y="304"/>
                  </a:move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4"/>
                  </a:lnTo>
                  <a:lnTo>
                    <a:pt x="119" y="304"/>
                  </a:lnTo>
                  <a:close/>
                  <a:moveTo>
                    <a:pt x="42" y="302"/>
                  </a:moveTo>
                  <a:lnTo>
                    <a:pt x="42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8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40" y="302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close/>
                  <a:moveTo>
                    <a:pt x="45" y="302"/>
                  </a:moveTo>
                  <a:lnTo>
                    <a:pt x="45" y="302"/>
                  </a:lnTo>
                  <a:lnTo>
                    <a:pt x="45" y="302"/>
                  </a:lnTo>
                  <a:lnTo>
                    <a:pt x="45" y="304"/>
                  </a:lnTo>
                  <a:lnTo>
                    <a:pt x="42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5" y="302"/>
                  </a:lnTo>
                  <a:close/>
                  <a:moveTo>
                    <a:pt x="45" y="302"/>
                  </a:move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2" y="299"/>
                  </a:lnTo>
                  <a:lnTo>
                    <a:pt x="42" y="299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2" y="302"/>
                  </a:lnTo>
                  <a:lnTo>
                    <a:pt x="42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302"/>
                  </a:lnTo>
                  <a:close/>
                  <a:moveTo>
                    <a:pt x="45" y="299"/>
                  </a:moveTo>
                  <a:lnTo>
                    <a:pt x="45" y="299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299"/>
                  </a:lnTo>
                  <a:lnTo>
                    <a:pt x="45" y="302"/>
                  </a:lnTo>
                  <a:lnTo>
                    <a:pt x="45" y="302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close/>
                  <a:moveTo>
                    <a:pt x="45" y="297"/>
                  </a:moveTo>
                  <a:lnTo>
                    <a:pt x="45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3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5"/>
                  </a:lnTo>
                  <a:lnTo>
                    <a:pt x="45" y="297"/>
                  </a:lnTo>
                  <a:lnTo>
                    <a:pt x="45" y="297"/>
                  </a:lnTo>
                  <a:lnTo>
                    <a:pt x="45" y="297"/>
                  </a:lnTo>
                  <a:close/>
                  <a:moveTo>
                    <a:pt x="45" y="290"/>
                  </a:moveTo>
                  <a:lnTo>
                    <a:pt x="45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2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5" y="290"/>
                  </a:lnTo>
                  <a:close/>
                  <a:moveTo>
                    <a:pt x="51" y="293"/>
                  </a:moveTo>
                  <a:lnTo>
                    <a:pt x="51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3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3"/>
                  </a:lnTo>
                  <a:close/>
                  <a:moveTo>
                    <a:pt x="49" y="286"/>
                  </a:moveTo>
                  <a:lnTo>
                    <a:pt x="49" y="286"/>
                  </a:lnTo>
                  <a:lnTo>
                    <a:pt x="51" y="286"/>
                  </a:lnTo>
                  <a:lnTo>
                    <a:pt x="51" y="286"/>
                  </a:lnTo>
                  <a:lnTo>
                    <a:pt x="51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lnTo>
                    <a:pt x="49" y="286"/>
                  </a:lnTo>
                  <a:close/>
                  <a:moveTo>
                    <a:pt x="101" y="279"/>
                  </a:move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99" y="279"/>
                  </a:lnTo>
                  <a:lnTo>
                    <a:pt x="99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lnTo>
                    <a:pt x="101" y="279"/>
                  </a:lnTo>
                  <a:close/>
                  <a:moveTo>
                    <a:pt x="51" y="279"/>
                  </a:move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81"/>
                  </a:lnTo>
                  <a:lnTo>
                    <a:pt x="51" y="281"/>
                  </a:lnTo>
                  <a:lnTo>
                    <a:pt x="51" y="281"/>
                  </a:lnTo>
                  <a:lnTo>
                    <a:pt x="51" y="281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9"/>
                  </a:lnTo>
                  <a:lnTo>
                    <a:pt x="49" y="277"/>
                  </a:lnTo>
                  <a:lnTo>
                    <a:pt x="49" y="277"/>
                  </a:lnTo>
                  <a:lnTo>
                    <a:pt x="49" y="277"/>
                  </a:lnTo>
                  <a:lnTo>
                    <a:pt x="49" y="277"/>
                  </a:lnTo>
                  <a:lnTo>
                    <a:pt x="49" y="277"/>
                  </a:lnTo>
                  <a:lnTo>
                    <a:pt x="49" y="277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lnTo>
                    <a:pt x="51" y="279"/>
                  </a:lnTo>
                  <a:close/>
                  <a:moveTo>
                    <a:pt x="101" y="275"/>
                  </a:move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5"/>
                  </a:lnTo>
                  <a:lnTo>
                    <a:pt x="101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3" y="275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3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101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5"/>
                  </a:lnTo>
                  <a:lnTo>
                    <a:pt x="99" y="275"/>
                  </a:lnTo>
                  <a:lnTo>
                    <a:pt x="99" y="275"/>
                  </a:lnTo>
                  <a:lnTo>
                    <a:pt x="99" y="275"/>
                  </a:lnTo>
                  <a:lnTo>
                    <a:pt x="99" y="275"/>
                  </a:lnTo>
                  <a:lnTo>
                    <a:pt x="101" y="275"/>
                  </a:lnTo>
                  <a:close/>
                  <a:moveTo>
                    <a:pt x="74" y="277"/>
                  </a:move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6" y="279"/>
                  </a:lnTo>
                  <a:lnTo>
                    <a:pt x="76" y="279"/>
                  </a:lnTo>
                  <a:lnTo>
                    <a:pt x="76" y="279"/>
                  </a:lnTo>
                  <a:lnTo>
                    <a:pt x="76" y="279"/>
                  </a:lnTo>
                  <a:lnTo>
                    <a:pt x="76" y="279"/>
                  </a:lnTo>
                  <a:lnTo>
                    <a:pt x="76" y="279"/>
                  </a:lnTo>
                  <a:lnTo>
                    <a:pt x="78" y="281"/>
                  </a:lnTo>
                  <a:lnTo>
                    <a:pt x="78" y="281"/>
                  </a:lnTo>
                  <a:lnTo>
                    <a:pt x="78" y="281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3" y="284"/>
                  </a:lnTo>
                  <a:lnTo>
                    <a:pt x="83" y="284"/>
                  </a:lnTo>
                  <a:lnTo>
                    <a:pt x="85" y="284"/>
                  </a:lnTo>
                  <a:lnTo>
                    <a:pt x="85" y="284"/>
                  </a:lnTo>
                  <a:lnTo>
                    <a:pt x="87" y="284"/>
                  </a:lnTo>
                  <a:lnTo>
                    <a:pt x="87" y="284"/>
                  </a:lnTo>
                  <a:lnTo>
                    <a:pt x="87" y="284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87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0" y="281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4" y="284"/>
                  </a:lnTo>
                  <a:lnTo>
                    <a:pt x="94" y="286"/>
                  </a:lnTo>
                  <a:lnTo>
                    <a:pt x="94" y="288"/>
                  </a:lnTo>
                  <a:lnTo>
                    <a:pt x="94" y="288"/>
                  </a:lnTo>
                  <a:lnTo>
                    <a:pt x="94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2" y="288"/>
                  </a:lnTo>
                  <a:lnTo>
                    <a:pt x="90" y="288"/>
                  </a:lnTo>
                  <a:lnTo>
                    <a:pt x="90" y="288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2" y="290"/>
                  </a:lnTo>
                  <a:lnTo>
                    <a:pt x="94" y="290"/>
                  </a:lnTo>
                  <a:lnTo>
                    <a:pt x="96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3"/>
                  </a:lnTo>
                  <a:lnTo>
                    <a:pt x="99" y="295"/>
                  </a:lnTo>
                  <a:lnTo>
                    <a:pt x="99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3" y="295"/>
                  </a:lnTo>
                  <a:lnTo>
                    <a:pt x="103" y="295"/>
                  </a:lnTo>
                  <a:lnTo>
                    <a:pt x="103" y="295"/>
                  </a:lnTo>
                  <a:lnTo>
                    <a:pt x="103" y="295"/>
                  </a:lnTo>
                  <a:lnTo>
                    <a:pt x="103" y="295"/>
                  </a:lnTo>
                  <a:lnTo>
                    <a:pt x="103" y="295"/>
                  </a:lnTo>
                  <a:lnTo>
                    <a:pt x="103" y="295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3" y="297"/>
                  </a:lnTo>
                  <a:lnTo>
                    <a:pt x="101" y="297"/>
                  </a:lnTo>
                  <a:lnTo>
                    <a:pt x="103" y="297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3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299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5" y="302"/>
                  </a:lnTo>
                  <a:lnTo>
                    <a:pt x="103" y="302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4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1" y="306"/>
                  </a:lnTo>
                  <a:lnTo>
                    <a:pt x="101" y="308"/>
                  </a:lnTo>
                  <a:lnTo>
                    <a:pt x="101" y="308"/>
                  </a:lnTo>
                  <a:lnTo>
                    <a:pt x="101" y="308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3" y="308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3" y="313"/>
                  </a:lnTo>
                  <a:lnTo>
                    <a:pt x="103" y="313"/>
                  </a:lnTo>
                  <a:lnTo>
                    <a:pt x="103" y="313"/>
                  </a:lnTo>
                  <a:lnTo>
                    <a:pt x="103" y="313"/>
                  </a:lnTo>
                  <a:lnTo>
                    <a:pt x="103" y="313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3" y="317"/>
                  </a:lnTo>
                  <a:lnTo>
                    <a:pt x="103" y="317"/>
                  </a:lnTo>
                  <a:lnTo>
                    <a:pt x="103" y="320"/>
                  </a:lnTo>
                  <a:lnTo>
                    <a:pt x="103" y="322"/>
                  </a:lnTo>
                  <a:lnTo>
                    <a:pt x="103" y="324"/>
                  </a:lnTo>
                  <a:lnTo>
                    <a:pt x="103" y="324"/>
                  </a:lnTo>
                  <a:lnTo>
                    <a:pt x="103" y="324"/>
                  </a:lnTo>
                  <a:lnTo>
                    <a:pt x="103" y="324"/>
                  </a:lnTo>
                  <a:lnTo>
                    <a:pt x="103" y="324"/>
                  </a:lnTo>
                  <a:lnTo>
                    <a:pt x="105" y="326"/>
                  </a:lnTo>
                  <a:lnTo>
                    <a:pt x="105" y="326"/>
                  </a:lnTo>
                  <a:lnTo>
                    <a:pt x="105" y="326"/>
                  </a:lnTo>
                  <a:lnTo>
                    <a:pt x="105" y="326"/>
                  </a:lnTo>
                  <a:lnTo>
                    <a:pt x="105" y="326"/>
                  </a:lnTo>
                  <a:lnTo>
                    <a:pt x="105" y="329"/>
                  </a:lnTo>
                  <a:lnTo>
                    <a:pt x="105" y="331"/>
                  </a:lnTo>
                  <a:lnTo>
                    <a:pt x="105" y="331"/>
                  </a:lnTo>
                  <a:lnTo>
                    <a:pt x="105" y="331"/>
                  </a:lnTo>
                  <a:lnTo>
                    <a:pt x="105" y="331"/>
                  </a:lnTo>
                  <a:lnTo>
                    <a:pt x="105" y="331"/>
                  </a:lnTo>
                  <a:lnTo>
                    <a:pt x="105" y="331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3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5" y="335"/>
                  </a:lnTo>
                  <a:lnTo>
                    <a:pt x="103" y="335"/>
                  </a:lnTo>
                  <a:lnTo>
                    <a:pt x="103" y="335"/>
                  </a:lnTo>
                  <a:lnTo>
                    <a:pt x="103" y="335"/>
                  </a:lnTo>
                  <a:lnTo>
                    <a:pt x="103" y="335"/>
                  </a:lnTo>
                  <a:lnTo>
                    <a:pt x="103" y="335"/>
                  </a:lnTo>
                  <a:lnTo>
                    <a:pt x="103" y="335"/>
                  </a:lnTo>
                  <a:lnTo>
                    <a:pt x="103" y="333"/>
                  </a:lnTo>
                  <a:lnTo>
                    <a:pt x="103" y="333"/>
                  </a:lnTo>
                  <a:lnTo>
                    <a:pt x="103" y="333"/>
                  </a:lnTo>
                  <a:lnTo>
                    <a:pt x="101" y="333"/>
                  </a:lnTo>
                  <a:lnTo>
                    <a:pt x="101" y="333"/>
                  </a:lnTo>
                  <a:lnTo>
                    <a:pt x="101" y="333"/>
                  </a:lnTo>
                  <a:lnTo>
                    <a:pt x="101" y="333"/>
                  </a:lnTo>
                  <a:lnTo>
                    <a:pt x="101" y="333"/>
                  </a:lnTo>
                  <a:lnTo>
                    <a:pt x="101" y="333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1" y="338"/>
                  </a:lnTo>
                  <a:lnTo>
                    <a:pt x="103" y="338"/>
                  </a:lnTo>
                  <a:lnTo>
                    <a:pt x="101" y="340"/>
                  </a:lnTo>
                  <a:lnTo>
                    <a:pt x="101" y="340"/>
                  </a:lnTo>
                  <a:lnTo>
                    <a:pt x="101" y="340"/>
                  </a:lnTo>
                  <a:lnTo>
                    <a:pt x="101" y="340"/>
                  </a:lnTo>
                  <a:lnTo>
                    <a:pt x="101" y="340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101" y="342"/>
                  </a:lnTo>
                  <a:lnTo>
                    <a:pt x="99" y="342"/>
                  </a:lnTo>
                  <a:lnTo>
                    <a:pt x="99" y="342"/>
                  </a:lnTo>
                  <a:lnTo>
                    <a:pt x="99" y="342"/>
                  </a:lnTo>
                  <a:lnTo>
                    <a:pt x="99" y="342"/>
                  </a:lnTo>
                  <a:lnTo>
                    <a:pt x="99" y="342"/>
                  </a:lnTo>
                  <a:lnTo>
                    <a:pt x="99" y="344"/>
                  </a:lnTo>
                  <a:lnTo>
                    <a:pt x="96" y="344"/>
                  </a:lnTo>
                  <a:lnTo>
                    <a:pt x="96" y="344"/>
                  </a:lnTo>
                  <a:lnTo>
                    <a:pt x="96" y="344"/>
                  </a:lnTo>
                  <a:lnTo>
                    <a:pt x="96" y="344"/>
                  </a:lnTo>
                  <a:lnTo>
                    <a:pt x="96" y="344"/>
                  </a:lnTo>
                  <a:lnTo>
                    <a:pt x="96" y="342"/>
                  </a:lnTo>
                  <a:lnTo>
                    <a:pt x="96" y="342"/>
                  </a:lnTo>
                  <a:lnTo>
                    <a:pt x="96" y="342"/>
                  </a:lnTo>
                  <a:lnTo>
                    <a:pt x="96" y="342"/>
                  </a:lnTo>
                  <a:lnTo>
                    <a:pt x="96" y="342"/>
                  </a:lnTo>
                  <a:lnTo>
                    <a:pt x="96" y="340"/>
                  </a:lnTo>
                  <a:lnTo>
                    <a:pt x="96" y="340"/>
                  </a:lnTo>
                  <a:lnTo>
                    <a:pt x="96" y="338"/>
                  </a:lnTo>
                  <a:lnTo>
                    <a:pt x="96" y="338"/>
                  </a:lnTo>
                  <a:lnTo>
                    <a:pt x="94" y="338"/>
                  </a:lnTo>
                  <a:lnTo>
                    <a:pt x="94" y="335"/>
                  </a:lnTo>
                  <a:lnTo>
                    <a:pt x="94" y="335"/>
                  </a:lnTo>
                  <a:lnTo>
                    <a:pt x="94" y="335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2" y="333"/>
                  </a:lnTo>
                  <a:lnTo>
                    <a:pt x="92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0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31"/>
                  </a:lnTo>
                  <a:lnTo>
                    <a:pt x="92" y="329"/>
                  </a:lnTo>
                  <a:lnTo>
                    <a:pt x="92" y="329"/>
                  </a:lnTo>
                  <a:lnTo>
                    <a:pt x="92" y="329"/>
                  </a:lnTo>
                  <a:lnTo>
                    <a:pt x="90" y="329"/>
                  </a:lnTo>
                  <a:lnTo>
                    <a:pt x="90" y="329"/>
                  </a:lnTo>
                  <a:lnTo>
                    <a:pt x="90" y="329"/>
                  </a:lnTo>
                  <a:lnTo>
                    <a:pt x="87" y="329"/>
                  </a:lnTo>
                  <a:lnTo>
                    <a:pt x="87" y="329"/>
                  </a:lnTo>
                  <a:lnTo>
                    <a:pt x="90" y="329"/>
                  </a:lnTo>
                  <a:lnTo>
                    <a:pt x="90" y="329"/>
                  </a:lnTo>
                  <a:lnTo>
                    <a:pt x="87" y="331"/>
                  </a:lnTo>
                  <a:lnTo>
                    <a:pt x="87" y="331"/>
                  </a:lnTo>
                  <a:lnTo>
                    <a:pt x="87" y="331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87" y="333"/>
                  </a:lnTo>
                  <a:lnTo>
                    <a:pt x="90" y="333"/>
                  </a:lnTo>
                  <a:lnTo>
                    <a:pt x="90" y="335"/>
                  </a:lnTo>
                  <a:lnTo>
                    <a:pt x="90" y="335"/>
                  </a:lnTo>
                  <a:lnTo>
                    <a:pt x="90" y="338"/>
                  </a:lnTo>
                  <a:lnTo>
                    <a:pt x="92" y="338"/>
                  </a:lnTo>
                  <a:lnTo>
                    <a:pt x="92" y="338"/>
                  </a:lnTo>
                  <a:lnTo>
                    <a:pt x="92" y="338"/>
                  </a:lnTo>
                  <a:lnTo>
                    <a:pt x="92" y="338"/>
                  </a:lnTo>
                  <a:lnTo>
                    <a:pt x="94" y="338"/>
                  </a:lnTo>
                  <a:lnTo>
                    <a:pt x="94" y="340"/>
                  </a:lnTo>
                  <a:lnTo>
                    <a:pt x="94" y="340"/>
                  </a:lnTo>
                  <a:lnTo>
                    <a:pt x="94" y="340"/>
                  </a:lnTo>
                  <a:lnTo>
                    <a:pt x="94" y="340"/>
                  </a:lnTo>
                  <a:lnTo>
                    <a:pt x="94" y="340"/>
                  </a:lnTo>
                  <a:lnTo>
                    <a:pt x="92" y="340"/>
                  </a:lnTo>
                  <a:lnTo>
                    <a:pt x="92" y="342"/>
                  </a:lnTo>
                  <a:lnTo>
                    <a:pt x="92" y="340"/>
                  </a:lnTo>
                  <a:lnTo>
                    <a:pt x="92" y="340"/>
                  </a:lnTo>
                  <a:lnTo>
                    <a:pt x="92" y="342"/>
                  </a:lnTo>
                  <a:lnTo>
                    <a:pt x="92" y="342"/>
                  </a:lnTo>
                  <a:lnTo>
                    <a:pt x="92" y="340"/>
                  </a:lnTo>
                  <a:lnTo>
                    <a:pt x="92" y="340"/>
                  </a:lnTo>
                  <a:lnTo>
                    <a:pt x="92" y="340"/>
                  </a:lnTo>
                  <a:lnTo>
                    <a:pt x="90" y="340"/>
                  </a:lnTo>
                  <a:lnTo>
                    <a:pt x="90" y="340"/>
                  </a:lnTo>
                  <a:lnTo>
                    <a:pt x="90" y="340"/>
                  </a:lnTo>
                  <a:lnTo>
                    <a:pt x="85" y="340"/>
                  </a:lnTo>
                  <a:lnTo>
                    <a:pt x="85" y="340"/>
                  </a:lnTo>
                  <a:lnTo>
                    <a:pt x="85" y="340"/>
                  </a:lnTo>
                  <a:lnTo>
                    <a:pt x="85" y="340"/>
                  </a:lnTo>
                  <a:lnTo>
                    <a:pt x="85" y="338"/>
                  </a:lnTo>
                  <a:lnTo>
                    <a:pt x="85" y="338"/>
                  </a:lnTo>
                  <a:lnTo>
                    <a:pt x="83" y="338"/>
                  </a:lnTo>
                  <a:lnTo>
                    <a:pt x="83" y="338"/>
                  </a:lnTo>
                  <a:lnTo>
                    <a:pt x="83" y="338"/>
                  </a:lnTo>
                  <a:lnTo>
                    <a:pt x="83" y="338"/>
                  </a:lnTo>
                  <a:lnTo>
                    <a:pt x="83" y="338"/>
                  </a:lnTo>
                  <a:lnTo>
                    <a:pt x="83" y="338"/>
                  </a:lnTo>
                  <a:lnTo>
                    <a:pt x="83" y="338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1" y="335"/>
                  </a:lnTo>
                  <a:lnTo>
                    <a:pt x="81" y="335"/>
                  </a:lnTo>
                  <a:lnTo>
                    <a:pt x="81" y="335"/>
                  </a:lnTo>
                  <a:lnTo>
                    <a:pt x="81" y="335"/>
                  </a:lnTo>
                  <a:lnTo>
                    <a:pt x="81" y="335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3" y="335"/>
                  </a:lnTo>
                  <a:lnTo>
                    <a:pt x="85" y="335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5" y="333"/>
                  </a:lnTo>
                  <a:lnTo>
                    <a:pt x="83" y="331"/>
                  </a:lnTo>
                  <a:lnTo>
                    <a:pt x="83" y="331"/>
                  </a:lnTo>
                  <a:lnTo>
                    <a:pt x="83" y="331"/>
                  </a:lnTo>
                  <a:lnTo>
                    <a:pt x="83" y="331"/>
                  </a:lnTo>
                  <a:lnTo>
                    <a:pt x="83" y="329"/>
                  </a:lnTo>
                  <a:lnTo>
                    <a:pt x="83" y="329"/>
                  </a:lnTo>
                  <a:lnTo>
                    <a:pt x="81" y="329"/>
                  </a:lnTo>
                  <a:lnTo>
                    <a:pt x="81" y="329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6"/>
                  </a:lnTo>
                  <a:lnTo>
                    <a:pt x="78" y="324"/>
                  </a:lnTo>
                  <a:lnTo>
                    <a:pt x="78" y="324"/>
                  </a:lnTo>
                  <a:lnTo>
                    <a:pt x="78" y="324"/>
                  </a:lnTo>
                  <a:lnTo>
                    <a:pt x="81" y="326"/>
                  </a:lnTo>
                  <a:lnTo>
                    <a:pt x="78" y="324"/>
                  </a:lnTo>
                  <a:lnTo>
                    <a:pt x="78" y="324"/>
                  </a:lnTo>
                  <a:lnTo>
                    <a:pt x="78" y="324"/>
                  </a:lnTo>
                  <a:lnTo>
                    <a:pt x="78" y="322"/>
                  </a:lnTo>
                  <a:lnTo>
                    <a:pt x="78" y="322"/>
                  </a:lnTo>
                  <a:lnTo>
                    <a:pt x="78" y="322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6" y="322"/>
                  </a:lnTo>
                  <a:lnTo>
                    <a:pt x="76" y="320"/>
                  </a:lnTo>
                  <a:lnTo>
                    <a:pt x="76" y="320"/>
                  </a:lnTo>
                  <a:lnTo>
                    <a:pt x="76" y="320"/>
                  </a:lnTo>
                  <a:lnTo>
                    <a:pt x="76" y="317"/>
                  </a:lnTo>
                  <a:lnTo>
                    <a:pt x="76" y="317"/>
                  </a:lnTo>
                  <a:lnTo>
                    <a:pt x="78" y="320"/>
                  </a:lnTo>
                  <a:lnTo>
                    <a:pt x="78" y="320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78" y="315"/>
                  </a:lnTo>
                  <a:lnTo>
                    <a:pt x="78" y="315"/>
                  </a:lnTo>
                  <a:lnTo>
                    <a:pt x="78" y="315"/>
                  </a:lnTo>
                  <a:lnTo>
                    <a:pt x="81" y="315"/>
                  </a:lnTo>
                  <a:lnTo>
                    <a:pt x="81" y="313"/>
                  </a:lnTo>
                  <a:lnTo>
                    <a:pt x="81" y="313"/>
                  </a:lnTo>
                  <a:lnTo>
                    <a:pt x="78" y="313"/>
                  </a:lnTo>
                  <a:lnTo>
                    <a:pt x="78" y="313"/>
                  </a:lnTo>
                  <a:lnTo>
                    <a:pt x="78" y="313"/>
                  </a:lnTo>
                  <a:lnTo>
                    <a:pt x="78" y="313"/>
                  </a:lnTo>
                  <a:lnTo>
                    <a:pt x="81" y="313"/>
                  </a:lnTo>
                  <a:lnTo>
                    <a:pt x="81" y="313"/>
                  </a:lnTo>
                  <a:lnTo>
                    <a:pt x="81" y="313"/>
                  </a:lnTo>
                  <a:lnTo>
                    <a:pt x="81" y="313"/>
                  </a:lnTo>
                  <a:lnTo>
                    <a:pt x="81" y="313"/>
                  </a:lnTo>
                  <a:lnTo>
                    <a:pt x="81" y="311"/>
                  </a:lnTo>
                  <a:lnTo>
                    <a:pt x="81" y="311"/>
                  </a:lnTo>
                  <a:lnTo>
                    <a:pt x="81" y="311"/>
                  </a:lnTo>
                  <a:lnTo>
                    <a:pt x="81" y="311"/>
                  </a:lnTo>
                  <a:lnTo>
                    <a:pt x="81" y="308"/>
                  </a:lnTo>
                  <a:lnTo>
                    <a:pt x="81" y="308"/>
                  </a:lnTo>
                  <a:lnTo>
                    <a:pt x="81" y="308"/>
                  </a:lnTo>
                  <a:lnTo>
                    <a:pt x="81" y="308"/>
                  </a:lnTo>
                  <a:lnTo>
                    <a:pt x="81" y="308"/>
                  </a:lnTo>
                  <a:lnTo>
                    <a:pt x="78" y="308"/>
                  </a:lnTo>
                  <a:lnTo>
                    <a:pt x="78" y="308"/>
                  </a:lnTo>
                  <a:lnTo>
                    <a:pt x="78" y="308"/>
                  </a:lnTo>
                  <a:lnTo>
                    <a:pt x="81" y="306"/>
                  </a:lnTo>
                  <a:lnTo>
                    <a:pt x="81" y="306"/>
                  </a:lnTo>
                  <a:lnTo>
                    <a:pt x="81" y="306"/>
                  </a:lnTo>
                  <a:lnTo>
                    <a:pt x="81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6" y="306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4"/>
                  </a:lnTo>
                  <a:lnTo>
                    <a:pt x="78" y="302"/>
                  </a:lnTo>
                  <a:lnTo>
                    <a:pt x="78" y="302"/>
                  </a:lnTo>
                  <a:lnTo>
                    <a:pt x="78" y="302"/>
                  </a:lnTo>
                  <a:lnTo>
                    <a:pt x="78" y="302"/>
                  </a:lnTo>
                  <a:lnTo>
                    <a:pt x="78" y="302"/>
                  </a:lnTo>
                  <a:lnTo>
                    <a:pt x="78" y="302"/>
                  </a:lnTo>
                  <a:lnTo>
                    <a:pt x="76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3"/>
                  </a:lnTo>
                  <a:lnTo>
                    <a:pt x="67" y="293"/>
                  </a:lnTo>
                  <a:lnTo>
                    <a:pt x="67" y="293"/>
                  </a:lnTo>
                  <a:lnTo>
                    <a:pt x="67" y="293"/>
                  </a:lnTo>
                  <a:lnTo>
                    <a:pt x="67" y="293"/>
                  </a:lnTo>
                  <a:lnTo>
                    <a:pt x="67" y="293"/>
                  </a:lnTo>
                  <a:lnTo>
                    <a:pt x="65" y="295"/>
                  </a:lnTo>
                  <a:lnTo>
                    <a:pt x="65" y="295"/>
                  </a:lnTo>
                  <a:lnTo>
                    <a:pt x="65" y="295"/>
                  </a:lnTo>
                  <a:lnTo>
                    <a:pt x="65" y="295"/>
                  </a:lnTo>
                  <a:lnTo>
                    <a:pt x="65" y="295"/>
                  </a:lnTo>
                  <a:lnTo>
                    <a:pt x="67" y="295"/>
                  </a:lnTo>
                  <a:lnTo>
                    <a:pt x="67" y="297"/>
                  </a:lnTo>
                  <a:lnTo>
                    <a:pt x="69" y="297"/>
                  </a:lnTo>
                  <a:lnTo>
                    <a:pt x="69" y="299"/>
                  </a:lnTo>
                  <a:lnTo>
                    <a:pt x="69" y="299"/>
                  </a:lnTo>
                  <a:lnTo>
                    <a:pt x="69" y="299"/>
                  </a:lnTo>
                  <a:lnTo>
                    <a:pt x="67" y="299"/>
                  </a:lnTo>
                  <a:lnTo>
                    <a:pt x="67" y="299"/>
                  </a:lnTo>
                  <a:lnTo>
                    <a:pt x="67" y="299"/>
                  </a:lnTo>
                  <a:lnTo>
                    <a:pt x="67" y="299"/>
                  </a:lnTo>
                  <a:lnTo>
                    <a:pt x="67" y="299"/>
                  </a:lnTo>
                  <a:lnTo>
                    <a:pt x="67" y="299"/>
                  </a:lnTo>
                  <a:lnTo>
                    <a:pt x="67" y="302"/>
                  </a:lnTo>
                  <a:lnTo>
                    <a:pt x="67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2"/>
                  </a:lnTo>
                  <a:lnTo>
                    <a:pt x="69" y="302"/>
                  </a:lnTo>
                  <a:lnTo>
                    <a:pt x="69" y="299"/>
                  </a:lnTo>
                  <a:lnTo>
                    <a:pt x="72" y="302"/>
                  </a:lnTo>
                  <a:lnTo>
                    <a:pt x="72" y="302"/>
                  </a:lnTo>
                  <a:lnTo>
                    <a:pt x="74" y="302"/>
                  </a:lnTo>
                  <a:lnTo>
                    <a:pt x="74" y="302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6"/>
                  </a:lnTo>
                  <a:lnTo>
                    <a:pt x="74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4"/>
                  </a:lnTo>
                  <a:lnTo>
                    <a:pt x="69" y="302"/>
                  </a:lnTo>
                  <a:lnTo>
                    <a:pt x="69" y="302"/>
                  </a:lnTo>
                  <a:lnTo>
                    <a:pt x="69" y="302"/>
                  </a:lnTo>
                  <a:lnTo>
                    <a:pt x="69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7" y="302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4"/>
                  </a:lnTo>
                  <a:lnTo>
                    <a:pt x="65" y="304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5" y="306"/>
                  </a:lnTo>
                  <a:lnTo>
                    <a:pt x="63" y="308"/>
                  </a:lnTo>
                  <a:lnTo>
                    <a:pt x="63" y="308"/>
                  </a:lnTo>
                  <a:lnTo>
                    <a:pt x="63" y="308"/>
                  </a:lnTo>
                  <a:lnTo>
                    <a:pt x="63" y="306"/>
                  </a:lnTo>
                  <a:lnTo>
                    <a:pt x="63" y="306"/>
                  </a:lnTo>
                  <a:lnTo>
                    <a:pt x="63" y="306"/>
                  </a:lnTo>
                  <a:lnTo>
                    <a:pt x="63" y="306"/>
                  </a:lnTo>
                  <a:lnTo>
                    <a:pt x="63" y="306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4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60" y="302"/>
                  </a:lnTo>
                  <a:lnTo>
                    <a:pt x="58" y="302"/>
                  </a:lnTo>
                  <a:lnTo>
                    <a:pt x="58" y="302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8" y="299"/>
                  </a:lnTo>
                  <a:lnTo>
                    <a:pt x="56" y="299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5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58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299"/>
                  </a:lnTo>
                  <a:lnTo>
                    <a:pt x="60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3" y="302"/>
                  </a:lnTo>
                  <a:lnTo>
                    <a:pt x="65" y="302"/>
                  </a:lnTo>
                  <a:lnTo>
                    <a:pt x="65" y="302"/>
                  </a:lnTo>
                  <a:lnTo>
                    <a:pt x="65" y="302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7"/>
                  </a:lnTo>
                  <a:lnTo>
                    <a:pt x="60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8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3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6" y="293"/>
                  </a:lnTo>
                  <a:lnTo>
                    <a:pt x="56" y="293"/>
                  </a:lnTo>
                  <a:lnTo>
                    <a:pt x="56" y="293"/>
                  </a:lnTo>
                  <a:lnTo>
                    <a:pt x="56" y="293"/>
                  </a:lnTo>
                  <a:lnTo>
                    <a:pt x="56" y="293"/>
                  </a:lnTo>
                  <a:lnTo>
                    <a:pt x="56" y="293"/>
                  </a:lnTo>
                  <a:lnTo>
                    <a:pt x="56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1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6" y="288"/>
                  </a:lnTo>
                  <a:lnTo>
                    <a:pt x="56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8" y="290"/>
                  </a:lnTo>
                  <a:lnTo>
                    <a:pt x="58" y="288"/>
                  </a:lnTo>
                  <a:lnTo>
                    <a:pt x="58" y="288"/>
                  </a:lnTo>
                  <a:lnTo>
                    <a:pt x="58" y="288"/>
                  </a:lnTo>
                  <a:lnTo>
                    <a:pt x="58" y="288"/>
                  </a:lnTo>
                  <a:lnTo>
                    <a:pt x="58" y="288"/>
                  </a:lnTo>
                  <a:lnTo>
                    <a:pt x="56" y="288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4"/>
                  </a:lnTo>
                  <a:lnTo>
                    <a:pt x="56" y="284"/>
                  </a:lnTo>
                  <a:lnTo>
                    <a:pt x="56" y="284"/>
                  </a:lnTo>
                  <a:lnTo>
                    <a:pt x="56" y="284"/>
                  </a:lnTo>
                  <a:lnTo>
                    <a:pt x="58" y="284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4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60" y="281"/>
                  </a:lnTo>
                  <a:lnTo>
                    <a:pt x="63" y="281"/>
                  </a:lnTo>
                  <a:lnTo>
                    <a:pt x="63" y="281"/>
                  </a:lnTo>
                  <a:lnTo>
                    <a:pt x="63" y="281"/>
                  </a:lnTo>
                  <a:lnTo>
                    <a:pt x="63" y="281"/>
                  </a:lnTo>
                  <a:lnTo>
                    <a:pt x="63" y="281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3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4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81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69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7"/>
                  </a:lnTo>
                  <a:lnTo>
                    <a:pt x="72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7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5"/>
                  </a:lnTo>
                  <a:lnTo>
                    <a:pt x="74" y="277"/>
                  </a:lnTo>
                  <a:close/>
                  <a:moveTo>
                    <a:pt x="105" y="275"/>
                  </a:moveTo>
                  <a:lnTo>
                    <a:pt x="105" y="275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5" y="272"/>
                  </a:lnTo>
                  <a:lnTo>
                    <a:pt x="105" y="272"/>
                  </a:lnTo>
                  <a:lnTo>
                    <a:pt x="105" y="272"/>
                  </a:lnTo>
                  <a:lnTo>
                    <a:pt x="105" y="272"/>
                  </a:lnTo>
                  <a:lnTo>
                    <a:pt x="105" y="272"/>
                  </a:lnTo>
                  <a:lnTo>
                    <a:pt x="105" y="275"/>
                  </a:lnTo>
                  <a:lnTo>
                    <a:pt x="108" y="275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8" y="275"/>
                  </a:lnTo>
                  <a:lnTo>
                    <a:pt x="105" y="275"/>
                  </a:lnTo>
                  <a:close/>
                  <a:moveTo>
                    <a:pt x="103" y="270"/>
                  </a:move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2"/>
                  </a:lnTo>
                  <a:lnTo>
                    <a:pt x="103" y="272"/>
                  </a:lnTo>
                  <a:lnTo>
                    <a:pt x="103" y="272"/>
                  </a:lnTo>
                  <a:lnTo>
                    <a:pt x="103" y="272"/>
                  </a:lnTo>
                  <a:lnTo>
                    <a:pt x="101" y="272"/>
                  </a:lnTo>
                  <a:lnTo>
                    <a:pt x="101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1" y="270"/>
                  </a:lnTo>
                  <a:lnTo>
                    <a:pt x="101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lnTo>
                    <a:pt x="103" y="270"/>
                  </a:lnTo>
                  <a:close/>
                  <a:moveTo>
                    <a:pt x="114" y="270"/>
                  </a:moveTo>
                  <a:lnTo>
                    <a:pt x="114" y="270"/>
                  </a:lnTo>
                  <a:lnTo>
                    <a:pt x="114" y="270"/>
                  </a:lnTo>
                  <a:lnTo>
                    <a:pt x="114" y="270"/>
                  </a:lnTo>
                  <a:lnTo>
                    <a:pt x="114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70"/>
                  </a:lnTo>
                  <a:lnTo>
                    <a:pt x="114" y="270"/>
                  </a:lnTo>
                  <a:close/>
                  <a:moveTo>
                    <a:pt x="108" y="270"/>
                  </a:move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8" y="270"/>
                  </a:lnTo>
                  <a:lnTo>
                    <a:pt x="105" y="270"/>
                  </a:lnTo>
                  <a:lnTo>
                    <a:pt x="105" y="270"/>
                  </a:lnTo>
                  <a:lnTo>
                    <a:pt x="105" y="270"/>
                  </a:lnTo>
                  <a:lnTo>
                    <a:pt x="105" y="270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8" y="268"/>
                  </a:lnTo>
                  <a:lnTo>
                    <a:pt x="108" y="270"/>
                  </a:lnTo>
                  <a:close/>
                  <a:moveTo>
                    <a:pt x="110" y="268"/>
                  </a:move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08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6"/>
                  </a:lnTo>
                  <a:lnTo>
                    <a:pt x="110" y="268"/>
                  </a:lnTo>
                  <a:close/>
                  <a:moveTo>
                    <a:pt x="112" y="268"/>
                  </a:move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8"/>
                  </a:lnTo>
                  <a:lnTo>
                    <a:pt x="110" y="266"/>
                  </a:lnTo>
                  <a:lnTo>
                    <a:pt x="110" y="266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close/>
                  <a:moveTo>
                    <a:pt x="96" y="268"/>
                  </a:moveTo>
                  <a:lnTo>
                    <a:pt x="96" y="268"/>
                  </a:lnTo>
                  <a:lnTo>
                    <a:pt x="96" y="268"/>
                  </a:lnTo>
                  <a:lnTo>
                    <a:pt x="96" y="268"/>
                  </a:lnTo>
                  <a:lnTo>
                    <a:pt x="96" y="268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8"/>
                  </a:lnTo>
                  <a:lnTo>
                    <a:pt x="96" y="268"/>
                  </a:lnTo>
                  <a:close/>
                  <a:moveTo>
                    <a:pt x="36" y="266"/>
                  </a:move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8"/>
                  </a:lnTo>
                  <a:lnTo>
                    <a:pt x="38" y="268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8"/>
                  </a:lnTo>
                  <a:lnTo>
                    <a:pt x="38" y="268"/>
                  </a:lnTo>
                  <a:lnTo>
                    <a:pt x="38" y="268"/>
                  </a:lnTo>
                  <a:lnTo>
                    <a:pt x="38" y="268"/>
                  </a:lnTo>
                  <a:lnTo>
                    <a:pt x="38" y="268"/>
                  </a:lnTo>
                  <a:lnTo>
                    <a:pt x="38" y="268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8" y="272"/>
                  </a:lnTo>
                  <a:lnTo>
                    <a:pt x="38" y="272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70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6" y="268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close/>
                  <a:moveTo>
                    <a:pt x="132" y="266"/>
                  </a:moveTo>
                  <a:lnTo>
                    <a:pt x="132" y="266"/>
                  </a:lnTo>
                  <a:lnTo>
                    <a:pt x="132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5" y="266"/>
                  </a:lnTo>
                  <a:lnTo>
                    <a:pt x="137" y="268"/>
                  </a:lnTo>
                  <a:lnTo>
                    <a:pt x="137" y="268"/>
                  </a:lnTo>
                  <a:lnTo>
                    <a:pt x="137" y="268"/>
                  </a:lnTo>
                  <a:lnTo>
                    <a:pt x="137" y="268"/>
                  </a:lnTo>
                  <a:lnTo>
                    <a:pt x="137" y="268"/>
                  </a:lnTo>
                  <a:lnTo>
                    <a:pt x="139" y="268"/>
                  </a:lnTo>
                  <a:lnTo>
                    <a:pt x="139" y="268"/>
                  </a:lnTo>
                  <a:lnTo>
                    <a:pt x="139" y="268"/>
                  </a:lnTo>
                  <a:lnTo>
                    <a:pt x="139" y="268"/>
                  </a:lnTo>
                  <a:lnTo>
                    <a:pt x="139" y="268"/>
                  </a:lnTo>
                  <a:lnTo>
                    <a:pt x="139" y="268"/>
                  </a:lnTo>
                  <a:lnTo>
                    <a:pt x="139" y="268"/>
                  </a:lnTo>
                  <a:lnTo>
                    <a:pt x="141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2"/>
                  </a:lnTo>
                  <a:lnTo>
                    <a:pt x="146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6" y="272"/>
                  </a:lnTo>
                  <a:lnTo>
                    <a:pt x="146" y="272"/>
                  </a:lnTo>
                  <a:lnTo>
                    <a:pt x="146" y="272"/>
                  </a:lnTo>
                  <a:lnTo>
                    <a:pt x="146" y="275"/>
                  </a:lnTo>
                  <a:lnTo>
                    <a:pt x="146" y="275"/>
                  </a:lnTo>
                  <a:lnTo>
                    <a:pt x="146" y="275"/>
                  </a:lnTo>
                  <a:lnTo>
                    <a:pt x="146" y="275"/>
                  </a:lnTo>
                  <a:lnTo>
                    <a:pt x="146" y="275"/>
                  </a:lnTo>
                  <a:lnTo>
                    <a:pt x="148" y="275"/>
                  </a:lnTo>
                  <a:lnTo>
                    <a:pt x="148" y="275"/>
                  </a:lnTo>
                  <a:lnTo>
                    <a:pt x="148" y="275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7"/>
                  </a:lnTo>
                  <a:lnTo>
                    <a:pt x="150" y="277"/>
                  </a:lnTo>
                  <a:lnTo>
                    <a:pt x="150" y="277"/>
                  </a:lnTo>
                  <a:lnTo>
                    <a:pt x="150" y="279"/>
                  </a:lnTo>
                  <a:lnTo>
                    <a:pt x="148" y="279"/>
                  </a:lnTo>
                  <a:lnTo>
                    <a:pt x="148" y="279"/>
                  </a:lnTo>
                  <a:lnTo>
                    <a:pt x="148" y="279"/>
                  </a:lnTo>
                  <a:lnTo>
                    <a:pt x="148" y="279"/>
                  </a:lnTo>
                  <a:lnTo>
                    <a:pt x="148" y="279"/>
                  </a:lnTo>
                  <a:lnTo>
                    <a:pt x="148" y="279"/>
                  </a:lnTo>
                  <a:lnTo>
                    <a:pt x="148" y="279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4"/>
                  </a:lnTo>
                  <a:lnTo>
                    <a:pt x="146" y="284"/>
                  </a:lnTo>
                  <a:lnTo>
                    <a:pt x="146" y="284"/>
                  </a:lnTo>
                  <a:lnTo>
                    <a:pt x="146" y="284"/>
                  </a:lnTo>
                  <a:lnTo>
                    <a:pt x="146" y="284"/>
                  </a:lnTo>
                  <a:lnTo>
                    <a:pt x="146" y="284"/>
                  </a:lnTo>
                  <a:lnTo>
                    <a:pt x="144" y="284"/>
                  </a:lnTo>
                  <a:lnTo>
                    <a:pt x="144" y="284"/>
                  </a:lnTo>
                  <a:lnTo>
                    <a:pt x="144" y="284"/>
                  </a:lnTo>
                  <a:lnTo>
                    <a:pt x="144" y="286"/>
                  </a:lnTo>
                  <a:lnTo>
                    <a:pt x="144" y="286"/>
                  </a:lnTo>
                  <a:lnTo>
                    <a:pt x="144" y="288"/>
                  </a:lnTo>
                  <a:lnTo>
                    <a:pt x="144" y="288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46" y="290"/>
                  </a:lnTo>
                  <a:lnTo>
                    <a:pt x="146" y="290"/>
                  </a:lnTo>
                  <a:lnTo>
                    <a:pt x="146" y="293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44" y="290"/>
                  </a:lnTo>
                  <a:lnTo>
                    <a:pt x="141" y="288"/>
                  </a:lnTo>
                  <a:lnTo>
                    <a:pt x="141" y="288"/>
                  </a:lnTo>
                  <a:lnTo>
                    <a:pt x="139" y="288"/>
                  </a:lnTo>
                  <a:lnTo>
                    <a:pt x="139" y="288"/>
                  </a:lnTo>
                  <a:lnTo>
                    <a:pt x="139" y="286"/>
                  </a:lnTo>
                  <a:lnTo>
                    <a:pt x="137" y="286"/>
                  </a:lnTo>
                  <a:lnTo>
                    <a:pt x="137" y="286"/>
                  </a:lnTo>
                  <a:lnTo>
                    <a:pt x="132" y="286"/>
                  </a:lnTo>
                  <a:lnTo>
                    <a:pt x="132" y="286"/>
                  </a:lnTo>
                  <a:lnTo>
                    <a:pt x="130" y="286"/>
                  </a:lnTo>
                  <a:lnTo>
                    <a:pt x="130" y="286"/>
                  </a:lnTo>
                  <a:lnTo>
                    <a:pt x="130" y="286"/>
                  </a:lnTo>
                  <a:lnTo>
                    <a:pt x="130" y="286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5"/>
                  </a:lnTo>
                  <a:lnTo>
                    <a:pt x="126" y="293"/>
                  </a:lnTo>
                  <a:lnTo>
                    <a:pt x="126" y="293"/>
                  </a:lnTo>
                  <a:lnTo>
                    <a:pt x="126" y="295"/>
                  </a:lnTo>
                  <a:lnTo>
                    <a:pt x="126" y="295"/>
                  </a:lnTo>
                  <a:lnTo>
                    <a:pt x="126" y="297"/>
                  </a:lnTo>
                  <a:lnTo>
                    <a:pt x="126" y="297"/>
                  </a:lnTo>
                  <a:lnTo>
                    <a:pt x="126" y="297"/>
                  </a:lnTo>
                  <a:lnTo>
                    <a:pt x="126" y="297"/>
                  </a:lnTo>
                  <a:lnTo>
                    <a:pt x="126" y="297"/>
                  </a:lnTo>
                  <a:lnTo>
                    <a:pt x="123" y="297"/>
                  </a:lnTo>
                  <a:lnTo>
                    <a:pt x="123" y="297"/>
                  </a:lnTo>
                  <a:lnTo>
                    <a:pt x="123" y="297"/>
                  </a:lnTo>
                  <a:lnTo>
                    <a:pt x="123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3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8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6" y="304"/>
                  </a:lnTo>
                  <a:lnTo>
                    <a:pt x="123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3" y="304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1" y="304"/>
                  </a:lnTo>
                  <a:lnTo>
                    <a:pt x="121" y="302"/>
                  </a:lnTo>
                  <a:lnTo>
                    <a:pt x="119" y="302"/>
                  </a:lnTo>
                  <a:lnTo>
                    <a:pt x="119" y="302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9" y="302"/>
                  </a:lnTo>
                  <a:lnTo>
                    <a:pt x="119" y="302"/>
                  </a:lnTo>
                  <a:lnTo>
                    <a:pt x="119" y="302"/>
                  </a:lnTo>
                  <a:lnTo>
                    <a:pt x="119" y="299"/>
                  </a:lnTo>
                  <a:lnTo>
                    <a:pt x="119" y="299"/>
                  </a:lnTo>
                  <a:lnTo>
                    <a:pt x="119" y="299"/>
                  </a:lnTo>
                  <a:lnTo>
                    <a:pt x="117" y="299"/>
                  </a:lnTo>
                  <a:lnTo>
                    <a:pt x="117" y="299"/>
                  </a:lnTo>
                  <a:lnTo>
                    <a:pt x="117" y="299"/>
                  </a:lnTo>
                  <a:lnTo>
                    <a:pt x="117" y="299"/>
                  </a:lnTo>
                  <a:lnTo>
                    <a:pt x="114" y="299"/>
                  </a:lnTo>
                  <a:lnTo>
                    <a:pt x="117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9"/>
                  </a:lnTo>
                  <a:lnTo>
                    <a:pt x="114" y="297"/>
                  </a:lnTo>
                  <a:lnTo>
                    <a:pt x="114" y="297"/>
                  </a:lnTo>
                  <a:lnTo>
                    <a:pt x="114" y="297"/>
                  </a:lnTo>
                  <a:lnTo>
                    <a:pt x="114" y="297"/>
                  </a:lnTo>
                  <a:lnTo>
                    <a:pt x="112" y="297"/>
                  </a:lnTo>
                  <a:lnTo>
                    <a:pt x="112" y="297"/>
                  </a:lnTo>
                  <a:lnTo>
                    <a:pt x="112" y="297"/>
                  </a:lnTo>
                  <a:lnTo>
                    <a:pt x="112" y="297"/>
                  </a:lnTo>
                  <a:lnTo>
                    <a:pt x="112" y="297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2" y="295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0" y="293"/>
                  </a:lnTo>
                  <a:lnTo>
                    <a:pt x="110" y="293"/>
                  </a:lnTo>
                  <a:lnTo>
                    <a:pt x="110" y="293"/>
                  </a:lnTo>
                  <a:lnTo>
                    <a:pt x="110" y="293"/>
                  </a:lnTo>
                  <a:lnTo>
                    <a:pt x="110" y="293"/>
                  </a:lnTo>
                  <a:lnTo>
                    <a:pt x="110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3"/>
                  </a:lnTo>
                  <a:lnTo>
                    <a:pt x="112" y="290"/>
                  </a:lnTo>
                  <a:lnTo>
                    <a:pt x="112" y="290"/>
                  </a:lnTo>
                  <a:lnTo>
                    <a:pt x="112" y="290"/>
                  </a:lnTo>
                  <a:lnTo>
                    <a:pt x="110" y="290"/>
                  </a:lnTo>
                  <a:lnTo>
                    <a:pt x="110" y="290"/>
                  </a:lnTo>
                  <a:lnTo>
                    <a:pt x="110" y="290"/>
                  </a:lnTo>
                  <a:lnTo>
                    <a:pt x="110" y="290"/>
                  </a:lnTo>
                  <a:lnTo>
                    <a:pt x="110" y="290"/>
                  </a:lnTo>
                  <a:lnTo>
                    <a:pt x="112" y="290"/>
                  </a:lnTo>
                  <a:lnTo>
                    <a:pt x="112" y="290"/>
                  </a:lnTo>
                  <a:lnTo>
                    <a:pt x="110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90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8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8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1" y="288"/>
                  </a:lnTo>
                  <a:lnTo>
                    <a:pt x="101" y="290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8"/>
                  </a:lnTo>
                  <a:lnTo>
                    <a:pt x="103" y="286"/>
                  </a:lnTo>
                  <a:lnTo>
                    <a:pt x="103" y="286"/>
                  </a:lnTo>
                  <a:lnTo>
                    <a:pt x="103" y="286"/>
                  </a:lnTo>
                  <a:lnTo>
                    <a:pt x="103" y="286"/>
                  </a:lnTo>
                  <a:lnTo>
                    <a:pt x="105" y="286"/>
                  </a:lnTo>
                  <a:lnTo>
                    <a:pt x="105" y="286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08" y="284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5"/>
                  </a:lnTo>
                  <a:lnTo>
                    <a:pt x="110" y="275"/>
                  </a:lnTo>
                  <a:lnTo>
                    <a:pt x="110" y="275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0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2"/>
                  </a:lnTo>
                  <a:lnTo>
                    <a:pt x="112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2" y="270"/>
                  </a:lnTo>
                  <a:lnTo>
                    <a:pt x="114" y="272"/>
                  </a:lnTo>
                  <a:lnTo>
                    <a:pt x="114" y="275"/>
                  </a:lnTo>
                  <a:lnTo>
                    <a:pt x="114" y="275"/>
                  </a:lnTo>
                  <a:lnTo>
                    <a:pt x="114" y="275"/>
                  </a:lnTo>
                  <a:lnTo>
                    <a:pt x="117" y="275"/>
                  </a:lnTo>
                  <a:lnTo>
                    <a:pt x="117" y="275"/>
                  </a:lnTo>
                  <a:lnTo>
                    <a:pt x="117" y="275"/>
                  </a:lnTo>
                  <a:lnTo>
                    <a:pt x="117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19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1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3" y="275"/>
                  </a:lnTo>
                  <a:lnTo>
                    <a:pt x="126" y="275"/>
                  </a:lnTo>
                  <a:lnTo>
                    <a:pt x="126" y="275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2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3" y="270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1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3" y="268"/>
                  </a:lnTo>
                  <a:lnTo>
                    <a:pt x="126" y="268"/>
                  </a:lnTo>
                  <a:lnTo>
                    <a:pt x="126" y="268"/>
                  </a:lnTo>
                  <a:lnTo>
                    <a:pt x="126" y="268"/>
                  </a:lnTo>
                  <a:lnTo>
                    <a:pt x="126" y="268"/>
                  </a:lnTo>
                  <a:lnTo>
                    <a:pt x="126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28" y="266"/>
                  </a:lnTo>
                  <a:lnTo>
                    <a:pt x="130" y="266"/>
                  </a:lnTo>
                  <a:lnTo>
                    <a:pt x="130" y="266"/>
                  </a:lnTo>
                  <a:lnTo>
                    <a:pt x="130" y="266"/>
                  </a:lnTo>
                  <a:lnTo>
                    <a:pt x="130" y="266"/>
                  </a:lnTo>
                  <a:lnTo>
                    <a:pt x="130" y="266"/>
                  </a:lnTo>
                  <a:lnTo>
                    <a:pt x="130" y="266"/>
                  </a:lnTo>
                  <a:lnTo>
                    <a:pt x="130" y="266"/>
                  </a:lnTo>
                  <a:lnTo>
                    <a:pt x="132" y="266"/>
                  </a:lnTo>
                  <a:lnTo>
                    <a:pt x="132" y="266"/>
                  </a:lnTo>
                  <a:lnTo>
                    <a:pt x="132" y="263"/>
                  </a:lnTo>
                  <a:lnTo>
                    <a:pt x="132" y="266"/>
                  </a:lnTo>
                  <a:lnTo>
                    <a:pt x="132" y="266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6"/>
                  </a:lnTo>
                  <a:lnTo>
                    <a:pt x="132" y="266"/>
                  </a:lnTo>
                  <a:close/>
                  <a:moveTo>
                    <a:pt x="123" y="266"/>
                  </a:moveTo>
                  <a:lnTo>
                    <a:pt x="123" y="266"/>
                  </a:lnTo>
                  <a:lnTo>
                    <a:pt x="123" y="266"/>
                  </a:lnTo>
                  <a:lnTo>
                    <a:pt x="123" y="266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3"/>
                  </a:lnTo>
                  <a:lnTo>
                    <a:pt x="123" y="266"/>
                  </a:lnTo>
                  <a:lnTo>
                    <a:pt x="123" y="266"/>
                  </a:lnTo>
                  <a:lnTo>
                    <a:pt x="123" y="266"/>
                  </a:lnTo>
                  <a:lnTo>
                    <a:pt x="123" y="266"/>
                  </a:lnTo>
                  <a:close/>
                  <a:moveTo>
                    <a:pt x="135" y="261"/>
                  </a:moveTo>
                  <a:lnTo>
                    <a:pt x="135" y="261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5" y="263"/>
                  </a:lnTo>
                  <a:lnTo>
                    <a:pt x="132" y="263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3"/>
                  </a:lnTo>
                  <a:lnTo>
                    <a:pt x="132" y="263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lnTo>
                    <a:pt x="135" y="261"/>
                  </a:lnTo>
                  <a:close/>
                  <a:moveTo>
                    <a:pt x="150" y="268"/>
                  </a:moveTo>
                  <a:lnTo>
                    <a:pt x="148" y="268"/>
                  </a:lnTo>
                  <a:lnTo>
                    <a:pt x="148" y="268"/>
                  </a:lnTo>
                  <a:lnTo>
                    <a:pt x="148" y="268"/>
                  </a:lnTo>
                  <a:lnTo>
                    <a:pt x="148" y="268"/>
                  </a:lnTo>
                  <a:lnTo>
                    <a:pt x="148" y="268"/>
                  </a:lnTo>
                  <a:lnTo>
                    <a:pt x="148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8"/>
                  </a:lnTo>
                  <a:lnTo>
                    <a:pt x="146" y="268"/>
                  </a:lnTo>
                  <a:lnTo>
                    <a:pt x="146" y="268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4" y="266"/>
                  </a:lnTo>
                  <a:lnTo>
                    <a:pt x="144" y="266"/>
                  </a:lnTo>
                  <a:lnTo>
                    <a:pt x="146" y="263"/>
                  </a:lnTo>
                  <a:lnTo>
                    <a:pt x="146" y="263"/>
                  </a:lnTo>
                  <a:lnTo>
                    <a:pt x="146" y="263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61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8" y="259"/>
                  </a:lnTo>
                  <a:lnTo>
                    <a:pt x="148" y="259"/>
                  </a:lnTo>
                  <a:lnTo>
                    <a:pt x="148" y="259"/>
                  </a:lnTo>
                  <a:lnTo>
                    <a:pt x="148" y="261"/>
                  </a:lnTo>
                  <a:lnTo>
                    <a:pt x="148" y="261"/>
                  </a:lnTo>
                  <a:lnTo>
                    <a:pt x="148" y="261"/>
                  </a:lnTo>
                  <a:lnTo>
                    <a:pt x="148" y="261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3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48" y="266"/>
                  </a:lnTo>
                  <a:lnTo>
                    <a:pt x="150" y="266"/>
                  </a:lnTo>
                  <a:lnTo>
                    <a:pt x="150" y="268"/>
                  </a:lnTo>
                  <a:lnTo>
                    <a:pt x="150" y="268"/>
                  </a:lnTo>
                  <a:close/>
                  <a:moveTo>
                    <a:pt x="38" y="259"/>
                  </a:move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59"/>
                  </a:lnTo>
                  <a:lnTo>
                    <a:pt x="38" y="261"/>
                  </a:lnTo>
                  <a:lnTo>
                    <a:pt x="38" y="261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3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8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6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3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6" y="261"/>
                  </a:lnTo>
                  <a:lnTo>
                    <a:pt x="33" y="261"/>
                  </a:lnTo>
                  <a:lnTo>
                    <a:pt x="33" y="261"/>
                  </a:lnTo>
                  <a:lnTo>
                    <a:pt x="33" y="259"/>
                  </a:lnTo>
                  <a:lnTo>
                    <a:pt x="33" y="259"/>
                  </a:lnTo>
                  <a:lnTo>
                    <a:pt x="33" y="259"/>
                  </a:lnTo>
                  <a:lnTo>
                    <a:pt x="33" y="259"/>
                  </a:lnTo>
                  <a:lnTo>
                    <a:pt x="33" y="259"/>
                  </a:lnTo>
                  <a:lnTo>
                    <a:pt x="33" y="259"/>
                  </a:lnTo>
                  <a:lnTo>
                    <a:pt x="36" y="259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8" y="257"/>
                  </a:lnTo>
                  <a:lnTo>
                    <a:pt x="38" y="259"/>
                  </a:lnTo>
                  <a:close/>
                  <a:moveTo>
                    <a:pt x="94" y="225"/>
                  </a:moveTo>
                  <a:lnTo>
                    <a:pt x="94" y="225"/>
                  </a:lnTo>
                  <a:lnTo>
                    <a:pt x="94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4" y="225"/>
                  </a:lnTo>
                  <a:close/>
                  <a:moveTo>
                    <a:pt x="94" y="223"/>
                  </a:moveTo>
                  <a:lnTo>
                    <a:pt x="94" y="223"/>
                  </a:lnTo>
                  <a:lnTo>
                    <a:pt x="94" y="225"/>
                  </a:lnTo>
                  <a:lnTo>
                    <a:pt x="94" y="225"/>
                  </a:lnTo>
                  <a:lnTo>
                    <a:pt x="94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4" y="223"/>
                  </a:lnTo>
                  <a:close/>
                  <a:moveTo>
                    <a:pt x="94" y="223"/>
                  </a:move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4" y="223"/>
                  </a:lnTo>
                  <a:close/>
                  <a:moveTo>
                    <a:pt x="92" y="223"/>
                  </a:move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close/>
                  <a:moveTo>
                    <a:pt x="96" y="221"/>
                  </a:move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4" y="223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4" y="221"/>
                  </a:lnTo>
                  <a:lnTo>
                    <a:pt x="92" y="218"/>
                  </a:lnTo>
                  <a:lnTo>
                    <a:pt x="92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4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6" y="221"/>
                  </a:lnTo>
                  <a:lnTo>
                    <a:pt x="96" y="221"/>
                  </a:lnTo>
                  <a:close/>
                  <a:moveTo>
                    <a:pt x="159" y="198"/>
                  </a:moveTo>
                  <a:lnTo>
                    <a:pt x="159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9" y="198"/>
                  </a:lnTo>
                  <a:lnTo>
                    <a:pt x="159" y="198"/>
                  </a:lnTo>
                  <a:close/>
                  <a:moveTo>
                    <a:pt x="175" y="178"/>
                  </a:moveTo>
                  <a:lnTo>
                    <a:pt x="175" y="178"/>
                  </a:lnTo>
                  <a:lnTo>
                    <a:pt x="175" y="178"/>
                  </a:lnTo>
                  <a:lnTo>
                    <a:pt x="175" y="176"/>
                  </a:lnTo>
                  <a:lnTo>
                    <a:pt x="175" y="178"/>
                  </a:lnTo>
                  <a:lnTo>
                    <a:pt x="175" y="176"/>
                  </a:lnTo>
                  <a:lnTo>
                    <a:pt x="177" y="176"/>
                  </a:lnTo>
                  <a:lnTo>
                    <a:pt x="177" y="178"/>
                  </a:lnTo>
                  <a:lnTo>
                    <a:pt x="177" y="178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3" y="182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8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1" y="176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1" y="173"/>
                  </a:lnTo>
                  <a:lnTo>
                    <a:pt x="173" y="173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1"/>
                  </a:lnTo>
                  <a:lnTo>
                    <a:pt x="173" y="173"/>
                  </a:lnTo>
                  <a:lnTo>
                    <a:pt x="173" y="173"/>
                  </a:lnTo>
                  <a:lnTo>
                    <a:pt x="175" y="176"/>
                  </a:lnTo>
                  <a:lnTo>
                    <a:pt x="175" y="176"/>
                  </a:lnTo>
                  <a:lnTo>
                    <a:pt x="175" y="178"/>
                  </a:lnTo>
                  <a:close/>
                  <a:moveTo>
                    <a:pt x="184" y="99"/>
                  </a:moveTo>
                  <a:lnTo>
                    <a:pt x="186" y="99"/>
                  </a:lnTo>
                  <a:lnTo>
                    <a:pt x="186" y="99"/>
                  </a:lnTo>
                  <a:lnTo>
                    <a:pt x="186" y="99"/>
                  </a:lnTo>
                  <a:lnTo>
                    <a:pt x="188" y="99"/>
                  </a:lnTo>
                  <a:lnTo>
                    <a:pt x="188" y="97"/>
                  </a:lnTo>
                  <a:lnTo>
                    <a:pt x="188" y="97"/>
                  </a:lnTo>
                  <a:lnTo>
                    <a:pt x="188" y="97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91" y="104"/>
                  </a:lnTo>
                  <a:lnTo>
                    <a:pt x="191" y="106"/>
                  </a:lnTo>
                  <a:lnTo>
                    <a:pt x="193" y="108"/>
                  </a:lnTo>
                  <a:lnTo>
                    <a:pt x="193" y="108"/>
                  </a:lnTo>
                  <a:lnTo>
                    <a:pt x="193" y="110"/>
                  </a:lnTo>
                  <a:lnTo>
                    <a:pt x="197" y="113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2" y="119"/>
                  </a:lnTo>
                  <a:lnTo>
                    <a:pt x="204" y="119"/>
                  </a:lnTo>
                  <a:lnTo>
                    <a:pt x="206" y="119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9" y="122"/>
                  </a:lnTo>
                  <a:lnTo>
                    <a:pt x="209" y="122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11" y="124"/>
                  </a:lnTo>
                  <a:lnTo>
                    <a:pt x="211" y="124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1" y="126"/>
                  </a:lnTo>
                  <a:lnTo>
                    <a:pt x="213" y="126"/>
                  </a:lnTo>
                  <a:lnTo>
                    <a:pt x="213" y="126"/>
                  </a:lnTo>
                  <a:lnTo>
                    <a:pt x="213" y="126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3" y="128"/>
                  </a:lnTo>
                  <a:lnTo>
                    <a:pt x="215" y="131"/>
                  </a:lnTo>
                  <a:lnTo>
                    <a:pt x="215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1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18" y="133"/>
                  </a:lnTo>
                  <a:lnTo>
                    <a:pt x="220" y="133"/>
                  </a:lnTo>
                  <a:lnTo>
                    <a:pt x="220" y="133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2" y="135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37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4" y="140"/>
                  </a:lnTo>
                  <a:lnTo>
                    <a:pt x="224" y="140"/>
                  </a:lnTo>
                  <a:lnTo>
                    <a:pt x="224" y="140"/>
                  </a:lnTo>
                  <a:lnTo>
                    <a:pt x="224" y="140"/>
                  </a:lnTo>
                  <a:lnTo>
                    <a:pt x="224" y="140"/>
                  </a:lnTo>
                  <a:lnTo>
                    <a:pt x="224" y="140"/>
                  </a:lnTo>
                  <a:lnTo>
                    <a:pt x="224" y="140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4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4" y="144"/>
                  </a:lnTo>
                  <a:lnTo>
                    <a:pt x="224" y="144"/>
                  </a:lnTo>
                  <a:lnTo>
                    <a:pt x="224" y="144"/>
                  </a:lnTo>
                  <a:lnTo>
                    <a:pt x="224" y="144"/>
                  </a:lnTo>
                  <a:lnTo>
                    <a:pt x="224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4" y="146"/>
                  </a:lnTo>
                  <a:lnTo>
                    <a:pt x="224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4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7" y="146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7" y="151"/>
                  </a:lnTo>
                  <a:lnTo>
                    <a:pt x="227" y="149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7" y="151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9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4" y="155"/>
                  </a:lnTo>
                  <a:lnTo>
                    <a:pt x="227" y="155"/>
                  </a:lnTo>
                  <a:lnTo>
                    <a:pt x="227" y="155"/>
                  </a:lnTo>
                  <a:lnTo>
                    <a:pt x="224" y="155"/>
                  </a:lnTo>
                  <a:lnTo>
                    <a:pt x="224" y="155"/>
                  </a:lnTo>
                  <a:lnTo>
                    <a:pt x="227" y="155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7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4" y="158"/>
                  </a:lnTo>
                  <a:lnTo>
                    <a:pt x="227" y="158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4" y="160"/>
                  </a:lnTo>
                  <a:lnTo>
                    <a:pt x="224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0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9" y="164"/>
                  </a:lnTo>
                  <a:lnTo>
                    <a:pt x="229" y="167"/>
                  </a:lnTo>
                  <a:lnTo>
                    <a:pt x="229" y="164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7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69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7" y="169"/>
                  </a:lnTo>
                  <a:lnTo>
                    <a:pt x="227" y="169"/>
                  </a:lnTo>
                  <a:lnTo>
                    <a:pt x="227" y="169"/>
                  </a:lnTo>
                  <a:lnTo>
                    <a:pt x="227" y="169"/>
                  </a:lnTo>
                  <a:lnTo>
                    <a:pt x="224" y="169"/>
                  </a:lnTo>
                  <a:lnTo>
                    <a:pt x="224" y="169"/>
                  </a:lnTo>
                  <a:lnTo>
                    <a:pt x="224" y="169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4" y="171"/>
                  </a:lnTo>
                  <a:lnTo>
                    <a:pt x="222" y="169"/>
                  </a:lnTo>
                  <a:lnTo>
                    <a:pt x="222" y="169"/>
                  </a:lnTo>
                  <a:lnTo>
                    <a:pt x="222" y="169"/>
                  </a:lnTo>
                  <a:lnTo>
                    <a:pt x="222" y="169"/>
                  </a:lnTo>
                  <a:lnTo>
                    <a:pt x="222" y="169"/>
                  </a:lnTo>
                  <a:lnTo>
                    <a:pt x="222" y="169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1"/>
                  </a:lnTo>
                  <a:lnTo>
                    <a:pt x="222" y="173"/>
                  </a:lnTo>
                  <a:lnTo>
                    <a:pt x="222" y="173"/>
                  </a:lnTo>
                  <a:lnTo>
                    <a:pt x="222" y="173"/>
                  </a:lnTo>
                  <a:lnTo>
                    <a:pt x="222" y="178"/>
                  </a:lnTo>
                  <a:lnTo>
                    <a:pt x="224" y="178"/>
                  </a:lnTo>
                  <a:lnTo>
                    <a:pt x="224" y="180"/>
                  </a:lnTo>
                  <a:lnTo>
                    <a:pt x="224" y="180"/>
                  </a:lnTo>
                  <a:lnTo>
                    <a:pt x="227" y="182"/>
                  </a:lnTo>
                  <a:lnTo>
                    <a:pt x="227" y="182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29" y="187"/>
                  </a:lnTo>
                  <a:lnTo>
                    <a:pt x="229" y="187"/>
                  </a:lnTo>
                  <a:lnTo>
                    <a:pt x="229" y="187"/>
                  </a:lnTo>
                  <a:lnTo>
                    <a:pt x="229" y="187"/>
                  </a:lnTo>
                  <a:lnTo>
                    <a:pt x="231" y="187"/>
                  </a:lnTo>
                  <a:lnTo>
                    <a:pt x="233" y="194"/>
                  </a:lnTo>
                  <a:lnTo>
                    <a:pt x="233" y="194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6" y="198"/>
                  </a:lnTo>
                  <a:lnTo>
                    <a:pt x="236" y="198"/>
                  </a:lnTo>
                  <a:lnTo>
                    <a:pt x="236" y="200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6" y="203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5"/>
                  </a:lnTo>
                  <a:lnTo>
                    <a:pt x="236" y="207"/>
                  </a:lnTo>
                  <a:lnTo>
                    <a:pt x="236" y="207"/>
                  </a:lnTo>
                  <a:lnTo>
                    <a:pt x="236" y="212"/>
                  </a:lnTo>
                  <a:lnTo>
                    <a:pt x="236" y="214"/>
                  </a:lnTo>
                  <a:lnTo>
                    <a:pt x="236" y="214"/>
                  </a:lnTo>
                  <a:lnTo>
                    <a:pt x="238" y="216"/>
                  </a:lnTo>
                  <a:lnTo>
                    <a:pt x="238" y="216"/>
                  </a:lnTo>
                  <a:lnTo>
                    <a:pt x="238" y="216"/>
                  </a:lnTo>
                  <a:lnTo>
                    <a:pt x="238" y="216"/>
                  </a:lnTo>
                  <a:lnTo>
                    <a:pt x="238" y="218"/>
                  </a:lnTo>
                  <a:lnTo>
                    <a:pt x="238" y="218"/>
                  </a:lnTo>
                  <a:lnTo>
                    <a:pt x="238" y="221"/>
                  </a:lnTo>
                  <a:lnTo>
                    <a:pt x="238" y="221"/>
                  </a:lnTo>
                  <a:lnTo>
                    <a:pt x="240" y="223"/>
                  </a:lnTo>
                  <a:lnTo>
                    <a:pt x="240" y="223"/>
                  </a:lnTo>
                  <a:lnTo>
                    <a:pt x="242" y="225"/>
                  </a:lnTo>
                  <a:lnTo>
                    <a:pt x="247" y="230"/>
                  </a:lnTo>
                  <a:lnTo>
                    <a:pt x="249" y="232"/>
                  </a:lnTo>
                  <a:lnTo>
                    <a:pt x="249" y="232"/>
                  </a:lnTo>
                  <a:lnTo>
                    <a:pt x="249" y="232"/>
                  </a:lnTo>
                  <a:lnTo>
                    <a:pt x="249" y="232"/>
                  </a:lnTo>
                  <a:lnTo>
                    <a:pt x="251" y="232"/>
                  </a:lnTo>
                  <a:lnTo>
                    <a:pt x="251" y="232"/>
                  </a:lnTo>
                  <a:lnTo>
                    <a:pt x="251" y="232"/>
                  </a:lnTo>
                  <a:lnTo>
                    <a:pt x="251" y="234"/>
                  </a:lnTo>
                  <a:lnTo>
                    <a:pt x="251" y="234"/>
                  </a:lnTo>
                  <a:lnTo>
                    <a:pt x="251" y="234"/>
                  </a:lnTo>
                  <a:lnTo>
                    <a:pt x="249" y="234"/>
                  </a:lnTo>
                  <a:lnTo>
                    <a:pt x="249" y="234"/>
                  </a:lnTo>
                  <a:lnTo>
                    <a:pt x="249" y="234"/>
                  </a:lnTo>
                  <a:lnTo>
                    <a:pt x="249" y="234"/>
                  </a:lnTo>
                  <a:lnTo>
                    <a:pt x="249" y="234"/>
                  </a:lnTo>
                  <a:lnTo>
                    <a:pt x="249" y="234"/>
                  </a:lnTo>
                  <a:lnTo>
                    <a:pt x="247" y="234"/>
                  </a:lnTo>
                  <a:lnTo>
                    <a:pt x="247" y="234"/>
                  </a:lnTo>
                  <a:lnTo>
                    <a:pt x="245" y="236"/>
                  </a:lnTo>
                  <a:lnTo>
                    <a:pt x="245" y="239"/>
                  </a:lnTo>
                  <a:lnTo>
                    <a:pt x="245" y="241"/>
                  </a:lnTo>
                  <a:lnTo>
                    <a:pt x="245" y="241"/>
                  </a:lnTo>
                  <a:lnTo>
                    <a:pt x="247" y="243"/>
                  </a:lnTo>
                  <a:lnTo>
                    <a:pt x="247" y="243"/>
                  </a:lnTo>
                  <a:lnTo>
                    <a:pt x="247" y="245"/>
                  </a:lnTo>
                  <a:lnTo>
                    <a:pt x="247" y="245"/>
                  </a:lnTo>
                  <a:lnTo>
                    <a:pt x="247" y="245"/>
                  </a:lnTo>
                  <a:lnTo>
                    <a:pt x="247" y="245"/>
                  </a:lnTo>
                  <a:lnTo>
                    <a:pt x="247" y="245"/>
                  </a:lnTo>
                  <a:lnTo>
                    <a:pt x="247" y="245"/>
                  </a:lnTo>
                  <a:lnTo>
                    <a:pt x="247" y="245"/>
                  </a:lnTo>
                  <a:lnTo>
                    <a:pt x="247" y="248"/>
                  </a:lnTo>
                  <a:lnTo>
                    <a:pt x="247" y="248"/>
                  </a:lnTo>
                  <a:lnTo>
                    <a:pt x="245" y="248"/>
                  </a:lnTo>
                  <a:lnTo>
                    <a:pt x="245" y="248"/>
                  </a:lnTo>
                  <a:lnTo>
                    <a:pt x="245" y="248"/>
                  </a:lnTo>
                  <a:lnTo>
                    <a:pt x="245" y="248"/>
                  </a:lnTo>
                  <a:lnTo>
                    <a:pt x="242" y="248"/>
                  </a:lnTo>
                  <a:lnTo>
                    <a:pt x="242" y="248"/>
                  </a:lnTo>
                  <a:lnTo>
                    <a:pt x="242" y="248"/>
                  </a:lnTo>
                  <a:lnTo>
                    <a:pt x="242" y="248"/>
                  </a:lnTo>
                  <a:lnTo>
                    <a:pt x="242" y="248"/>
                  </a:lnTo>
                  <a:lnTo>
                    <a:pt x="242" y="248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2" y="250"/>
                  </a:lnTo>
                  <a:lnTo>
                    <a:pt x="242" y="252"/>
                  </a:lnTo>
                  <a:lnTo>
                    <a:pt x="242" y="252"/>
                  </a:lnTo>
                  <a:lnTo>
                    <a:pt x="242" y="252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40" y="252"/>
                  </a:lnTo>
                  <a:lnTo>
                    <a:pt x="238" y="252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50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8" y="248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5"/>
                  </a:lnTo>
                  <a:lnTo>
                    <a:pt x="236" y="243"/>
                  </a:lnTo>
                  <a:lnTo>
                    <a:pt x="236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41"/>
                  </a:lnTo>
                  <a:lnTo>
                    <a:pt x="236" y="239"/>
                  </a:lnTo>
                  <a:lnTo>
                    <a:pt x="236" y="239"/>
                  </a:lnTo>
                  <a:lnTo>
                    <a:pt x="236" y="239"/>
                  </a:lnTo>
                  <a:lnTo>
                    <a:pt x="236" y="239"/>
                  </a:lnTo>
                  <a:lnTo>
                    <a:pt x="236" y="239"/>
                  </a:lnTo>
                  <a:lnTo>
                    <a:pt x="236" y="239"/>
                  </a:lnTo>
                  <a:lnTo>
                    <a:pt x="238" y="239"/>
                  </a:lnTo>
                  <a:lnTo>
                    <a:pt x="238" y="236"/>
                  </a:lnTo>
                  <a:lnTo>
                    <a:pt x="238" y="236"/>
                  </a:lnTo>
                  <a:lnTo>
                    <a:pt x="238" y="236"/>
                  </a:lnTo>
                  <a:lnTo>
                    <a:pt x="238" y="236"/>
                  </a:lnTo>
                  <a:lnTo>
                    <a:pt x="236" y="236"/>
                  </a:lnTo>
                  <a:lnTo>
                    <a:pt x="236" y="236"/>
                  </a:lnTo>
                  <a:lnTo>
                    <a:pt x="236" y="236"/>
                  </a:lnTo>
                  <a:lnTo>
                    <a:pt x="236" y="234"/>
                  </a:lnTo>
                  <a:lnTo>
                    <a:pt x="236" y="234"/>
                  </a:lnTo>
                  <a:lnTo>
                    <a:pt x="236" y="234"/>
                  </a:lnTo>
                  <a:lnTo>
                    <a:pt x="236" y="234"/>
                  </a:lnTo>
                  <a:lnTo>
                    <a:pt x="236" y="234"/>
                  </a:lnTo>
                  <a:lnTo>
                    <a:pt x="233" y="234"/>
                  </a:lnTo>
                  <a:lnTo>
                    <a:pt x="233" y="234"/>
                  </a:lnTo>
                  <a:lnTo>
                    <a:pt x="233" y="234"/>
                  </a:lnTo>
                  <a:lnTo>
                    <a:pt x="233" y="234"/>
                  </a:lnTo>
                  <a:lnTo>
                    <a:pt x="233" y="234"/>
                  </a:lnTo>
                  <a:lnTo>
                    <a:pt x="233" y="234"/>
                  </a:lnTo>
                  <a:lnTo>
                    <a:pt x="233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29" y="234"/>
                  </a:lnTo>
                  <a:lnTo>
                    <a:pt x="229" y="234"/>
                  </a:lnTo>
                  <a:lnTo>
                    <a:pt x="231" y="236"/>
                  </a:lnTo>
                  <a:lnTo>
                    <a:pt x="231" y="236"/>
                  </a:lnTo>
                  <a:lnTo>
                    <a:pt x="231" y="236"/>
                  </a:lnTo>
                  <a:lnTo>
                    <a:pt x="231" y="236"/>
                  </a:lnTo>
                  <a:lnTo>
                    <a:pt x="231" y="236"/>
                  </a:lnTo>
                  <a:lnTo>
                    <a:pt x="231" y="236"/>
                  </a:lnTo>
                  <a:lnTo>
                    <a:pt x="231" y="239"/>
                  </a:lnTo>
                  <a:lnTo>
                    <a:pt x="231" y="239"/>
                  </a:lnTo>
                  <a:lnTo>
                    <a:pt x="231" y="239"/>
                  </a:lnTo>
                  <a:lnTo>
                    <a:pt x="231" y="239"/>
                  </a:lnTo>
                  <a:lnTo>
                    <a:pt x="229" y="239"/>
                  </a:lnTo>
                  <a:lnTo>
                    <a:pt x="229" y="239"/>
                  </a:lnTo>
                  <a:lnTo>
                    <a:pt x="229" y="239"/>
                  </a:lnTo>
                  <a:lnTo>
                    <a:pt x="229" y="239"/>
                  </a:lnTo>
                  <a:lnTo>
                    <a:pt x="231" y="239"/>
                  </a:lnTo>
                  <a:lnTo>
                    <a:pt x="231" y="239"/>
                  </a:lnTo>
                  <a:lnTo>
                    <a:pt x="231" y="241"/>
                  </a:lnTo>
                  <a:lnTo>
                    <a:pt x="231" y="241"/>
                  </a:lnTo>
                  <a:lnTo>
                    <a:pt x="231" y="241"/>
                  </a:lnTo>
                  <a:lnTo>
                    <a:pt x="231" y="241"/>
                  </a:lnTo>
                  <a:lnTo>
                    <a:pt x="229" y="241"/>
                  </a:lnTo>
                  <a:lnTo>
                    <a:pt x="229" y="241"/>
                  </a:lnTo>
                  <a:lnTo>
                    <a:pt x="231" y="241"/>
                  </a:lnTo>
                  <a:lnTo>
                    <a:pt x="231" y="241"/>
                  </a:lnTo>
                  <a:lnTo>
                    <a:pt x="231" y="241"/>
                  </a:lnTo>
                  <a:lnTo>
                    <a:pt x="231" y="243"/>
                  </a:lnTo>
                  <a:lnTo>
                    <a:pt x="231" y="243"/>
                  </a:lnTo>
                  <a:lnTo>
                    <a:pt x="231" y="243"/>
                  </a:lnTo>
                  <a:lnTo>
                    <a:pt x="231" y="243"/>
                  </a:lnTo>
                  <a:lnTo>
                    <a:pt x="231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3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3" y="248"/>
                  </a:lnTo>
                  <a:lnTo>
                    <a:pt x="233" y="248"/>
                  </a:lnTo>
                  <a:lnTo>
                    <a:pt x="233" y="245"/>
                  </a:lnTo>
                  <a:lnTo>
                    <a:pt x="233" y="245"/>
                  </a:lnTo>
                  <a:lnTo>
                    <a:pt x="231" y="245"/>
                  </a:lnTo>
                  <a:lnTo>
                    <a:pt x="231" y="245"/>
                  </a:lnTo>
                  <a:lnTo>
                    <a:pt x="231" y="245"/>
                  </a:lnTo>
                  <a:lnTo>
                    <a:pt x="231" y="245"/>
                  </a:lnTo>
                  <a:lnTo>
                    <a:pt x="231" y="245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7" y="243"/>
                  </a:lnTo>
                  <a:lnTo>
                    <a:pt x="227" y="243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4" y="243"/>
                  </a:lnTo>
                  <a:lnTo>
                    <a:pt x="222" y="243"/>
                  </a:lnTo>
                  <a:lnTo>
                    <a:pt x="222" y="245"/>
                  </a:lnTo>
                  <a:lnTo>
                    <a:pt x="222" y="245"/>
                  </a:lnTo>
                  <a:lnTo>
                    <a:pt x="222" y="245"/>
                  </a:lnTo>
                  <a:lnTo>
                    <a:pt x="222" y="248"/>
                  </a:lnTo>
                  <a:lnTo>
                    <a:pt x="222" y="248"/>
                  </a:lnTo>
                  <a:lnTo>
                    <a:pt x="222" y="248"/>
                  </a:lnTo>
                  <a:lnTo>
                    <a:pt x="222" y="248"/>
                  </a:lnTo>
                  <a:lnTo>
                    <a:pt x="224" y="248"/>
                  </a:lnTo>
                  <a:lnTo>
                    <a:pt x="224" y="250"/>
                  </a:lnTo>
                  <a:lnTo>
                    <a:pt x="224" y="250"/>
                  </a:lnTo>
                  <a:lnTo>
                    <a:pt x="224" y="250"/>
                  </a:lnTo>
                  <a:lnTo>
                    <a:pt x="224" y="250"/>
                  </a:lnTo>
                  <a:lnTo>
                    <a:pt x="224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4" y="252"/>
                  </a:lnTo>
                  <a:lnTo>
                    <a:pt x="224" y="254"/>
                  </a:lnTo>
                  <a:lnTo>
                    <a:pt x="224" y="254"/>
                  </a:lnTo>
                  <a:lnTo>
                    <a:pt x="224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4" y="254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7"/>
                  </a:lnTo>
                  <a:lnTo>
                    <a:pt x="224" y="259"/>
                  </a:lnTo>
                  <a:lnTo>
                    <a:pt x="224" y="259"/>
                  </a:lnTo>
                  <a:lnTo>
                    <a:pt x="224" y="259"/>
                  </a:lnTo>
                  <a:lnTo>
                    <a:pt x="224" y="259"/>
                  </a:lnTo>
                  <a:lnTo>
                    <a:pt x="224" y="257"/>
                  </a:lnTo>
                  <a:lnTo>
                    <a:pt x="224" y="259"/>
                  </a:lnTo>
                  <a:lnTo>
                    <a:pt x="224" y="259"/>
                  </a:lnTo>
                  <a:lnTo>
                    <a:pt x="222" y="259"/>
                  </a:lnTo>
                  <a:lnTo>
                    <a:pt x="222" y="259"/>
                  </a:lnTo>
                  <a:lnTo>
                    <a:pt x="222" y="259"/>
                  </a:lnTo>
                  <a:lnTo>
                    <a:pt x="222" y="259"/>
                  </a:lnTo>
                  <a:lnTo>
                    <a:pt x="222" y="259"/>
                  </a:lnTo>
                  <a:lnTo>
                    <a:pt x="222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7"/>
                  </a:lnTo>
                  <a:lnTo>
                    <a:pt x="220" y="254"/>
                  </a:lnTo>
                  <a:lnTo>
                    <a:pt x="220" y="254"/>
                  </a:lnTo>
                  <a:lnTo>
                    <a:pt x="220" y="254"/>
                  </a:lnTo>
                  <a:lnTo>
                    <a:pt x="220" y="254"/>
                  </a:lnTo>
                  <a:lnTo>
                    <a:pt x="220" y="254"/>
                  </a:lnTo>
                  <a:lnTo>
                    <a:pt x="220" y="254"/>
                  </a:lnTo>
                  <a:lnTo>
                    <a:pt x="218" y="254"/>
                  </a:lnTo>
                  <a:lnTo>
                    <a:pt x="218" y="254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18" y="250"/>
                  </a:lnTo>
                  <a:lnTo>
                    <a:pt x="220" y="250"/>
                  </a:lnTo>
                  <a:lnTo>
                    <a:pt x="220" y="250"/>
                  </a:lnTo>
                  <a:lnTo>
                    <a:pt x="220" y="250"/>
                  </a:lnTo>
                  <a:lnTo>
                    <a:pt x="218" y="248"/>
                  </a:lnTo>
                  <a:lnTo>
                    <a:pt x="215" y="248"/>
                  </a:lnTo>
                  <a:lnTo>
                    <a:pt x="215" y="248"/>
                  </a:lnTo>
                  <a:lnTo>
                    <a:pt x="215" y="248"/>
                  </a:lnTo>
                  <a:lnTo>
                    <a:pt x="213" y="248"/>
                  </a:lnTo>
                  <a:lnTo>
                    <a:pt x="213" y="248"/>
                  </a:lnTo>
                  <a:lnTo>
                    <a:pt x="213" y="248"/>
                  </a:lnTo>
                  <a:lnTo>
                    <a:pt x="213" y="248"/>
                  </a:lnTo>
                  <a:lnTo>
                    <a:pt x="213" y="248"/>
                  </a:lnTo>
                  <a:lnTo>
                    <a:pt x="211" y="248"/>
                  </a:lnTo>
                  <a:lnTo>
                    <a:pt x="211" y="250"/>
                  </a:lnTo>
                  <a:lnTo>
                    <a:pt x="211" y="250"/>
                  </a:lnTo>
                  <a:lnTo>
                    <a:pt x="211" y="250"/>
                  </a:lnTo>
                  <a:lnTo>
                    <a:pt x="213" y="250"/>
                  </a:lnTo>
                  <a:lnTo>
                    <a:pt x="213" y="250"/>
                  </a:lnTo>
                  <a:lnTo>
                    <a:pt x="213" y="250"/>
                  </a:lnTo>
                  <a:lnTo>
                    <a:pt x="213" y="250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7"/>
                  </a:lnTo>
                  <a:lnTo>
                    <a:pt x="209" y="257"/>
                  </a:lnTo>
                  <a:lnTo>
                    <a:pt x="209" y="259"/>
                  </a:lnTo>
                  <a:lnTo>
                    <a:pt x="209" y="259"/>
                  </a:lnTo>
                  <a:lnTo>
                    <a:pt x="211" y="259"/>
                  </a:lnTo>
                  <a:lnTo>
                    <a:pt x="211" y="259"/>
                  </a:lnTo>
                  <a:lnTo>
                    <a:pt x="211" y="259"/>
                  </a:lnTo>
                  <a:lnTo>
                    <a:pt x="211" y="259"/>
                  </a:lnTo>
                  <a:lnTo>
                    <a:pt x="211" y="259"/>
                  </a:lnTo>
                  <a:lnTo>
                    <a:pt x="206" y="259"/>
                  </a:lnTo>
                  <a:lnTo>
                    <a:pt x="206" y="259"/>
                  </a:lnTo>
                  <a:lnTo>
                    <a:pt x="204" y="259"/>
                  </a:lnTo>
                  <a:lnTo>
                    <a:pt x="202" y="259"/>
                  </a:lnTo>
                  <a:lnTo>
                    <a:pt x="197" y="259"/>
                  </a:lnTo>
                  <a:lnTo>
                    <a:pt x="197" y="257"/>
                  </a:lnTo>
                  <a:lnTo>
                    <a:pt x="197" y="257"/>
                  </a:lnTo>
                  <a:lnTo>
                    <a:pt x="195" y="259"/>
                  </a:lnTo>
                  <a:lnTo>
                    <a:pt x="193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6" y="259"/>
                  </a:lnTo>
                  <a:lnTo>
                    <a:pt x="186" y="259"/>
                  </a:lnTo>
                  <a:lnTo>
                    <a:pt x="186" y="259"/>
                  </a:lnTo>
                  <a:lnTo>
                    <a:pt x="188" y="259"/>
                  </a:lnTo>
                  <a:lnTo>
                    <a:pt x="186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88" y="259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3" y="257"/>
                  </a:lnTo>
                  <a:lnTo>
                    <a:pt x="193" y="257"/>
                  </a:lnTo>
                  <a:lnTo>
                    <a:pt x="193" y="257"/>
                  </a:lnTo>
                  <a:lnTo>
                    <a:pt x="193" y="257"/>
                  </a:lnTo>
                  <a:lnTo>
                    <a:pt x="193" y="257"/>
                  </a:lnTo>
                  <a:lnTo>
                    <a:pt x="193" y="257"/>
                  </a:lnTo>
                  <a:lnTo>
                    <a:pt x="193" y="257"/>
                  </a:lnTo>
                  <a:lnTo>
                    <a:pt x="191" y="257"/>
                  </a:lnTo>
                  <a:lnTo>
                    <a:pt x="191" y="257"/>
                  </a:lnTo>
                  <a:lnTo>
                    <a:pt x="191" y="254"/>
                  </a:lnTo>
                  <a:lnTo>
                    <a:pt x="191" y="254"/>
                  </a:lnTo>
                  <a:lnTo>
                    <a:pt x="191" y="254"/>
                  </a:lnTo>
                  <a:lnTo>
                    <a:pt x="191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8" y="254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4" y="254"/>
                  </a:lnTo>
                  <a:lnTo>
                    <a:pt x="184" y="254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6" y="257"/>
                  </a:lnTo>
                  <a:lnTo>
                    <a:pt x="184" y="257"/>
                  </a:lnTo>
                  <a:lnTo>
                    <a:pt x="184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7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2" y="254"/>
                  </a:lnTo>
                  <a:lnTo>
                    <a:pt x="180" y="252"/>
                  </a:lnTo>
                  <a:lnTo>
                    <a:pt x="180" y="252"/>
                  </a:lnTo>
                  <a:lnTo>
                    <a:pt x="180" y="252"/>
                  </a:lnTo>
                  <a:lnTo>
                    <a:pt x="180" y="252"/>
                  </a:lnTo>
                  <a:lnTo>
                    <a:pt x="180" y="252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80" y="248"/>
                  </a:lnTo>
                  <a:lnTo>
                    <a:pt x="180" y="248"/>
                  </a:lnTo>
                  <a:lnTo>
                    <a:pt x="180" y="248"/>
                  </a:lnTo>
                  <a:lnTo>
                    <a:pt x="180" y="248"/>
                  </a:lnTo>
                  <a:lnTo>
                    <a:pt x="180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48"/>
                  </a:lnTo>
                  <a:lnTo>
                    <a:pt x="177" y="250"/>
                  </a:lnTo>
                  <a:lnTo>
                    <a:pt x="177" y="250"/>
                  </a:lnTo>
                  <a:lnTo>
                    <a:pt x="177" y="250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5" y="252"/>
                  </a:lnTo>
                  <a:lnTo>
                    <a:pt x="175" y="252"/>
                  </a:lnTo>
                  <a:lnTo>
                    <a:pt x="175" y="252"/>
                  </a:lnTo>
                  <a:lnTo>
                    <a:pt x="177" y="252"/>
                  </a:lnTo>
                  <a:lnTo>
                    <a:pt x="177" y="252"/>
                  </a:lnTo>
                  <a:lnTo>
                    <a:pt x="177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7"/>
                  </a:lnTo>
                  <a:lnTo>
                    <a:pt x="175" y="257"/>
                  </a:lnTo>
                  <a:lnTo>
                    <a:pt x="175" y="257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80" y="259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6" y="261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6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8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8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2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4" y="266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0" y="268"/>
                  </a:lnTo>
                  <a:lnTo>
                    <a:pt x="180" y="268"/>
                  </a:lnTo>
                  <a:lnTo>
                    <a:pt x="180" y="268"/>
                  </a:lnTo>
                  <a:lnTo>
                    <a:pt x="180" y="268"/>
                  </a:lnTo>
                  <a:lnTo>
                    <a:pt x="182" y="268"/>
                  </a:lnTo>
                  <a:lnTo>
                    <a:pt x="182" y="268"/>
                  </a:lnTo>
                  <a:lnTo>
                    <a:pt x="180" y="268"/>
                  </a:lnTo>
                  <a:lnTo>
                    <a:pt x="180" y="268"/>
                  </a:lnTo>
                  <a:lnTo>
                    <a:pt x="180" y="268"/>
                  </a:lnTo>
                  <a:lnTo>
                    <a:pt x="180" y="268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0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77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5"/>
                  </a:lnTo>
                  <a:lnTo>
                    <a:pt x="180" y="275"/>
                  </a:lnTo>
                  <a:lnTo>
                    <a:pt x="180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5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7"/>
                  </a:lnTo>
                  <a:lnTo>
                    <a:pt x="177" y="279"/>
                  </a:lnTo>
                  <a:lnTo>
                    <a:pt x="177" y="281"/>
                  </a:lnTo>
                  <a:lnTo>
                    <a:pt x="177" y="281"/>
                  </a:lnTo>
                  <a:lnTo>
                    <a:pt x="175" y="281"/>
                  </a:lnTo>
                  <a:lnTo>
                    <a:pt x="177" y="281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5" y="284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8"/>
                  </a:lnTo>
                  <a:lnTo>
                    <a:pt x="175" y="288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5" y="286"/>
                  </a:lnTo>
                  <a:lnTo>
                    <a:pt x="173" y="286"/>
                  </a:lnTo>
                  <a:lnTo>
                    <a:pt x="171" y="286"/>
                  </a:lnTo>
                  <a:lnTo>
                    <a:pt x="168" y="284"/>
                  </a:lnTo>
                  <a:lnTo>
                    <a:pt x="166" y="284"/>
                  </a:lnTo>
                  <a:lnTo>
                    <a:pt x="166" y="284"/>
                  </a:lnTo>
                  <a:lnTo>
                    <a:pt x="166" y="284"/>
                  </a:lnTo>
                  <a:lnTo>
                    <a:pt x="166" y="284"/>
                  </a:lnTo>
                  <a:lnTo>
                    <a:pt x="166" y="284"/>
                  </a:lnTo>
                  <a:lnTo>
                    <a:pt x="166" y="284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79"/>
                  </a:lnTo>
                  <a:lnTo>
                    <a:pt x="162" y="279"/>
                  </a:lnTo>
                  <a:lnTo>
                    <a:pt x="162" y="279"/>
                  </a:lnTo>
                  <a:lnTo>
                    <a:pt x="162" y="279"/>
                  </a:lnTo>
                  <a:lnTo>
                    <a:pt x="159" y="279"/>
                  </a:lnTo>
                  <a:lnTo>
                    <a:pt x="159" y="279"/>
                  </a:lnTo>
                  <a:lnTo>
                    <a:pt x="159" y="277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7" y="277"/>
                  </a:lnTo>
                  <a:lnTo>
                    <a:pt x="157" y="277"/>
                  </a:lnTo>
                  <a:lnTo>
                    <a:pt x="157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5" y="277"/>
                  </a:lnTo>
                  <a:lnTo>
                    <a:pt x="155" y="277"/>
                  </a:lnTo>
                  <a:lnTo>
                    <a:pt x="157" y="277"/>
                  </a:lnTo>
                  <a:lnTo>
                    <a:pt x="157" y="277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7" y="275"/>
                  </a:lnTo>
                  <a:lnTo>
                    <a:pt x="157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57" y="275"/>
                  </a:lnTo>
                  <a:lnTo>
                    <a:pt x="157" y="275"/>
                  </a:lnTo>
                  <a:lnTo>
                    <a:pt x="157" y="272"/>
                  </a:lnTo>
                  <a:lnTo>
                    <a:pt x="157" y="272"/>
                  </a:lnTo>
                  <a:lnTo>
                    <a:pt x="157" y="272"/>
                  </a:lnTo>
                  <a:lnTo>
                    <a:pt x="155" y="272"/>
                  </a:lnTo>
                  <a:lnTo>
                    <a:pt x="155" y="272"/>
                  </a:lnTo>
                  <a:lnTo>
                    <a:pt x="155" y="272"/>
                  </a:lnTo>
                  <a:lnTo>
                    <a:pt x="155" y="272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3" y="268"/>
                  </a:lnTo>
                  <a:lnTo>
                    <a:pt x="153" y="268"/>
                  </a:lnTo>
                  <a:lnTo>
                    <a:pt x="153" y="268"/>
                  </a:lnTo>
                  <a:lnTo>
                    <a:pt x="153" y="268"/>
                  </a:lnTo>
                  <a:lnTo>
                    <a:pt x="153" y="268"/>
                  </a:lnTo>
                  <a:lnTo>
                    <a:pt x="153" y="266"/>
                  </a:lnTo>
                  <a:lnTo>
                    <a:pt x="155" y="266"/>
                  </a:lnTo>
                  <a:lnTo>
                    <a:pt x="155" y="266"/>
                  </a:lnTo>
                  <a:lnTo>
                    <a:pt x="155" y="266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59"/>
                  </a:lnTo>
                  <a:lnTo>
                    <a:pt x="155" y="259"/>
                  </a:lnTo>
                  <a:lnTo>
                    <a:pt x="155" y="259"/>
                  </a:lnTo>
                  <a:lnTo>
                    <a:pt x="155" y="259"/>
                  </a:lnTo>
                  <a:lnTo>
                    <a:pt x="155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3" y="257"/>
                  </a:lnTo>
                  <a:lnTo>
                    <a:pt x="150" y="257"/>
                  </a:lnTo>
                  <a:lnTo>
                    <a:pt x="150" y="257"/>
                  </a:lnTo>
                  <a:lnTo>
                    <a:pt x="150" y="259"/>
                  </a:lnTo>
                  <a:lnTo>
                    <a:pt x="148" y="259"/>
                  </a:lnTo>
                  <a:lnTo>
                    <a:pt x="148" y="259"/>
                  </a:lnTo>
                  <a:lnTo>
                    <a:pt x="148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6" y="259"/>
                  </a:lnTo>
                  <a:lnTo>
                    <a:pt x="144" y="259"/>
                  </a:lnTo>
                  <a:lnTo>
                    <a:pt x="144" y="257"/>
                  </a:lnTo>
                  <a:lnTo>
                    <a:pt x="141" y="257"/>
                  </a:lnTo>
                  <a:lnTo>
                    <a:pt x="141" y="257"/>
                  </a:lnTo>
                  <a:lnTo>
                    <a:pt x="141" y="257"/>
                  </a:lnTo>
                  <a:lnTo>
                    <a:pt x="139" y="254"/>
                  </a:lnTo>
                  <a:lnTo>
                    <a:pt x="139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4"/>
                  </a:lnTo>
                  <a:lnTo>
                    <a:pt x="135" y="257"/>
                  </a:lnTo>
                  <a:lnTo>
                    <a:pt x="135" y="257"/>
                  </a:lnTo>
                  <a:lnTo>
                    <a:pt x="135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2" y="257"/>
                  </a:lnTo>
                  <a:lnTo>
                    <a:pt x="132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7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6" y="259"/>
                  </a:lnTo>
                  <a:lnTo>
                    <a:pt x="126" y="259"/>
                  </a:lnTo>
                  <a:lnTo>
                    <a:pt x="126" y="259"/>
                  </a:lnTo>
                  <a:lnTo>
                    <a:pt x="126" y="259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6" y="261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59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3"/>
                  </a:lnTo>
                  <a:lnTo>
                    <a:pt x="128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6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21" y="263"/>
                  </a:lnTo>
                  <a:lnTo>
                    <a:pt x="121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3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19" y="261"/>
                  </a:lnTo>
                  <a:lnTo>
                    <a:pt x="117" y="261"/>
                  </a:lnTo>
                  <a:lnTo>
                    <a:pt x="117" y="261"/>
                  </a:lnTo>
                  <a:lnTo>
                    <a:pt x="117" y="263"/>
                  </a:lnTo>
                  <a:lnTo>
                    <a:pt x="117" y="263"/>
                  </a:lnTo>
                  <a:lnTo>
                    <a:pt x="117" y="263"/>
                  </a:lnTo>
                  <a:lnTo>
                    <a:pt x="117" y="263"/>
                  </a:lnTo>
                  <a:lnTo>
                    <a:pt x="117" y="266"/>
                  </a:lnTo>
                  <a:lnTo>
                    <a:pt x="117" y="266"/>
                  </a:lnTo>
                  <a:lnTo>
                    <a:pt x="117" y="266"/>
                  </a:lnTo>
                  <a:lnTo>
                    <a:pt x="117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7" y="266"/>
                  </a:lnTo>
                  <a:lnTo>
                    <a:pt x="117" y="266"/>
                  </a:lnTo>
                  <a:lnTo>
                    <a:pt x="117" y="266"/>
                  </a:lnTo>
                  <a:lnTo>
                    <a:pt x="117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3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8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4" y="266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8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2" y="263"/>
                  </a:lnTo>
                  <a:lnTo>
                    <a:pt x="112" y="263"/>
                  </a:lnTo>
                  <a:lnTo>
                    <a:pt x="112" y="263"/>
                  </a:lnTo>
                  <a:lnTo>
                    <a:pt x="112" y="263"/>
                  </a:lnTo>
                  <a:lnTo>
                    <a:pt x="112" y="263"/>
                  </a:lnTo>
                  <a:lnTo>
                    <a:pt x="112" y="263"/>
                  </a:lnTo>
                  <a:lnTo>
                    <a:pt x="112" y="266"/>
                  </a:lnTo>
                  <a:lnTo>
                    <a:pt x="112" y="266"/>
                  </a:lnTo>
                  <a:lnTo>
                    <a:pt x="110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8" y="266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8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5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3" y="268"/>
                  </a:lnTo>
                  <a:lnTo>
                    <a:pt x="101" y="268"/>
                  </a:lnTo>
                  <a:lnTo>
                    <a:pt x="101" y="268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101" y="266"/>
                  </a:lnTo>
                  <a:lnTo>
                    <a:pt x="99" y="266"/>
                  </a:lnTo>
                  <a:lnTo>
                    <a:pt x="99" y="266"/>
                  </a:lnTo>
                  <a:lnTo>
                    <a:pt x="99" y="266"/>
                  </a:lnTo>
                  <a:lnTo>
                    <a:pt x="99" y="266"/>
                  </a:lnTo>
                  <a:lnTo>
                    <a:pt x="99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6"/>
                  </a:lnTo>
                  <a:lnTo>
                    <a:pt x="96" y="268"/>
                  </a:lnTo>
                  <a:lnTo>
                    <a:pt x="96" y="268"/>
                  </a:lnTo>
                  <a:lnTo>
                    <a:pt x="96" y="268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0"/>
                  </a:lnTo>
                  <a:lnTo>
                    <a:pt x="96" y="272"/>
                  </a:lnTo>
                  <a:lnTo>
                    <a:pt x="96" y="272"/>
                  </a:lnTo>
                  <a:lnTo>
                    <a:pt x="99" y="275"/>
                  </a:lnTo>
                  <a:lnTo>
                    <a:pt x="99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5"/>
                  </a:lnTo>
                  <a:lnTo>
                    <a:pt x="96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7"/>
                  </a:lnTo>
                  <a:lnTo>
                    <a:pt x="99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6" y="279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6" y="277"/>
                  </a:lnTo>
                  <a:lnTo>
                    <a:pt x="94" y="275"/>
                  </a:lnTo>
                  <a:lnTo>
                    <a:pt x="94" y="275"/>
                  </a:lnTo>
                  <a:lnTo>
                    <a:pt x="94" y="275"/>
                  </a:lnTo>
                  <a:lnTo>
                    <a:pt x="92" y="275"/>
                  </a:lnTo>
                  <a:lnTo>
                    <a:pt x="92" y="275"/>
                  </a:lnTo>
                  <a:lnTo>
                    <a:pt x="92" y="275"/>
                  </a:lnTo>
                  <a:lnTo>
                    <a:pt x="92" y="275"/>
                  </a:lnTo>
                  <a:lnTo>
                    <a:pt x="92" y="275"/>
                  </a:lnTo>
                  <a:lnTo>
                    <a:pt x="90" y="272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5"/>
                  </a:lnTo>
                  <a:lnTo>
                    <a:pt x="90" y="272"/>
                  </a:lnTo>
                  <a:lnTo>
                    <a:pt x="90" y="272"/>
                  </a:lnTo>
                  <a:lnTo>
                    <a:pt x="90" y="272"/>
                  </a:lnTo>
                  <a:lnTo>
                    <a:pt x="90" y="272"/>
                  </a:lnTo>
                  <a:lnTo>
                    <a:pt x="90" y="272"/>
                  </a:lnTo>
                  <a:lnTo>
                    <a:pt x="87" y="272"/>
                  </a:lnTo>
                  <a:lnTo>
                    <a:pt x="87" y="272"/>
                  </a:lnTo>
                  <a:lnTo>
                    <a:pt x="87" y="272"/>
                  </a:lnTo>
                  <a:lnTo>
                    <a:pt x="87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5"/>
                  </a:lnTo>
                  <a:lnTo>
                    <a:pt x="85" y="275"/>
                  </a:lnTo>
                  <a:lnTo>
                    <a:pt x="85" y="275"/>
                  </a:lnTo>
                  <a:lnTo>
                    <a:pt x="85" y="275"/>
                  </a:lnTo>
                  <a:lnTo>
                    <a:pt x="85" y="275"/>
                  </a:lnTo>
                  <a:lnTo>
                    <a:pt x="85" y="275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5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2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2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3" y="275"/>
                  </a:lnTo>
                  <a:lnTo>
                    <a:pt x="81" y="275"/>
                  </a:lnTo>
                  <a:lnTo>
                    <a:pt x="81" y="272"/>
                  </a:lnTo>
                  <a:lnTo>
                    <a:pt x="81" y="272"/>
                  </a:lnTo>
                  <a:lnTo>
                    <a:pt x="81" y="272"/>
                  </a:lnTo>
                  <a:lnTo>
                    <a:pt x="81" y="272"/>
                  </a:lnTo>
                  <a:lnTo>
                    <a:pt x="81" y="272"/>
                  </a:lnTo>
                  <a:lnTo>
                    <a:pt x="81" y="275"/>
                  </a:lnTo>
                  <a:lnTo>
                    <a:pt x="81" y="275"/>
                  </a:lnTo>
                  <a:lnTo>
                    <a:pt x="81" y="275"/>
                  </a:lnTo>
                  <a:lnTo>
                    <a:pt x="81" y="275"/>
                  </a:lnTo>
                  <a:lnTo>
                    <a:pt x="81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8" y="275"/>
                  </a:lnTo>
                  <a:lnTo>
                    <a:pt x="76" y="275"/>
                  </a:lnTo>
                  <a:lnTo>
                    <a:pt x="76" y="275"/>
                  </a:lnTo>
                  <a:lnTo>
                    <a:pt x="76" y="275"/>
                  </a:lnTo>
                  <a:lnTo>
                    <a:pt x="76" y="275"/>
                  </a:lnTo>
                  <a:lnTo>
                    <a:pt x="76" y="275"/>
                  </a:lnTo>
                  <a:lnTo>
                    <a:pt x="76" y="272"/>
                  </a:lnTo>
                  <a:lnTo>
                    <a:pt x="74" y="272"/>
                  </a:lnTo>
                  <a:lnTo>
                    <a:pt x="74" y="272"/>
                  </a:lnTo>
                  <a:lnTo>
                    <a:pt x="74" y="272"/>
                  </a:lnTo>
                  <a:lnTo>
                    <a:pt x="74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5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72" y="272"/>
                  </a:lnTo>
                  <a:lnTo>
                    <a:pt x="69" y="272"/>
                  </a:lnTo>
                  <a:lnTo>
                    <a:pt x="69" y="272"/>
                  </a:lnTo>
                  <a:lnTo>
                    <a:pt x="69" y="272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70"/>
                  </a:lnTo>
                  <a:lnTo>
                    <a:pt x="69" y="268"/>
                  </a:lnTo>
                  <a:lnTo>
                    <a:pt x="69" y="268"/>
                  </a:lnTo>
                  <a:lnTo>
                    <a:pt x="69" y="268"/>
                  </a:lnTo>
                  <a:lnTo>
                    <a:pt x="69" y="268"/>
                  </a:lnTo>
                  <a:lnTo>
                    <a:pt x="69" y="268"/>
                  </a:lnTo>
                  <a:lnTo>
                    <a:pt x="69" y="268"/>
                  </a:lnTo>
                  <a:lnTo>
                    <a:pt x="69" y="268"/>
                  </a:lnTo>
                  <a:lnTo>
                    <a:pt x="67" y="268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9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6"/>
                  </a:lnTo>
                  <a:lnTo>
                    <a:pt x="74" y="266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6" y="263"/>
                  </a:lnTo>
                  <a:lnTo>
                    <a:pt x="78" y="263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8" y="261"/>
                  </a:lnTo>
                  <a:lnTo>
                    <a:pt x="78" y="261"/>
                  </a:lnTo>
                  <a:lnTo>
                    <a:pt x="76" y="261"/>
                  </a:lnTo>
                  <a:lnTo>
                    <a:pt x="78" y="261"/>
                  </a:lnTo>
                  <a:lnTo>
                    <a:pt x="78" y="261"/>
                  </a:lnTo>
                  <a:lnTo>
                    <a:pt x="78" y="261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78" y="259"/>
                  </a:lnTo>
                  <a:lnTo>
                    <a:pt x="81" y="259"/>
                  </a:lnTo>
                  <a:lnTo>
                    <a:pt x="81" y="259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1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4"/>
                  </a:lnTo>
                  <a:lnTo>
                    <a:pt x="83" y="254"/>
                  </a:lnTo>
                  <a:lnTo>
                    <a:pt x="83" y="254"/>
                  </a:lnTo>
                  <a:lnTo>
                    <a:pt x="85" y="254"/>
                  </a:lnTo>
                  <a:lnTo>
                    <a:pt x="85" y="254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0"/>
                  </a:lnTo>
                  <a:lnTo>
                    <a:pt x="87" y="250"/>
                  </a:lnTo>
                  <a:lnTo>
                    <a:pt x="87" y="250"/>
                  </a:lnTo>
                  <a:lnTo>
                    <a:pt x="87" y="250"/>
                  </a:lnTo>
                  <a:lnTo>
                    <a:pt x="87" y="250"/>
                  </a:lnTo>
                  <a:lnTo>
                    <a:pt x="87" y="250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90" y="248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2" y="243"/>
                  </a:lnTo>
                  <a:lnTo>
                    <a:pt x="92" y="243"/>
                  </a:lnTo>
                  <a:lnTo>
                    <a:pt x="92" y="243"/>
                  </a:lnTo>
                  <a:lnTo>
                    <a:pt x="92" y="243"/>
                  </a:lnTo>
                  <a:lnTo>
                    <a:pt x="92" y="243"/>
                  </a:lnTo>
                  <a:lnTo>
                    <a:pt x="92" y="243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4" y="239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2" y="239"/>
                  </a:lnTo>
                  <a:lnTo>
                    <a:pt x="94" y="239"/>
                  </a:lnTo>
                  <a:lnTo>
                    <a:pt x="94" y="239"/>
                  </a:lnTo>
                  <a:lnTo>
                    <a:pt x="94" y="239"/>
                  </a:lnTo>
                  <a:lnTo>
                    <a:pt x="94" y="239"/>
                  </a:lnTo>
                  <a:lnTo>
                    <a:pt x="94" y="239"/>
                  </a:lnTo>
                  <a:lnTo>
                    <a:pt x="96" y="239"/>
                  </a:lnTo>
                  <a:lnTo>
                    <a:pt x="96" y="239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6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99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1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6"/>
                  </a:lnTo>
                  <a:lnTo>
                    <a:pt x="103" y="239"/>
                  </a:lnTo>
                  <a:lnTo>
                    <a:pt x="103" y="239"/>
                  </a:lnTo>
                  <a:lnTo>
                    <a:pt x="103" y="239"/>
                  </a:lnTo>
                  <a:lnTo>
                    <a:pt x="103" y="239"/>
                  </a:lnTo>
                  <a:lnTo>
                    <a:pt x="105" y="239"/>
                  </a:lnTo>
                  <a:lnTo>
                    <a:pt x="105" y="239"/>
                  </a:lnTo>
                  <a:lnTo>
                    <a:pt x="105" y="239"/>
                  </a:lnTo>
                  <a:lnTo>
                    <a:pt x="105" y="239"/>
                  </a:lnTo>
                  <a:lnTo>
                    <a:pt x="108" y="239"/>
                  </a:lnTo>
                  <a:lnTo>
                    <a:pt x="108" y="239"/>
                  </a:lnTo>
                  <a:lnTo>
                    <a:pt x="108" y="236"/>
                  </a:lnTo>
                  <a:lnTo>
                    <a:pt x="108" y="236"/>
                  </a:lnTo>
                  <a:lnTo>
                    <a:pt x="110" y="236"/>
                  </a:lnTo>
                  <a:lnTo>
                    <a:pt x="112" y="239"/>
                  </a:lnTo>
                  <a:lnTo>
                    <a:pt x="114" y="239"/>
                  </a:lnTo>
                  <a:lnTo>
                    <a:pt x="117" y="239"/>
                  </a:lnTo>
                  <a:lnTo>
                    <a:pt x="119" y="236"/>
                  </a:lnTo>
                  <a:lnTo>
                    <a:pt x="121" y="236"/>
                  </a:lnTo>
                  <a:lnTo>
                    <a:pt x="121" y="236"/>
                  </a:lnTo>
                  <a:lnTo>
                    <a:pt x="121" y="236"/>
                  </a:lnTo>
                  <a:lnTo>
                    <a:pt x="121" y="236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4"/>
                  </a:lnTo>
                  <a:lnTo>
                    <a:pt x="126" y="234"/>
                  </a:lnTo>
                  <a:lnTo>
                    <a:pt x="126" y="234"/>
                  </a:lnTo>
                  <a:lnTo>
                    <a:pt x="126" y="234"/>
                  </a:lnTo>
                  <a:lnTo>
                    <a:pt x="128" y="234"/>
                  </a:lnTo>
                  <a:lnTo>
                    <a:pt x="128" y="234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2" y="234"/>
                  </a:lnTo>
                  <a:lnTo>
                    <a:pt x="132" y="234"/>
                  </a:lnTo>
                  <a:lnTo>
                    <a:pt x="132" y="234"/>
                  </a:lnTo>
                  <a:lnTo>
                    <a:pt x="132" y="234"/>
                  </a:lnTo>
                  <a:lnTo>
                    <a:pt x="132" y="234"/>
                  </a:lnTo>
                  <a:lnTo>
                    <a:pt x="132" y="234"/>
                  </a:lnTo>
                  <a:lnTo>
                    <a:pt x="132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5" y="234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7" y="232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41" y="232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4" y="239"/>
                  </a:lnTo>
                  <a:lnTo>
                    <a:pt x="146" y="239"/>
                  </a:lnTo>
                  <a:lnTo>
                    <a:pt x="146" y="239"/>
                  </a:lnTo>
                  <a:lnTo>
                    <a:pt x="146" y="239"/>
                  </a:lnTo>
                  <a:lnTo>
                    <a:pt x="144" y="239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4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6"/>
                  </a:lnTo>
                  <a:lnTo>
                    <a:pt x="146" y="239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48" y="239"/>
                  </a:lnTo>
                  <a:lnTo>
                    <a:pt x="148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50" y="239"/>
                  </a:lnTo>
                  <a:lnTo>
                    <a:pt x="153" y="239"/>
                  </a:lnTo>
                  <a:lnTo>
                    <a:pt x="153" y="239"/>
                  </a:lnTo>
                  <a:lnTo>
                    <a:pt x="153" y="239"/>
                  </a:lnTo>
                  <a:lnTo>
                    <a:pt x="150" y="236"/>
                  </a:lnTo>
                  <a:lnTo>
                    <a:pt x="150" y="239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0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4"/>
                  </a:lnTo>
                  <a:lnTo>
                    <a:pt x="153" y="236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4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7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3" y="230"/>
                  </a:lnTo>
                  <a:lnTo>
                    <a:pt x="153" y="230"/>
                  </a:lnTo>
                  <a:lnTo>
                    <a:pt x="153" y="227"/>
                  </a:lnTo>
                  <a:lnTo>
                    <a:pt x="153" y="227"/>
                  </a:lnTo>
                  <a:lnTo>
                    <a:pt x="150" y="227"/>
                  </a:lnTo>
                  <a:lnTo>
                    <a:pt x="150" y="227"/>
                  </a:lnTo>
                  <a:lnTo>
                    <a:pt x="150" y="225"/>
                  </a:lnTo>
                  <a:lnTo>
                    <a:pt x="150" y="225"/>
                  </a:lnTo>
                  <a:lnTo>
                    <a:pt x="150" y="225"/>
                  </a:lnTo>
                  <a:lnTo>
                    <a:pt x="150" y="225"/>
                  </a:lnTo>
                  <a:lnTo>
                    <a:pt x="150" y="225"/>
                  </a:lnTo>
                  <a:lnTo>
                    <a:pt x="150" y="223"/>
                  </a:lnTo>
                  <a:lnTo>
                    <a:pt x="150" y="223"/>
                  </a:lnTo>
                  <a:lnTo>
                    <a:pt x="153" y="223"/>
                  </a:lnTo>
                  <a:lnTo>
                    <a:pt x="153" y="221"/>
                  </a:lnTo>
                  <a:lnTo>
                    <a:pt x="153" y="221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0" y="221"/>
                  </a:lnTo>
                  <a:lnTo>
                    <a:pt x="153" y="221"/>
                  </a:lnTo>
                  <a:lnTo>
                    <a:pt x="153" y="218"/>
                  </a:lnTo>
                  <a:lnTo>
                    <a:pt x="155" y="218"/>
                  </a:lnTo>
                  <a:lnTo>
                    <a:pt x="155" y="218"/>
                  </a:lnTo>
                  <a:lnTo>
                    <a:pt x="155" y="216"/>
                  </a:lnTo>
                  <a:lnTo>
                    <a:pt x="155" y="216"/>
                  </a:lnTo>
                  <a:lnTo>
                    <a:pt x="157" y="209"/>
                  </a:lnTo>
                  <a:lnTo>
                    <a:pt x="157" y="209"/>
                  </a:lnTo>
                  <a:lnTo>
                    <a:pt x="157" y="205"/>
                  </a:lnTo>
                  <a:lnTo>
                    <a:pt x="157" y="205"/>
                  </a:lnTo>
                  <a:lnTo>
                    <a:pt x="155" y="205"/>
                  </a:lnTo>
                  <a:lnTo>
                    <a:pt x="155" y="205"/>
                  </a:lnTo>
                  <a:lnTo>
                    <a:pt x="155" y="205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5" y="203"/>
                  </a:lnTo>
                  <a:lnTo>
                    <a:pt x="153" y="200"/>
                  </a:lnTo>
                  <a:lnTo>
                    <a:pt x="153" y="200"/>
                  </a:lnTo>
                  <a:lnTo>
                    <a:pt x="153" y="198"/>
                  </a:lnTo>
                  <a:lnTo>
                    <a:pt x="153" y="198"/>
                  </a:lnTo>
                  <a:lnTo>
                    <a:pt x="153" y="198"/>
                  </a:lnTo>
                  <a:lnTo>
                    <a:pt x="150" y="198"/>
                  </a:lnTo>
                  <a:lnTo>
                    <a:pt x="150" y="198"/>
                  </a:lnTo>
                  <a:lnTo>
                    <a:pt x="150" y="198"/>
                  </a:lnTo>
                  <a:lnTo>
                    <a:pt x="150" y="198"/>
                  </a:lnTo>
                  <a:lnTo>
                    <a:pt x="150" y="196"/>
                  </a:lnTo>
                  <a:lnTo>
                    <a:pt x="150" y="196"/>
                  </a:lnTo>
                  <a:lnTo>
                    <a:pt x="150" y="196"/>
                  </a:lnTo>
                  <a:lnTo>
                    <a:pt x="150" y="196"/>
                  </a:lnTo>
                  <a:lnTo>
                    <a:pt x="150" y="196"/>
                  </a:lnTo>
                  <a:lnTo>
                    <a:pt x="150" y="196"/>
                  </a:lnTo>
                  <a:lnTo>
                    <a:pt x="150" y="194"/>
                  </a:lnTo>
                  <a:lnTo>
                    <a:pt x="150" y="194"/>
                  </a:lnTo>
                  <a:lnTo>
                    <a:pt x="150" y="194"/>
                  </a:lnTo>
                  <a:lnTo>
                    <a:pt x="150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7" y="189"/>
                  </a:lnTo>
                  <a:lnTo>
                    <a:pt x="159" y="189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62" y="191"/>
                  </a:lnTo>
                  <a:lnTo>
                    <a:pt x="162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59" y="194"/>
                  </a:lnTo>
                  <a:lnTo>
                    <a:pt x="162" y="194"/>
                  </a:lnTo>
                  <a:lnTo>
                    <a:pt x="162" y="194"/>
                  </a:lnTo>
                  <a:lnTo>
                    <a:pt x="162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7" y="196"/>
                  </a:lnTo>
                  <a:lnTo>
                    <a:pt x="157" y="196"/>
                  </a:lnTo>
                  <a:lnTo>
                    <a:pt x="157" y="196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7" y="198"/>
                  </a:lnTo>
                  <a:lnTo>
                    <a:pt x="155" y="198"/>
                  </a:lnTo>
                  <a:lnTo>
                    <a:pt x="155" y="196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200"/>
                  </a:lnTo>
                  <a:lnTo>
                    <a:pt x="159" y="203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2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6" y="207"/>
                  </a:lnTo>
                  <a:lnTo>
                    <a:pt x="166" y="207"/>
                  </a:lnTo>
                  <a:lnTo>
                    <a:pt x="166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7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68" y="205"/>
                  </a:lnTo>
                  <a:lnTo>
                    <a:pt x="171" y="203"/>
                  </a:lnTo>
                  <a:lnTo>
                    <a:pt x="173" y="203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198"/>
                  </a:lnTo>
                  <a:lnTo>
                    <a:pt x="180" y="198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82" y="196"/>
                  </a:lnTo>
                  <a:lnTo>
                    <a:pt x="184" y="194"/>
                  </a:lnTo>
                  <a:lnTo>
                    <a:pt x="184" y="194"/>
                  </a:lnTo>
                  <a:lnTo>
                    <a:pt x="186" y="194"/>
                  </a:lnTo>
                  <a:lnTo>
                    <a:pt x="186" y="191"/>
                  </a:lnTo>
                  <a:lnTo>
                    <a:pt x="186" y="191"/>
                  </a:lnTo>
                  <a:lnTo>
                    <a:pt x="186" y="189"/>
                  </a:lnTo>
                  <a:lnTo>
                    <a:pt x="186" y="189"/>
                  </a:lnTo>
                  <a:lnTo>
                    <a:pt x="186" y="189"/>
                  </a:lnTo>
                  <a:lnTo>
                    <a:pt x="186" y="187"/>
                  </a:lnTo>
                  <a:lnTo>
                    <a:pt x="186" y="185"/>
                  </a:lnTo>
                  <a:lnTo>
                    <a:pt x="186" y="182"/>
                  </a:lnTo>
                  <a:lnTo>
                    <a:pt x="186" y="182"/>
                  </a:lnTo>
                  <a:lnTo>
                    <a:pt x="191" y="178"/>
                  </a:lnTo>
                  <a:lnTo>
                    <a:pt x="191" y="178"/>
                  </a:lnTo>
                  <a:lnTo>
                    <a:pt x="193" y="176"/>
                  </a:lnTo>
                  <a:lnTo>
                    <a:pt x="193" y="176"/>
                  </a:lnTo>
                  <a:lnTo>
                    <a:pt x="193" y="173"/>
                  </a:lnTo>
                  <a:lnTo>
                    <a:pt x="191" y="169"/>
                  </a:lnTo>
                  <a:lnTo>
                    <a:pt x="191" y="169"/>
                  </a:lnTo>
                  <a:lnTo>
                    <a:pt x="191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91" y="160"/>
                  </a:lnTo>
                  <a:lnTo>
                    <a:pt x="191" y="153"/>
                  </a:lnTo>
                  <a:lnTo>
                    <a:pt x="188" y="153"/>
                  </a:lnTo>
                  <a:lnTo>
                    <a:pt x="188" y="153"/>
                  </a:lnTo>
                  <a:lnTo>
                    <a:pt x="188" y="151"/>
                  </a:lnTo>
                  <a:lnTo>
                    <a:pt x="188" y="151"/>
                  </a:lnTo>
                  <a:lnTo>
                    <a:pt x="188" y="151"/>
                  </a:lnTo>
                  <a:lnTo>
                    <a:pt x="188" y="151"/>
                  </a:lnTo>
                  <a:lnTo>
                    <a:pt x="188" y="149"/>
                  </a:lnTo>
                  <a:lnTo>
                    <a:pt x="188" y="149"/>
                  </a:lnTo>
                  <a:lnTo>
                    <a:pt x="188" y="149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8" y="144"/>
                  </a:lnTo>
                  <a:lnTo>
                    <a:pt x="186" y="140"/>
                  </a:lnTo>
                  <a:lnTo>
                    <a:pt x="184" y="137"/>
                  </a:lnTo>
                  <a:lnTo>
                    <a:pt x="184" y="137"/>
                  </a:lnTo>
                  <a:lnTo>
                    <a:pt x="184" y="135"/>
                  </a:lnTo>
                  <a:lnTo>
                    <a:pt x="182" y="135"/>
                  </a:lnTo>
                  <a:lnTo>
                    <a:pt x="182" y="135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3"/>
                  </a:lnTo>
                  <a:lnTo>
                    <a:pt x="180" y="135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7" y="135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1"/>
                  </a:lnTo>
                  <a:lnTo>
                    <a:pt x="173" y="131"/>
                  </a:lnTo>
                  <a:lnTo>
                    <a:pt x="175" y="131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1"/>
                  </a:lnTo>
                  <a:lnTo>
                    <a:pt x="177" y="128"/>
                  </a:lnTo>
                  <a:lnTo>
                    <a:pt x="177" y="128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5" y="124"/>
                  </a:lnTo>
                  <a:lnTo>
                    <a:pt x="175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71" y="119"/>
                  </a:lnTo>
                  <a:lnTo>
                    <a:pt x="171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71" y="115"/>
                  </a:lnTo>
                  <a:lnTo>
                    <a:pt x="171" y="115"/>
                  </a:lnTo>
                  <a:lnTo>
                    <a:pt x="168" y="113"/>
                  </a:lnTo>
                  <a:lnTo>
                    <a:pt x="168" y="113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3"/>
                  </a:lnTo>
                  <a:lnTo>
                    <a:pt x="173" y="113"/>
                  </a:lnTo>
                  <a:lnTo>
                    <a:pt x="173" y="113"/>
                  </a:lnTo>
                  <a:lnTo>
                    <a:pt x="173" y="113"/>
                  </a:lnTo>
                  <a:lnTo>
                    <a:pt x="173" y="110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6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06"/>
                  </a:lnTo>
                  <a:lnTo>
                    <a:pt x="171" y="106"/>
                  </a:lnTo>
                  <a:lnTo>
                    <a:pt x="171" y="106"/>
                  </a:lnTo>
                  <a:lnTo>
                    <a:pt x="171" y="106"/>
                  </a:lnTo>
                  <a:lnTo>
                    <a:pt x="171" y="106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71" y="104"/>
                  </a:lnTo>
                  <a:lnTo>
                    <a:pt x="171" y="104"/>
                  </a:lnTo>
                  <a:lnTo>
                    <a:pt x="171" y="104"/>
                  </a:lnTo>
                  <a:lnTo>
                    <a:pt x="168" y="104"/>
                  </a:lnTo>
                  <a:lnTo>
                    <a:pt x="168" y="104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71" y="101"/>
                  </a:lnTo>
                  <a:lnTo>
                    <a:pt x="171" y="101"/>
                  </a:lnTo>
                  <a:lnTo>
                    <a:pt x="171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5" y="101"/>
                  </a:lnTo>
                  <a:lnTo>
                    <a:pt x="175" y="104"/>
                  </a:lnTo>
                  <a:lnTo>
                    <a:pt x="175" y="104"/>
                  </a:lnTo>
                  <a:lnTo>
                    <a:pt x="175" y="104"/>
                  </a:lnTo>
                  <a:lnTo>
                    <a:pt x="175" y="104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6"/>
                  </a:lnTo>
                  <a:lnTo>
                    <a:pt x="177" y="108"/>
                  </a:lnTo>
                  <a:lnTo>
                    <a:pt x="180" y="110"/>
                  </a:lnTo>
                  <a:lnTo>
                    <a:pt x="182" y="110"/>
                  </a:lnTo>
                  <a:lnTo>
                    <a:pt x="182" y="110"/>
                  </a:lnTo>
                  <a:lnTo>
                    <a:pt x="184" y="113"/>
                  </a:lnTo>
                  <a:lnTo>
                    <a:pt x="184" y="110"/>
                  </a:lnTo>
                  <a:lnTo>
                    <a:pt x="184" y="110"/>
                  </a:lnTo>
                  <a:lnTo>
                    <a:pt x="184" y="110"/>
                  </a:lnTo>
                  <a:lnTo>
                    <a:pt x="184" y="108"/>
                  </a:lnTo>
                  <a:lnTo>
                    <a:pt x="184" y="108"/>
                  </a:lnTo>
                  <a:lnTo>
                    <a:pt x="182" y="108"/>
                  </a:lnTo>
                  <a:lnTo>
                    <a:pt x="182" y="108"/>
                  </a:lnTo>
                  <a:lnTo>
                    <a:pt x="182" y="108"/>
                  </a:lnTo>
                  <a:lnTo>
                    <a:pt x="184" y="108"/>
                  </a:lnTo>
                  <a:lnTo>
                    <a:pt x="184" y="108"/>
                  </a:lnTo>
                  <a:lnTo>
                    <a:pt x="184" y="108"/>
                  </a:lnTo>
                  <a:lnTo>
                    <a:pt x="184" y="108"/>
                  </a:lnTo>
                  <a:lnTo>
                    <a:pt x="186" y="108"/>
                  </a:lnTo>
                  <a:lnTo>
                    <a:pt x="186" y="108"/>
                  </a:lnTo>
                  <a:lnTo>
                    <a:pt x="186" y="110"/>
                  </a:lnTo>
                  <a:lnTo>
                    <a:pt x="188" y="110"/>
                  </a:lnTo>
                  <a:lnTo>
                    <a:pt x="188" y="110"/>
                  </a:lnTo>
                  <a:lnTo>
                    <a:pt x="188" y="110"/>
                  </a:lnTo>
                  <a:lnTo>
                    <a:pt x="188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88" y="108"/>
                  </a:lnTo>
                  <a:lnTo>
                    <a:pt x="188" y="108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88" y="106"/>
                  </a:lnTo>
                  <a:lnTo>
                    <a:pt x="188" y="104"/>
                  </a:lnTo>
                  <a:lnTo>
                    <a:pt x="188" y="104"/>
                  </a:lnTo>
                  <a:lnTo>
                    <a:pt x="188" y="104"/>
                  </a:lnTo>
                  <a:lnTo>
                    <a:pt x="188" y="104"/>
                  </a:lnTo>
                  <a:lnTo>
                    <a:pt x="186" y="104"/>
                  </a:lnTo>
                  <a:lnTo>
                    <a:pt x="186" y="104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4"/>
                  </a:lnTo>
                  <a:lnTo>
                    <a:pt x="184" y="104"/>
                  </a:lnTo>
                  <a:lnTo>
                    <a:pt x="182" y="104"/>
                  </a:lnTo>
                  <a:lnTo>
                    <a:pt x="182" y="104"/>
                  </a:lnTo>
                  <a:lnTo>
                    <a:pt x="182" y="104"/>
                  </a:lnTo>
                  <a:lnTo>
                    <a:pt x="180" y="104"/>
                  </a:lnTo>
                  <a:lnTo>
                    <a:pt x="180" y="104"/>
                  </a:lnTo>
                  <a:lnTo>
                    <a:pt x="180" y="104"/>
                  </a:lnTo>
                  <a:lnTo>
                    <a:pt x="180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101"/>
                  </a:lnTo>
                  <a:lnTo>
                    <a:pt x="177" y="99"/>
                  </a:lnTo>
                  <a:lnTo>
                    <a:pt x="177" y="99"/>
                  </a:lnTo>
                  <a:lnTo>
                    <a:pt x="177" y="99"/>
                  </a:lnTo>
                  <a:lnTo>
                    <a:pt x="177" y="99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5" y="99"/>
                  </a:lnTo>
                  <a:lnTo>
                    <a:pt x="175" y="97"/>
                  </a:lnTo>
                  <a:lnTo>
                    <a:pt x="175" y="97"/>
                  </a:lnTo>
                  <a:lnTo>
                    <a:pt x="175" y="97"/>
                  </a:lnTo>
                  <a:lnTo>
                    <a:pt x="175" y="97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5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5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77" y="97"/>
                  </a:lnTo>
                  <a:lnTo>
                    <a:pt x="180" y="97"/>
                  </a:lnTo>
                  <a:lnTo>
                    <a:pt x="180" y="97"/>
                  </a:lnTo>
                  <a:lnTo>
                    <a:pt x="182" y="97"/>
                  </a:lnTo>
                  <a:lnTo>
                    <a:pt x="182" y="97"/>
                  </a:lnTo>
                  <a:lnTo>
                    <a:pt x="184" y="99"/>
                  </a:lnTo>
                  <a:lnTo>
                    <a:pt x="184" y="99"/>
                  </a:lnTo>
                  <a:lnTo>
                    <a:pt x="184" y="99"/>
                  </a:lnTo>
                  <a:close/>
                  <a:moveTo>
                    <a:pt x="141" y="81"/>
                  </a:moveTo>
                  <a:lnTo>
                    <a:pt x="139" y="83"/>
                  </a:lnTo>
                  <a:lnTo>
                    <a:pt x="139" y="83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79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39" y="81"/>
                  </a:lnTo>
                  <a:lnTo>
                    <a:pt x="141" y="81"/>
                  </a:lnTo>
                  <a:close/>
                  <a:moveTo>
                    <a:pt x="229" y="47"/>
                  </a:move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4" y="45"/>
                  </a:lnTo>
                  <a:lnTo>
                    <a:pt x="227" y="45"/>
                  </a:lnTo>
                  <a:lnTo>
                    <a:pt x="229" y="45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close/>
                  <a:moveTo>
                    <a:pt x="206" y="38"/>
                  </a:moveTo>
                  <a:lnTo>
                    <a:pt x="206" y="38"/>
                  </a:lnTo>
                  <a:lnTo>
                    <a:pt x="206" y="38"/>
                  </a:lnTo>
                  <a:lnTo>
                    <a:pt x="206" y="38"/>
                  </a:lnTo>
                  <a:close/>
                  <a:moveTo>
                    <a:pt x="193" y="34"/>
                  </a:moveTo>
                  <a:lnTo>
                    <a:pt x="193" y="34"/>
                  </a:lnTo>
                  <a:lnTo>
                    <a:pt x="193" y="34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1" y="32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close/>
                  <a:moveTo>
                    <a:pt x="128" y="11"/>
                  </a:moveTo>
                  <a:lnTo>
                    <a:pt x="126" y="11"/>
                  </a:lnTo>
                  <a:lnTo>
                    <a:pt x="126" y="11"/>
                  </a:lnTo>
                  <a:lnTo>
                    <a:pt x="126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6" y="7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11"/>
                  </a:lnTo>
                  <a:lnTo>
                    <a:pt x="128" y="11"/>
                  </a:lnTo>
                  <a:close/>
                  <a:moveTo>
                    <a:pt x="117" y="2"/>
                  </a:move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21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7" y="5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close/>
                  <a:moveTo>
                    <a:pt x="137" y="5"/>
                  </a:moveTo>
                  <a:lnTo>
                    <a:pt x="139" y="5"/>
                  </a:lnTo>
                  <a:lnTo>
                    <a:pt x="141" y="5"/>
                  </a:lnTo>
                  <a:lnTo>
                    <a:pt x="141" y="7"/>
                  </a:lnTo>
                  <a:lnTo>
                    <a:pt x="153" y="14"/>
                  </a:lnTo>
                  <a:lnTo>
                    <a:pt x="155" y="16"/>
                  </a:lnTo>
                  <a:lnTo>
                    <a:pt x="157" y="16"/>
                  </a:lnTo>
                  <a:lnTo>
                    <a:pt x="157" y="16"/>
                  </a:lnTo>
                  <a:lnTo>
                    <a:pt x="159" y="18"/>
                  </a:lnTo>
                  <a:lnTo>
                    <a:pt x="166" y="20"/>
                  </a:lnTo>
                  <a:lnTo>
                    <a:pt x="166" y="23"/>
                  </a:lnTo>
                  <a:lnTo>
                    <a:pt x="168" y="23"/>
                  </a:lnTo>
                  <a:lnTo>
                    <a:pt x="168" y="23"/>
                  </a:lnTo>
                  <a:lnTo>
                    <a:pt x="173" y="25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80" y="29"/>
                  </a:lnTo>
                  <a:lnTo>
                    <a:pt x="180" y="29"/>
                  </a:lnTo>
                  <a:lnTo>
                    <a:pt x="180" y="29"/>
                  </a:lnTo>
                  <a:lnTo>
                    <a:pt x="180" y="29"/>
                  </a:lnTo>
                  <a:lnTo>
                    <a:pt x="184" y="32"/>
                  </a:lnTo>
                  <a:lnTo>
                    <a:pt x="188" y="32"/>
                  </a:lnTo>
                  <a:lnTo>
                    <a:pt x="188" y="32"/>
                  </a:lnTo>
                  <a:lnTo>
                    <a:pt x="188" y="32"/>
                  </a:lnTo>
                  <a:lnTo>
                    <a:pt x="188" y="32"/>
                  </a:lnTo>
                  <a:lnTo>
                    <a:pt x="188" y="32"/>
                  </a:lnTo>
                  <a:lnTo>
                    <a:pt x="188" y="34"/>
                  </a:lnTo>
                  <a:lnTo>
                    <a:pt x="188" y="34"/>
                  </a:lnTo>
                  <a:lnTo>
                    <a:pt x="188" y="34"/>
                  </a:lnTo>
                  <a:lnTo>
                    <a:pt x="188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5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7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4"/>
                  </a:lnTo>
                  <a:lnTo>
                    <a:pt x="200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4" y="36"/>
                  </a:lnTo>
                  <a:lnTo>
                    <a:pt x="204" y="38"/>
                  </a:lnTo>
                  <a:lnTo>
                    <a:pt x="204" y="38"/>
                  </a:lnTo>
                  <a:lnTo>
                    <a:pt x="206" y="38"/>
                  </a:lnTo>
                  <a:lnTo>
                    <a:pt x="209" y="38"/>
                  </a:lnTo>
                  <a:lnTo>
                    <a:pt x="211" y="38"/>
                  </a:lnTo>
                  <a:lnTo>
                    <a:pt x="213" y="38"/>
                  </a:lnTo>
                  <a:lnTo>
                    <a:pt x="213" y="38"/>
                  </a:lnTo>
                  <a:lnTo>
                    <a:pt x="213" y="36"/>
                  </a:lnTo>
                  <a:lnTo>
                    <a:pt x="213" y="34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5" y="32"/>
                  </a:lnTo>
                  <a:lnTo>
                    <a:pt x="215" y="32"/>
                  </a:lnTo>
                  <a:lnTo>
                    <a:pt x="215" y="32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5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29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18" y="34"/>
                  </a:lnTo>
                  <a:lnTo>
                    <a:pt x="218" y="34"/>
                  </a:lnTo>
                  <a:lnTo>
                    <a:pt x="220" y="34"/>
                  </a:lnTo>
                  <a:lnTo>
                    <a:pt x="220" y="34"/>
                  </a:lnTo>
                  <a:lnTo>
                    <a:pt x="220" y="36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20" y="41"/>
                  </a:lnTo>
                  <a:lnTo>
                    <a:pt x="220" y="41"/>
                  </a:lnTo>
                  <a:lnTo>
                    <a:pt x="220" y="41"/>
                  </a:lnTo>
                  <a:lnTo>
                    <a:pt x="220" y="41"/>
                  </a:lnTo>
                  <a:lnTo>
                    <a:pt x="220" y="41"/>
                  </a:lnTo>
                  <a:lnTo>
                    <a:pt x="220" y="43"/>
                  </a:lnTo>
                  <a:lnTo>
                    <a:pt x="220" y="43"/>
                  </a:lnTo>
                  <a:lnTo>
                    <a:pt x="220" y="43"/>
                  </a:lnTo>
                  <a:lnTo>
                    <a:pt x="222" y="43"/>
                  </a:lnTo>
                  <a:lnTo>
                    <a:pt x="222" y="45"/>
                  </a:lnTo>
                  <a:lnTo>
                    <a:pt x="224" y="45"/>
                  </a:lnTo>
                  <a:lnTo>
                    <a:pt x="227" y="45"/>
                  </a:lnTo>
                  <a:lnTo>
                    <a:pt x="227" y="45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9" y="47"/>
                  </a:lnTo>
                  <a:lnTo>
                    <a:pt x="229" y="50"/>
                  </a:lnTo>
                  <a:lnTo>
                    <a:pt x="231" y="50"/>
                  </a:lnTo>
                  <a:lnTo>
                    <a:pt x="231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3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3" y="52"/>
                  </a:lnTo>
                  <a:lnTo>
                    <a:pt x="233" y="54"/>
                  </a:lnTo>
                  <a:lnTo>
                    <a:pt x="233" y="54"/>
                  </a:lnTo>
                  <a:lnTo>
                    <a:pt x="233" y="54"/>
                  </a:lnTo>
                  <a:lnTo>
                    <a:pt x="233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8" y="54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40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2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4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8" y="56"/>
                  </a:lnTo>
                  <a:lnTo>
                    <a:pt x="236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3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1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3" y="59"/>
                  </a:lnTo>
                  <a:lnTo>
                    <a:pt x="231" y="59"/>
                  </a:lnTo>
                  <a:lnTo>
                    <a:pt x="231" y="59"/>
                  </a:lnTo>
                  <a:lnTo>
                    <a:pt x="231" y="59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31" y="61"/>
                  </a:lnTo>
                  <a:lnTo>
                    <a:pt x="229" y="61"/>
                  </a:lnTo>
                  <a:lnTo>
                    <a:pt x="229" y="61"/>
                  </a:lnTo>
                  <a:lnTo>
                    <a:pt x="229" y="61"/>
                  </a:lnTo>
                  <a:lnTo>
                    <a:pt x="229" y="59"/>
                  </a:lnTo>
                  <a:lnTo>
                    <a:pt x="229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59"/>
                  </a:lnTo>
                  <a:lnTo>
                    <a:pt x="227" y="61"/>
                  </a:lnTo>
                  <a:lnTo>
                    <a:pt x="227" y="61"/>
                  </a:lnTo>
                  <a:lnTo>
                    <a:pt x="227" y="61"/>
                  </a:lnTo>
                  <a:lnTo>
                    <a:pt x="227" y="61"/>
                  </a:lnTo>
                  <a:lnTo>
                    <a:pt x="227" y="61"/>
                  </a:lnTo>
                  <a:lnTo>
                    <a:pt x="229" y="61"/>
                  </a:lnTo>
                  <a:lnTo>
                    <a:pt x="229" y="61"/>
                  </a:lnTo>
                  <a:lnTo>
                    <a:pt x="227" y="61"/>
                  </a:lnTo>
                  <a:lnTo>
                    <a:pt x="224" y="61"/>
                  </a:lnTo>
                  <a:lnTo>
                    <a:pt x="222" y="61"/>
                  </a:lnTo>
                  <a:lnTo>
                    <a:pt x="222" y="61"/>
                  </a:lnTo>
                  <a:lnTo>
                    <a:pt x="222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20" y="61"/>
                  </a:lnTo>
                  <a:lnTo>
                    <a:pt x="218" y="61"/>
                  </a:lnTo>
                  <a:lnTo>
                    <a:pt x="215" y="61"/>
                  </a:lnTo>
                  <a:lnTo>
                    <a:pt x="213" y="61"/>
                  </a:lnTo>
                  <a:lnTo>
                    <a:pt x="213" y="63"/>
                  </a:lnTo>
                  <a:lnTo>
                    <a:pt x="213" y="65"/>
                  </a:lnTo>
                  <a:lnTo>
                    <a:pt x="211" y="68"/>
                  </a:lnTo>
                  <a:lnTo>
                    <a:pt x="211" y="70"/>
                  </a:lnTo>
                  <a:lnTo>
                    <a:pt x="211" y="72"/>
                  </a:lnTo>
                  <a:lnTo>
                    <a:pt x="211" y="77"/>
                  </a:lnTo>
                  <a:lnTo>
                    <a:pt x="211" y="77"/>
                  </a:lnTo>
                  <a:lnTo>
                    <a:pt x="211" y="79"/>
                  </a:lnTo>
                  <a:lnTo>
                    <a:pt x="213" y="79"/>
                  </a:lnTo>
                  <a:lnTo>
                    <a:pt x="213" y="81"/>
                  </a:lnTo>
                  <a:lnTo>
                    <a:pt x="213" y="81"/>
                  </a:lnTo>
                  <a:lnTo>
                    <a:pt x="213" y="81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3" y="86"/>
                  </a:lnTo>
                  <a:lnTo>
                    <a:pt x="213" y="86"/>
                  </a:lnTo>
                  <a:lnTo>
                    <a:pt x="213" y="86"/>
                  </a:lnTo>
                  <a:lnTo>
                    <a:pt x="213" y="86"/>
                  </a:lnTo>
                  <a:lnTo>
                    <a:pt x="213" y="86"/>
                  </a:lnTo>
                  <a:lnTo>
                    <a:pt x="213" y="83"/>
                  </a:lnTo>
                  <a:lnTo>
                    <a:pt x="211" y="83"/>
                  </a:lnTo>
                  <a:lnTo>
                    <a:pt x="211" y="83"/>
                  </a:lnTo>
                  <a:lnTo>
                    <a:pt x="211" y="83"/>
                  </a:lnTo>
                  <a:lnTo>
                    <a:pt x="206" y="81"/>
                  </a:lnTo>
                  <a:lnTo>
                    <a:pt x="202" y="79"/>
                  </a:lnTo>
                  <a:lnTo>
                    <a:pt x="195" y="77"/>
                  </a:lnTo>
                  <a:lnTo>
                    <a:pt x="195" y="77"/>
                  </a:lnTo>
                  <a:lnTo>
                    <a:pt x="188" y="74"/>
                  </a:lnTo>
                  <a:lnTo>
                    <a:pt x="188" y="74"/>
                  </a:lnTo>
                  <a:lnTo>
                    <a:pt x="186" y="74"/>
                  </a:lnTo>
                  <a:lnTo>
                    <a:pt x="182" y="72"/>
                  </a:lnTo>
                  <a:lnTo>
                    <a:pt x="182" y="72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80" y="70"/>
                  </a:lnTo>
                  <a:lnTo>
                    <a:pt x="177" y="70"/>
                  </a:lnTo>
                  <a:lnTo>
                    <a:pt x="175" y="70"/>
                  </a:lnTo>
                  <a:lnTo>
                    <a:pt x="173" y="70"/>
                  </a:lnTo>
                  <a:lnTo>
                    <a:pt x="173" y="70"/>
                  </a:lnTo>
                  <a:lnTo>
                    <a:pt x="171" y="70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8" y="72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6" y="77"/>
                  </a:lnTo>
                  <a:lnTo>
                    <a:pt x="166" y="77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4" y="74"/>
                  </a:lnTo>
                  <a:lnTo>
                    <a:pt x="162" y="74"/>
                  </a:lnTo>
                  <a:lnTo>
                    <a:pt x="157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0" y="70"/>
                  </a:lnTo>
                  <a:lnTo>
                    <a:pt x="150" y="72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3" y="77"/>
                  </a:lnTo>
                  <a:lnTo>
                    <a:pt x="153" y="77"/>
                  </a:lnTo>
                  <a:lnTo>
                    <a:pt x="155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9" y="81"/>
                  </a:lnTo>
                  <a:lnTo>
                    <a:pt x="159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6" y="81"/>
                  </a:lnTo>
                  <a:lnTo>
                    <a:pt x="166" y="83"/>
                  </a:lnTo>
                  <a:lnTo>
                    <a:pt x="168" y="83"/>
                  </a:lnTo>
                  <a:lnTo>
                    <a:pt x="168" y="83"/>
                  </a:lnTo>
                  <a:lnTo>
                    <a:pt x="168" y="83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3" y="86"/>
                  </a:lnTo>
                  <a:lnTo>
                    <a:pt x="173" y="86"/>
                  </a:lnTo>
                  <a:lnTo>
                    <a:pt x="173" y="86"/>
                  </a:lnTo>
                  <a:lnTo>
                    <a:pt x="173" y="86"/>
                  </a:lnTo>
                  <a:lnTo>
                    <a:pt x="175" y="86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5" y="88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3" y="90"/>
                  </a:lnTo>
                  <a:lnTo>
                    <a:pt x="171" y="90"/>
                  </a:lnTo>
                  <a:lnTo>
                    <a:pt x="171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8" y="88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6" y="88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6" y="95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4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7"/>
                  </a:lnTo>
                  <a:lnTo>
                    <a:pt x="159" y="95"/>
                  </a:lnTo>
                  <a:lnTo>
                    <a:pt x="157" y="95"/>
                  </a:lnTo>
                  <a:lnTo>
                    <a:pt x="157" y="95"/>
                  </a:lnTo>
                  <a:lnTo>
                    <a:pt x="157" y="92"/>
                  </a:lnTo>
                  <a:lnTo>
                    <a:pt x="157" y="92"/>
                  </a:lnTo>
                  <a:lnTo>
                    <a:pt x="155" y="90"/>
                  </a:lnTo>
                  <a:lnTo>
                    <a:pt x="157" y="90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7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5" y="83"/>
                  </a:lnTo>
                  <a:lnTo>
                    <a:pt x="155" y="83"/>
                  </a:lnTo>
                  <a:lnTo>
                    <a:pt x="153" y="83"/>
                  </a:lnTo>
                  <a:lnTo>
                    <a:pt x="150" y="81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8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1" y="77"/>
                  </a:lnTo>
                  <a:lnTo>
                    <a:pt x="141" y="77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41" y="72"/>
                  </a:lnTo>
                  <a:lnTo>
                    <a:pt x="141" y="72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1" y="65"/>
                  </a:lnTo>
                  <a:lnTo>
                    <a:pt x="141" y="65"/>
                  </a:lnTo>
                  <a:lnTo>
                    <a:pt x="141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4" y="65"/>
                  </a:lnTo>
                  <a:lnTo>
                    <a:pt x="146" y="65"/>
                  </a:lnTo>
                  <a:lnTo>
                    <a:pt x="146" y="65"/>
                  </a:lnTo>
                  <a:lnTo>
                    <a:pt x="146" y="65"/>
                  </a:lnTo>
                  <a:lnTo>
                    <a:pt x="146" y="65"/>
                  </a:lnTo>
                  <a:lnTo>
                    <a:pt x="146" y="65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59"/>
                  </a:lnTo>
                  <a:lnTo>
                    <a:pt x="144" y="56"/>
                  </a:lnTo>
                  <a:lnTo>
                    <a:pt x="141" y="56"/>
                  </a:lnTo>
                  <a:lnTo>
                    <a:pt x="141" y="56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41" y="52"/>
                  </a:lnTo>
                  <a:lnTo>
                    <a:pt x="141" y="52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6" y="54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3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7" y="56"/>
                  </a:lnTo>
                  <a:lnTo>
                    <a:pt x="157" y="56"/>
                  </a:lnTo>
                  <a:lnTo>
                    <a:pt x="157" y="56"/>
                  </a:lnTo>
                  <a:lnTo>
                    <a:pt x="157" y="56"/>
                  </a:lnTo>
                  <a:lnTo>
                    <a:pt x="157" y="56"/>
                  </a:lnTo>
                  <a:lnTo>
                    <a:pt x="157" y="56"/>
                  </a:lnTo>
                  <a:lnTo>
                    <a:pt x="159" y="54"/>
                  </a:lnTo>
                  <a:lnTo>
                    <a:pt x="159" y="54"/>
                  </a:lnTo>
                  <a:lnTo>
                    <a:pt x="159" y="52"/>
                  </a:lnTo>
                  <a:lnTo>
                    <a:pt x="157" y="52"/>
                  </a:lnTo>
                  <a:lnTo>
                    <a:pt x="157" y="50"/>
                  </a:lnTo>
                  <a:lnTo>
                    <a:pt x="157" y="50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50" y="41"/>
                  </a:lnTo>
                  <a:lnTo>
                    <a:pt x="150" y="41"/>
                  </a:lnTo>
                  <a:lnTo>
                    <a:pt x="150" y="41"/>
                  </a:lnTo>
                  <a:lnTo>
                    <a:pt x="150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0" y="36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3"/>
                  </a:lnTo>
                  <a:lnTo>
                    <a:pt x="144" y="23"/>
                  </a:lnTo>
                  <a:lnTo>
                    <a:pt x="141" y="18"/>
                  </a:lnTo>
                  <a:lnTo>
                    <a:pt x="139" y="16"/>
                  </a:lnTo>
                  <a:lnTo>
                    <a:pt x="137" y="14"/>
                  </a:lnTo>
                  <a:lnTo>
                    <a:pt x="132" y="9"/>
                  </a:lnTo>
                  <a:lnTo>
                    <a:pt x="130" y="9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7" y="5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4" name="Freeform 571"/>
            <p:cNvSpPr>
              <a:spLocks/>
            </p:cNvSpPr>
            <p:nvPr/>
          </p:nvSpPr>
          <p:spPr bwMode="auto">
            <a:xfrm>
              <a:off x="2933186" y="3228654"/>
              <a:ext cx="75215" cy="33429"/>
            </a:xfrm>
            <a:custGeom>
              <a:avLst/>
              <a:gdLst>
                <a:gd name="T0" fmla="*/ 22 w 45"/>
                <a:gd name="T1" fmla="*/ 2 h 20"/>
                <a:gd name="T2" fmla="*/ 25 w 45"/>
                <a:gd name="T3" fmla="*/ 2 h 20"/>
                <a:gd name="T4" fmla="*/ 25 w 45"/>
                <a:gd name="T5" fmla="*/ 2 h 20"/>
                <a:gd name="T6" fmla="*/ 25 w 45"/>
                <a:gd name="T7" fmla="*/ 5 h 20"/>
                <a:gd name="T8" fmla="*/ 27 w 45"/>
                <a:gd name="T9" fmla="*/ 5 h 20"/>
                <a:gd name="T10" fmla="*/ 29 w 45"/>
                <a:gd name="T11" fmla="*/ 5 h 20"/>
                <a:gd name="T12" fmla="*/ 31 w 45"/>
                <a:gd name="T13" fmla="*/ 7 h 20"/>
                <a:gd name="T14" fmla="*/ 31 w 45"/>
                <a:gd name="T15" fmla="*/ 7 h 20"/>
                <a:gd name="T16" fmla="*/ 34 w 45"/>
                <a:gd name="T17" fmla="*/ 7 h 20"/>
                <a:gd name="T18" fmla="*/ 36 w 45"/>
                <a:gd name="T19" fmla="*/ 9 h 20"/>
                <a:gd name="T20" fmla="*/ 36 w 45"/>
                <a:gd name="T21" fmla="*/ 9 h 20"/>
                <a:gd name="T22" fmla="*/ 38 w 45"/>
                <a:gd name="T23" fmla="*/ 9 h 20"/>
                <a:gd name="T24" fmla="*/ 43 w 45"/>
                <a:gd name="T25" fmla="*/ 11 h 20"/>
                <a:gd name="T26" fmla="*/ 43 w 45"/>
                <a:gd name="T27" fmla="*/ 14 h 20"/>
                <a:gd name="T28" fmla="*/ 43 w 45"/>
                <a:gd name="T29" fmla="*/ 16 h 20"/>
                <a:gd name="T30" fmla="*/ 40 w 45"/>
                <a:gd name="T31" fmla="*/ 16 h 20"/>
                <a:gd name="T32" fmla="*/ 40 w 45"/>
                <a:gd name="T33" fmla="*/ 16 h 20"/>
                <a:gd name="T34" fmla="*/ 38 w 45"/>
                <a:gd name="T35" fmla="*/ 16 h 20"/>
                <a:gd name="T36" fmla="*/ 36 w 45"/>
                <a:gd name="T37" fmla="*/ 16 h 20"/>
                <a:gd name="T38" fmla="*/ 36 w 45"/>
                <a:gd name="T39" fmla="*/ 16 h 20"/>
                <a:gd name="T40" fmla="*/ 34 w 45"/>
                <a:gd name="T41" fmla="*/ 16 h 20"/>
                <a:gd name="T42" fmla="*/ 34 w 45"/>
                <a:gd name="T43" fmla="*/ 16 h 20"/>
                <a:gd name="T44" fmla="*/ 31 w 45"/>
                <a:gd name="T45" fmla="*/ 16 h 20"/>
                <a:gd name="T46" fmla="*/ 34 w 45"/>
                <a:gd name="T47" fmla="*/ 14 h 20"/>
                <a:gd name="T48" fmla="*/ 31 w 45"/>
                <a:gd name="T49" fmla="*/ 14 h 20"/>
                <a:gd name="T50" fmla="*/ 29 w 45"/>
                <a:gd name="T51" fmla="*/ 14 h 20"/>
                <a:gd name="T52" fmla="*/ 27 w 45"/>
                <a:gd name="T53" fmla="*/ 18 h 20"/>
                <a:gd name="T54" fmla="*/ 27 w 45"/>
                <a:gd name="T55" fmla="*/ 18 h 20"/>
                <a:gd name="T56" fmla="*/ 27 w 45"/>
                <a:gd name="T57" fmla="*/ 16 h 20"/>
                <a:gd name="T58" fmla="*/ 25 w 45"/>
                <a:gd name="T59" fmla="*/ 16 h 20"/>
                <a:gd name="T60" fmla="*/ 22 w 45"/>
                <a:gd name="T61" fmla="*/ 18 h 20"/>
                <a:gd name="T62" fmla="*/ 22 w 45"/>
                <a:gd name="T63" fmla="*/ 18 h 20"/>
                <a:gd name="T64" fmla="*/ 22 w 45"/>
                <a:gd name="T65" fmla="*/ 18 h 20"/>
                <a:gd name="T66" fmla="*/ 25 w 45"/>
                <a:gd name="T67" fmla="*/ 18 h 20"/>
                <a:gd name="T68" fmla="*/ 22 w 45"/>
                <a:gd name="T69" fmla="*/ 20 h 20"/>
                <a:gd name="T70" fmla="*/ 20 w 45"/>
                <a:gd name="T71" fmla="*/ 18 h 20"/>
                <a:gd name="T72" fmla="*/ 18 w 45"/>
                <a:gd name="T73" fmla="*/ 16 h 20"/>
                <a:gd name="T74" fmla="*/ 16 w 45"/>
                <a:gd name="T75" fmla="*/ 16 h 20"/>
                <a:gd name="T76" fmla="*/ 11 w 45"/>
                <a:gd name="T77" fmla="*/ 16 h 20"/>
                <a:gd name="T78" fmla="*/ 11 w 45"/>
                <a:gd name="T79" fmla="*/ 16 h 20"/>
                <a:gd name="T80" fmla="*/ 9 w 45"/>
                <a:gd name="T81" fmla="*/ 14 h 20"/>
                <a:gd name="T82" fmla="*/ 7 w 45"/>
                <a:gd name="T83" fmla="*/ 14 h 20"/>
                <a:gd name="T84" fmla="*/ 7 w 45"/>
                <a:gd name="T85" fmla="*/ 11 h 20"/>
                <a:gd name="T86" fmla="*/ 7 w 45"/>
                <a:gd name="T87" fmla="*/ 11 h 20"/>
                <a:gd name="T88" fmla="*/ 4 w 45"/>
                <a:gd name="T89" fmla="*/ 9 h 20"/>
                <a:gd name="T90" fmla="*/ 2 w 45"/>
                <a:gd name="T91" fmla="*/ 9 h 20"/>
                <a:gd name="T92" fmla="*/ 2 w 45"/>
                <a:gd name="T93" fmla="*/ 9 h 20"/>
                <a:gd name="T94" fmla="*/ 0 w 45"/>
                <a:gd name="T95" fmla="*/ 7 h 20"/>
                <a:gd name="T96" fmla="*/ 0 w 45"/>
                <a:gd name="T97" fmla="*/ 7 h 20"/>
                <a:gd name="T98" fmla="*/ 0 w 45"/>
                <a:gd name="T99" fmla="*/ 5 h 20"/>
                <a:gd name="T100" fmla="*/ 0 w 45"/>
                <a:gd name="T101" fmla="*/ 5 h 20"/>
                <a:gd name="T102" fmla="*/ 2 w 45"/>
                <a:gd name="T103" fmla="*/ 5 h 20"/>
                <a:gd name="T104" fmla="*/ 4 w 45"/>
                <a:gd name="T105" fmla="*/ 2 h 20"/>
                <a:gd name="T106" fmla="*/ 7 w 45"/>
                <a:gd name="T107" fmla="*/ 2 h 20"/>
                <a:gd name="T108" fmla="*/ 9 w 45"/>
                <a:gd name="T109" fmla="*/ 2 h 20"/>
                <a:gd name="T110" fmla="*/ 9 w 45"/>
                <a:gd name="T111" fmla="*/ 2 h 20"/>
                <a:gd name="T112" fmla="*/ 9 w 45"/>
                <a:gd name="T113" fmla="*/ 0 h 20"/>
                <a:gd name="T114" fmla="*/ 16 w 45"/>
                <a:gd name="T115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" h="20">
                  <a:moveTo>
                    <a:pt x="20" y="2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9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5" name="Freeform 572"/>
            <p:cNvSpPr>
              <a:spLocks noEditPoints="1"/>
            </p:cNvSpPr>
            <p:nvPr/>
          </p:nvSpPr>
          <p:spPr bwMode="auto">
            <a:xfrm>
              <a:off x="5849823" y="2097099"/>
              <a:ext cx="394456" cy="409499"/>
            </a:xfrm>
            <a:custGeom>
              <a:avLst/>
              <a:gdLst>
                <a:gd name="T0" fmla="*/ 176 w 236"/>
                <a:gd name="T1" fmla="*/ 232 h 245"/>
                <a:gd name="T2" fmla="*/ 176 w 236"/>
                <a:gd name="T3" fmla="*/ 245 h 245"/>
                <a:gd name="T4" fmla="*/ 142 w 236"/>
                <a:gd name="T5" fmla="*/ 232 h 245"/>
                <a:gd name="T6" fmla="*/ 119 w 236"/>
                <a:gd name="T7" fmla="*/ 218 h 245"/>
                <a:gd name="T8" fmla="*/ 131 w 236"/>
                <a:gd name="T9" fmla="*/ 214 h 245"/>
                <a:gd name="T10" fmla="*/ 144 w 236"/>
                <a:gd name="T11" fmla="*/ 214 h 245"/>
                <a:gd name="T12" fmla="*/ 171 w 236"/>
                <a:gd name="T13" fmla="*/ 212 h 245"/>
                <a:gd name="T14" fmla="*/ 146 w 236"/>
                <a:gd name="T15" fmla="*/ 151 h 245"/>
                <a:gd name="T16" fmla="*/ 59 w 236"/>
                <a:gd name="T17" fmla="*/ 140 h 245"/>
                <a:gd name="T18" fmla="*/ 63 w 236"/>
                <a:gd name="T19" fmla="*/ 144 h 245"/>
                <a:gd name="T20" fmla="*/ 63 w 236"/>
                <a:gd name="T21" fmla="*/ 149 h 245"/>
                <a:gd name="T22" fmla="*/ 66 w 236"/>
                <a:gd name="T23" fmla="*/ 169 h 245"/>
                <a:gd name="T24" fmla="*/ 63 w 236"/>
                <a:gd name="T25" fmla="*/ 185 h 245"/>
                <a:gd name="T26" fmla="*/ 52 w 236"/>
                <a:gd name="T27" fmla="*/ 185 h 245"/>
                <a:gd name="T28" fmla="*/ 45 w 236"/>
                <a:gd name="T29" fmla="*/ 191 h 245"/>
                <a:gd name="T30" fmla="*/ 39 w 236"/>
                <a:gd name="T31" fmla="*/ 185 h 245"/>
                <a:gd name="T32" fmla="*/ 43 w 236"/>
                <a:gd name="T33" fmla="*/ 173 h 245"/>
                <a:gd name="T34" fmla="*/ 41 w 236"/>
                <a:gd name="T35" fmla="*/ 164 h 245"/>
                <a:gd name="T36" fmla="*/ 34 w 236"/>
                <a:gd name="T37" fmla="*/ 151 h 245"/>
                <a:gd name="T38" fmla="*/ 50 w 236"/>
                <a:gd name="T39" fmla="*/ 142 h 245"/>
                <a:gd name="T40" fmla="*/ 70 w 236"/>
                <a:gd name="T41" fmla="*/ 101 h 245"/>
                <a:gd name="T42" fmla="*/ 104 w 236"/>
                <a:gd name="T43" fmla="*/ 5 h 245"/>
                <a:gd name="T44" fmla="*/ 128 w 236"/>
                <a:gd name="T45" fmla="*/ 14 h 245"/>
                <a:gd name="T46" fmla="*/ 131 w 236"/>
                <a:gd name="T47" fmla="*/ 25 h 245"/>
                <a:gd name="T48" fmla="*/ 135 w 236"/>
                <a:gd name="T49" fmla="*/ 34 h 245"/>
                <a:gd name="T50" fmla="*/ 122 w 236"/>
                <a:gd name="T51" fmla="*/ 32 h 245"/>
                <a:gd name="T52" fmla="*/ 113 w 236"/>
                <a:gd name="T53" fmla="*/ 36 h 245"/>
                <a:gd name="T54" fmla="*/ 106 w 236"/>
                <a:gd name="T55" fmla="*/ 41 h 245"/>
                <a:gd name="T56" fmla="*/ 108 w 236"/>
                <a:gd name="T57" fmla="*/ 47 h 245"/>
                <a:gd name="T58" fmla="*/ 113 w 236"/>
                <a:gd name="T59" fmla="*/ 52 h 245"/>
                <a:gd name="T60" fmla="*/ 111 w 236"/>
                <a:gd name="T61" fmla="*/ 65 h 245"/>
                <a:gd name="T62" fmla="*/ 135 w 236"/>
                <a:gd name="T63" fmla="*/ 83 h 245"/>
                <a:gd name="T64" fmla="*/ 173 w 236"/>
                <a:gd name="T65" fmla="*/ 122 h 245"/>
                <a:gd name="T66" fmla="*/ 209 w 236"/>
                <a:gd name="T67" fmla="*/ 144 h 245"/>
                <a:gd name="T68" fmla="*/ 234 w 236"/>
                <a:gd name="T69" fmla="*/ 164 h 245"/>
                <a:gd name="T70" fmla="*/ 223 w 236"/>
                <a:gd name="T71" fmla="*/ 162 h 245"/>
                <a:gd name="T72" fmla="*/ 203 w 236"/>
                <a:gd name="T73" fmla="*/ 160 h 245"/>
                <a:gd name="T74" fmla="*/ 209 w 236"/>
                <a:gd name="T75" fmla="*/ 185 h 245"/>
                <a:gd name="T76" fmla="*/ 200 w 236"/>
                <a:gd name="T77" fmla="*/ 203 h 245"/>
                <a:gd name="T78" fmla="*/ 187 w 236"/>
                <a:gd name="T79" fmla="*/ 203 h 245"/>
                <a:gd name="T80" fmla="*/ 182 w 236"/>
                <a:gd name="T81" fmla="*/ 171 h 245"/>
                <a:gd name="T82" fmla="*/ 164 w 236"/>
                <a:gd name="T83" fmla="*/ 160 h 245"/>
                <a:gd name="T84" fmla="*/ 155 w 236"/>
                <a:gd name="T85" fmla="*/ 149 h 245"/>
                <a:gd name="T86" fmla="*/ 137 w 236"/>
                <a:gd name="T87" fmla="*/ 137 h 245"/>
                <a:gd name="T88" fmla="*/ 108 w 236"/>
                <a:gd name="T89" fmla="*/ 119 h 245"/>
                <a:gd name="T90" fmla="*/ 90 w 236"/>
                <a:gd name="T91" fmla="*/ 110 h 245"/>
                <a:gd name="T92" fmla="*/ 77 w 236"/>
                <a:gd name="T93" fmla="*/ 97 h 245"/>
                <a:gd name="T94" fmla="*/ 63 w 236"/>
                <a:gd name="T95" fmla="*/ 70 h 245"/>
                <a:gd name="T96" fmla="*/ 50 w 236"/>
                <a:gd name="T97" fmla="*/ 63 h 245"/>
                <a:gd name="T98" fmla="*/ 32 w 236"/>
                <a:gd name="T99" fmla="*/ 72 h 245"/>
                <a:gd name="T100" fmla="*/ 16 w 236"/>
                <a:gd name="T101" fmla="*/ 70 h 245"/>
                <a:gd name="T102" fmla="*/ 9 w 236"/>
                <a:gd name="T103" fmla="*/ 54 h 245"/>
                <a:gd name="T104" fmla="*/ 7 w 236"/>
                <a:gd name="T105" fmla="*/ 45 h 245"/>
                <a:gd name="T106" fmla="*/ 5 w 236"/>
                <a:gd name="T107" fmla="*/ 32 h 245"/>
                <a:gd name="T108" fmla="*/ 21 w 236"/>
                <a:gd name="T109" fmla="*/ 27 h 245"/>
                <a:gd name="T110" fmla="*/ 32 w 236"/>
                <a:gd name="T111" fmla="*/ 16 h 245"/>
                <a:gd name="T112" fmla="*/ 43 w 236"/>
                <a:gd name="T113" fmla="*/ 29 h 245"/>
                <a:gd name="T114" fmla="*/ 50 w 236"/>
                <a:gd name="T115" fmla="*/ 16 h 245"/>
                <a:gd name="T116" fmla="*/ 66 w 236"/>
                <a:gd name="T117" fmla="*/ 20 h 245"/>
                <a:gd name="T118" fmla="*/ 70 w 236"/>
                <a:gd name="T119" fmla="*/ 14 h 245"/>
                <a:gd name="T120" fmla="*/ 79 w 236"/>
                <a:gd name="T121" fmla="*/ 7 h 245"/>
                <a:gd name="T122" fmla="*/ 95 w 236"/>
                <a:gd name="T123" fmla="*/ 3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6" h="245">
                  <a:moveTo>
                    <a:pt x="182" y="207"/>
                  </a:moveTo>
                  <a:lnTo>
                    <a:pt x="182" y="207"/>
                  </a:lnTo>
                  <a:lnTo>
                    <a:pt x="182" y="207"/>
                  </a:lnTo>
                  <a:lnTo>
                    <a:pt x="182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80" y="212"/>
                  </a:lnTo>
                  <a:lnTo>
                    <a:pt x="180" y="212"/>
                  </a:lnTo>
                  <a:lnTo>
                    <a:pt x="178" y="214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76" y="218"/>
                  </a:lnTo>
                  <a:lnTo>
                    <a:pt x="176" y="221"/>
                  </a:lnTo>
                  <a:lnTo>
                    <a:pt x="176" y="221"/>
                  </a:lnTo>
                  <a:lnTo>
                    <a:pt x="176" y="221"/>
                  </a:lnTo>
                  <a:lnTo>
                    <a:pt x="176" y="221"/>
                  </a:lnTo>
                  <a:lnTo>
                    <a:pt x="176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3" y="223"/>
                  </a:lnTo>
                  <a:lnTo>
                    <a:pt x="173" y="223"/>
                  </a:lnTo>
                  <a:lnTo>
                    <a:pt x="173" y="225"/>
                  </a:lnTo>
                  <a:lnTo>
                    <a:pt x="173" y="225"/>
                  </a:lnTo>
                  <a:lnTo>
                    <a:pt x="173" y="227"/>
                  </a:lnTo>
                  <a:lnTo>
                    <a:pt x="173" y="227"/>
                  </a:lnTo>
                  <a:lnTo>
                    <a:pt x="173" y="227"/>
                  </a:lnTo>
                  <a:lnTo>
                    <a:pt x="173" y="230"/>
                  </a:lnTo>
                  <a:lnTo>
                    <a:pt x="173" y="230"/>
                  </a:lnTo>
                  <a:lnTo>
                    <a:pt x="173" y="230"/>
                  </a:lnTo>
                  <a:lnTo>
                    <a:pt x="173" y="230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2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4"/>
                  </a:lnTo>
                  <a:lnTo>
                    <a:pt x="176" y="236"/>
                  </a:lnTo>
                  <a:lnTo>
                    <a:pt x="176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6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39"/>
                  </a:lnTo>
                  <a:lnTo>
                    <a:pt x="176" y="239"/>
                  </a:lnTo>
                  <a:lnTo>
                    <a:pt x="176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3" y="243"/>
                  </a:lnTo>
                  <a:lnTo>
                    <a:pt x="173" y="243"/>
                  </a:lnTo>
                  <a:lnTo>
                    <a:pt x="173" y="243"/>
                  </a:lnTo>
                  <a:lnTo>
                    <a:pt x="173" y="243"/>
                  </a:lnTo>
                  <a:lnTo>
                    <a:pt x="173" y="243"/>
                  </a:lnTo>
                  <a:lnTo>
                    <a:pt x="176" y="245"/>
                  </a:lnTo>
                  <a:lnTo>
                    <a:pt x="176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2" y="243"/>
                  </a:lnTo>
                  <a:lnTo>
                    <a:pt x="162" y="243"/>
                  </a:lnTo>
                  <a:lnTo>
                    <a:pt x="160" y="239"/>
                  </a:lnTo>
                  <a:lnTo>
                    <a:pt x="160" y="239"/>
                  </a:lnTo>
                  <a:lnTo>
                    <a:pt x="158" y="236"/>
                  </a:lnTo>
                  <a:lnTo>
                    <a:pt x="155" y="236"/>
                  </a:lnTo>
                  <a:lnTo>
                    <a:pt x="153" y="236"/>
                  </a:lnTo>
                  <a:lnTo>
                    <a:pt x="153" y="236"/>
                  </a:lnTo>
                  <a:lnTo>
                    <a:pt x="151" y="236"/>
                  </a:lnTo>
                  <a:lnTo>
                    <a:pt x="151" y="236"/>
                  </a:lnTo>
                  <a:lnTo>
                    <a:pt x="151" y="236"/>
                  </a:lnTo>
                  <a:lnTo>
                    <a:pt x="151" y="236"/>
                  </a:lnTo>
                  <a:lnTo>
                    <a:pt x="149" y="236"/>
                  </a:lnTo>
                  <a:lnTo>
                    <a:pt x="149" y="234"/>
                  </a:lnTo>
                  <a:lnTo>
                    <a:pt x="149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46" y="234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2" y="232"/>
                  </a:lnTo>
                  <a:lnTo>
                    <a:pt x="142" y="232"/>
                  </a:lnTo>
                  <a:lnTo>
                    <a:pt x="142" y="232"/>
                  </a:lnTo>
                  <a:lnTo>
                    <a:pt x="140" y="230"/>
                  </a:lnTo>
                  <a:lnTo>
                    <a:pt x="140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30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5" y="227"/>
                  </a:lnTo>
                  <a:lnTo>
                    <a:pt x="133" y="225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3" y="227"/>
                  </a:lnTo>
                  <a:lnTo>
                    <a:pt x="133" y="225"/>
                  </a:lnTo>
                  <a:lnTo>
                    <a:pt x="131" y="225"/>
                  </a:lnTo>
                  <a:lnTo>
                    <a:pt x="131" y="225"/>
                  </a:lnTo>
                  <a:lnTo>
                    <a:pt x="131" y="225"/>
                  </a:lnTo>
                  <a:lnTo>
                    <a:pt x="131" y="225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26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2" y="223"/>
                  </a:lnTo>
                  <a:lnTo>
                    <a:pt x="122" y="223"/>
                  </a:lnTo>
                  <a:lnTo>
                    <a:pt x="122" y="223"/>
                  </a:lnTo>
                  <a:lnTo>
                    <a:pt x="122" y="221"/>
                  </a:lnTo>
                  <a:lnTo>
                    <a:pt x="122" y="221"/>
                  </a:lnTo>
                  <a:lnTo>
                    <a:pt x="122" y="221"/>
                  </a:lnTo>
                  <a:lnTo>
                    <a:pt x="122" y="221"/>
                  </a:lnTo>
                  <a:lnTo>
                    <a:pt x="122" y="221"/>
                  </a:lnTo>
                  <a:lnTo>
                    <a:pt x="122" y="221"/>
                  </a:lnTo>
                  <a:lnTo>
                    <a:pt x="119" y="221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6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2"/>
                  </a:lnTo>
                  <a:lnTo>
                    <a:pt x="124" y="214"/>
                  </a:lnTo>
                  <a:lnTo>
                    <a:pt x="124" y="212"/>
                  </a:lnTo>
                  <a:lnTo>
                    <a:pt x="124" y="212"/>
                  </a:lnTo>
                  <a:lnTo>
                    <a:pt x="124" y="212"/>
                  </a:lnTo>
                  <a:lnTo>
                    <a:pt x="124" y="212"/>
                  </a:lnTo>
                  <a:lnTo>
                    <a:pt x="124" y="212"/>
                  </a:lnTo>
                  <a:lnTo>
                    <a:pt x="124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12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2"/>
                  </a:lnTo>
                  <a:lnTo>
                    <a:pt x="128" y="212"/>
                  </a:lnTo>
                  <a:lnTo>
                    <a:pt x="128" y="212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28" y="214"/>
                  </a:lnTo>
                  <a:lnTo>
                    <a:pt x="131" y="214"/>
                  </a:lnTo>
                  <a:lnTo>
                    <a:pt x="131" y="214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12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33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5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09"/>
                  </a:lnTo>
                  <a:lnTo>
                    <a:pt x="137" y="212"/>
                  </a:lnTo>
                  <a:lnTo>
                    <a:pt x="137" y="212"/>
                  </a:lnTo>
                  <a:lnTo>
                    <a:pt x="140" y="212"/>
                  </a:lnTo>
                  <a:lnTo>
                    <a:pt x="142" y="212"/>
                  </a:lnTo>
                  <a:lnTo>
                    <a:pt x="142" y="212"/>
                  </a:lnTo>
                  <a:lnTo>
                    <a:pt x="142" y="212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2" y="214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4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46" y="214"/>
                  </a:lnTo>
                  <a:lnTo>
                    <a:pt x="149" y="214"/>
                  </a:lnTo>
                  <a:lnTo>
                    <a:pt x="149" y="214"/>
                  </a:lnTo>
                  <a:lnTo>
                    <a:pt x="149" y="214"/>
                  </a:lnTo>
                  <a:lnTo>
                    <a:pt x="149" y="214"/>
                  </a:lnTo>
                  <a:lnTo>
                    <a:pt x="149" y="214"/>
                  </a:lnTo>
                  <a:lnTo>
                    <a:pt x="151" y="214"/>
                  </a:lnTo>
                  <a:lnTo>
                    <a:pt x="151" y="214"/>
                  </a:lnTo>
                  <a:lnTo>
                    <a:pt x="151" y="214"/>
                  </a:lnTo>
                  <a:lnTo>
                    <a:pt x="153" y="214"/>
                  </a:lnTo>
                  <a:lnTo>
                    <a:pt x="153" y="214"/>
                  </a:lnTo>
                  <a:lnTo>
                    <a:pt x="153" y="214"/>
                  </a:lnTo>
                  <a:lnTo>
                    <a:pt x="153" y="214"/>
                  </a:lnTo>
                  <a:lnTo>
                    <a:pt x="155" y="214"/>
                  </a:lnTo>
                  <a:lnTo>
                    <a:pt x="158" y="214"/>
                  </a:lnTo>
                  <a:lnTo>
                    <a:pt x="158" y="214"/>
                  </a:lnTo>
                  <a:lnTo>
                    <a:pt x="160" y="214"/>
                  </a:lnTo>
                  <a:lnTo>
                    <a:pt x="160" y="214"/>
                  </a:lnTo>
                  <a:lnTo>
                    <a:pt x="160" y="214"/>
                  </a:lnTo>
                  <a:lnTo>
                    <a:pt x="162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7" y="212"/>
                  </a:lnTo>
                  <a:lnTo>
                    <a:pt x="167" y="212"/>
                  </a:lnTo>
                  <a:lnTo>
                    <a:pt x="167" y="209"/>
                  </a:lnTo>
                  <a:lnTo>
                    <a:pt x="169" y="209"/>
                  </a:lnTo>
                  <a:lnTo>
                    <a:pt x="169" y="209"/>
                  </a:lnTo>
                  <a:lnTo>
                    <a:pt x="169" y="209"/>
                  </a:lnTo>
                  <a:lnTo>
                    <a:pt x="169" y="209"/>
                  </a:lnTo>
                  <a:lnTo>
                    <a:pt x="169" y="209"/>
                  </a:lnTo>
                  <a:lnTo>
                    <a:pt x="169" y="209"/>
                  </a:lnTo>
                  <a:lnTo>
                    <a:pt x="169" y="212"/>
                  </a:lnTo>
                  <a:lnTo>
                    <a:pt x="169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1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09"/>
                  </a:lnTo>
                  <a:lnTo>
                    <a:pt x="176" y="209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6" y="207"/>
                  </a:lnTo>
                  <a:lnTo>
                    <a:pt x="173" y="207"/>
                  </a:lnTo>
                  <a:lnTo>
                    <a:pt x="176" y="207"/>
                  </a:lnTo>
                  <a:lnTo>
                    <a:pt x="176" y="209"/>
                  </a:lnTo>
                  <a:lnTo>
                    <a:pt x="176" y="209"/>
                  </a:lnTo>
                  <a:lnTo>
                    <a:pt x="176" y="209"/>
                  </a:lnTo>
                  <a:lnTo>
                    <a:pt x="176" y="209"/>
                  </a:lnTo>
                  <a:lnTo>
                    <a:pt x="176" y="209"/>
                  </a:lnTo>
                  <a:lnTo>
                    <a:pt x="176" y="209"/>
                  </a:lnTo>
                  <a:lnTo>
                    <a:pt x="176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80" y="207"/>
                  </a:lnTo>
                  <a:lnTo>
                    <a:pt x="180" y="207"/>
                  </a:lnTo>
                  <a:lnTo>
                    <a:pt x="180" y="207"/>
                  </a:lnTo>
                  <a:lnTo>
                    <a:pt x="180" y="207"/>
                  </a:lnTo>
                  <a:lnTo>
                    <a:pt x="182" y="207"/>
                  </a:lnTo>
                  <a:lnTo>
                    <a:pt x="182" y="207"/>
                  </a:lnTo>
                  <a:lnTo>
                    <a:pt x="182" y="207"/>
                  </a:lnTo>
                  <a:lnTo>
                    <a:pt x="182" y="207"/>
                  </a:lnTo>
                  <a:close/>
                  <a:moveTo>
                    <a:pt x="146" y="151"/>
                  </a:move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49"/>
                  </a:lnTo>
                  <a:lnTo>
                    <a:pt x="144" y="149"/>
                  </a:lnTo>
                  <a:lnTo>
                    <a:pt x="144" y="149"/>
                  </a:lnTo>
                  <a:lnTo>
                    <a:pt x="144" y="149"/>
                  </a:lnTo>
                  <a:lnTo>
                    <a:pt x="144" y="149"/>
                  </a:lnTo>
                  <a:lnTo>
                    <a:pt x="144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close/>
                  <a:moveTo>
                    <a:pt x="54" y="137"/>
                  </a:move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7" y="137"/>
                  </a:lnTo>
                  <a:lnTo>
                    <a:pt x="57" y="137"/>
                  </a:lnTo>
                  <a:lnTo>
                    <a:pt x="57" y="137"/>
                  </a:lnTo>
                  <a:lnTo>
                    <a:pt x="57" y="137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37"/>
                  </a:lnTo>
                  <a:lnTo>
                    <a:pt x="57" y="137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2"/>
                  </a:lnTo>
                  <a:lnTo>
                    <a:pt x="63" y="142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6"/>
                  </a:lnTo>
                  <a:lnTo>
                    <a:pt x="61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6" y="146"/>
                  </a:lnTo>
                  <a:lnTo>
                    <a:pt x="63" y="146"/>
                  </a:lnTo>
                  <a:lnTo>
                    <a:pt x="63" y="146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3" y="149"/>
                  </a:lnTo>
                  <a:lnTo>
                    <a:pt x="66" y="151"/>
                  </a:lnTo>
                  <a:lnTo>
                    <a:pt x="66" y="151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6" y="155"/>
                  </a:lnTo>
                  <a:lnTo>
                    <a:pt x="66" y="155"/>
                  </a:lnTo>
                  <a:lnTo>
                    <a:pt x="66" y="155"/>
                  </a:lnTo>
                  <a:lnTo>
                    <a:pt x="66" y="155"/>
                  </a:lnTo>
                  <a:lnTo>
                    <a:pt x="66" y="158"/>
                  </a:lnTo>
                  <a:lnTo>
                    <a:pt x="66" y="158"/>
                  </a:lnTo>
                  <a:lnTo>
                    <a:pt x="66" y="158"/>
                  </a:lnTo>
                  <a:lnTo>
                    <a:pt x="66" y="158"/>
                  </a:lnTo>
                  <a:lnTo>
                    <a:pt x="66" y="158"/>
                  </a:lnTo>
                  <a:lnTo>
                    <a:pt x="66" y="158"/>
                  </a:lnTo>
                  <a:lnTo>
                    <a:pt x="63" y="160"/>
                  </a:lnTo>
                  <a:lnTo>
                    <a:pt x="63" y="160"/>
                  </a:lnTo>
                  <a:lnTo>
                    <a:pt x="63" y="160"/>
                  </a:lnTo>
                  <a:lnTo>
                    <a:pt x="63" y="160"/>
                  </a:lnTo>
                  <a:lnTo>
                    <a:pt x="63" y="160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63" y="164"/>
                  </a:lnTo>
                  <a:lnTo>
                    <a:pt x="66" y="164"/>
                  </a:lnTo>
                  <a:lnTo>
                    <a:pt x="66" y="164"/>
                  </a:lnTo>
                  <a:lnTo>
                    <a:pt x="66" y="164"/>
                  </a:lnTo>
                  <a:lnTo>
                    <a:pt x="66" y="164"/>
                  </a:lnTo>
                  <a:lnTo>
                    <a:pt x="66" y="167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6" y="173"/>
                  </a:lnTo>
                  <a:lnTo>
                    <a:pt x="66" y="173"/>
                  </a:lnTo>
                  <a:lnTo>
                    <a:pt x="66" y="173"/>
                  </a:lnTo>
                  <a:lnTo>
                    <a:pt x="66" y="173"/>
                  </a:lnTo>
                  <a:lnTo>
                    <a:pt x="66" y="173"/>
                  </a:lnTo>
                  <a:lnTo>
                    <a:pt x="66" y="173"/>
                  </a:lnTo>
                  <a:lnTo>
                    <a:pt x="66" y="176"/>
                  </a:lnTo>
                  <a:lnTo>
                    <a:pt x="63" y="176"/>
                  </a:lnTo>
                  <a:lnTo>
                    <a:pt x="63" y="176"/>
                  </a:lnTo>
                  <a:lnTo>
                    <a:pt x="63" y="176"/>
                  </a:lnTo>
                  <a:lnTo>
                    <a:pt x="63" y="176"/>
                  </a:lnTo>
                  <a:lnTo>
                    <a:pt x="63" y="176"/>
                  </a:lnTo>
                  <a:lnTo>
                    <a:pt x="63" y="178"/>
                  </a:lnTo>
                  <a:lnTo>
                    <a:pt x="63" y="178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2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63" y="185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59" y="185"/>
                  </a:lnTo>
                  <a:lnTo>
                    <a:pt x="59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7" y="185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2" y="18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4" y="185"/>
                  </a:lnTo>
                  <a:lnTo>
                    <a:pt x="52" y="187"/>
                  </a:lnTo>
                  <a:lnTo>
                    <a:pt x="52" y="187"/>
                  </a:lnTo>
                  <a:lnTo>
                    <a:pt x="52" y="187"/>
                  </a:lnTo>
                  <a:lnTo>
                    <a:pt x="52" y="187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52" y="189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2" y="191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48" y="194"/>
                  </a:lnTo>
                  <a:lnTo>
                    <a:pt x="48" y="191"/>
                  </a:lnTo>
                  <a:lnTo>
                    <a:pt x="48" y="191"/>
                  </a:lnTo>
                  <a:lnTo>
                    <a:pt x="45" y="191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4"/>
                  </a:lnTo>
                  <a:lnTo>
                    <a:pt x="45" y="191"/>
                  </a:lnTo>
                  <a:lnTo>
                    <a:pt x="45" y="191"/>
                  </a:lnTo>
                  <a:lnTo>
                    <a:pt x="45" y="191"/>
                  </a:lnTo>
                  <a:lnTo>
                    <a:pt x="43" y="191"/>
                  </a:lnTo>
                  <a:lnTo>
                    <a:pt x="43" y="191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7"/>
                  </a:lnTo>
                  <a:lnTo>
                    <a:pt x="41" y="185"/>
                  </a:lnTo>
                  <a:lnTo>
                    <a:pt x="39" y="185"/>
                  </a:lnTo>
                  <a:lnTo>
                    <a:pt x="39" y="185"/>
                  </a:lnTo>
                  <a:lnTo>
                    <a:pt x="41" y="185"/>
                  </a:lnTo>
                  <a:lnTo>
                    <a:pt x="41" y="185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41" y="182"/>
                  </a:lnTo>
                  <a:lnTo>
                    <a:pt x="39" y="182"/>
                  </a:lnTo>
                  <a:lnTo>
                    <a:pt x="39" y="182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8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6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71"/>
                  </a:lnTo>
                  <a:lnTo>
                    <a:pt x="43" y="169"/>
                  </a:lnTo>
                  <a:lnTo>
                    <a:pt x="43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41" y="160"/>
                  </a:lnTo>
                  <a:lnTo>
                    <a:pt x="39" y="158"/>
                  </a:lnTo>
                  <a:lnTo>
                    <a:pt x="39" y="160"/>
                  </a:lnTo>
                  <a:lnTo>
                    <a:pt x="39" y="158"/>
                  </a:lnTo>
                  <a:lnTo>
                    <a:pt x="39" y="158"/>
                  </a:lnTo>
                  <a:lnTo>
                    <a:pt x="39" y="158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9" y="155"/>
                  </a:lnTo>
                  <a:lnTo>
                    <a:pt x="39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4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51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4" y="146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9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3" y="146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6"/>
                  </a:lnTo>
                  <a:lnTo>
                    <a:pt x="48" y="144"/>
                  </a:lnTo>
                  <a:lnTo>
                    <a:pt x="48" y="144"/>
                  </a:lnTo>
                  <a:lnTo>
                    <a:pt x="48" y="144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4" y="140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close/>
                  <a:moveTo>
                    <a:pt x="77" y="101"/>
                  </a:moveTo>
                  <a:lnTo>
                    <a:pt x="77" y="101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7" y="101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0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5" y="99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101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101"/>
                  </a:lnTo>
                  <a:close/>
                  <a:moveTo>
                    <a:pt x="102" y="3"/>
                  </a:move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7" y="11"/>
                  </a:lnTo>
                  <a:lnTo>
                    <a:pt x="119" y="11"/>
                  </a:lnTo>
                  <a:lnTo>
                    <a:pt x="122" y="11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31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1" y="23"/>
                  </a:lnTo>
                  <a:lnTo>
                    <a:pt x="131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31" y="27"/>
                  </a:lnTo>
                  <a:lnTo>
                    <a:pt x="131" y="27"/>
                  </a:lnTo>
                  <a:lnTo>
                    <a:pt x="131" y="27"/>
                  </a:lnTo>
                  <a:lnTo>
                    <a:pt x="131" y="27"/>
                  </a:lnTo>
                  <a:lnTo>
                    <a:pt x="133" y="27"/>
                  </a:lnTo>
                  <a:lnTo>
                    <a:pt x="131" y="27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3" y="29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28" y="32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4" y="34"/>
                  </a:lnTo>
                  <a:lnTo>
                    <a:pt x="124" y="32"/>
                  </a:lnTo>
                  <a:lnTo>
                    <a:pt x="124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7" y="36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6" y="41"/>
                  </a:lnTo>
                  <a:lnTo>
                    <a:pt x="108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1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3" y="52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08" y="54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11" y="63"/>
                  </a:lnTo>
                  <a:lnTo>
                    <a:pt x="111" y="63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5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70"/>
                  </a:lnTo>
                  <a:lnTo>
                    <a:pt x="113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22" y="74"/>
                  </a:lnTo>
                  <a:lnTo>
                    <a:pt x="122" y="74"/>
                  </a:lnTo>
                  <a:lnTo>
                    <a:pt x="122" y="74"/>
                  </a:lnTo>
                  <a:lnTo>
                    <a:pt x="122" y="74"/>
                  </a:lnTo>
                  <a:lnTo>
                    <a:pt x="128" y="79"/>
                  </a:lnTo>
                  <a:lnTo>
                    <a:pt x="131" y="81"/>
                  </a:lnTo>
                  <a:lnTo>
                    <a:pt x="131" y="81"/>
                  </a:lnTo>
                  <a:lnTo>
                    <a:pt x="131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3" y="81"/>
                  </a:lnTo>
                  <a:lnTo>
                    <a:pt x="135" y="81"/>
                  </a:lnTo>
                  <a:lnTo>
                    <a:pt x="135" y="81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35" y="83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5"/>
                  </a:lnTo>
                  <a:lnTo>
                    <a:pt x="142" y="97"/>
                  </a:lnTo>
                  <a:lnTo>
                    <a:pt x="142" y="101"/>
                  </a:lnTo>
                  <a:lnTo>
                    <a:pt x="144" y="101"/>
                  </a:lnTo>
                  <a:lnTo>
                    <a:pt x="144" y="104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6" y="106"/>
                  </a:lnTo>
                  <a:lnTo>
                    <a:pt x="149" y="108"/>
                  </a:lnTo>
                  <a:lnTo>
                    <a:pt x="151" y="110"/>
                  </a:lnTo>
                  <a:lnTo>
                    <a:pt x="151" y="110"/>
                  </a:lnTo>
                  <a:lnTo>
                    <a:pt x="153" y="110"/>
                  </a:lnTo>
                  <a:lnTo>
                    <a:pt x="153" y="113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8" y="115"/>
                  </a:lnTo>
                  <a:lnTo>
                    <a:pt x="158" y="115"/>
                  </a:lnTo>
                  <a:lnTo>
                    <a:pt x="158" y="115"/>
                  </a:lnTo>
                  <a:lnTo>
                    <a:pt x="160" y="115"/>
                  </a:lnTo>
                  <a:lnTo>
                    <a:pt x="160" y="117"/>
                  </a:lnTo>
                  <a:lnTo>
                    <a:pt x="160" y="117"/>
                  </a:lnTo>
                  <a:lnTo>
                    <a:pt x="160" y="117"/>
                  </a:lnTo>
                  <a:lnTo>
                    <a:pt x="160" y="117"/>
                  </a:lnTo>
                  <a:lnTo>
                    <a:pt x="160" y="117"/>
                  </a:lnTo>
                  <a:lnTo>
                    <a:pt x="160" y="117"/>
                  </a:lnTo>
                  <a:lnTo>
                    <a:pt x="162" y="119"/>
                  </a:lnTo>
                  <a:lnTo>
                    <a:pt x="162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4" y="119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7" y="122"/>
                  </a:lnTo>
                  <a:lnTo>
                    <a:pt x="169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6" y="122"/>
                  </a:lnTo>
                  <a:lnTo>
                    <a:pt x="180" y="122"/>
                  </a:lnTo>
                  <a:lnTo>
                    <a:pt x="185" y="122"/>
                  </a:lnTo>
                  <a:lnTo>
                    <a:pt x="187" y="122"/>
                  </a:lnTo>
                  <a:lnTo>
                    <a:pt x="187" y="122"/>
                  </a:lnTo>
                  <a:lnTo>
                    <a:pt x="187" y="122"/>
                  </a:lnTo>
                  <a:lnTo>
                    <a:pt x="187" y="122"/>
                  </a:lnTo>
                  <a:lnTo>
                    <a:pt x="187" y="122"/>
                  </a:lnTo>
                  <a:lnTo>
                    <a:pt x="187" y="122"/>
                  </a:lnTo>
                  <a:lnTo>
                    <a:pt x="187" y="124"/>
                  </a:lnTo>
                  <a:lnTo>
                    <a:pt x="187" y="124"/>
                  </a:lnTo>
                  <a:lnTo>
                    <a:pt x="187" y="124"/>
                  </a:lnTo>
                  <a:lnTo>
                    <a:pt x="187" y="124"/>
                  </a:lnTo>
                  <a:lnTo>
                    <a:pt x="187" y="124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7" y="126"/>
                  </a:lnTo>
                  <a:lnTo>
                    <a:pt x="185" y="126"/>
                  </a:lnTo>
                  <a:lnTo>
                    <a:pt x="185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1"/>
                  </a:lnTo>
                  <a:lnTo>
                    <a:pt x="182" y="133"/>
                  </a:lnTo>
                  <a:lnTo>
                    <a:pt x="185" y="133"/>
                  </a:lnTo>
                  <a:lnTo>
                    <a:pt x="185" y="133"/>
                  </a:lnTo>
                  <a:lnTo>
                    <a:pt x="187" y="133"/>
                  </a:lnTo>
                  <a:lnTo>
                    <a:pt x="187" y="133"/>
                  </a:lnTo>
                  <a:lnTo>
                    <a:pt x="187" y="135"/>
                  </a:lnTo>
                  <a:lnTo>
                    <a:pt x="191" y="135"/>
                  </a:lnTo>
                  <a:lnTo>
                    <a:pt x="194" y="137"/>
                  </a:lnTo>
                  <a:lnTo>
                    <a:pt x="196" y="137"/>
                  </a:lnTo>
                  <a:lnTo>
                    <a:pt x="196" y="137"/>
                  </a:lnTo>
                  <a:lnTo>
                    <a:pt x="196" y="137"/>
                  </a:lnTo>
                  <a:lnTo>
                    <a:pt x="196" y="137"/>
                  </a:lnTo>
                  <a:lnTo>
                    <a:pt x="200" y="140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3" y="140"/>
                  </a:lnTo>
                  <a:lnTo>
                    <a:pt x="205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2" y="144"/>
                  </a:lnTo>
                  <a:lnTo>
                    <a:pt x="212" y="146"/>
                  </a:lnTo>
                  <a:lnTo>
                    <a:pt x="212" y="146"/>
                  </a:lnTo>
                  <a:lnTo>
                    <a:pt x="212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6"/>
                  </a:lnTo>
                  <a:lnTo>
                    <a:pt x="214" y="149"/>
                  </a:lnTo>
                  <a:lnTo>
                    <a:pt x="216" y="149"/>
                  </a:lnTo>
                  <a:lnTo>
                    <a:pt x="216" y="149"/>
                  </a:lnTo>
                  <a:lnTo>
                    <a:pt x="218" y="149"/>
                  </a:lnTo>
                  <a:lnTo>
                    <a:pt x="221" y="149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3" y="151"/>
                  </a:lnTo>
                  <a:lnTo>
                    <a:pt x="223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7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5"/>
                  </a:lnTo>
                  <a:lnTo>
                    <a:pt x="230" y="158"/>
                  </a:lnTo>
                  <a:lnTo>
                    <a:pt x="230" y="158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6" y="164"/>
                  </a:lnTo>
                  <a:lnTo>
                    <a:pt x="234" y="164"/>
                  </a:lnTo>
                  <a:lnTo>
                    <a:pt x="234" y="167"/>
                  </a:lnTo>
                  <a:lnTo>
                    <a:pt x="234" y="167"/>
                  </a:lnTo>
                  <a:lnTo>
                    <a:pt x="234" y="167"/>
                  </a:lnTo>
                  <a:lnTo>
                    <a:pt x="234" y="167"/>
                  </a:lnTo>
                  <a:lnTo>
                    <a:pt x="234" y="167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69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4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2" y="171"/>
                  </a:lnTo>
                  <a:lnTo>
                    <a:pt x="230" y="171"/>
                  </a:lnTo>
                  <a:lnTo>
                    <a:pt x="230" y="171"/>
                  </a:lnTo>
                  <a:lnTo>
                    <a:pt x="230" y="171"/>
                  </a:lnTo>
                  <a:lnTo>
                    <a:pt x="230" y="171"/>
                  </a:lnTo>
                  <a:lnTo>
                    <a:pt x="227" y="169"/>
                  </a:lnTo>
                  <a:lnTo>
                    <a:pt x="227" y="169"/>
                  </a:lnTo>
                  <a:lnTo>
                    <a:pt x="227" y="169"/>
                  </a:lnTo>
                  <a:lnTo>
                    <a:pt x="227" y="169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7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16" y="160"/>
                  </a:lnTo>
                  <a:lnTo>
                    <a:pt x="216" y="160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60"/>
                  </a:lnTo>
                  <a:lnTo>
                    <a:pt x="214" y="158"/>
                  </a:lnTo>
                  <a:lnTo>
                    <a:pt x="214" y="158"/>
                  </a:lnTo>
                  <a:lnTo>
                    <a:pt x="212" y="158"/>
                  </a:lnTo>
                  <a:lnTo>
                    <a:pt x="212" y="158"/>
                  </a:lnTo>
                  <a:lnTo>
                    <a:pt x="209" y="158"/>
                  </a:lnTo>
                  <a:lnTo>
                    <a:pt x="209" y="158"/>
                  </a:lnTo>
                  <a:lnTo>
                    <a:pt x="209" y="158"/>
                  </a:lnTo>
                  <a:lnTo>
                    <a:pt x="209" y="158"/>
                  </a:lnTo>
                  <a:lnTo>
                    <a:pt x="209" y="158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12" y="155"/>
                  </a:lnTo>
                  <a:lnTo>
                    <a:pt x="212" y="155"/>
                  </a:lnTo>
                  <a:lnTo>
                    <a:pt x="212" y="155"/>
                  </a:lnTo>
                  <a:lnTo>
                    <a:pt x="212" y="155"/>
                  </a:lnTo>
                  <a:lnTo>
                    <a:pt x="212" y="155"/>
                  </a:lnTo>
                  <a:lnTo>
                    <a:pt x="212" y="155"/>
                  </a:lnTo>
                  <a:lnTo>
                    <a:pt x="212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9" y="155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3" y="160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8" y="176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6"/>
                  </a:lnTo>
                  <a:lnTo>
                    <a:pt x="203" y="178"/>
                  </a:lnTo>
                  <a:lnTo>
                    <a:pt x="205" y="178"/>
                  </a:lnTo>
                  <a:lnTo>
                    <a:pt x="205" y="178"/>
                  </a:lnTo>
                  <a:lnTo>
                    <a:pt x="205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80"/>
                  </a:lnTo>
                  <a:lnTo>
                    <a:pt x="207" y="180"/>
                  </a:lnTo>
                  <a:lnTo>
                    <a:pt x="207" y="180"/>
                  </a:lnTo>
                  <a:lnTo>
                    <a:pt x="209" y="180"/>
                  </a:lnTo>
                  <a:lnTo>
                    <a:pt x="209" y="180"/>
                  </a:lnTo>
                  <a:lnTo>
                    <a:pt x="209" y="180"/>
                  </a:lnTo>
                  <a:lnTo>
                    <a:pt x="209" y="180"/>
                  </a:lnTo>
                  <a:lnTo>
                    <a:pt x="209" y="182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7"/>
                  </a:lnTo>
                  <a:lnTo>
                    <a:pt x="209" y="189"/>
                  </a:lnTo>
                  <a:lnTo>
                    <a:pt x="212" y="189"/>
                  </a:lnTo>
                  <a:lnTo>
                    <a:pt x="212" y="189"/>
                  </a:lnTo>
                  <a:lnTo>
                    <a:pt x="212" y="189"/>
                  </a:lnTo>
                  <a:lnTo>
                    <a:pt x="212" y="189"/>
                  </a:lnTo>
                  <a:lnTo>
                    <a:pt x="212" y="189"/>
                  </a:lnTo>
                  <a:lnTo>
                    <a:pt x="212" y="189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12" y="191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09" y="194"/>
                  </a:lnTo>
                  <a:lnTo>
                    <a:pt x="207" y="191"/>
                  </a:lnTo>
                  <a:lnTo>
                    <a:pt x="207" y="191"/>
                  </a:lnTo>
                  <a:lnTo>
                    <a:pt x="207" y="191"/>
                  </a:lnTo>
                  <a:lnTo>
                    <a:pt x="207" y="191"/>
                  </a:lnTo>
                  <a:lnTo>
                    <a:pt x="205" y="194"/>
                  </a:lnTo>
                  <a:lnTo>
                    <a:pt x="203" y="194"/>
                  </a:lnTo>
                  <a:lnTo>
                    <a:pt x="203" y="194"/>
                  </a:lnTo>
                  <a:lnTo>
                    <a:pt x="203" y="194"/>
                  </a:lnTo>
                  <a:lnTo>
                    <a:pt x="203" y="194"/>
                  </a:lnTo>
                  <a:lnTo>
                    <a:pt x="200" y="196"/>
                  </a:lnTo>
                  <a:lnTo>
                    <a:pt x="200" y="196"/>
                  </a:lnTo>
                  <a:lnTo>
                    <a:pt x="200" y="196"/>
                  </a:lnTo>
                  <a:lnTo>
                    <a:pt x="200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200" y="198"/>
                  </a:lnTo>
                  <a:lnTo>
                    <a:pt x="200" y="200"/>
                  </a:lnTo>
                  <a:lnTo>
                    <a:pt x="200" y="203"/>
                  </a:lnTo>
                  <a:lnTo>
                    <a:pt x="200" y="203"/>
                  </a:lnTo>
                  <a:lnTo>
                    <a:pt x="200" y="205"/>
                  </a:lnTo>
                  <a:lnTo>
                    <a:pt x="200" y="205"/>
                  </a:lnTo>
                  <a:lnTo>
                    <a:pt x="200" y="205"/>
                  </a:lnTo>
                  <a:lnTo>
                    <a:pt x="200" y="205"/>
                  </a:lnTo>
                  <a:lnTo>
                    <a:pt x="198" y="205"/>
                  </a:lnTo>
                  <a:lnTo>
                    <a:pt x="198" y="207"/>
                  </a:lnTo>
                  <a:lnTo>
                    <a:pt x="198" y="207"/>
                  </a:lnTo>
                  <a:lnTo>
                    <a:pt x="196" y="207"/>
                  </a:lnTo>
                  <a:lnTo>
                    <a:pt x="196" y="207"/>
                  </a:lnTo>
                  <a:lnTo>
                    <a:pt x="194" y="212"/>
                  </a:lnTo>
                  <a:lnTo>
                    <a:pt x="194" y="212"/>
                  </a:lnTo>
                  <a:lnTo>
                    <a:pt x="191" y="214"/>
                  </a:lnTo>
                  <a:lnTo>
                    <a:pt x="191" y="216"/>
                  </a:lnTo>
                  <a:lnTo>
                    <a:pt x="191" y="216"/>
                  </a:lnTo>
                  <a:lnTo>
                    <a:pt x="191" y="216"/>
                  </a:lnTo>
                  <a:lnTo>
                    <a:pt x="191" y="216"/>
                  </a:lnTo>
                  <a:lnTo>
                    <a:pt x="191" y="216"/>
                  </a:lnTo>
                  <a:lnTo>
                    <a:pt x="191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2" y="216"/>
                  </a:lnTo>
                  <a:lnTo>
                    <a:pt x="182" y="214"/>
                  </a:lnTo>
                  <a:lnTo>
                    <a:pt x="182" y="214"/>
                  </a:lnTo>
                  <a:lnTo>
                    <a:pt x="182" y="214"/>
                  </a:lnTo>
                  <a:lnTo>
                    <a:pt x="182" y="214"/>
                  </a:lnTo>
                  <a:lnTo>
                    <a:pt x="182" y="212"/>
                  </a:lnTo>
                  <a:lnTo>
                    <a:pt x="182" y="212"/>
                  </a:lnTo>
                  <a:lnTo>
                    <a:pt x="182" y="212"/>
                  </a:lnTo>
                  <a:lnTo>
                    <a:pt x="182" y="212"/>
                  </a:lnTo>
                  <a:lnTo>
                    <a:pt x="182" y="212"/>
                  </a:lnTo>
                  <a:lnTo>
                    <a:pt x="182" y="212"/>
                  </a:lnTo>
                  <a:lnTo>
                    <a:pt x="182" y="209"/>
                  </a:lnTo>
                  <a:lnTo>
                    <a:pt x="182" y="209"/>
                  </a:lnTo>
                  <a:lnTo>
                    <a:pt x="182" y="209"/>
                  </a:lnTo>
                  <a:lnTo>
                    <a:pt x="182" y="209"/>
                  </a:lnTo>
                  <a:lnTo>
                    <a:pt x="185" y="207"/>
                  </a:lnTo>
                  <a:lnTo>
                    <a:pt x="185" y="207"/>
                  </a:lnTo>
                  <a:lnTo>
                    <a:pt x="185" y="207"/>
                  </a:lnTo>
                  <a:lnTo>
                    <a:pt x="187" y="207"/>
                  </a:lnTo>
                  <a:lnTo>
                    <a:pt x="187" y="207"/>
                  </a:lnTo>
                  <a:lnTo>
                    <a:pt x="187" y="207"/>
                  </a:lnTo>
                  <a:lnTo>
                    <a:pt x="187" y="203"/>
                  </a:lnTo>
                  <a:lnTo>
                    <a:pt x="187" y="203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200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9" y="198"/>
                  </a:lnTo>
                  <a:lnTo>
                    <a:pt x="189" y="198"/>
                  </a:lnTo>
                  <a:lnTo>
                    <a:pt x="189" y="198"/>
                  </a:lnTo>
                  <a:lnTo>
                    <a:pt x="191" y="198"/>
                  </a:lnTo>
                  <a:lnTo>
                    <a:pt x="191" y="198"/>
                  </a:lnTo>
                  <a:lnTo>
                    <a:pt x="191" y="198"/>
                  </a:lnTo>
                  <a:lnTo>
                    <a:pt x="191" y="196"/>
                  </a:lnTo>
                  <a:lnTo>
                    <a:pt x="194" y="196"/>
                  </a:lnTo>
                  <a:lnTo>
                    <a:pt x="194" y="196"/>
                  </a:lnTo>
                  <a:lnTo>
                    <a:pt x="194" y="194"/>
                  </a:lnTo>
                  <a:lnTo>
                    <a:pt x="194" y="194"/>
                  </a:lnTo>
                  <a:lnTo>
                    <a:pt x="194" y="194"/>
                  </a:lnTo>
                  <a:lnTo>
                    <a:pt x="194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91" y="191"/>
                  </a:lnTo>
                  <a:lnTo>
                    <a:pt x="189" y="189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7" y="180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5" y="178"/>
                  </a:lnTo>
                  <a:lnTo>
                    <a:pt x="185" y="178"/>
                  </a:lnTo>
                  <a:lnTo>
                    <a:pt x="185" y="178"/>
                  </a:lnTo>
                  <a:lnTo>
                    <a:pt x="185" y="176"/>
                  </a:lnTo>
                  <a:lnTo>
                    <a:pt x="185" y="176"/>
                  </a:lnTo>
                  <a:lnTo>
                    <a:pt x="185" y="176"/>
                  </a:lnTo>
                  <a:lnTo>
                    <a:pt x="185" y="173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0" y="167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78" y="164"/>
                  </a:lnTo>
                  <a:lnTo>
                    <a:pt x="178" y="164"/>
                  </a:lnTo>
                  <a:lnTo>
                    <a:pt x="178" y="167"/>
                  </a:lnTo>
                  <a:lnTo>
                    <a:pt x="176" y="167"/>
                  </a:lnTo>
                  <a:lnTo>
                    <a:pt x="176" y="167"/>
                  </a:lnTo>
                  <a:lnTo>
                    <a:pt x="176" y="167"/>
                  </a:lnTo>
                  <a:lnTo>
                    <a:pt x="176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7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1" y="164"/>
                  </a:lnTo>
                  <a:lnTo>
                    <a:pt x="171" y="164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4" y="162"/>
                  </a:lnTo>
                  <a:lnTo>
                    <a:pt x="164" y="160"/>
                  </a:lnTo>
                  <a:lnTo>
                    <a:pt x="167" y="160"/>
                  </a:lnTo>
                  <a:lnTo>
                    <a:pt x="167" y="160"/>
                  </a:lnTo>
                  <a:lnTo>
                    <a:pt x="167" y="160"/>
                  </a:lnTo>
                  <a:lnTo>
                    <a:pt x="167" y="160"/>
                  </a:lnTo>
                  <a:lnTo>
                    <a:pt x="167" y="160"/>
                  </a:lnTo>
                  <a:lnTo>
                    <a:pt x="167" y="160"/>
                  </a:lnTo>
                  <a:lnTo>
                    <a:pt x="167" y="160"/>
                  </a:lnTo>
                  <a:lnTo>
                    <a:pt x="167" y="158"/>
                  </a:lnTo>
                  <a:lnTo>
                    <a:pt x="167" y="158"/>
                  </a:lnTo>
                  <a:lnTo>
                    <a:pt x="167" y="158"/>
                  </a:lnTo>
                  <a:lnTo>
                    <a:pt x="167" y="158"/>
                  </a:lnTo>
                  <a:lnTo>
                    <a:pt x="164" y="153"/>
                  </a:lnTo>
                  <a:lnTo>
                    <a:pt x="164" y="153"/>
                  </a:lnTo>
                  <a:lnTo>
                    <a:pt x="164" y="153"/>
                  </a:lnTo>
                  <a:lnTo>
                    <a:pt x="162" y="151"/>
                  </a:lnTo>
                  <a:lnTo>
                    <a:pt x="162" y="151"/>
                  </a:lnTo>
                  <a:lnTo>
                    <a:pt x="162" y="151"/>
                  </a:lnTo>
                  <a:lnTo>
                    <a:pt x="162" y="151"/>
                  </a:lnTo>
                  <a:lnTo>
                    <a:pt x="160" y="151"/>
                  </a:lnTo>
                  <a:lnTo>
                    <a:pt x="160" y="151"/>
                  </a:lnTo>
                  <a:lnTo>
                    <a:pt x="160" y="151"/>
                  </a:lnTo>
                  <a:lnTo>
                    <a:pt x="160" y="151"/>
                  </a:lnTo>
                  <a:lnTo>
                    <a:pt x="158" y="153"/>
                  </a:lnTo>
                  <a:lnTo>
                    <a:pt x="158" y="153"/>
                  </a:lnTo>
                  <a:lnTo>
                    <a:pt x="158" y="153"/>
                  </a:lnTo>
                  <a:lnTo>
                    <a:pt x="158" y="153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3"/>
                  </a:lnTo>
                  <a:lnTo>
                    <a:pt x="153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3" y="149"/>
                  </a:lnTo>
                  <a:lnTo>
                    <a:pt x="153" y="149"/>
                  </a:lnTo>
                  <a:lnTo>
                    <a:pt x="153" y="146"/>
                  </a:lnTo>
                  <a:lnTo>
                    <a:pt x="153" y="146"/>
                  </a:lnTo>
                  <a:lnTo>
                    <a:pt x="153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6" y="144"/>
                  </a:lnTo>
                  <a:lnTo>
                    <a:pt x="146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4" y="142"/>
                  </a:lnTo>
                  <a:lnTo>
                    <a:pt x="142" y="140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7" y="137"/>
                  </a:lnTo>
                  <a:lnTo>
                    <a:pt x="133" y="137"/>
                  </a:lnTo>
                  <a:lnTo>
                    <a:pt x="133" y="137"/>
                  </a:lnTo>
                  <a:lnTo>
                    <a:pt x="131" y="137"/>
                  </a:lnTo>
                  <a:lnTo>
                    <a:pt x="131" y="137"/>
                  </a:lnTo>
                  <a:lnTo>
                    <a:pt x="131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8" y="137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6" y="135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4" y="133"/>
                  </a:lnTo>
                  <a:lnTo>
                    <a:pt x="122" y="133"/>
                  </a:lnTo>
                  <a:lnTo>
                    <a:pt x="122" y="133"/>
                  </a:lnTo>
                  <a:lnTo>
                    <a:pt x="122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7" y="131"/>
                  </a:lnTo>
                  <a:lnTo>
                    <a:pt x="117" y="128"/>
                  </a:lnTo>
                  <a:lnTo>
                    <a:pt x="115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3" y="126"/>
                  </a:lnTo>
                  <a:lnTo>
                    <a:pt x="111" y="126"/>
                  </a:lnTo>
                  <a:lnTo>
                    <a:pt x="111" y="124"/>
                  </a:lnTo>
                  <a:lnTo>
                    <a:pt x="111" y="124"/>
                  </a:lnTo>
                  <a:lnTo>
                    <a:pt x="111" y="124"/>
                  </a:lnTo>
                  <a:lnTo>
                    <a:pt x="111" y="124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4" y="119"/>
                  </a:lnTo>
                  <a:lnTo>
                    <a:pt x="104" y="119"/>
                  </a:lnTo>
                  <a:lnTo>
                    <a:pt x="104" y="119"/>
                  </a:lnTo>
                  <a:lnTo>
                    <a:pt x="104" y="117"/>
                  </a:lnTo>
                  <a:lnTo>
                    <a:pt x="104" y="117"/>
                  </a:lnTo>
                  <a:lnTo>
                    <a:pt x="104" y="117"/>
                  </a:lnTo>
                  <a:lnTo>
                    <a:pt x="102" y="117"/>
                  </a:lnTo>
                  <a:lnTo>
                    <a:pt x="102" y="117"/>
                  </a:lnTo>
                  <a:lnTo>
                    <a:pt x="102" y="117"/>
                  </a:lnTo>
                  <a:lnTo>
                    <a:pt x="102" y="117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99" y="113"/>
                  </a:lnTo>
                  <a:lnTo>
                    <a:pt x="97" y="113"/>
                  </a:lnTo>
                  <a:lnTo>
                    <a:pt x="97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3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90" y="110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1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1" y="99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5" y="88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3"/>
                  </a:lnTo>
                  <a:lnTo>
                    <a:pt x="72" y="77"/>
                  </a:lnTo>
                  <a:lnTo>
                    <a:pt x="72" y="77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48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27" y="77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1" y="70"/>
                  </a:lnTo>
                  <a:lnTo>
                    <a:pt x="23" y="68"/>
                  </a:lnTo>
                  <a:lnTo>
                    <a:pt x="21" y="68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5" y="61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8" y="20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5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2" y="3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close/>
                  <a:moveTo>
                    <a:pt x="113" y="74"/>
                  </a:move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5" y="72"/>
                  </a:lnTo>
                  <a:lnTo>
                    <a:pt x="113" y="72"/>
                  </a:lnTo>
                  <a:lnTo>
                    <a:pt x="113" y="72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close/>
                  <a:moveTo>
                    <a:pt x="115" y="122"/>
                  </a:moveTo>
                  <a:lnTo>
                    <a:pt x="115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15" y="122"/>
                  </a:lnTo>
                  <a:lnTo>
                    <a:pt x="115" y="122"/>
                  </a:lnTo>
                  <a:close/>
                </a:path>
              </a:pathLst>
            </a:custGeom>
            <a:solidFill>
              <a:srgbClr val="FF6200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6" name="Freeform 573"/>
            <p:cNvSpPr>
              <a:spLocks/>
            </p:cNvSpPr>
            <p:nvPr/>
          </p:nvSpPr>
          <p:spPr bwMode="auto">
            <a:xfrm>
              <a:off x="6792507" y="2638640"/>
              <a:ext cx="50143" cy="153771"/>
            </a:xfrm>
            <a:custGeom>
              <a:avLst/>
              <a:gdLst>
                <a:gd name="T0" fmla="*/ 27 w 30"/>
                <a:gd name="T1" fmla="*/ 7 h 92"/>
                <a:gd name="T2" fmla="*/ 30 w 30"/>
                <a:gd name="T3" fmla="*/ 11 h 92"/>
                <a:gd name="T4" fmla="*/ 27 w 30"/>
                <a:gd name="T5" fmla="*/ 16 h 92"/>
                <a:gd name="T6" fmla="*/ 25 w 30"/>
                <a:gd name="T7" fmla="*/ 18 h 92"/>
                <a:gd name="T8" fmla="*/ 25 w 30"/>
                <a:gd name="T9" fmla="*/ 18 h 92"/>
                <a:gd name="T10" fmla="*/ 25 w 30"/>
                <a:gd name="T11" fmla="*/ 20 h 92"/>
                <a:gd name="T12" fmla="*/ 25 w 30"/>
                <a:gd name="T13" fmla="*/ 20 h 92"/>
                <a:gd name="T14" fmla="*/ 25 w 30"/>
                <a:gd name="T15" fmla="*/ 20 h 92"/>
                <a:gd name="T16" fmla="*/ 25 w 30"/>
                <a:gd name="T17" fmla="*/ 23 h 92"/>
                <a:gd name="T18" fmla="*/ 25 w 30"/>
                <a:gd name="T19" fmla="*/ 23 h 92"/>
                <a:gd name="T20" fmla="*/ 25 w 30"/>
                <a:gd name="T21" fmla="*/ 23 h 92"/>
                <a:gd name="T22" fmla="*/ 25 w 30"/>
                <a:gd name="T23" fmla="*/ 25 h 92"/>
                <a:gd name="T24" fmla="*/ 21 w 30"/>
                <a:gd name="T25" fmla="*/ 20 h 92"/>
                <a:gd name="T26" fmla="*/ 16 w 30"/>
                <a:gd name="T27" fmla="*/ 20 h 92"/>
                <a:gd name="T28" fmla="*/ 14 w 30"/>
                <a:gd name="T29" fmla="*/ 25 h 92"/>
                <a:gd name="T30" fmla="*/ 14 w 30"/>
                <a:gd name="T31" fmla="*/ 27 h 92"/>
                <a:gd name="T32" fmla="*/ 14 w 30"/>
                <a:gd name="T33" fmla="*/ 29 h 92"/>
                <a:gd name="T34" fmla="*/ 14 w 30"/>
                <a:gd name="T35" fmla="*/ 34 h 92"/>
                <a:gd name="T36" fmla="*/ 14 w 30"/>
                <a:gd name="T37" fmla="*/ 34 h 92"/>
                <a:gd name="T38" fmla="*/ 14 w 30"/>
                <a:gd name="T39" fmla="*/ 38 h 92"/>
                <a:gd name="T40" fmla="*/ 16 w 30"/>
                <a:gd name="T41" fmla="*/ 36 h 92"/>
                <a:gd name="T42" fmla="*/ 18 w 30"/>
                <a:gd name="T43" fmla="*/ 38 h 92"/>
                <a:gd name="T44" fmla="*/ 16 w 30"/>
                <a:gd name="T45" fmla="*/ 41 h 92"/>
                <a:gd name="T46" fmla="*/ 14 w 30"/>
                <a:gd name="T47" fmla="*/ 47 h 92"/>
                <a:gd name="T48" fmla="*/ 16 w 30"/>
                <a:gd name="T49" fmla="*/ 47 h 92"/>
                <a:gd name="T50" fmla="*/ 25 w 30"/>
                <a:gd name="T51" fmla="*/ 47 h 92"/>
                <a:gd name="T52" fmla="*/ 25 w 30"/>
                <a:gd name="T53" fmla="*/ 52 h 92"/>
                <a:gd name="T54" fmla="*/ 25 w 30"/>
                <a:gd name="T55" fmla="*/ 56 h 92"/>
                <a:gd name="T56" fmla="*/ 23 w 30"/>
                <a:gd name="T57" fmla="*/ 61 h 92"/>
                <a:gd name="T58" fmla="*/ 23 w 30"/>
                <a:gd name="T59" fmla="*/ 63 h 92"/>
                <a:gd name="T60" fmla="*/ 21 w 30"/>
                <a:gd name="T61" fmla="*/ 72 h 92"/>
                <a:gd name="T62" fmla="*/ 21 w 30"/>
                <a:gd name="T63" fmla="*/ 74 h 92"/>
                <a:gd name="T64" fmla="*/ 21 w 30"/>
                <a:gd name="T65" fmla="*/ 81 h 92"/>
                <a:gd name="T66" fmla="*/ 21 w 30"/>
                <a:gd name="T67" fmla="*/ 85 h 92"/>
                <a:gd name="T68" fmla="*/ 18 w 30"/>
                <a:gd name="T69" fmla="*/ 92 h 92"/>
                <a:gd name="T70" fmla="*/ 18 w 30"/>
                <a:gd name="T71" fmla="*/ 92 h 92"/>
                <a:gd name="T72" fmla="*/ 16 w 30"/>
                <a:gd name="T73" fmla="*/ 90 h 92"/>
                <a:gd name="T74" fmla="*/ 14 w 30"/>
                <a:gd name="T75" fmla="*/ 81 h 92"/>
                <a:gd name="T76" fmla="*/ 9 w 30"/>
                <a:gd name="T77" fmla="*/ 72 h 92"/>
                <a:gd name="T78" fmla="*/ 7 w 30"/>
                <a:gd name="T79" fmla="*/ 68 h 92"/>
                <a:gd name="T80" fmla="*/ 3 w 30"/>
                <a:gd name="T81" fmla="*/ 54 h 92"/>
                <a:gd name="T82" fmla="*/ 3 w 30"/>
                <a:gd name="T83" fmla="*/ 50 h 92"/>
                <a:gd name="T84" fmla="*/ 7 w 30"/>
                <a:gd name="T85" fmla="*/ 45 h 92"/>
                <a:gd name="T86" fmla="*/ 9 w 30"/>
                <a:gd name="T87" fmla="*/ 34 h 92"/>
                <a:gd name="T88" fmla="*/ 9 w 30"/>
                <a:gd name="T89" fmla="*/ 27 h 92"/>
                <a:gd name="T90" fmla="*/ 12 w 30"/>
                <a:gd name="T91" fmla="*/ 16 h 92"/>
                <a:gd name="T92" fmla="*/ 14 w 30"/>
                <a:gd name="T93" fmla="*/ 14 h 92"/>
                <a:gd name="T94" fmla="*/ 14 w 30"/>
                <a:gd name="T95" fmla="*/ 9 h 92"/>
                <a:gd name="T96" fmla="*/ 14 w 30"/>
                <a:gd name="T97" fmla="*/ 7 h 92"/>
                <a:gd name="T98" fmla="*/ 16 w 30"/>
                <a:gd name="T99" fmla="*/ 7 h 92"/>
                <a:gd name="T100" fmla="*/ 18 w 30"/>
                <a:gd name="T101" fmla="*/ 7 h 92"/>
                <a:gd name="T102" fmla="*/ 21 w 30"/>
                <a:gd name="T103" fmla="*/ 7 h 92"/>
                <a:gd name="T104" fmla="*/ 23 w 30"/>
                <a:gd name="T105" fmla="*/ 2 h 92"/>
                <a:gd name="T106" fmla="*/ 23 w 30"/>
                <a:gd name="T107" fmla="*/ 2 h 92"/>
                <a:gd name="T108" fmla="*/ 23 w 30"/>
                <a:gd name="T109" fmla="*/ 2 h 92"/>
                <a:gd name="T110" fmla="*/ 27 w 30"/>
                <a:gd name="T111" fmla="*/ 0 h 92"/>
                <a:gd name="T112" fmla="*/ 27 w 30"/>
                <a:gd name="T113" fmla="*/ 0 h 92"/>
                <a:gd name="T114" fmla="*/ 27 w 30"/>
                <a:gd name="T115" fmla="*/ 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" h="92">
                  <a:moveTo>
                    <a:pt x="27" y="2"/>
                  </a:move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8" y="47"/>
                  </a:lnTo>
                  <a:lnTo>
                    <a:pt x="21" y="47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5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5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6" y="92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88"/>
                  </a:lnTo>
                  <a:lnTo>
                    <a:pt x="16" y="85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2" y="79"/>
                  </a:lnTo>
                  <a:lnTo>
                    <a:pt x="12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5"/>
                  </a:lnTo>
                  <a:lnTo>
                    <a:pt x="5" y="61"/>
                  </a:lnTo>
                  <a:lnTo>
                    <a:pt x="5" y="59"/>
                  </a:lnTo>
                  <a:lnTo>
                    <a:pt x="3" y="56"/>
                  </a:lnTo>
                  <a:lnTo>
                    <a:pt x="3" y="54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27"/>
                  </a:lnTo>
                  <a:lnTo>
                    <a:pt x="12" y="23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5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7" name="Freeform 574"/>
            <p:cNvSpPr>
              <a:spLocks/>
            </p:cNvSpPr>
            <p:nvPr/>
          </p:nvSpPr>
          <p:spPr bwMode="auto">
            <a:xfrm>
              <a:off x="5500495" y="1816299"/>
              <a:ext cx="15043" cy="15042"/>
            </a:xfrm>
            <a:custGeom>
              <a:avLst/>
              <a:gdLst>
                <a:gd name="T0" fmla="*/ 5 w 9"/>
                <a:gd name="T1" fmla="*/ 9 h 9"/>
                <a:gd name="T2" fmla="*/ 5 w 9"/>
                <a:gd name="T3" fmla="*/ 9 h 9"/>
                <a:gd name="T4" fmla="*/ 3 w 9"/>
                <a:gd name="T5" fmla="*/ 9 h 9"/>
                <a:gd name="T6" fmla="*/ 3 w 9"/>
                <a:gd name="T7" fmla="*/ 9 h 9"/>
                <a:gd name="T8" fmla="*/ 3 w 9"/>
                <a:gd name="T9" fmla="*/ 9 h 9"/>
                <a:gd name="T10" fmla="*/ 3 w 9"/>
                <a:gd name="T11" fmla="*/ 9 h 9"/>
                <a:gd name="T12" fmla="*/ 0 w 9"/>
                <a:gd name="T13" fmla="*/ 9 h 9"/>
                <a:gd name="T14" fmla="*/ 0 w 9"/>
                <a:gd name="T15" fmla="*/ 9 h 9"/>
                <a:gd name="T16" fmla="*/ 0 w 9"/>
                <a:gd name="T17" fmla="*/ 9 h 9"/>
                <a:gd name="T18" fmla="*/ 0 w 9"/>
                <a:gd name="T19" fmla="*/ 9 h 9"/>
                <a:gd name="T20" fmla="*/ 3 w 9"/>
                <a:gd name="T21" fmla="*/ 6 h 9"/>
                <a:gd name="T22" fmla="*/ 3 w 9"/>
                <a:gd name="T23" fmla="*/ 6 h 9"/>
                <a:gd name="T24" fmla="*/ 3 w 9"/>
                <a:gd name="T25" fmla="*/ 4 h 9"/>
                <a:gd name="T26" fmla="*/ 3 w 9"/>
                <a:gd name="T27" fmla="*/ 4 h 9"/>
                <a:gd name="T28" fmla="*/ 3 w 9"/>
                <a:gd name="T29" fmla="*/ 4 h 9"/>
                <a:gd name="T30" fmla="*/ 5 w 9"/>
                <a:gd name="T31" fmla="*/ 4 h 9"/>
                <a:gd name="T32" fmla="*/ 5 w 9"/>
                <a:gd name="T33" fmla="*/ 2 h 9"/>
                <a:gd name="T34" fmla="*/ 7 w 9"/>
                <a:gd name="T35" fmla="*/ 2 h 9"/>
                <a:gd name="T36" fmla="*/ 7 w 9"/>
                <a:gd name="T37" fmla="*/ 0 h 9"/>
                <a:gd name="T38" fmla="*/ 9 w 9"/>
                <a:gd name="T39" fmla="*/ 0 h 9"/>
                <a:gd name="T40" fmla="*/ 9 w 9"/>
                <a:gd name="T41" fmla="*/ 2 h 9"/>
                <a:gd name="T42" fmla="*/ 9 w 9"/>
                <a:gd name="T43" fmla="*/ 2 h 9"/>
                <a:gd name="T44" fmla="*/ 9 w 9"/>
                <a:gd name="T45" fmla="*/ 2 h 9"/>
                <a:gd name="T46" fmla="*/ 9 w 9"/>
                <a:gd name="T47" fmla="*/ 2 h 9"/>
                <a:gd name="T48" fmla="*/ 9 w 9"/>
                <a:gd name="T49" fmla="*/ 2 h 9"/>
                <a:gd name="T50" fmla="*/ 9 w 9"/>
                <a:gd name="T51" fmla="*/ 4 h 9"/>
                <a:gd name="T52" fmla="*/ 9 w 9"/>
                <a:gd name="T53" fmla="*/ 4 h 9"/>
                <a:gd name="T54" fmla="*/ 9 w 9"/>
                <a:gd name="T55" fmla="*/ 4 h 9"/>
                <a:gd name="T56" fmla="*/ 9 w 9"/>
                <a:gd name="T57" fmla="*/ 4 h 9"/>
                <a:gd name="T58" fmla="*/ 9 w 9"/>
                <a:gd name="T59" fmla="*/ 4 h 9"/>
                <a:gd name="T60" fmla="*/ 7 w 9"/>
                <a:gd name="T61" fmla="*/ 4 h 9"/>
                <a:gd name="T62" fmla="*/ 7 w 9"/>
                <a:gd name="T63" fmla="*/ 6 h 9"/>
                <a:gd name="T64" fmla="*/ 7 w 9"/>
                <a:gd name="T65" fmla="*/ 6 h 9"/>
                <a:gd name="T66" fmla="*/ 5 w 9"/>
                <a:gd name="T67" fmla="*/ 6 h 9"/>
                <a:gd name="T68" fmla="*/ 5 w 9"/>
                <a:gd name="T69" fmla="*/ 9 h 9"/>
                <a:gd name="T70" fmla="*/ 5 w 9"/>
                <a:gd name="T7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" h="9">
                  <a:moveTo>
                    <a:pt x="5" y="9"/>
                  </a:move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4"/>
                  </a:lnTo>
                  <a:lnTo>
                    <a:pt x="9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8" name="Freeform 575"/>
            <p:cNvSpPr>
              <a:spLocks noEditPoints="1"/>
            </p:cNvSpPr>
            <p:nvPr/>
          </p:nvSpPr>
          <p:spPr bwMode="auto">
            <a:xfrm>
              <a:off x="5328338" y="1781200"/>
              <a:ext cx="135386" cy="147085"/>
            </a:xfrm>
            <a:custGeom>
              <a:avLst/>
              <a:gdLst>
                <a:gd name="T0" fmla="*/ 14 w 81"/>
                <a:gd name="T1" fmla="*/ 32 h 88"/>
                <a:gd name="T2" fmla="*/ 9 w 81"/>
                <a:gd name="T3" fmla="*/ 30 h 88"/>
                <a:gd name="T4" fmla="*/ 59 w 81"/>
                <a:gd name="T5" fmla="*/ 9 h 88"/>
                <a:gd name="T6" fmla="*/ 50 w 81"/>
                <a:gd name="T7" fmla="*/ 16 h 88"/>
                <a:gd name="T8" fmla="*/ 47 w 81"/>
                <a:gd name="T9" fmla="*/ 23 h 88"/>
                <a:gd name="T10" fmla="*/ 61 w 81"/>
                <a:gd name="T11" fmla="*/ 27 h 88"/>
                <a:gd name="T12" fmla="*/ 63 w 81"/>
                <a:gd name="T13" fmla="*/ 23 h 88"/>
                <a:gd name="T14" fmla="*/ 72 w 81"/>
                <a:gd name="T15" fmla="*/ 27 h 88"/>
                <a:gd name="T16" fmla="*/ 79 w 81"/>
                <a:gd name="T17" fmla="*/ 30 h 88"/>
                <a:gd name="T18" fmla="*/ 79 w 81"/>
                <a:gd name="T19" fmla="*/ 39 h 88"/>
                <a:gd name="T20" fmla="*/ 81 w 81"/>
                <a:gd name="T21" fmla="*/ 45 h 88"/>
                <a:gd name="T22" fmla="*/ 81 w 81"/>
                <a:gd name="T23" fmla="*/ 54 h 88"/>
                <a:gd name="T24" fmla="*/ 72 w 81"/>
                <a:gd name="T25" fmla="*/ 68 h 88"/>
                <a:gd name="T26" fmla="*/ 72 w 81"/>
                <a:gd name="T27" fmla="*/ 72 h 88"/>
                <a:gd name="T28" fmla="*/ 65 w 81"/>
                <a:gd name="T29" fmla="*/ 72 h 88"/>
                <a:gd name="T30" fmla="*/ 61 w 81"/>
                <a:gd name="T31" fmla="*/ 72 h 88"/>
                <a:gd name="T32" fmla="*/ 54 w 81"/>
                <a:gd name="T33" fmla="*/ 75 h 88"/>
                <a:gd name="T34" fmla="*/ 41 w 81"/>
                <a:gd name="T35" fmla="*/ 81 h 88"/>
                <a:gd name="T36" fmla="*/ 38 w 81"/>
                <a:gd name="T37" fmla="*/ 79 h 88"/>
                <a:gd name="T38" fmla="*/ 34 w 81"/>
                <a:gd name="T39" fmla="*/ 84 h 88"/>
                <a:gd name="T40" fmla="*/ 32 w 81"/>
                <a:gd name="T41" fmla="*/ 86 h 88"/>
                <a:gd name="T42" fmla="*/ 23 w 81"/>
                <a:gd name="T43" fmla="*/ 88 h 88"/>
                <a:gd name="T44" fmla="*/ 20 w 81"/>
                <a:gd name="T45" fmla="*/ 88 h 88"/>
                <a:gd name="T46" fmla="*/ 11 w 81"/>
                <a:gd name="T47" fmla="*/ 88 h 88"/>
                <a:gd name="T48" fmla="*/ 18 w 81"/>
                <a:gd name="T49" fmla="*/ 84 h 88"/>
                <a:gd name="T50" fmla="*/ 7 w 81"/>
                <a:gd name="T51" fmla="*/ 86 h 88"/>
                <a:gd name="T52" fmla="*/ 11 w 81"/>
                <a:gd name="T53" fmla="*/ 81 h 88"/>
                <a:gd name="T54" fmla="*/ 9 w 81"/>
                <a:gd name="T55" fmla="*/ 81 h 88"/>
                <a:gd name="T56" fmla="*/ 2 w 81"/>
                <a:gd name="T57" fmla="*/ 79 h 88"/>
                <a:gd name="T58" fmla="*/ 14 w 81"/>
                <a:gd name="T59" fmla="*/ 72 h 88"/>
                <a:gd name="T60" fmla="*/ 0 w 81"/>
                <a:gd name="T61" fmla="*/ 72 h 88"/>
                <a:gd name="T62" fmla="*/ 9 w 81"/>
                <a:gd name="T63" fmla="*/ 70 h 88"/>
                <a:gd name="T64" fmla="*/ 14 w 81"/>
                <a:gd name="T65" fmla="*/ 68 h 88"/>
                <a:gd name="T66" fmla="*/ 20 w 81"/>
                <a:gd name="T67" fmla="*/ 63 h 88"/>
                <a:gd name="T68" fmla="*/ 29 w 81"/>
                <a:gd name="T69" fmla="*/ 59 h 88"/>
                <a:gd name="T70" fmla="*/ 18 w 81"/>
                <a:gd name="T71" fmla="*/ 61 h 88"/>
                <a:gd name="T72" fmla="*/ 20 w 81"/>
                <a:gd name="T73" fmla="*/ 59 h 88"/>
                <a:gd name="T74" fmla="*/ 27 w 81"/>
                <a:gd name="T75" fmla="*/ 50 h 88"/>
                <a:gd name="T76" fmla="*/ 29 w 81"/>
                <a:gd name="T77" fmla="*/ 48 h 88"/>
                <a:gd name="T78" fmla="*/ 18 w 81"/>
                <a:gd name="T79" fmla="*/ 45 h 88"/>
                <a:gd name="T80" fmla="*/ 16 w 81"/>
                <a:gd name="T81" fmla="*/ 45 h 88"/>
                <a:gd name="T82" fmla="*/ 9 w 81"/>
                <a:gd name="T83" fmla="*/ 43 h 88"/>
                <a:gd name="T84" fmla="*/ 9 w 81"/>
                <a:gd name="T85" fmla="*/ 41 h 88"/>
                <a:gd name="T86" fmla="*/ 16 w 81"/>
                <a:gd name="T87" fmla="*/ 36 h 88"/>
                <a:gd name="T88" fmla="*/ 14 w 81"/>
                <a:gd name="T89" fmla="*/ 32 h 88"/>
                <a:gd name="T90" fmla="*/ 14 w 81"/>
                <a:gd name="T91" fmla="*/ 30 h 88"/>
                <a:gd name="T92" fmla="*/ 11 w 81"/>
                <a:gd name="T93" fmla="*/ 27 h 88"/>
                <a:gd name="T94" fmla="*/ 11 w 81"/>
                <a:gd name="T95" fmla="*/ 25 h 88"/>
                <a:gd name="T96" fmla="*/ 16 w 81"/>
                <a:gd name="T97" fmla="*/ 25 h 88"/>
                <a:gd name="T98" fmla="*/ 25 w 81"/>
                <a:gd name="T99" fmla="*/ 25 h 88"/>
                <a:gd name="T100" fmla="*/ 34 w 81"/>
                <a:gd name="T101" fmla="*/ 25 h 88"/>
                <a:gd name="T102" fmla="*/ 38 w 81"/>
                <a:gd name="T103" fmla="*/ 23 h 88"/>
                <a:gd name="T104" fmla="*/ 43 w 81"/>
                <a:gd name="T105" fmla="*/ 18 h 88"/>
                <a:gd name="T106" fmla="*/ 41 w 81"/>
                <a:gd name="T107" fmla="*/ 16 h 88"/>
                <a:gd name="T108" fmla="*/ 34 w 81"/>
                <a:gd name="T109" fmla="*/ 14 h 88"/>
                <a:gd name="T110" fmla="*/ 43 w 81"/>
                <a:gd name="T111" fmla="*/ 12 h 88"/>
                <a:gd name="T112" fmla="*/ 41 w 81"/>
                <a:gd name="T113" fmla="*/ 7 h 88"/>
                <a:gd name="T114" fmla="*/ 50 w 81"/>
                <a:gd name="T115" fmla="*/ 3 h 88"/>
                <a:gd name="T116" fmla="*/ 52 w 81"/>
                <a:gd name="T117" fmla="*/ 5 h 88"/>
                <a:gd name="T118" fmla="*/ 52 w 81"/>
                <a:gd name="T119" fmla="*/ 3 h 88"/>
                <a:gd name="T120" fmla="*/ 54 w 81"/>
                <a:gd name="T121" fmla="*/ 9 h 88"/>
                <a:gd name="T122" fmla="*/ 59 w 81"/>
                <a:gd name="T123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1" h="88">
                  <a:moveTo>
                    <a:pt x="11" y="84"/>
                  </a:move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9" y="86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close/>
                  <a:moveTo>
                    <a:pt x="2" y="77"/>
                  </a:moveTo>
                  <a:lnTo>
                    <a:pt x="2" y="77"/>
                  </a:lnTo>
                  <a:lnTo>
                    <a:pt x="2" y="77"/>
                  </a:lnTo>
                  <a:lnTo>
                    <a:pt x="5" y="77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close/>
                  <a:moveTo>
                    <a:pt x="14" y="30"/>
                  </a:move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4" y="30"/>
                  </a:lnTo>
                  <a:close/>
                  <a:moveTo>
                    <a:pt x="63" y="3"/>
                  </a:moveTo>
                  <a:lnTo>
                    <a:pt x="65" y="3"/>
                  </a:lnTo>
                  <a:lnTo>
                    <a:pt x="65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50" y="23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1" y="25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5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30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9" y="27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7" y="63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68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7" y="70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2"/>
                  </a:lnTo>
                  <a:lnTo>
                    <a:pt x="68" y="72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5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8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6" y="72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4" y="75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8" y="81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4" y="86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1" y="79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7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2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9" y="72"/>
                  </a:lnTo>
                  <a:lnTo>
                    <a:pt x="11" y="72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5" y="75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0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4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4" y="70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4" y="63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6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3" y="54"/>
                  </a:lnTo>
                  <a:lnTo>
                    <a:pt x="20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32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1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39"/>
                  </a:lnTo>
                  <a:lnTo>
                    <a:pt x="14" y="41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1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1" y="16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3"/>
                  </a:lnTo>
                  <a:lnTo>
                    <a:pt x="63" y="3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9" name="Freeform 576"/>
            <p:cNvSpPr>
              <a:spLocks/>
            </p:cNvSpPr>
            <p:nvPr/>
          </p:nvSpPr>
          <p:spPr bwMode="auto">
            <a:xfrm>
              <a:off x="6936249" y="2481527"/>
              <a:ext cx="344314" cy="329270"/>
            </a:xfrm>
            <a:custGeom>
              <a:avLst/>
              <a:gdLst>
                <a:gd name="T0" fmla="*/ 76 w 206"/>
                <a:gd name="T1" fmla="*/ 0 h 197"/>
                <a:gd name="T2" fmla="*/ 83 w 206"/>
                <a:gd name="T3" fmla="*/ 2 h 197"/>
                <a:gd name="T4" fmla="*/ 90 w 206"/>
                <a:gd name="T5" fmla="*/ 2 h 197"/>
                <a:gd name="T6" fmla="*/ 96 w 206"/>
                <a:gd name="T7" fmla="*/ 4 h 197"/>
                <a:gd name="T8" fmla="*/ 99 w 206"/>
                <a:gd name="T9" fmla="*/ 9 h 197"/>
                <a:gd name="T10" fmla="*/ 103 w 206"/>
                <a:gd name="T11" fmla="*/ 4 h 197"/>
                <a:gd name="T12" fmla="*/ 108 w 206"/>
                <a:gd name="T13" fmla="*/ 6 h 197"/>
                <a:gd name="T14" fmla="*/ 110 w 206"/>
                <a:gd name="T15" fmla="*/ 9 h 197"/>
                <a:gd name="T16" fmla="*/ 112 w 206"/>
                <a:gd name="T17" fmla="*/ 13 h 197"/>
                <a:gd name="T18" fmla="*/ 112 w 206"/>
                <a:gd name="T19" fmla="*/ 20 h 197"/>
                <a:gd name="T20" fmla="*/ 117 w 206"/>
                <a:gd name="T21" fmla="*/ 22 h 197"/>
                <a:gd name="T22" fmla="*/ 119 w 206"/>
                <a:gd name="T23" fmla="*/ 27 h 197"/>
                <a:gd name="T24" fmla="*/ 121 w 206"/>
                <a:gd name="T25" fmla="*/ 31 h 197"/>
                <a:gd name="T26" fmla="*/ 126 w 206"/>
                <a:gd name="T27" fmla="*/ 31 h 197"/>
                <a:gd name="T28" fmla="*/ 132 w 206"/>
                <a:gd name="T29" fmla="*/ 36 h 197"/>
                <a:gd name="T30" fmla="*/ 137 w 206"/>
                <a:gd name="T31" fmla="*/ 36 h 197"/>
                <a:gd name="T32" fmla="*/ 141 w 206"/>
                <a:gd name="T33" fmla="*/ 36 h 197"/>
                <a:gd name="T34" fmla="*/ 137 w 206"/>
                <a:gd name="T35" fmla="*/ 40 h 197"/>
                <a:gd name="T36" fmla="*/ 137 w 206"/>
                <a:gd name="T37" fmla="*/ 42 h 197"/>
                <a:gd name="T38" fmla="*/ 139 w 206"/>
                <a:gd name="T39" fmla="*/ 49 h 197"/>
                <a:gd name="T40" fmla="*/ 139 w 206"/>
                <a:gd name="T41" fmla="*/ 54 h 197"/>
                <a:gd name="T42" fmla="*/ 137 w 206"/>
                <a:gd name="T43" fmla="*/ 54 h 197"/>
                <a:gd name="T44" fmla="*/ 137 w 206"/>
                <a:gd name="T45" fmla="*/ 58 h 197"/>
                <a:gd name="T46" fmla="*/ 132 w 206"/>
                <a:gd name="T47" fmla="*/ 60 h 197"/>
                <a:gd name="T48" fmla="*/ 134 w 206"/>
                <a:gd name="T49" fmla="*/ 65 h 197"/>
                <a:gd name="T50" fmla="*/ 130 w 206"/>
                <a:gd name="T51" fmla="*/ 65 h 197"/>
                <a:gd name="T52" fmla="*/ 130 w 206"/>
                <a:gd name="T53" fmla="*/ 72 h 197"/>
                <a:gd name="T54" fmla="*/ 132 w 206"/>
                <a:gd name="T55" fmla="*/ 76 h 197"/>
                <a:gd name="T56" fmla="*/ 130 w 206"/>
                <a:gd name="T57" fmla="*/ 81 h 197"/>
                <a:gd name="T58" fmla="*/ 137 w 206"/>
                <a:gd name="T59" fmla="*/ 87 h 197"/>
                <a:gd name="T60" fmla="*/ 141 w 206"/>
                <a:gd name="T61" fmla="*/ 87 h 197"/>
                <a:gd name="T62" fmla="*/ 143 w 206"/>
                <a:gd name="T63" fmla="*/ 92 h 197"/>
                <a:gd name="T64" fmla="*/ 148 w 206"/>
                <a:gd name="T65" fmla="*/ 96 h 197"/>
                <a:gd name="T66" fmla="*/ 146 w 206"/>
                <a:gd name="T67" fmla="*/ 101 h 197"/>
                <a:gd name="T68" fmla="*/ 148 w 206"/>
                <a:gd name="T69" fmla="*/ 103 h 197"/>
                <a:gd name="T70" fmla="*/ 168 w 206"/>
                <a:gd name="T71" fmla="*/ 114 h 197"/>
                <a:gd name="T72" fmla="*/ 175 w 206"/>
                <a:gd name="T73" fmla="*/ 117 h 197"/>
                <a:gd name="T74" fmla="*/ 177 w 206"/>
                <a:gd name="T75" fmla="*/ 121 h 197"/>
                <a:gd name="T76" fmla="*/ 179 w 206"/>
                <a:gd name="T77" fmla="*/ 123 h 197"/>
                <a:gd name="T78" fmla="*/ 182 w 206"/>
                <a:gd name="T79" fmla="*/ 128 h 197"/>
                <a:gd name="T80" fmla="*/ 184 w 206"/>
                <a:gd name="T81" fmla="*/ 141 h 197"/>
                <a:gd name="T82" fmla="*/ 197 w 206"/>
                <a:gd name="T83" fmla="*/ 166 h 197"/>
                <a:gd name="T84" fmla="*/ 202 w 206"/>
                <a:gd name="T85" fmla="*/ 168 h 197"/>
                <a:gd name="T86" fmla="*/ 204 w 206"/>
                <a:gd name="T87" fmla="*/ 173 h 197"/>
                <a:gd name="T88" fmla="*/ 206 w 206"/>
                <a:gd name="T89" fmla="*/ 177 h 197"/>
                <a:gd name="T90" fmla="*/ 195 w 206"/>
                <a:gd name="T91" fmla="*/ 173 h 197"/>
                <a:gd name="T92" fmla="*/ 182 w 206"/>
                <a:gd name="T93" fmla="*/ 173 h 197"/>
                <a:gd name="T94" fmla="*/ 173 w 206"/>
                <a:gd name="T95" fmla="*/ 191 h 197"/>
                <a:gd name="T96" fmla="*/ 152 w 206"/>
                <a:gd name="T97" fmla="*/ 195 h 197"/>
                <a:gd name="T98" fmla="*/ 130 w 206"/>
                <a:gd name="T99" fmla="*/ 193 h 197"/>
                <a:gd name="T100" fmla="*/ 105 w 206"/>
                <a:gd name="T101" fmla="*/ 175 h 197"/>
                <a:gd name="T102" fmla="*/ 83 w 206"/>
                <a:gd name="T103" fmla="*/ 157 h 197"/>
                <a:gd name="T104" fmla="*/ 60 w 206"/>
                <a:gd name="T105" fmla="*/ 141 h 197"/>
                <a:gd name="T106" fmla="*/ 36 w 206"/>
                <a:gd name="T107" fmla="*/ 128 h 197"/>
                <a:gd name="T108" fmla="*/ 13 w 206"/>
                <a:gd name="T109" fmla="*/ 121 h 197"/>
                <a:gd name="T110" fmla="*/ 4 w 206"/>
                <a:gd name="T111" fmla="*/ 103 h 197"/>
                <a:gd name="T112" fmla="*/ 24 w 206"/>
                <a:gd name="T113" fmla="*/ 78 h 197"/>
                <a:gd name="T114" fmla="*/ 45 w 206"/>
                <a:gd name="T115" fmla="*/ 60 h 197"/>
                <a:gd name="T116" fmla="*/ 45 w 206"/>
                <a:gd name="T117" fmla="*/ 38 h 197"/>
                <a:gd name="T118" fmla="*/ 42 w 206"/>
                <a:gd name="T119" fmla="*/ 20 h 197"/>
                <a:gd name="T120" fmla="*/ 58 w 206"/>
                <a:gd name="T121" fmla="*/ 9 h 197"/>
                <a:gd name="T122" fmla="*/ 65 w 206"/>
                <a:gd name="T123" fmla="*/ 0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6" h="197">
                  <a:moveTo>
                    <a:pt x="69" y="0"/>
                  </a:move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6" y="31"/>
                  </a:lnTo>
                  <a:lnTo>
                    <a:pt x="126" y="33"/>
                  </a:lnTo>
                  <a:lnTo>
                    <a:pt x="126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9" y="47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51"/>
                  </a:lnTo>
                  <a:lnTo>
                    <a:pt x="141" y="49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7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32" y="67"/>
                  </a:lnTo>
                  <a:lnTo>
                    <a:pt x="132" y="65"/>
                  </a:lnTo>
                  <a:lnTo>
                    <a:pt x="130" y="65"/>
                  </a:lnTo>
                  <a:lnTo>
                    <a:pt x="130" y="65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9"/>
                  </a:lnTo>
                  <a:lnTo>
                    <a:pt x="130" y="69"/>
                  </a:lnTo>
                  <a:lnTo>
                    <a:pt x="128" y="69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6"/>
                  </a:lnTo>
                  <a:lnTo>
                    <a:pt x="132" y="78"/>
                  </a:lnTo>
                  <a:lnTo>
                    <a:pt x="130" y="78"/>
                  </a:lnTo>
                  <a:lnTo>
                    <a:pt x="130" y="78"/>
                  </a:lnTo>
                  <a:lnTo>
                    <a:pt x="130" y="78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2" y="81"/>
                  </a:lnTo>
                  <a:lnTo>
                    <a:pt x="132" y="81"/>
                  </a:lnTo>
                  <a:lnTo>
                    <a:pt x="132" y="81"/>
                  </a:lnTo>
                  <a:lnTo>
                    <a:pt x="132" y="81"/>
                  </a:lnTo>
                  <a:lnTo>
                    <a:pt x="132" y="81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4" y="85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7" y="87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87"/>
                  </a:lnTo>
                  <a:lnTo>
                    <a:pt x="141" y="87"/>
                  </a:lnTo>
                  <a:lnTo>
                    <a:pt x="141" y="87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1" y="92"/>
                  </a:lnTo>
                  <a:lnTo>
                    <a:pt x="141" y="92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2"/>
                  </a:lnTo>
                  <a:lnTo>
                    <a:pt x="143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4"/>
                  </a:lnTo>
                  <a:lnTo>
                    <a:pt x="146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6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99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6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1"/>
                  </a:lnTo>
                  <a:lnTo>
                    <a:pt x="148" y="103"/>
                  </a:lnTo>
                  <a:lnTo>
                    <a:pt x="148" y="103"/>
                  </a:lnTo>
                  <a:lnTo>
                    <a:pt x="148" y="103"/>
                  </a:lnTo>
                  <a:lnTo>
                    <a:pt x="148" y="103"/>
                  </a:lnTo>
                  <a:lnTo>
                    <a:pt x="148" y="103"/>
                  </a:lnTo>
                  <a:lnTo>
                    <a:pt x="148" y="103"/>
                  </a:lnTo>
                  <a:lnTo>
                    <a:pt x="148" y="105"/>
                  </a:lnTo>
                  <a:lnTo>
                    <a:pt x="148" y="105"/>
                  </a:lnTo>
                  <a:lnTo>
                    <a:pt x="150" y="105"/>
                  </a:lnTo>
                  <a:lnTo>
                    <a:pt x="152" y="105"/>
                  </a:lnTo>
                  <a:lnTo>
                    <a:pt x="155" y="105"/>
                  </a:lnTo>
                  <a:lnTo>
                    <a:pt x="157" y="105"/>
                  </a:lnTo>
                  <a:lnTo>
                    <a:pt x="159" y="108"/>
                  </a:lnTo>
                  <a:lnTo>
                    <a:pt x="159" y="108"/>
                  </a:lnTo>
                  <a:lnTo>
                    <a:pt x="161" y="110"/>
                  </a:lnTo>
                  <a:lnTo>
                    <a:pt x="161" y="110"/>
                  </a:lnTo>
                  <a:lnTo>
                    <a:pt x="168" y="114"/>
                  </a:lnTo>
                  <a:lnTo>
                    <a:pt x="168" y="114"/>
                  </a:lnTo>
                  <a:lnTo>
                    <a:pt x="168" y="114"/>
                  </a:lnTo>
                  <a:lnTo>
                    <a:pt x="168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3" y="117"/>
                  </a:lnTo>
                  <a:lnTo>
                    <a:pt x="173" y="117"/>
                  </a:lnTo>
                  <a:lnTo>
                    <a:pt x="173" y="117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5" y="117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5" y="119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7" y="121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7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3"/>
                  </a:lnTo>
                  <a:lnTo>
                    <a:pt x="179" y="126"/>
                  </a:lnTo>
                  <a:lnTo>
                    <a:pt x="179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4" y="128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4" y="130"/>
                  </a:lnTo>
                  <a:lnTo>
                    <a:pt x="186" y="132"/>
                  </a:lnTo>
                  <a:lnTo>
                    <a:pt x="186" y="132"/>
                  </a:lnTo>
                  <a:lnTo>
                    <a:pt x="186" y="132"/>
                  </a:lnTo>
                  <a:lnTo>
                    <a:pt x="186" y="132"/>
                  </a:lnTo>
                  <a:lnTo>
                    <a:pt x="184" y="141"/>
                  </a:lnTo>
                  <a:lnTo>
                    <a:pt x="186" y="150"/>
                  </a:lnTo>
                  <a:lnTo>
                    <a:pt x="193" y="150"/>
                  </a:lnTo>
                  <a:lnTo>
                    <a:pt x="193" y="150"/>
                  </a:lnTo>
                  <a:lnTo>
                    <a:pt x="193" y="153"/>
                  </a:lnTo>
                  <a:lnTo>
                    <a:pt x="195" y="164"/>
                  </a:lnTo>
                  <a:lnTo>
                    <a:pt x="195" y="164"/>
                  </a:lnTo>
                  <a:lnTo>
                    <a:pt x="195" y="164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200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5"/>
                  </a:lnTo>
                  <a:lnTo>
                    <a:pt x="204" y="175"/>
                  </a:lnTo>
                  <a:lnTo>
                    <a:pt x="204" y="175"/>
                  </a:lnTo>
                  <a:lnTo>
                    <a:pt x="204" y="175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5"/>
                  </a:lnTo>
                  <a:lnTo>
                    <a:pt x="206" y="175"/>
                  </a:lnTo>
                  <a:lnTo>
                    <a:pt x="206" y="175"/>
                  </a:lnTo>
                  <a:lnTo>
                    <a:pt x="206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4" y="175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200" y="173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5" y="173"/>
                  </a:lnTo>
                  <a:lnTo>
                    <a:pt x="195" y="175"/>
                  </a:lnTo>
                  <a:lnTo>
                    <a:pt x="195" y="175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3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5"/>
                  </a:lnTo>
                  <a:lnTo>
                    <a:pt x="195" y="175"/>
                  </a:lnTo>
                  <a:lnTo>
                    <a:pt x="195" y="175"/>
                  </a:lnTo>
                  <a:lnTo>
                    <a:pt x="191" y="173"/>
                  </a:lnTo>
                  <a:lnTo>
                    <a:pt x="188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79" y="173"/>
                  </a:lnTo>
                  <a:lnTo>
                    <a:pt x="177" y="175"/>
                  </a:lnTo>
                  <a:lnTo>
                    <a:pt x="177" y="175"/>
                  </a:lnTo>
                  <a:lnTo>
                    <a:pt x="177" y="179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8"/>
                  </a:lnTo>
                  <a:lnTo>
                    <a:pt x="173" y="188"/>
                  </a:lnTo>
                  <a:lnTo>
                    <a:pt x="173" y="191"/>
                  </a:lnTo>
                  <a:lnTo>
                    <a:pt x="170" y="193"/>
                  </a:lnTo>
                  <a:lnTo>
                    <a:pt x="168" y="195"/>
                  </a:lnTo>
                  <a:lnTo>
                    <a:pt x="168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4" y="197"/>
                  </a:lnTo>
                  <a:lnTo>
                    <a:pt x="161" y="197"/>
                  </a:lnTo>
                  <a:lnTo>
                    <a:pt x="159" y="197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5" y="195"/>
                  </a:lnTo>
                  <a:lnTo>
                    <a:pt x="152" y="195"/>
                  </a:lnTo>
                  <a:lnTo>
                    <a:pt x="150" y="195"/>
                  </a:lnTo>
                  <a:lnTo>
                    <a:pt x="148" y="195"/>
                  </a:lnTo>
                  <a:lnTo>
                    <a:pt x="146" y="195"/>
                  </a:lnTo>
                  <a:lnTo>
                    <a:pt x="143" y="195"/>
                  </a:lnTo>
                  <a:lnTo>
                    <a:pt x="141" y="195"/>
                  </a:lnTo>
                  <a:lnTo>
                    <a:pt x="139" y="195"/>
                  </a:lnTo>
                  <a:lnTo>
                    <a:pt x="139" y="195"/>
                  </a:lnTo>
                  <a:lnTo>
                    <a:pt x="137" y="195"/>
                  </a:lnTo>
                  <a:lnTo>
                    <a:pt x="134" y="195"/>
                  </a:lnTo>
                  <a:lnTo>
                    <a:pt x="132" y="193"/>
                  </a:lnTo>
                  <a:lnTo>
                    <a:pt x="132" y="193"/>
                  </a:lnTo>
                  <a:lnTo>
                    <a:pt x="132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30" y="193"/>
                  </a:lnTo>
                  <a:lnTo>
                    <a:pt x="128" y="191"/>
                  </a:lnTo>
                  <a:lnTo>
                    <a:pt x="126" y="188"/>
                  </a:lnTo>
                  <a:lnTo>
                    <a:pt x="123" y="188"/>
                  </a:lnTo>
                  <a:lnTo>
                    <a:pt x="121" y="186"/>
                  </a:lnTo>
                  <a:lnTo>
                    <a:pt x="119" y="184"/>
                  </a:lnTo>
                  <a:lnTo>
                    <a:pt x="117" y="182"/>
                  </a:lnTo>
                  <a:lnTo>
                    <a:pt x="112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5" y="175"/>
                  </a:lnTo>
                  <a:lnTo>
                    <a:pt x="103" y="173"/>
                  </a:lnTo>
                  <a:lnTo>
                    <a:pt x="101" y="170"/>
                  </a:lnTo>
                  <a:lnTo>
                    <a:pt x="99" y="168"/>
                  </a:lnTo>
                  <a:lnTo>
                    <a:pt x="96" y="168"/>
                  </a:lnTo>
                  <a:lnTo>
                    <a:pt x="94" y="166"/>
                  </a:lnTo>
                  <a:lnTo>
                    <a:pt x="92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90" y="164"/>
                  </a:lnTo>
                  <a:lnTo>
                    <a:pt x="87" y="162"/>
                  </a:lnTo>
                  <a:lnTo>
                    <a:pt x="85" y="159"/>
                  </a:lnTo>
                  <a:lnTo>
                    <a:pt x="83" y="157"/>
                  </a:lnTo>
                  <a:lnTo>
                    <a:pt x="83" y="157"/>
                  </a:lnTo>
                  <a:lnTo>
                    <a:pt x="81" y="155"/>
                  </a:lnTo>
                  <a:lnTo>
                    <a:pt x="78" y="153"/>
                  </a:lnTo>
                  <a:lnTo>
                    <a:pt x="76" y="153"/>
                  </a:lnTo>
                  <a:lnTo>
                    <a:pt x="74" y="150"/>
                  </a:lnTo>
                  <a:lnTo>
                    <a:pt x="74" y="148"/>
                  </a:lnTo>
                  <a:lnTo>
                    <a:pt x="72" y="148"/>
                  </a:lnTo>
                  <a:lnTo>
                    <a:pt x="69" y="146"/>
                  </a:lnTo>
                  <a:lnTo>
                    <a:pt x="67" y="146"/>
                  </a:lnTo>
                  <a:lnTo>
                    <a:pt x="65" y="146"/>
                  </a:lnTo>
                  <a:lnTo>
                    <a:pt x="63" y="144"/>
                  </a:lnTo>
                  <a:lnTo>
                    <a:pt x="60" y="144"/>
                  </a:lnTo>
                  <a:lnTo>
                    <a:pt x="60" y="141"/>
                  </a:lnTo>
                  <a:lnTo>
                    <a:pt x="58" y="141"/>
                  </a:lnTo>
                  <a:lnTo>
                    <a:pt x="56" y="139"/>
                  </a:lnTo>
                  <a:lnTo>
                    <a:pt x="54" y="139"/>
                  </a:lnTo>
                  <a:lnTo>
                    <a:pt x="51" y="137"/>
                  </a:lnTo>
                  <a:lnTo>
                    <a:pt x="49" y="137"/>
                  </a:lnTo>
                  <a:lnTo>
                    <a:pt x="49" y="135"/>
                  </a:lnTo>
                  <a:lnTo>
                    <a:pt x="47" y="135"/>
                  </a:lnTo>
                  <a:lnTo>
                    <a:pt x="45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6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7" y="128"/>
                  </a:lnTo>
                  <a:lnTo>
                    <a:pt x="24" y="126"/>
                  </a:lnTo>
                  <a:lnTo>
                    <a:pt x="20" y="126"/>
                  </a:lnTo>
                  <a:lnTo>
                    <a:pt x="15" y="126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9" y="114"/>
                  </a:lnTo>
                  <a:lnTo>
                    <a:pt x="4" y="103"/>
                  </a:lnTo>
                  <a:lnTo>
                    <a:pt x="0" y="94"/>
                  </a:lnTo>
                  <a:lnTo>
                    <a:pt x="2" y="94"/>
                  </a:lnTo>
                  <a:lnTo>
                    <a:pt x="4" y="92"/>
                  </a:lnTo>
                  <a:lnTo>
                    <a:pt x="6" y="90"/>
                  </a:lnTo>
                  <a:lnTo>
                    <a:pt x="9" y="90"/>
                  </a:lnTo>
                  <a:lnTo>
                    <a:pt x="11" y="87"/>
                  </a:lnTo>
                  <a:lnTo>
                    <a:pt x="13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8" y="83"/>
                  </a:lnTo>
                  <a:lnTo>
                    <a:pt x="20" y="81"/>
                  </a:lnTo>
                  <a:lnTo>
                    <a:pt x="22" y="81"/>
                  </a:lnTo>
                  <a:lnTo>
                    <a:pt x="24" y="78"/>
                  </a:lnTo>
                  <a:lnTo>
                    <a:pt x="27" y="78"/>
                  </a:lnTo>
                  <a:lnTo>
                    <a:pt x="29" y="76"/>
                  </a:lnTo>
                  <a:lnTo>
                    <a:pt x="31" y="74"/>
                  </a:lnTo>
                  <a:lnTo>
                    <a:pt x="33" y="74"/>
                  </a:lnTo>
                  <a:lnTo>
                    <a:pt x="36" y="72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2" y="56"/>
                  </a:lnTo>
                  <a:lnTo>
                    <a:pt x="42" y="51"/>
                  </a:lnTo>
                  <a:lnTo>
                    <a:pt x="42" y="49"/>
                  </a:lnTo>
                  <a:lnTo>
                    <a:pt x="42" y="47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5" y="42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1" y="18"/>
                  </a:lnTo>
                  <a:lnTo>
                    <a:pt x="54" y="15"/>
                  </a:lnTo>
                  <a:lnTo>
                    <a:pt x="56" y="11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9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0" name="Freeform 577"/>
            <p:cNvSpPr>
              <a:spLocks noEditPoints="1"/>
            </p:cNvSpPr>
            <p:nvPr/>
          </p:nvSpPr>
          <p:spPr bwMode="auto">
            <a:xfrm>
              <a:off x="7074978" y="2386256"/>
              <a:ext cx="720385" cy="583327"/>
            </a:xfrm>
            <a:custGeom>
              <a:avLst/>
              <a:gdLst>
                <a:gd name="T0" fmla="*/ 269 w 431"/>
                <a:gd name="T1" fmla="*/ 313 h 349"/>
                <a:gd name="T2" fmla="*/ 290 w 431"/>
                <a:gd name="T3" fmla="*/ 304 h 349"/>
                <a:gd name="T4" fmla="*/ 27 w 431"/>
                <a:gd name="T5" fmla="*/ 14 h 349"/>
                <a:gd name="T6" fmla="*/ 51 w 431"/>
                <a:gd name="T7" fmla="*/ 21 h 349"/>
                <a:gd name="T8" fmla="*/ 72 w 431"/>
                <a:gd name="T9" fmla="*/ 3 h 349"/>
                <a:gd name="T10" fmla="*/ 78 w 431"/>
                <a:gd name="T11" fmla="*/ 18 h 349"/>
                <a:gd name="T12" fmla="*/ 101 w 431"/>
                <a:gd name="T13" fmla="*/ 39 h 349"/>
                <a:gd name="T14" fmla="*/ 135 w 431"/>
                <a:gd name="T15" fmla="*/ 63 h 349"/>
                <a:gd name="T16" fmla="*/ 200 w 431"/>
                <a:gd name="T17" fmla="*/ 68 h 349"/>
                <a:gd name="T18" fmla="*/ 218 w 431"/>
                <a:gd name="T19" fmla="*/ 52 h 349"/>
                <a:gd name="T20" fmla="*/ 233 w 431"/>
                <a:gd name="T21" fmla="*/ 39 h 349"/>
                <a:gd name="T22" fmla="*/ 260 w 431"/>
                <a:gd name="T23" fmla="*/ 36 h 349"/>
                <a:gd name="T24" fmla="*/ 274 w 431"/>
                <a:gd name="T25" fmla="*/ 45 h 349"/>
                <a:gd name="T26" fmla="*/ 294 w 431"/>
                <a:gd name="T27" fmla="*/ 50 h 349"/>
                <a:gd name="T28" fmla="*/ 312 w 431"/>
                <a:gd name="T29" fmla="*/ 61 h 349"/>
                <a:gd name="T30" fmla="*/ 348 w 431"/>
                <a:gd name="T31" fmla="*/ 75 h 349"/>
                <a:gd name="T32" fmla="*/ 350 w 431"/>
                <a:gd name="T33" fmla="*/ 90 h 349"/>
                <a:gd name="T34" fmla="*/ 355 w 431"/>
                <a:gd name="T35" fmla="*/ 106 h 349"/>
                <a:gd name="T36" fmla="*/ 353 w 431"/>
                <a:gd name="T37" fmla="*/ 122 h 349"/>
                <a:gd name="T38" fmla="*/ 353 w 431"/>
                <a:gd name="T39" fmla="*/ 147 h 349"/>
                <a:gd name="T40" fmla="*/ 362 w 431"/>
                <a:gd name="T41" fmla="*/ 185 h 349"/>
                <a:gd name="T42" fmla="*/ 386 w 431"/>
                <a:gd name="T43" fmla="*/ 212 h 349"/>
                <a:gd name="T44" fmla="*/ 386 w 431"/>
                <a:gd name="T45" fmla="*/ 252 h 349"/>
                <a:gd name="T46" fmla="*/ 411 w 431"/>
                <a:gd name="T47" fmla="*/ 272 h 349"/>
                <a:gd name="T48" fmla="*/ 427 w 431"/>
                <a:gd name="T49" fmla="*/ 297 h 349"/>
                <a:gd name="T50" fmla="*/ 424 w 431"/>
                <a:gd name="T51" fmla="*/ 311 h 349"/>
                <a:gd name="T52" fmla="*/ 413 w 431"/>
                <a:gd name="T53" fmla="*/ 320 h 349"/>
                <a:gd name="T54" fmla="*/ 402 w 431"/>
                <a:gd name="T55" fmla="*/ 344 h 349"/>
                <a:gd name="T56" fmla="*/ 382 w 431"/>
                <a:gd name="T57" fmla="*/ 342 h 349"/>
                <a:gd name="T58" fmla="*/ 373 w 431"/>
                <a:gd name="T59" fmla="*/ 342 h 349"/>
                <a:gd name="T60" fmla="*/ 350 w 431"/>
                <a:gd name="T61" fmla="*/ 342 h 349"/>
                <a:gd name="T62" fmla="*/ 328 w 431"/>
                <a:gd name="T63" fmla="*/ 338 h 349"/>
                <a:gd name="T64" fmla="*/ 310 w 431"/>
                <a:gd name="T65" fmla="*/ 326 h 349"/>
                <a:gd name="T66" fmla="*/ 303 w 431"/>
                <a:gd name="T67" fmla="*/ 304 h 349"/>
                <a:gd name="T68" fmla="*/ 290 w 431"/>
                <a:gd name="T69" fmla="*/ 297 h 349"/>
                <a:gd name="T70" fmla="*/ 276 w 431"/>
                <a:gd name="T71" fmla="*/ 306 h 349"/>
                <a:gd name="T72" fmla="*/ 249 w 431"/>
                <a:gd name="T73" fmla="*/ 311 h 349"/>
                <a:gd name="T74" fmla="*/ 218 w 431"/>
                <a:gd name="T75" fmla="*/ 297 h 349"/>
                <a:gd name="T76" fmla="*/ 191 w 431"/>
                <a:gd name="T77" fmla="*/ 281 h 349"/>
                <a:gd name="T78" fmla="*/ 173 w 431"/>
                <a:gd name="T79" fmla="*/ 257 h 349"/>
                <a:gd name="T80" fmla="*/ 168 w 431"/>
                <a:gd name="T81" fmla="*/ 248 h 349"/>
                <a:gd name="T82" fmla="*/ 155 w 431"/>
                <a:gd name="T83" fmla="*/ 227 h 349"/>
                <a:gd name="T84" fmla="*/ 137 w 431"/>
                <a:gd name="T85" fmla="*/ 225 h 349"/>
                <a:gd name="T86" fmla="*/ 135 w 431"/>
                <a:gd name="T87" fmla="*/ 221 h 349"/>
                <a:gd name="T88" fmla="*/ 128 w 431"/>
                <a:gd name="T89" fmla="*/ 225 h 349"/>
                <a:gd name="T90" fmla="*/ 123 w 431"/>
                <a:gd name="T91" fmla="*/ 232 h 349"/>
                <a:gd name="T92" fmla="*/ 112 w 431"/>
                <a:gd name="T93" fmla="*/ 221 h 349"/>
                <a:gd name="T94" fmla="*/ 94 w 431"/>
                <a:gd name="T95" fmla="*/ 178 h 349"/>
                <a:gd name="T96" fmla="*/ 67 w 431"/>
                <a:gd name="T97" fmla="*/ 162 h 349"/>
                <a:gd name="T98" fmla="*/ 60 w 431"/>
                <a:gd name="T99" fmla="*/ 149 h 349"/>
                <a:gd name="T100" fmla="*/ 49 w 431"/>
                <a:gd name="T101" fmla="*/ 138 h 349"/>
                <a:gd name="T102" fmla="*/ 47 w 431"/>
                <a:gd name="T103" fmla="*/ 124 h 349"/>
                <a:gd name="T104" fmla="*/ 54 w 431"/>
                <a:gd name="T105" fmla="*/ 115 h 349"/>
                <a:gd name="T106" fmla="*/ 56 w 431"/>
                <a:gd name="T107" fmla="*/ 106 h 349"/>
                <a:gd name="T108" fmla="*/ 58 w 431"/>
                <a:gd name="T109" fmla="*/ 93 h 349"/>
                <a:gd name="T110" fmla="*/ 40 w 431"/>
                <a:gd name="T111" fmla="*/ 88 h 349"/>
                <a:gd name="T112" fmla="*/ 31 w 431"/>
                <a:gd name="T113" fmla="*/ 79 h 349"/>
                <a:gd name="T114" fmla="*/ 25 w 431"/>
                <a:gd name="T115" fmla="*/ 66 h 349"/>
                <a:gd name="T116" fmla="*/ 18 w 431"/>
                <a:gd name="T117" fmla="*/ 54 h 349"/>
                <a:gd name="T118" fmla="*/ 9 w 431"/>
                <a:gd name="T119" fmla="*/ 43 h 349"/>
                <a:gd name="T120" fmla="*/ 9 w 431"/>
                <a:gd name="T121" fmla="*/ 32 h 349"/>
                <a:gd name="T122" fmla="*/ 4 w 431"/>
                <a:gd name="T123" fmla="*/ 16 h 349"/>
                <a:gd name="T124" fmla="*/ 7 w 431"/>
                <a:gd name="T125" fmla="*/ 5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1" h="349">
                  <a:moveTo>
                    <a:pt x="287" y="306"/>
                  </a:moveTo>
                  <a:lnTo>
                    <a:pt x="287" y="306"/>
                  </a:lnTo>
                  <a:lnTo>
                    <a:pt x="287" y="306"/>
                  </a:lnTo>
                  <a:lnTo>
                    <a:pt x="285" y="308"/>
                  </a:lnTo>
                  <a:lnTo>
                    <a:pt x="285" y="308"/>
                  </a:lnTo>
                  <a:lnTo>
                    <a:pt x="285" y="308"/>
                  </a:lnTo>
                  <a:lnTo>
                    <a:pt x="285" y="308"/>
                  </a:lnTo>
                  <a:lnTo>
                    <a:pt x="285" y="308"/>
                  </a:lnTo>
                  <a:lnTo>
                    <a:pt x="285" y="308"/>
                  </a:lnTo>
                  <a:lnTo>
                    <a:pt x="283" y="311"/>
                  </a:lnTo>
                  <a:lnTo>
                    <a:pt x="283" y="311"/>
                  </a:lnTo>
                  <a:lnTo>
                    <a:pt x="283" y="311"/>
                  </a:lnTo>
                  <a:lnTo>
                    <a:pt x="283" y="311"/>
                  </a:lnTo>
                  <a:lnTo>
                    <a:pt x="281" y="308"/>
                  </a:lnTo>
                  <a:lnTo>
                    <a:pt x="281" y="311"/>
                  </a:lnTo>
                  <a:lnTo>
                    <a:pt x="281" y="311"/>
                  </a:lnTo>
                  <a:lnTo>
                    <a:pt x="281" y="311"/>
                  </a:lnTo>
                  <a:lnTo>
                    <a:pt x="278" y="311"/>
                  </a:lnTo>
                  <a:lnTo>
                    <a:pt x="278" y="311"/>
                  </a:lnTo>
                  <a:lnTo>
                    <a:pt x="278" y="311"/>
                  </a:lnTo>
                  <a:lnTo>
                    <a:pt x="278" y="311"/>
                  </a:lnTo>
                  <a:lnTo>
                    <a:pt x="276" y="311"/>
                  </a:lnTo>
                  <a:lnTo>
                    <a:pt x="276" y="313"/>
                  </a:lnTo>
                  <a:lnTo>
                    <a:pt x="274" y="313"/>
                  </a:lnTo>
                  <a:lnTo>
                    <a:pt x="274" y="313"/>
                  </a:lnTo>
                  <a:lnTo>
                    <a:pt x="274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72" y="313"/>
                  </a:lnTo>
                  <a:lnTo>
                    <a:pt x="269" y="313"/>
                  </a:lnTo>
                  <a:lnTo>
                    <a:pt x="269" y="313"/>
                  </a:lnTo>
                  <a:lnTo>
                    <a:pt x="269" y="313"/>
                  </a:lnTo>
                  <a:lnTo>
                    <a:pt x="269" y="313"/>
                  </a:lnTo>
                  <a:lnTo>
                    <a:pt x="269" y="313"/>
                  </a:lnTo>
                  <a:lnTo>
                    <a:pt x="269" y="313"/>
                  </a:lnTo>
                  <a:lnTo>
                    <a:pt x="269" y="313"/>
                  </a:lnTo>
                  <a:lnTo>
                    <a:pt x="269" y="311"/>
                  </a:lnTo>
                  <a:lnTo>
                    <a:pt x="269" y="311"/>
                  </a:lnTo>
                  <a:lnTo>
                    <a:pt x="272" y="311"/>
                  </a:lnTo>
                  <a:lnTo>
                    <a:pt x="272" y="311"/>
                  </a:lnTo>
                  <a:lnTo>
                    <a:pt x="272" y="311"/>
                  </a:lnTo>
                  <a:lnTo>
                    <a:pt x="272" y="311"/>
                  </a:lnTo>
                  <a:lnTo>
                    <a:pt x="274" y="311"/>
                  </a:lnTo>
                  <a:lnTo>
                    <a:pt x="276" y="311"/>
                  </a:lnTo>
                  <a:lnTo>
                    <a:pt x="276" y="311"/>
                  </a:lnTo>
                  <a:lnTo>
                    <a:pt x="276" y="308"/>
                  </a:lnTo>
                  <a:lnTo>
                    <a:pt x="276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8"/>
                  </a:lnTo>
                  <a:lnTo>
                    <a:pt x="278" y="306"/>
                  </a:lnTo>
                  <a:lnTo>
                    <a:pt x="278" y="306"/>
                  </a:lnTo>
                  <a:lnTo>
                    <a:pt x="278" y="306"/>
                  </a:lnTo>
                  <a:lnTo>
                    <a:pt x="278" y="306"/>
                  </a:lnTo>
                  <a:lnTo>
                    <a:pt x="278" y="304"/>
                  </a:lnTo>
                  <a:lnTo>
                    <a:pt x="278" y="304"/>
                  </a:lnTo>
                  <a:lnTo>
                    <a:pt x="278" y="304"/>
                  </a:lnTo>
                  <a:lnTo>
                    <a:pt x="278" y="304"/>
                  </a:lnTo>
                  <a:lnTo>
                    <a:pt x="281" y="306"/>
                  </a:lnTo>
                  <a:lnTo>
                    <a:pt x="283" y="306"/>
                  </a:lnTo>
                  <a:lnTo>
                    <a:pt x="285" y="304"/>
                  </a:lnTo>
                  <a:lnTo>
                    <a:pt x="287" y="304"/>
                  </a:lnTo>
                  <a:lnTo>
                    <a:pt x="287" y="304"/>
                  </a:lnTo>
                  <a:lnTo>
                    <a:pt x="287" y="304"/>
                  </a:lnTo>
                  <a:lnTo>
                    <a:pt x="290" y="304"/>
                  </a:lnTo>
                  <a:lnTo>
                    <a:pt x="290" y="304"/>
                  </a:lnTo>
                  <a:lnTo>
                    <a:pt x="290" y="304"/>
                  </a:lnTo>
                  <a:lnTo>
                    <a:pt x="290" y="304"/>
                  </a:lnTo>
                  <a:lnTo>
                    <a:pt x="287" y="304"/>
                  </a:lnTo>
                  <a:lnTo>
                    <a:pt x="287" y="306"/>
                  </a:lnTo>
                  <a:close/>
                  <a:moveTo>
                    <a:pt x="18" y="7"/>
                  </a:move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9" y="3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3"/>
                  </a:lnTo>
                  <a:lnTo>
                    <a:pt x="81" y="5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3"/>
                  </a:lnTo>
                  <a:lnTo>
                    <a:pt x="81" y="23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2" y="30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9" y="32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101" y="39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5" y="50"/>
                  </a:lnTo>
                  <a:lnTo>
                    <a:pt x="105" y="50"/>
                  </a:lnTo>
                  <a:lnTo>
                    <a:pt x="108" y="52"/>
                  </a:lnTo>
                  <a:lnTo>
                    <a:pt x="112" y="52"/>
                  </a:lnTo>
                  <a:lnTo>
                    <a:pt x="112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6" y="54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0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5" y="63"/>
                  </a:lnTo>
                  <a:lnTo>
                    <a:pt x="135" y="63"/>
                  </a:lnTo>
                  <a:lnTo>
                    <a:pt x="135" y="63"/>
                  </a:lnTo>
                  <a:lnTo>
                    <a:pt x="137" y="66"/>
                  </a:lnTo>
                  <a:lnTo>
                    <a:pt x="139" y="66"/>
                  </a:lnTo>
                  <a:lnTo>
                    <a:pt x="139" y="66"/>
                  </a:lnTo>
                  <a:lnTo>
                    <a:pt x="139" y="66"/>
                  </a:lnTo>
                  <a:lnTo>
                    <a:pt x="139" y="68"/>
                  </a:lnTo>
                  <a:lnTo>
                    <a:pt x="141" y="68"/>
                  </a:lnTo>
                  <a:lnTo>
                    <a:pt x="144" y="68"/>
                  </a:lnTo>
                  <a:lnTo>
                    <a:pt x="146" y="70"/>
                  </a:lnTo>
                  <a:lnTo>
                    <a:pt x="148" y="72"/>
                  </a:lnTo>
                  <a:lnTo>
                    <a:pt x="155" y="72"/>
                  </a:lnTo>
                  <a:lnTo>
                    <a:pt x="157" y="72"/>
                  </a:lnTo>
                  <a:lnTo>
                    <a:pt x="162" y="75"/>
                  </a:lnTo>
                  <a:lnTo>
                    <a:pt x="166" y="75"/>
                  </a:lnTo>
                  <a:lnTo>
                    <a:pt x="168" y="75"/>
                  </a:lnTo>
                  <a:lnTo>
                    <a:pt x="173" y="72"/>
                  </a:lnTo>
                  <a:lnTo>
                    <a:pt x="175" y="72"/>
                  </a:lnTo>
                  <a:lnTo>
                    <a:pt x="180" y="72"/>
                  </a:lnTo>
                  <a:lnTo>
                    <a:pt x="182" y="72"/>
                  </a:lnTo>
                  <a:lnTo>
                    <a:pt x="184" y="70"/>
                  </a:lnTo>
                  <a:lnTo>
                    <a:pt x="189" y="70"/>
                  </a:lnTo>
                  <a:lnTo>
                    <a:pt x="195" y="68"/>
                  </a:lnTo>
                  <a:lnTo>
                    <a:pt x="195" y="68"/>
                  </a:lnTo>
                  <a:lnTo>
                    <a:pt x="202" y="68"/>
                  </a:lnTo>
                  <a:lnTo>
                    <a:pt x="204" y="68"/>
                  </a:lnTo>
                  <a:lnTo>
                    <a:pt x="204" y="66"/>
                  </a:lnTo>
                  <a:lnTo>
                    <a:pt x="204" y="68"/>
                  </a:lnTo>
                  <a:lnTo>
                    <a:pt x="204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2" y="68"/>
                  </a:lnTo>
                  <a:lnTo>
                    <a:pt x="200" y="68"/>
                  </a:lnTo>
                  <a:lnTo>
                    <a:pt x="200" y="68"/>
                  </a:lnTo>
                  <a:lnTo>
                    <a:pt x="200" y="68"/>
                  </a:lnTo>
                  <a:lnTo>
                    <a:pt x="200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198" y="68"/>
                  </a:lnTo>
                  <a:lnTo>
                    <a:pt x="198" y="68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2" y="70"/>
                  </a:lnTo>
                  <a:lnTo>
                    <a:pt x="202" y="70"/>
                  </a:lnTo>
                  <a:lnTo>
                    <a:pt x="204" y="70"/>
                  </a:lnTo>
                  <a:lnTo>
                    <a:pt x="207" y="70"/>
                  </a:lnTo>
                  <a:lnTo>
                    <a:pt x="207" y="70"/>
                  </a:lnTo>
                  <a:lnTo>
                    <a:pt x="207" y="68"/>
                  </a:lnTo>
                  <a:lnTo>
                    <a:pt x="207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3"/>
                  </a:lnTo>
                  <a:lnTo>
                    <a:pt x="204" y="63"/>
                  </a:lnTo>
                  <a:lnTo>
                    <a:pt x="204" y="63"/>
                  </a:lnTo>
                  <a:lnTo>
                    <a:pt x="202" y="61"/>
                  </a:lnTo>
                  <a:lnTo>
                    <a:pt x="202" y="59"/>
                  </a:lnTo>
                  <a:lnTo>
                    <a:pt x="202" y="59"/>
                  </a:lnTo>
                  <a:lnTo>
                    <a:pt x="202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07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11" y="57"/>
                  </a:lnTo>
                  <a:lnTo>
                    <a:pt x="213" y="54"/>
                  </a:lnTo>
                  <a:lnTo>
                    <a:pt x="213" y="54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5" y="54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2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50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18" y="48"/>
                  </a:lnTo>
                  <a:lnTo>
                    <a:pt x="220" y="45"/>
                  </a:lnTo>
                  <a:lnTo>
                    <a:pt x="220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2" y="43"/>
                  </a:lnTo>
                  <a:lnTo>
                    <a:pt x="224" y="43"/>
                  </a:lnTo>
                  <a:lnTo>
                    <a:pt x="224" y="43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4" y="41"/>
                  </a:lnTo>
                  <a:lnTo>
                    <a:pt x="227" y="41"/>
                  </a:lnTo>
                  <a:lnTo>
                    <a:pt x="227" y="41"/>
                  </a:lnTo>
                  <a:lnTo>
                    <a:pt x="227" y="39"/>
                  </a:lnTo>
                  <a:lnTo>
                    <a:pt x="227" y="39"/>
                  </a:lnTo>
                  <a:lnTo>
                    <a:pt x="229" y="39"/>
                  </a:lnTo>
                  <a:lnTo>
                    <a:pt x="233" y="39"/>
                  </a:lnTo>
                  <a:lnTo>
                    <a:pt x="233" y="39"/>
                  </a:lnTo>
                  <a:lnTo>
                    <a:pt x="233" y="39"/>
                  </a:lnTo>
                  <a:lnTo>
                    <a:pt x="236" y="39"/>
                  </a:lnTo>
                  <a:lnTo>
                    <a:pt x="236" y="39"/>
                  </a:lnTo>
                  <a:lnTo>
                    <a:pt x="236" y="39"/>
                  </a:lnTo>
                  <a:lnTo>
                    <a:pt x="238" y="39"/>
                  </a:lnTo>
                  <a:lnTo>
                    <a:pt x="238" y="39"/>
                  </a:lnTo>
                  <a:lnTo>
                    <a:pt x="238" y="41"/>
                  </a:lnTo>
                  <a:lnTo>
                    <a:pt x="238" y="41"/>
                  </a:lnTo>
                  <a:lnTo>
                    <a:pt x="240" y="39"/>
                  </a:lnTo>
                  <a:lnTo>
                    <a:pt x="242" y="39"/>
                  </a:lnTo>
                  <a:lnTo>
                    <a:pt x="242" y="39"/>
                  </a:lnTo>
                  <a:lnTo>
                    <a:pt x="242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9"/>
                  </a:lnTo>
                  <a:lnTo>
                    <a:pt x="245" y="36"/>
                  </a:lnTo>
                  <a:lnTo>
                    <a:pt x="245" y="36"/>
                  </a:lnTo>
                  <a:lnTo>
                    <a:pt x="245" y="36"/>
                  </a:lnTo>
                  <a:lnTo>
                    <a:pt x="245" y="36"/>
                  </a:lnTo>
                  <a:lnTo>
                    <a:pt x="247" y="36"/>
                  </a:lnTo>
                  <a:lnTo>
                    <a:pt x="247" y="36"/>
                  </a:lnTo>
                  <a:lnTo>
                    <a:pt x="249" y="36"/>
                  </a:lnTo>
                  <a:lnTo>
                    <a:pt x="249" y="36"/>
                  </a:lnTo>
                  <a:lnTo>
                    <a:pt x="249" y="36"/>
                  </a:lnTo>
                  <a:lnTo>
                    <a:pt x="249" y="36"/>
                  </a:lnTo>
                  <a:lnTo>
                    <a:pt x="249" y="36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1" y="34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4" y="36"/>
                  </a:lnTo>
                  <a:lnTo>
                    <a:pt x="256" y="36"/>
                  </a:lnTo>
                  <a:lnTo>
                    <a:pt x="258" y="36"/>
                  </a:lnTo>
                  <a:lnTo>
                    <a:pt x="258" y="36"/>
                  </a:lnTo>
                  <a:lnTo>
                    <a:pt x="258" y="36"/>
                  </a:lnTo>
                  <a:lnTo>
                    <a:pt x="258" y="36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4"/>
                  </a:lnTo>
                  <a:lnTo>
                    <a:pt x="260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9"/>
                  </a:lnTo>
                  <a:lnTo>
                    <a:pt x="265" y="39"/>
                  </a:lnTo>
                  <a:lnTo>
                    <a:pt x="265" y="39"/>
                  </a:lnTo>
                  <a:lnTo>
                    <a:pt x="265" y="39"/>
                  </a:lnTo>
                  <a:lnTo>
                    <a:pt x="265" y="41"/>
                  </a:lnTo>
                  <a:lnTo>
                    <a:pt x="265" y="41"/>
                  </a:lnTo>
                  <a:lnTo>
                    <a:pt x="265" y="41"/>
                  </a:lnTo>
                  <a:lnTo>
                    <a:pt x="265" y="43"/>
                  </a:lnTo>
                  <a:lnTo>
                    <a:pt x="269" y="43"/>
                  </a:lnTo>
                  <a:lnTo>
                    <a:pt x="269" y="43"/>
                  </a:lnTo>
                  <a:lnTo>
                    <a:pt x="269" y="43"/>
                  </a:lnTo>
                  <a:lnTo>
                    <a:pt x="269" y="43"/>
                  </a:lnTo>
                  <a:lnTo>
                    <a:pt x="269" y="43"/>
                  </a:lnTo>
                  <a:lnTo>
                    <a:pt x="272" y="43"/>
                  </a:lnTo>
                  <a:lnTo>
                    <a:pt x="272" y="43"/>
                  </a:lnTo>
                  <a:lnTo>
                    <a:pt x="272" y="43"/>
                  </a:lnTo>
                  <a:lnTo>
                    <a:pt x="272" y="43"/>
                  </a:lnTo>
                  <a:lnTo>
                    <a:pt x="272" y="43"/>
                  </a:lnTo>
                  <a:lnTo>
                    <a:pt x="274" y="43"/>
                  </a:lnTo>
                  <a:lnTo>
                    <a:pt x="274" y="43"/>
                  </a:lnTo>
                  <a:lnTo>
                    <a:pt x="274" y="43"/>
                  </a:lnTo>
                  <a:lnTo>
                    <a:pt x="274" y="43"/>
                  </a:lnTo>
                  <a:lnTo>
                    <a:pt x="274" y="43"/>
                  </a:lnTo>
                  <a:lnTo>
                    <a:pt x="274" y="43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6" y="45"/>
                  </a:lnTo>
                  <a:lnTo>
                    <a:pt x="276" y="45"/>
                  </a:lnTo>
                  <a:lnTo>
                    <a:pt x="276" y="45"/>
                  </a:lnTo>
                  <a:lnTo>
                    <a:pt x="276" y="45"/>
                  </a:lnTo>
                  <a:lnTo>
                    <a:pt x="281" y="45"/>
                  </a:lnTo>
                  <a:lnTo>
                    <a:pt x="281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50"/>
                  </a:lnTo>
                  <a:lnTo>
                    <a:pt x="283" y="50"/>
                  </a:lnTo>
                  <a:lnTo>
                    <a:pt x="285" y="50"/>
                  </a:lnTo>
                  <a:lnTo>
                    <a:pt x="285" y="50"/>
                  </a:lnTo>
                  <a:lnTo>
                    <a:pt x="285" y="50"/>
                  </a:lnTo>
                  <a:lnTo>
                    <a:pt x="287" y="50"/>
                  </a:lnTo>
                  <a:lnTo>
                    <a:pt x="287" y="50"/>
                  </a:lnTo>
                  <a:lnTo>
                    <a:pt x="287" y="50"/>
                  </a:lnTo>
                  <a:lnTo>
                    <a:pt x="290" y="50"/>
                  </a:lnTo>
                  <a:lnTo>
                    <a:pt x="290" y="50"/>
                  </a:lnTo>
                  <a:lnTo>
                    <a:pt x="290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90" y="48"/>
                  </a:lnTo>
                  <a:lnTo>
                    <a:pt x="290" y="48"/>
                  </a:lnTo>
                  <a:lnTo>
                    <a:pt x="290" y="48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4" y="50"/>
                  </a:lnTo>
                  <a:lnTo>
                    <a:pt x="296" y="50"/>
                  </a:lnTo>
                  <a:lnTo>
                    <a:pt x="296" y="50"/>
                  </a:lnTo>
                  <a:lnTo>
                    <a:pt x="296" y="48"/>
                  </a:lnTo>
                  <a:lnTo>
                    <a:pt x="296" y="50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299" y="50"/>
                  </a:lnTo>
                  <a:lnTo>
                    <a:pt x="301" y="50"/>
                  </a:lnTo>
                  <a:lnTo>
                    <a:pt x="301" y="50"/>
                  </a:lnTo>
                  <a:lnTo>
                    <a:pt x="301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8" y="52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4"/>
                  </a:lnTo>
                  <a:lnTo>
                    <a:pt x="308" y="57"/>
                  </a:lnTo>
                  <a:lnTo>
                    <a:pt x="308" y="57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59"/>
                  </a:lnTo>
                  <a:lnTo>
                    <a:pt x="310" y="61"/>
                  </a:lnTo>
                  <a:lnTo>
                    <a:pt x="310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2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3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4" y="61"/>
                  </a:lnTo>
                  <a:lnTo>
                    <a:pt x="319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3" y="66"/>
                  </a:lnTo>
                  <a:lnTo>
                    <a:pt x="323" y="66"/>
                  </a:lnTo>
                  <a:lnTo>
                    <a:pt x="326" y="68"/>
                  </a:lnTo>
                  <a:lnTo>
                    <a:pt x="326" y="68"/>
                  </a:lnTo>
                  <a:lnTo>
                    <a:pt x="328" y="70"/>
                  </a:lnTo>
                  <a:lnTo>
                    <a:pt x="330" y="72"/>
                  </a:lnTo>
                  <a:lnTo>
                    <a:pt x="330" y="72"/>
                  </a:lnTo>
                  <a:lnTo>
                    <a:pt x="330" y="72"/>
                  </a:lnTo>
                  <a:lnTo>
                    <a:pt x="330" y="75"/>
                  </a:lnTo>
                  <a:lnTo>
                    <a:pt x="335" y="75"/>
                  </a:lnTo>
                  <a:lnTo>
                    <a:pt x="337" y="75"/>
                  </a:lnTo>
                  <a:lnTo>
                    <a:pt x="341" y="75"/>
                  </a:lnTo>
                  <a:lnTo>
                    <a:pt x="344" y="75"/>
                  </a:lnTo>
                  <a:lnTo>
                    <a:pt x="346" y="75"/>
                  </a:lnTo>
                  <a:lnTo>
                    <a:pt x="346" y="75"/>
                  </a:lnTo>
                  <a:lnTo>
                    <a:pt x="348" y="75"/>
                  </a:lnTo>
                  <a:lnTo>
                    <a:pt x="348" y="75"/>
                  </a:lnTo>
                  <a:lnTo>
                    <a:pt x="348" y="75"/>
                  </a:lnTo>
                  <a:lnTo>
                    <a:pt x="348" y="75"/>
                  </a:lnTo>
                  <a:lnTo>
                    <a:pt x="348" y="75"/>
                  </a:lnTo>
                  <a:lnTo>
                    <a:pt x="348" y="77"/>
                  </a:lnTo>
                  <a:lnTo>
                    <a:pt x="348" y="77"/>
                  </a:lnTo>
                  <a:lnTo>
                    <a:pt x="348" y="77"/>
                  </a:lnTo>
                  <a:lnTo>
                    <a:pt x="348" y="77"/>
                  </a:lnTo>
                  <a:lnTo>
                    <a:pt x="348" y="77"/>
                  </a:lnTo>
                  <a:lnTo>
                    <a:pt x="348" y="77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81"/>
                  </a:lnTo>
                  <a:lnTo>
                    <a:pt x="348" y="81"/>
                  </a:lnTo>
                  <a:lnTo>
                    <a:pt x="348" y="81"/>
                  </a:lnTo>
                  <a:lnTo>
                    <a:pt x="348" y="81"/>
                  </a:lnTo>
                  <a:lnTo>
                    <a:pt x="348" y="81"/>
                  </a:lnTo>
                  <a:lnTo>
                    <a:pt x="348" y="81"/>
                  </a:lnTo>
                  <a:lnTo>
                    <a:pt x="348" y="81"/>
                  </a:lnTo>
                  <a:lnTo>
                    <a:pt x="350" y="81"/>
                  </a:lnTo>
                  <a:lnTo>
                    <a:pt x="350" y="81"/>
                  </a:lnTo>
                  <a:lnTo>
                    <a:pt x="350" y="81"/>
                  </a:lnTo>
                  <a:lnTo>
                    <a:pt x="350" y="81"/>
                  </a:lnTo>
                  <a:lnTo>
                    <a:pt x="350" y="84"/>
                  </a:lnTo>
                  <a:lnTo>
                    <a:pt x="350" y="84"/>
                  </a:lnTo>
                  <a:lnTo>
                    <a:pt x="350" y="84"/>
                  </a:lnTo>
                  <a:lnTo>
                    <a:pt x="350" y="86"/>
                  </a:lnTo>
                  <a:lnTo>
                    <a:pt x="350" y="86"/>
                  </a:lnTo>
                  <a:lnTo>
                    <a:pt x="350" y="86"/>
                  </a:lnTo>
                  <a:lnTo>
                    <a:pt x="350" y="86"/>
                  </a:lnTo>
                  <a:lnTo>
                    <a:pt x="350" y="86"/>
                  </a:lnTo>
                  <a:lnTo>
                    <a:pt x="350" y="86"/>
                  </a:lnTo>
                  <a:lnTo>
                    <a:pt x="350" y="86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88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0" y="90"/>
                  </a:lnTo>
                  <a:lnTo>
                    <a:pt x="353" y="90"/>
                  </a:lnTo>
                  <a:lnTo>
                    <a:pt x="353" y="90"/>
                  </a:lnTo>
                  <a:lnTo>
                    <a:pt x="353" y="90"/>
                  </a:lnTo>
                  <a:lnTo>
                    <a:pt x="353" y="93"/>
                  </a:lnTo>
                  <a:lnTo>
                    <a:pt x="353" y="93"/>
                  </a:lnTo>
                  <a:lnTo>
                    <a:pt x="353" y="93"/>
                  </a:lnTo>
                  <a:lnTo>
                    <a:pt x="353" y="93"/>
                  </a:lnTo>
                  <a:lnTo>
                    <a:pt x="353" y="93"/>
                  </a:lnTo>
                  <a:lnTo>
                    <a:pt x="353" y="95"/>
                  </a:lnTo>
                  <a:lnTo>
                    <a:pt x="353" y="95"/>
                  </a:lnTo>
                  <a:lnTo>
                    <a:pt x="353" y="95"/>
                  </a:lnTo>
                  <a:lnTo>
                    <a:pt x="353" y="95"/>
                  </a:lnTo>
                  <a:lnTo>
                    <a:pt x="353" y="95"/>
                  </a:lnTo>
                  <a:lnTo>
                    <a:pt x="355" y="95"/>
                  </a:lnTo>
                  <a:lnTo>
                    <a:pt x="355" y="95"/>
                  </a:lnTo>
                  <a:lnTo>
                    <a:pt x="353" y="97"/>
                  </a:lnTo>
                  <a:lnTo>
                    <a:pt x="353" y="97"/>
                  </a:lnTo>
                  <a:lnTo>
                    <a:pt x="353" y="97"/>
                  </a:lnTo>
                  <a:lnTo>
                    <a:pt x="355" y="97"/>
                  </a:lnTo>
                  <a:lnTo>
                    <a:pt x="355" y="97"/>
                  </a:lnTo>
                  <a:lnTo>
                    <a:pt x="355" y="99"/>
                  </a:lnTo>
                  <a:lnTo>
                    <a:pt x="355" y="99"/>
                  </a:lnTo>
                  <a:lnTo>
                    <a:pt x="355" y="99"/>
                  </a:lnTo>
                  <a:lnTo>
                    <a:pt x="355" y="99"/>
                  </a:lnTo>
                  <a:lnTo>
                    <a:pt x="355" y="102"/>
                  </a:lnTo>
                  <a:lnTo>
                    <a:pt x="355" y="102"/>
                  </a:lnTo>
                  <a:lnTo>
                    <a:pt x="355" y="102"/>
                  </a:lnTo>
                  <a:lnTo>
                    <a:pt x="355" y="102"/>
                  </a:lnTo>
                  <a:lnTo>
                    <a:pt x="355" y="102"/>
                  </a:lnTo>
                  <a:lnTo>
                    <a:pt x="355" y="104"/>
                  </a:lnTo>
                  <a:lnTo>
                    <a:pt x="355" y="104"/>
                  </a:lnTo>
                  <a:lnTo>
                    <a:pt x="355" y="104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5" y="106"/>
                  </a:lnTo>
                  <a:lnTo>
                    <a:pt x="353" y="106"/>
                  </a:lnTo>
                  <a:lnTo>
                    <a:pt x="353" y="106"/>
                  </a:lnTo>
                  <a:lnTo>
                    <a:pt x="353" y="106"/>
                  </a:lnTo>
                  <a:lnTo>
                    <a:pt x="353" y="106"/>
                  </a:lnTo>
                  <a:lnTo>
                    <a:pt x="353" y="108"/>
                  </a:lnTo>
                  <a:lnTo>
                    <a:pt x="353" y="108"/>
                  </a:lnTo>
                  <a:lnTo>
                    <a:pt x="353" y="108"/>
                  </a:lnTo>
                  <a:lnTo>
                    <a:pt x="353" y="108"/>
                  </a:lnTo>
                  <a:lnTo>
                    <a:pt x="353" y="108"/>
                  </a:lnTo>
                  <a:lnTo>
                    <a:pt x="353" y="108"/>
                  </a:lnTo>
                  <a:lnTo>
                    <a:pt x="353" y="108"/>
                  </a:lnTo>
                  <a:lnTo>
                    <a:pt x="355" y="108"/>
                  </a:lnTo>
                  <a:lnTo>
                    <a:pt x="355" y="108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3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3" y="120"/>
                  </a:lnTo>
                  <a:lnTo>
                    <a:pt x="353" y="120"/>
                  </a:lnTo>
                  <a:lnTo>
                    <a:pt x="353" y="120"/>
                  </a:lnTo>
                  <a:lnTo>
                    <a:pt x="353" y="120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3" y="122"/>
                  </a:lnTo>
                  <a:lnTo>
                    <a:pt x="350" y="122"/>
                  </a:lnTo>
                  <a:lnTo>
                    <a:pt x="350" y="124"/>
                  </a:lnTo>
                  <a:lnTo>
                    <a:pt x="350" y="124"/>
                  </a:lnTo>
                  <a:lnTo>
                    <a:pt x="350" y="124"/>
                  </a:lnTo>
                  <a:lnTo>
                    <a:pt x="348" y="124"/>
                  </a:lnTo>
                  <a:lnTo>
                    <a:pt x="348" y="124"/>
                  </a:lnTo>
                  <a:lnTo>
                    <a:pt x="348" y="124"/>
                  </a:lnTo>
                  <a:lnTo>
                    <a:pt x="350" y="124"/>
                  </a:lnTo>
                  <a:lnTo>
                    <a:pt x="350" y="124"/>
                  </a:lnTo>
                  <a:lnTo>
                    <a:pt x="350" y="124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53" y="126"/>
                  </a:lnTo>
                  <a:lnTo>
                    <a:pt x="353" y="129"/>
                  </a:lnTo>
                  <a:lnTo>
                    <a:pt x="353" y="129"/>
                  </a:lnTo>
                  <a:lnTo>
                    <a:pt x="353" y="129"/>
                  </a:lnTo>
                  <a:lnTo>
                    <a:pt x="350" y="129"/>
                  </a:lnTo>
                  <a:lnTo>
                    <a:pt x="348" y="129"/>
                  </a:lnTo>
                  <a:lnTo>
                    <a:pt x="348" y="131"/>
                  </a:lnTo>
                  <a:lnTo>
                    <a:pt x="348" y="131"/>
                  </a:lnTo>
                  <a:lnTo>
                    <a:pt x="348" y="131"/>
                  </a:lnTo>
                  <a:lnTo>
                    <a:pt x="348" y="131"/>
                  </a:lnTo>
                  <a:lnTo>
                    <a:pt x="346" y="133"/>
                  </a:lnTo>
                  <a:lnTo>
                    <a:pt x="346" y="133"/>
                  </a:lnTo>
                  <a:lnTo>
                    <a:pt x="346" y="135"/>
                  </a:lnTo>
                  <a:lnTo>
                    <a:pt x="348" y="138"/>
                  </a:lnTo>
                  <a:lnTo>
                    <a:pt x="348" y="140"/>
                  </a:lnTo>
                  <a:lnTo>
                    <a:pt x="348" y="142"/>
                  </a:lnTo>
                  <a:lnTo>
                    <a:pt x="348" y="142"/>
                  </a:lnTo>
                  <a:lnTo>
                    <a:pt x="348" y="144"/>
                  </a:lnTo>
                  <a:lnTo>
                    <a:pt x="350" y="144"/>
                  </a:lnTo>
                  <a:lnTo>
                    <a:pt x="350" y="147"/>
                  </a:lnTo>
                  <a:lnTo>
                    <a:pt x="353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57" y="147"/>
                  </a:lnTo>
                  <a:lnTo>
                    <a:pt x="357" y="147"/>
                  </a:lnTo>
                  <a:lnTo>
                    <a:pt x="357" y="147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7" y="151"/>
                  </a:lnTo>
                  <a:lnTo>
                    <a:pt x="357" y="151"/>
                  </a:lnTo>
                  <a:lnTo>
                    <a:pt x="357" y="151"/>
                  </a:lnTo>
                  <a:lnTo>
                    <a:pt x="357" y="151"/>
                  </a:lnTo>
                  <a:lnTo>
                    <a:pt x="355" y="151"/>
                  </a:lnTo>
                  <a:lnTo>
                    <a:pt x="355" y="153"/>
                  </a:lnTo>
                  <a:lnTo>
                    <a:pt x="355" y="153"/>
                  </a:lnTo>
                  <a:lnTo>
                    <a:pt x="353" y="156"/>
                  </a:lnTo>
                  <a:lnTo>
                    <a:pt x="353" y="158"/>
                  </a:lnTo>
                  <a:lnTo>
                    <a:pt x="353" y="158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55" y="162"/>
                  </a:lnTo>
                  <a:lnTo>
                    <a:pt x="355" y="165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71"/>
                  </a:lnTo>
                  <a:lnTo>
                    <a:pt x="362" y="176"/>
                  </a:lnTo>
                  <a:lnTo>
                    <a:pt x="362" y="178"/>
                  </a:lnTo>
                  <a:lnTo>
                    <a:pt x="362" y="180"/>
                  </a:lnTo>
                  <a:lnTo>
                    <a:pt x="362" y="183"/>
                  </a:lnTo>
                  <a:lnTo>
                    <a:pt x="362" y="183"/>
                  </a:lnTo>
                  <a:lnTo>
                    <a:pt x="362" y="183"/>
                  </a:lnTo>
                  <a:lnTo>
                    <a:pt x="362" y="183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2" y="185"/>
                  </a:lnTo>
                  <a:lnTo>
                    <a:pt x="364" y="187"/>
                  </a:lnTo>
                  <a:lnTo>
                    <a:pt x="364" y="189"/>
                  </a:lnTo>
                  <a:lnTo>
                    <a:pt x="364" y="192"/>
                  </a:lnTo>
                  <a:lnTo>
                    <a:pt x="364" y="192"/>
                  </a:lnTo>
                  <a:lnTo>
                    <a:pt x="364" y="194"/>
                  </a:lnTo>
                  <a:lnTo>
                    <a:pt x="364" y="194"/>
                  </a:lnTo>
                  <a:lnTo>
                    <a:pt x="366" y="196"/>
                  </a:lnTo>
                  <a:lnTo>
                    <a:pt x="366" y="196"/>
                  </a:lnTo>
                  <a:lnTo>
                    <a:pt x="368" y="196"/>
                  </a:lnTo>
                  <a:lnTo>
                    <a:pt x="371" y="198"/>
                  </a:lnTo>
                  <a:lnTo>
                    <a:pt x="375" y="198"/>
                  </a:lnTo>
                  <a:lnTo>
                    <a:pt x="379" y="198"/>
                  </a:lnTo>
                  <a:lnTo>
                    <a:pt x="382" y="198"/>
                  </a:lnTo>
                  <a:lnTo>
                    <a:pt x="384" y="198"/>
                  </a:lnTo>
                  <a:lnTo>
                    <a:pt x="384" y="201"/>
                  </a:lnTo>
                  <a:lnTo>
                    <a:pt x="384" y="201"/>
                  </a:lnTo>
                  <a:lnTo>
                    <a:pt x="384" y="201"/>
                  </a:lnTo>
                  <a:lnTo>
                    <a:pt x="384" y="203"/>
                  </a:lnTo>
                  <a:lnTo>
                    <a:pt x="384" y="203"/>
                  </a:lnTo>
                  <a:lnTo>
                    <a:pt x="384" y="203"/>
                  </a:lnTo>
                  <a:lnTo>
                    <a:pt x="386" y="203"/>
                  </a:lnTo>
                  <a:lnTo>
                    <a:pt x="386" y="205"/>
                  </a:lnTo>
                  <a:lnTo>
                    <a:pt x="386" y="205"/>
                  </a:lnTo>
                  <a:lnTo>
                    <a:pt x="386" y="205"/>
                  </a:lnTo>
                  <a:lnTo>
                    <a:pt x="386" y="205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07"/>
                  </a:lnTo>
                  <a:lnTo>
                    <a:pt x="386" y="210"/>
                  </a:lnTo>
                  <a:lnTo>
                    <a:pt x="386" y="210"/>
                  </a:lnTo>
                  <a:lnTo>
                    <a:pt x="388" y="212"/>
                  </a:lnTo>
                  <a:lnTo>
                    <a:pt x="386" y="212"/>
                  </a:lnTo>
                  <a:lnTo>
                    <a:pt x="386" y="212"/>
                  </a:lnTo>
                  <a:lnTo>
                    <a:pt x="386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6" y="212"/>
                  </a:lnTo>
                  <a:lnTo>
                    <a:pt x="386" y="214"/>
                  </a:lnTo>
                  <a:lnTo>
                    <a:pt x="384" y="216"/>
                  </a:lnTo>
                  <a:lnTo>
                    <a:pt x="382" y="221"/>
                  </a:lnTo>
                  <a:lnTo>
                    <a:pt x="382" y="221"/>
                  </a:lnTo>
                  <a:lnTo>
                    <a:pt x="382" y="223"/>
                  </a:lnTo>
                  <a:lnTo>
                    <a:pt x="379" y="225"/>
                  </a:lnTo>
                  <a:lnTo>
                    <a:pt x="377" y="225"/>
                  </a:lnTo>
                  <a:lnTo>
                    <a:pt x="377" y="227"/>
                  </a:lnTo>
                  <a:lnTo>
                    <a:pt x="375" y="232"/>
                  </a:lnTo>
                  <a:lnTo>
                    <a:pt x="375" y="232"/>
                  </a:lnTo>
                  <a:lnTo>
                    <a:pt x="373" y="234"/>
                  </a:lnTo>
                  <a:lnTo>
                    <a:pt x="373" y="234"/>
                  </a:lnTo>
                  <a:lnTo>
                    <a:pt x="375" y="236"/>
                  </a:lnTo>
                  <a:lnTo>
                    <a:pt x="375" y="239"/>
                  </a:lnTo>
                  <a:lnTo>
                    <a:pt x="377" y="241"/>
                  </a:lnTo>
                  <a:lnTo>
                    <a:pt x="379" y="241"/>
                  </a:lnTo>
                  <a:lnTo>
                    <a:pt x="379" y="243"/>
                  </a:lnTo>
                  <a:lnTo>
                    <a:pt x="382" y="245"/>
                  </a:lnTo>
                  <a:lnTo>
                    <a:pt x="384" y="245"/>
                  </a:lnTo>
                  <a:lnTo>
                    <a:pt x="384" y="245"/>
                  </a:lnTo>
                  <a:lnTo>
                    <a:pt x="384" y="248"/>
                  </a:lnTo>
                  <a:lnTo>
                    <a:pt x="384" y="248"/>
                  </a:lnTo>
                  <a:lnTo>
                    <a:pt x="384" y="248"/>
                  </a:lnTo>
                  <a:lnTo>
                    <a:pt x="384" y="248"/>
                  </a:lnTo>
                  <a:lnTo>
                    <a:pt x="384" y="250"/>
                  </a:lnTo>
                  <a:lnTo>
                    <a:pt x="384" y="250"/>
                  </a:lnTo>
                  <a:lnTo>
                    <a:pt x="386" y="250"/>
                  </a:lnTo>
                  <a:lnTo>
                    <a:pt x="386" y="250"/>
                  </a:lnTo>
                  <a:lnTo>
                    <a:pt x="386" y="250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2"/>
                  </a:lnTo>
                  <a:lnTo>
                    <a:pt x="386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88" y="254"/>
                  </a:lnTo>
                  <a:lnTo>
                    <a:pt x="391" y="257"/>
                  </a:lnTo>
                  <a:lnTo>
                    <a:pt x="391" y="259"/>
                  </a:lnTo>
                  <a:lnTo>
                    <a:pt x="391" y="259"/>
                  </a:lnTo>
                  <a:lnTo>
                    <a:pt x="391" y="259"/>
                  </a:lnTo>
                  <a:lnTo>
                    <a:pt x="391" y="259"/>
                  </a:lnTo>
                  <a:lnTo>
                    <a:pt x="391" y="261"/>
                  </a:lnTo>
                  <a:lnTo>
                    <a:pt x="393" y="261"/>
                  </a:lnTo>
                  <a:lnTo>
                    <a:pt x="395" y="263"/>
                  </a:lnTo>
                  <a:lnTo>
                    <a:pt x="395" y="263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397" y="266"/>
                  </a:lnTo>
                  <a:lnTo>
                    <a:pt x="400" y="268"/>
                  </a:lnTo>
                  <a:lnTo>
                    <a:pt x="400" y="268"/>
                  </a:lnTo>
                  <a:lnTo>
                    <a:pt x="402" y="268"/>
                  </a:lnTo>
                  <a:lnTo>
                    <a:pt x="402" y="268"/>
                  </a:lnTo>
                  <a:lnTo>
                    <a:pt x="404" y="268"/>
                  </a:lnTo>
                  <a:lnTo>
                    <a:pt x="404" y="268"/>
                  </a:lnTo>
                  <a:lnTo>
                    <a:pt x="409" y="270"/>
                  </a:lnTo>
                  <a:lnTo>
                    <a:pt x="409" y="270"/>
                  </a:lnTo>
                  <a:lnTo>
                    <a:pt x="409" y="270"/>
                  </a:lnTo>
                  <a:lnTo>
                    <a:pt x="409" y="270"/>
                  </a:lnTo>
                  <a:lnTo>
                    <a:pt x="409" y="270"/>
                  </a:lnTo>
                  <a:lnTo>
                    <a:pt x="409" y="270"/>
                  </a:lnTo>
                  <a:lnTo>
                    <a:pt x="411" y="270"/>
                  </a:lnTo>
                  <a:lnTo>
                    <a:pt x="411" y="270"/>
                  </a:lnTo>
                  <a:lnTo>
                    <a:pt x="411" y="272"/>
                  </a:lnTo>
                  <a:lnTo>
                    <a:pt x="411" y="272"/>
                  </a:lnTo>
                  <a:lnTo>
                    <a:pt x="411" y="272"/>
                  </a:lnTo>
                  <a:lnTo>
                    <a:pt x="413" y="275"/>
                  </a:lnTo>
                  <a:lnTo>
                    <a:pt x="413" y="275"/>
                  </a:lnTo>
                  <a:lnTo>
                    <a:pt x="415" y="272"/>
                  </a:lnTo>
                  <a:lnTo>
                    <a:pt x="418" y="275"/>
                  </a:lnTo>
                  <a:lnTo>
                    <a:pt x="418" y="275"/>
                  </a:lnTo>
                  <a:lnTo>
                    <a:pt x="418" y="277"/>
                  </a:lnTo>
                  <a:lnTo>
                    <a:pt x="418" y="279"/>
                  </a:lnTo>
                  <a:lnTo>
                    <a:pt x="418" y="281"/>
                  </a:lnTo>
                  <a:lnTo>
                    <a:pt x="418" y="284"/>
                  </a:lnTo>
                  <a:lnTo>
                    <a:pt x="420" y="286"/>
                  </a:lnTo>
                  <a:lnTo>
                    <a:pt x="420" y="286"/>
                  </a:lnTo>
                  <a:lnTo>
                    <a:pt x="420" y="288"/>
                  </a:lnTo>
                  <a:lnTo>
                    <a:pt x="420" y="290"/>
                  </a:lnTo>
                  <a:lnTo>
                    <a:pt x="420" y="290"/>
                  </a:lnTo>
                  <a:lnTo>
                    <a:pt x="420" y="293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20" y="295"/>
                  </a:lnTo>
                  <a:lnTo>
                    <a:pt x="420" y="297"/>
                  </a:lnTo>
                  <a:lnTo>
                    <a:pt x="420" y="297"/>
                  </a:lnTo>
                  <a:lnTo>
                    <a:pt x="420" y="297"/>
                  </a:lnTo>
                  <a:lnTo>
                    <a:pt x="420" y="297"/>
                  </a:lnTo>
                  <a:lnTo>
                    <a:pt x="420" y="297"/>
                  </a:lnTo>
                  <a:lnTo>
                    <a:pt x="420" y="297"/>
                  </a:lnTo>
                  <a:lnTo>
                    <a:pt x="422" y="297"/>
                  </a:lnTo>
                  <a:lnTo>
                    <a:pt x="422" y="297"/>
                  </a:lnTo>
                  <a:lnTo>
                    <a:pt x="422" y="297"/>
                  </a:lnTo>
                  <a:lnTo>
                    <a:pt x="422" y="297"/>
                  </a:lnTo>
                  <a:lnTo>
                    <a:pt x="422" y="297"/>
                  </a:lnTo>
                  <a:lnTo>
                    <a:pt x="422" y="297"/>
                  </a:lnTo>
                  <a:lnTo>
                    <a:pt x="422" y="297"/>
                  </a:lnTo>
                  <a:lnTo>
                    <a:pt x="424" y="297"/>
                  </a:lnTo>
                  <a:lnTo>
                    <a:pt x="424" y="297"/>
                  </a:lnTo>
                  <a:lnTo>
                    <a:pt x="424" y="297"/>
                  </a:lnTo>
                  <a:lnTo>
                    <a:pt x="427" y="297"/>
                  </a:lnTo>
                  <a:lnTo>
                    <a:pt x="427" y="297"/>
                  </a:lnTo>
                  <a:lnTo>
                    <a:pt x="427" y="297"/>
                  </a:lnTo>
                  <a:lnTo>
                    <a:pt x="427" y="297"/>
                  </a:lnTo>
                  <a:lnTo>
                    <a:pt x="429" y="297"/>
                  </a:lnTo>
                  <a:lnTo>
                    <a:pt x="429" y="297"/>
                  </a:lnTo>
                  <a:lnTo>
                    <a:pt x="429" y="297"/>
                  </a:lnTo>
                  <a:lnTo>
                    <a:pt x="429" y="297"/>
                  </a:lnTo>
                  <a:lnTo>
                    <a:pt x="429" y="297"/>
                  </a:lnTo>
                  <a:lnTo>
                    <a:pt x="431" y="297"/>
                  </a:lnTo>
                  <a:lnTo>
                    <a:pt x="431" y="297"/>
                  </a:lnTo>
                  <a:lnTo>
                    <a:pt x="431" y="299"/>
                  </a:lnTo>
                  <a:lnTo>
                    <a:pt x="431" y="299"/>
                  </a:lnTo>
                  <a:lnTo>
                    <a:pt x="431" y="299"/>
                  </a:lnTo>
                  <a:lnTo>
                    <a:pt x="431" y="299"/>
                  </a:lnTo>
                  <a:lnTo>
                    <a:pt x="431" y="299"/>
                  </a:lnTo>
                  <a:lnTo>
                    <a:pt x="431" y="299"/>
                  </a:lnTo>
                  <a:lnTo>
                    <a:pt x="431" y="302"/>
                  </a:lnTo>
                  <a:lnTo>
                    <a:pt x="431" y="302"/>
                  </a:lnTo>
                  <a:lnTo>
                    <a:pt x="431" y="302"/>
                  </a:lnTo>
                  <a:lnTo>
                    <a:pt x="431" y="302"/>
                  </a:lnTo>
                  <a:lnTo>
                    <a:pt x="431" y="302"/>
                  </a:lnTo>
                  <a:lnTo>
                    <a:pt x="431" y="304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31" y="308"/>
                  </a:lnTo>
                  <a:lnTo>
                    <a:pt x="431" y="311"/>
                  </a:lnTo>
                  <a:lnTo>
                    <a:pt x="431" y="311"/>
                  </a:lnTo>
                  <a:lnTo>
                    <a:pt x="429" y="313"/>
                  </a:lnTo>
                  <a:lnTo>
                    <a:pt x="429" y="313"/>
                  </a:lnTo>
                  <a:lnTo>
                    <a:pt x="429" y="313"/>
                  </a:lnTo>
                  <a:lnTo>
                    <a:pt x="429" y="313"/>
                  </a:lnTo>
                  <a:lnTo>
                    <a:pt x="429" y="313"/>
                  </a:lnTo>
                  <a:lnTo>
                    <a:pt x="429" y="313"/>
                  </a:lnTo>
                  <a:lnTo>
                    <a:pt x="429" y="313"/>
                  </a:lnTo>
                  <a:lnTo>
                    <a:pt x="427" y="313"/>
                  </a:lnTo>
                  <a:lnTo>
                    <a:pt x="427" y="313"/>
                  </a:lnTo>
                  <a:lnTo>
                    <a:pt x="424" y="313"/>
                  </a:lnTo>
                  <a:lnTo>
                    <a:pt x="424" y="311"/>
                  </a:lnTo>
                  <a:lnTo>
                    <a:pt x="422" y="311"/>
                  </a:lnTo>
                  <a:lnTo>
                    <a:pt x="422" y="313"/>
                  </a:lnTo>
                  <a:lnTo>
                    <a:pt x="422" y="313"/>
                  </a:lnTo>
                  <a:lnTo>
                    <a:pt x="422" y="313"/>
                  </a:lnTo>
                  <a:lnTo>
                    <a:pt x="422" y="313"/>
                  </a:lnTo>
                  <a:lnTo>
                    <a:pt x="422" y="313"/>
                  </a:lnTo>
                  <a:lnTo>
                    <a:pt x="422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20" y="313"/>
                  </a:lnTo>
                  <a:lnTo>
                    <a:pt x="415" y="313"/>
                  </a:lnTo>
                  <a:lnTo>
                    <a:pt x="415" y="313"/>
                  </a:lnTo>
                  <a:lnTo>
                    <a:pt x="415" y="313"/>
                  </a:lnTo>
                  <a:lnTo>
                    <a:pt x="415" y="315"/>
                  </a:lnTo>
                  <a:lnTo>
                    <a:pt x="415" y="315"/>
                  </a:lnTo>
                  <a:lnTo>
                    <a:pt x="415" y="315"/>
                  </a:lnTo>
                  <a:lnTo>
                    <a:pt x="415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20"/>
                  </a:lnTo>
                  <a:lnTo>
                    <a:pt x="411" y="320"/>
                  </a:lnTo>
                  <a:lnTo>
                    <a:pt x="411" y="317"/>
                  </a:lnTo>
                  <a:lnTo>
                    <a:pt x="411" y="317"/>
                  </a:lnTo>
                  <a:lnTo>
                    <a:pt x="409" y="320"/>
                  </a:lnTo>
                  <a:lnTo>
                    <a:pt x="409" y="320"/>
                  </a:lnTo>
                  <a:lnTo>
                    <a:pt x="409" y="320"/>
                  </a:lnTo>
                  <a:lnTo>
                    <a:pt x="409" y="320"/>
                  </a:lnTo>
                  <a:lnTo>
                    <a:pt x="409" y="320"/>
                  </a:lnTo>
                  <a:lnTo>
                    <a:pt x="409" y="320"/>
                  </a:lnTo>
                  <a:lnTo>
                    <a:pt x="406" y="320"/>
                  </a:lnTo>
                  <a:lnTo>
                    <a:pt x="404" y="322"/>
                  </a:lnTo>
                  <a:lnTo>
                    <a:pt x="404" y="322"/>
                  </a:lnTo>
                  <a:lnTo>
                    <a:pt x="404" y="322"/>
                  </a:lnTo>
                  <a:lnTo>
                    <a:pt x="404" y="324"/>
                  </a:lnTo>
                  <a:lnTo>
                    <a:pt x="404" y="324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9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2" y="331"/>
                  </a:lnTo>
                  <a:lnTo>
                    <a:pt x="402" y="333"/>
                  </a:lnTo>
                  <a:lnTo>
                    <a:pt x="402" y="333"/>
                  </a:lnTo>
                  <a:lnTo>
                    <a:pt x="402" y="335"/>
                  </a:lnTo>
                  <a:lnTo>
                    <a:pt x="402" y="335"/>
                  </a:lnTo>
                  <a:lnTo>
                    <a:pt x="402" y="335"/>
                  </a:lnTo>
                  <a:lnTo>
                    <a:pt x="402" y="335"/>
                  </a:lnTo>
                  <a:lnTo>
                    <a:pt x="402" y="335"/>
                  </a:lnTo>
                  <a:lnTo>
                    <a:pt x="402" y="335"/>
                  </a:lnTo>
                  <a:lnTo>
                    <a:pt x="402" y="338"/>
                  </a:lnTo>
                  <a:lnTo>
                    <a:pt x="402" y="340"/>
                  </a:lnTo>
                  <a:lnTo>
                    <a:pt x="402" y="342"/>
                  </a:lnTo>
                  <a:lnTo>
                    <a:pt x="404" y="344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0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9"/>
                  </a:lnTo>
                  <a:lnTo>
                    <a:pt x="402" y="349"/>
                  </a:lnTo>
                  <a:lnTo>
                    <a:pt x="402" y="349"/>
                  </a:lnTo>
                  <a:lnTo>
                    <a:pt x="400" y="349"/>
                  </a:lnTo>
                  <a:lnTo>
                    <a:pt x="400" y="349"/>
                  </a:lnTo>
                  <a:lnTo>
                    <a:pt x="400" y="349"/>
                  </a:lnTo>
                  <a:lnTo>
                    <a:pt x="400" y="349"/>
                  </a:lnTo>
                  <a:lnTo>
                    <a:pt x="395" y="349"/>
                  </a:lnTo>
                  <a:lnTo>
                    <a:pt x="395" y="349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88" y="344"/>
                  </a:lnTo>
                  <a:lnTo>
                    <a:pt x="384" y="344"/>
                  </a:lnTo>
                  <a:lnTo>
                    <a:pt x="384" y="344"/>
                  </a:lnTo>
                  <a:lnTo>
                    <a:pt x="382" y="344"/>
                  </a:lnTo>
                  <a:lnTo>
                    <a:pt x="382" y="344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0"/>
                  </a:lnTo>
                  <a:lnTo>
                    <a:pt x="382" y="340"/>
                  </a:lnTo>
                  <a:lnTo>
                    <a:pt x="379" y="340"/>
                  </a:lnTo>
                  <a:lnTo>
                    <a:pt x="379" y="340"/>
                  </a:lnTo>
                  <a:lnTo>
                    <a:pt x="379" y="340"/>
                  </a:lnTo>
                  <a:lnTo>
                    <a:pt x="377" y="340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77" y="344"/>
                  </a:lnTo>
                  <a:lnTo>
                    <a:pt x="377" y="342"/>
                  </a:lnTo>
                  <a:lnTo>
                    <a:pt x="377" y="342"/>
                  </a:lnTo>
                  <a:lnTo>
                    <a:pt x="375" y="342"/>
                  </a:lnTo>
                  <a:lnTo>
                    <a:pt x="375" y="342"/>
                  </a:lnTo>
                  <a:lnTo>
                    <a:pt x="375" y="342"/>
                  </a:lnTo>
                  <a:lnTo>
                    <a:pt x="375" y="342"/>
                  </a:lnTo>
                  <a:lnTo>
                    <a:pt x="375" y="342"/>
                  </a:lnTo>
                  <a:lnTo>
                    <a:pt x="375" y="342"/>
                  </a:lnTo>
                  <a:lnTo>
                    <a:pt x="375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4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3" y="342"/>
                  </a:lnTo>
                  <a:lnTo>
                    <a:pt x="371" y="342"/>
                  </a:lnTo>
                  <a:lnTo>
                    <a:pt x="371" y="342"/>
                  </a:lnTo>
                  <a:lnTo>
                    <a:pt x="371" y="342"/>
                  </a:lnTo>
                  <a:lnTo>
                    <a:pt x="371" y="342"/>
                  </a:lnTo>
                  <a:lnTo>
                    <a:pt x="371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6" y="342"/>
                  </a:lnTo>
                  <a:lnTo>
                    <a:pt x="366" y="342"/>
                  </a:lnTo>
                  <a:lnTo>
                    <a:pt x="366" y="342"/>
                  </a:lnTo>
                  <a:lnTo>
                    <a:pt x="366" y="342"/>
                  </a:lnTo>
                  <a:lnTo>
                    <a:pt x="362" y="342"/>
                  </a:lnTo>
                  <a:lnTo>
                    <a:pt x="362" y="342"/>
                  </a:lnTo>
                  <a:lnTo>
                    <a:pt x="362" y="342"/>
                  </a:lnTo>
                  <a:lnTo>
                    <a:pt x="359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3" y="340"/>
                  </a:lnTo>
                  <a:lnTo>
                    <a:pt x="353" y="342"/>
                  </a:lnTo>
                  <a:lnTo>
                    <a:pt x="353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48" y="340"/>
                  </a:lnTo>
                  <a:lnTo>
                    <a:pt x="348" y="340"/>
                  </a:lnTo>
                  <a:lnTo>
                    <a:pt x="348" y="338"/>
                  </a:lnTo>
                  <a:lnTo>
                    <a:pt x="346" y="338"/>
                  </a:lnTo>
                  <a:lnTo>
                    <a:pt x="346" y="338"/>
                  </a:lnTo>
                  <a:lnTo>
                    <a:pt x="346" y="338"/>
                  </a:lnTo>
                  <a:lnTo>
                    <a:pt x="346" y="338"/>
                  </a:lnTo>
                  <a:lnTo>
                    <a:pt x="346" y="338"/>
                  </a:lnTo>
                  <a:lnTo>
                    <a:pt x="346" y="338"/>
                  </a:lnTo>
                  <a:lnTo>
                    <a:pt x="346" y="338"/>
                  </a:lnTo>
                  <a:lnTo>
                    <a:pt x="344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7" y="338"/>
                  </a:lnTo>
                  <a:lnTo>
                    <a:pt x="337" y="338"/>
                  </a:lnTo>
                  <a:lnTo>
                    <a:pt x="337" y="335"/>
                  </a:lnTo>
                  <a:lnTo>
                    <a:pt x="337" y="335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5" y="338"/>
                  </a:lnTo>
                  <a:lnTo>
                    <a:pt x="332" y="338"/>
                  </a:lnTo>
                  <a:lnTo>
                    <a:pt x="332" y="338"/>
                  </a:lnTo>
                  <a:lnTo>
                    <a:pt x="332" y="338"/>
                  </a:lnTo>
                  <a:lnTo>
                    <a:pt x="332" y="338"/>
                  </a:lnTo>
                  <a:lnTo>
                    <a:pt x="332" y="338"/>
                  </a:lnTo>
                  <a:lnTo>
                    <a:pt x="330" y="338"/>
                  </a:lnTo>
                  <a:lnTo>
                    <a:pt x="330" y="338"/>
                  </a:lnTo>
                  <a:lnTo>
                    <a:pt x="330" y="338"/>
                  </a:lnTo>
                  <a:lnTo>
                    <a:pt x="330" y="338"/>
                  </a:lnTo>
                  <a:lnTo>
                    <a:pt x="328" y="338"/>
                  </a:lnTo>
                  <a:lnTo>
                    <a:pt x="328" y="335"/>
                  </a:lnTo>
                  <a:lnTo>
                    <a:pt x="328" y="335"/>
                  </a:lnTo>
                  <a:lnTo>
                    <a:pt x="326" y="335"/>
                  </a:lnTo>
                  <a:lnTo>
                    <a:pt x="326" y="335"/>
                  </a:lnTo>
                  <a:lnTo>
                    <a:pt x="326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3"/>
                  </a:lnTo>
                  <a:lnTo>
                    <a:pt x="323" y="333"/>
                  </a:lnTo>
                  <a:lnTo>
                    <a:pt x="323" y="333"/>
                  </a:lnTo>
                  <a:lnTo>
                    <a:pt x="323" y="333"/>
                  </a:lnTo>
                  <a:lnTo>
                    <a:pt x="321" y="333"/>
                  </a:lnTo>
                  <a:lnTo>
                    <a:pt x="321" y="333"/>
                  </a:lnTo>
                  <a:lnTo>
                    <a:pt x="321" y="333"/>
                  </a:lnTo>
                  <a:lnTo>
                    <a:pt x="321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7" y="333"/>
                  </a:lnTo>
                  <a:lnTo>
                    <a:pt x="317" y="333"/>
                  </a:lnTo>
                  <a:lnTo>
                    <a:pt x="314" y="333"/>
                  </a:lnTo>
                  <a:lnTo>
                    <a:pt x="314" y="333"/>
                  </a:lnTo>
                  <a:lnTo>
                    <a:pt x="314" y="331"/>
                  </a:lnTo>
                  <a:lnTo>
                    <a:pt x="312" y="331"/>
                  </a:lnTo>
                  <a:lnTo>
                    <a:pt x="312" y="329"/>
                  </a:lnTo>
                  <a:lnTo>
                    <a:pt x="312" y="329"/>
                  </a:lnTo>
                  <a:lnTo>
                    <a:pt x="312" y="329"/>
                  </a:lnTo>
                  <a:lnTo>
                    <a:pt x="312" y="329"/>
                  </a:lnTo>
                  <a:lnTo>
                    <a:pt x="312" y="329"/>
                  </a:lnTo>
                  <a:lnTo>
                    <a:pt x="312" y="326"/>
                  </a:lnTo>
                  <a:lnTo>
                    <a:pt x="312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0" y="326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324"/>
                  </a:lnTo>
                  <a:lnTo>
                    <a:pt x="310" y="322"/>
                  </a:lnTo>
                  <a:lnTo>
                    <a:pt x="308" y="322"/>
                  </a:lnTo>
                  <a:lnTo>
                    <a:pt x="308" y="320"/>
                  </a:lnTo>
                  <a:lnTo>
                    <a:pt x="308" y="320"/>
                  </a:lnTo>
                  <a:lnTo>
                    <a:pt x="308" y="320"/>
                  </a:lnTo>
                  <a:lnTo>
                    <a:pt x="308" y="317"/>
                  </a:lnTo>
                  <a:lnTo>
                    <a:pt x="308" y="317"/>
                  </a:lnTo>
                  <a:lnTo>
                    <a:pt x="308" y="317"/>
                  </a:lnTo>
                  <a:lnTo>
                    <a:pt x="308" y="317"/>
                  </a:lnTo>
                  <a:lnTo>
                    <a:pt x="308" y="317"/>
                  </a:lnTo>
                  <a:lnTo>
                    <a:pt x="308" y="317"/>
                  </a:lnTo>
                  <a:lnTo>
                    <a:pt x="308" y="317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5" y="306"/>
                  </a:lnTo>
                  <a:lnTo>
                    <a:pt x="305" y="306"/>
                  </a:lnTo>
                  <a:lnTo>
                    <a:pt x="303" y="306"/>
                  </a:lnTo>
                  <a:lnTo>
                    <a:pt x="303" y="306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1" y="304"/>
                  </a:lnTo>
                  <a:lnTo>
                    <a:pt x="301" y="304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4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301" y="302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9" y="299"/>
                  </a:lnTo>
                  <a:lnTo>
                    <a:pt x="296" y="299"/>
                  </a:lnTo>
                  <a:lnTo>
                    <a:pt x="294" y="299"/>
                  </a:lnTo>
                  <a:lnTo>
                    <a:pt x="294" y="299"/>
                  </a:lnTo>
                  <a:lnTo>
                    <a:pt x="294" y="299"/>
                  </a:lnTo>
                  <a:lnTo>
                    <a:pt x="294" y="299"/>
                  </a:lnTo>
                  <a:lnTo>
                    <a:pt x="292" y="299"/>
                  </a:lnTo>
                  <a:lnTo>
                    <a:pt x="292" y="299"/>
                  </a:lnTo>
                  <a:lnTo>
                    <a:pt x="290" y="299"/>
                  </a:lnTo>
                  <a:lnTo>
                    <a:pt x="290" y="297"/>
                  </a:lnTo>
                  <a:lnTo>
                    <a:pt x="290" y="297"/>
                  </a:lnTo>
                  <a:lnTo>
                    <a:pt x="287" y="299"/>
                  </a:lnTo>
                  <a:lnTo>
                    <a:pt x="287" y="299"/>
                  </a:lnTo>
                  <a:lnTo>
                    <a:pt x="287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299"/>
                  </a:lnTo>
                  <a:lnTo>
                    <a:pt x="285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3" y="302"/>
                  </a:lnTo>
                  <a:lnTo>
                    <a:pt x="281" y="302"/>
                  </a:lnTo>
                  <a:lnTo>
                    <a:pt x="281" y="302"/>
                  </a:lnTo>
                  <a:lnTo>
                    <a:pt x="281" y="304"/>
                  </a:lnTo>
                  <a:lnTo>
                    <a:pt x="278" y="302"/>
                  </a:lnTo>
                  <a:lnTo>
                    <a:pt x="278" y="304"/>
                  </a:lnTo>
                  <a:lnTo>
                    <a:pt x="278" y="304"/>
                  </a:lnTo>
                  <a:lnTo>
                    <a:pt x="278" y="304"/>
                  </a:lnTo>
                  <a:lnTo>
                    <a:pt x="278" y="304"/>
                  </a:lnTo>
                  <a:lnTo>
                    <a:pt x="276" y="304"/>
                  </a:lnTo>
                  <a:lnTo>
                    <a:pt x="276" y="304"/>
                  </a:lnTo>
                  <a:lnTo>
                    <a:pt x="276" y="304"/>
                  </a:lnTo>
                  <a:lnTo>
                    <a:pt x="276" y="304"/>
                  </a:lnTo>
                  <a:lnTo>
                    <a:pt x="276" y="304"/>
                  </a:lnTo>
                  <a:lnTo>
                    <a:pt x="276" y="304"/>
                  </a:lnTo>
                  <a:lnTo>
                    <a:pt x="274" y="306"/>
                  </a:lnTo>
                  <a:lnTo>
                    <a:pt x="274" y="306"/>
                  </a:lnTo>
                  <a:lnTo>
                    <a:pt x="276" y="306"/>
                  </a:lnTo>
                  <a:lnTo>
                    <a:pt x="276" y="306"/>
                  </a:lnTo>
                  <a:lnTo>
                    <a:pt x="276" y="306"/>
                  </a:lnTo>
                  <a:lnTo>
                    <a:pt x="276" y="306"/>
                  </a:lnTo>
                  <a:lnTo>
                    <a:pt x="276" y="306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74" y="308"/>
                  </a:lnTo>
                  <a:lnTo>
                    <a:pt x="272" y="308"/>
                  </a:lnTo>
                  <a:lnTo>
                    <a:pt x="269" y="308"/>
                  </a:lnTo>
                  <a:lnTo>
                    <a:pt x="269" y="308"/>
                  </a:lnTo>
                  <a:lnTo>
                    <a:pt x="269" y="308"/>
                  </a:lnTo>
                  <a:lnTo>
                    <a:pt x="269" y="308"/>
                  </a:lnTo>
                  <a:lnTo>
                    <a:pt x="267" y="308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67" y="311"/>
                  </a:lnTo>
                  <a:lnTo>
                    <a:pt x="265" y="311"/>
                  </a:lnTo>
                  <a:lnTo>
                    <a:pt x="265" y="311"/>
                  </a:lnTo>
                  <a:lnTo>
                    <a:pt x="263" y="313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6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6" y="313"/>
                  </a:lnTo>
                  <a:lnTo>
                    <a:pt x="254" y="313"/>
                  </a:lnTo>
                  <a:lnTo>
                    <a:pt x="254" y="313"/>
                  </a:lnTo>
                  <a:lnTo>
                    <a:pt x="251" y="313"/>
                  </a:lnTo>
                  <a:lnTo>
                    <a:pt x="251" y="313"/>
                  </a:lnTo>
                  <a:lnTo>
                    <a:pt x="251" y="311"/>
                  </a:lnTo>
                  <a:lnTo>
                    <a:pt x="251" y="311"/>
                  </a:lnTo>
                  <a:lnTo>
                    <a:pt x="249" y="311"/>
                  </a:lnTo>
                  <a:lnTo>
                    <a:pt x="249" y="311"/>
                  </a:lnTo>
                  <a:lnTo>
                    <a:pt x="249" y="311"/>
                  </a:lnTo>
                  <a:lnTo>
                    <a:pt x="249" y="311"/>
                  </a:lnTo>
                  <a:lnTo>
                    <a:pt x="247" y="311"/>
                  </a:lnTo>
                  <a:lnTo>
                    <a:pt x="247" y="311"/>
                  </a:lnTo>
                  <a:lnTo>
                    <a:pt x="245" y="311"/>
                  </a:lnTo>
                  <a:lnTo>
                    <a:pt x="245" y="308"/>
                  </a:lnTo>
                  <a:lnTo>
                    <a:pt x="245" y="308"/>
                  </a:lnTo>
                  <a:lnTo>
                    <a:pt x="245" y="308"/>
                  </a:lnTo>
                  <a:lnTo>
                    <a:pt x="245" y="308"/>
                  </a:lnTo>
                  <a:lnTo>
                    <a:pt x="245" y="308"/>
                  </a:lnTo>
                  <a:lnTo>
                    <a:pt x="242" y="308"/>
                  </a:lnTo>
                  <a:lnTo>
                    <a:pt x="242" y="311"/>
                  </a:lnTo>
                  <a:lnTo>
                    <a:pt x="240" y="311"/>
                  </a:lnTo>
                  <a:lnTo>
                    <a:pt x="240" y="311"/>
                  </a:lnTo>
                  <a:lnTo>
                    <a:pt x="240" y="311"/>
                  </a:lnTo>
                  <a:lnTo>
                    <a:pt x="238" y="311"/>
                  </a:lnTo>
                  <a:lnTo>
                    <a:pt x="238" y="311"/>
                  </a:lnTo>
                  <a:lnTo>
                    <a:pt x="238" y="311"/>
                  </a:lnTo>
                  <a:lnTo>
                    <a:pt x="238" y="311"/>
                  </a:lnTo>
                  <a:lnTo>
                    <a:pt x="236" y="308"/>
                  </a:lnTo>
                  <a:lnTo>
                    <a:pt x="236" y="308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31" y="306"/>
                  </a:lnTo>
                  <a:lnTo>
                    <a:pt x="231" y="304"/>
                  </a:lnTo>
                  <a:lnTo>
                    <a:pt x="231" y="304"/>
                  </a:lnTo>
                  <a:lnTo>
                    <a:pt x="231" y="304"/>
                  </a:lnTo>
                  <a:lnTo>
                    <a:pt x="231" y="304"/>
                  </a:lnTo>
                  <a:lnTo>
                    <a:pt x="224" y="302"/>
                  </a:lnTo>
                  <a:lnTo>
                    <a:pt x="222" y="302"/>
                  </a:lnTo>
                  <a:lnTo>
                    <a:pt x="222" y="302"/>
                  </a:lnTo>
                  <a:lnTo>
                    <a:pt x="222" y="299"/>
                  </a:lnTo>
                  <a:lnTo>
                    <a:pt x="222" y="299"/>
                  </a:lnTo>
                  <a:lnTo>
                    <a:pt x="222" y="299"/>
                  </a:lnTo>
                  <a:lnTo>
                    <a:pt x="220" y="299"/>
                  </a:lnTo>
                  <a:lnTo>
                    <a:pt x="220" y="299"/>
                  </a:lnTo>
                  <a:lnTo>
                    <a:pt x="220" y="299"/>
                  </a:lnTo>
                  <a:lnTo>
                    <a:pt x="220" y="297"/>
                  </a:lnTo>
                  <a:lnTo>
                    <a:pt x="218" y="297"/>
                  </a:lnTo>
                  <a:lnTo>
                    <a:pt x="218" y="297"/>
                  </a:lnTo>
                  <a:lnTo>
                    <a:pt x="215" y="295"/>
                  </a:lnTo>
                  <a:lnTo>
                    <a:pt x="213" y="295"/>
                  </a:lnTo>
                  <a:lnTo>
                    <a:pt x="213" y="295"/>
                  </a:lnTo>
                  <a:lnTo>
                    <a:pt x="213" y="293"/>
                  </a:lnTo>
                  <a:lnTo>
                    <a:pt x="213" y="293"/>
                  </a:lnTo>
                  <a:lnTo>
                    <a:pt x="213" y="293"/>
                  </a:lnTo>
                  <a:lnTo>
                    <a:pt x="213" y="293"/>
                  </a:lnTo>
                  <a:lnTo>
                    <a:pt x="213" y="293"/>
                  </a:lnTo>
                  <a:lnTo>
                    <a:pt x="215" y="293"/>
                  </a:lnTo>
                  <a:lnTo>
                    <a:pt x="215" y="293"/>
                  </a:lnTo>
                  <a:lnTo>
                    <a:pt x="215" y="293"/>
                  </a:lnTo>
                  <a:lnTo>
                    <a:pt x="213" y="293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3" y="290"/>
                  </a:lnTo>
                  <a:lnTo>
                    <a:pt x="213" y="290"/>
                  </a:lnTo>
                  <a:lnTo>
                    <a:pt x="211" y="290"/>
                  </a:lnTo>
                  <a:lnTo>
                    <a:pt x="211" y="288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4" y="286"/>
                  </a:lnTo>
                  <a:lnTo>
                    <a:pt x="204" y="286"/>
                  </a:lnTo>
                  <a:lnTo>
                    <a:pt x="202" y="284"/>
                  </a:lnTo>
                  <a:lnTo>
                    <a:pt x="200" y="284"/>
                  </a:lnTo>
                  <a:lnTo>
                    <a:pt x="200" y="284"/>
                  </a:lnTo>
                  <a:lnTo>
                    <a:pt x="200" y="284"/>
                  </a:lnTo>
                  <a:lnTo>
                    <a:pt x="198" y="284"/>
                  </a:lnTo>
                  <a:lnTo>
                    <a:pt x="198" y="284"/>
                  </a:lnTo>
                  <a:lnTo>
                    <a:pt x="198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5" y="284"/>
                  </a:lnTo>
                  <a:lnTo>
                    <a:pt x="193" y="284"/>
                  </a:lnTo>
                  <a:lnTo>
                    <a:pt x="191" y="284"/>
                  </a:lnTo>
                  <a:lnTo>
                    <a:pt x="191" y="284"/>
                  </a:lnTo>
                  <a:lnTo>
                    <a:pt x="191" y="284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89" y="281"/>
                  </a:lnTo>
                  <a:lnTo>
                    <a:pt x="189" y="279"/>
                  </a:lnTo>
                  <a:lnTo>
                    <a:pt x="189" y="279"/>
                  </a:lnTo>
                  <a:lnTo>
                    <a:pt x="189" y="279"/>
                  </a:lnTo>
                  <a:lnTo>
                    <a:pt x="189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6" y="279"/>
                  </a:lnTo>
                  <a:lnTo>
                    <a:pt x="184" y="277"/>
                  </a:lnTo>
                  <a:lnTo>
                    <a:pt x="184" y="277"/>
                  </a:lnTo>
                  <a:lnTo>
                    <a:pt x="184" y="277"/>
                  </a:lnTo>
                  <a:lnTo>
                    <a:pt x="184" y="275"/>
                  </a:lnTo>
                  <a:lnTo>
                    <a:pt x="184" y="275"/>
                  </a:lnTo>
                  <a:lnTo>
                    <a:pt x="184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0" y="270"/>
                  </a:lnTo>
                  <a:lnTo>
                    <a:pt x="180" y="266"/>
                  </a:lnTo>
                  <a:lnTo>
                    <a:pt x="180" y="266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7" y="261"/>
                  </a:lnTo>
                  <a:lnTo>
                    <a:pt x="177" y="261"/>
                  </a:lnTo>
                  <a:lnTo>
                    <a:pt x="175" y="259"/>
                  </a:lnTo>
                  <a:lnTo>
                    <a:pt x="175" y="259"/>
                  </a:lnTo>
                  <a:lnTo>
                    <a:pt x="175" y="259"/>
                  </a:lnTo>
                  <a:lnTo>
                    <a:pt x="175" y="259"/>
                  </a:lnTo>
                  <a:lnTo>
                    <a:pt x="173" y="259"/>
                  </a:lnTo>
                  <a:lnTo>
                    <a:pt x="173" y="259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4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7"/>
                  </a:lnTo>
                  <a:lnTo>
                    <a:pt x="175" y="257"/>
                  </a:lnTo>
                  <a:lnTo>
                    <a:pt x="175" y="257"/>
                  </a:lnTo>
                  <a:lnTo>
                    <a:pt x="175" y="257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3" y="254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1" y="252"/>
                  </a:lnTo>
                  <a:lnTo>
                    <a:pt x="171" y="252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68" y="252"/>
                  </a:lnTo>
                  <a:lnTo>
                    <a:pt x="168" y="250"/>
                  </a:lnTo>
                  <a:lnTo>
                    <a:pt x="168" y="250"/>
                  </a:lnTo>
                  <a:lnTo>
                    <a:pt x="168" y="250"/>
                  </a:lnTo>
                  <a:lnTo>
                    <a:pt x="168" y="250"/>
                  </a:lnTo>
                  <a:lnTo>
                    <a:pt x="168" y="250"/>
                  </a:lnTo>
                  <a:lnTo>
                    <a:pt x="168" y="250"/>
                  </a:lnTo>
                  <a:lnTo>
                    <a:pt x="168" y="250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8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4" y="243"/>
                  </a:lnTo>
                  <a:lnTo>
                    <a:pt x="164" y="241"/>
                  </a:lnTo>
                  <a:lnTo>
                    <a:pt x="164" y="241"/>
                  </a:lnTo>
                  <a:lnTo>
                    <a:pt x="164" y="241"/>
                  </a:lnTo>
                  <a:lnTo>
                    <a:pt x="164" y="241"/>
                  </a:lnTo>
                  <a:lnTo>
                    <a:pt x="162" y="241"/>
                  </a:lnTo>
                  <a:lnTo>
                    <a:pt x="162" y="239"/>
                  </a:lnTo>
                  <a:lnTo>
                    <a:pt x="162" y="239"/>
                  </a:lnTo>
                  <a:lnTo>
                    <a:pt x="162" y="239"/>
                  </a:lnTo>
                  <a:lnTo>
                    <a:pt x="159" y="239"/>
                  </a:lnTo>
                  <a:lnTo>
                    <a:pt x="159" y="236"/>
                  </a:lnTo>
                  <a:lnTo>
                    <a:pt x="159" y="236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7" y="234"/>
                  </a:lnTo>
                  <a:lnTo>
                    <a:pt x="155" y="234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3" y="227"/>
                  </a:lnTo>
                  <a:lnTo>
                    <a:pt x="153" y="227"/>
                  </a:lnTo>
                  <a:lnTo>
                    <a:pt x="153" y="227"/>
                  </a:lnTo>
                  <a:lnTo>
                    <a:pt x="153" y="227"/>
                  </a:lnTo>
                  <a:lnTo>
                    <a:pt x="150" y="227"/>
                  </a:lnTo>
                  <a:lnTo>
                    <a:pt x="150" y="227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4" y="230"/>
                  </a:lnTo>
                  <a:lnTo>
                    <a:pt x="141" y="230"/>
                  </a:lnTo>
                  <a:lnTo>
                    <a:pt x="141" y="230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41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9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7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7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5" y="225"/>
                  </a:lnTo>
                  <a:lnTo>
                    <a:pt x="132" y="225"/>
                  </a:lnTo>
                  <a:lnTo>
                    <a:pt x="132" y="225"/>
                  </a:lnTo>
                  <a:lnTo>
                    <a:pt x="132" y="225"/>
                  </a:lnTo>
                  <a:lnTo>
                    <a:pt x="132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0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5" y="223"/>
                  </a:lnTo>
                  <a:lnTo>
                    <a:pt x="137" y="223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7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19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19"/>
                  </a:lnTo>
                  <a:lnTo>
                    <a:pt x="135" y="219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5" y="221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2" y="219"/>
                  </a:lnTo>
                  <a:lnTo>
                    <a:pt x="130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5"/>
                  </a:lnTo>
                  <a:lnTo>
                    <a:pt x="128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5"/>
                  </a:lnTo>
                  <a:lnTo>
                    <a:pt x="130" y="227"/>
                  </a:lnTo>
                  <a:lnTo>
                    <a:pt x="130" y="227"/>
                  </a:lnTo>
                  <a:lnTo>
                    <a:pt x="130" y="227"/>
                  </a:lnTo>
                  <a:lnTo>
                    <a:pt x="130" y="227"/>
                  </a:lnTo>
                  <a:lnTo>
                    <a:pt x="130" y="230"/>
                  </a:lnTo>
                  <a:lnTo>
                    <a:pt x="130" y="230"/>
                  </a:lnTo>
                  <a:lnTo>
                    <a:pt x="130" y="230"/>
                  </a:lnTo>
                  <a:lnTo>
                    <a:pt x="130" y="230"/>
                  </a:lnTo>
                  <a:lnTo>
                    <a:pt x="130" y="230"/>
                  </a:lnTo>
                  <a:lnTo>
                    <a:pt x="130" y="230"/>
                  </a:lnTo>
                  <a:lnTo>
                    <a:pt x="130" y="232"/>
                  </a:lnTo>
                  <a:lnTo>
                    <a:pt x="130" y="232"/>
                  </a:lnTo>
                  <a:lnTo>
                    <a:pt x="128" y="232"/>
                  </a:lnTo>
                  <a:lnTo>
                    <a:pt x="128" y="232"/>
                  </a:lnTo>
                  <a:lnTo>
                    <a:pt x="128" y="232"/>
                  </a:lnTo>
                  <a:lnTo>
                    <a:pt x="126" y="232"/>
                  </a:lnTo>
                  <a:lnTo>
                    <a:pt x="126" y="230"/>
                  </a:lnTo>
                  <a:lnTo>
                    <a:pt x="126" y="230"/>
                  </a:lnTo>
                  <a:lnTo>
                    <a:pt x="126" y="230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6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3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19" y="230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21" y="227"/>
                  </a:lnTo>
                  <a:lnTo>
                    <a:pt x="121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7"/>
                  </a:lnTo>
                  <a:lnTo>
                    <a:pt x="119" y="225"/>
                  </a:lnTo>
                  <a:lnTo>
                    <a:pt x="119" y="225"/>
                  </a:lnTo>
                  <a:lnTo>
                    <a:pt x="117" y="225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7" y="223"/>
                  </a:lnTo>
                  <a:lnTo>
                    <a:pt x="114" y="223"/>
                  </a:lnTo>
                  <a:lnTo>
                    <a:pt x="114" y="223"/>
                  </a:lnTo>
                  <a:lnTo>
                    <a:pt x="114" y="223"/>
                  </a:lnTo>
                  <a:lnTo>
                    <a:pt x="114" y="223"/>
                  </a:lnTo>
                  <a:lnTo>
                    <a:pt x="114" y="223"/>
                  </a:lnTo>
                  <a:lnTo>
                    <a:pt x="114" y="221"/>
                  </a:lnTo>
                  <a:lnTo>
                    <a:pt x="114" y="221"/>
                  </a:lnTo>
                  <a:lnTo>
                    <a:pt x="114" y="221"/>
                  </a:lnTo>
                  <a:lnTo>
                    <a:pt x="114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0" y="210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03" y="207"/>
                  </a:lnTo>
                  <a:lnTo>
                    <a:pt x="101" y="198"/>
                  </a:lnTo>
                  <a:lnTo>
                    <a:pt x="103" y="189"/>
                  </a:lnTo>
                  <a:lnTo>
                    <a:pt x="103" y="189"/>
                  </a:lnTo>
                  <a:lnTo>
                    <a:pt x="103" y="189"/>
                  </a:lnTo>
                  <a:lnTo>
                    <a:pt x="103" y="189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7"/>
                  </a:lnTo>
                  <a:lnTo>
                    <a:pt x="101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99" y="183"/>
                  </a:lnTo>
                  <a:lnTo>
                    <a:pt x="99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6" y="180"/>
                  </a:lnTo>
                  <a:lnTo>
                    <a:pt x="96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4" y="178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5" y="174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76" y="165"/>
                  </a:lnTo>
                  <a:lnTo>
                    <a:pt x="76" y="165"/>
                  </a:lnTo>
                  <a:lnTo>
                    <a:pt x="74" y="162"/>
                  </a:lnTo>
                  <a:lnTo>
                    <a:pt x="72" y="162"/>
                  </a:lnTo>
                  <a:lnTo>
                    <a:pt x="69" y="162"/>
                  </a:lnTo>
                  <a:lnTo>
                    <a:pt x="67" y="162"/>
                  </a:lnTo>
                  <a:lnTo>
                    <a:pt x="65" y="162"/>
                  </a:lnTo>
                  <a:lnTo>
                    <a:pt x="65" y="162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5" y="158"/>
                  </a:lnTo>
                  <a:lnTo>
                    <a:pt x="65" y="158"/>
                  </a:lnTo>
                  <a:lnTo>
                    <a:pt x="65" y="158"/>
                  </a:lnTo>
                  <a:lnTo>
                    <a:pt x="63" y="158"/>
                  </a:lnTo>
                  <a:lnTo>
                    <a:pt x="63" y="158"/>
                  </a:lnTo>
                  <a:lnTo>
                    <a:pt x="63" y="158"/>
                  </a:lnTo>
                  <a:lnTo>
                    <a:pt x="63" y="158"/>
                  </a:lnTo>
                  <a:lnTo>
                    <a:pt x="63" y="158"/>
                  </a:lnTo>
                  <a:lnTo>
                    <a:pt x="63" y="158"/>
                  </a:lnTo>
                  <a:lnTo>
                    <a:pt x="65" y="158"/>
                  </a:lnTo>
                  <a:lnTo>
                    <a:pt x="65" y="158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6"/>
                  </a:lnTo>
                  <a:lnTo>
                    <a:pt x="65" y="153"/>
                  </a:lnTo>
                  <a:lnTo>
                    <a:pt x="65" y="153"/>
                  </a:lnTo>
                  <a:lnTo>
                    <a:pt x="63" y="153"/>
                  </a:lnTo>
                  <a:lnTo>
                    <a:pt x="63" y="151"/>
                  </a:lnTo>
                  <a:lnTo>
                    <a:pt x="63" y="151"/>
                  </a:lnTo>
                  <a:lnTo>
                    <a:pt x="63" y="151"/>
                  </a:lnTo>
                  <a:lnTo>
                    <a:pt x="63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8" y="149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7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4" y="144"/>
                  </a:lnTo>
                  <a:lnTo>
                    <a:pt x="54" y="144"/>
                  </a:lnTo>
                  <a:lnTo>
                    <a:pt x="54" y="144"/>
                  </a:lnTo>
                  <a:lnTo>
                    <a:pt x="54" y="144"/>
                  </a:lnTo>
                  <a:lnTo>
                    <a:pt x="54" y="144"/>
                  </a:lnTo>
                  <a:lnTo>
                    <a:pt x="54" y="144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51" y="142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8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9" y="135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31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7" y="129"/>
                  </a:lnTo>
                  <a:lnTo>
                    <a:pt x="45" y="126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9" y="122"/>
                  </a:lnTo>
                  <a:lnTo>
                    <a:pt x="49" y="124"/>
                  </a:lnTo>
                  <a:lnTo>
                    <a:pt x="51" y="124"/>
                  </a:lnTo>
                  <a:lnTo>
                    <a:pt x="51" y="124"/>
                  </a:lnTo>
                  <a:lnTo>
                    <a:pt x="51" y="124"/>
                  </a:lnTo>
                  <a:lnTo>
                    <a:pt x="51" y="124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49" y="122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51" y="117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4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56" y="108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4" y="104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97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1" name="Freeform 578"/>
            <p:cNvSpPr>
              <a:spLocks noEditPoints="1"/>
            </p:cNvSpPr>
            <p:nvPr/>
          </p:nvSpPr>
          <p:spPr bwMode="auto">
            <a:xfrm>
              <a:off x="8975388" y="3731753"/>
              <a:ext cx="1617939" cy="670241"/>
            </a:xfrm>
            <a:custGeom>
              <a:avLst/>
              <a:gdLst>
                <a:gd name="T0" fmla="*/ 503 w 968"/>
                <a:gd name="T1" fmla="*/ 365 h 401"/>
                <a:gd name="T2" fmla="*/ 514 w 968"/>
                <a:gd name="T3" fmla="*/ 351 h 401"/>
                <a:gd name="T4" fmla="*/ 438 w 968"/>
                <a:gd name="T5" fmla="*/ 349 h 401"/>
                <a:gd name="T6" fmla="*/ 912 w 968"/>
                <a:gd name="T7" fmla="*/ 335 h 401"/>
                <a:gd name="T8" fmla="*/ 503 w 968"/>
                <a:gd name="T9" fmla="*/ 347 h 401"/>
                <a:gd name="T10" fmla="*/ 480 w 968"/>
                <a:gd name="T11" fmla="*/ 342 h 401"/>
                <a:gd name="T12" fmla="*/ 532 w 968"/>
                <a:gd name="T13" fmla="*/ 338 h 401"/>
                <a:gd name="T14" fmla="*/ 732 w 968"/>
                <a:gd name="T15" fmla="*/ 326 h 401"/>
                <a:gd name="T16" fmla="*/ 914 w 968"/>
                <a:gd name="T17" fmla="*/ 335 h 401"/>
                <a:gd name="T18" fmla="*/ 759 w 968"/>
                <a:gd name="T19" fmla="*/ 317 h 401"/>
                <a:gd name="T20" fmla="*/ 426 w 968"/>
                <a:gd name="T21" fmla="*/ 306 h 401"/>
                <a:gd name="T22" fmla="*/ 820 w 968"/>
                <a:gd name="T23" fmla="*/ 295 h 401"/>
                <a:gd name="T24" fmla="*/ 346 w 968"/>
                <a:gd name="T25" fmla="*/ 299 h 401"/>
                <a:gd name="T26" fmla="*/ 361 w 968"/>
                <a:gd name="T27" fmla="*/ 340 h 401"/>
                <a:gd name="T28" fmla="*/ 215 w 968"/>
                <a:gd name="T29" fmla="*/ 304 h 401"/>
                <a:gd name="T30" fmla="*/ 793 w 968"/>
                <a:gd name="T31" fmla="*/ 277 h 401"/>
                <a:gd name="T32" fmla="*/ 799 w 968"/>
                <a:gd name="T33" fmla="*/ 270 h 401"/>
                <a:gd name="T34" fmla="*/ 593 w 968"/>
                <a:gd name="T35" fmla="*/ 254 h 401"/>
                <a:gd name="T36" fmla="*/ 678 w 968"/>
                <a:gd name="T37" fmla="*/ 232 h 401"/>
                <a:gd name="T38" fmla="*/ 449 w 968"/>
                <a:gd name="T39" fmla="*/ 230 h 401"/>
                <a:gd name="T40" fmla="*/ 750 w 968"/>
                <a:gd name="T41" fmla="*/ 221 h 401"/>
                <a:gd name="T42" fmla="*/ 114 w 968"/>
                <a:gd name="T43" fmla="*/ 216 h 401"/>
                <a:gd name="T44" fmla="*/ 98 w 968"/>
                <a:gd name="T45" fmla="*/ 194 h 401"/>
                <a:gd name="T46" fmla="*/ 748 w 968"/>
                <a:gd name="T47" fmla="*/ 189 h 401"/>
                <a:gd name="T48" fmla="*/ 860 w 968"/>
                <a:gd name="T49" fmla="*/ 182 h 401"/>
                <a:gd name="T50" fmla="*/ 229 w 968"/>
                <a:gd name="T51" fmla="*/ 180 h 401"/>
                <a:gd name="T52" fmla="*/ 597 w 968"/>
                <a:gd name="T53" fmla="*/ 180 h 401"/>
                <a:gd name="T54" fmla="*/ 80 w 968"/>
                <a:gd name="T55" fmla="*/ 165 h 401"/>
                <a:gd name="T56" fmla="*/ 683 w 968"/>
                <a:gd name="T57" fmla="*/ 158 h 401"/>
                <a:gd name="T58" fmla="*/ 835 w 968"/>
                <a:gd name="T59" fmla="*/ 200 h 401"/>
                <a:gd name="T60" fmla="*/ 963 w 968"/>
                <a:gd name="T61" fmla="*/ 293 h 401"/>
                <a:gd name="T62" fmla="*/ 914 w 968"/>
                <a:gd name="T63" fmla="*/ 297 h 401"/>
                <a:gd name="T64" fmla="*/ 829 w 968"/>
                <a:gd name="T65" fmla="*/ 234 h 401"/>
                <a:gd name="T66" fmla="*/ 784 w 968"/>
                <a:gd name="T67" fmla="*/ 212 h 401"/>
                <a:gd name="T68" fmla="*/ 813 w 968"/>
                <a:gd name="T69" fmla="*/ 194 h 401"/>
                <a:gd name="T70" fmla="*/ 204 w 968"/>
                <a:gd name="T71" fmla="*/ 149 h 401"/>
                <a:gd name="T72" fmla="*/ 76 w 968"/>
                <a:gd name="T73" fmla="*/ 153 h 401"/>
                <a:gd name="T74" fmla="*/ 748 w 968"/>
                <a:gd name="T75" fmla="*/ 147 h 401"/>
                <a:gd name="T76" fmla="*/ 202 w 968"/>
                <a:gd name="T77" fmla="*/ 138 h 401"/>
                <a:gd name="T78" fmla="*/ 188 w 968"/>
                <a:gd name="T79" fmla="*/ 120 h 401"/>
                <a:gd name="T80" fmla="*/ 164 w 968"/>
                <a:gd name="T81" fmla="*/ 117 h 401"/>
                <a:gd name="T82" fmla="*/ 54 w 968"/>
                <a:gd name="T83" fmla="*/ 117 h 401"/>
                <a:gd name="T84" fmla="*/ 557 w 968"/>
                <a:gd name="T85" fmla="*/ 131 h 401"/>
                <a:gd name="T86" fmla="*/ 584 w 968"/>
                <a:gd name="T87" fmla="*/ 171 h 401"/>
                <a:gd name="T88" fmla="*/ 584 w 968"/>
                <a:gd name="T89" fmla="*/ 248 h 401"/>
                <a:gd name="T90" fmla="*/ 534 w 968"/>
                <a:gd name="T91" fmla="*/ 275 h 401"/>
                <a:gd name="T92" fmla="*/ 521 w 968"/>
                <a:gd name="T93" fmla="*/ 158 h 401"/>
                <a:gd name="T94" fmla="*/ 606 w 968"/>
                <a:gd name="T95" fmla="*/ 120 h 401"/>
                <a:gd name="T96" fmla="*/ 689 w 968"/>
                <a:gd name="T97" fmla="*/ 133 h 401"/>
                <a:gd name="T98" fmla="*/ 701 w 968"/>
                <a:gd name="T99" fmla="*/ 124 h 401"/>
                <a:gd name="T100" fmla="*/ 33 w 968"/>
                <a:gd name="T101" fmla="*/ 86 h 401"/>
                <a:gd name="T102" fmla="*/ 644 w 968"/>
                <a:gd name="T103" fmla="*/ 61 h 401"/>
                <a:gd name="T104" fmla="*/ 480 w 968"/>
                <a:gd name="T105" fmla="*/ 54 h 401"/>
                <a:gd name="T106" fmla="*/ 487 w 968"/>
                <a:gd name="T107" fmla="*/ 115 h 401"/>
                <a:gd name="T108" fmla="*/ 453 w 968"/>
                <a:gd name="T109" fmla="*/ 189 h 401"/>
                <a:gd name="T110" fmla="*/ 352 w 968"/>
                <a:gd name="T111" fmla="*/ 209 h 401"/>
                <a:gd name="T112" fmla="*/ 301 w 968"/>
                <a:gd name="T113" fmla="*/ 135 h 401"/>
                <a:gd name="T114" fmla="*/ 415 w 968"/>
                <a:gd name="T115" fmla="*/ 106 h 401"/>
                <a:gd name="T116" fmla="*/ 29 w 968"/>
                <a:gd name="T117" fmla="*/ 16 h 401"/>
                <a:gd name="T118" fmla="*/ 173 w 968"/>
                <a:gd name="T119" fmla="*/ 131 h 401"/>
                <a:gd name="T120" fmla="*/ 206 w 968"/>
                <a:gd name="T121" fmla="*/ 200 h 401"/>
                <a:gd name="T122" fmla="*/ 186 w 968"/>
                <a:gd name="T123" fmla="*/ 266 h 401"/>
                <a:gd name="T124" fmla="*/ 80 w 968"/>
                <a:gd name="T125" fmla="*/ 99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68" h="401">
                  <a:moveTo>
                    <a:pt x="550" y="394"/>
                  </a:moveTo>
                  <a:lnTo>
                    <a:pt x="550" y="394"/>
                  </a:lnTo>
                  <a:lnTo>
                    <a:pt x="550" y="394"/>
                  </a:lnTo>
                  <a:lnTo>
                    <a:pt x="550" y="394"/>
                  </a:lnTo>
                  <a:lnTo>
                    <a:pt x="550" y="394"/>
                  </a:lnTo>
                  <a:lnTo>
                    <a:pt x="550" y="394"/>
                  </a:lnTo>
                  <a:lnTo>
                    <a:pt x="550" y="394"/>
                  </a:lnTo>
                  <a:lnTo>
                    <a:pt x="548" y="394"/>
                  </a:lnTo>
                  <a:lnTo>
                    <a:pt x="548" y="394"/>
                  </a:lnTo>
                  <a:lnTo>
                    <a:pt x="548" y="394"/>
                  </a:lnTo>
                  <a:lnTo>
                    <a:pt x="548" y="394"/>
                  </a:lnTo>
                  <a:lnTo>
                    <a:pt x="548" y="394"/>
                  </a:lnTo>
                  <a:lnTo>
                    <a:pt x="548" y="394"/>
                  </a:lnTo>
                  <a:lnTo>
                    <a:pt x="550" y="394"/>
                  </a:lnTo>
                  <a:close/>
                  <a:moveTo>
                    <a:pt x="586" y="392"/>
                  </a:moveTo>
                  <a:lnTo>
                    <a:pt x="586" y="394"/>
                  </a:lnTo>
                  <a:lnTo>
                    <a:pt x="586" y="394"/>
                  </a:lnTo>
                  <a:lnTo>
                    <a:pt x="586" y="394"/>
                  </a:lnTo>
                  <a:lnTo>
                    <a:pt x="586" y="394"/>
                  </a:lnTo>
                  <a:lnTo>
                    <a:pt x="586" y="394"/>
                  </a:lnTo>
                  <a:lnTo>
                    <a:pt x="586" y="394"/>
                  </a:lnTo>
                  <a:lnTo>
                    <a:pt x="588" y="394"/>
                  </a:lnTo>
                  <a:lnTo>
                    <a:pt x="588" y="394"/>
                  </a:lnTo>
                  <a:lnTo>
                    <a:pt x="588" y="394"/>
                  </a:lnTo>
                  <a:lnTo>
                    <a:pt x="586" y="396"/>
                  </a:lnTo>
                  <a:lnTo>
                    <a:pt x="586" y="396"/>
                  </a:lnTo>
                  <a:lnTo>
                    <a:pt x="586" y="396"/>
                  </a:lnTo>
                  <a:lnTo>
                    <a:pt x="586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6"/>
                  </a:lnTo>
                  <a:lnTo>
                    <a:pt x="584" y="396"/>
                  </a:lnTo>
                  <a:lnTo>
                    <a:pt x="584" y="396"/>
                  </a:lnTo>
                  <a:lnTo>
                    <a:pt x="584" y="396"/>
                  </a:lnTo>
                  <a:lnTo>
                    <a:pt x="584" y="398"/>
                  </a:lnTo>
                  <a:lnTo>
                    <a:pt x="584" y="398"/>
                  </a:lnTo>
                  <a:lnTo>
                    <a:pt x="584" y="398"/>
                  </a:lnTo>
                  <a:lnTo>
                    <a:pt x="581" y="398"/>
                  </a:lnTo>
                  <a:lnTo>
                    <a:pt x="581" y="398"/>
                  </a:lnTo>
                  <a:lnTo>
                    <a:pt x="581" y="398"/>
                  </a:lnTo>
                  <a:lnTo>
                    <a:pt x="577" y="401"/>
                  </a:lnTo>
                  <a:lnTo>
                    <a:pt x="577" y="401"/>
                  </a:lnTo>
                  <a:lnTo>
                    <a:pt x="577" y="401"/>
                  </a:lnTo>
                  <a:lnTo>
                    <a:pt x="577" y="401"/>
                  </a:lnTo>
                  <a:lnTo>
                    <a:pt x="577" y="401"/>
                  </a:lnTo>
                  <a:lnTo>
                    <a:pt x="575" y="401"/>
                  </a:lnTo>
                  <a:lnTo>
                    <a:pt x="575" y="401"/>
                  </a:lnTo>
                  <a:lnTo>
                    <a:pt x="575" y="401"/>
                  </a:lnTo>
                  <a:lnTo>
                    <a:pt x="575" y="398"/>
                  </a:lnTo>
                  <a:lnTo>
                    <a:pt x="575" y="398"/>
                  </a:lnTo>
                  <a:lnTo>
                    <a:pt x="575" y="398"/>
                  </a:lnTo>
                  <a:lnTo>
                    <a:pt x="575" y="398"/>
                  </a:lnTo>
                  <a:lnTo>
                    <a:pt x="575" y="396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9" y="396"/>
                  </a:lnTo>
                  <a:lnTo>
                    <a:pt x="579" y="396"/>
                  </a:lnTo>
                  <a:lnTo>
                    <a:pt x="579" y="396"/>
                  </a:lnTo>
                  <a:lnTo>
                    <a:pt x="579" y="396"/>
                  </a:lnTo>
                  <a:lnTo>
                    <a:pt x="579" y="396"/>
                  </a:lnTo>
                  <a:lnTo>
                    <a:pt x="581" y="394"/>
                  </a:lnTo>
                  <a:lnTo>
                    <a:pt x="581" y="394"/>
                  </a:lnTo>
                  <a:lnTo>
                    <a:pt x="581" y="394"/>
                  </a:lnTo>
                  <a:lnTo>
                    <a:pt x="581" y="394"/>
                  </a:lnTo>
                  <a:lnTo>
                    <a:pt x="581" y="394"/>
                  </a:lnTo>
                  <a:lnTo>
                    <a:pt x="581" y="394"/>
                  </a:lnTo>
                  <a:lnTo>
                    <a:pt x="584" y="394"/>
                  </a:lnTo>
                  <a:lnTo>
                    <a:pt x="584" y="394"/>
                  </a:lnTo>
                  <a:lnTo>
                    <a:pt x="584" y="394"/>
                  </a:lnTo>
                  <a:lnTo>
                    <a:pt x="584" y="394"/>
                  </a:lnTo>
                  <a:lnTo>
                    <a:pt x="584" y="392"/>
                  </a:lnTo>
                  <a:lnTo>
                    <a:pt x="584" y="392"/>
                  </a:lnTo>
                  <a:lnTo>
                    <a:pt x="584" y="392"/>
                  </a:lnTo>
                  <a:lnTo>
                    <a:pt x="584" y="392"/>
                  </a:lnTo>
                  <a:lnTo>
                    <a:pt x="586" y="392"/>
                  </a:lnTo>
                  <a:lnTo>
                    <a:pt x="586" y="389"/>
                  </a:lnTo>
                  <a:lnTo>
                    <a:pt x="586" y="389"/>
                  </a:lnTo>
                  <a:lnTo>
                    <a:pt x="586" y="389"/>
                  </a:lnTo>
                  <a:lnTo>
                    <a:pt x="588" y="389"/>
                  </a:lnTo>
                  <a:lnTo>
                    <a:pt x="588" y="389"/>
                  </a:lnTo>
                  <a:lnTo>
                    <a:pt x="588" y="389"/>
                  </a:lnTo>
                  <a:lnTo>
                    <a:pt x="586" y="392"/>
                  </a:lnTo>
                  <a:lnTo>
                    <a:pt x="586" y="392"/>
                  </a:lnTo>
                  <a:lnTo>
                    <a:pt x="586" y="392"/>
                  </a:lnTo>
                  <a:lnTo>
                    <a:pt x="586" y="392"/>
                  </a:lnTo>
                  <a:lnTo>
                    <a:pt x="586" y="392"/>
                  </a:lnTo>
                  <a:lnTo>
                    <a:pt x="586" y="392"/>
                  </a:lnTo>
                  <a:lnTo>
                    <a:pt x="586" y="392"/>
                  </a:lnTo>
                  <a:close/>
                  <a:moveTo>
                    <a:pt x="557" y="389"/>
                  </a:moveTo>
                  <a:lnTo>
                    <a:pt x="557" y="389"/>
                  </a:lnTo>
                  <a:lnTo>
                    <a:pt x="557" y="389"/>
                  </a:lnTo>
                  <a:lnTo>
                    <a:pt x="559" y="389"/>
                  </a:lnTo>
                  <a:lnTo>
                    <a:pt x="559" y="389"/>
                  </a:lnTo>
                  <a:lnTo>
                    <a:pt x="557" y="392"/>
                  </a:lnTo>
                  <a:lnTo>
                    <a:pt x="557" y="392"/>
                  </a:lnTo>
                  <a:lnTo>
                    <a:pt x="557" y="392"/>
                  </a:lnTo>
                  <a:lnTo>
                    <a:pt x="557" y="392"/>
                  </a:lnTo>
                  <a:lnTo>
                    <a:pt x="557" y="394"/>
                  </a:lnTo>
                  <a:lnTo>
                    <a:pt x="557" y="394"/>
                  </a:lnTo>
                  <a:lnTo>
                    <a:pt x="557" y="394"/>
                  </a:lnTo>
                  <a:lnTo>
                    <a:pt x="555" y="394"/>
                  </a:lnTo>
                  <a:lnTo>
                    <a:pt x="555" y="394"/>
                  </a:lnTo>
                  <a:lnTo>
                    <a:pt x="555" y="394"/>
                  </a:lnTo>
                  <a:lnTo>
                    <a:pt x="555" y="394"/>
                  </a:lnTo>
                  <a:lnTo>
                    <a:pt x="555" y="394"/>
                  </a:lnTo>
                  <a:lnTo>
                    <a:pt x="555" y="394"/>
                  </a:lnTo>
                  <a:lnTo>
                    <a:pt x="555" y="394"/>
                  </a:lnTo>
                  <a:lnTo>
                    <a:pt x="552" y="394"/>
                  </a:lnTo>
                  <a:lnTo>
                    <a:pt x="552" y="394"/>
                  </a:lnTo>
                  <a:lnTo>
                    <a:pt x="552" y="394"/>
                  </a:lnTo>
                  <a:lnTo>
                    <a:pt x="552" y="394"/>
                  </a:lnTo>
                  <a:lnTo>
                    <a:pt x="552" y="392"/>
                  </a:lnTo>
                  <a:lnTo>
                    <a:pt x="552" y="392"/>
                  </a:lnTo>
                  <a:lnTo>
                    <a:pt x="552" y="392"/>
                  </a:lnTo>
                  <a:lnTo>
                    <a:pt x="555" y="392"/>
                  </a:lnTo>
                  <a:lnTo>
                    <a:pt x="555" y="389"/>
                  </a:lnTo>
                  <a:lnTo>
                    <a:pt x="555" y="389"/>
                  </a:lnTo>
                  <a:lnTo>
                    <a:pt x="557" y="389"/>
                  </a:lnTo>
                  <a:lnTo>
                    <a:pt x="557" y="389"/>
                  </a:lnTo>
                  <a:lnTo>
                    <a:pt x="557" y="389"/>
                  </a:lnTo>
                  <a:close/>
                  <a:moveTo>
                    <a:pt x="588" y="385"/>
                  </a:moveTo>
                  <a:lnTo>
                    <a:pt x="588" y="385"/>
                  </a:lnTo>
                  <a:lnTo>
                    <a:pt x="588" y="385"/>
                  </a:lnTo>
                  <a:lnTo>
                    <a:pt x="588" y="385"/>
                  </a:lnTo>
                  <a:lnTo>
                    <a:pt x="588" y="385"/>
                  </a:lnTo>
                  <a:lnTo>
                    <a:pt x="588" y="385"/>
                  </a:lnTo>
                  <a:lnTo>
                    <a:pt x="588" y="385"/>
                  </a:lnTo>
                  <a:lnTo>
                    <a:pt x="588" y="385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6" y="387"/>
                  </a:lnTo>
                  <a:lnTo>
                    <a:pt x="586" y="387"/>
                  </a:lnTo>
                  <a:lnTo>
                    <a:pt x="586" y="387"/>
                  </a:lnTo>
                  <a:lnTo>
                    <a:pt x="586" y="387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5"/>
                  </a:lnTo>
                  <a:lnTo>
                    <a:pt x="586" y="385"/>
                  </a:lnTo>
                  <a:lnTo>
                    <a:pt x="586" y="385"/>
                  </a:lnTo>
                  <a:lnTo>
                    <a:pt x="588" y="385"/>
                  </a:lnTo>
                  <a:lnTo>
                    <a:pt x="588" y="383"/>
                  </a:lnTo>
                  <a:lnTo>
                    <a:pt x="588" y="383"/>
                  </a:lnTo>
                  <a:lnTo>
                    <a:pt x="588" y="383"/>
                  </a:lnTo>
                  <a:lnTo>
                    <a:pt x="588" y="383"/>
                  </a:lnTo>
                  <a:lnTo>
                    <a:pt x="588" y="383"/>
                  </a:lnTo>
                  <a:lnTo>
                    <a:pt x="590" y="383"/>
                  </a:lnTo>
                  <a:lnTo>
                    <a:pt x="590" y="383"/>
                  </a:lnTo>
                  <a:lnTo>
                    <a:pt x="590" y="383"/>
                  </a:lnTo>
                  <a:lnTo>
                    <a:pt x="590" y="383"/>
                  </a:lnTo>
                  <a:lnTo>
                    <a:pt x="590" y="385"/>
                  </a:lnTo>
                  <a:lnTo>
                    <a:pt x="588" y="385"/>
                  </a:lnTo>
                  <a:close/>
                  <a:moveTo>
                    <a:pt x="519" y="365"/>
                  </a:moveTo>
                  <a:lnTo>
                    <a:pt x="521" y="367"/>
                  </a:lnTo>
                  <a:lnTo>
                    <a:pt x="521" y="367"/>
                  </a:lnTo>
                  <a:lnTo>
                    <a:pt x="521" y="367"/>
                  </a:lnTo>
                  <a:lnTo>
                    <a:pt x="521" y="367"/>
                  </a:lnTo>
                  <a:lnTo>
                    <a:pt x="521" y="367"/>
                  </a:lnTo>
                  <a:lnTo>
                    <a:pt x="521" y="367"/>
                  </a:lnTo>
                  <a:lnTo>
                    <a:pt x="523" y="367"/>
                  </a:lnTo>
                  <a:lnTo>
                    <a:pt x="523" y="367"/>
                  </a:lnTo>
                  <a:lnTo>
                    <a:pt x="523" y="367"/>
                  </a:lnTo>
                  <a:lnTo>
                    <a:pt x="523" y="367"/>
                  </a:lnTo>
                  <a:lnTo>
                    <a:pt x="523" y="369"/>
                  </a:lnTo>
                  <a:lnTo>
                    <a:pt x="523" y="369"/>
                  </a:lnTo>
                  <a:lnTo>
                    <a:pt x="523" y="369"/>
                  </a:lnTo>
                  <a:lnTo>
                    <a:pt x="523" y="371"/>
                  </a:lnTo>
                  <a:lnTo>
                    <a:pt x="523" y="371"/>
                  </a:lnTo>
                  <a:lnTo>
                    <a:pt x="525" y="371"/>
                  </a:lnTo>
                  <a:lnTo>
                    <a:pt x="525" y="371"/>
                  </a:lnTo>
                  <a:lnTo>
                    <a:pt x="525" y="371"/>
                  </a:lnTo>
                  <a:lnTo>
                    <a:pt x="525" y="371"/>
                  </a:lnTo>
                  <a:lnTo>
                    <a:pt x="525" y="371"/>
                  </a:lnTo>
                  <a:lnTo>
                    <a:pt x="528" y="371"/>
                  </a:lnTo>
                  <a:lnTo>
                    <a:pt x="528" y="371"/>
                  </a:lnTo>
                  <a:lnTo>
                    <a:pt x="528" y="371"/>
                  </a:lnTo>
                  <a:lnTo>
                    <a:pt x="528" y="371"/>
                  </a:lnTo>
                  <a:lnTo>
                    <a:pt x="528" y="371"/>
                  </a:lnTo>
                  <a:lnTo>
                    <a:pt x="528" y="371"/>
                  </a:lnTo>
                  <a:lnTo>
                    <a:pt x="530" y="374"/>
                  </a:lnTo>
                  <a:lnTo>
                    <a:pt x="530" y="374"/>
                  </a:lnTo>
                  <a:lnTo>
                    <a:pt x="532" y="376"/>
                  </a:lnTo>
                  <a:lnTo>
                    <a:pt x="532" y="376"/>
                  </a:lnTo>
                  <a:lnTo>
                    <a:pt x="532" y="376"/>
                  </a:lnTo>
                  <a:lnTo>
                    <a:pt x="534" y="378"/>
                  </a:lnTo>
                  <a:lnTo>
                    <a:pt x="534" y="378"/>
                  </a:lnTo>
                  <a:lnTo>
                    <a:pt x="534" y="378"/>
                  </a:lnTo>
                  <a:lnTo>
                    <a:pt x="534" y="380"/>
                  </a:lnTo>
                  <a:lnTo>
                    <a:pt x="534" y="380"/>
                  </a:lnTo>
                  <a:lnTo>
                    <a:pt x="534" y="380"/>
                  </a:lnTo>
                  <a:lnTo>
                    <a:pt x="534" y="383"/>
                  </a:lnTo>
                  <a:lnTo>
                    <a:pt x="534" y="383"/>
                  </a:lnTo>
                  <a:lnTo>
                    <a:pt x="532" y="383"/>
                  </a:lnTo>
                  <a:lnTo>
                    <a:pt x="532" y="385"/>
                  </a:lnTo>
                  <a:lnTo>
                    <a:pt x="532" y="385"/>
                  </a:lnTo>
                  <a:lnTo>
                    <a:pt x="530" y="385"/>
                  </a:lnTo>
                  <a:lnTo>
                    <a:pt x="530" y="385"/>
                  </a:lnTo>
                  <a:lnTo>
                    <a:pt x="530" y="385"/>
                  </a:lnTo>
                  <a:lnTo>
                    <a:pt x="528" y="385"/>
                  </a:lnTo>
                  <a:lnTo>
                    <a:pt x="528" y="385"/>
                  </a:lnTo>
                  <a:lnTo>
                    <a:pt x="528" y="385"/>
                  </a:lnTo>
                  <a:lnTo>
                    <a:pt x="528" y="385"/>
                  </a:lnTo>
                  <a:lnTo>
                    <a:pt x="528" y="385"/>
                  </a:lnTo>
                  <a:lnTo>
                    <a:pt x="528" y="387"/>
                  </a:lnTo>
                  <a:lnTo>
                    <a:pt x="525" y="387"/>
                  </a:lnTo>
                  <a:lnTo>
                    <a:pt x="525" y="387"/>
                  </a:lnTo>
                  <a:lnTo>
                    <a:pt x="525" y="387"/>
                  </a:lnTo>
                  <a:lnTo>
                    <a:pt x="525" y="385"/>
                  </a:lnTo>
                  <a:lnTo>
                    <a:pt x="525" y="385"/>
                  </a:lnTo>
                  <a:lnTo>
                    <a:pt x="521" y="385"/>
                  </a:lnTo>
                  <a:lnTo>
                    <a:pt x="521" y="385"/>
                  </a:lnTo>
                  <a:lnTo>
                    <a:pt x="521" y="385"/>
                  </a:lnTo>
                  <a:lnTo>
                    <a:pt x="521" y="385"/>
                  </a:lnTo>
                  <a:lnTo>
                    <a:pt x="521" y="385"/>
                  </a:lnTo>
                  <a:lnTo>
                    <a:pt x="521" y="383"/>
                  </a:lnTo>
                  <a:lnTo>
                    <a:pt x="519" y="383"/>
                  </a:lnTo>
                  <a:lnTo>
                    <a:pt x="519" y="383"/>
                  </a:lnTo>
                  <a:lnTo>
                    <a:pt x="519" y="383"/>
                  </a:lnTo>
                  <a:lnTo>
                    <a:pt x="519" y="383"/>
                  </a:lnTo>
                  <a:lnTo>
                    <a:pt x="519" y="383"/>
                  </a:lnTo>
                  <a:lnTo>
                    <a:pt x="519" y="383"/>
                  </a:lnTo>
                  <a:lnTo>
                    <a:pt x="519" y="383"/>
                  </a:lnTo>
                  <a:lnTo>
                    <a:pt x="519" y="380"/>
                  </a:lnTo>
                  <a:lnTo>
                    <a:pt x="516" y="380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6" y="378"/>
                  </a:lnTo>
                  <a:lnTo>
                    <a:pt x="514" y="378"/>
                  </a:lnTo>
                  <a:lnTo>
                    <a:pt x="514" y="378"/>
                  </a:lnTo>
                  <a:lnTo>
                    <a:pt x="514" y="378"/>
                  </a:lnTo>
                  <a:lnTo>
                    <a:pt x="514" y="378"/>
                  </a:lnTo>
                  <a:lnTo>
                    <a:pt x="514" y="378"/>
                  </a:lnTo>
                  <a:lnTo>
                    <a:pt x="514" y="378"/>
                  </a:lnTo>
                  <a:lnTo>
                    <a:pt x="514" y="378"/>
                  </a:lnTo>
                  <a:lnTo>
                    <a:pt x="514" y="376"/>
                  </a:lnTo>
                  <a:lnTo>
                    <a:pt x="512" y="376"/>
                  </a:lnTo>
                  <a:lnTo>
                    <a:pt x="512" y="376"/>
                  </a:lnTo>
                  <a:lnTo>
                    <a:pt x="512" y="376"/>
                  </a:lnTo>
                  <a:lnTo>
                    <a:pt x="512" y="374"/>
                  </a:lnTo>
                  <a:lnTo>
                    <a:pt x="512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10" y="374"/>
                  </a:lnTo>
                  <a:lnTo>
                    <a:pt x="507" y="374"/>
                  </a:lnTo>
                  <a:lnTo>
                    <a:pt x="507" y="374"/>
                  </a:lnTo>
                  <a:lnTo>
                    <a:pt x="507" y="374"/>
                  </a:lnTo>
                  <a:lnTo>
                    <a:pt x="507" y="374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5" y="374"/>
                  </a:lnTo>
                  <a:lnTo>
                    <a:pt x="503" y="374"/>
                  </a:lnTo>
                  <a:lnTo>
                    <a:pt x="503" y="374"/>
                  </a:lnTo>
                  <a:lnTo>
                    <a:pt x="503" y="374"/>
                  </a:lnTo>
                  <a:lnTo>
                    <a:pt x="503" y="374"/>
                  </a:lnTo>
                  <a:lnTo>
                    <a:pt x="503" y="374"/>
                  </a:lnTo>
                  <a:lnTo>
                    <a:pt x="503" y="374"/>
                  </a:lnTo>
                  <a:lnTo>
                    <a:pt x="501" y="374"/>
                  </a:lnTo>
                  <a:lnTo>
                    <a:pt x="501" y="374"/>
                  </a:lnTo>
                  <a:lnTo>
                    <a:pt x="501" y="374"/>
                  </a:lnTo>
                  <a:lnTo>
                    <a:pt x="498" y="371"/>
                  </a:lnTo>
                  <a:lnTo>
                    <a:pt x="498" y="371"/>
                  </a:lnTo>
                  <a:lnTo>
                    <a:pt x="498" y="371"/>
                  </a:lnTo>
                  <a:lnTo>
                    <a:pt x="498" y="371"/>
                  </a:lnTo>
                  <a:lnTo>
                    <a:pt x="496" y="369"/>
                  </a:lnTo>
                  <a:lnTo>
                    <a:pt x="496" y="369"/>
                  </a:lnTo>
                  <a:lnTo>
                    <a:pt x="496" y="369"/>
                  </a:lnTo>
                  <a:lnTo>
                    <a:pt x="496" y="369"/>
                  </a:lnTo>
                  <a:lnTo>
                    <a:pt x="496" y="369"/>
                  </a:lnTo>
                  <a:lnTo>
                    <a:pt x="496" y="369"/>
                  </a:lnTo>
                  <a:lnTo>
                    <a:pt x="496" y="367"/>
                  </a:lnTo>
                  <a:lnTo>
                    <a:pt x="496" y="367"/>
                  </a:lnTo>
                  <a:lnTo>
                    <a:pt x="496" y="367"/>
                  </a:lnTo>
                  <a:lnTo>
                    <a:pt x="498" y="365"/>
                  </a:lnTo>
                  <a:lnTo>
                    <a:pt x="498" y="365"/>
                  </a:lnTo>
                  <a:lnTo>
                    <a:pt x="498" y="365"/>
                  </a:lnTo>
                  <a:lnTo>
                    <a:pt x="501" y="365"/>
                  </a:lnTo>
                  <a:lnTo>
                    <a:pt x="501" y="365"/>
                  </a:lnTo>
                  <a:lnTo>
                    <a:pt x="501" y="365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3" y="365"/>
                  </a:lnTo>
                  <a:lnTo>
                    <a:pt x="503" y="365"/>
                  </a:lnTo>
                  <a:lnTo>
                    <a:pt x="503" y="365"/>
                  </a:lnTo>
                  <a:lnTo>
                    <a:pt x="503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5"/>
                  </a:lnTo>
                  <a:lnTo>
                    <a:pt x="505" y="365"/>
                  </a:lnTo>
                  <a:lnTo>
                    <a:pt x="507" y="365"/>
                  </a:lnTo>
                  <a:lnTo>
                    <a:pt x="507" y="365"/>
                  </a:lnTo>
                  <a:lnTo>
                    <a:pt x="507" y="365"/>
                  </a:lnTo>
                  <a:lnTo>
                    <a:pt x="510" y="365"/>
                  </a:lnTo>
                  <a:lnTo>
                    <a:pt x="510" y="365"/>
                  </a:lnTo>
                  <a:lnTo>
                    <a:pt x="510" y="365"/>
                  </a:lnTo>
                  <a:lnTo>
                    <a:pt x="512" y="362"/>
                  </a:lnTo>
                  <a:lnTo>
                    <a:pt x="512" y="362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2" y="365"/>
                  </a:lnTo>
                  <a:lnTo>
                    <a:pt x="514" y="365"/>
                  </a:lnTo>
                  <a:lnTo>
                    <a:pt x="514" y="365"/>
                  </a:lnTo>
                  <a:lnTo>
                    <a:pt x="519" y="362"/>
                  </a:lnTo>
                  <a:lnTo>
                    <a:pt x="519" y="362"/>
                  </a:lnTo>
                  <a:lnTo>
                    <a:pt x="519" y="362"/>
                  </a:lnTo>
                  <a:lnTo>
                    <a:pt x="519" y="362"/>
                  </a:lnTo>
                  <a:lnTo>
                    <a:pt x="519" y="365"/>
                  </a:lnTo>
                  <a:close/>
                  <a:moveTo>
                    <a:pt x="622" y="358"/>
                  </a:moveTo>
                  <a:lnTo>
                    <a:pt x="622" y="358"/>
                  </a:lnTo>
                  <a:lnTo>
                    <a:pt x="622" y="358"/>
                  </a:lnTo>
                  <a:lnTo>
                    <a:pt x="624" y="358"/>
                  </a:lnTo>
                  <a:lnTo>
                    <a:pt x="624" y="356"/>
                  </a:lnTo>
                  <a:lnTo>
                    <a:pt x="624" y="356"/>
                  </a:lnTo>
                  <a:lnTo>
                    <a:pt x="624" y="356"/>
                  </a:lnTo>
                  <a:lnTo>
                    <a:pt x="624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6"/>
                  </a:lnTo>
                  <a:lnTo>
                    <a:pt x="626" y="358"/>
                  </a:lnTo>
                  <a:lnTo>
                    <a:pt x="626" y="358"/>
                  </a:lnTo>
                  <a:lnTo>
                    <a:pt x="626" y="358"/>
                  </a:lnTo>
                  <a:lnTo>
                    <a:pt x="626" y="360"/>
                  </a:lnTo>
                  <a:lnTo>
                    <a:pt x="626" y="360"/>
                  </a:lnTo>
                  <a:lnTo>
                    <a:pt x="626" y="360"/>
                  </a:lnTo>
                  <a:lnTo>
                    <a:pt x="626" y="360"/>
                  </a:lnTo>
                  <a:lnTo>
                    <a:pt x="626" y="360"/>
                  </a:lnTo>
                  <a:lnTo>
                    <a:pt x="626" y="360"/>
                  </a:lnTo>
                  <a:lnTo>
                    <a:pt x="626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2" y="360"/>
                  </a:lnTo>
                  <a:lnTo>
                    <a:pt x="622" y="360"/>
                  </a:lnTo>
                  <a:lnTo>
                    <a:pt x="622" y="360"/>
                  </a:lnTo>
                  <a:lnTo>
                    <a:pt x="622" y="362"/>
                  </a:lnTo>
                  <a:lnTo>
                    <a:pt x="622" y="362"/>
                  </a:lnTo>
                  <a:lnTo>
                    <a:pt x="622" y="362"/>
                  </a:lnTo>
                  <a:lnTo>
                    <a:pt x="624" y="362"/>
                  </a:lnTo>
                  <a:lnTo>
                    <a:pt x="624" y="362"/>
                  </a:lnTo>
                  <a:lnTo>
                    <a:pt x="624" y="362"/>
                  </a:lnTo>
                  <a:lnTo>
                    <a:pt x="624" y="365"/>
                  </a:lnTo>
                  <a:lnTo>
                    <a:pt x="624" y="365"/>
                  </a:lnTo>
                  <a:lnTo>
                    <a:pt x="624" y="365"/>
                  </a:lnTo>
                  <a:lnTo>
                    <a:pt x="624" y="365"/>
                  </a:lnTo>
                  <a:lnTo>
                    <a:pt x="624" y="365"/>
                  </a:lnTo>
                  <a:lnTo>
                    <a:pt x="624" y="367"/>
                  </a:lnTo>
                  <a:lnTo>
                    <a:pt x="624" y="367"/>
                  </a:lnTo>
                  <a:lnTo>
                    <a:pt x="622" y="369"/>
                  </a:lnTo>
                  <a:lnTo>
                    <a:pt x="622" y="369"/>
                  </a:lnTo>
                  <a:lnTo>
                    <a:pt x="622" y="371"/>
                  </a:lnTo>
                  <a:lnTo>
                    <a:pt x="622" y="371"/>
                  </a:lnTo>
                  <a:lnTo>
                    <a:pt x="620" y="374"/>
                  </a:lnTo>
                  <a:lnTo>
                    <a:pt x="620" y="374"/>
                  </a:lnTo>
                  <a:lnTo>
                    <a:pt x="617" y="376"/>
                  </a:lnTo>
                  <a:lnTo>
                    <a:pt x="617" y="376"/>
                  </a:lnTo>
                  <a:lnTo>
                    <a:pt x="617" y="376"/>
                  </a:lnTo>
                  <a:lnTo>
                    <a:pt x="615" y="378"/>
                  </a:lnTo>
                  <a:lnTo>
                    <a:pt x="615" y="378"/>
                  </a:lnTo>
                  <a:lnTo>
                    <a:pt x="613" y="378"/>
                  </a:lnTo>
                  <a:lnTo>
                    <a:pt x="613" y="380"/>
                  </a:lnTo>
                  <a:lnTo>
                    <a:pt x="613" y="380"/>
                  </a:lnTo>
                  <a:lnTo>
                    <a:pt x="611" y="380"/>
                  </a:lnTo>
                  <a:lnTo>
                    <a:pt x="611" y="380"/>
                  </a:lnTo>
                  <a:lnTo>
                    <a:pt x="611" y="383"/>
                  </a:lnTo>
                  <a:lnTo>
                    <a:pt x="611" y="383"/>
                  </a:lnTo>
                  <a:lnTo>
                    <a:pt x="608" y="383"/>
                  </a:lnTo>
                  <a:lnTo>
                    <a:pt x="608" y="383"/>
                  </a:lnTo>
                  <a:lnTo>
                    <a:pt x="606" y="383"/>
                  </a:lnTo>
                  <a:lnTo>
                    <a:pt x="604" y="383"/>
                  </a:lnTo>
                  <a:lnTo>
                    <a:pt x="604" y="383"/>
                  </a:lnTo>
                  <a:lnTo>
                    <a:pt x="604" y="383"/>
                  </a:lnTo>
                  <a:lnTo>
                    <a:pt x="604" y="383"/>
                  </a:lnTo>
                  <a:lnTo>
                    <a:pt x="604" y="383"/>
                  </a:lnTo>
                  <a:lnTo>
                    <a:pt x="602" y="383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602" y="385"/>
                  </a:lnTo>
                  <a:lnTo>
                    <a:pt x="599" y="387"/>
                  </a:lnTo>
                  <a:lnTo>
                    <a:pt x="597" y="387"/>
                  </a:lnTo>
                  <a:lnTo>
                    <a:pt x="595" y="387"/>
                  </a:lnTo>
                  <a:lnTo>
                    <a:pt x="595" y="387"/>
                  </a:lnTo>
                  <a:lnTo>
                    <a:pt x="595" y="387"/>
                  </a:lnTo>
                  <a:lnTo>
                    <a:pt x="595" y="387"/>
                  </a:lnTo>
                  <a:lnTo>
                    <a:pt x="595" y="387"/>
                  </a:lnTo>
                  <a:lnTo>
                    <a:pt x="593" y="387"/>
                  </a:lnTo>
                  <a:lnTo>
                    <a:pt x="593" y="387"/>
                  </a:lnTo>
                  <a:lnTo>
                    <a:pt x="593" y="387"/>
                  </a:lnTo>
                  <a:lnTo>
                    <a:pt x="593" y="387"/>
                  </a:lnTo>
                  <a:lnTo>
                    <a:pt x="593" y="387"/>
                  </a:lnTo>
                  <a:lnTo>
                    <a:pt x="593" y="387"/>
                  </a:lnTo>
                  <a:lnTo>
                    <a:pt x="590" y="387"/>
                  </a:lnTo>
                  <a:lnTo>
                    <a:pt x="590" y="387"/>
                  </a:lnTo>
                  <a:lnTo>
                    <a:pt x="590" y="387"/>
                  </a:lnTo>
                  <a:lnTo>
                    <a:pt x="590" y="387"/>
                  </a:lnTo>
                  <a:lnTo>
                    <a:pt x="590" y="387"/>
                  </a:lnTo>
                  <a:lnTo>
                    <a:pt x="590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0" y="387"/>
                  </a:lnTo>
                  <a:lnTo>
                    <a:pt x="590" y="385"/>
                  </a:lnTo>
                  <a:lnTo>
                    <a:pt x="590" y="385"/>
                  </a:lnTo>
                  <a:lnTo>
                    <a:pt x="590" y="385"/>
                  </a:lnTo>
                  <a:lnTo>
                    <a:pt x="590" y="385"/>
                  </a:lnTo>
                  <a:lnTo>
                    <a:pt x="590" y="383"/>
                  </a:lnTo>
                  <a:lnTo>
                    <a:pt x="593" y="383"/>
                  </a:lnTo>
                  <a:lnTo>
                    <a:pt x="593" y="383"/>
                  </a:lnTo>
                  <a:lnTo>
                    <a:pt x="593" y="383"/>
                  </a:lnTo>
                  <a:lnTo>
                    <a:pt x="593" y="383"/>
                  </a:lnTo>
                  <a:lnTo>
                    <a:pt x="593" y="383"/>
                  </a:lnTo>
                  <a:lnTo>
                    <a:pt x="595" y="380"/>
                  </a:lnTo>
                  <a:lnTo>
                    <a:pt x="595" y="380"/>
                  </a:lnTo>
                  <a:lnTo>
                    <a:pt x="595" y="380"/>
                  </a:lnTo>
                  <a:lnTo>
                    <a:pt x="595" y="380"/>
                  </a:lnTo>
                  <a:lnTo>
                    <a:pt x="595" y="380"/>
                  </a:lnTo>
                  <a:lnTo>
                    <a:pt x="595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3" y="380"/>
                  </a:lnTo>
                  <a:lnTo>
                    <a:pt x="593" y="378"/>
                  </a:lnTo>
                  <a:lnTo>
                    <a:pt x="593" y="378"/>
                  </a:lnTo>
                  <a:lnTo>
                    <a:pt x="593" y="376"/>
                  </a:lnTo>
                  <a:lnTo>
                    <a:pt x="593" y="376"/>
                  </a:lnTo>
                  <a:lnTo>
                    <a:pt x="595" y="376"/>
                  </a:lnTo>
                  <a:lnTo>
                    <a:pt x="595" y="376"/>
                  </a:lnTo>
                  <a:lnTo>
                    <a:pt x="595" y="376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4"/>
                  </a:lnTo>
                  <a:lnTo>
                    <a:pt x="595" y="371"/>
                  </a:lnTo>
                  <a:lnTo>
                    <a:pt x="595" y="369"/>
                  </a:lnTo>
                  <a:lnTo>
                    <a:pt x="595" y="369"/>
                  </a:lnTo>
                  <a:lnTo>
                    <a:pt x="595" y="369"/>
                  </a:lnTo>
                  <a:lnTo>
                    <a:pt x="597" y="369"/>
                  </a:lnTo>
                  <a:lnTo>
                    <a:pt x="597" y="369"/>
                  </a:lnTo>
                  <a:lnTo>
                    <a:pt x="597" y="367"/>
                  </a:lnTo>
                  <a:lnTo>
                    <a:pt x="597" y="367"/>
                  </a:lnTo>
                  <a:lnTo>
                    <a:pt x="597" y="367"/>
                  </a:lnTo>
                  <a:lnTo>
                    <a:pt x="597" y="367"/>
                  </a:lnTo>
                  <a:lnTo>
                    <a:pt x="597" y="367"/>
                  </a:lnTo>
                  <a:lnTo>
                    <a:pt x="599" y="367"/>
                  </a:lnTo>
                  <a:lnTo>
                    <a:pt x="599" y="367"/>
                  </a:lnTo>
                  <a:lnTo>
                    <a:pt x="599" y="367"/>
                  </a:lnTo>
                  <a:lnTo>
                    <a:pt x="599" y="367"/>
                  </a:lnTo>
                  <a:lnTo>
                    <a:pt x="599" y="367"/>
                  </a:lnTo>
                  <a:lnTo>
                    <a:pt x="599" y="367"/>
                  </a:lnTo>
                  <a:lnTo>
                    <a:pt x="599" y="365"/>
                  </a:lnTo>
                  <a:lnTo>
                    <a:pt x="599" y="365"/>
                  </a:lnTo>
                  <a:lnTo>
                    <a:pt x="599" y="365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5"/>
                  </a:lnTo>
                  <a:lnTo>
                    <a:pt x="602" y="362"/>
                  </a:lnTo>
                  <a:lnTo>
                    <a:pt x="604" y="362"/>
                  </a:lnTo>
                  <a:lnTo>
                    <a:pt x="604" y="365"/>
                  </a:lnTo>
                  <a:lnTo>
                    <a:pt x="604" y="365"/>
                  </a:lnTo>
                  <a:lnTo>
                    <a:pt x="604" y="365"/>
                  </a:lnTo>
                  <a:lnTo>
                    <a:pt x="604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6" y="365"/>
                  </a:lnTo>
                  <a:lnTo>
                    <a:pt x="608" y="365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6" y="367"/>
                  </a:lnTo>
                  <a:lnTo>
                    <a:pt x="606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7"/>
                  </a:lnTo>
                  <a:lnTo>
                    <a:pt x="608" y="365"/>
                  </a:lnTo>
                  <a:lnTo>
                    <a:pt x="608" y="365"/>
                  </a:lnTo>
                  <a:lnTo>
                    <a:pt x="608" y="365"/>
                  </a:lnTo>
                  <a:lnTo>
                    <a:pt x="608" y="365"/>
                  </a:lnTo>
                  <a:lnTo>
                    <a:pt x="608" y="365"/>
                  </a:lnTo>
                  <a:lnTo>
                    <a:pt x="608" y="365"/>
                  </a:lnTo>
                  <a:lnTo>
                    <a:pt x="611" y="365"/>
                  </a:lnTo>
                  <a:lnTo>
                    <a:pt x="611" y="365"/>
                  </a:lnTo>
                  <a:lnTo>
                    <a:pt x="611" y="365"/>
                  </a:lnTo>
                  <a:lnTo>
                    <a:pt x="611" y="365"/>
                  </a:lnTo>
                  <a:lnTo>
                    <a:pt x="611" y="362"/>
                  </a:lnTo>
                  <a:lnTo>
                    <a:pt x="611" y="362"/>
                  </a:lnTo>
                  <a:lnTo>
                    <a:pt x="611" y="362"/>
                  </a:lnTo>
                  <a:lnTo>
                    <a:pt x="611" y="362"/>
                  </a:lnTo>
                  <a:lnTo>
                    <a:pt x="611" y="362"/>
                  </a:lnTo>
                  <a:lnTo>
                    <a:pt x="611" y="362"/>
                  </a:lnTo>
                  <a:lnTo>
                    <a:pt x="613" y="360"/>
                  </a:lnTo>
                  <a:lnTo>
                    <a:pt x="613" y="360"/>
                  </a:lnTo>
                  <a:lnTo>
                    <a:pt x="613" y="360"/>
                  </a:lnTo>
                  <a:lnTo>
                    <a:pt x="613" y="360"/>
                  </a:lnTo>
                  <a:lnTo>
                    <a:pt x="615" y="360"/>
                  </a:lnTo>
                  <a:lnTo>
                    <a:pt x="615" y="358"/>
                  </a:lnTo>
                  <a:lnTo>
                    <a:pt x="617" y="358"/>
                  </a:lnTo>
                  <a:lnTo>
                    <a:pt x="617" y="358"/>
                  </a:lnTo>
                  <a:lnTo>
                    <a:pt x="617" y="358"/>
                  </a:lnTo>
                  <a:lnTo>
                    <a:pt x="617" y="358"/>
                  </a:lnTo>
                  <a:lnTo>
                    <a:pt x="617" y="358"/>
                  </a:lnTo>
                  <a:lnTo>
                    <a:pt x="617" y="358"/>
                  </a:lnTo>
                  <a:lnTo>
                    <a:pt x="620" y="356"/>
                  </a:lnTo>
                  <a:lnTo>
                    <a:pt x="620" y="356"/>
                  </a:lnTo>
                  <a:lnTo>
                    <a:pt x="620" y="356"/>
                  </a:lnTo>
                  <a:lnTo>
                    <a:pt x="620" y="356"/>
                  </a:lnTo>
                  <a:lnTo>
                    <a:pt x="620" y="356"/>
                  </a:lnTo>
                  <a:lnTo>
                    <a:pt x="622" y="356"/>
                  </a:lnTo>
                  <a:lnTo>
                    <a:pt x="622" y="356"/>
                  </a:lnTo>
                  <a:lnTo>
                    <a:pt x="622" y="353"/>
                  </a:lnTo>
                  <a:lnTo>
                    <a:pt x="622" y="356"/>
                  </a:lnTo>
                  <a:lnTo>
                    <a:pt x="622" y="356"/>
                  </a:lnTo>
                  <a:lnTo>
                    <a:pt x="622" y="356"/>
                  </a:lnTo>
                  <a:lnTo>
                    <a:pt x="622" y="356"/>
                  </a:lnTo>
                  <a:lnTo>
                    <a:pt x="622" y="358"/>
                  </a:lnTo>
                  <a:lnTo>
                    <a:pt x="622" y="358"/>
                  </a:lnTo>
                  <a:close/>
                  <a:moveTo>
                    <a:pt x="429" y="351"/>
                  </a:moveTo>
                  <a:lnTo>
                    <a:pt x="426" y="351"/>
                  </a:lnTo>
                  <a:lnTo>
                    <a:pt x="426" y="351"/>
                  </a:lnTo>
                  <a:lnTo>
                    <a:pt x="426" y="349"/>
                  </a:lnTo>
                  <a:lnTo>
                    <a:pt x="424" y="349"/>
                  </a:lnTo>
                  <a:lnTo>
                    <a:pt x="424" y="349"/>
                  </a:lnTo>
                  <a:lnTo>
                    <a:pt x="424" y="349"/>
                  </a:lnTo>
                  <a:lnTo>
                    <a:pt x="424" y="349"/>
                  </a:lnTo>
                  <a:lnTo>
                    <a:pt x="426" y="347"/>
                  </a:lnTo>
                  <a:lnTo>
                    <a:pt x="426" y="347"/>
                  </a:lnTo>
                  <a:lnTo>
                    <a:pt x="426" y="347"/>
                  </a:lnTo>
                  <a:lnTo>
                    <a:pt x="426" y="347"/>
                  </a:lnTo>
                  <a:lnTo>
                    <a:pt x="426" y="347"/>
                  </a:lnTo>
                  <a:lnTo>
                    <a:pt x="426" y="349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49"/>
                  </a:lnTo>
                  <a:lnTo>
                    <a:pt x="429" y="351"/>
                  </a:lnTo>
                  <a:close/>
                  <a:moveTo>
                    <a:pt x="514" y="347"/>
                  </a:moveTo>
                  <a:lnTo>
                    <a:pt x="514" y="347"/>
                  </a:lnTo>
                  <a:lnTo>
                    <a:pt x="514" y="347"/>
                  </a:lnTo>
                  <a:lnTo>
                    <a:pt x="514" y="347"/>
                  </a:lnTo>
                  <a:lnTo>
                    <a:pt x="514" y="347"/>
                  </a:lnTo>
                  <a:lnTo>
                    <a:pt x="514" y="347"/>
                  </a:lnTo>
                  <a:lnTo>
                    <a:pt x="514" y="347"/>
                  </a:lnTo>
                  <a:lnTo>
                    <a:pt x="516" y="347"/>
                  </a:lnTo>
                  <a:lnTo>
                    <a:pt x="516" y="347"/>
                  </a:lnTo>
                  <a:lnTo>
                    <a:pt x="514" y="347"/>
                  </a:lnTo>
                  <a:lnTo>
                    <a:pt x="514" y="347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49"/>
                  </a:lnTo>
                  <a:lnTo>
                    <a:pt x="514" y="351"/>
                  </a:lnTo>
                  <a:lnTo>
                    <a:pt x="514" y="351"/>
                  </a:lnTo>
                  <a:lnTo>
                    <a:pt x="514" y="351"/>
                  </a:lnTo>
                  <a:lnTo>
                    <a:pt x="512" y="351"/>
                  </a:lnTo>
                  <a:lnTo>
                    <a:pt x="512" y="351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51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9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2" y="347"/>
                  </a:lnTo>
                  <a:lnTo>
                    <a:pt x="514" y="347"/>
                  </a:lnTo>
                  <a:close/>
                  <a:moveTo>
                    <a:pt x="570" y="342"/>
                  </a:moveTo>
                  <a:lnTo>
                    <a:pt x="570" y="344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0" y="342"/>
                  </a:lnTo>
                  <a:lnTo>
                    <a:pt x="570" y="342"/>
                  </a:lnTo>
                  <a:close/>
                  <a:moveTo>
                    <a:pt x="382" y="342"/>
                  </a:move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79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lnTo>
                    <a:pt x="382" y="342"/>
                  </a:lnTo>
                  <a:close/>
                  <a:moveTo>
                    <a:pt x="510" y="342"/>
                  </a:moveTo>
                  <a:lnTo>
                    <a:pt x="510" y="342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2" y="342"/>
                  </a:lnTo>
                  <a:lnTo>
                    <a:pt x="512" y="342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4"/>
                  </a:lnTo>
                  <a:lnTo>
                    <a:pt x="512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4"/>
                  </a:lnTo>
                  <a:lnTo>
                    <a:pt x="510" y="344"/>
                  </a:lnTo>
                  <a:lnTo>
                    <a:pt x="510" y="344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10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10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9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7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4"/>
                  </a:lnTo>
                  <a:lnTo>
                    <a:pt x="507" y="342"/>
                  </a:lnTo>
                  <a:lnTo>
                    <a:pt x="507" y="342"/>
                  </a:lnTo>
                  <a:lnTo>
                    <a:pt x="507" y="342"/>
                  </a:lnTo>
                  <a:lnTo>
                    <a:pt x="507" y="342"/>
                  </a:lnTo>
                  <a:lnTo>
                    <a:pt x="507" y="342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2"/>
                  </a:lnTo>
                  <a:lnTo>
                    <a:pt x="510" y="342"/>
                  </a:lnTo>
                  <a:close/>
                  <a:moveTo>
                    <a:pt x="586" y="342"/>
                  </a:moveTo>
                  <a:lnTo>
                    <a:pt x="586" y="342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4" y="342"/>
                  </a:lnTo>
                  <a:lnTo>
                    <a:pt x="584" y="344"/>
                  </a:lnTo>
                  <a:lnTo>
                    <a:pt x="581" y="344"/>
                  </a:lnTo>
                  <a:lnTo>
                    <a:pt x="581" y="347"/>
                  </a:lnTo>
                  <a:lnTo>
                    <a:pt x="581" y="347"/>
                  </a:lnTo>
                  <a:lnTo>
                    <a:pt x="581" y="347"/>
                  </a:lnTo>
                  <a:lnTo>
                    <a:pt x="579" y="344"/>
                  </a:lnTo>
                  <a:lnTo>
                    <a:pt x="581" y="344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6" y="342"/>
                  </a:lnTo>
                  <a:lnTo>
                    <a:pt x="586" y="342"/>
                  </a:lnTo>
                  <a:close/>
                  <a:moveTo>
                    <a:pt x="557" y="340"/>
                  </a:moveTo>
                  <a:lnTo>
                    <a:pt x="557" y="340"/>
                  </a:lnTo>
                  <a:lnTo>
                    <a:pt x="557" y="340"/>
                  </a:lnTo>
                  <a:lnTo>
                    <a:pt x="555" y="340"/>
                  </a:lnTo>
                  <a:lnTo>
                    <a:pt x="557" y="338"/>
                  </a:lnTo>
                  <a:lnTo>
                    <a:pt x="557" y="338"/>
                  </a:lnTo>
                  <a:lnTo>
                    <a:pt x="557" y="338"/>
                  </a:lnTo>
                  <a:lnTo>
                    <a:pt x="557" y="338"/>
                  </a:lnTo>
                  <a:lnTo>
                    <a:pt x="557" y="338"/>
                  </a:lnTo>
                  <a:lnTo>
                    <a:pt x="557" y="340"/>
                  </a:lnTo>
                  <a:lnTo>
                    <a:pt x="557" y="340"/>
                  </a:lnTo>
                  <a:lnTo>
                    <a:pt x="557" y="340"/>
                  </a:lnTo>
                  <a:close/>
                  <a:moveTo>
                    <a:pt x="590" y="338"/>
                  </a:move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0" y="340"/>
                  </a:lnTo>
                  <a:lnTo>
                    <a:pt x="590" y="340"/>
                  </a:lnTo>
                  <a:lnTo>
                    <a:pt x="588" y="342"/>
                  </a:lnTo>
                  <a:lnTo>
                    <a:pt x="588" y="342"/>
                  </a:lnTo>
                  <a:lnTo>
                    <a:pt x="586" y="340"/>
                  </a:lnTo>
                  <a:lnTo>
                    <a:pt x="584" y="342"/>
                  </a:lnTo>
                  <a:lnTo>
                    <a:pt x="584" y="342"/>
                  </a:lnTo>
                  <a:lnTo>
                    <a:pt x="584" y="340"/>
                  </a:lnTo>
                  <a:lnTo>
                    <a:pt x="584" y="340"/>
                  </a:lnTo>
                  <a:lnTo>
                    <a:pt x="584" y="340"/>
                  </a:lnTo>
                  <a:lnTo>
                    <a:pt x="586" y="338"/>
                  </a:lnTo>
                  <a:lnTo>
                    <a:pt x="586" y="338"/>
                  </a:lnTo>
                  <a:lnTo>
                    <a:pt x="586" y="338"/>
                  </a:lnTo>
                  <a:lnTo>
                    <a:pt x="588" y="338"/>
                  </a:lnTo>
                  <a:lnTo>
                    <a:pt x="588" y="338"/>
                  </a:lnTo>
                  <a:lnTo>
                    <a:pt x="588" y="338"/>
                  </a:lnTo>
                  <a:lnTo>
                    <a:pt x="588" y="338"/>
                  </a:lnTo>
                  <a:lnTo>
                    <a:pt x="590" y="338"/>
                  </a:lnTo>
                  <a:close/>
                  <a:moveTo>
                    <a:pt x="449" y="349"/>
                  </a:move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9" y="351"/>
                  </a:lnTo>
                  <a:lnTo>
                    <a:pt x="449" y="351"/>
                  </a:lnTo>
                  <a:lnTo>
                    <a:pt x="449" y="353"/>
                  </a:lnTo>
                  <a:lnTo>
                    <a:pt x="447" y="353"/>
                  </a:lnTo>
                  <a:lnTo>
                    <a:pt x="447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44" y="351"/>
                  </a:lnTo>
                  <a:lnTo>
                    <a:pt x="444" y="351"/>
                  </a:lnTo>
                  <a:lnTo>
                    <a:pt x="444" y="351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4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2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40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3"/>
                  </a:lnTo>
                  <a:lnTo>
                    <a:pt x="438" y="351"/>
                  </a:lnTo>
                  <a:lnTo>
                    <a:pt x="438" y="351"/>
                  </a:lnTo>
                  <a:lnTo>
                    <a:pt x="438" y="351"/>
                  </a:lnTo>
                  <a:lnTo>
                    <a:pt x="438" y="351"/>
                  </a:lnTo>
                  <a:lnTo>
                    <a:pt x="438" y="351"/>
                  </a:lnTo>
                  <a:lnTo>
                    <a:pt x="435" y="351"/>
                  </a:lnTo>
                  <a:lnTo>
                    <a:pt x="435" y="351"/>
                  </a:lnTo>
                  <a:lnTo>
                    <a:pt x="435" y="353"/>
                  </a:lnTo>
                  <a:lnTo>
                    <a:pt x="435" y="353"/>
                  </a:lnTo>
                  <a:lnTo>
                    <a:pt x="435" y="353"/>
                  </a:lnTo>
                  <a:lnTo>
                    <a:pt x="435" y="353"/>
                  </a:lnTo>
                  <a:lnTo>
                    <a:pt x="435" y="353"/>
                  </a:lnTo>
                  <a:lnTo>
                    <a:pt x="435" y="353"/>
                  </a:lnTo>
                  <a:lnTo>
                    <a:pt x="435" y="353"/>
                  </a:lnTo>
                  <a:lnTo>
                    <a:pt x="435" y="351"/>
                  </a:lnTo>
                  <a:lnTo>
                    <a:pt x="435" y="351"/>
                  </a:lnTo>
                  <a:lnTo>
                    <a:pt x="435" y="351"/>
                  </a:lnTo>
                  <a:lnTo>
                    <a:pt x="435" y="351"/>
                  </a:lnTo>
                  <a:lnTo>
                    <a:pt x="435" y="351"/>
                  </a:lnTo>
                  <a:lnTo>
                    <a:pt x="435" y="351"/>
                  </a:lnTo>
                  <a:lnTo>
                    <a:pt x="433" y="351"/>
                  </a:lnTo>
                  <a:lnTo>
                    <a:pt x="433" y="351"/>
                  </a:lnTo>
                  <a:lnTo>
                    <a:pt x="433" y="351"/>
                  </a:lnTo>
                  <a:lnTo>
                    <a:pt x="433" y="351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3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5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9"/>
                  </a:lnTo>
                  <a:lnTo>
                    <a:pt x="438" y="347"/>
                  </a:lnTo>
                  <a:lnTo>
                    <a:pt x="438" y="347"/>
                  </a:lnTo>
                  <a:lnTo>
                    <a:pt x="438" y="344"/>
                  </a:lnTo>
                  <a:lnTo>
                    <a:pt x="438" y="342"/>
                  </a:lnTo>
                  <a:lnTo>
                    <a:pt x="438" y="342"/>
                  </a:lnTo>
                  <a:lnTo>
                    <a:pt x="438" y="342"/>
                  </a:lnTo>
                  <a:lnTo>
                    <a:pt x="438" y="342"/>
                  </a:lnTo>
                  <a:lnTo>
                    <a:pt x="438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40"/>
                  </a:lnTo>
                  <a:lnTo>
                    <a:pt x="440" y="340"/>
                  </a:lnTo>
                  <a:lnTo>
                    <a:pt x="440" y="340"/>
                  </a:lnTo>
                  <a:lnTo>
                    <a:pt x="440" y="340"/>
                  </a:lnTo>
                  <a:lnTo>
                    <a:pt x="442" y="338"/>
                  </a:lnTo>
                  <a:lnTo>
                    <a:pt x="442" y="338"/>
                  </a:lnTo>
                  <a:lnTo>
                    <a:pt x="444" y="335"/>
                  </a:lnTo>
                  <a:lnTo>
                    <a:pt x="444" y="335"/>
                  </a:lnTo>
                  <a:lnTo>
                    <a:pt x="447" y="338"/>
                  </a:lnTo>
                  <a:lnTo>
                    <a:pt x="447" y="338"/>
                  </a:lnTo>
                  <a:lnTo>
                    <a:pt x="449" y="338"/>
                  </a:lnTo>
                  <a:lnTo>
                    <a:pt x="449" y="338"/>
                  </a:lnTo>
                  <a:lnTo>
                    <a:pt x="449" y="338"/>
                  </a:lnTo>
                  <a:lnTo>
                    <a:pt x="449" y="338"/>
                  </a:lnTo>
                  <a:lnTo>
                    <a:pt x="449" y="338"/>
                  </a:lnTo>
                  <a:lnTo>
                    <a:pt x="451" y="338"/>
                  </a:lnTo>
                  <a:lnTo>
                    <a:pt x="451" y="340"/>
                  </a:lnTo>
                  <a:lnTo>
                    <a:pt x="451" y="340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1" y="342"/>
                  </a:lnTo>
                  <a:lnTo>
                    <a:pt x="451" y="342"/>
                  </a:lnTo>
                  <a:lnTo>
                    <a:pt x="451" y="342"/>
                  </a:lnTo>
                  <a:lnTo>
                    <a:pt x="451" y="344"/>
                  </a:lnTo>
                  <a:lnTo>
                    <a:pt x="451" y="344"/>
                  </a:lnTo>
                  <a:lnTo>
                    <a:pt x="449" y="347"/>
                  </a:lnTo>
                  <a:lnTo>
                    <a:pt x="449" y="347"/>
                  </a:lnTo>
                  <a:lnTo>
                    <a:pt x="449" y="347"/>
                  </a:lnTo>
                  <a:lnTo>
                    <a:pt x="449" y="349"/>
                  </a:lnTo>
                  <a:lnTo>
                    <a:pt x="449" y="349"/>
                  </a:lnTo>
                  <a:close/>
                  <a:moveTo>
                    <a:pt x="694" y="335"/>
                  </a:moveTo>
                  <a:lnTo>
                    <a:pt x="694" y="338"/>
                  </a:lnTo>
                  <a:lnTo>
                    <a:pt x="694" y="338"/>
                  </a:lnTo>
                  <a:lnTo>
                    <a:pt x="694" y="338"/>
                  </a:lnTo>
                  <a:lnTo>
                    <a:pt x="694" y="338"/>
                  </a:lnTo>
                  <a:lnTo>
                    <a:pt x="692" y="338"/>
                  </a:lnTo>
                  <a:lnTo>
                    <a:pt x="692" y="338"/>
                  </a:lnTo>
                  <a:lnTo>
                    <a:pt x="692" y="338"/>
                  </a:lnTo>
                  <a:lnTo>
                    <a:pt x="692" y="338"/>
                  </a:lnTo>
                  <a:lnTo>
                    <a:pt x="692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5"/>
                  </a:lnTo>
                  <a:lnTo>
                    <a:pt x="692" y="335"/>
                  </a:lnTo>
                  <a:lnTo>
                    <a:pt x="692" y="338"/>
                  </a:lnTo>
                  <a:lnTo>
                    <a:pt x="692" y="335"/>
                  </a:lnTo>
                  <a:lnTo>
                    <a:pt x="692" y="335"/>
                  </a:lnTo>
                  <a:lnTo>
                    <a:pt x="692" y="335"/>
                  </a:lnTo>
                  <a:lnTo>
                    <a:pt x="694" y="335"/>
                  </a:lnTo>
                  <a:close/>
                  <a:moveTo>
                    <a:pt x="604" y="338"/>
                  </a:moveTo>
                  <a:lnTo>
                    <a:pt x="604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8"/>
                  </a:lnTo>
                  <a:lnTo>
                    <a:pt x="599" y="338"/>
                  </a:lnTo>
                  <a:lnTo>
                    <a:pt x="599" y="338"/>
                  </a:lnTo>
                  <a:lnTo>
                    <a:pt x="599" y="338"/>
                  </a:lnTo>
                  <a:lnTo>
                    <a:pt x="599" y="340"/>
                  </a:lnTo>
                  <a:lnTo>
                    <a:pt x="599" y="340"/>
                  </a:lnTo>
                  <a:lnTo>
                    <a:pt x="599" y="340"/>
                  </a:lnTo>
                  <a:lnTo>
                    <a:pt x="597" y="342"/>
                  </a:lnTo>
                  <a:lnTo>
                    <a:pt x="597" y="342"/>
                  </a:lnTo>
                  <a:lnTo>
                    <a:pt x="597" y="342"/>
                  </a:lnTo>
                  <a:lnTo>
                    <a:pt x="597" y="342"/>
                  </a:lnTo>
                  <a:lnTo>
                    <a:pt x="597" y="342"/>
                  </a:lnTo>
                  <a:lnTo>
                    <a:pt x="597" y="342"/>
                  </a:lnTo>
                  <a:lnTo>
                    <a:pt x="597" y="342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5" y="342"/>
                  </a:lnTo>
                  <a:lnTo>
                    <a:pt x="595" y="344"/>
                  </a:lnTo>
                  <a:lnTo>
                    <a:pt x="595" y="344"/>
                  </a:lnTo>
                  <a:lnTo>
                    <a:pt x="595" y="344"/>
                  </a:lnTo>
                  <a:lnTo>
                    <a:pt x="595" y="344"/>
                  </a:lnTo>
                  <a:lnTo>
                    <a:pt x="595" y="344"/>
                  </a:lnTo>
                  <a:lnTo>
                    <a:pt x="595" y="344"/>
                  </a:lnTo>
                  <a:lnTo>
                    <a:pt x="593" y="344"/>
                  </a:lnTo>
                  <a:lnTo>
                    <a:pt x="593" y="344"/>
                  </a:lnTo>
                  <a:lnTo>
                    <a:pt x="593" y="344"/>
                  </a:lnTo>
                  <a:lnTo>
                    <a:pt x="593" y="344"/>
                  </a:lnTo>
                  <a:lnTo>
                    <a:pt x="593" y="344"/>
                  </a:lnTo>
                  <a:lnTo>
                    <a:pt x="590" y="347"/>
                  </a:lnTo>
                  <a:lnTo>
                    <a:pt x="590" y="344"/>
                  </a:lnTo>
                  <a:lnTo>
                    <a:pt x="590" y="344"/>
                  </a:lnTo>
                  <a:lnTo>
                    <a:pt x="590" y="344"/>
                  </a:lnTo>
                  <a:lnTo>
                    <a:pt x="590" y="344"/>
                  </a:lnTo>
                  <a:lnTo>
                    <a:pt x="590" y="344"/>
                  </a:lnTo>
                  <a:lnTo>
                    <a:pt x="590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88" y="344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3" y="340"/>
                  </a:lnTo>
                  <a:lnTo>
                    <a:pt x="590" y="340"/>
                  </a:lnTo>
                  <a:lnTo>
                    <a:pt x="590" y="338"/>
                  </a:lnTo>
                  <a:lnTo>
                    <a:pt x="590" y="338"/>
                  </a:lnTo>
                  <a:lnTo>
                    <a:pt x="593" y="338"/>
                  </a:lnTo>
                  <a:lnTo>
                    <a:pt x="593" y="338"/>
                  </a:lnTo>
                  <a:lnTo>
                    <a:pt x="593" y="338"/>
                  </a:lnTo>
                  <a:lnTo>
                    <a:pt x="593" y="338"/>
                  </a:lnTo>
                  <a:lnTo>
                    <a:pt x="593" y="338"/>
                  </a:lnTo>
                  <a:lnTo>
                    <a:pt x="593" y="338"/>
                  </a:lnTo>
                  <a:lnTo>
                    <a:pt x="593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40"/>
                  </a:lnTo>
                  <a:lnTo>
                    <a:pt x="595" y="338"/>
                  </a:lnTo>
                  <a:lnTo>
                    <a:pt x="595" y="338"/>
                  </a:lnTo>
                  <a:lnTo>
                    <a:pt x="597" y="340"/>
                  </a:lnTo>
                  <a:lnTo>
                    <a:pt x="597" y="340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7" y="338"/>
                  </a:lnTo>
                  <a:lnTo>
                    <a:pt x="599" y="338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599" y="335"/>
                  </a:lnTo>
                  <a:lnTo>
                    <a:pt x="602" y="335"/>
                  </a:lnTo>
                  <a:lnTo>
                    <a:pt x="602" y="335"/>
                  </a:lnTo>
                  <a:lnTo>
                    <a:pt x="602" y="335"/>
                  </a:lnTo>
                  <a:lnTo>
                    <a:pt x="602" y="338"/>
                  </a:lnTo>
                  <a:lnTo>
                    <a:pt x="602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4" y="338"/>
                  </a:lnTo>
                  <a:lnTo>
                    <a:pt x="604" y="338"/>
                  </a:lnTo>
                  <a:close/>
                  <a:moveTo>
                    <a:pt x="608" y="340"/>
                  </a:moveTo>
                  <a:lnTo>
                    <a:pt x="608" y="342"/>
                  </a:lnTo>
                  <a:lnTo>
                    <a:pt x="608" y="342"/>
                  </a:lnTo>
                  <a:lnTo>
                    <a:pt x="608" y="342"/>
                  </a:lnTo>
                  <a:lnTo>
                    <a:pt x="608" y="342"/>
                  </a:lnTo>
                  <a:lnTo>
                    <a:pt x="608" y="344"/>
                  </a:lnTo>
                  <a:lnTo>
                    <a:pt x="606" y="344"/>
                  </a:lnTo>
                  <a:lnTo>
                    <a:pt x="606" y="344"/>
                  </a:lnTo>
                  <a:lnTo>
                    <a:pt x="606" y="344"/>
                  </a:lnTo>
                  <a:lnTo>
                    <a:pt x="606" y="344"/>
                  </a:lnTo>
                  <a:lnTo>
                    <a:pt x="606" y="344"/>
                  </a:lnTo>
                  <a:lnTo>
                    <a:pt x="604" y="344"/>
                  </a:lnTo>
                  <a:lnTo>
                    <a:pt x="604" y="344"/>
                  </a:lnTo>
                  <a:lnTo>
                    <a:pt x="604" y="344"/>
                  </a:lnTo>
                  <a:lnTo>
                    <a:pt x="604" y="342"/>
                  </a:lnTo>
                  <a:lnTo>
                    <a:pt x="604" y="342"/>
                  </a:lnTo>
                  <a:lnTo>
                    <a:pt x="604" y="342"/>
                  </a:lnTo>
                  <a:lnTo>
                    <a:pt x="604" y="342"/>
                  </a:lnTo>
                  <a:lnTo>
                    <a:pt x="604" y="342"/>
                  </a:lnTo>
                  <a:lnTo>
                    <a:pt x="604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4" y="340"/>
                  </a:lnTo>
                  <a:lnTo>
                    <a:pt x="604" y="340"/>
                  </a:lnTo>
                  <a:lnTo>
                    <a:pt x="604" y="340"/>
                  </a:lnTo>
                  <a:lnTo>
                    <a:pt x="606" y="338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6" y="340"/>
                  </a:lnTo>
                  <a:lnTo>
                    <a:pt x="608" y="340"/>
                  </a:lnTo>
                  <a:lnTo>
                    <a:pt x="608" y="338"/>
                  </a:lnTo>
                  <a:lnTo>
                    <a:pt x="608" y="338"/>
                  </a:lnTo>
                  <a:lnTo>
                    <a:pt x="608" y="335"/>
                  </a:lnTo>
                  <a:lnTo>
                    <a:pt x="611" y="335"/>
                  </a:lnTo>
                  <a:lnTo>
                    <a:pt x="611" y="335"/>
                  </a:lnTo>
                  <a:lnTo>
                    <a:pt x="611" y="335"/>
                  </a:lnTo>
                  <a:lnTo>
                    <a:pt x="611" y="335"/>
                  </a:lnTo>
                  <a:lnTo>
                    <a:pt x="611" y="335"/>
                  </a:lnTo>
                  <a:lnTo>
                    <a:pt x="611" y="335"/>
                  </a:lnTo>
                  <a:lnTo>
                    <a:pt x="611" y="338"/>
                  </a:lnTo>
                  <a:lnTo>
                    <a:pt x="611" y="338"/>
                  </a:lnTo>
                  <a:lnTo>
                    <a:pt x="611" y="338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11" y="340"/>
                  </a:lnTo>
                  <a:lnTo>
                    <a:pt x="608" y="340"/>
                  </a:lnTo>
                  <a:lnTo>
                    <a:pt x="608" y="340"/>
                  </a:lnTo>
                  <a:close/>
                  <a:moveTo>
                    <a:pt x="710" y="338"/>
                  </a:moveTo>
                  <a:lnTo>
                    <a:pt x="710" y="338"/>
                  </a:lnTo>
                  <a:lnTo>
                    <a:pt x="710" y="338"/>
                  </a:lnTo>
                  <a:lnTo>
                    <a:pt x="710" y="338"/>
                  </a:lnTo>
                  <a:lnTo>
                    <a:pt x="710" y="338"/>
                  </a:lnTo>
                  <a:lnTo>
                    <a:pt x="710" y="338"/>
                  </a:lnTo>
                  <a:lnTo>
                    <a:pt x="710" y="338"/>
                  </a:lnTo>
                  <a:lnTo>
                    <a:pt x="707" y="338"/>
                  </a:lnTo>
                  <a:lnTo>
                    <a:pt x="707" y="338"/>
                  </a:lnTo>
                  <a:lnTo>
                    <a:pt x="707" y="338"/>
                  </a:lnTo>
                  <a:lnTo>
                    <a:pt x="707" y="338"/>
                  </a:lnTo>
                  <a:lnTo>
                    <a:pt x="707" y="338"/>
                  </a:lnTo>
                  <a:lnTo>
                    <a:pt x="707" y="338"/>
                  </a:lnTo>
                  <a:lnTo>
                    <a:pt x="705" y="338"/>
                  </a:lnTo>
                  <a:lnTo>
                    <a:pt x="705" y="335"/>
                  </a:lnTo>
                  <a:lnTo>
                    <a:pt x="707" y="335"/>
                  </a:lnTo>
                  <a:lnTo>
                    <a:pt x="707" y="335"/>
                  </a:lnTo>
                  <a:lnTo>
                    <a:pt x="710" y="335"/>
                  </a:lnTo>
                  <a:lnTo>
                    <a:pt x="710" y="335"/>
                  </a:lnTo>
                  <a:lnTo>
                    <a:pt x="710" y="335"/>
                  </a:lnTo>
                  <a:lnTo>
                    <a:pt x="710" y="338"/>
                  </a:lnTo>
                  <a:close/>
                  <a:moveTo>
                    <a:pt x="916" y="340"/>
                  </a:moveTo>
                  <a:lnTo>
                    <a:pt x="916" y="340"/>
                  </a:lnTo>
                  <a:lnTo>
                    <a:pt x="916" y="340"/>
                  </a:lnTo>
                  <a:lnTo>
                    <a:pt x="916" y="342"/>
                  </a:lnTo>
                  <a:lnTo>
                    <a:pt x="912" y="340"/>
                  </a:lnTo>
                  <a:lnTo>
                    <a:pt x="912" y="340"/>
                  </a:lnTo>
                  <a:lnTo>
                    <a:pt x="909" y="340"/>
                  </a:lnTo>
                  <a:lnTo>
                    <a:pt x="909" y="340"/>
                  </a:lnTo>
                  <a:lnTo>
                    <a:pt x="909" y="340"/>
                  </a:lnTo>
                  <a:lnTo>
                    <a:pt x="909" y="340"/>
                  </a:lnTo>
                  <a:lnTo>
                    <a:pt x="909" y="340"/>
                  </a:lnTo>
                  <a:lnTo>
                    <a:pt x="909" y="340"/>
                  </a:lnTo>
                  <a:lnTo>
                    <a:pt x="912" y="338"/>
                  </a:lnTo>
                  <a:lnTo>
                    <a:pt x="912" y="338"/>
                  </a:lnTo>
                  <a:lnTo>
                    <a:pt x="912" y="338"/>
                  </a:lnTo>
                  <a:lnTo>
                    <a:pt x="912" y="335"/>
                  </a:lnTo>
                  <a:lnTo>
                    <a:pt x="912" y="335"/>
                  </a:lnTo>
                  <a:lnTo>
                    <a:pt x="912" y="335"/>
                  </a:lnTo>
                  <a:lnTo>
                    <a:pt x="914" y="335"/>
                  </a:lnTo>
                  <a:lnTo>
                    <a:pt x="914" y="335"/>
                  </a:lnTo>
                  <a:lnTo>
                    <a:pt x="914" y="335"/>
                  </a:lnTo>
                  <a:lnTo>
                    <a:pt x="916" y="335"/>
                  </a:lnTo>
                  <a:lnTo>
                    <a:pt x="916" y="338"/>
                  </a:lnTo>
                  <a:lnTo>
                    <a:pt x="914" y="338"/>
                  </a:lnTo>
                  <a:lnTo>
                    <a:pt x="916" y="338"/>
                  </a:lnTo>
                  <a:lnTo>
                    <a:pt x="916" y="338"/>
                  </a:lnTo>
                  <a:lnTo>
                    <a:pt x="916" y="340"/>
                  </a:lnTo>
                  <a:lnTo>
                    <a:pt x="916" y="340"/>
                  </a:lnTo>
                  <a:close/>
                  <a:moveTo>
                    <a:pt x="683" y="338"/>
                  </a:moveTo>
                  <a:lnTo>
                    <a:pt x="680" y="338"/>
                  </a:lnTo>
                  <a:lnTo>
                    <a:pt x="680" y="338"/>
                  </a:lnTo>
                  <a:lnTo>
                    <a:pt x="680" y="338"/>
                  </a:lnTo>
                  <a:lnTo>
                    <a:pt x="680" y="335"/>
                  </a:lnTo>
                  <a:lnTo>
                    <a:pt x="683" y="335"/>
                  </a:lnTo>
                  <a:lnTo>
                    <a:pt x="683" y="335"/>
                  </a:lnTo>
                  <a:lnTo>
                    <a:pt x="683" y="335"/>
                  </a:lnTo>
                  <a:lnTo>
                    <a:pt x="683" y="335"/>
                  </a:lnTo>
                  <a:lnTo>
                    <a:pt x="683" y="335"/>
                  </a:lnTo>
                  <a:lnTo>
                    <a:pt x="683" y="335"/>
                  </a:lnTo>
                  <a:lnTo>
                    <a:pt x="683" y="338"/>
                  </a:lnTo>
                  <a:lnTo>
                    <a:pt x="683" y="338"/>
                  </a:lnTo>
                  <a:lnTo>
                    <a:pt x="683" y="338"/>
                  </a:lnTo>
                  <a:lnTo>
                    <a:pt x="683" y="338"/>
                  </a:lnTo>
                  <a:close/>
                  <a:moveTo>
                    <a:pt x="469" y="340"/>
                  </a:moveTo>
                  <a:lnTo>
                    <a:pt x="469" y="340"/>
                  </a:lnTo>
                  <a:lnTo>
                    <a:pt x="469" y="340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7" y="340"/>
                  </a:lnTo>
                  <a:lnTo>
                    <a:pt x="469" y="338"/>
                  </a:lnTo>
                  <a:lnTo>
                    <a:pt x="469" y="338"/>
                  </a:lnTo>
                  <a:lnTo>
                    <a:pt x="469" y="338"/>
                  </a:lnTo>
                  <a:lnTo>
                    <a:pt x="467" y="338"/>
                  </a:lnTo>
                  <a:lnTo>
                    <a:pt x="467" y="338"/>
                  </a:lnTo>
                  <a:lnTo>
                    <a:pt x="467" y="338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7" y="335"/>
                  </a:lnTo>
                  <a:lnTo>
                    <a:pt x="469" y="335"/>
                  </a:lnTo>
                  <a:lnTo>
                    <a:pt x="469" y="335"/>
                  </a:lnTo>
                  <a:lnTo>
                    <a:pt x="469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5"/>
                  </a:lnTo>
                  <a:lnTo>
                    <a:pt x="471" y="338"/>
                  </a:lnTo>
                  <a:lnTo>
                    <a:pt x="471" y="338"/>
                  </a:lnTo>
                  <a:lnTo>
                    <a:pt x="469" y="340"/>
                  </a:lnTo>
                  <a:lnTo>
                    <a:pt x="469" y="340"/>
                  </a:lnTo>
                  <a:close/>
                  <a:moveTo>
                    <a:pt x="501" y="338"/>
                  </a:moveTo>
                  <a:lnTo>
                    <a:pt x="501" y="338"/>
                  </a:lnTo>
                  <a:lnTo>
                    <a:pt x="501" y="338"/>
                  </a:lnTo>
                  <a:lnTo>
                    <a:pt x="501" y="338"/>
                  </a:lnTo>
                  <a:lnTo>
                    <a:pt x="501" y="335"/>
                  </a:lnTo>
                  <a:lnTo>
                    <a:pt x="501" y="335"/>
                  </a:lnTo>
                  <a:lnTo>
                    <a:pt x="501" y="335"/>
                  </a:lnTo>
                  <a:lnTo>
                    <a:pt x="503" y="335"/>
                  </a:lnTo>
                  <a:lnTo>
                    <a:pt x="503" y="335"/>
                  </a:lnTo>
                  <a:lnTo>
                    <a:pt x="503" y="335"/>
                  </a:lnTo>
                  <a:lnTo>
                    <a:pt x="503" y="338"/>
                  </a:lnTo>
                  <a:lnTo>
                    <a:pt x="503" y="338"/>
                  </a:lnTo>
                  <a:lnTo>
                    <a:pt x="501" y="338"/>
                  </a:lnTo>
                  <a:close/>
                  <a:moveTo>
                    <a:pt x="617" y="335"/>
                  </a:moveTo>
                  <a:lnTo>
                    <a:pt x="617" y="335"/>
                  </a:lnTo>
                  <a:lnTo>
                    <a:pt x="617" y="335"/>
                  </a:lnTo>
                  <a:lnTo>
                    <a:pt x="617" y="335"/>
                  </a:lnTo>
                  <a:lnTo>
                    <a:pt x="617" y="335"/>
                  </a:lnTo>
                  <a:lnTo>
                    <a:pt x="617" y="335"/>
                  </a:lnTo>
                  <a:lnTo>
                    <a:pt x="620" y="335"/>
                  </a:lnTo>
                  <a:lnTo>
                    <a:pt x="620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4" y="335"/>
                  </a:lnTo>
                  <a:lnTo>
                    <a:pt x="626" y="335"/>
                  </a:lnTo>
                  <a:lnTo>
                    <a:pt x="626" y="335"/>
                  </a:lnTo>
                  <a:lnTo>
                    <a:pt x="626" y="335"/>
                  </a:lnTo>
                  <a:lnTo>
                    <a:pt x="626" y="335"/>
                  </a:lnTo>
                  <a:lnTo>
                    <a:pt x="626" y="335"/>
                  </a:lnTo>
                  <a:lnTo>
                    <a:pt x="629" y="335"/>
                  </a:lnTo>
                  <a:lnTo>
                    <a:pt x="629" y="335"/>
                  </a:lnTo>
                  <a:lnTo>
                    <a:pt x="629" y="338"/>
                  </a:lnTo>
                  <a:lnTo>
                    <a:pt x="629" y="338"/>
                  </a:lnTo>
                  <a:lnTo>
                    <a:pt x="629" y="340"/>
                  </a:lnTo>
                  <a:lnTo>
                    <a:pt x="629" y="340"/>
                  </a:lnTo>
                  <a:lnTo>
                    <a:pt x="629" y="340"/>
                  </a:lnTo>
                  <a:lnTo>
                    <a:pt x="626" y="340"/>
                  </a:lnTo>
                  <a:lnTo>
                    <a:pt x="626" y="340"/>
                  </a:lnTo>
                  <a:lnTo>
                    <a:pt x="626" y="340"/>
                  </a:lnTo>
                  <a:lnTo>
                    <a:pt x="624" y="340"/>
                  </a:lnTo>
                  <a:lnTo>
                    <a:pt x="620" y="342"/>
                  </a:lnTo>
                  <a:lnTo>
                    <a:pt x="620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7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5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3" y="342"/>
                  </a:lnTo>
                  <a:lnTo>
                    <a:pt x="611" y="342"/>
                  </a:lnTo>
                  <a:lnTo>
                    <a:pt x="611" y="342"/>
                  </a:lnTo>
                  <a:lnTo>
                    <a:pt x="611" y="342"/>
                  </a:lnTo>
                  <a:lnTo>
                    <a:pt x="611" y="342"/>
                  </a:lnTo>
                  <a:lnTo>
                    <a:pt x="611" y="342"/>
                  </a:lnTo>
                  <a:lnTo>
                    <a:pt x="611" y="342"/>
                  </a:lnTo>
                  <a:lnTo>
                    <a:pt x="611" y="342"/>
                  </a:lnTo>
                  <a:lnTo>
                    <a:pt x="611" y="340"/>
                  </a:lnTo>
                  <a:lnTo>
                    <a:pt x="613" y="340"/>
                  </a:lnTo>
                  <a:lnTo>
                    <a:pt x="613" y="340"/>
                  </a:lnTo>
                  <a:lnTo>
                    <a:pt x="613" y="340"/>
                  </a:lnTo>
                  <a:lnTo>
                    <a:pt x="613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5" y="338"/>
                  </a:lnTo>
                  <a:lnTo>
                    <a:pt x="613" y="338"/>
                  </a:lnTo>
                  <a:lnTo>
                    <a:pt x="613" y="338"/>
                  </a:lnTo>
                  <a:lnTo>
                    <a:pt x="613" y="338"/>
                  </a:lnTo>
                  <a:lnTo>
                    <a:pt x="613" y="335"/>
                  </a:lnTo>
                  <a:lnTo>
                    <a:pt x="613" y="335"/>
                  </a:lnTo>
                  <a:lnTo>
                    <a:pt x="613" y="335"/>
                  </a:lnTo>
                  <a:lnTo>
                    <a:pt x="613" y="335"/>
                  </a:lnTo>
                  <a:lnTo>
                    <a:pt x="613" y="335"/>
                  </a:lnTo>
                  <a:lnTo>
                    <a:pt x="613" y="335"/>
                  </a:lnTo>
                  <a:lnTo>
                    <a:pt x="615" y="335"/>
                  </a:lnTo>
                  <a:lnTo>
                    <a:pt x="615" y="335"/>
                  </a:lnTo>
                  <a:lnTo>
                    <a:pt x="615" y="335"/>
                  </a:lnTo>
                  <a:lnTo>
                    <a:pt x="615" y="335"/>
                  </a:lnTo>
                  <a:lnTo>
                    <a:pt x="617" y="335"/>
                  </a:lnTo>
                  <a:close/>
                  <a:moveTo>
                    <a:pt x="685" y="333"/>
                  </a:moveTo>
                  <a:lnTo>
                    <a:pt x="685" y="333"/>
                  </a:lnTo>
                  <a:lnTo>
                    <a:pt x="687" y="335"/>
                  </a:lnTo>
                  <a:lnTo>
                    <a:pt x="689" y="335"/>
                  </a:lnTo>
                  <a:lnTo>
                    <a:pt x="689" y="335"/>
                  </a:lnTo>
                  <a:lnTo>
                    <a:pt x="689" y="335"/>
                  </a:lnTo>
                  <a:lnTo>
                    <a:pt x="692" y="335"/>
                  </a:lnTo>
                  <a:lnTo>
                    <a:pt x="692" y="335"/>
                  </a:lnTo>
                  <a:lnTo>
                    <a:pt x="692" y="335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9" y="338"/>
                  </a:lnTo>
                  <a:lnTo>
                    <a:pt x="687" y="338"/>
                  </a:lnTo>
                  <a:lnTo>
                    <a:pt x="687" y="338"/>
                  </a:lnTo>
                  <a:lnTo>
                    <a:pt x="687" y="338"/>
                  </a:lnTo>
                  <a:lnTo>
                    <a:pt x="687" y="338"/>
                  </a:lnTo>
                  <a:lnTo>
                    <a:pt x="685" y="335"/>
                  </a:lnTo>
                  <a:lnTo>
                    <a:pt x="685" y="335"/>
                  </a:lnTo>
                  <a:lnTo>
                    <a:pt x="685" y="335"/>
                  </a:lnTo>
                  <a:lnTo>
                    <a:pt x="685" y="335"/>
                  </a:lnTo>
                  <a:lnTo>
                    <a:pt x="685" y="335"/>
                  </a:lnTo>
                  <a:lnTo>
                    <a:pt x="685" y="335"/>
                  </a:lnTo>
                  <a:lnTo>
                    <a:pt x="685" y="335"/>
                  </a:lnTo>
                  <a:lnTo>
                    <a:pt x="683" y="335"/>
                  </a:lnTo>
                  <a:lnTo>
                    <a:pt x="683" y="333"/>
                  </a:lnTo>
                  <a:lnTo>
                    <a:pt x="683" y="333"/>
                  </a:lnTo>
                  <a:lnTo>
                    <a:pt x="683" y="333"/>
                  </a:lnTo>
                  <a:lnTo>
                    <a:pt x="685" y="333"/>
                  </a:lnTo>
                  <a:lnTo>
                    <a:pt x="685" y="333"/>
                  </a:lnTo>
                  <a:lnTo>
                    <a:pt x="685" y="333"/>
                  </a:lnTo>
                  <a:close/>
                  <a:moveTo>
                    <a:pt x="478" y="333"/>
                  </a:moveTo>
                  <a:lnTo>
                    <a:pt x="478" y="333"/>
                  </a:lnTo>
                  <a:lnTo>
                    <a:pt x="478" y="333"/>
                  </a:lnTo>
                  <a:lnTo>
                    <a:pt x="478" y="333"/>
                  </a:lnTo>
                  <a:lnTo>
                    <a:pt x="478" y="333"/>
                  </a:lnTo>
                  <a:lnTo>
                    <a:pt x="480" y="333"/>
                  </a:lnTo>
                  <a:lnTo>
                    <a:pt x="480" y="333"/>
                  </a:lnTo>
                  <a:lnTo>
                    <a:pt x="480" y="333"/>
                  </a:lnTo>
                  <a:lnTo>
                    <a:pt x="483" y="335"/>
                  </a:lnTo>
                  <a:lnTo>
                    <a:pt x="483" y="335"/>
                  </a:lnTo>
                  <a:lnTo>
                    <a:pt x="483" y="338"/>
                  </a:lnTo>
                  <a:lnTo>
                    <a:pt x="483" y="338"/>
                  </a:lnTo>
                  <a:lnTo>
                    <a:pt x="483" y="338"/>
                  </a:lnTo>
                  <a:lnTo>
                    <a:pt x="483" y="338"/>
                  </a:lnTo>
                  <a:lnTo>
                    <a:pt x="483" y="338"/>
                  </a:lnTo>
                  <a:lnTo>
                    <a:pt x="483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5" y="340"/>
                  </a:lnTo>
                  <a:lnTo>
                    <a:pt x="487" y="340"/>
                  </a:lnTo>
                  <a:lnTo>
                    <a:pt x="487" y="340"/>
                  </a:lnTo>
                  <a:lnTo>
                    <a:pt x="487" y="340"/>
                  </a:lnTo>
                  <a:lnTo>
                    <a:pt x="487" y="338"/>
                  </a:lnTo>
                  <a:lnTo>
                    <a:pt x="487" y="338"/>
                  </a:lnTo>
                  <a:lnTo>
                    <a:pt x="487" y="338"/>
                  </a:lnTo>
                  <a:lnTo>
                    <a:pt x="487" y="338"/>
                  </a:lnTo>
                  <a:lnTo>
                    <a:pt x="487" y="338"/>
                  </a:lnTo>
                  <a:lnTo>
                    <a:pt x="489" y="338"/>
                  </a:lnTo>
                  <a:lnTo>
                    <a:pt x="489" y="338"/>
                  </a:lnTo>
                  <a:lnTo>
                    <a:pt x="489" y="338"/>
                  </a:lnTo>
                  <a:lnTo>
                    <a:pt x="489" y="338"/>
                  </a:lnTo>
                  <a:lnTo>
                    <a:pt x="489" y="338"/>
                  </a:lnTo>
                  <a:lnTo>
                    <a:pt x="489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2" y="338"/>
                  </a:lnTo>
                  <a:lnTo>
                    <a:pt x="494" y="340"/>
                  </a:lnTo>
                  <a:lnTo>
                    <a:pt x="494" y="340"/>
                  </a:lnTo>
                  <a:lnTo>
                    <a:pt x="492" y="342"/>
                  </a:lnTo>
                  <a:lnTo>
                    <a:pt x="492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4" y="344"/>
                  </a:lnTo>
                  <a:lnTo>
                    <a:pt x="494" y="344"/>
                  </a:lnTo>
                  <a:lnTo>
                    <a:pt x="494" y="344"/>
                  </a:lnTo>
                  <a:lnTo>
                    <a:pt x="494" y="342"/>
                  </a:lnTo>
                  <a:lnTo>
                    <a:pt x="494" y="342"/>
                  </a:lnTo>
                  <a:lnTo>
                    <a:pt x="494" y="342"/>
                  </a:lnTo>
                  <a:lnTo>
                    <a:pt x="494" y="342"/>
                  </a:lnTo>
                  <a:lnTo>
                    <a:pt x="494" y="342"/>
                  </a:lnTo>
                  <a:lnTo>
                    <a:pt x="494" y="340"/>
                  </a:lnTo>
                  <a:lnTo>
                    <a:pt x="494" y="340"/>
                  </a:lnTo>
                  <a:lnTo>
                    <a:pt x="494" y="340"/>
                  </a:lnTo>
                  <a:lnTo>
                    <a:pt x="494" y="340"/>
                  </a:lnTo>
                  <a:lnTo>
                    <a:pt x="496" y="338"/>
                  </a:lnTo>
                  <a:lnTo>
                    <a:pt x="496" y="338"/>
                  </a:lnTo>
                  <a:lnTo>
                    <a:pt x="498" y="338"/>
                  </a:lnTo>
                  <a:lnTo>
                    <a:pt x="498" y="338"/>
                  </a:lnTo>
                  <a:lnTo>
                    <a:pt x="498" y="338"/>
                  </a:lnTo>
                  <a:lnTo>
                    <a:pt x="498" y="340"/>
                  </a:lnTo>
                  <a:lnTo>
                    <a:pt x="498" y="340"/>
                  </a:lnTo>
                  <a:lnTo>
                    <a:pt x="501" y="340"/>
                  </a:lnTo>
                  <a:lnTo>
                    <a:pt x="501" y="340"/>
                  </a:lnTo>
                  <a:lnTo>
                    <a:pt x="501" y="342"/>
                  </a:lnTo>
                  <a:lnTo>
                    <a:pt x="501" y="342"/>
                  </a:lnTo>
                  <a:lnTo>
                    <a:pt x="501" y="344"/>
                  </a:lnTo>
                  <a:lnTo>
                    <a:pt x="501" y="344"/>
                  </a:lnTo>
                  <a:lnTo>
                    <a:pt x="501" y="344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1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4"/>
                  </a:lnTo>
                  <a:lnTo>
                    <a:pt x="503" y="344"/>
                  </a:lnTo>
                  <a:lnTo>
                    <a:pt x="503" y="344"/>
                  </a:lnTo>
                  <a:lnTo>
                    <a:pt x="503" y="344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7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3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501" y="349"/>
                  </a:lnTo>
                  <a:lnTo>
                    <a:pt x="498" y="349"/>
                  </a:lnTo>
                  <a:lnTo>
                    <a:pt x="498" y="349"/>
                  </a:lnTo>
                  <a:lnTo>
                    <a:pt x="498" y="349"/>
                  </a:lnTo>
                  <a:lnTo>
                    <a:pt x="496" y="349"/>
                  </a:lnTo>
                  <a:lnTo>
                    <a:pt x="496" y="349"/>
                  </a:lnTo>
                  <a:lnTo>
                    <a:pt x="496" y="349"/>
                  </a:lnTo>
                  <a:lnTo>
                    <a:pt x="496" y="349"/>
                  </a:lnTo>
                  <a:lnTo>
                    <a:pt x="496" y="349"/>
                  </a:lnTo>
                  <a:lnTo>
                    <a:pt x="496" y="349"/>
                  </a:lnTo>
                  <a:lnTo>
                    <a:pt x="496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2" y="349"/>
                  </a:lnTo>
                  <a:lnTo>
                    <a:pt x="492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4" y="349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8" y="351"/>
                  </a:lnTo>
                  <a:lnTo>
                    <a:pt x="498" y="351"/>
                  </a:lnTo>
                  <a:lnTo>
                    <a:pt x="498" y="351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4" y="351"/>
                  </a:lnTo>
                  <a:lnTo>
                    <a:pt x="494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2" y="351"/>
                  </a:lnTo>
                  <a:lnTo>
                    <a:pt x="487" y="351"/>
                  </a:lnTo>
                  <a:lnTo>
                    <a:pt x="487" y="351"/>
                  </a:lnTo>
                  <a:lnTo>
                    <a:pt x="485" y="351"/>
                  </a:lnTo>
                  <a:lnTo>
                    <a:pt x="485" y="349"/>
                  </a:lnTo>
                  <a:lnTo>
                    <a:pt x="487" y="349"/>
                  </a:lnTo>
                  <a:lnTo>
                    <a:pt x="487" y="349"/>
                  </a:lnTo>
                  <a:lnTo>
                    <a:pt x="487" y="349"/>
                  </a:lnTo>
                  <a:lnTo>
                    <a:pt x="487" y="349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4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7" y="347"/>
                  </a:lnTo>
                  <a:lnTo>
                    <a:pt x="485" y="347"/>
                  </a:lnTo>
                  <a:lnTo>
                    <a:pt x="485" y="349"/>
                  </a:lnTo>
                  <a:lnTo>
                    <a:pt x="485" y="349"/>
                  </a:lnTo>
                  <a:lnTo>
                    <a:pt x="485" y="349"/>
                  </a:lnTo>
                  <a:lnTo>
                    <a:pt x="485" y="349"/>
                  </a:lnTo>
                  <a:lnTo>
                    <a:pt x="485" y="349"/>
                  </a:lnTo>
                  <a:lnTo>
                    <a:pt x="483" y="349"/>
                  </a:lnTo>
                  <a:lnTo>
                    <a:pt x="483" y="349"/>
                  </a:lnTo>
                  <a:lnTo>
                    <a:pt x="480" y="351"/>
                  </a:lnTo>
                  <a:lnTo>
                    <a:pt x="480" y="353"/>
                  </a:lnTo>
                  <a:lnTo>
                    <a:pt x="480" y="351"/>
                  </a:lnTo>
                  <a:lnTo>
                    <a:pt x="480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1"/>
                  </a:lnTo>
                  <a:lnTo>
                    <a:pt x="478" y="353"/>
                  </a:lnTo>
                  <a:lnTo>
                    <a:pt x="476" y="353"/>
                  </a:lnTo>
                  <a:lnTo>
                    <a:pt x="476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4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71" y="353"/>
                  </a:lnTo>
                  <a:lnTo>
                    <a:pt x="467" y="356"/>
                  </a:lnTo>
                  <a:lnTo>
                    <a:pt x="467" y="356"/>
                  </a:lnTo>
                  <a:lnTo>
                    <a:pt x="467" y="356"/>
                  </a:lnTo>
                  <a:lnTo>
                    <a:pt x="462" y="356"/>
                  </a:lnTo>
                  <a:lnTo>
                    <a:pt x="462" y="356"/>
                  </a:lnTo>
                  <a:lnTo>
                    <a:pt x="462" y="356"/>
                  </a:lnTo>
                  <a:lnTo>
                    <a:pt x="462" y="356"/>
                  </a:lnTo>
                  <a:lnTo>
                    <a:pt x="462" y="356"/>
                  </a:lnTo>
                  <a:lnTo>
                    <a:pt x="462" y="356"/>
                  </a:lnTo>
                  <a:lnTo>
                    <a:pt x="462" y="356"/>
                  </a:lnTo>
                  <a:lnTo>
                    <a:pt x="460" y="356"/>
                  </a:lnTo>
                  <a:lnTo>
                    <a:pt x="460" y="356"/>
                  </a:lnTo>
                  <a:lnTo>
                    <a:pt x="460" y="358"/>
                  </a:lnTo>
                  <a:lnTo>
                    <a:pt x="460" y="358"/>
                  </a:lnTo>
                  <a:lnTo>
                    <a:pt x="458" y="358"/>
                  </a:lnTo>
                  <a:lnTo>
                    <a:pt x="458" y="358"/>
                  </a:lnTo>
                  <a:lnTo>
                    <a:pt x="458" y="358"/>
                  </a:lnTo>
                  <a:lnTo>
                    <a:pt x="456" y="358"/>
                  </a:lnTo>
                  <a:lnTo>
                    <a:pt x="456" y="358"/>
                  </a:lnTo>
                  <a:lnTo>
                    <a:pt x="456" y="356"/>
                  </a:lnTo>
                  <a:lnTo>
                    <a:pt x="456" y="356"/>
                  </a:lnTo>
                  <a:lnTo>
                    <a:pt x="456" y="358"/>
                  </a:lnTo>
                  <a:lnTo>
                    <a:pt x="453" y="358"/>
                  </a:lnTo>
                  <a:lnTo>
                    <a:pt x="453" y="356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1" y="356"/>
                  </a:lnTo>
                  <a:lnTo>
                    <a:pt x="451" y="356"/>
                  </a:lnTo>
                  <a:lnTo>
                    <a:pt x="451" y="356"/>
                  </a:lnTo>
                  <a:lnTo>
                    <a:pt x="451" y="356"/>
                  </a:lnTo>
                  <a:lnTo>
                    <a:pt x="451" y="356"/>
                  </a:lnTo>
                  <a:lnTo>
                    <a:pt x="451" y="356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3"/>
                  </a:lnTo>
                  <a:lnTo>
                    <a:pt x="451" y="351"/>
                  </a:lnTo>
                  <a:lnTo>
                    <a:pt x="451" y="351"/>
                  </a:lnTo>
                  <a:lnTo>
                    <a:pt x="451" y="351"/>
                  </a:lnTo>
                  <a:lnTo>
                    <a:pt x="453" y="351"/>
                  </a:lnTo>
                  <a:lnTo>
                    <a:pt x="453" y="351"/>
                  </a:lnTo>
                  <a:lnTo>
                    <a:pt x="453" y="351"/>
                  </a:lnTo>
                  <a:lnTo>
                    <a:pt x="453" y="351"/>
                  </a:lnTo>
                  <a:lnTo>
                    <a:pt x="453" y="349"/>
                  </a:lnTo>
                  <a:lnTo>
                    <a:pt x="453" y="349"/>
                  </a:lnTo>
                  <a:lnTo>
                    <a:pt x="453" y="349"/>
                  </a:lnTo>
                  <a:lnTo>
                    <a:pt x="453" y="349"/>
                  </a:lnTo>
                  <a:lnTo>
                    <a:pt x="453" y="349"/>
                  </a:lnTo>
                  <a:lnTo>
                    <a:pt x="451" y="349"/>
                  </a:lnTo>
                  <a:lnTo>
                    <a:pt x="453" y="349"/>
                  </a:lnTo>
                  <a:lnTo>
                    <a:pt x="453" y="349"/>
                  </a:lnTo>
                  <a:lnTo>
                    <a:pt x="453" y="347"/>
                  </a:lnTo>
                  <a:lnTo>
                    <a:pt x="451" y="347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3" y="344"/>
                  </a:lnTo>
                  <a:lnTo>
                    <a:pt x="456" y="344"/>
                  </a:lnTo>
                  <a:lnTo>
                    <a:pt x="456" y="344"/>
                  </a:lnTo>
                  <a:lnTo>
                    <a:pt x="458" y="344"/>
                  </a:lnTo>
                  <a:lnTo>
                    <a:pt x="458" y="342"/>
                  </a:lnTo>
                  <a:lnTo>
                    <a:pt x="460" y="342"/>
                  </a:lnTo>
                  <a:lnTo>
                    <a:pt x="460" y="342"/>
                  </a:lnTo>
                  <a:lnTo>
                    <a:pt x="460" y="340"/>
                  </a:lnTo>
                  <a:lnTo>
                    <a:pt x="460" y="340"/>
                  </a:lnTo>
                  <a:lnTo>
                    <a:pt x="460" y="340"/>
                  </a:lnTo>
                  <a:lnTo>
                    <a:pt x="462" y="340"/>
                  </a:lnTo>
                  <a:lnTo>
                    <a:pt x="462" y="340"/>
                  </a:lnTo>
                  <a:lnTo>
                    <a:pt x="462" y="340"/>
                  </a:lnTo>
                  <a:lnTo>
                    <a:pt x="462" y="340"/>
                  </a:lnTo>
                  <a:lnTo>
                    <a:pt x="462" y="340"/>
                  </a:lnTo>
                  <a:lnTo>
                    <a:pt x="462" y="342"/>
                  </a:lnTo>
                  <a:lnTo>
                    <a:pt x="465" y="342"/>
                  </a:lnTo>
                  <a:lnTo>
                    <a:pt x="465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7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4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69" y="342"/>
                  </a:lnTo>
                  <a:lnTo>
                    <a:pt x="471" y="342"/>
                  </a:lnTo>
                  <a:lnTo>
                    <a:pt x="471" y="342"/>
                  </a:lnTo>
                  <a:lnTo>
                    <a:pt x="471" y="344"/>
                  </a:lnTo>
                  <a:lnTo>
                    <a:pt x="471" y="344"/>
                  </a:lnTo>
                  <a:lnTo>
                    <a:pt x="471" y="344"/>
                  </a:lnTo>
                  <a:lnTo>
                    <a:pt x="471" y="344"/>
                  </a:lnTo>
                  <a:lnTo>
                    <a:pt x="471" y="344"/>
                  </a:lnTo>
                  <a:lnTo>
                    <a:pt x="471" y="344"/>
                  </a:lnTo>
                  <a:lnTo>
                    <a:pt x="471" y="344"/>
                  </a:lnTo>
                  <a:lnTo>
                    <a:pt x="474" y="344"/>
                  </a:lnTo>
                  <a:lnTo>
                    <a:pt x="474" y="344"/>
                  </a:lnTo>
                  <a:lnTo>
                    <a:pt x="471" y="344"/>
                  </a:lnTo>
                  <a:lnTo>
                    <a:pt x="474" y="344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7"/>
                  </a:lnTo>
                  <a:lnTo>
                    <a:pt x="474" y="349"/>
                  </a:lnTo>
                  <a:lnTo>
                    <a:pt x="474" y="349"/>
                  </a:lnTo>
                  <a:lnTo>
                    <a:pt x="474" y="349"/>
                  </a:lnTo>
                  <a:lnTo>
                    <a:pt x="474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6" y="349"/>
                  </a:lnTo>
                  <a:lnTo>
                    <a:pt x="478" y="349"/>
                  </a:lnTo>
                  <a:lnTo>
                    <a:pt x="478" y="349"/>
                  </a:lnTo>
                  <a:lnTo>
                    <a:pt x="478" y="349"/>
                  </a:lnTo>
                  <a:lnTo>
                    <a:pt x="478" y="347"/>
                  </a:lnTo>
                  <a:lnTo>
                    <a:pt x="478" y="347"/>
                  </a:lnTo>
                  <a:lnTo>
                    <a:pt x="478" y="347"/>
                  </a:lnTo>
                  <a:lnTo>
                    <a:pt x="478" y="347"/>
                  </a:lnTo>
                  <a:lnTo>
                    <a:pt x="478" y="347"/>
                  </a:lnTo>
                  <a:lnTo>
                    <a:pt x="480" y="347"/>
                  </a:lnTo>
                  <a:lnTo>
                    <a:pt x="480" y="347"/>
                  </a:lnTo>
                  <a:lnTo>
                    <a:pt x="480" y="347"/>
                  </a:lnTo>
                  <a:lnTo>
                    <a:pt x="480" y="347"/>
                  </a:lnTo>
                  <a:lnTo>
                    <a:pt x="480" y="347"/>
                  </a:lnTo>
                  <a:lnTo>
                    <a:pt x="480" y="347"/>
                  </a:lnTo>
                  <a:lnTo>
                    <a:pt x="483" y="347"/>
                  </a:lnTo>
                  <a:lnTo>
                    <a:pt x="483" y="347"/>
                  </a:lnTo>
                  <a:lnTo>
                    <a:pt x="483" y="347"/>
                  </a:lnTo>
                  <a:lnTo>
                    <a:pt x="483" y="347"/>
                  </a:lnTo>
                  <a:lnTo>
                    <a:pt x="485" y="347"/>
                  </a:lnTo>
                  <a:lnTo>
                    <a:pt x="485" y="347"/>
                  </a:lnTo>
                  <a:lnTo>
                    <a:pt x="485" y="347"/>
                  </a:lnTo>
                  <a:lnTo>
                    <a:pt x="485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3" y="344"/>
                  </a:lnTo>
                  <a:lnTo>
                    <a:pt x="480" y="344"/>
                  </a:lnTo>
                  <a:lnTo>
                    <a:pt x="480" y="342"/>
                  </a:lnTo>
                  <a:lnTo>
                    <a:pt x="480" y="342"/>
                  </a:lnTo>
                  <a:lnTo>
                    <a:pt x="480" y="344"/>
                  </a:lnTo>
                  <a:lnTo>
                    <a:pt x="480" y="342"/>
                  </a:lnTo>
                  <a:lnTo>
                    <a:pt x="480" y="342"/>
                  </a:lnTo>
                  <a:lnTo>
                    <a:pt x="480" y="342"/>
                  </a:lnTo>
                  <a:lnTo>
                    <a:pt x="478" y="342"/>
                  </a:lnTo>
                  <a:lnTo>
                    <a:pt x="478" y="342"/>
                  </a:lnTo>
                  <a:lnTo>
                    <a:pt x="478" y="342"/>
                  </a:lnTo>
                  <a:lnTo>
                    <a:pt x="478" y="342"/>
                  </a:lnTo>
                  <a:lnTo>
                    <a:pt x="478" y="342"/>
                  </a:lnTo>
                  <a:lnTo>
                    <a:pt x="476" y="342"/>
                  </a:lnTo>
                  <a:lnTo>
                    <a:pt x="476" y="340"/>
                  </a:lnTo>
                  <a:lnTo>
                    <a:pt x="474" y="340"/>
                  </a:lnTo>
                  <a:lnTo>
                    <a:pt x="474" y="340"/>
                  </a:lnTo>
                  <a:lnTo>
                    <a:pt x="474" y="338"/>
                  </a:lnTo>
                  <a:lnTo>
                    <a:pt x="474" y="338"/>
                  </a:lnTo>
                  <a:lnTo>
                    <a:pt x="474" y="338"/>
                  </a:lnTo>
                  <a:lnTo>
                    <a:pt x="474" y="338"/>
                  </a:lnTo>
                  <a:lnTo>
                    <a:pt x="474" y="338"/>
                  </a:lnTo>
                  <a:lnTo>
                    <a:pt x="474" y="338"/>
                  </a:lnTo>
                  <a:lnTo>
                    <a:pt x="471" y="338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4" y="335"/>
                  </a:lnTo>
                  <a:lnTo>
                    <a:pt x="476" y="335"/>
                  </a:lnTo>
                  <a:lnTo>
                    <a:pt x="476" y="333"/>
                  </a:lnTo>
                  <a:lnTo>
                    <a:pt x="478" y="333"/>
                  </a:lnTo>
                  <a:lnTo>
                    <a:pt x="478" y="333"/>
                  </a:lnTo>
                  <a:lnTo>
                    <a:pt x="478" y="333"/>
                  </a:lnTo>
                  <a:lnTo>
                    <a:pt x="478" y="333"/>
                  </a:lnTo>
                  <a:close/>
                  <a:moveTo>
                    <a:pt x="752" y="335"/>
                  </a:moveTo>
                  <a:lnTo>
                    <a:pt x="752" y="335"/>
                  </a:lnTo>
                  <a:lnTo>
                    <a:pt x="752" y="335"/>
                  </a:lnTo>
                  <a:lnTo>
                    <a:pt x="752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4" y="335"/>
                  </a:lnTo>
                  <a:lnTo>
                    <a:pt x="752" y="335"/>
                  </a:lnTo>
                  <a:lnTo>
                    <a:pt x="752" y="335"/>
                  </a:lnTo>
                  <a:lnTo>
                    <a:pt x="750" y="338"/>
                  </a:lnTo>
                  <a:lnTo>
                    <a:pt x="750" y="338"/>
                  </a:lnTo>
                  <a:lnTo>
                    <a:pt x="750" y="338"/>
                  </a:lnTo>
                  <a:lnTo>
                    <a:pt x="750" y="338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48" y="340"/>
                  </a:lnTo>
                  <a:lnTo>
                    <a:pt x="748" y="340"/>
                  </a:lnTo>
                  <a:lnTo>
                    <a:pt x="748" y="340"/>
                  </a:lnTo>
                  <a:lnTo>
                    <a:pt x="748" y="340"/>
                  </a:lnTo>
                  <a:lnTo>
                    <a:pt x="745" y="340"/>
                  </a:lnTo>
                  <a:lnTo>
                    <a:pt x="745" y="340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48" y="338"/>
                  </a:lnTo>
                  <a:lnTo>
                    <a:pt x="750" y="338"/>
                  </a:lnTo>
                  <a:lnTo>
                    <a:pt x="750" y="338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0" y="335"/>
                  </a:lnTo>
                  <a:lnTo>
                    <a:pt x="752" y="333"/>
                  </a:lnTo>
                  <a:lnTo>
                    <a:pt x="752" y="333"/>
                  </a:lnTo>
                  <a:lnTo>
                    <a:pt x="752" y="333"/>
                  </a:lnTo>
                  <a:lnTo>
                    <a:pt x="752" y="335"/>
                  </a:lnTo>
                  <a:lnTo>
                    <a:pt x="752" y="335"/>
                  </a:lnTo>
                  <a:lnTo>
                    <a:pt x="752" y="335"/>
                  </a:lnTo>
                  <a:close/>
                  <a:moveTo>
                    <a:pt x="584" y="335"/>
                  </a:moveTo>
                  <a:lnTo>
                    <a:pt x="584" y="335"/>
                  </a:lnTo>
                  <a:lnTo>
                    <a:pt x="584" y="338"/>
                  </a:lnTo>
                  <a:lnTo>
                    <a:pt x="584" y="338"/>
                  </a:lnTo>
                  <a:lnTo>
                    <a:pt x="584" y="338"/>
                  </a:lnTo>
                  <a:lnTo>
                    <a:pt x="584" y="338"/>
                  </a:lnTo>
                  <a:lnTo>
                    <a:pt x="584" y="340"/>
                  </a:lnTo>
                  <a:lnTo>
                    <a:pt x="584" y="340"/>
                  </a:lnTo>
                  <a:lnTo>
                    <a:pt x="584" y="340"/>
                  </a:lnTo>
                  <a:lnTo>
                    <a:pt x="581" y="340"/>
                  </a:lnTo>
                  <a:lnTo>
                    <a:pt x="581" y="340"/>
                  </a:lnTo>
                  <a:lnTo>
                    <a:pt x="581" y="340"/>
                  </a:lnTo>
                  <a:lnTo>
                    <a:pt x="581" y="340"/>
                  </a:lnTo>
                  <a:lnTo>
                    <a:pt x="581" y="342"/>
                  </a:lnTo>
                  <a:lnTo>
                    <a:pt x="581" y="342"/>
                  </a:lnTo>
                  <a:lnTo>
                    <a:pt x="581" y="342"/>
                  </a:lnTo>
                  <a:lnTo>
                    <a:pt x="581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2"/>
                  </a:lnTo>
                  <a:lnTo>
                    <a:pt x="579" y="344"/>
                  </a:lnTo>
                  <a:lnTo>
                    <a:pt x="579" y="344"/>
                  </a:lnTo>
                  <a:lnTo>
                    <a:pt x="579" y="347"/>
                  </a:lnTo>
                  <a:lnTo>
                    <a:pt x="579" y="347"/>
                  </a:lnTo>
                  <a:lnTo>
                    <a:pt x="577" y="347"/>
                  </a:lnTo>
                  <a:lnTo>
                    <a:pt x="577" y="347"/>
                  </a:lnTo>
                  <a:lnTo>
                    <a:pt x="577" y="347"/>
                  </a:lnTo>
                  <a:lnTo>
                    <a:pt x="577" y="347"/>
                  </a:lnTo>
                  <a:lnTo>
                    <a:pt x="577" y="347"/>
                  </a:lnTo>
                  <a:lnTo>
                    <a:pt x="577" y="347"/>
                  </a:lnTo>
                  <a:lnTo>
                    <a:pt x="575" y="347"/>
                  </a:lnTo>
                  <a:lnTo>
                    <a:pt x="575" y="347"/>
                  </a:lnTo>
                  <a:lnTo>
                    <a:pt x="575" y="347"/>
                  </a:lnTo>
                  <a:lnTo>
                    <a:pt x="572" y="347"/>
                  </a:lnTo>
                  <a:lnTo>
                    <a:pt x="572" y="347"/>
                  </a:lnTo>
                  <a:lnTo>
                    <a:pt x="572" y="349"/>
                  </a:lnTo>
                  <a:lnTo>
                    <a:pt x="572" y="349"/>
                  </a:lnTo>
                  <a:lnTo>
                    <a:pt x="570" y="349"/>
                  </a:lnTo>
                  <a:lnTo>
                    <a:pt x="570" y="349"/>
                  </a:lnTo>
                  <a:lnTo>
                    <a:pt x="568" y="349"/>
                  </a:lnTo>
                  <a:lnTo>
                    <a:pt x="568" y="349"/>
                  </a:lnTo>
                  <a:lnTo>
                    <a:pt x="568" y="349"/>
                  </a:lnTo>
                  <a:lnTo>
                    <a:pt x="566" y="349"/>
                  </a:lnTo>
                  <a:lnTo>
                    <a:pt x="566" y="349"/>
                  </a:lnTo>
                  <a:lnTo>
                    <a:pt x="566" y="349"/>
                  </a:lnTo>
                  <a:lnTo>
                    <a:pt x="563" y="349"/>
                  </a:lnTo>
                  <a:lnTo>
                    <a:pt x="563" y="349"/>
                  </a:lnTo>
                  <a:lnTo>
                    <a:pt x="561" y="351"/>
                  </a:lnTo>
                  <a:lnTo>
                    <a:pt x="561" y="351"/>
                  </a:lnTo>
                  <a:lnTo>
                    <a:pt x="559" y="351"/>
                  </a:lnTo>
                  <a:lnTo>
                    <a:pt x="557" y="351"/>
                  </a:lnTo>
                  <a:lnTo>
                    <a:pt x="557" y="353"/>
                  </a:lnTo>
                  <a:lnTo>
                    <a:pt x="557" y="353"/>
                  </a:lnTo>
                  <a:lnTo>
                    <a:pt x="557" y="353"/>
                  </a:lnTo>
                  <a:lnTo>
                    <a:pt x="557" y="353"/>
                  </a:lnTo>
                  <a:lnTo>
                    <a:pt x="557" y="353"/>
                  </a:lnTo>
                  <a:lnTo>
                    <a:pt x="557" y="353"/>
                  </a:lnTo>
                  <a:lnTo>
                    <a:pt x="555" y="351"/>
                  </a:lnTo>
                  <a:lnTo>
                    <a:pt x="555" y="351"/>
                  </a:lnTo>
                  <a:lnTo>
                    <a:pt x="555" y="351"/>
                  </a:lnTo>
                  <a:lnTo>
                    <a:pt x="555" y="351"/>
                  </a:lnTo>
                  <a:lnTo>
                    <a:pt x="555" y="353"/>
                  </a:lnTo>
                  <a:lnTo>
                    <a:pt x="555" y="353"/>
                  </a:lnTo>
                  <a:lnTo>
                    <a:pt x="555" y="353"/>
                  </a:lnTo>
                  <a:lnTo>
                    <a:pt x="555" y="351"/>
                  </a:lnTo>
                  <a:lnTo>
                    <a:pt x="552" y="351"/>
                  </a:lnTo>
                  <a:lnTo>
                    <a:pt x="552" y="351"/>
                  </a:lnTo>
                  <a:lnTo>
                    <a:pt x="552" y="351"/>
                  </a:lnTo>
                  <a:lnTo>
                    <a:pt x="550" y="351"/>
                  </a:lnTo>
                  <a:lnTo>
                    <a:pt x="550" y="351"/>
                  </a:lnTo>
                  <a:lnTo>
                    <a:pt x="550" y="351"/>
                  </a:lnTo>
                  <a:lnTo>
                    <a:pt x="548" y="351"/>
                  </a:lnTo>
                  <a:lnTo>
                    <a:pt x="548" y="351"/>
                  </a:lnTo>
                  <a:lnTo>
                    <a:pt x="548" y="351"/>
                  </a:lnTo>
                  <a:lnTo>
                    <a:pt x="548" y="351"/>
                  </a:lnTo>
                  <a:lnTo>
                    <a:pt x="548" y="351"/>
                  </a:lnTo>
                  <a:lnTo>
                    <a:pt x="548" y="353"/>
                  </a:lnTo>
                  <a:lnTo>
                    <a:pt x="548" y="353"/>
                  </a:lnTo>
                  <a:lnTo>
                    <a:pt x="546" y="353"/>
                  </a:lnTo>
                  <a:lnTo>
                    <a:pt x="546" y="353"/>
                  </a:lnTo>
                  <a:lnTo>
                    <a:pt x="543" y="353"/>
                  </a:lnTo>
                  <a:lnTo>
                    <a:pt x="543" y="353"/>
                  </a:lnTo>
                  <a:lnTo>
                    <a:pt x="541" y="353"/>
                  </a:lnTo>
                  <a:lnTo>
                    <a:pt x="541" y="353"/>
                  </a:lnTo>
                  <a:lnTo>
                    <a:pt x="541" y="353"/>
                  </a:lnTo>
                  <a:lnTo>
                    <a:pt x="539" y="353"/>
                  </a:lnTo>
                  <a:lnTo>
                    <a:pt x="539" y="353"/>
                  </a:lnTo>
                  <a:lnTo>
                    <a:pt x="539" y="353"/>
                  </a:lnTo>
                  <a:lnTo>
                    <a:pt x="539" y="353"/>
                  </a:lnTo>
                  <a:lnTo>
                    <a:pt x="539" y="353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7" y="351"/>
                  </a:lnTo>
                  <a:lnTo>
                    <a:pt x="534" y="351"/>
                  </a:lnTo>
                  <a:lnTo>
                    <a:pt x="534" y="353"/>
                  </a:lnTo>
                  <a:lnTo>
                    <a:pt x="534" y="351"/>
                  </a:lnTo>
                  <a:lnTo>
                    <a:pt x="534" y="351"/>
                  </a:lnTo>
                  <a:lnTo>
                    <a:pt x="534" y="351"/>
                  </a:lnTo>
                  <a:lnTo>
                    <a:pt x="534" y="351"/>
                  </a:lnTo>
                  <a:lnTo>
                    <a:pt x="534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2" y="351"/>
                  </a:lnTo>
                  <a:lnTo>
                    <a:pt x="530" y="351"/>
                  </a:lnTo>
                  <a:lnTo>
                    <a:pt x="530" y="351"/>
                  </a:lnTo>
                  <a:lnTo>
                    <a:pt x="530" y="351"/>
                  </a:lnTo>
                  <a:lnTo>
                    <a:pt x="528" y="351"/>
                  </a:lnTo>
                  <a:lnTo>
                    <a:pt x="528" y="351"/>
                  </a:lnTo>
                  <a:lnTo>
                    <a:pt x="528" y="351"/>
                  </a:lnTo>
                  <a:lnTo>
                    <a:pt x="528" y="351"/>
                  </a:lnTo>
                  <a:lnTo>
                    <a:pt x="528" y="351"/>
                  </a:lnTo>
                  <a:lnTo>
                    <a:pt x="528" y="351"/>
                  </a:lnTo>
                  <a:lnTo>
                    <a:pt x="525" y="351"/>
                  </a:lnTo>
                  <a:lnTo>
                    <a:pt x="525" y="351"/>
                  </a:lnTo>
                  <a:lnTo>
                    <a:pt x="525" y="351"/>
                  </a:lnTo>
                  <a:lnTo>
                    <a:pt x="523" y="351"/>
                  </a:lnTo>
                  <a:lnTo>
                    <a:pt x="523" y="349"/>
                  </a:lnTo>
                  <a:lnTo>
                    <a:pt x="523" y="349"/>
                  </a:lnTo>
                  <a:lnTo>
                    <a:pt x="523" y="349"/>
                  </a:lnTo>
                  <a:lnTo>
                    <a:pt x="523" y="349"/>
                  </a:lnTo>
                  <a:lnTo>
                    <a:pt x="521" y="351"/>
                  </a:lnTo>
                  <a:lnTo>
                    <a:pt x="521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1"/>
                  </a:lnTo>
                  <a:lnTo>
                    <a:pt x="519" y="353"/>
                  </a:lnTo>
                  <a:lnTo>
                    <a:pt x="516" y="353"/>
                  </a:lnTo>
                  <a:lnTo>
                    <a:pt x="516" y="351"/>
                  </a:lnTo>
                  <a:lnTo>
                    <a:pt x="516" y="351"/>
                  </a:lnTo>
                  <a:lnTo>
                    <a:pt x="516" y="351"/>
                  </a:lnTo>
                  <a:lnTo>
                    <a:pt x="516" y="351"/>
                  </a:lnTo>
                  <a:lnTo>
                    <a:pt x="516" y="351"/>
                  </a:lnTo>
                  <a:lnTo>
                    <a:pt x="516" y="351"/>
                  </a:lnTo>
                  <a:lnTo>
                    <a:pt x="516" y="351"/>
                  </a:lnTo>
                  <a:lnTo>
                    <a:pt x="516" y="349"/>
                  </a:lnTo>
                  <a:lnTo>
                    <a:pt x="516" y="349"/>
                  </a:lnTo>
                  <a:lnTo>
                    <a:pt x="516" y="347"/>
                  </a:lnTo>
                  <a:lnTo>
                    <a:pt x="516" y="344"/>
                  </a:lnTo>
                  <a:lnTo>
                    <a:pt x="516" y="344"/>
                  </a:lnTo>
                  <a:lnTo>
                    <a:pt x="516" y="342"/>
                  </a:lnTo>
                  <a:lnTo>
                    <a:pt x="519" y="342"/>
                  </a:lnTo>
                  <a:lnTo>
                    <a:pt x="516" y="342"/>
                  </a:lnTo>
                  <a:lnTo>
                    <a:pt x="519" y="342"/>
                  </a:lnTo>
                  <a:lnTo>
                    <a:pt x="519" y="342"/>
                  </a:lnTo>
                  <a:lnTo>
                    <a:pt x="519" y="342"/>
                  </a:lnTo>
                  <a:lnTo>
                    <a:pt x="519" y="342"/>
                  </a:lnTo>
                  <a:lnTo>
                    <a:pt x="519" y="342"/>
                  </a:lnTo>
                  <a:lnTo>
                    <a:pt x="519" y="342"/>
                  </a:lnTo>
                  <a:lnTo>
                    <a:pt x="519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2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1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3" y="340"/>
                  </a:lnTo>
                  <a:lnTo>
                    <a:pt x="525" y="340"/>
                  </a:lnTo>
                  <a:lnTo>
                    <a:pt x="525" y="338"/>
                  </a:lnTo>
                  <a:lnTo>
                    <a:pt x="525" y="338"/>
                  </a:lnTo>
                  <a:lnTo>
                    <a:pt x="525" y="338"/>
                  </a:lnTo>
                  <a:lnTo>
                    <a:pt x="528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0" y="338"/>
                  </a:lnTo>
                  <a:lnTo>
                    <a:pt x="532" y="338"/>
                  </a:lnTo>
                  <a:lnTo>
                    <a:pt x="532" y="338"/>
                  </a:lnTo>
                  <a:lnTo>
                    <a:pt x="532" y="338"/>
                  </a:lnTo>
                  <a:lnTo>
                    <a:pt x="532" y="338"/>
                  </a:lnTo>
                  <a:lnTo>
                    <a:pt x="532" y="338"/>
                  </a:lnTo>
                  <a:lnTo>
                    <a:pt x="532" y="338"/>
                  </a:lnTo>
                  <a:lnTo>
                    <a:pt x="532" y="338"/>
                  </a:lnTo>
                  <a:lnTo>
                    <a:pt x="534" y="338"/>
                  </a:lnTo>
                  <a:lnTo>
                    <a:pt x="532" y="338"/>
                  </a:lnTo>
                  <a:lnTo>
                    <a:pt x="534" y="338"/>
                  </a:lnTo>
                  <a:lnTo>
                    <a:pt x="534" y="338"/>
                  </a:lnTo>
                  <a:lnTo>
                    <a:pt x="534" y="338"/>
                  </a:lnTo>
                  <a:lnTo>
                    <a:pt x="534" y="338"/>
                  </a:lnTo>
                  <a:lnTo>
                    <a:pt x="537" y="340"/>
                  </a:lnTo>
                  <a:lnTo>
                    <a:pt x="537" y="340"/>
                  </a:lnTo>
                  <a:lnTo>
                    <a:pt x="537" y="340"/>
                  </a:lnTo>
                  <a:lnTo>
                    <a:pt x="539" y="340"/>
                  </a:lnTo>
                  <a:lnTo>
                    <a:pt x="539" y="340"/>
                  </a:lnTo>
                  <a:lnTo>
                    <a:pt x="539" y="340"/>
                  </a:lnTo>
                  <a:lnTo>
                    <a:pt x="539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1" y="340"/>
                  </a:lnTo>
                  <a:lnTo>
                    <a:pt x="543" y="342"/>
                  </a:lnTo>
                  <a:lnTo>
                    <a:pt x="543" y="342"/>
                  </a:lnTo>
                  <a:lnTo>
                    <a:pt x="543" y="342"/>
                  </a:lnTo>
                  <a:lnTo>
                    <a:pt x="543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6" y="342"/>
                  </a:lnTo>
                  <a:lnTo>
                    <a:pt x="548" y="342"/>
                  </a:lnTo>
                  <a:lnTo>
                    <a:pt x="548" y="342"/>
                  </a:lnTo>
                  <a:lnTo>
                    <a:pt x="548" y="342"/>
                  </a:lnTo>
                  <a:lnTo>
                    <a:pt x="548" y="344"/>
                  </a:lnTo>
                  <a:lnTo>
                    <a:pt x="548" y="344"/>
                  </a:lnTo>
                  <a:lnTo>
                    <a:pt x="550" y="344"/>
                  </a:lnTo>
                  <a:lnTo>
                    <a:pt x="550" y="344"/>
                  </a:lnTo>
                  <a:lnTo>
                    <a:pt x="550" y="344"/>
                  </a:lnTo>
                  <a:lnTo>
                    <a:pt x="550" y="344"/>
                  </a:lnTo>
                  <a:lnTo>
                    <a:pt x="550" y="344"/>
                  </a:lnTo>
                  <a:lnTo>
                    <a:pt x="550" y="344"/>
                  </a:lnTo>
                  <a:lnTo>
                    <a:pt x="552" y="344"/>
                  </a:lnTo>
                  <a:lnTo>
                    <a:pt x="552" y="344"/>
                  </a:lnTo>
                  <a:lnTo>
                    <a:pt x="552" y="347"/>
                  </a:lnTo>
                  <a:lnTo>
                    <a:pt x="552" y="347"/>
                  </a:lnTo>
                  <a:lnTo>
                    <a:pt x="552" y="347"/>
                  </a:lnTo>
                  <a:lnTo>
                    <a:pt x="552" y="347"/>
                  </a:lnTo>
                  <a:lnTo>
                    <a:pt x="552" y="347"/>
                  </a:lnTo>
                  <a:lnTo>
                    <a:pt x="552" y="344"/>
                  </a:lnTo>
                  <a:lnTo>
                    <a:pt x="552" y="344"/>
                  </a:lnTo>
                  <a:lnTo>
                    <a:pt x="552" y="344"/>
                  </a:lnTo>
                  <a:lnTo>
                    <a:pt x="552" y="344"/>
                  </a:lnTo>
                  <a:lnTo>
                    <a:pt x="552" y="344"/>
                  </a:lnTo>
                  <a:lnTo>
                    <a:pt x="555" y="344"/>
                  </a:lnTo>
                  <a:lnTo>
                    <a:pt x="555" y="344"/>
                  </a:lnTo>
                  <a:lnTo>
                    <a:pt x="555" y="344"/>
                  </a:lnTo>
                  <a:lnTo>
                    <a:pt x="555" y="342"/>
                  </a:lnTo>
                  <a:lnTo>
                    <a:pt x="555" y="342"/>
                  </a:lnTo>
                  <a:lnTo>
                    <a:pt x="555" y="342"/>
                  </a:lnTo>
                  <a:lnTo>
                    <a:pt x="555" y="344"/>
                  </a:lnTo>
                  <a:lnTo>
                    <a:pt x="557" y="344"/>
                  </a:lnTo>
                  <a:lnTo>
                    <a:pt x="557" y="342"/>
                  </a:lnTo>
                  <a:lnTo>
                    <a:pt x="557" y="342"/>
                  </a:lnTo>
                  <a:lnTo>
                    <a:pt x="557" y="342"/>
                  </a:lnTo>
                  <a:lnTo>
                    <a:pt x="557" y="342"/>
                  </a:lnTo>
                  <a:lnTo>
                    <a:pt x="557" y="342"/>
                  </a:lnTo>
                  <a:lnTo>
                    <a:pt x="559" y="342"/>
                  </a:lnTo>
                  <a:lnTo>
                    <a:pt x="559" y="342"/>
                  </a:lnTo>
                  <a:lnTo>
                    <a:pt x="559" y="342"/>
                  </a:lnTo>
                  <a:lnTo>
                    <a:pt x="559" y="342"/>
                  </a:lnTo>
                  <a:lnTo>
                    <a:pt x="559" y="342"/>
                  </a:lnTo>
                  <a:lnTo>
                    <a:pt x="559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1" y="342"/>
                  </a:lnTo>
                  <a:lnTo>
                    <a:pt x="563" y="342"/>
                  </a:lnTo>
                  <a:lnTo>
                    <a:pt x="563" y="342"/>
                  </a:lnTo>
                  <a:lnTo>
                    <a:pt x="563" y="342"/>
                  </a:lnTo>
                  <a:lnTo>
                    <a:pt x="563" y="342"/>
                  </a:lnTo>
                  <a:lnTo>
                    <a:pt x="563" y="342"/>
                  </a:lnTo>
                  <a:lnTo>
                    <a:pt x="563" y="342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3" y="344"/>
                  </a:lnTo>
                  <a:lnTo>
                    <a:pt x="566" y="344"/>
                  </a:lnTo>
                  <a:lnTo>
                    <a:pt x="566" y="347"/>
                  </a:lnTo>
                  <a:lnTo>
                    <a:pt x="568" y="347"/>
                  </a:lnTo>
                  <a:lnTo>
                    <a:pt x="568" y="347"/>
                  </a:lnTo>
                  <a:lnTo>
                    <a:pt x="570" y="347"/>
                  </a:lnTo>
                  <a:lnTo>
                    <a:pt x="572" y="347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4"/>
                  </a:lnTo>
                  <a:lnTo>
                    <a:pt x="572" y="342"/>
                  </a:lnTo>
                  <a:lnTo>
                    <a:pt x="572" y="342"/>
                  </a:lnTo>
                  <a:lnTo>
                    <a:pt x="572" y="342"/>
                  </a:lnTo>
                  <a:lnTo>
                    <a:pt x="572" y="342"/>
                  </a:lnTo>
                  <a:lnTo>
                    <a:pt x="575" y="342"/>
                  </a:lnTo>
                  <a:lnTo>
                    <a:pt x="575" y="340"/>
                  </a:lnTo>
                  <a:lnTo>
                    <a:pt x="575" y="340"/>
                  </a:lnTo>
                  <a:lnTo>
                    <a:pt x="577" y="340"/>
                  </a:lnTo>
                  <a:lnTo>
                    <a:pt x="577" y="340"/>
                  </a:lnTo>
                  <a:lnTo>
                    <a:pt x="577" y="340"/>
                  </a:lnTo>
                  <a:lnTo>
                    <a:pt x="577" y="340"/>
                  </a:lnTo>
                  <a:lnTo>
                    <a:pt x="577" y="340"/>
                  </a:lnTo>
                  <a:lnTo>
                    <a:pt x="577" y="340"/>
                  </a:lnTo>
                  <a:lnTo>
                    <a:pt x="579" y="340"/>
                  </a:lnTo>
                  <a:lnTo>
                    <a:pt x="579" y="340"/>
                  </a:lnTo>
                  <a:lnTo>
                    <a:pt x="579" y="340"/>
                  </a:lnTo>
                  <a:lnTo>
                    <a:pt x="579" y="338"/>
                  </a:lnTo>
                  <a:lnTo>
                    <a:pt x="581" y="338"/>
                  </a:lnTo>
                  <a:lnTo>
                    <a:pt x="581" y="338"/>
                  </a:lnTo>
                  <a:lnTo>
                    <a:pt x="581" y="335"/>
                  </a:lnTo>
                  <a:lnTo>
                    <a:pt x="581" y="335"/>
                  </a:lnTo>
                  <a:lnTo>
                    <a:pt x="581" y="335"/>
                  </a:lnTo>
                  <a:lnTo>
                    <a:pt x="581" y="335"/>
                  </a:lnTo>
                  <a:lnTo>
                    <a:pt x="581" y="335"/>
                  </a:lnTo>
                  <a:lnTo>
                    <a:pt x="579" y="335"/>
                  </a:lnTo>
                  <a:lnTo>
                    <a:pt x="579" y="338"/>
                  </a:lnTo>
                  <a:lnTo>
                    <a:pt x="579" y="338"/>
                  </a:lnTo>
                  <a:lnTo>
                    <a:pt x="579" y="338"/>
                  </a:lnTo>
                  <a:lnTo>
                    <a:pt x="579" y="338"/>
                  </a:lnTo>
                  <a:lnTo>
                    <a:pt x="577" y="338"/>
                  </a:lnTo>
                  <a:lnTo>
                    <a:pt x="577" y="338"/>
                  </a:lnTo>
                  <a:lnTo>
                    <a:pt x="579" y="335"/>
                  </a:lnTo>
                  <a:lnTo>
                    <a:pt x="579" y="335"/>
                  </a:lnTo>
                  <a:lnTo>
                    <a:pt x="579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1" y="333"/>
                  </a:lnTo>
                  <a:lnTo>
                    <a:pt x="584" y="335"/>
                  </a:lnTo>
                  <a:lnTo>
                    <a:pt x="584" y="335"/>
                  </a:lnTo>
                  <a:lnTo>
                    <a:pt x="584" y="335"/>
                  </a:lnTo>
                  <a:close/>
                  <a:moveTo>
                    <a:pt x="426" y="335"/>
                  </a:moveTo>
                  <a:lnTo>
                    <a:pt x="426" y="335"/>
                  </a:lnTo>
                  <a:lnTo>
                    <a:pt x="429" y="338"/>
                  </a:lnTo>
                  <a:lnTo>
                    <a:pt x="429" y="338"/>
                  </a:lnTo>
                  <a:lnTo>
                    <a:pt x="429" y="340"/>
                  </a:lnTo>
                  <a:lnTo>
                    <a:pt x="431" y="340"/>
                  </a:lnTo>
                  <a:lnTo>
                    <a:pt x="431" y="340"/>
                  </a:lnTo>
                  <a:lnTo>
                    <a:pt x="431" y="342"/>
                  </a:lnTo>
                  <a:lnTo>
                    <a:pt x="431" y="342"/>
                  </a:lnTo>
                  <a:lnTo>
                    <a:pt x="429" y="342"/>
                  </a:lnTo>
                  <a:lnTo>
                    <a:pt x="429" y="342"/>
                  </a:lnTo>
                  <a:lnTo>
                    <a:pt x="429" y="342"/>
                  </a:lnTo>
                  <a:lnTo>
                    <a:pt x="429" y="344"/>
                  </a:lnTo>
                  <a:lnTo>
                    <a:pt x="426" y="344"/>
                  </a:lnTo>
                  <a:lnTo>
                    <a:pt x="426" y="344"/>
                  </a:lnTo>
                  <a:lnTo>
                    <a:pt x="426" y="344"/>
                  </a:lnTo>
                  <a:lnTo>
                    <a:pt x="426" y="344"/>
                  </a:lnTo>
                  <a:lnTo>
                    <a:pt x="422" y="347"/>
                  </a:lnTo>
                  <a:lnTo>
                    <a:pt x="422" y="347"/>
                  </a:lnTo>
                  <a:lnTo>
                    <a:pt x="422" y="347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51"/>
                  </a:lnTo>
                  <a:lnTo>
                    <a:pt x="420" y="351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51"/>
                  </a:lnTo>
                  <a:lnTo>
                    <a:pt x="420" y="351"/>
                  </a:lnTo>
                  <a:lnTo>
                    <a:pt x="420" y="351"/>
                  </a:lnTo>
                  <a:lnTo>
                    <a:pt x="420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51"/>
                  </a:lnTo>
                  <a:lnTo>
                    <a:pt x="417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20" y="349"/>
                  </a:lnTo>
                  <a:lnTo>
                    <a:pt x="417" y="347"/>
                  </a:lnTo>
                  <a:lnTo>
                    <a:pt x="417" y="347"/>
                  </a:lnTo>
                  <a:lnTo>
                    <a:pt x="417" y="347"/>
                  </a:lnTo>
                  <a:lnTo>
                    <a:pt x="417" y="347"/>
                  </a:lnTo>
                  <a:lnTo>
                    <a:pt x="417" y="347"/>
                  </a:lnTo>
                  <a:lnTo>
                    <a:pt x="417" y="347"/>
                  </a:lnTo>
                  <a:lnTo>
                    <a:pt x="417" y="347"/>
                  </a:lnTo>
                  <a:lnTo>
                    <a:pt x="417" y="344"/>
                  </a:lnTo>
                  <a:lnTo>
                    <a:pt x="417" y="344"/>
                  </a:lnTo>
                  <a:lnTo>
                    <a:pt x="415" y="344"/>
                  </a:lnTo>
                  <a:lnTo>
                    <a:pt x="415" y="342"/>
                  </a:lnTo>
                  <a:lnTo>
                    <a:pt x="413" y="342"/>
                  </a:lnTo>
                  <a:lnTo>
                    <a:pt x="411" y="342"/>
                  </a:lnTo>
                  <a:lnTo>
                    <a:pt x="411" y="340"/>
                  </a:lnTo>
                  <a:lnTo>
                    <a:pt x="408" y="340"/>
                  </a:lnTo>
                  <a:lnTo>
                    <a:pt x="406" y="340"/>
                  </a:lnTo>
                  <a:lnTo>
                    <a:pt x="406" y="340"/>
                  </a:lnTo>
                  <a:lnTo>
                    <a:pt x="406" y="340"/>
                  </a:lnTo>
                  <a:lnTo>
                    <a:pt x="404" y="338"/>
                  </a:lnTo>
                  <a:lnTo>
                    <a:pt x="404" y="335"/>
                  </a:lnTo>
                  <a:lnTo>
                    <a:pt x="404" y="333"/>
                  </a:lnTo>
                  <a:lnTo>
                    <a:pt x="406" y="333"/>
                  </a:lnTo>
                  <a:lnTo>
                    <a:pt x="406" y="333"/>
                  </a:lnTo>
                  <a:lnTo>
                    <a:pt x="406" y="333"/>
                  </a:lnTo>
                  <a:lnTo>
                    <a:pt x="406" y="333"/>
                  </a:lnTo>
                  <a:lnTo>
                    <a:pt x="406" y="335"/>
                  </a:lnTo>
                  <a:lnTo>
                    <a:pt x="406" y="335"/>
                  </a:lnTo>
                  <a:lnTo>
                    <a:pt x="406" y="335"/>
                  </a:lnTo>
                  <a:lnTo>
                    <a:pt x="408" y="333"/>
                  </a:lnTo>
                  <a:lnTo>
                    <a:pt x="408" y="335"/>
                  </a:lnTo>
                  <a:lnTo>
                    <a:pt x="408" y="335"/>
                  </a:lnTo>
                  <a:lnTo>
                    <a:pt x="408" y="335"/>
                  </a:lnTo>
                  <a:lnTo>
                    <a:pt x="408" y="335"/>
                  </a:lnTo>
                  <a:lnTo>
                    <a:pt x="413" y="335"/>
                  </a:lnTo>
                  <a:lnTo>
                    <a:pt x="413" y="335"/>
                  </a:lnTo>
                  <a:lnTo>
                    <a:pt x="415" y="335"/>
                  </a:lnTo>
                  <a:lnTo>
                    <a:pt x="417" y="335"/>
                  </a:lnTo>
                  <a:lnTo>
                    <a:pt x="417" y="335"/>
                  </a:lnTo>
                  <a:lnTo>
                    <a:pt x="420" y="333"/>
                  </a:lnTo>
                  <a:lnTo>
                    <a:pt x="420" y="333"/>
                  </a:lnTo>
                  <a:lnTo>
                    <a:pt x="420" y="333"/>
                  </a:lnTo>
                  <a:lnTo>
                    <a:pt x="420" y="333"/>
                  </a:lnTo>
                  <a:lnTo>
                    <a:pt x="422" y="333"/>
                  </a:lnTo>
                  <a:lnTo>
                    <a:pt x="422" y="333"/>
                  </a:lnTo>
                  <a:lnTo>
                    <a:pt x="422" y="333"/>
                  </a:lnTo>
                  <a:lnTo>
                    <a:pt x="424" y="333"/>
                  </a:lnTo>
                  <a:lnTo>
                    <a:pt x="426" y="335"/>
                  </a:lnTo>
                  <a:close/>
                  <a:moveTo>
                    <a:pt x="671" y="333"/>
                  </a:move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1"/>
                  </a:lnTo>
                  <a:lnTo>
                    <a:pt x="671" y="331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lnTo>
                    <a:pt x="671" y="333"/>
                  </a:lnTo>
                  <a:close/>
                  <a:moveTo>
                    <a:pt x="725" y="326"/>
                  </a:moveTo>
                  <a:lnTo>
                    <a:pt x="725" y="326"/>
                  </a:lnTo>
                  <a:lnTo>
                    <a:pt x="727" y="326"/>
                  </a:lnTo>
                  <a:lnTo>
                    <a:pt x="727" y="326"/>
                  </a:lnTo>
                  <a:lnTo>
                    <a:pt x="727" y="326"/>
                  </a:lnTo>
                  <a:lnTo>
                    <a:pt x="727" y="326"/>
                  </a:lnTo>
                  <a:lnTo>
                    <a:pt x="727" y="329"/>
                  </a:lnTo>
                  <a:lnTo>
                    <a:pt x="727" y="329"/>
                  </a:lnTo>
                  <a:lnTo>
                    <a:pt x="727" y="329"/>
                  </a:lnTo>
                  <a:lnTo>
                    <a:pt x="727" y="329"/>
                  </a:lnTo>
                  <a:lnTo>
                    <a:pt x="727" y="329"/>
                  </a:lnTo>
                  <a:lnTo>
                    <a:pt x="727" y="329"/>
                  </a:lnTo>
                  <a:lnTo>
                    <a:pt x="727" y="329"/>
                  </a:lnTo>
                  <a:lnTo>
                    <a:pt x="727" y="331"/>
                  </a:lnTo>
                  <a:lnTo>
                    <a:pt x="727" y="331"/>
                  </a:lnTo>
                  <a:lnTo>
                    <a:pt x="727" y="331"/>
                  </a:lnTo>
                  <a:lnTo>
                    <a:pt x="725" y="333"/>
                  </a:lnTo>
                  <a:lnTo>
                    <a:pt x="725" y="333"/>
                  </a:lnTo>
                  <a:lnTo>
                    <a:pt x="725" y="333"/>
                  </a:lnTo>
                  <a:lnTo>
                    <a:pt x="723" y="333"/>
                  </a:lnTo>
                  <a:lnTo>
                    <a:pt x="723" y="333"/>
                  </a:lnTo>
                  <a:lnTo>
                    <a:pt x="723" y="329"/>
                  </a:lnTo>
                  <a:lnTo>
                    <a:pt x="723" y="329"/>
                  </a:lnTo>
                  <a:lnTo>
                    <a:pt x="723" y="329"/>
                  </a:lnTo>
                  <a:lnTo>
                    <a:pt x="723" y="326"/>
                  </a:lnTo>
                  <a:lnTo>
                    <a:pt x="723" y="326"/>
                  </a:lnTo>
                  <a:lnTo>
                    <a:pt x="725" y="326"/>
                  </a:lnTo>
                  <a:lnTo>
                    <a:pt x="725" y="326"/>
                  </a:lnTo>
                  <a:lnTo>
                    <a:pt x="725" y="326"/>
                  </a:lnTo>
                  <a:lnTo>
                    <a:pt x="725" y="326"/>
                  </a:lnTo>
                  <a:close/>
                  <a:moveTo>
                    <a:pt x="732" y="326"/>
                  </a:move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lnTo>
                    <a:pt x="732" y="326"/>
                  </a:lnTo>
                  <a:close/>
                  <a:moveTo>
                    <a:pt x="732" y="326"/>
                  </a:moveTo>
                  <a:lnTo>
                    <a:pt x="732" y="326"/>
                  </a:lnTo>
                  <a:lnTo>
                    <a:pt x="730" y="326"/>
                  </a:lnTo>
                  <a:lnTo>
                    <a:pt x="730" y="326"/>
                  </a:lnTo>
                  <a:lnTo>
                    <a:pt x="730" y="324"/>
                  </a:lnTo>
                  <a:lnTo>
                    <a:pt x="730" y="324"/>
                  </a:lnTo>
                  <a:lnTo>
                    <a:pt x="730" y="324"/>
                  </a:lnTo>
                  <a:lnTo>
                    <a:pt x="730" y="324"/>
                  </a:lnTo>
                  <a:lnTo>
                    <a:pt x="730" y="324"/>
                  </a:lnTo>
                  <a:lnTo>
                    <a:pt x="730" y="324"/>
                  </a:lnTo>
                  <a:lnTo>
                    <a:pt x="732" y="324"/>
                  </a:lnTo>
                  <a:lnTo>
                    <a:pt x="732" y="324"/>
                  </a:lnTo>
                  <a:lnTo>
                    <a:pt x="732" y="324"/>
                  </a:lnTo>
                  <a:lnTo>
                    <a:pt x="732" y="326"/>
                  </a:lnTo>
                  <a:close/>
                  <a:moveTo>
                    <a:pt x="289" y="324"/>
                  </a:move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92" y="326"/>
                  </a:lnTo>
                  <a:lnTo>
                    <a:pt x="289" y="326"/>
                  </a:lnTo>
                  <a:lnTo>
                    <a:pt x="289" y="326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9" y="324"/>
                  </a:lnTo>
                  <a:lnTo>
                    <a:pt x="289" y="324"/>
                  </a:lnTo>
                  <a:lnTo>
                    <a:pt x="289" y="324"/>
                  </a:lnTo>
                  <a:close/>
                  <a:moveTo>
                    <a:pt x="754" y="322"/>
                  </a:move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4"/>
                  </a:lnTo>
                  <a:lnTo>
                    <a:pt x="752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close/>
                  <a:moveTo>
                    <a:pt x="662" y="324"/>
                  </a:moveTo>
                  <a:lnTo>
                    <a:pt x="662" y="324"/>
                  </a:lnTo>
                  <a:lnTo>
                    <a:pt x="665" y="324"/>
                  </a:lnTo>
                  <a:lnTo>
                    <a:pt x="665" y="324"/>
                  </a:lnTo>
                  <a:lnTo>
                    <a:pt x="665" y="324"/>
                  </a:lnTo>
                  <a:lnTo>
                    <a:pt x="665" y="324"/>
                  </a:lnTo>
                  <a:lnTo>
                    <a:pt x="665" y="324"/>
                  </a:lnTo>
                  <a:lnTo>
                    <a:pt x="665" y="324"/>
                  </a:lnTo>
                  <a:lnTo>
                    <a:pt x="665" y="324"/>
                  </a:lnTo>
                  <a:lnTo>
                    <a:pt x="665" y="326"/>
                  </a:lnTo>
                  <a:lnTo>
                    <a:pt x="665" y="326"/>
                  </a:lnTo>
                  <a:lnTo>
                    <a:pt x="665" y="326"/>
                  </a:lnTo>
                  <a:lnTo>
                    <a:pt x="665" y="326"/>
                  </a:lnTo>
                  <a:lnTo>
                    <a:pt x="665" y="326"/>
                  </a:lnTo>
                  <a:lnTo>
                    <a:pt x="665" y="326"/>
                  </a:lnTo>
                  <a:lnTo>
                    <a:pt x="662" y="326"/>
                  </a:lnTo>
                  <a:lnTo>
                    <a:pt x="662" y="326"/>
                  </a:lnTo>
                  <a:lnTo>
                    <a:pt x="662" y="326"/>
                  </a:lnTo>
                  <a:lnTo>
                    <a:pt x="660" y="326"/>
                  </a:lnTo>
                  <a:lnTo>
                    <a:pt x="660" y="326"/>
                  </a:lnTo>
                  <a:lnTo>
                    <a:pt x="660" y="326"/>
                  </a:lnTo>
                  <a:lnTo>
                    <a:pt x="660" y="326"/>
                  </a:lnTo>
                  <a:lnTo>
                    <a:pt x="658" y="326"/>
                  </a:lnTo>
                  <a:lnTo>
                    <a:pt x="658" y="326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29"/>
                  </a:lnTo>
                  <a:lnTo>
                    <a:pt x="658" y="331"/>
                  </a:lnTo>
                  <a:lnTo>
                    <a:pt x="656" y="331"/>
                  </a:lnTo>
                  <a:lnTo>
                    <a:pt x="656" y="331"/>
                  </a:lnTo>
                  <a:lnTo>
                    <a:pt x="656" y="331"/>
                  </a:lnTo>
                  <a:lnTo>
                    <a:pt x="656" y="331"/>
                  </a:lnTo>
                  <a:lnTo>
                    <a:pt x="656" y="331"/>
                  </a:lnTo>
                  <a:lnTo>
                    <a:pt x="656" y="331"/>
                  </a:lnTo>
                  <a:lnTo>
                    <a:pt x="653" y="329"/>
                  </a:lnTo>
                  <a:lnTo>
                    <a:pt x="653" y="329"/>
                  </a:lnTo>
                  <a:lnTo>
                    <a:pt x="653" y="329"/>
                  </a:lnTo>
                  <a:lnTo>
                    <a:pt x="651" y="329"/>
                  </a:lnTo>
                  <a:lnTo>
                    <a:pt x="651" y="329"/>
                  </a:lnTo>
                  <a:lnTo>
                    <a:pt x="651" y="329"/>
                  </a:lnTo>
                  <a:lnTo>
                    <a:pt x="649" y="329"/>
                  </a:lnTo>
                  <a:lnTo>
                    <a:pt x="649" y="329"/>
                  </a:lnTo>
                  <a:lnTo>
                    <a:pt x="649" y="329"/>
                  </a:lnTo>
                  <a:lnTo>
                    <a:pt x="649" y="329"/>
                  </a:lnTo>
                  <a:lnTo>
                    <a:pt x="649" y="329"/>
                  </a:lnTo>
                  <a:lnTo>
                    <a:pt x="647" y="329"/>
                  </a:lnTo>
                  <a:lnTo>
                    <a:pt x="647" y="329"/>
                  </a:lnTo>
                  <a:lnTo>
                    <a:pt x="647" y="329"/>
                  </a:lnTo>
                  <a:lnTo>
                    <a:pt x="647" y="329"/>
                  </a:lnTo>
                  <a:lnTo>
                    <a:pt x="644" y="329"/>
                  </a:lnTo>
                  <a:lnTo>
                    <a:pt x="644" y="329"/>
                  </a:lnTo>
                  <a:lnTo>
                    <a:pt x="644" y="329"/>
                  </a:lnTo>
                  <a:lnTo>
                    <a:pt x="644" y="329"/>
                  </a:lnTo>
                  <a:lnTo>
                    <a:pt x="644" y="331"/>
                  </a:lnTo>
                  <a:lnTo>
                    <a:pt x="644" y="331"/>
                  </a:lnTo>
                  <a:lnTo>
                    <a:pt x="644" y="331"/>
                  </a:lnTo>
                  <a:lnTo>
                    <a:pt x="644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31"/>
                  </a:lnTo>
                  <a:lnTo>
                    <a:pt x="642" y="329"/>
                  </a:lnTo>
                  <a:lnTo>
                    <a:pt x="642" y="329"/>
                  </a:lnTo>
                  <a:lnTo>
                    <a:pt x="644" y="329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6"/>
                  </a:lnTo>
                  <a:lnTo>
                    <a:pt x="644" y="324"/>
                  </a:lnTo>
                  <a:lnTo>
                    <a:pt x="647" y="324"/>
                  </a:lnTo>
                  <a:lnTo>
                    <a:pt x="647" y="324"/>
                  </a:lnTo>
                  <a:lnTo>
                    <a:pt x="647" y="324"/>
                  </a:lnTo>
                  <a:lnTo>
                    <a:pt x="647" y="324"/>
                  </a:lnTo>
                  <a:lnTo>
                    <a:pt x="647" y="324"/>
                  </a:lnTo>
                  <a:lnTo>
                    <a:pt x="647" y="324"/>
                  </a:lnTo>
                  <a:lnTo>
                    <a:pt x="647" y="324"/>
                  </a:lnTo>
                  <a:lnTo>
                    <a:pt x="649" y="324"/>
                  </a:lnTo>
                  <a:lnTo>
                    <a:pt x="649" y="324"/>
                  </a:lnTo>
                  <a:lnTo>
                    <a:pt x="649" y="324"/>
                  </a:lnTo>
                  <a:lnTo>
                    <a:pt x="651" y="324"/>
                  </a:lnTo>
                  <a:lnTo>
                    <a:pt x="651" y="324"/>
                  </a:lnTo>
                  <a:lnTo>
                    <a:pt x="653" y="324"/>
                  </a:lnTo>
                  <a:lnTo>
                    <a:pt x="653" y="324"/>
                  </a:lnTo>
                  <a:lnTo>
                    <a:pt x="653" y="324"/>
                  </a:lnTo>
                  <a:lnTo>
                    <a:pt x="653" y="324"/>
                  </a:lnTo>
                  <a:lnTo>
                    <a:pt x="653" y="324"/>
                  </a:lnTo>
                  <a:lnTo>
                    <a:pt x="656" y="324"/>
                  </a:lnTo>
                  <a:lnTo>
                    <a:pt x="656" y="322"/>
                  </a:lnTo>
                  <a:lnTo>
                    <a:pt x="658" y="322"/>
                  </a:lnTo>
                  <a:lnTo>
                    <a:pt x="658" y="322"/>
                  </a:lnTo>
                  <a:lnTo>
                    <a:pt x="658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0" y="322"/>
                  </a:lnTo>
                  <a:lnTo>
                    <a:pt x="662" y="322"/>
                  </a:lnTo>
                  <a:lnTo>
                    <a:pt x="662" y="324"/>
                  </a:lnTo>
                  <a:lnTo>
                    <a:pt x="662" y="324"/>
                  </a:lnTo>
                  <a:lnTo>
                    <a:pt x="662" y="324"/>
                  </a:lnTo>
                  <a:close/>
                  <a:moveTo>
                    <a:pt x="725" y="322"/>
                  </a:move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3" y="322"/>
                  </a:lnTo>
                  <a:lnTo>
                    <a:pt x="723" y="320"/>
                  </a:lnTo>
                  <a:lnTo>
                    <a:pt x="725" y="320"/>
                  </a:lnTo>
                  <a:lnTo>
                    <a:pt x="725" y="320"/>
                  </a:lnTo>
                  <a:lnTo>
                    <a:pt x="725" y="322"/>
                  </a:lnTo>
                  <a:close/>
                  <a:moveTo>
                    <a:pt x="676" y="324"/>
                  </a:moveTo>
                  <a:lnTo>
                    <a:pt x="676" y="324"/>
                  </a:lnTo>
                  <a:lnTo>
                    <a:pt x="676" y="324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0"/>
                  </a:lnTo>
                  <a:lnTo>
                    <a:pt x="676" y="320"/>
                  </a:lnTo>
                  <a:lnTo>
                    <a:pt x="676" y="320"/>
                  </a:lnTo>
                  <a:lnTo>
                    <a:pt x="676" y="320"/>
                  </a:lnTo>
                  <a:lnTo>
                    <a:pt x="678" y="320"/>
                  </a:lnTo>
                  <a:lnTo>
                    <a:pt x="678" y="320"/>
                  </a:lnTo>
                  <a:lnTo>
                    <a:pt x="678" y="320"/>
                  </a:lnTo>
                  <a:lnTo>
                    <a:pt x="678" y="320"/>
                  </a:lnTo>
                  <a:lnTo>
                    <a:pt x="678" y="320"/>
                  </a:lnTo>
                  <a:lnTo>
                    <a:pt x="678" y="320"/>
                  </a:lnTo>
                  <a:lnTo>
                    <a:pt x="678" y="322"/>
                  </a:lnTo>
                  <a:lnTo>
                    <a:pt x="678" y="322"/>
                  </a:lnTo>
                  <a:lnTo>
                    <a:pt x="678" y="322"/>
                  </a:lnTo>
                  <a:lnTo>
                    <a:pt x="678" y="322"/>
                  </a:lnTo>
                  <a:lnTo>
                    <a:pt x="678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2"/>
                  </a:lnTo>
                  <a:lnTo>
                    <a:pt x="676" y="324"/>
                  </a:lnTo>
                  <a:close/>
                  <a:moveTo>
                    <a:pt x="750" y="320"/>
                  </a:moveTo>
                  <a:lnTo>
                    <a:pt x="750" y="320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2"/>
                  </a:lnTo>
                  <a:lnTo>
                    <a:pt x="752" y="322"/>
                  </a:lnTo>
                  <a:lnTo>
                    <a:pt x="752" y="322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0" y="322"/>
                  </a:lnTo>
                  <a:lnTo>
                    <a:pt x="750" y="322"/>
                  </a:lnTo>
                  <a:lnTo>
                    <a:pt x="750" y="322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0"/>
                  </a:lnTo>
                  <a:lnTo>
                    <a:pt x="750" y="320"/>
                  </a:lnTo>
                  <a:close/>
                  <a:moveTo>
                    <a:pt x="757" y="317"/>
                  </a:moveTo>
                  <a:lnTo>
                    <a:pt x="757" y="317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20"/>
                  </a:lnTo>
                  <a:lnTo>
                    <a:pt x="752" y="317"/>
                  </a:lnTo>
                  <a:lnTo>
                    <a:pt x="752" y="317"/>
                  </a:lnTo>
                  <a:lnTo>
                    <a:pt x="752" y="317"/>
                  </a:lnTo>
                  <a:lnTo>
                    <a:pt x="752" y="317"/>
                  </a:lnTo>
                  <a:lnTo>
                    <a:pt x="752" y="317"/>
                  </a:lnTo>
                  <a:lnTo>
                    <a:pt x="752" y="317"/>
                  </a:lnTo>
                  <a:lnTo>
                    <a:pt x="754" y="317"/>
                  </a:lnTo>
                  <a:lnTo>
                    <a:pt x="754" y="317"/>
                  </a:lnTo>
                  <a:lnTo>
                    <a:pt x="754" y="317"/>
                  </a:lnTo>
                  <a:lnTo>
                    <a:pt x="754" y="317"/>
                  </a:lnTo>
                  <a:lnTo>
                    <a:pt x="757" y="317"/>
                  </a:lnTo>
                  <a:lnTo>
                    <a:pt x="757" y="317"/>
                  </a:lnTo>
                  <a:lnTo>
                    <a:pt x="757" y="317"/>
                  </a:lnTo>
                  <a:lnTo>
                    <a:pt x="757" y="317"/>
                  </a:lnTo>
                  <a:lnTo>
                    <a:pt x="757" y="317"/>
                  </a:lnTo>
                  <a:lnTo>
                    <a:pt x="757" y="317"/>
                  </a:lnTo>
                  <a:lnTo>
                    <a:pt x="757" y="317"/>
                  </a:lnTo>
                  <a:lnTo>
                    <a:pt x="757" y="317"/>
                  </a:lnTo>
                  <a:close/>
                  <a:moveTo>
                    <a:pt x="916" y="333"/>
                  </a:moveTo>
                  <a:lnTo>
                    <a:pt x="916" y="333"/>
                  </a:lnTo>
                  <a:lnTo>
                    <a:pt x="916" y="333"/>
                  </a:lnTo>
                  <a:lnTo>
                    <a:pt x="916" y="333"/>
                  </a:lnTo>
                  <a:lnTo>
                    <a:pt x="914" y="333"/>
                  </a:lnTo>
                  <a:lnTo>
                    <a:pt x="914" y="335"/>
                  </a:lnTo>
                  <a:lnTo>
                    <a:pt x="914" y="335"/>
                  </a:lnTo>
                  <a:lnTo>
                    <a:pt x="914" y="335"/>
                  </a:lnTo>
                  <a:lnTo>
                    <a:pt x="912" y="335"/>
                  </a:lnTo>
                  <a:lnTo>
                    <a:pt x="912" y="335"/>
                  </a:lnTo>
                  <a:lnTo>
                    <a:pt x="912" y="335"/>
                  </a:lnTo>
                  <a:lnTo>
                    <a:pt x="912" y="335"/>
                  </a:lnTo>
                  <a:lnTo>
                    <a:pt x="912" y="338"/>
                  </a:lnTo>
                  <a:lnTo>
                    <a:pt x="909" y="338"/>
                  </a:lnTo>
                  <a:lnTo>
                    <a:pt x="909" y="338"/>
                  </a:lnTo>
                  <a:lnTo>
                    <a:pt x="907" y="340"/>
                  </a:lnTo>
                  <a:lnTo>
                    <a:pt x="907" y="340"/>
                  </a:lnTo>
                  <a:lnTo>
                    <a:pt x="907" y="340"/>
                  </a:lnTo>
                  <a:lnTo>
                    <a:pt x="907" y="340"/>
                  </a:lnTo>
                  <a:lnTo>
                    <a:pt x="905" y="340"/>
                  </a:lnTo>
                  <a:lnTo>
                    <a:pt x="905" y="342"/>
                  </a:lnTo>
                  <a:lnTo>
                    <a:pt x="905" y="342"/>
                  </a:lnTo>
                  <a:lnTo>
                    <a:pt x="903" y="342"/>
                  </a:lnTo>
                  <a:lnTo>
                    <a:pt x="903" y="340"/>
                  </a:lnTo>
                  <a:lnTo>
                    <a:pt x="900" y="340"/>
                  </a:lnTo>
                  <a:lnTo>
                    <a:pt x="898" y="340"/>
                  </a:lnTo>
                  <a:lnTo>
                    <a:pt x="894" y="340"/>
                  </a:lnTo>
                  <a:lnTo>
                    <a:pt x="894" y="340"/>
                  </a:lnTo>
                  <a:lnTo>
                    <a:pt x="891" y="340"/>
                  </a:lnTo>
                  <a:lnTo>
                    <a:pt x="891" y="342"/>
                  </a:lnTo>
                  <a:lnTo>
                    <a:pt x="889" y="342"/>
                  </a:lnTo>
                  <a:lnTo>
                    <a:pt x="889" y="340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4" y="333"/>
                  </a:lnTo>
                  <a:lnTo>
                    <a:pt x="894" y="333"/>
                  </a:lnTo>
                  <a:lnTo>
                    <a:pt x="894" y="333"/>
                  </a:lnTo>
                  <a:lnTo>
                    <a:pt x="894" y="333"/>
                  </a:lnTo>
                  <a:lnTo>
                    <a:pt x="894" y="331"/>
                  </a:lnTo>
                  <a:lnTo>
                    <a:pt x="894" y="331"/>
                  </a:lnTo>
                  <a:lnTo>
                    <a:pt x="894" y="331"/>
                  </a:lnTo>
                  <a:lnTo>
                    <a:pt x="896" y="326"/>
                  </a:lnTo>
                  <a:lnTo>
                    <a:pt x="896" y="326"/>
                  </a:lnTo>
                  <a:lnTo>
                    <a:pt x="898" y="324"/>
                  </a:lnTo>
                  <a:lnTo>
                    <a:pt x="898" y="324"/>
                  </a:lnTo>
                  <a:lnTo>
                    <a:pt x="898" y="324"/>
                  </a:lnTo>
                  <a:lnTo>
                    <a:pt x="898" y="324"/>
                  </a:lnTo>
                  <a:lnTo>
                    <a:pt x="898" y="322"/>
                  </a:lnTo>
                  <a:lnTo>
                    <a:pt x="900" y="322"/>
                  </a:lnTo>
                  <a:lnTo>
                    <a:pt x="900" y="322"/>
                  </a:lnTo>
                  <a:lnTo>
                    <a:pt x="905" y="320"/>
                  </a:lnTo>
                  <a:lnTo>
                    <a:pt x="907" y="317"/>
                  </a:lnTo>
                  <a:lnTo>
                    <a:pt x="909" y="317"/>
                  </a:lnTo>
                  <a:lnTo>
                    <a:pt x="912" y="317"/>
                  </a:lnTo>
                  <a:lnTo>
                    <a:pt x="912" y="317"/>
                  </a:lnTo>
                  <a:lnTo>
                    <a:pt x="914" y="315"/>
                  </a:lnTo>
                  <a:lnTo>
                    <a:pt x="916" y="317"/>
                  </a:lnTo>
                  <a:lnTo>
                    <a:pt x="916" y="317"/>
                  </a:lnTo>
                  <a:lnTo>
                    <a:pt x="916" y="317"/>
                  </a:lnTo>
                  <a:lnTo>
                    <a:pt x="918" y="320"/>
                  </a:lnTo>
                  <a:lnTo>
                    <a:pt x="918" y="320"/>
                  </a:lnTo>
                  <a:lnTo>
                    <a:pt x="918" y="320"/>
                  </a:lnTo>
                  <a:lnTo>
                    <a:pt x="918" y="320"/>
                  </a:lnTo>
                  <a:lnTo>
                    <a:pt x="918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4"/>
                  </a:lnTo>
                  <a:lnTo>
                    <a:pt x="918" y="324"/>
                  </a:lnTo>
                  <a:lnTo>
                    <a:pt x="918" y="324"/>
                  </a:lnTo>
                  <a:lnTo>
                    <a:pt x="918" y="326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16" y="329"/>
                  </a:lnTo>
                  <a:lnTo>
                    <a:pt x="916" y="331"/>
                  </a:lnTo>
                  <a:lnTo>
                    <a:pt x="916" y="331"/>
                  </a:lnTo>
                  <a:lnTo>
                    <a:pt x="916" y="333"/>
                  </a:lnTo>
                  <a:close/>
                  <a:moveTo>
                    <a:pt x="559" y="317"/>
                  </a:moveTo>
                  <a:lnTo>
                    <a:pt x="559" y="317"/>
                  </a:lnTo>
                  <a:lnTo>
                    <a:pt x="559" y="317"/>
                  </a:lnTo>
                  <a:lnTo>
                    <a:pt x="559" y="317"/>
                  </a:lnTo>
                  <a:lnTo>
                    <a:pt x="559" y="317"/>
                  </a:lnTo>
                  <a:lnTo>
                    <a:pt x="559" y="317"/>
                  </a:lnTo>
                  <a:lnTo>
                    <a:pt x="559" y="315"/>
                  </a:lnTo>
                  <a:lnTo>
                    <a:pt x="559" y="315"/>
                  </a:lnTo>
                  <a:lnTo>
                    <a:pt x="561" y="315"/>
                  </a:lnTo>
                  <a:lnTo>
                    <a:pt x="561" y="315"/>
                  </a:lnTo>
                  <a:lnTo>
                    <a:pt x="561" y="317"/>
                  </a:lnTo>
                  <a:lnTo>
                    <a:pt x="559" y="317"/>
                  </a:lnTo>
                  <a:close/>
                  <a:moveTo>
                    <a:pt x="759" y="315"/>
                  </a:move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7"/>
                  </a:lnTo>
                  <a:lnTo>
                    <a:pt x="757" y="317"/>
                  </a:lnTo>
                  <a:lnTo>
                    <a:pt x="757" y="315"/>
                  </a:lnTo>
                  <a:lnTo>
                    <a:pt x="757" y="315"/>
                  </a:lnTo>
                  <a:lnTo>
                    <a:pt x="757" y="315"/>
                  </a:lnTo>
                  <a:lnTo>
                    <a:pt x="757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lnTo>
                    <a:pt x="759" y="315"/>
                  </a:lnTo>
                  <a:close/>
                  <a:moveTo>
                    <a:pt x="541" y="315"/>
                  </a:moveTo>
                  <a:lnTo>
                    <a:pt x="543" y="315"/>
                  </a:lnTo>
                  <a:lnTo>
                    <a:pt x="543" y="315"/>
                  </a:lnTo>
                  <a:lnTo>
                    <a:pt x="543" y="315"/>
                  </a:lnTo>
                  <a:lnTo>
                    <a:pt x="546" y="315"/>
                  </a:lnTo>
                  <a:lnTo>
                    <a:pt x="543" y="315"/>
                  </a:lnTo>
                  <a:lnTo>
                    <a:pt x="543" y="315"/>
                  </a:lnTo>
                  <a:lnTo>
                    <a:pt x="543" y="315"/>
                  </a:lnTo>
                  <a:lnTo>
                    <a:pt x="543" y="315"/>
                  </a:lnTo>
                  <a:lnTo>
                    <a:pt x="543" y="315"/>
                  </a:lnTo>
                  <a:lnTo>
                    <a:pt x="541" y="315"/>
                  </a:lnTo>
                  <a:lnTo>
                    <a:pt x="541" y="315"/>
                  </a:lnTo>
                  <a:lnTo>
                    <a:pt x="541" y="315"/>
                  </a:lnTo>
                  <a:lnTo>
                    <a:pt x="539" y="315"/>
                  </a:lnTo>
                  <a:lnTo>
                    <a:pt x="539" y="315"/>
                  </a:lnTo>
                  <a:lnTo>
                    <a:pt x="539" y="315"/>
                  </a:lnTo>
                  <a:lnTo>
                    <a:pt x="539" y="315"/>
                  </a:lnTo>
                  <a:lnTo>
                    <a:pt x="539" y="315"/>
                  </a:lnTo>
                  <a:lnTo>
                    <a:pt x="539" y="315"/>
                  </a:lnTo>
                  <a:lnTo>
                    <a:pt x="539" y="313"/>
                  </a:lnTo>
                  <a:lnTo>
                    <a:pt x="539" y="313"/>
                  </a:lnTo>
                  <a:lnTo>
                    <a:pt x="539" y="313"/>
                  </a:lnTo>
                  <a:lnTo>
                    <a:pt x="541" y="315"/>
                  </a:lnTo>
                  <a:close/>
                  <a:moveTo>
                    <a:pt x="411" y="311"/>
                  </a:moveTo>
                  <a:lnTo>
                    <a:pt x="411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06" y="311"/>
                  </a:lnTo>
                  <a:lnTo>
                    <a:pt x="406" y="311"/>
                  </a:lnTo>
                  <a:lnTo>
                    <a:pt x="406" y="311"/>
                  </a:lnTo>
                  <a:lnTo>
                    <a:pt x="406" y="311"/>
                  </a:lnTo>
                  <a:lnTo>
                    <a:pt x="406" y="311"/>
                  </a:lnTo>
                  <a:lnTo>
                    <a:pt x="406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08" y="311"/>
                  </a:lnTo>
                  <a:lnTo>
                    <a:pt x="411" y="311"/>
                  </a:lnTo>
                  <a:lnTo>
                    <a:pt x="411" y="311"/>
                  </a:lnTo>
                  <a:close/>
                  <a:moveTo>
                    <a:pt x="766" y="311"/>
                  </a:moveTo>
                  <a:lnTo>
                    <a:pt x="766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8" y="313"/>
                  </a:lnTo>
                  <a:lnTo>
                    <a:pt x="766" y="313"/>
                  </a:lnTo>
                  <a:lnTo>
                    <a:pt x="766" y="313"/>
                  </a:lnTo>
                  <a:lnTo>
                    <a:pt x="766" y="313"/>
                  </a:lnTo>
                  <a:lnTo>
                    <a:pt x="766" y="313"/>
                  </a:lnTo>
                  <a:lnTo>
                    <a:pt x="766" y="315"/>
                  </a:lnTo>
                  <a:lnTo>
                    <a:pt x="766" y="315"/>
                  </a:lnTo>
                  <a:lnTo>
                    <a:pt x="766" y="315"/>
                  </a:lnTo>
                  <a:lnTo>
                    <a:pt x="766" y="315"/>
                  </a:lnTo>
                  <a:lnTo>
                    <a:pt x="766" y="315"/>
                  </a:lnTo>
                  <a:lnTo>
                    <a:pt x="766" y="315"/>
                  </a:lnTo>
                  <a:lnTo>
                    <a:pt x="766" y="317"/>
                  </a:lnTo>
                  <a:lnTo>
                    <a:pt x="766" y="317"/>
                  </a:lnTo>
                  <a:lnTo>
                    <a:pt x="766" y="317"/>
                  </a:lnTo>
                  <a:lnTo>
                    <a:pt x="766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8" y="317"/>
                  </a:lnTo>
                  <a:lnTo>
                    <a:pt x="766" y="317"/>
                  </a:lnTo>
                  <a:lnTo>
                    <a:pt x="766" y="320"/>
                  </a:lnTo>
                  <a:lnTo>
                    <a:pt x="766" y="320"/>
                  </a:lnTo>
                  <a:lnTo>
                    <a:pt x="766" y="320"/>
                  </a:lnTo>
                  <a:lnTo>
                    <a:pt x="766" y="320"/>
                  </a:lnTo>
                  <a:lnTo>
                    <a:pt x="766" y="320"/>
                  </a:lnTo>
                  <a:lnTo>
                    <a:pt x="766" y="320"/>
                  </a:lnTo>
                  <a:lnTo>
                    <a:pt x="766" y="322"/>
                  </a:lnTo>
                  <a:lnTo>
                    <a:pt x="766" y="322"/>
                  </a:lnTo>
                  <a:lnTo>
                    <a:pt x="766" y="322"/>
                  </a:lnTo>
                  <a:lnTo>
                    <a:pt x="766" y="322"/>
                  </a:lnTo>
                  <a:lnTo>
                    <a:pt x="766" y="322"/>
                  </a:lnTo>
                  <a:lnTo>
                    <a:pt x="766" y="324"/>
                  </a:lnTo>
                  <a:lnTo>
                    <a:pt x="763" y="324"/>
                  </a:lnTo>
                  <a:lnTo>
                    <a:pt x="763" y="324"/>
                  </a:lnTo>
                  <a:lnTo>
                    <a:pt x="763" y="324"/>
                  </a:lnTo>
                  <a:lnTo>
                    <a:pt x="763" y="324"/>
                  </a:lnTo>
                  <a:lnTo>
                    <a:pt x="763" y="324"/>
                  </a:lnTo>
                  <a:lnTo>
                    <a:pt x="763" y="324"/>
                  </a:lnTo>
                  <a:lnTo>
                    <a:pt x="763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61" y="326"/>
                  </a:lnTo>
                  <a:lnTo>
                    <a:pt x="759" y="329"/>
                  </a:lnTo>
                  <a:lnTo>
                    <a:pt x="759" y="329"/>
                  </a:lnTo>
                  <a:lnTo>
                    <a:pt x="759" y="329"/>
                  </a:lnTo>
                  <a:lnTo>
                    <a:pt x="759" y="329"/>
                  </a:lnTo>
                  <a:lnTo>
                    <a:pt x="759" y="329"/>
                  </a:lnTo>
                  <a:lnTo>
                    <a:pt x="759" y="329"/>
                  </a:lnTo>
                  <a:lnTo>
                    <a:pt x="759" y="329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7" y="333"/>
                  </a:lnTo>
                  <a:lnTo>
                    <a:pt x="757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9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7" y="331"/>
                  </a:lnTo>
                  <a:lnTo>
                    <a:pt x="754" y="331"/>
                  </a:lnTo>
                  <a:lnTo>
                    <a:pt x="754" y="331"/>
                  </a:lnTo>
                  <a:lnTo>
                    <a:pt x="754" y="331"/>
                  </a:lnTo>
                  <a:lnTo>
                    <a:pt x="754" y="331"/>
                  </a:lnTo>
                  <a:lnTo>
                    <a:pt x="754" y="331"/>
                  </a:lnTo>
                  <a:lnTo>
                    <a:pt x="754" y="329"/>
                  </a:lnTo>
                  <a:lnTo>
                    <a:pt x="754" y="329"/>
                  </a:lnTo>
                  <a:lnTo>
                    <a:pt x="754" y="329"/>
                  </a:lnTo>
                  <a:lnTo>
                    <a:pt x="754" y="329"/>
                  </a:lnTo>
                  <a:lnTo>
                    <a:pt x="754" y="329"/>
                  </a:lnTo>
                  <a:lnTo>
                    <a:pt x="754" y="329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6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4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2"/>
                  </a:lnTo>
                  <a:lnTo>
                    <a:pt x="757" y="322"/>
                  </a:lnTo>
                  <a:lnTo>
                    <a:pt x="757" y="322"/>
                  </a:lnTo>
                  <a:lnTo>
                    <a:pt x="757" y="322"/>
                  </a:lnTo>
                  <a:lnTo>
                    <a:pt x="757" y="322"/>
                  </a:lnTo>
                  <a:lnTo>
                    <a:pt x="757" y="320"/>
                  </a:lnTo>
                  <a:lnTo>
                    <a:pt x="757" y="320"/>
                  </a:lnTo>
                  <a:lnTo>
                    <a:pt x="757" y="320"/>
                  </a:lnTo>
                  <a:lnTo>
                    <a:pt x="757" y="320"/>
                  </a:lnTo>
                  <a:lnTo>
                    <a:pt x="757" y="320"/>
                  </a:lnTo>
                  <a:lnTo>
                    <a:pt x="759" y="317"/>
                  </a:lnTo>
                  <a:lnTo>
                    <a:pt x="759" y="317"/>
                  </a:lnTo>
                  <a:lnTo>
                    <a:pt x="759" y="317"/>
                  </a:lnTo>
                  <a:lnTo>
                    <a:pt x="759" y="317"/>
                  </a:lnTo>
                  <a:lnTo>
                    <a:pt x="759" y="317"/>
                  </a:lnTo>
                  <a:lnTo>
                    <a:pt x="759" y="317"/>
                  </a:lnTo>
                  <a:lnTo>
                    <a:pt x="759" y="317"/>
                  </a:lnTo>
                  <a:lnTo>
                    <a:pt x="761" y="317"/>
                  </a:lnTo>
                  <a:lnTo>
                    <a:pt x="761" y="317"/>
                  </a:lnTo>
                  <a:lnTo>
                    <a:pt x="761" y="317"/>
                  </a:lnTo>
                  <a:lnTo>
                    <a:pt x="761" y="317"/>
                  </a:lnTo>
                  <a:lnTo>
                    <a:pt x="761" y="317"/>
                  </a:lnTo>
                  <a:lnTo>
                    <a:pt x="761" y="317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1" y="315"/>
                  </a:lnTo>
                  <a:lnTo>
                    <a:pt x="763" y="315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3"/>
                  </a:lnTo>
                  <a:lnTo>
                    <a:pt x="763" y="311"/>
                  </a:lnTo>
                  <a:lnTo>
                    <a:pt x="763" y="311"/>
                  </a:lnTo>
                  <a:lnTo>
                    <a:pt x="766" y="311"/>
                  </a:lnTo>
                  <a:lnTo>
                    <a:pt x="766" y="311"/>
                  </a:lnTo>
                  <a:lnTo>
                    <a:pt x="766" y="311"/>
                  </a:lnTo>
                  <a:lnTo>
                    <a:pt x="766" y="311"/>
                  </a:lnTo>
                  <a:lnTo>
                    <a:pt x="766" y="311"/>
                  </a:lnTo>
                  <a:lnTo>
                    <a:pt x="768" y="311"/>
                  </a:lnTo>
                  <a:lnTo>
                    <a:pt x="766" y="311"/>
                  </a:lnTo>
                  <a:close/>
                  <a:moveTo>
                    <a:pt x="435" y="311"/>
                  </a:moveTo>
                  <a:lnTo>
                    <a:pt x="435" y="311"/>
                  </a:lnTo>
                  <a:lnTo>
                    <a:pt x="435" y="313"/>
                  </a:lnTo>
                  <a:lnTo>
                    <a:pt x="435" y="313"/>
                  </a:lnTo>
                  <a:lnTo>
                    <a:pt x="433" y="313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3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lnTo>
                    <a:pt x="435" y="311"/>
                  </a:lnTo>
                  <a:close/>
                  <a:moveTo>
                    <a:pt x="772" y="311"/>
                  </a:moveTo>
                  <a:lnTo>
                    <a:pt x="772" y="311"/>
                  </a:lnTo>
                  <a:lnTo>
                    <a:pt x="772" y="311"/>
                  </a:lnTo>
                  <a:lnTo>
                    <a:pt x="772" y="311"/>
                  </a:lnTo>
                  <a:lnTo>
                    <a:pt x="772" y="311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2" y="313"/>
                  </a:lnTo>
                  <a:lnTo>
                    <a:pt x="770" y="311"/>
                  </a:lnTo>
                  <a:lnTo>
                    <a:pt x="770" y="311"/>
                  </a:lnTo>
                  <a:lnTo>
                    <a:pt x="770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68" y="311"/>
                  </a:lnTo>
                  <a:lnTo>
                    <a:pt x="772" y="311"/>
                  </a:lnTo>
                  <a:lnTo>
                    <a:pt x="772" y="311"/>
                  </a:lnTo>
                  <a:lnTo>
                    <a:pt x="772" y="311"/>
                  </a:lnTo>
                  <a:close/>
                  <a:moveTo>
                    <a:pt x="705" y="313"/>
                  </a:moveTo>
                  <a:lnTo>
                    <a:pt x="703" y="313"/>
                  </a:lnTo>
                  <a:lnTo>
                    <a:pt x="703" y="313"/>
                  </a:lnTo>
                  <a:lnTo>
                    <a:pt x="703" y="313"/>
                  </a:lnTo>
                  <a:lnTo>
                    <a:pt x="701" y="311"/>
                  </a:lnTo>
                  <a:lnTo>
                    <a:pt x="701" y="311"/>
                  </a:lnTo>
                  <a:lnTo>
                    <a:pt x="701" y="311"/>
                  </a:lnTo>
                  <a:lnTo>
                    <a:pt x="701" y="311"/>
                  </a:lnTo>
                  <a:lnTo>
                    <a:pt x="703" y="311"/>
                  </a:lnTo>
                  <a:lnTo>
                    <a:pt x="703" y="308"/>
                  </a:lnTo>
                  <a:lnTo>
                    <a:pt x="703" y="308"/>
                  </a:lnTo>
                  <a:lnTo>
                    <a:pt x="703" y="308"/>
                  </a:lnTo>
                  <a:lnTo>
                    <a:pt x="703" y="311"/>
                  </a:lnTo>
                  <a:lnTo>
                    <a:pt x="703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3" y="311"/>
                  </a:lnTo>
                  <a:lnTo>
                    <a:pt x="705" y="311"/>
                  </a:lnTo>
                  <a:lnTo>
                    <a:pt x="705" y="311"/>
                  </a:lnTo>
                  <a:lnTo>
                    <a:pt x="705" y="313"/>
                  </a:lnTo>
                  <a:close/>
                  <a:moveTo>
                    <a:pt x="406" y="311"/>
                  </a:moveTo>
                  <a:lnTo>
                    <a:pt x="404" y="313"/>
                  </a:lnTo>
                  <a:lnTo>
                    <a:pt x="404" y="313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11"/>
                  </a:lnTo>
                  <a:lnTo>
                    <a:pt x="404" y="308"/>
                  </a:lnTo>
                  <a:lnTo>
                    <a:pt x="404" y="308"/>
                  </a:lnTo>
                  <a:lnTo>
                    <a:pt x="404" y="308"/>
                  </a:lnTo>
                  <a:lnTo>
                    <a:pt x="404" y="308"/>
                  </a:lnTo>
                  <a:lnTo>
                    <a:pt x="404" y="308"/>
                  </a:lnTo>
                  <a:lnTo>
                    <a:pt x="404" y="311"/>
                  </a:lnTo>
                  <a:lnTo>
                    <a:pt x="406" y="311"/>
                  </a:lnTo>
                  <a:lnTo>
                    <a:pt x="406" y="311"/>
                  </a:lnTo>
                  <a:close/>
                  <a:moveTo>
                    <a:pt x="539" y="308"/>
                  </a:moveTo>
                  <a:lnTo>
                    <a:pt x="539" y="308"/>
                  </a:lnTo>
                  <a:lnTo>
                    <a:pt x="539" y="308"/>
                  </a:lnTo>
                  <a:lnTo>
                    <a:pt x="539" y="308"/>
                  </a:lnTo>
                  <a:lnTo>
                    <a:pt x="539" y="308"/>
                  </a:lnTo>
                  <a:lnTo>
                    <a:pt x="539" y="311"/>
                  </a:lnTo>
                  <a:lnTo>
                    <a:pt x="539" y="311"/>
                  </a:lnTo>
                  <a:lnTo>
                    <a:pt x="539" y="311"/>
                  </a:lnTo>
                  <a:lnTo>
                    <a:pt x="539" y="311"/>
                  </a:lnTo>
                  <a:lnTo>
                    <a:pt x="539" y="311"/>
                  </a:lnTo>
                  <a:lnTo>
                    <a:pt x="537" y="311"/>
                  </a:lnTo>
                  <a:lnTo>
                    <a:pt x="537" y="311"/>
                  </a:lnTo>
                  <a:lnTo>
                    <a:pt x="537" y="311"/>
                  </a:lnTo>
                  <a:lnTo>
                    <a:pt x="537" y="311"/>
                  </a:lnTo>
                  <a:lnTo>
                    <a:pt x="537" y="311"/>
                  </a:lnTo>
                  <a:lnTo>
                    <a:pt x="537" y="311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7" y="308"/>
                  </a:lnTo>
                  <a:lnTo>
                    <a:pt x="539" y="308"/>
                  </a:lnTo>
                  <a:lnTo>
                    <a:pt x="539" y="308"/>
                  </a:lnTo>
                  <a:close/>
                  <a:moveTo>
                    <a:pt x="714" y="308"/>
                  </a:moveTo>
                  <a:lnTo>
                    <a:pt x="714" y="308"/>
                  </a:lnTo>
                  <a:lnTo>
                    <a:pt x="714" y="308"/>
                  </a:lnTo>
                  <a:lnTo>
                    <a:pt x="714" y="306"/>
                  </a:lnTo>
                  <a:lnTo>
                    <a:pt x="714" y="306"/>
                  </a:lnTo>
                  <a:lnTo>
                    <a:pt x="714" y="306"/>
                  </a:lnTo>
                  <a:lnTo>
                    <a:pt x="714" y="306"/>
                  </a:lnTo>
                  <a:lnTo>
                    <a:pt x="714" y="306"/>
                  </a:lnTo>
                  <a:lnTo>
                    <a:pt x="714" y="306"/>
                  </a:lnTo>
                  <a:lnTo>
                    <a:pt x="714" y="308"/>
                  </a:lnTo>
                  <a:lnTo>
                    <a:pt x="714" y="308"/>
                  </a:lnTo>
                  <a:close/>
                  <a:moveTo>
                    <a:pt x="397" y="304"/>
                  </a:moveTo>
                  <a:lnTo>
                    <a:pt x="397" y="304"/>
                  </a:lnTo>
                  <a:lnTo>
                    <a:pt x="397" y="306"/>
                  </a:lnTo>
                  <a:lnTo>
                    <a:pt x="397" y="306"/>
                  </a:lnTo>
                  <a:lnTo>
                    <a:pt x="397" y="306"/>
                  </a:lnTo>
                  <a:lnTo>
                    <a:pt x="399" y="306"/>
                  </a:lnTo>
                  <a:lnTo>
                    <a:pt x="399" y="306"/>
                  </a:lnTo>
                  <a:lnTo>
                    <a:pt x="399" y="306"/>
                  </a:lnTo>
                  <a:lnTo>
                    <a:pt x="399" y="306"/>
                  </a:lnTo>
                  <a:lnTo>
                    <a:pt x="397" y="308"/>
                  </a:lnTo>
                  <a:lnTo>
                    <a:pt x="397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5" y="308"/>
                  </a:lnTo>
                  <a:lnTo>
                    <a:pt x="393" y="308"/>
                  </a:lnTo>
                  <a:lnTo>
                    <a:pt x="393" y="308"/>
                  </a:lnTo>
                  <a:lnTo>
                    <a:pt x="393" y="308"/>
                  </a:lnTo>
                  <a:lnTo>
                    <a:pt x="395" y="311"/>
                  </a:lnTo>
                  <a:lnTo>
                    <a:pt x="395" y="311"/>
                  </a:lnTo>
                  <a:lnTo>
                    <a:pt x="395" y="311"/>
                  </a:lnTo>
                  <a:lnTo>
                    <a:pt x="395" y="311"/>
                  </a:lnTo>
                  <a:lnTo>
                    <a:pt x="395" y="311"/>
                  </a:lnTo>
                  <a:lnTo>
                    <a:pt x="393" y="311"/>
                  </a:lnTo>
                  <a:lnTo>
                    <a:pt x="393" y="311"/>
                  </a:lnTo>
                  <a:lnTo>
                    <a:pt x="391" y="311"/>
                  </a:lnTo>
                  <a:lnTo>
                    <a:pt x="391" y="311"/>
                  </a:lnTo>
                  <a:lnTo>
                    <a:pt x="391" y="311"/>
                  </a:lnTo>
                  <a:lnTo>
                    <a:pt x="388" y="311"/>
                  </a:lnTo>
                  <a:lnTo>
                    <a:pt x="388" y="311"/>
                  </a:lnTo>
                  <a:lnTo>
                    <a:pt x="388" y="311"/>
                  </a:lnTo>
                  <a:lnTo>
                    <a:pt x="388" y="311"/>
                  </a:lnTo>
                  <a:lnTo>
                    <a:pt x="388" y="311"/>
                  </a:lnTo>
                  <a:lnTo>
                    <a:pt x="388" y="311"/>
                  </a:lnTo>
                  <a:lnTo>
                    <a:pt x="388" y="313"/>
                  </a:lnTo>
                  <a:lnTo>
                    <a:pt x="388" y="313"/>
                  </a:lnTo>
                  <a:lnTo>
                    <a:pt x="388" y="313"/>
                  </a:lnTo>
                  <a:lnTo>
                    <a:pt x="388" y="313"/>
                  </a:lnTo>
                  <a:lnTo>
                    <a:pt x="388" y="313"/>
                  </a:lnTo>
                  <a:lnTo>
                    <a:pt x="388" y="313"/>
                  </a:lnTo>
                  <a:lnTo>
                    <a:pt x="388" y="311"/>
                  </a:lnTo>
                  <a:lnTo>
                    <a:pt x="388" y="311"/>
                  </a:lnTo>
                  <a:lnTo>
                    <a:pt x="388" y="313"/>
                  </a:lnTo>
                  <a:lnTo>
                    <a:pt x="386" y="313"/>
                  </a:lnTo>
                  <a:lnTo>
                    <a:pt x="386" y="313"/>
                  </a:lnTo>
                  <a:lnTo>
                    <a:pt x="386" y="313"/>
                  </a:lnTo>
                  <a:lnTo>
                    <a:pt x="386" y="313"/>
                  </a:lnTo>
                  <a:lnTo>
                    <a:pt x="386" y="313"/>
                  </a:lnTo>
                  <a:lnTo>
                    <a:pt x="386" y="313"/>
                  </a:lnTo>
                  <a:lnTo>
                    <a:pt x="386" y="313"/>
                  </a:lnTo>
                  <a:lnTo>
                    <a:pt x="384" y="313"/>
                  </a:lnTo>
                  <a:lnTo>
                    <a:pt x="382" y="313"/>
                  </a:lnTo>
                  <a:lnTo>
                    <a:pt x="382" y="313"/>
                  </a:lnTo>
                  <a:lnTo>
                    <a:pt x="382" y="313"/>
                  </a:lnTo>
                  <a:lnTo>
                    <a:pt x="379" y="313"/>
                  </a:lnTo>
                  <a:lnTo>
                    <a:pt x="379" y="313"/>
                  </a:lnTo>
                  <a:lnTo>
                    <a:pt x="379" y="313"/>
                  </a:lnTo>
                  <a:lnTo>
                    <a:pt x="379" y="313"/>
                  </a:lnTo>
                  <a:lnTo>
                    <a:pt x="379" y="311"/>
                  </a:lnTo>
                  <a:lnTo>
                    <a:pt x="379" y="311"/>
                  </a:lnTo>
                  <a:lnTo>
                    <a:pt x="379" y="311"/>
                  </a:lnTo>
                  <a:lnTo>
                    <a:pt x="379" y="311"/>
                  </a:lnTo>
                  <a:lnTo>
                    <a:pt x="379" y="311"/>
                  </a:lnTo>
                  <a:lnTo>
                    <a:pt x="377" y="311"/>
                  </a:lnTo>
                  <a:lnTo>
                    <a:pt x="377" y="311"/>
                  </a:lnTo>
                  <a:lnTo>
                    <a:pt x="377" y="311"/>
                  </a:lnTo>
                  <a:lnTo>
                    <a:pt x="377" y="311"/>
                  </a:lnTo>
                  <a:lnTo>
                    <a:pt x="377" y="313"/>
                  </a:lnTo>
                  <a:lnTo>
                    <a:pt x="377" y="313"/>
                  </a:lnTo>
                  <a:lnTo>
                    <a:pt x="379" y="313"/>
                  </a:lnTo>
                  <a:lnTo>
                    <a:pt x="379" y="313"/>
                  </a:lnTo>
                  <a:lnTo>
                    <a:pt x="379" y="313"/>
                  </a:lnTo>
                  <a:lnTo>
                    <a:pt x="377" y="313"/>
                  </a:lnTo>
                  <a:lnTo>
                    <a:pt x="373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11"/>
                  </a:lnTo>
                  <a:lnTo>
                    <a:pt x="370" y="308"/>
                  </a:lnTo>
                  <a:lnTo>
                    <a:pt x="370" y="308"/>
                  </a:lnTo>
                  <a:lnTo>
                    <a:pt x="370" y="308"/>
                  </a:lnTo>
                  <a:lnTo>
                    <a:pt x="370" y="308"/>
                  </a:lnTo>
                  <a:lnTo>
                    <a:pt x="370" y="308"/>
                  </a:lnTo>
                  <a:lnTo>
                    <a:pt x="370" y="308"/>
                  </a:lnTo>
                  <a:lnTo>
                    <a:pt x="370" y="308"/>
                  </a:lnTo>
                  <a:lnTo>
                    <a:pt x="373" y="306"/>
                  </a:lnTo>
                  <a:lnTo>
                    <a:pt x="373" y="306"/>
                  </a:lnTo>
                  <a:lnTo>
                    <a:pt x="373" y="306"/>
                  </a:lnTo>
                  <a:lnTo>
                    <a:pt x="373" y="306"/>
                  </a:lnTo>
                  <a:lnTo>
                    <a:pt x="375" y="306"/>
                  </a:lnTo>
                  <a:lnTo>
                    <a:pt x="375" y="304"/>
                  </a:lnTo>
                  <a:lnTo>
                    <a:pt x="375" y="304"/>
                  </a:lnTo>
                  <a:lnTo>
                    <a:pt x="377" y="304"/>
                  </a:lnTo>
                  <a:lnTo>
                    <a:pt x="393" y="304"/>
                  </a:lnTo>
                  <a:lnTo>
                    <a:pt x="395" y="304"/>
                  </a:lnTo>
                  <a:lnTo>
                    <a:pt x="397" y="304"/>
                  </a:lnTo>
                  <a:lnTo>
                    <a:pt x="397" y="304"/>
                  </a:lnTo>
                  <a:close/>
                  <a:moveTo>
                    <a:pt x="426" y="304"/>
                  </a:moveTo>
                  <a:lnTo>
                    <a:pt x="429" y="304"/>
                  </a:lnTo>
                  <a:lnTo>
                    <a:pt x="429" y="304"/>
                  </a:lnTo>
                  <a:lnTo>
                    <a:pt x="429" y="304"/>
                  </a:lnTo>
                  <a:lnTo>
                    <a:pt x="431" y="306"/>
                  </a:lnTo>
                  <a:lnTo>
                    <a:pt x="431" y="306"/>
                  </a:lnTo>
                  <a:lnTo>
                    <a:pt x="429" y="306"/>
                  </a:lnTo>
                  <a:lnTo>
                    <a:pt x="429" y="306"/>
                  </a:lnTo>
                  <a:lnTo>
                    <a:pt x="429" y="306"/>
                  </a:lnTo>
                  <a:lnTo>
                    <a:pt x="429" y="306"/>
                  </a:lnTo>
                  <a:lnTo>
                    <a:pt x="429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6"/>
                  </a:lnTo>
                  <a:lnTo>
                    <a:pt x="426" y="308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8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4" y="306"/>
                  </a:lnTo>
                  <a:lnTo>
                    <a:pt x="422" y="306"/>
                  </a:lnTo>
                  <a:lnTo>
                    <a:pt x="422" y="306"/>
                  </a:lnTo>
                  <a:lnTo>
                    <a:pt x="422" y="306"/>
                  </a:lnTo>
                  <a:lnTo>
                    <a:pt x="422" y="306"/>
                  </a:lnTo>
                  <a:lnTo>
                    <a:pt x="422" y="306"/>
                  </a:lnTo>
                  <a:lnTo>
                    <a:pt x="422" y="304"/>
                  </a:lnTo>
                  <a:lnTo>
                    <a:pt x="424" y="304"/>
                  </a:lnTo>
                  <a:lnTo>
                    <a:pt x="422" y="304"/>
                  </a:lnTo>
                  <a:lnTo>
                    <a:pt x="424" y="304"/>
                  </a:lnTo>
                  <a:lnTo>
                    <a:pt x="424" y="304"/>
                  </a:lnTo>
                  <a:lnTo>
                    <a:pt x="424" y="304"/>
                  </a:lnTo>
                  <a:lnTo>
                    <a:pt x="426" y="304"/>
                  </a:lnTo>
                  <a:close/>
                  <a:moveTo>
                    <a:pt x="723" y="302"/>
                  </a:moveTo>
                  <a:lnTo>
                    <a:pt x="723" y="302"/>
                  </a:lnTo>
                  <a:lnTo>
                    <a:pt x="723" y="302"/>
                  </a:lnTo>
                  <a:lnTo>
                    <a:pt x="723" y="302"/>
                  </a:lnTo>
                  <a:lnTo>
                    <a:pt x="723" y="302"/>
                  </a:lnTo>
                  <a:lnTo>
                    <a:pt x="723" y="302"/>
                  </a:lnTo>
                  <a:lnTo>
                    <a:pt x="723" y="302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21" y="302"/>
                  </a:lnTo>
                  <a:lnTo>
                    <a:pt x="723" y="302"/>
                  </a:lnTo>
                  <a:lnTo>
                    <a:pt x="723" y="302"/>
                  </a:lnTo>
                  <a:lnTo>
                    <a:pt x="723" y="302"/>
                  </a:lnTo>
                  <a:lnTo>
                    <a:pt x="723" y="302"/>
                  </a:lnTo>
                  <a:close/>
                  <a:moveTo>
                    <a:pt x="916" y="304"/>
                  </a:moveTo>
                  <a:lnTo>
                    <a:pt x="916" y="304"/>
                  </a:lnTo>
                  <a:lnTo>
                    <a:pt x="916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4" y="302"/>
                  </a:lnTo>
                  <a:lnTo>
                    <a:pt x="916" y="302"/>
                  </a:lnTo>
                  <a:lnTo>
                    <a:pt x="916" y="302"/>
                  </a:lnTo>
                  <a:lnTo>
                    <a:pt x="916" y="302"/>
                  </a:lnTo>
                  <a:lnTo>
                    <a:pt x="916" y="302"/>
                  </a:lnTo>
                  <a:lnTo>
                    <a:pt x="916" y="304"/>
                  </a:lnTo>
                  <a:lnTo>
                    <a:pt x="916" y="304"/>
                  </a:lnTo>
                  <a:lnTo>
                    <a:pt x="916" y="304"/>
                  </a:lnTo>
                  <a:lnTo>
                    <a:pt x="916" y="304"/>
                  </a:lnTo>
                  <a:lnTo>
                    <a:pt x="916" y="304"/>
                  </a:lnTo>
                  <a:close/>
                  <a:moveTo>
                    <a:pt x="766" y="302"/>
                  </a:move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4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299"/>
                  </a:lnTo>
                  <a:lnTo>
                    <a:pt x="766" y="299"/>
                  </a:lnTo>
                  <a:lnTo>
                    <a:pt x="766" y="299"/>
                  </a:lnTo>
                  <a:lnTo>
                    <a:pt x="768" y="299"/>
                  </a:lnTo>
                  <a:lnTo>
                    <a:pt x="766" y="302"/>
                  </a:lnTo>
                  <a:close/>
                  <a:moveTo>
                    <a:pt x="831" y="302"/>
                  </a:moveTo>
                  <a:lnTo>
                    <a:pt x="831" y="302"/>
                  </a:lnTo>
                  <a:lnTo>
                    <a:pt x="831" y="302"/>
                  </a:lnTo>
                  <a:lnTo>
                    <a:pt x="829" y="302"/>
                  </a:lnTo>
                  <a:lnTo>
                    <a:pt x="829" y="302"/>
                  </a:lnTo>
                  <a:lnTo>
                    <a:pt x="831" y="302"/>
                  </a:lnTo>
                  <a:lnTo>
                    <a:pt x="829" y="302"/>
                  </a:lnTo>
                  <a:lnTo>
                    <a:pt x="831" y="299"/>
                  </a:lnTo>
                  <a:lnTo>
                    <a:pt x="831" y="299"/>
                  </a:lnTo>
                  <a:lnTo>
                    <a:pt x="831" y="299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3" y="297"/>
                  </a:lnTo>
                  <a:lnTo>
                    <a:pt x="833" y="299"/>
                  </a:lnTo>
                  <a:lnTo>
                    <a:pt x="833" y="299"/>
                  </a:lnTo>
                  <a:lnTo>
                    <a:pt x="831" y="299"/>
                  </a:lnTo>
                  <a:lnTo>
                    <a:pt x="831" y="299"/>
                  </a:lnTo>
                  <a:lnTo>
                    <a:pt x="831" y="299"/>
                  </a:lnTo>
                  <a:lnTo>
                    <a:pt x="831" y="302"/>
                  </a:lnTo>
                  <a:lnTo>
                    <a:pt x="831" y="302"/>
                  </a:lnTo>
                  <a:lnTo>
                    <a:pt x="831" y="302"/>
                  </a:lnTo>
                  <a:close/>
                  <a:moveTo>
                    <a:pt x="215" y="297"/>
                  </a:moveTo>
                  <a:lnTo>
                    <a:pt x="215" y="297"/>
                  </a:lnTo>
                  <a:lnTo>
                    <a:pt x="215" y="297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9"/>
                  </a:lnTo>
                  <a:lnTo>
                    <a:pt x="213" y="297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1" y="299"/>
                  </a:lnTo>
                  <a:lnTo>
                    <a:pt x="211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3" y="297"/>
                  </a:lnTo>
                  <a:lnTo>
                    <a:pt x="215" y="297"/>
                  </a:lnTo>
                  <a:close/>
                  <a:moveTo>
                    <a:pt x="833" y="297"/>
                  </a:move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7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1" y="295"/>
                  </a:lnTo>
                  <a:lnTo>
                    <a:pt x="833" y="295"/>
                  </a:lnTo>
                  <a:lnTo>
                    <a:pt x="833" y="295"/>
                  </a:lnTo>
                  <a:lnTo>
                    <a:pt x="833" y="297"/>
                  </a:lnTo>
                  <a:lnTo>
                    <a:pt x="833" y="297"/>
                  </a:lnTo>
                  <a:lnTo>
                    <a:pt x="833" y="297"/>
                  </a:lnTo>
                  <a:close/>
                  <a:moveTo>
                    <a:pt x="734" y="293"/>
                  </a:moveTo>
                  <a:lnTo>
                    <a:pt x="734" y="293"/>
                  </a:lnTo>
                  <a:lnTo>
                    <a:pt x="734" y="293"/>
                  </a:lnTo>
                  <a:lnTo>
                    <a:pt x="734" y="290"/>
                  </a:lnTo>
                  <a:lnTo>
                    <a:pt x="734" y="290"/>
                  </a:lnTo>
                  <a:lnTo>
                    <a:pt x="734" y="290"/>
                  </a:lnTo>
                  <a:lnTo>
                    <a:pt x="734" y="290"/>
                  </a:lnTo>
                  <a:lnTo>
                    <a:pt x="734" y="290"/>
                  </a:lnTo>
                  <a:lnTo>
                    <a:pt x="734" y="293"/>
                  </a:lnTo>
                  <a:close/>
                  <a:moveTo>
                    <a:pt x="831" y="295"/>
                  </a:moveTo>
                  <a:lnTo>
                    <a:pt x="829" y="295"/>
                  </a:lnTo>
                  <a:lnTo>
                    <a:pt x="829" y="295"/>
                  </a:lnTo>
                  <a:lnTo>
                    <a:pt x="829" y="295"/>
                  </a:lnTo>
                  <a:lnTo>
                    <a:pt x="829" y="295"/>
                  </a:lnTo>
                  <a:lnTo>
                    <a:pt x="829" y="297"/>
                  </a:lnTo>
                  <a:lnTo>
                    <a:pt x="829" y="297"/>
                  </a:lnTo>
                  <a:lnTo>
                    <a:pt x="829" y="297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3"/>
                  </a:lnTo>
                  <a:lnTo>
                    <a:pt x="826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9" y="290"/>
                  </a:lnTo>
                  <a:lnTo>
                    <a:pt x="829" y="290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31" y="295"/>
                  </a:lnTo>
                  <a:close/>
                  <a:moveTo>
                    <a:pt x="835" y="295"/>
                  </a:moveTo>
                  <a:lnTo>
                    <a:pt x="835" y="295"/>
                  </a:lnTo>
                  <a:lnTo>
                    <a:pt x="833" y="295"/>
                  </a:lnTo>
                  <a:lnTo>
                    <a:pt x="833" y="295"/>
                  </a:lnTo>
                  <a:lnTo>
                    <a:pt x="833" y="295"/>
                  </a:lnTo>
                  <a:lnTo>
                    <a:pt x="833" y="295"/>
                  </a:lnTo>
                  <a:lnTo>
                    <a:pt x="833" y="295"/>
                  </a:lnTo>
                  <a:lnTo>
                    <a:pt x="833" y="293"/>
                  </a:lnTo>
                  <a:lnTo>
                    <a:pt x="833" y="293"/>
                  </a:lnTo>
                  <a:lnTo>
                    <a:pt x="835" y="293"/>
                  </a:lnTo>
                  <a:lnTo>
                    <a:pt x="835" y="293"/>
                  </a:lnTo>
                  <a:lnTo>
                    <a:pt x="835" y="290"/>
                  </a:lnTo>
                  <a:lnTo>
                    <a:pt x="835" y="290"/>
                  </a:lnTo>
                  <a:lnTo>
                    <a:pt x="835" y="290"/>
                  </a:lnTo>
                  <a:lnTo>
                    <a:pt x="835" y="290"/>
                  </a:lnTo>
                  <a:lnTo>
                    <a:pt x="835" y="290"/>
                  </a:lnTo>
                  <a:lnTo>
                    <a:pt x="835" y="290"/>
                  </a:lnTo>
                  <a:lnTo>
                    <a:pt x="835" y="290"/>
                  </a:lnTo>
                  <a:lnTo>
                    <a:pt x="835" y="293"/>
                  </a:lnTo>
                  <a:lnTo>
                    <a:pt x="835" y="293"/>
                  </a:lnTo>
                  <a:lnTo>
                    <a:pt x="835" y="293"/>
                  </a:lnTo>
                  <a:lnTo>
                    <a:pt x="835" y="295"/>
                  </a:lnTo>
                  <a:close/>
                  <a:moveTo>
                    <a:pt x="826" y="295"/>
                  </a:move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7"/>
                  </a:lnTo>
                  <a:lnTo>
                    <a:pt x="826" y="297"/>
                  </a:lnTo>
                  <a:lnTo>
                    <a:pt x="826" y="297"/>
                  </a:lnTo>
                  <a:lnTo>
                    <a:pt x="826" y="297"/>
                  </a:lnTo>
                  <a:lnTo>
                    <a:pt x="826" y="297"/>
                  </a:lnTo>
                  <a:lnTo>
                    <a:pt x="826" y="297"/>
                  </a:lnTo>
                  <a:lnTo>
                    <a:pt x="829" y="297"/>
                  </a:lnTo>
                  <a:lnTo>
                    <a:pt x="829" y="297"/>
                  </a:lnTo>
                  <a:lnTo>
                    <a:pt x="829" y="297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4" y="299"/>
                  </a:lnTo>
                  <a:lnTo>
                    <a:pt x="824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299"/>
                  </a:lnTo>
                  <a:lnTo>
                    <a:pt x="826" y="302"/>
                  </a:lnTo>
                  <a:lnTo>
                    <a:pt x="824" y="302"/>
                  </a:lnTo>
                  <a:lnTo>
                    <a:pt x="824" y="302"/>
                  </a:lnTo>
                  <a:lnTo>
                    <a:pt x="824" y="304"/>
                  </a:lnTo>
                  <a:lnTo>
                    <a:pt x="824" y="304"/>
                  </a:lnTo>
                  <a:lnTo>
                    <a:pt x="824" y="304"/>
                  </a:lnTo>
                  <a:lnTo>
                    <a:pt x="822" y="304"/>
                  </a:lnTo>
                  <a:lnTo>
                    <a:pt x="822" y="304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17" y="304"/>
                  </a:lnTo>
                  <a:lnTo>
                    <a:pt x="817" y="304"/>
                  </a:lnTo>
                  <a:lnTo>
                    <a:pt x="817" y="304"/>
                  </a:lnTo>
                  <a:lnTo>
                    <a:pt x="817" y="302"/>
                  </a:lnTo>
                  <a:lnTo>
                    <a:pt x="817" y="302"/>
                  </a:lnTo>
                  <a:lnTo>
                    <a:pt x="817" y="302"/>
                  </a:lnTo>
                  <a:lnTo>
                    <a:pt x="817" y="302"/>
                  </a:lnTo>
                  <a:lnTo>
                    <a:pt x="817" y="299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2" y="295"/>
                  </a:lnTo>
                  <a:lnTo>
                    <a:pt x="822" y="295"/>
                  </a:lnTo>
                  <a:lnTo>
                    <a:pt x="822" y="295"/>
                  </a:lnTo>
                  <a:lnTo>
                    <a:pt x="822" y="295"/>
                  </a:lnTo>
                  <a:lnTo>
                    <a:pt x="822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3"/>
                  </a:lnTo>
                  <a:lnTo>
                    <a:pt x="820" y="290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90"/>
                  </a:lnTo>
                  <a:lnTo>
                    <a:pt x="822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6" y="293"/>
                  </a:lnTo>
                  <a:lnTo>
                    <a:pt x="826" y="295"/>
                  </a:lnTo>
                  <a:lnTo>
                    <a:pt x="826" y="295"/>
                  </a:lnTo>
                  <a:lnTo>
                    <a:pt x="826" y="295"/>
                  </a:lnTo>
                  <a:close/>
                  <a:moveTo>
                    <a:pt x="822" y="284"/>
                  </a:moveTo>
                  <a:lnTo>
                    <a:pt x="822" y="286"/>
                  </a:lnTo>
                  <a:lnTo>
                    <a:pt x="822" y="286"/>
                  </a:lnTo>
                  <a:lnTo>
                    <a:pt x="822" y="284"/>
                  </a:lnTo>
                  <a:lnTo>
                    <a:pt x="822" y="284"/>
                  </a:lnTo>
                  <a:lnTo>
                    <a:pt x="822" y="284"/>
                  </a:lnTo>
                  <a:lnTo>
                    <a:pt x="822" y="286"/>
                  </a:lnTo>
                  <a:lnTo>
                    <a:pt x="822" y="286"/>
                  </a:lnTo>
                  <a:lnTo>
                    <a:pt x="822" y="286"/>
                  </a:lnTo>
                  <a:lnTo>
                    <a:pt x="822" y="286"/>
                  </a:lnTo>
                  <a:lnTo>
                    <a:pt x="824" y="286"/>
                  </a:lnTo>
                  <a:lnTo>
                    <a:pt x="824" y="286"/>
                  </a:lnTo>
                  <a:lnTo>
                    <a:pt x="822" y="286"/>
                  </a:lnTo>
                  <a:lnTo>
                    <a:pt x="822" y="286"/>
                  </a:lnTo>
                  <a:lnTo>
                    <a:pt x="822" y="286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3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2" y="290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86"/>
                  </a:lnTo>
                  <a:lnTo>
                    <a:pt x="822" y="288"/>
                  </a:lnTo>
                  <a:lnTo>
                    <a:pt x="820" y="288"/>
                  </a:lnTo>
                  <a:lnTo>
                    <a:pt x="820" y="286"/>
                  </a:lnTo>
                  <a:lnTo>
                    <a:pt x="820" y="286"/>
                  </a:lnTo>
                  <a:lnTo>
                    <a:pt x="820" y="284"/>
                  </a:lnTo>
                  <a:lnTo>
                    <a:pt x="822" y="284"/>
                  </a:lnTo>
                  <a:close/>
                  <a:moveTo>
                    <a:pt x="233" y="284"/>
                  </a:moveTo>
                  <a:lnTo>
                    <a:pt x="233" y="284"/>
                  </a:lnTo>
                  <a:lnTo>
                    <a:pt x="235" y="284"/>
                  </a:lnTo>
                  <a:lnTo>
                    <a:pt x="235" y="284"/>
                  </a:lnTo>
                  <a:lnTo>
                    <a:pt x="235" y="281"/>
                  </a:lnTo>
                  <a:lnTo>
                    <a:pt x="238" y="281"/>
                  </a:lnTo>
                  <a:lnTo>
                    <a:pt x="238" y="284"/>
                  </a:lnTo>
                  <a:lnTo>
                    <a:pt x="238" y="284"/>
                  </a:lnTo>
                  <a:lnTo>
                    <a:pt x="240" y="284"/>
                  </a:lnTo>
                  <a:lnTo>
                    <a:pt x="240" y="284"/>
                  </a:lnTo>
                  <a:lnTo>
                    <a:pt x="240" y="284"/>
                  </a:lnTo>
                  <a:lnTo>
                    <a:pt x="240" y="284"/>
                  </a:lnTo>
                  <a:lnTo>
                    <a:pt x="242" y="284"/>
                  </a:lnTo>
                  <a:lnTo>
                    <a:pt x="242" y="284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4" y="284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47" y="286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51" y="286"/>
                  </a:lnTo>
                  <a:lnTo>
                    <a:pt x="251" y="284"/>
                  </a:lnTo>
                  <a:lnTo>
                    <a:pt x="251" y="284"/>
                  </a:lnTo>
                  <a:lnTo>
                    <a:pt x="251" y="284"/>
                  </a:lnTo>
                  <a:lnTo>
                    <a:pt x="251" y="284"/>
                  </a:lnTo>
                  <a:lnTo>
                    <a:pt x="251" y="284"/>
                  </a:lnTo>
                  <a:lnTo>
                    <a:pt x="251" y="281"/>
                  </a:lnTo>
                  <a:lnTo>
                    <a:pt x="253" y="281"/>
                  </a:lnTo>
                  <a:lnTo>
                    <a:pt x="253" y="281"/>
                  </a:lnTo>
                  <a:lnTo>
                    <a:pt x="253" y="281"/>
                  </a:lnTo>
                  <a:lnTo>
                    <a:pt x="253" y="284"/>
                  </a:lnTo>
                  <a:lnTo>
                    <a:pt x="253" y="284"/>
                  </a:lnTo>
                  <a:lnTo>
                    <a:pt x="253" y="284"/>
                  </a:lnTo>
                  <a:lnTo>
                    <a:pt x="256" y="284"/>
                  </a:lnTo>
                  <a:lnTo>
                    <a:pt x="256" y="284"/>
                  </a:lnTo>
                  <a:lnTo>
                    <a:pt x="256" y="284"/>
                  </a:lnTo>
                  <a:lnTo>
                    <a:pt x="258" y="284"/>
                  </a:lnTo>
                  <a:lnTo>
                    <a:pt x="258" y="284"/>
                  </a:lnTo>
                  <a:lnTo>
                    <a:pt x="258" y="284"/>
                  </a:lnTo>
                  <a:lnTo>
                    <a:pt x="260" y="284"/>
                  </a:lnTo>
                  <a:lnTo>
                    <a:pt x="260" y="286"/>
                  </a:lnTo>
                  <a:lnTo>
                    <a:pt x="260" y="286"/>
                  </a:lnTo>
                  <a:lnTo>
                    <a:pt x="260" y="288"/>
                  </a:lnTo>
                  <a:lnTo>
                    <a:pt x="262" y="288"/>
                  </a:lnTo>
                  <a:lnTo>
                    <a:pt x="262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5" y="290"/>
                  </a:lnTo>
                  <a:lnTo>
                    <a:pt x="265" y="290"/>
                  </a:lnTo>
                  <a:lnTo>
                    <a:pt x="267" y="290"/>
                  </a:lnTo>
                  <a:lnTo>
                    <a:pt x="267" y="290"/>
                  </a:lnTo>
                  <a:lnTo>
                    <a:pt x="267" y="290"/>
                  </a:lnTo>
                  <a:lnTo>
                    <a:pt x="267" y="288"/>
                  </a:lnTo>
                  <a:lnTo>
                    <a:pt x="267" y="288"/>
                  </a:lnTo>
                  <a:lnTo>
                    <a:pt x="267" y="288"/>
                  </a:lnTo>
                  <a:lnTo>
                    <a:pt x="267" y="288"/>
                  </a:lnTo>
                  <a:lnTo>
                    <a:pt x="267" y="288"/>
                  </a:lnTo>
                  <a:lnTo>
                    <a:pt x="267" y="288"/>
                  </a:lnTo>
                  <a:lnTo>
                    <a:pt x="267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69" y="288"/>
                  </a:lnTo>
                  <a:lnTo>
                    <a:pt x="271" y="290"/>
                  </a:lnTo>
                  <a:lnTo>
                    <a:pt x="271" y="290"/>
                  </a:lnTo>
                  <a:lnTo>
                    <a:pt x="274" y="290"/>
                  </a:lnTo>
                  <a:lnTo>
                    <a:pt x="274" y="293"/>
                  </a:lnTo>
                  <a:lnTo>
                    <a:pt x="274" y="293"/>
                  </a:lnTo>
                  <a:lnTo>
                    <a:pt x="274" y="293"/>
                  </a:lnTo>
                  <a:lnTo>
                    <a:pt x="276" y="293"/>
                  </a:lnTo>
                  <a:lnTo>
                    <a:pt x="276" y="293"/>
                  </a:lnTo>
                  <a:lnTo>
                    <a:pt x="276" y="293"/>
                  </a:lnTo>
                  <a:lnTo>
                    <a:pt x="276" y="293"/>
                  </a:lnTo>
                  <a:lnTo>
                    <a:pt x="276" y="293"/>
                  </a:lnTo>
                  <a:lnTo>
                    <a:pt x="276" y="293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6" y="290"/>
                  </a:lnTo>
                  <a:lnTo>
                    <a:pt x="278" y="290"/>
                  </a:lnTo>
                  <a:lnTo>
                    <a:pt x="278" y="290"/>
                  </a:lnTo>
                  <a:lnTo>
                    <a:pt x="280" y="290"/>
                  </a:lnTo>
                  <a:lnTo>
                    <a:pt x="280" y="295"/>
                  </a:lnTo>
                  <a:lnTo>
                    <a:pt x="283" y="295"/>
                  </a:lnTo>
                  <a:lnTo>
                    <a:pt x="283" y="295"/>
                  </a:lnTo>
                  <a:lnTo>
                    <a:pt x="283" y="295"/>
                  </a:lnTo>
                  <a:lnTo>
                    <a:pt x="283" y="299"/>
                  </a:lnTo>
                  <a:lnTo>
                    <a:pt x="285" y="302"/>
                  </a:lnTo>
                  <a:lnTo>
                    <a:pt x="285" y="302"/>
                  </a:lnTo>
                  <a:lnTo>
                    <a:pt x="287" y="302"/>
                  </a:lnTo>
                  <a:lnTo>
                    <a:pt x="287" y="304"/>
                  </a:lnTo>
                  <a:lnTo>
                    <a:pt x="287" y="304"/>
                  </a:lnTo>
                  <a:lnTo>
                    <a:pt x="289" y="302"/>
                  </a:lnTo>
                  <a:lnTo>
                    <a:pt x="289" y="304"/>
                  </a:lnTo>
                  <a:lnTo>
                    <a:pt x="289" y="304"/>
                  </a:lnTo>
                  <a:lnTo>
                    <a:pt x="289" y="304"/>
                  </a:lnTo>
                  <a:lnTo>
                    <a:pt x="289" y="304"/>
                  </a:lnTo>
                  <a:lnTo>
                    <a:pt x="289" y="304"/>
                  </a:lnTo>
                  <a:lnTo>
                    <a:pt x="289" y="304"/>
                  </a:lnTo>
                  <a:lnTo>
                    <a:pt x="292" y="304"/>
                  </a:lnTo>
                  <a:lnTo>
                    <a:pt x="292" y="304"/>
                  </a:lnTo>
                  <a:lnTo>
                    <a:pt x="292" y="304"/>
                  </a:lnTo>
                  <a:lnTo>
                    <a:pt x="292" y="304"/>
                  </a:lnTo>
                  <a:lnTo>
                    <a:pt x="292" y="304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4" y="302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6" y="304"/>
                  </a:lnTo>
                  <a:lnTo>
                    <a:pt x="296" y="304"/>
                  </a:lnTo>
                  <a:lnTo>
                    <a:pt x="296" y="304"/>
                  </a:lnTo>
                  <a:lnTo>
                    <a:pt x="301" y="304"/>
                  </a:lnTo>
                  <a:lnTo>
                    <a:pt x="301" y="304"/>
                  </a:lnTo>
                  <a:lnTo>
                    <a:pt x="303" y="304"/>
                  </a:lnTo>
                  <a:lnTo>
                    <a:pt x="303" y="304"/>
                  </a:lnTo>
                  <a:lnTo>
                    <a:pt x="307" y="304"/>
                  </a:lnTo>
                  <a:lnTo>
                    <a:pt x="312" y="306"/>
                  </a:lnTo>
                  <a:lnTo>
                    <a:pt x="312" y="306"/>
                  </a:lnTo>
                  <a:lnTo>
                    <a:pt x="312" y="306"/>
                  </a:lnTo>
                  <a:lnTo>
                    <a:pt x="316" y="306"/>
                  </a:lnTo>
                  <a:lnTo>
                    <a:pt x="316" y="306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6" y="304"/>
                  </a:lnTo>
                  <a:lnTo>
                    <a:pt x="319" y="306"/>
                  </a:lnTo>
                  <a:lnTo>
                    <a:pt x="319" y="306"/>
                  </a:lnTo>
                  <a:lnTo>
                    <a:pt x="319" y="306"/>
                  </a:lnTo>
                  <a:lnTo>
                    <a:pt x="321" y="306"/>
                  </a:lnTo>
                  <a:lnTo>
                    <a:pt x="321" y="306"/>
                  </a:lnTo>
                  <a:lnTo>
                    <a:pt x="321" y="306"/>
                  </a:lnTo>
                  <a:lnTo>
                    <a:pt x="321" y="306"/>
                  </a:lnTo>
                  <a:lnTo>
                    <a:pt x="321" y="306"/>
                  </a:lnTo>
                  <a:lnTo>
                    <a:pt x="323" y="306"/>
                  </a:lnTo>
                  <a:lnTo>
                    <a:pt x="323" y="306"/>
                  </a:lnTo>
                  <a:lnTo>
                    <a:pt x="323" y="306"/>
                  </a:lnTo>
                  <a:lnTo>
                    <a:pt x="323" y="306"/>
                  </a:lnTo>
                  <a:lnTo>
                    <a:pt x="325" y="306"/>
                  </a:lnTo>
                  <a:lnTo>
                    <a:pt x="325" y="304"/>
                  </a:lnTo>
                  <a:lnTo>
                    <a:pt x="328" y="299"/>
                  </a:lnTo>
                  <a:lnTo>
                    <a:pt x="328" y="299"/>
                  </a:lnTo>
                  <a:lnTo>
                    <a:pt x="328" y="297"/>
                  </a:lnTo>
                  <a:lnTo>
                    <a:pt x="328" y="297"/>
                  </a:lnTo>
                  <a:lnTo>
                    <a:pt x="328" y="297"/>
                  </a:lnTo>
                  <a:lnTo>
                    <a:pt x="328" y="297"/>
                  </a:lnTo>
                  <a:lnTo>
                    <a:pt x="328" y="297"/>
                  </a:lnTo>
                  <a:lnTo>
                    <a:pt x="328" y="295"/>
                  </a:lnTo>
                  <a:lnTo>
                    <a:pt x="328" y="295"/>
                  </a:lnTo>
                  <a:lnTo>
                    <a:pt x="328" y="295"/>
                  </a:lnTo>
                  <a:lnTo>
                    <a:pt x="330" y="295"/>
                  </a:lnTo>
                  <a:lnTo>
                    <a:pt x="330" y="295"/>
                  </a:lnTo>
                  <a:lnTo>
                    <a:pt x="330" y="295"/>
                  </a:lnTo>
                  <a:lnTo>
                    <a:pt x="330" y="295"/>
                  </a:lnTo>
                  <a:lnTo>
                    <a:pt x="332" y="295"/>
                  </a:lnTo>
                  <a:lnTo>
                    <a:pt x="332" y="295"/>
                  </a:lnTo>
                  <a:lnTo>
                    <a:pt x="332" y="293"/>
                  </a:lnTo>
                  <a:lnTo>
                    <a:pt x="332" y="293"/>
                  </a:lnTo>
                  <a:lnTo>
                    <a:pt x="334" y="293"/>
                  </a:lnTo>
                  <a:lnTo>
                    <a:pt x="334" y="293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4" y="295"/>
                  </a:lnTo>
                  <a:lnTo>
                    <a:pt x="337" y="295"/>
                  </a:lnTo>
                  <a:lnTo>
                    <a:pt x="337" y="295"/>
                  </a:lnTo>
                  <a:lnTo>
                    <a:pt x="337" y="295"/>
                  </a:lnTo>
                  <a:lnTo>
                    <a:pt x="337" y="295"/>
                  </a:lnTo>
                  <a:lnTo>
                    <a:pt x="337" y="297"/>
                  </a:lnTo>
                  <a:lnTo>
                    <a:pt x="337" y="299"/>
                  </a:lnTo>
                  <a:lnTo>
                    <a:pt x="337" y="299"/>
                  </a:lnTo>
                  <a:lnTo>
                    <a:pt x="337" y="299"/>
                  </a:lnTo>
                  <a:lnTo>
                    <a:pt x="337" y="299"/>
                  </a:lnTo>
                  <a:lnTo>
                    <a:pt x="339" y="299"/>
                  </a:lnTo>
                  <a:lnTo>
                    <a:pt x="341" y="302"/>
                  </a:lnTo>
                  <a:lnTo>
                    <a:pt x="341" y="302"/>
                  </a:lnTo>
                  <a:lnTo>
                    <a:pt x="343" y="299"/>
                  </a:lnTo>
                  <a:lnTo>
                    <a:pt x="343" y="299"/>
                  </a:lnTo>
                  <a:lnTo>
                    <a:pt x="343" y="299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6" y="299"/>
                  </a:lnTo>
                  <a:lnTo>
                    <a:pt x="348" y="299"/>
                  </a:lnTo>
                  <a:lnTo>
                    <a:pt x="348" y="299"/>
                  </a:lnTo>
                  <a:lnTo>
                    <a:pt x="348" y="302"/>
                  </a:lnTo>
                  <a:lnTo>
                    <a:pt x="350" y="302"/>
                  </a:lnTo>
                  <a:lnTo>
                    <a:pt x="350" y="302"/>
                  </a:lnTo>
                  <a:lnTo>
                    <a:pt x="350" y="302"/>
                  </a:lnTo>
                  <a:lnTo>
                    <a:pt x="352" y="304"/>
                  </a:lnTo>
                  <a:lnTo>
                    <a:pt x="352" y="304"/>
                  </a:lnTo>
                  <a:lnTo>
                    <a:pt x="352" y="304"/>
                  </a:lnTo>
                  <a:lnTo>
                    <a:pt x="352" y="304"/>
                  </a:lnTo>
                  <a:lnTo>
                    <a:pt x="352" y="304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5" y="302"/>
                  </a:lnTo>
                  <a:lnTo>
                    <a:pt x="355" y="304"/>
                  </a:lnTo>
                  <a:lnTo>
                    <a:pt x="357" y="306"/>
                  </a:lnTo>
                  <a:lnTo>
                    <a:pt x="357" y="306"/>
                  </a:lnTo>
                  <a:lnTo>
                    <a:pt x="357" y="306"/>
                  </a:lnTo>
                  <a:lnTo>
                    <a:pt x="359" y="306"/>
                  </a:lnTo>
                  <a:lnTo>
                    <a:pt x="359" y="306"/>
                  </a:lnTo>
                  <a:lnTo>
                    <a:pt x="359" y="306"/>
                  </a:lnTo>
                  <a:lnTo>
                    <a:pt x="359" y="304"/>
                  </a:lnTo>
                  <a:lnTo>
                    <a:pt x="361" y="304"/>
                  </a:lnTo>
                  <a:lnTo>
                    <a:pt x="361" y="304"/>
                  </a:lnTo>
                  <a:lnTo>
                    <a:pt x="361" y="304"/>
                  </a:lnTo>
                  <a:lnTo>
                    <a:pt x="364" y="304"/>
                  </a:lnTo>
                  <a:lnTo>
                    <a:pt x="364" y="304"/>
                  </a:lnTo>
                  <a:lnTo>
                    <a:pt x="364" y="304"/>
                  </a:lnTo>
                  <a:lnTo>
                    <a:pt x="364" y="304"/>
                  </a:lnTo>
                  <a:lnTo>
                    <a:pt x="364" y="304"/>
                  </a:lnTo>
                  <a:lnTo>
                    <a:pt x="364" y="304"/>
                  </a:lnTo>
                  <a:lnTo>
                    <a:pt x="366" y="304"/>
                  </a:lnTo>
                  <a:lnTo>
                    <a:pt x="366" y="304"/>
                  </a:lnTo>
                  <a:lnTo>
                    <a:pt x="366" y="306"/>
                  </a:lnTo>
                  <a:lnTo>
                    <a:pt x="366" y="306"/>
                  </a:lnTo>
                  <a:lnTo>
                    <a:pt x="366" y="306"/>
                  </a:lnTo>
                  <a:lnTo>
                    <a:pt x="366" y="306"/>
                  </a:lnTo>
                  <a:lnTo>
                    <a:pt x="366" y="306"/>
                  </a:lnTo>
                  <a:lnTo>
                    <a:pt x="368" y="304"/>
                  </a:lnTo>
                  <a:lnTo>
                    <a:pt x="368" y="304"/>
                  </a:lnTo>
                  <a:lnTo>
                    <a:pt x="368" y="304"/>
                  </a:lnTo>
                  <a:lnTo>
                    <a:pt x="368" y="304"/>
                  </a:lnTo>
                  <a:lnTo>
                    <a:pt x="368" y="304"/>
                  </a:lnTo>
                  <a:lnTo>
                    <a:pt x="368" y="304"/>
                  </a:lnTo>
                  <a:lnTo>
                    <a:pt x="368" y="304"/>
                  </a:lnTo>
                  <a:lnTo>
                    <a:pt x="368" y="306"/>
                  </a:lnTo>
                  <a:lnTo>
                    <a:pt x="368" y="306"/>
                  </a:lnTo>
                  <a:lnTo>
                    <a:pt x="368" y="306"/>
                  </a:lnTo>
                  <a:lnTo>
                    <a:pt x="368" y="306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08"/>
                  </a:lnTo>
                  <a:lnTo>
                    <a:pt x="368" y="311"/>
                  </a:lnTo>
                  <a:lnTo>
                    <a:pt x="368" y="311"/>
                  </a:lnTo>
                  <a:lnTo>
                    <a:pt x="368" y="311"/>
                  </a:lnTo>
                  <a:lnTo>
                    <a:pt x="368" y="311"/>
                  </a:lnTo>
                  <a:lnTo>
                    <a:pt x="368" y="311"/>
                  </a:lnTo>
                  <a:lnTo>
                    <a:pt x="368" y="311"/>
                  </a:lnTo>
                  <a:lnTo>
                    <a:pt x="368" y="311"/>
                  </a:lnTo>
                  <a:lnTo>
                    <a:pt x="368" y="313"/>
                  </a:lnTo>
                  <a:lnTo>
                    <a:pt x="368" y="313"/>
                  </a:lnTo>
                  <a:lnTo>
                    <a:pt x="368" y="313"/>
                  </a:lnTo>
                  <a:lnTo>
                    <a:pt x="368" y="313"/>
                  </a:lnTo>
                  <a:lnTo>
                    <a:pt x="368" y="313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70" y="31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73" y="313"/>
                  </a:lnTo>
                  <a:lnTo>
                    <a:pt x="373" y="315"/>
                  </a:lnTo>
                  <a:lnTo>
                    <a:pt x="373" y="315"/>
                  </a:lnTo>
                  <a:lnTo>
                    <a:pt x="373" y="315"/>
                  </a:lnTo>
                  <a:lnTo>
                    <a:pt x="373" y="315"/>
                  </a:lnTo>
                  <a:lnTo>
                    <a:pt x="373" y="317"/>
                  </a:lnTo>
                  <a:lnTo>
                    <a:pt x="370" y="317"/>
                  </a:lnTo>
                  <a:lnTo>
                    <a:pt x="370" y="317"/>
                  </a:lnTo>
                  <a:lnTo>
                    <a:pt x="370" y="317"/>
                  </a:lnTo>
                  <a:lnTo>
                    <a:pt x="370" y="320"/>
                  </a:lnTo>
                  <a:lnTo>
                    <a:pt x="373" y="322"/>
                  </a:lnTo>
                  <a:lnTo>
                    <a:pt x="375" y="322"/>
                  </a:lnTo>
                  <a:lnTo>
                    <a:pt x="375" y="324"/>
                  </a:lnTo>
                  <a:lnTo>
                    <a:pt x="375" y="324"/>
                  </a:lnTo>
                  <a:lnTo>
                    <a:pt x="375" y="324"/>
                  </a:lnTo>
                  <a:lnTo>
                    <a:pt x="377" y="324"/>
                  </a:lnTo>
                  <a:lnTo>
                    <a:pt x="377" y="324"/>
                  </a:lnTo>
                  <a:lnTo>
                    <a:pt x="377" y="324"/>
                  </a:lnTo>
                  <a:lnTo>
                    <a:pt x="377" y="324"/>
                  </a:lnTo>
                  <a:lnTo>
                    <a:pt x="379" y="324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6"/>
                  </a:lnTo>
                  <a:lnTo>
                    <a:pt x="379" y="324"/>
                  </a:lnTo>
                  <a:lnTo>
                    <a:pt x="379" y="324"/>
                  </a:lnTo>
                  <a:lnTo>
                    <a:pt x="379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4" y="326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6" y="324"/>
                  </a:lnTo>
                  <a:lnTo>
                    <a:pt x="386" y="324"/>
                  </a:lnTo>
                  <a:lnTo>
                    <a:pt x="388" y="324"/>
                  </a:lnTo>
                  <a:lnTo>
                    <a:pt x="388" y="324"/>
                  </a:lnTo>
                  <a:lnTo>
                    <a:pt x="391" y="324"/>
                  </a:lnTo>
                  <a:lnTo>
                    <a:pt x="391" y="324"/>
                  </a:lnTo>
                  <a:lnTo>
                    <a:pt x="391" y="324"/>
                  </a:lnTo>
                  <a:lnTo>
                    <a:pt x="391" y="324"/>
                  </a:lnTo>
                  <a:lnTo>
                    <a:pt x="391" y="324"/>
                  </a:lnTo>
                  <a:lnTo>
                    <a:pt x="393" y="324"/>
                  </a:lnTo>
                  <a:lnTo>
                    <a:pt x="393" y="324"/>
                  </a:lnTo>
                  <a:lnTo>
                    <a:pt x="393" y="324"/>
                  </a:lnTo>
                  <a:lnTo>
                    <a:pt x="393" y="324"/>
                  </a:lnTo>
                  <a:lnTo>
                    <a:pt x="393" y="324"/>
                  </a:lnTo>
                  <a:lnTo>
                    <a:pt x="393" y="324"/>
                  </a:lnTo>
                  <a:lnTo>
                    <a:pt x="395" y="324"/>
                  </a:lnTo>
                  <a:lnTo>
                    <a:pt x="395" y="324"/>
                  </a:lnTo>
                  <a:lnTo>
                    <a:pt x="395" y="324"/>
                  </a:lnTo>
                  <a:lnTo>
                    <a:pt x="397" y="322"/>
                  </a:lnTo>
                  <a:lnTo>
                    <a:pt x="397" y="322"/>
                  </a:lnTo>
                  <a:lnTo>
                    <a:pt x="397" y="322"/>
                  </a:lnTo>
                  <a:lnTo>
                    <a:pt x="399" y="324"/>
                  </a:lnTo>
                  <a:lnTo>
                    <a:pt x="399" y="324"/>
                  </a:lnTo>
                  <a:lnTo>
                    <a:pt x="399" y="324"/>
                  </a:lnTo>
                  <a:lnTo>
                    <a:pt x="399" y="324"/>
                  </a:lnTo>
                  <a:lnTo>
                    <a:pt x="402" y="324"/>
                  </a:lnTo>
                  <a:lnTo>
                    <a:pt x="402" y="324"/>
                  </a:lnTo>
                  <a:lnTo>
                    <a:pt x="402" y="324"/>
                  </a:lnTo>
                  <a:lnTo>
                    <a:pt x="402" y="324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4" y="326"/>
                  </a:lnTo>
                  <a:lnTo>
                    <a:pt x="406" y="326"/>
                  </a:lnTo>
                  <a:lnTo>
                    <a:pt x="406" y="326"/>
                  </a:lnTo>
                  <a:lnTo>
                    <a:pt x="406" y="326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6" y="329"/>
                  </a:lnTo>
                  <a:lnTo>
                    <a:pt x="404" y="329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1"/>
                  </a:lnTo>
                  <a:lnTo>
                    <a:pt x="404" y="335"/>
                  </a:lnTo>
                  <a:lnTo>
                    <a:pt x="402" y="340"/>
                  </a:lnTo>
                  <a:lnTo>
                    <a:pt x="402" y="340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2" y="344"/>
                  </a:lnTo>
                  <a:lnTo>
                    <a:pt x="404" y="344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2"/>
                  </a:lnTo>
                  <a:lnTo>
                    <a:pt x="404" y="344"/>
                  </a:lnTo>
                  <a:lnTo>
                    <a:pt x="404" y="344"/>
                  </a:lnTo>
                  <a:lnTo>
                    <a:pt x="404" y="344"/>
                  </a:lnTo>
                  <a:lnTo>
                    <a:pt x="404" y="347"/>
                  </a:lnTo>
                  <a:lnTo>
                    <a:pt x="404" y="347"/>
                  </a:lnTo>
                  <a:lnTo>
                    <a:pt x="404" y="347"/>
                  </a:lnTo>
                  <a:lnTo>
                    <a:pt x="404" y="347"/>
                  </a:lnTo>
                  <a:lnTo>
                    <a:pt x="404" y="347"/>
                  </a:lnTo>
                  <a:lnTo>
                    <a:pt x="406" y="347"/>
                  </a:lnTo>
                  <a:lnTo>
                    <a:pt x="406" y="347"/>
                  </a:lnTo>
                  <a:lnTo>
                    <a:pt x="406" y="347"/>
                  </a:lnTo>
                  <a:lnTo>
                    <a:pt x="406" y="349"/>
                  </a:lnTo>
                  <a:lnTo>
                    <a:pt x="406" y="349"/>
                  </a:lnTo>
                  <a:lnTo>
                    <a:pt x="406" y="349"/>
                  </a:lnTo>
                  <a:lnTo>
                    <a:pt x="406" y="349"/>
                  </a:lnTo>
                  <a:lnTo>
                    <a:pt x="406" y="349"/>
                  </a:lnTo>
                  <a:lnTo>
                    <a:pt x="406" y="349"/>
                  </a:lnTo>
                  <a:lnTo>
                    <a:pt x="404" y="349"/>
                  </a:lnTo>
                  <a:lnTo>
                    <a:pt x="404" y="349"/>
                  </a:lnTo>
                  <a:lnTo>
                    <a:pt x="402" y="349"/>
                  </a:lnTo>
                  <a:lnTo>
                    <a:pt x="402" y="349"/>
                  </a:lnTo>
                  <a:lnTo>
                    <a:pt x="402" y="349"/>
                  </a:lnTo>
                  <a:lnTo>
                    <a:pt x="402" y="349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402" y="347"/>
                  </a:lnTo>
                  <a:lnTo>
                    <a:pt x="399" y="347"/>
                  </a:lnTo>
                  <a:lnTo>
                    <a:pt x="399" y="347"/>
                  </a:lnTo>
                  <a:lnTo>
                    <a:pt x="399" y="347"/>
                  </a:lnTo>
                  <a:lnTo>
                    <a:pt x="397" y="347"/>
                  </a:lnTo>
                  <a:lnTo>
                    <a:pt x="397" y="347"/>
                  </a:lnTo>
                  <a:lnTo>
                    <a:pt x="397" y="347"/>
                  </a:lnTo>
                  <a:lnTo>
                    <a:pt x="397" y="347"/>
                  </a:lnTo>
                  <a:lnTo>
                    <a:pt x="397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5" y="347"/>
                  </a:lnTo>
                  <a:lnTo>
                    <a:pt x="393" y="347"/>
                  </a:lnTo>
                  <a:lnTo>
                    <a:pt x="393" y="347"/>
                  </a:lnTo>
                  <a:lnTo>
                    <a:pt x="395" y="344"/>
                  </a:lnTo>
                  <a:lnTo>
                    <a:pt x="395" y="344"/>
                  </a:lnTo>
                  <a:lnTo>
                    <a:pt x="393" y="344"/>
                  </a:lnTo>
                  <a:lnTo>
                    <a:pt x="393" y="344"/>
                  </a:lnTo>
                  <a:lnTo>
                    <a:pt x="393" y="344"/>
                  </a:lnTo>
                  <a:lnTo>
                    <a:pt x="393" y="344"/>
                  </a:lnTo>
                  <a:lnTo>
                    <a:pt x="393" y="344"/>
                  </a:lnTo>
                  <a:lnTo>
                    <a:pt x="393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388" y="344"/>
                  </a:lnTo>
                  <a:lnTo>
                    <a:pt x="388" y="344"/>
                  </a:lnTo>
                  <a:lnTo>
                    <a:pt x="388" y="344"/>
                  </a:lnTo>
                  <a:lnTo>
                    <a:pt x="388" y="344"/>
                  </a:lnTo>
                  <a:lnTo>
                    <a:pt x="388" y="344"/>
                  </a:lnTo>
                  <a:lnTo>
                    <a:pt x="388" y="344"/>
                  </a:lnTo>
                  <a:lnTo>
                    <a:pt x="388" y="342"/>
                  </a:lnTo>
                  <a:lnTo>
                    <a:pt x="388" y="342"/>
                  </a:lnTo>
                  <a:lnTo>
                    <a:pt x="388" y="344"/>
                  </a:lnTo>
                  <a:lnTo>
                    <a:pt x="388" y="342"/>
                  </a:lnTo>
                  <a:lnTo>
                    <a:pt x="388" y="342"/>
                  </a:lnTo>
                  <a:lnTo>
                    <a:pt x="386" y="342"/>
                  </a:lnTo>
                  <a:lnTo>
                    <a:pt x="386" y="342"/>
                  </a:lnTo>
                  <a:lnTo>
                    <a:pt x="386" y="342"/>
                  </a:lnTo>
                  <a:lnTo>
                    <a:pt x="386" y="342"/>
                  </a:lnTo>
                  <a:lnTo>
                    <a:pt x="386" y="342"/>
                  </a:lnTo>
                  <a:lnTo>
                    <a:pt x="386" y="342"/>
                  </a:lnTo>
                  <a:lnTo>
                    <a:pt x="386" y="342"/>
                  </a:lnTo>
                  <a:lnTo>
                    <a:pt x="384" y="342"/>
                  </a:lnTo>
                  <a:lnTo>
                    <a:pt x="384" y="342"/>
                  </a:lnTo>
                  <a:lnTo>
                    <a:pt x="384" y="340"/>
                  </a:lnTo>
                  <a:lnTo>
                    <a:pt x="384" y="340"/>
                  </a:lnTo>
                  <a:lnTo>
                    <a:pt x="384" y="340"/>
                  </a:lnTo>
                  <a:lnTo>
                    <a:pt x="384" y="340"/>
                  </a:lnTo>
                  <a:lnTo>
                    <a:pt x="384" y="340"/>
                  </a:lnTo>
                  <a:lnTo>
                    <a:pt x="384" y="340"/>
                  </a:lnTo>
                  <a:lnTo>
                    <a:pt x="382" y="340"/>
                  </a:lnTo>
                  <a:lnTo>
                    <a:pt x="382" y="340"/>
                  </a:lnTo>
                  <a:lnTo>
                    <a:pt x="382" y="340"/>
                  </a:lnTo>
                  <a:lnTo>
                    <a:pt x="382" y="340"/>
                  </a:lnTo>
                  <a:lnTo>
                    <a:pt x="379" y="338"/>
                  </a:lnTo>
                  <a:lnTo>
                    <a:pt x="379" y="338"/>
                  </a:lnTo>
                  <a:lnTo>
                    <a:pt x="379" y="338"/>
                  </a:lnTo>
                  <a:lnTo>
                    <a:pt x="375" y="338"/>
                  </a:lnTo>
                  <a:lnTo>
                    <a:pt x="375" y="338"/>
                  </a:lnTo>
                  <a:lnTo>
                    <a:pt x="375" y="340"/>
                  </a:lnTo>
                  <a:lnTo>
                    <a:pt x="373" y="340"/>
                  </a:lnTo>
                  <a:lnTo>
                    <a:pt x="373" y="342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70" y="340"/>
                  </a:lnTo>
                  <a:lnTo>
                    <a:pt x="368" y="340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8" y="342"/>
                  </a:lnTo>
                  <a:lnTo>
                    <a:pt x="366" y="342"/>
                  </a:lnTo>
                  <a:lnTo>
                    <a:pt x="366" y="342"/>
                  </a:lnTo>
                  <a:lnTo>
                    <a:pt x="366" y="342"/>
                  </a:lnTo>
                  <a:lnTo>
                    <a:pt x="366" y="342"/>
                  </a:lnTo>
                  <a:lnTo>
                    <a:pt x="364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61" y="340"/>
                  </a:lnTo>
                  <a:lnTo>
                    <a:pt x="359" y="340"/>
                  </a:lnTo>
                  <a:lnTo>
                    <a:pt x="359" y="340"/>
                  </a:lnTo>
                  <a:lnTo>
                    <a:pt x="359" y="340"/>
                  </a:lnTo>
                  <a:lnTo>
                    <a:pt x="359" y="340"/>
                  </a:lnTo>
                  <a:lnTo>
                    <a:pt x="359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7" y="340"/>
                  </a:lnTo>
                  <a:lnTo>
                    <a:pt x="357" y="340"/>
                  </a:lnTo>
                  <a:lnTo>
                    <a:pt x="357" y="340"/>
                  </a:lnTo>
                  <a:lnTo>
                    <a:pt x="355" y="338"/>
                  </a:lnTo>
                  <a:lnTo>
                    <a:pt x="352" y="338"/>
                  </a:lnTo>
                  <a:lnTo>
                    <a:pt x="352" y="338"/>
                  </a:lnTo>
                  <a:lnTo>
                    <a:pt x="352" y="338"/>
                  </a:lnTo>
                  <a:lnTo>
                    <a:pt x="352" y="338"/>
                  </a:lnTo>
                  <a:lnTo>
                    <a:pt x="352" y="338"/>
                  </a:lnTo>
                  <a:lnTo>
                    <a:pt x="352" y="338"/>
                  </a:lnTo>
                  <a:lnTo>
                    <a:pt x="352" y="338"/>
                  </a:lnTo>
                  <a:lnTo>
                    <a:pt x="350" y="338"/>
                  </a:lnTo>
                  <a:lnTo>
                    <a:pt x="350" y="338"/>
                  </a:lnTo>
                  <a:lnTo>
                    <a:pt x="350" y="338"/>
                  </a:lnTo>
                  <a:lnTo>
                    <a:pt x="350" y="338"/>
                  </a:lnTo>
                  <a:lnTo>
                    <a:pt x="350" y="338"/>
                  </a:lnTo>
                  <a:lnTo>
                    <a:pt x="350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40"/>
                  </a:lnTo>
                  <a:lnTo>
                    <a:pt x="348" y="340"/>
                  </a:lnTo>
                  <a:lnTo>
                    <a:pt x="348" y="340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38"/>
                  </a:lnTo>
                  <a:lnTo>
                    <a:pt x="348" y="340"/>
                  </a:lnTo>
                  <a:lnTo>
                    <a:pt x="348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8" y="340"/>
                  </a:lnTo>
                  <a:lnTo>
                    <a:pt x="348" y="340"/>
                  </a:lnTo>
                  <a:lnTo>
                    <a:pt x="348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6" y="340"/>
                  </a:lnTo>
                  <a:lnTo>
                    <a:pt x="343" y="340"/>
                  </a:lnTo>
                  <a:lnTo>
                    <a:pt x="343" y="340"/>
                  </a:lnTo>
                  <a:lnTo>
                    <a:pt x="343" y="340"/>
                  </a:lnTo>
                  <a:lnTo>
                    <a:pt x="343" y="340"/>
                  </a:lnTo>
                  <a:lnTo>
                    <a:pt x="341" y="340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41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9" y="338"/>
                  </a:lnTo>
                  <a:lnTo>
                    <a:pt x="337" y="338"/>
                  </a:lnTo>
                  <a:lnTo>
                    <a:pt x="337" y="338"/>
                  </a:lnTo>
                  <a:lnTo>
                    <a:pt x="337" y="338"/>
                  </a:lnTo>
                  <a:lnTo>
                    <a:pt x="337" y="338"/>
                  </a:lnTo>
                  <a:lnTo>
                    <a:pt x="337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5"/>
                  </a:lnTo>
                  <a:lnTo>
                    <a:pt x="334" y="335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4" y="338"/>
                  </a:lnTo>
                  <a:lnTo>
                    <a:pt x="332" y="338"/>
                  </a:lnTo>
                  <a:lnTo>
                    <a:pt x="332" y="338"/>
                  </a:lnTo>
                  <a:lnTo>
                    <a:pt x="330" y="338"/>
                  </a:lnTo>
                  <a:lnTo>
                    <a:pt x="330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5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3" y="335"/>
                  </a:lnTo>
                  <a:lnTo>
                    <a:pt x="321" y="333"/>
                  </a:lnTo>
                  <a:lnTo>
                    <a:pt x="321" y="333"/>
                  </a:lnTo>
                  <a:lnTo>
                    <a:pt x="321" y="333"/>
                  </a:lnTo>
                  <a:lnTo>
                    <a:pt x="321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3"/>
                  </a:lnTo>
                  <a:lnTo>
                    <a:pt x="319" y="331"/>
                  </a:lnTo>
                  <a:lnTo>
                    <a:pt x="319" y="331"/>
                  </a:lnTo>
                  <a:lnTo>
                    <a:pt x="319" y="331"/>
                  </a:lnTo>
                  <a:lnTo>
                    <a:pt x="312" y="329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29"/>
                  </a:lnTo>
                  <a:lnTo>
                    <a:pt x="310" y="326"/>
                  </a:lnTo>
                  <a:lnTo>
                    <a:pt x="307" y="326"/>
                  </a:lnTo>
                  <a:lnTo>
                    <a:pt x="307" y="326"/>
                  </a:lnTo>
                  <a:lnTo>
                    <a:pt x="305" y="326"/>
                  </a:lnTo>
                  <a:lnTo>
                    <a:pt x="301" y="326"/>
                  </a:lnTo>
                  <a:lnTo>
                    <a:pt x="301" y="326"/>
                  </a:lnTo>
                  <a:lnTo>
                    <a:pt x="301" y="326"/>
                  </a:lnTo>
                  <a:lnTo>
                    <a:pt x="301" y="326"/>
                  </a:lnTo>
                  <a:lnTo>
                    <a:pt x="301" y="326"/>
                  </a:lnTo>
                  <a:lnTo>
                    <a:pt x="301" y="326"/>
                  </a:lnTo>
                  <a:lnTo>
                    <a:pt x="298" y="326"/>
                  </a:lnTo>
                  <a:lnTo>
                    <a:pt x="298" y="326"/>
                  </a:lnTo>
                  <a:lnTo>
                    <a:pt x="298" y="324"/>
                  </a:lnTo>
                  <a:lnTo>
                    <a:pt x="298" y="324"/>
                  </a:lnTo>
                  <a:lnTo>
                    <a:pt x="298" y="324"/>
                  </a:lnTo>
                  <a:lnTo>
                    <a:pt x="298" y="324"/>
                  </a:lnTo>
                  <a:lnTo>
                    <a:pt x="298" y="324"/>
                  </a:lnTo>
                  <a:lnTo>
                    <a:pt x="296" y="324"/>
                  </a:lnTo>
                  <a:lnTo>
                    <a:pt x="294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92" y="324"/>
                  </a:lnTo>
                  <a:lnTo>
                    <a:pt x="289" y="324"/>
                  </a:lnTo>
                  <a:lnTo>
                    <a:pt x="289" y="324"/>
                  </a:lnTo>
                  <a:lnTo>
                    <a:pt x="289" y="324"/>
                  </a:lnTo>
                  <a:lnTo>
                    <a:pt x="289" y="324"/>
                  </a:lnTo>
                  <a:lnTo>
                    <a:pt x="289" y="324"/>
                  </a:lnTo>
                  <a:lnTo>
                    <a:pt x="289" y="322"/>
                  </a:lnTo>
                  <a:lnTo>
                    <a:pt x="289" y="322"/>
                  </a:lnTo>
                  <a:lnTo>
                    <a:pt x="287" y="322"/>
                  </a:lnTo>
                  <a:lnTo>
                    <a:pt x="287" y="322"/>
                  </a:lnTo>
                  <a:lnTo>
                    <a:pt x="287" y="322"/>
                  </a:lnTo>
                  <a:lnTo>
                    <a:pt x="287" y="322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7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3" y="324"/>
                  </a:lnTo>
                  <a:lnTo>
                    <a:pt x="280" y="324"/>
                  </a:lnTo>
                  <a:lnTo>
                    <a:pt x="280" y="324"/>
                  </a:lnTo>
                  <a:lnTo>
                    <a:pt x="280" y="326"/>
                  </a:lnTo>
                  <a:lnTo>
                    <a:pt x="280" y="326"/>
                  </a:lnTo>
                  <a:lnTo>
                    <a:pt x="280" y="326"/>
                  </a:lnTo>
                  <a:lnTo>
                    <a:pt x="274" y="326"/>
                  </a:lnTo>
                  <a:lnTo>
                    <a:pt x="274" y="326"/>
                  </a:lnTo>
                  <a:lnTo>
                    <a:pt x="269" y="324"/>
                  </a:lnTo>
                  <a:lnTo>
                    <a:pt x="269" y="324"/>
                  </a:lnTo>
                  <a:lnTo>
                    <a:pt x="267" y="324"/>
                  </a:lnTo>
                  <a:lnTo>
                    <a:pt x="267" y="324"/>
                  </a:lnTo>
                  <a:lnTo>
                    <a:pt x="267" y="324"/>
                  </a:lnTo>
                  <a:lnTo>
                    <a:pt x="267" y="324"/>
                  </a:lnTo>
                  <a:lnTo>
                    <a:pt x="265" y="324"/>
                  </a:lnTo>
                  <a:lnTo>
                    <a:pt x="265" y="324"/>
                  </a:lnTo>
                  <a:lnTo>
                    <a:pt x="265" y="324"/>
                  </a:lnTo>
                  <a:lnTo>
                    <a:pt x="265" y="324"/>
                  </a:lnTo>
                  <a:lnTo>
                    <a:pt x="265" y="322"/>
                  </a:lnTo>
                  <a:lnTo>
                    <a:pt x="265" y="322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62" y="322"/>
                  </a:lnTo>
                  <a:lnTo>
                    <a:pt x="260" y="320"/>
                  </a:lnTo>
                  <a:lnTo>
                    <a:pt x="260" y="320"/>
                  </a:lnTo>
                  <a:lnTo>
                    <a:pt x="260" y="320"/>
                  </a:lnTo>
                  <a:lnTo>
                    <a:pt x="260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8" y="320"/>
                  </a:lnTo>
                  <a:lnTo>
                    <a:pt x="256" y="320"/>
                  </a:lnTo>
                  <a:lnTo>
                    <a:pt x="253" y="320"/>
                  </a:lnTo>
                  <a:lnTo>
                    <a:pt x="253" y="320"/>
                  </a:lnTo>
                  <a:lnTo>
                    <a:pt x="253" y="320"/>
                  </a:lnTo>
                  <a:lnTo>
                    <a:pt x="253" y="320"/>
                  </a:lnTo>
                  <a:lnTo>
                    <a:pt x="253" y="320"/>
                  </a:lnTo>
                  <a:lnTo>
                    <a:pt x="253" y="317"/>
                  </a:lnTo>
                  <a:lnTo>
                    <a:pt x="251" y="317"/>
                  </a:lnTo>
                  <a:lnTo>
                    <a:pt x="249" y="317"/>
                  </a:lnTo>
                  <a:lnTo>
                    <a:pt x="242" y="317"/>
                  </a:lnTo>
                  <a:lnTo>
                    <a:pt x="240" y="317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38" y="315"/>
                  </a:lnTo>
                  <a:lnTo>
                    <a:pt x="238" y="317"/>
                  </a:lnTo>
                  <a:lnTo>
                    <a:pt x="238" y="317"/>
                  </a:lnTo>
                  <a:lnTo>
                    <a:pt x="238" y="317"/>
                  </a:lnTo>
                  <a:lnTo>
                    <a:pt x="238" y="315"/>
                  </a:lnTo>
                  <a:lnTo>
                    <a:pt x="238" y="313"/>
                  </a:lnTo>
                  <a:lnTo>
                    <a:pt x="238" y="313"/>
                  </a:lnTo>
                  <a:lnTo>
                    <a:pt x="238" y="313"/>
                  </a:lnTo>
                  <a:lnTo>
                    <a:pt x="238" y="313"/>
                  </a:lnTo>
                  <a:lnTo>
                    <a:pt x="238" y="313"/>
                  </a:lnTo>
                  <a:lnTo>
                    <a:pt x="238" y="313"/>
                  </a:lnTo>
                  <a:lnTo>
                    <a:pt x="238" y="313"/>
                  </a:lnTo>
                  <a:lnTo>
                    <a:pt x="238" y="311"/>
                  </a:lnTo>
                  <a:lnTo>
                    <a:pt x="240" y="311"/>
                  </a:lnTo>
                  <a:lnTo>
                    <a:pt x="238" y="311"/>
                  </a:lnTo>
                  <a:lnTo>
                    <a:pt x="240" y="311"/>
                  </a:lnTo>
                  <a:lnTo>
                    <a:pt x="240" y="311"/>
                  </a:lnTo>
                  <a:lnTo>
                    <a:pt x="240" y="308"/>
                  </a:lnTo>
                  <a:lnTo>
                    <a:pt x="240" y="308"/>
                  </a:lnTo>
                  <a:lnTo>
                    <a:pt x="240" y="308"/>
                  </a:lnTo>
                  <a:lnTo>
                    <a:pt x="240" y="306"/>
                  </a:lnTo>
                  <a:lnTo>
                    <a:pt x="240" y="306"/>
                  </a:lnTo>
                  <a:lnTo>
                    <a:pt x="238" y="306"/>
                  </a:lnTo>
                  <a:lnTo>
                    <a:pt x="238" y="306"/>
                  </a:lnTo>
                  <a:lnTo>
                    <a:pt x="238" y="308"/>
                  </a:lnTo>
                  <a:lnTo>
                    <a:pt x="238" y="308"/>
                  </a:lnTo>
                  <a:lnTo>
                    <a:pt x="235" y="308"/>
                  </a:lnTo>
                  <a:lnTo>
                    <a:pt x="235" y="308"/>
                  </a:lnTo>
                  <a:lnTo>
                    <a:pt x="235" y="308"/>
                  </a:lnTo>
                  <a:lnTo>
                    <a:pt x="235" y="308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5" y="306"/>
                  </a:lnTo>
                  <a:lnTo>
                    <a:pt x="233" y="306"/>
                  </a:lnTo>
                  <a:lnTo>
                    <a:pt x="233" y="306"/>
                  </a:lnTo>
                  <a:lnTo>
                    <a:pt x="231" y="304"/>
                  </a:lnTo>
                  <a:lnTo>
                    <a:pt x="229" y="304"/>
                  </a:lnTo>
                  <a:lnTo>
                    <a:pt x="229" y="304"/>
                  </a:lnTo>
                  <a:lnTo>
                    <a:pt x="229" y="304"/>
                  </a:lnTo>
                  <a:lnTo>
                    <a:pt x="229" y="304"/>
                  </a:lnTo>
                  <a:lnTo>
                    <a:pt x="229" y="304"/>
                  </a:lnTo>
                  <a:lnTo>
                    <a:pt x="226" y="304"/>
                  </a:lnTo>
                  <a:lnTo>
                    <a:pt x="226" y="304"/>
                  </a:lnTo>
                  <a:lnTo>
                    <a:pt x="226" y="304"/>
                  </a:lnTo>
                  <a:lnTo>
                    <a:pt x="226" y="304"/>
                  </a:lnTo>
                  <a:lnTo>
                    <a:pt x="226" y="304"/>
                  </a:lnTo>
                  <a:lnTo>
                    <a:pt x="226" y="304"/>
                  </a:lnTo>
                  <a:lnTo>
                    <a:pt x="226" y="304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4" y="304"/>
                  </a:lnTo>
                  <a:lnTo>
                    <a:pt x="220" y="304"/>
                  </a:lnTo>
                  <a:lnTo>
                    <a:pt x="220" y="304"/>
                  </a:lnTo>
                  <a:lnTo>
                    <a:pt x="220" y="304"/>
                  </a:lnTo>
                  <a:lnTo>
                    <a:pt x="220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5" y="304"/>
                  </a:lnTo>
                  <a:lnTo>
                    <a:pt x="213" y="304"/>
                  </a:lnTo>
                  <a:lnTo>
                    <a:pt x="213" y="304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13" y="302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299"/>
                  </a:lnTo>
                  <a:lnTo>
                    <a:pt x="215" y="299"/>
                  </a:lnTo>
                  <a:lnTo>
                    <a:pt x="215" y="299"/>
                  </a:lnTo>
                  <a:lnTo>
                    <a:pt x="215" y="299"/>
                  </a:lnTo>
                  <a:lnTo>
                    <a:pt x="218" y="299"/>
                  </a:lnTo>
                  <a:lnTo>
                    <a:pt x="218" y="299"/>
                  </a:lnTo>
                  <a:lnTo>
                    <a:pt x="218" y="299"/>
                  </a:lnTo>
                  <a:lnTo>
                    <a:pt x="218" y="299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8" y="302"/>
                  </a:lnTo>
                  <a:lnTo>
                    <a:pt x="218" y="304"/>
                  </a:lnTo>
                  <a:lnTo>
                    <a:pt x="218" y="304"/>
                  </a:lnTo>
                  <a:lnTo>
                    <a:pt x="220" y="304"/>
                  </a:lnTo>
                  <a:lnTo>
                    <a:pt x="220" y="302"/>
                  </a:lnTo>
                  <a:lnTo>
                    <a:pt x="220" y="302"/>
                  </a:lnTo>
                  <a:lnTo>
                    <a:pt x="220" y="302"/>
                  </a:lnTo>
                  <a:lnTo>
                    <a:pt x="222" y="299"/>
                  </a:lnTo>
                  <a:lnTo>
                    <a:pt x="222" y="299"/>
                  </a:lnTo>
                  <a:lnTo>
                    <a:pt x="222" y="299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24" y="295"/>
                  </a:lnTo>
                  <a:lnTo>
                    <a:pt x="224" y="295"/>
                  </a:lnTo>
                  <a:lnTo>
                    <a:pt x="224" y="295"/>
                  </a:lnTo>
                  <a:lnTo>
                    <a:pt x="224" y="297"/>
                  </a:lnTo>
                  <a:lnTo>
                    <a:pt x="224" y="295"/>
                  </a:lnTo>
                  <a:lnTo>
                    <a:pt x="224" y="295"/>
                  </a:lnTo>
                  <a:lnTo>
                    <a:pt x="226" y="295"/>
                  </a:lnTo>
                  <a:lnTo>
                    <a:pt x="226" y="295"/>
                  </a:lnTo>
                  <a:lnTo>
                    <a:pt x="226" y="293"/>
                  </a:lnTo>
                  <a:lnTo>
                    <a:pt x="226" y="288"/>
                  </a:lnTo>
                  <a:lnTo>
                    <a:pt x="226" y="288"/>
                  </a:lnTo>
                  <a:lnTo>
                    <a:pt x="226" y="286"/>
                  </a:lnTo>
                  <a:lnTo>
                    <a:pt x="229" y="286"/>
                  </a:lnTo>
                  <a:lnTo>
                    <a:pt x="229" y="284"/>
                  </a:lnTo>
                  <a:lnTo>
                    <a:pt x="229" y="284"/>
                  </a:lnTo>
                  <a:lnTo>
                    <a:pt x="231" y="284"/>
                  </a:lnTo>
                  <a:lnTo>
                    <a:pt x="231" y="281"/>
                  </a:lnTo>
                  <a:lnTo>
                    <a:pt x="231" y="281"/>
                  </a:lnTo>
                  <a:lnTo>
                    <a:pt x="231" y="281"/>
                  </a:lnTo>
                  <a:lnTo>
                    <a:pt x="233" y="281"/>
                  </a:lnTo>
                  <a:lnTo>
                    <a:pt x="233" y="281"/>
                  </a:lnTo>
                  <a:lnTo>
                    <a:pt x="233" y="284"/>
                  </a:lnTo>
                  <a:lnTo>
                    <a:pt x="233" y="284"/>
                  </a:lnTo>
                  <a:lnTo>
                    <a:pt x="233" y="284"/>
                  </a:lnTo>
                  <a:lnTo>
                    <a:pt x="233" y="284"/>
                  </a:lnTo>
                  <a:close/>
                  <a:moveTo>
                    <a:pt x="608" y="284"/>
                  </a:move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1"/>
                  </a:lnTo>
                  <a:lnTo>
                    <a:pt x="608" y="281"/>
                  </a:lnTo>
                  <a:lnTo>
                    <a:pt x="608" y="281"/>
                  </a:lnTo>
                  <a:lnTo>
                    <a:pt x="608" y="281"/>
                  </a:lnTo>
                  <a:lnTo>
                    <a:pt x="608" y="281"/>
                  </a:lnTo>
                  <a:lnTo>
                    <a:pt x="608" y="281"/>
                  </a:lnTo>
                  <a:lnTo>
                    <a:pt x="608" y="281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lnTo>
                    <a:pt x="608" y="284"/>
                  </a:lnTo>
                  <a:close/>
                  <a:moveTo>
                    <a:pt x="323" y="281"/>
                  </a:moveTo>
                  <a:lnTo>
                    <a:pt x="323" y="281"/>
                  </a:lnTo>
                  <a:lnTo>
                    <a:pt x="323" y="281"/>
                  </a:lnTo>
                  <a:lnTo>
                    <a:pt x="323" y="281"/>
                  </a:lnTo>
                  <a:lnTo>
                    <a:pt x="323" y="279"/>
                  </a:lnTo>
                  <a:lnTo>
                    <a:pt x="323" y="279"/>
                  </a:lnTo>
                  <a:lnTo>
                    <a:pt x="323" y="279"/>
                  </a:lnTo>
                  <a:lnTo>
                    <a:pt x="323" y="279"/>
                  </a:lnTo>
                  <a:lnTo>
                    <a:pt x="323" y="279"/>
                  </a:lnTo>
                  <a:lnTo>
                    <a:pt x="323" y="281"/>
                  </a:lnTo>
                  <a:lnTo>
                    <a:pt x="323" y="281"/>
                  </a:lnTo>
                  <a:close/>
                  <a:moveTo>
                    <a:pt x="534" y="295"/>
                  </a:moveTo>
                  <a:lnTo>
                    <a:pt x="534" y="295"/>
                  </a:lnTo>
                  <a:lnTo>
                    <a:pt x="534" y="295"/>
                  </a:lnTo>
                  <a:lnTo>
                    <a:pt x="534" y="293"/>
                  </a:lnTo>
                  <a:lnTo>
                    <a:pt x="534" y="293"/>
                  </a:lnTo>
                  <a:lnTo>
                    <a:pt x="534" y="290"/>
                  </a:lnTo>
                  <a:lnTo>
                    <a:pt x="534" y="290"/>
                  </a:lnTo>
                  <a:lnTo>
                    <a:pt x="534" y="290"/>
                  </a:lnTo>
                  <a:lnTo>
                    <a:pt x="532" y="290"/>
                  </a:lnTo>
                  <a:lnTo>
                    <a:pt x="532" y="290"/>
                  </a:lnTo>
                  <a:lnTo>
                    <a:pt x="532" y="290"/>
                  </a:lnTo>
                  <a:lnTo>
                    <a:pt x="532" y="288"/>
                  </a:lnTo>
                  <a:lnTo>
                    <a:pt x="532" y="288"/>
                  </a:lnTo>
                  <a:lnTo>
                    <a:pt x="532" y="288"/>
                  </a:lnTo>
                  <a:lnTo>
                    <a:pt x="532" y="288"/>
                  </a:lnTo>
                  <a:lnTo>
                    <a:pt x="534" y="288"/>
                  </a:lnTo>
                  <a:lnTo>
                    <a:pt x="534" y="288"/>
                  </a:lnTo>
                  <a:lnTo>
                    <a:pt x="534" y="286"/>
                  </a:lnTo>
                  <a:lnTo>
                    <a:pt x="534" y="284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79"/>
                  </a:lnTo>
                  <a:lnTo>
                    <a:pt x="534" y="281"/>
                  </a:lnTo>
                  <a:lnTo>
                    <a:pt x="534" y="281"/>
                  </a:lnTo>
                  <a:lnTo>
                    <a:pt x="537" y="281"/>
                  </a:lnTo>
                  <a:lnTo>
                    <a:pt x="537" y="284"/>
                  </a:lnTo>
                  <a:lnTo>
                    <a:pt x="537" y="284"/>
                  </a:lnTo>
                  <a:lnTo>
                    <a:pt x="537" y="286"/>
                  </a:lnTo>
                  <a:lnTo>
                    <a:pt x="537" y="286"/>
                  </a:lnTo>
                  <a:lnTo>
                    <a:pt x="534" y="288"/>
                  </a:lnTo>
                  <a:lnTo>
                    <a:pt x="534" y="288"/>
                  </a:lnTo>
                  <a:lnTo>
                    <a:pt x="534" y="290"/>
                  </a:lnTo>
                  <a:lnTo>
                    <a:pt x="534" y="290"/>
                  </a:lnTo>
                  <a:lnTo>
                    <a:pt x="534" y="293"/>
                  </a:lnTo>
                  <a:lnTo>
                    <a:pt x="534" y="293"/>
                  </a:lnTo>
                  <a:lnTo>
                    <a:pt x="534" y="293"/>
                  </a:lnTo>
                  <a:lnTo>
                    <a:pt x="534" y="293"/>
                  </a:lnTo>
                  <a:lnTo>
                    <a:pt x="534" y="295"/>
                  </a:lnTo>
                  <a:lnTo>
                    <a:pt x="534" y="295"/>
                  </a:lnTo>
                  <a:lnTo>
                    <a:pt x="534" y="295"/>
                  </a:lnTo>
                  <a:close/>
                  <a:moveTo>
                    <a:pt x="822" y="279"/>
                  </a:move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7"/>
                  </a:lnTo>
                  <a:lnTo>
                    <a:pt x="822" y="277"/>
                  </a:lnTo>
                  <a:lnTo>
                    <a:pt x="822" y="277"/>
                  </a:lnTo>
                  <a:lnTo>
                    <a:pt x="822" y="277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lnTo>
                    <a:pt x="822" y="279"/>
                  </a:lnTo>
                  <a:close/>
                  <a:moveTo>
                    <a:pt x="206" y="279"/>
                  </a:move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77"/>
                  </a:lnTo>
                  <a:lnTo>
                    <a:pt x="204" y="277"/>
                  </a:lnTo>
                  <a:lnTo>
                    <a:pt x="206" y="277"/>
                  </a:lnTo>
                  <a:lnTo>
                    <a:pt x="206" y="277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close/>
                  <a:moveTo>
                    <a:pt x="373" y="277"/>
                  </a:moveTo>
                  <a:lnTo>
                    <a:pt x="373" y="277"/>
                  </a:lnTo>
                  <a:lnTo>
                    <a:pt x="373" y="279"/>
                  </a:lnTo>
                  <a:lnTo>
                    <a:pt x="373" y="279"/>
                  </a:lnTo>
                  <a:lnTo>
                    <a:pt x="373" y="279"/>
                  </a:lnTo>
                  <a:lnTo>
                    <a:pt x="373" y="279"/>
                  </a:lnTo>
                  <a:lnTo>
                    <a:pt x="373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68" y="279"/>
                  </a:lnTo>
                  <a:lnTo>
                    <a:pt x="370" y="279"/>
                  </a:lnTo>
                  <a:lnTo>
                    <a:pt x="370" y="279"/>
                  </a:lnTo>
                  <a:lnTo>
                    <a:pt x="370" y="277"/>
                  </a:lnTo>
                  <a:lnTo>
                    <a:pt x="370" y="277"/>
                  </a:lnTo>
                  <a:lnTo>
                    <a:pt x="370" y="277"/>
                  </a:lnTo>
                  <a:lnTo>
                    <a:pt x="370" y="277"/>
                  </a:lnTo>
                  <a:lnTo>
                    <a:pt x="370" y="277"/>
                  </a:lnTo>
                  <a:lnTo>
                    <a:pt x="373" y="277"/>
                  </a:lnTo>
                  <a:close/>
                  <a:moveTo>
                    <a:pt x="790" y="275"/>
                  </a:move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3" y="275"/>
                  </a:lnTo>
                  <a:lnTo>
                    <a:pt x="793" y="275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9"/>
                  </a:lnTo>
                  <a:lnTo>
                    <a:pt x="793" y="279"/>
                  </a:lnTo>
                  <a:lnTo>
                    <a:pt x="793" y="279"/>
                  </a:lnTo>
                  <a:lnTo>
                    <a:pt x="793" y="279"/>
                  </a:lnTo>
                  <a:lnTo>
                    <a:pt x="793" y="279"/>
                  </a:lnTo>
                  <a:lnTo>
                    <a:pt x="793" y="281"/>
                  </a:lnTo>
                  <a:lnTo>
                    <a:pt x="793" y="281"/>
                  </a:lnTo>
                  <a:lnTo>
                    <a:pt x="793" y="281"/>
                  </a:lnTo>
                  <a:lnTo>
                    <a:pt x="793" y="281"/>
                  </a:lnTo>
                  <a:lnTo>
                    <a:pt x="793" y="281"/>
                  </a:lnTo>
                  <a:lnTo>
                    <a:pt x="790" y="284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81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9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7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88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lnTo>
                    <a:pt x="790" y="275"/>
                  </a:lnTo>
                  <a:close/>
                  <a:moveTo>
                    <a:pt x="793" y="272"/>
                  </a:move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5"/>
                  </a:lnTo>
                  <a:lnTo>
                    <a:pt x="793" y="275"/>
                  </a:lnTo>
                  <a:lnTo>
                    <a:pt x="793" y="275"/>
                  </a:lnTo>
                  <a:lnTo>
                    <a:pt x="793" y="275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5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5"/>
                  </a:lnTo>
                  <a:lnTo>
                    <a:pt x="793" y="275"/>
                  </a:lnTo>
                  <a:lnTo>
                    <a:pt x="793" y="275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lnTo>
                    <a:pt x="793" y="272"/>
                  </a:lnTo>
                  <a:close/>
                  <a:moveTo>
                    <a:pt x="784" y="272"/>
                  </a:move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5"/>
                  </a:lnTo>
                  <a:lnTo>
                    <a:pt x="784" y="275"/>
                  </a:lnTo>
                  <a:lnTo>
                    <a:pt x="784" y="275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lnTo>
                    <a:pt x="784" y="272"/>
                  </a:lnTo>
                  <a:close/>
                  <a:moveTo>
                    <a:pt x="683" y="272"/>
                  </a:moveTo>
                  <a:lnTo>
                    <a:pt x="683" y="272"/>
                  </a:lnTo>
                  <a:lnTo>
                    <a:pt x="683" y="272"/>
                  </a:lnTo>
                  <a:lnTo>
                    <a:pt x="683" y="272"/>
                  </a:lnTo>
                  <a:close/>
                  <a:moveTo>
                    <a:pt x="683" y="272"/>
                  </a:moveTo>
                  <a:lnTo>
                    <a:pt x="683" y="272"/>
                  </a:lnTo>
                  <a:lnTo>
                    <a:pt x="683" y="272"/>
                  </a:lnTo>
                  <a:lnTo>
                    <a:pt x="683" y="272"/>
                  </a:lnTo>
                  <a:close/>
                  <a:moveTo>
                    <a:pt x="604" y="275"/>
                  </a:moveTo>
                  <a:lnTo>
                    <a:pt x="604" y="275"/>
                  </a:lnTo>
                  <a:lnTo>
                    <a:pt x="604" y="275"/>
                  </a:lnTo>
                  <a:lnTo>
                    <a:pt x="604" y="275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2" y="272"/>
                  </a:lnTo>
                  <a:lnTo>
                    <a:pt x="602" y="272"/>
                  </a:lnTo>
                  <a:lnTo>
                    <a:pt x="602" y="270"/>
                  </a:lnTo>
                  <a:lnTo>
                    <a:pt x="602" y="270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4" y="275"/>
                  </a:lnTo>
                  <a:close/>
                  <a:moveTo>
                    <a:pt x="831" y="270"/>
                  </a:moveTo>
                  <a:lnTo>
                    <a:pt x="831" y="270"/>
                  </a:lnTo>
                  <a:lnTo>
                    <a:pt x="831" y="270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2"/>
                  </a:lnTo>
                  <a:lnTo>
                    <a:pt x="833" y="275"/>
                  </a:lnTo>
                  <a:lnTo>
                    <a:pt x="833" y="275"/>
                  </a:lnTo>
                  <a:lnTo>
                    <a:pt x="833" y="275"/>
                  </a:lnTo>
                  <a:lnTo>
                    <a:pt x="831" y="275"/>
                  </a:lnTo>
                  <a:lnTo>
                    <a:pt x="831" y="275"/>
                  </a:lnTo>
                  <a:lnTo>
                    <a:pt x="831" y="275"/>
                  </a:lnTo>
                  <a:lnTo>
                    <a:pt x="831" y="275"/>
                  </a:lnTo>
                  <a:lnTo>
                    <a:pt x="833" y="275"/>
                  </a:lnTo>
                  <a:lnTo>
                    <a:pt x="833" y="275"/>
                  </a:lnTo>
                  <a:lnTo>
                    <a:pt x="833" y="275"/>
                  </a:lnTo>
                  <a:lnTo>
                    <a:pt x="833" y="275"/>
                  </a:lnTo>
                  <a:lnTo>
                    <a:pt x="833" y="275"/>
                  </a:lnTo>
                  <a:lnTo>
                    <a:pt x="833" y="277"/>
                  </a:lnTo>
                  <a:lnTo>
                    <a:pt x="833" y="277"/>
                  </a:lnTo>
                  <a:lnTo>
                    <a:pt x="833" y="277"/>
                  </a:lnTo>
                  <a:lnTo>
                    <a:pt x="833" y="277"/>
                  </a:lnTo>
                  <a:lnTo>
                    <a:pt x="833" y="277"/>
                  </a:lnTo>
                  <a:lnTo>
                    <a:pt x="833" y="277"/>
                  </a:lnTo>
                  <a:lnTo>
                    <a:pt x="833" y="277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79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1"/>
                  </a:lnTo>
                  <a:lnTo>
                    <a:pt x="833" y="284"/>
                  </a:lnTo>
                  <a:lnTo>
                    <a:pt x="833" y="284"/>
                  </a:lnTo>
                  <a:lnTo>
                    <a:pt x="833" y="284"/>
                  </a:lnTo>
                  <a:lnTo>
                    <a:pt x="831" y="284"/>
                  </a:lnTo>
                  <a:lnTo>
                    <a:pt x="831" y="281"/>
                  </a:lnTo>
                  <a:lnTo>
                    <a:pt x="831" y="281"/>
                  </a:lnTo>
                  <a:lnTo>
                    <a:pt x="831" y="281"/>
                  </a:lnTo>
                  <a:lnTo>
                    <a:pt x="831" y="281"/>
                  </a:lnTo>
                  <a:lnTo>
                    <a:pt x="831" y="281"/>
                  </a:lnTo>
                  <a:lnTo>
                    <a:pt x="831" y="281"/>
                  </a:lnTo>
                  <a:lnTo>
                    <a:pt x="831" y="281"/>
                  </a:lnTo>
                  <a:lnTo>
                    <a:pt x="831" y="284"/>
                  </a:lnTo>
                  <a:lnTo>
                    <a:pt x="831" y="284"/>
                  </a:lnTo>
                  <a:lnTo>
                    <a:pt x="831" y="284"/>
                  </a:lnTo>
                  <a:lnTo>
                    <a:pt x="831" y="284"/>
                  </a:lnTo>
                  <a:lnTo>
                    <a:pt x="831" y="284"/>
                  </a:lnTo>
                  <a:lnTo>
                    <a:pt x="833" y="284"/>
                  </a:lnTo>
                  <a:lnTo>
                    <a:pt x="833" y="284"/>
                  </a:lnTo>
                  <a:lnTo>
                    <a:pt x="833" y="286"/>
                  </a:lnTo>
                  <a:lnTo>
                    <a:pt x="833" y="286"/>
                  </a:lnTo>
                  <a:lnTo>
                    <a:pt x="833" y="286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1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88"/>
                  </a:lnTo>
                  <a:lnTo>
                    <a:pt x="833" y="290"/>
                  </a:lnTo>
                  <a:lnTo>
                    <a:pt x="833" y="290"/>
                  </a:lnTo>
                  <a:lnTo>
                    <a:pt x="833" y="290"/>
                  </a:lnTo>
                  <a:lnTo>
                    <a:pt x="833" y="290"/>
                  </a:lnTo>
                  <a:lnTo>
                    <a:pt x="831" y="290"/>
                  </a:lnTo>
                  <a:lnTo>
                    <a:pt x="831" y="293"/>
                  </a:lnTo>
                  <a:lnTo>
                    <a:pt x="831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3"/>
                  </a:lnTo>
                  <a:lnTo>
                    <a:pt x="829" y="290"/>
                  </a:lnTo>
                  <a:lnTo>
                    <a:pt x="829" y="290"/>
                  </a:lnTo>
                  <a:lnTo>
                    <a:pt x="829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6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90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6"/>
                  </a:lnTo>
                  <a:lnTo>
                    <a:pt x="824" y="286"/>
                  </a:lnTo>
                  <a:lnTo>
                    <a:pt x="824" y="286"/>
                  </a:lnTo>
                  <a:lnTo>
                    <a:pt x="824" y="286"/>
                  </a:lnTo>
                  <a:lnTo>
                    <a:pt x="824" y="286"/>
                  </a:lnTo>
                  <a:lnTo>
                    <a:pt x="824" y="286"/>
                  </a:lnTo>
                  <a:lnTo>
                    <a:pt x="826" y="284"/>
                  </a:lnTo>
                  <a:lnTo>
                    <a:pt x="826" y="284"/>
                  </a:lnTo>
                  <a:lnTo>
                    <a:pt x="824" y="284"/>
                  </a:lnTo>
                  <a:lnTo>
                    <a:pt x="824" y="284"/>
                  </a:lnTo>
                  <a:lnTo>
                    <a:pt x="824" y="284"/>
                  </a:lnTo>
                  <a:lnTo>
                    <a:pt x="824" y="284"/>
                  </a:lnTo>
                  <a:lnTo>
                    <a:pt x="824" y="284"/>
                  </a:lnTo>
                  <a:lnTo>
                    <a:pt x="824" y="284"/>
                  </a:lnTo>
                  <a:lnTo>
                    <a:pt x="824" y="284"/>
                  </a:lnTo>
                  <a:lnTo>
                    <a:pt x="824" y="281"/>
                  </a:lnTo>
                  <a:lnTo>
                    <a:pt x="824" y="281"/>
                  </a:lnTo>
                  <a:lnTo>
                    <a:pt x="824" y="281"/>
                  </a:lnTo>
                  <a:lnTo>
                    <a:pt x="824" y="281"/>
                  </a:lnTo>
                  <a:lnTo>
                    <a:pt x="824" y="281"/>
                  </a:lnTo>
                  <a:lnTo>
                    <a:pt x="824" y="281"/>
                  </a:lnTo>
                  <a:lnTo>
                    <a:pt x="826" y="279"/>
                  </a:lnTo>
                  <a:lnTo>
                    <a:pt x="826" y="279"/>
                  </a:lnTo>
                  <a:lnTo>
                    <a:pt x="826" y="279"/>
                  </a:lnTo>
                  <a:lnTo>
                    <a:pt x="826" y="279"/>
                  </a:lnTo>
                  <a:lnTo>
                    <a:pt x="826" y="279"/>
                  </a:lnTo>
                  <a:lnTo>
                    <a:pt x="826" y="279"/>
                  </a:lnTo>
                  <a:lnTo>
                    <a:pt x="826" y="279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4" y="279"/>
                  </a:lnTo>
                  <a:lnTo>
                    <a:pt x="822" y="277"/>
                  </a:lnTo>
                  <a:lnTo>
                    <a:pt x="822" y="277"/>
                  </a:lnTo>
                  <a:lnTo>
                    <a:pt x="822" y="277"/>
                  </a:lnTo>
                  <a:lnTo>
                    <a:pt x="822" y="277"/>
                  </a:lnTo>
                  <a:lnTo>
                    <a:pt x="824" y="277"/>
                  </a:lnTo>
                  <a:lnTo>
                    <a:pt x="824" y="277"/>
                  </a:lnTo>
                  <a:lnTo>
                    <a:pt x="824" y="277"/>
                  </a:lnTo>
                  <a:lnTo>
                    <a:pt x="824" y="277"/>
                  </a:lnTo>
                  <a:lnTo>
                    <a:pt x="824" y="277"/>
                  </a:lnTo>
                  <a:lnTo>
                    <a:pt x="826" y="277"/>
                  </a:lnTo>
                  <a:lnTo>
                    <a:pt x="826" y="277"/>
                  </a:lnTo>
                  <a:lnTo>
                    <a:pt x="826" y="277"/>
                  </a:lnTo>
                  <a:lnTo>
                    <a:pt x="826" y="277"/>
                  </a:lnTo>
                  <a:lnTo>
                    <a:pt x="826" y="275"/>
                  </a:lnTo>
                  <a:lnTo>
                    <a:pt x="826" y="275"/>
                  </a:lnTo>
                  <a:lnTo>
                    <a:pt x="826" y="275"/>
                  </a:lnTo>
                  <a:lnTo>
                    <a:pt x="826" y="275"/>
                  </a:lnTo>
                  <a:lnTo>
                    <a:pt x="826" y="275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2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29" y="270"/>
                  </a:lnTo>
                  <a:lnTo>
                    <a:pt x="831" y="270"/>
                  </a:lnTo>
                  <a:lnTo>
                    <a:pt x="831" y="270"/>
                  </a:lnTo>
                  <a:lnTo>
                    <a:pt x="831" y="270"/>
                  </a:lnTo>
                  <a:close/>
                  <a:moveTo>
                    <a:pt x="689" y="270"/>
                  </a:moveTo>
                  <a:lnTo>
                    <a:pt x="689" y="270"/>
                  </a:lnTo>
                  <a:lnTo>
                    <a:pt x="689" y="270"/>
                  </a:lnTo>
                  <a:lnTo>
                    <a:pt x="689" y="270"/>
                  </a:lnTo>
                  <a:close/>
                  <a:moveTo>
                    <a:pt x="687" y="268"/>
                  </a:moveTo>
                  <a:lnTo>
                    <a:pt x="689" y="268"/>
                  </a:lnTo>
                  <a:lnTo>
                    <a:pt x="687" y="268"/>
                  </a:lnTo>
                  <a:lnTo>
                    <a:pt x="687" y="268"/>
                  </a:lnTo>
                  <a:close/>
                  <a:moveTo>
                    <a:pt x="777" y="270"/>
                  </a:moveTo>
                  <a:lnTo>
                    <a:pt x="777" y="270"/>
                  </a:lnTo>
                  <a:lnTo>
                    <a:pt x="775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68"/>
                  </a:lnTo>
                  <a:lnTo>
                    <a:pt x="777" y="270"/>
                  </a:lnTo>
                  <a:lnTo>
                    <a:pt x="777" y="270"/>
                  </a:lnTo>
                  <a:close/>
                  <a:moveTo>
                    <a:pt x="797" y="275"/>
                  </a:moveTo>
                  <a:lnTo>
                    <a:pt x="797" y="275"/>
                  </a:lnTo>
                  <a:lnTo>
                    <a:pt x="797" y="275"/>
                  </a:lnTo>
                  <a:lnTo>
                    <a:pt x="797" y="277"/>
                  </a:lnTo>
                  <a:lnTo>
                    <a:pt x="797" y="277"/>
                  </a:lnTo>
                  <a:lnTo>
                    <a:pt x="797" y="277"/>
                  </a:lnTo>
                  <a:lnTo>
                    <a:pt x="797" y="279"/>
                  </a:lnTo>
                  <a:lnTo>
                    <a:pt x="795" y="279"/>
                  </a:lnTo>
                  <a:lnTo>
                    <a:pt x="795" y="279"/>
                  </a:lnTo>
                  <a:lnTo>
                    <a:pt x="797" y="279"/>
                  </a:lnTo>
                  <a:lnTo>
                    <a:pt x="795" y="281"/>
                  </a:lnTo>
                  <a:lnTo>
                    <a:pt x="795" y="281"/>
                  </a:lnTo>
                  <a:lnTo>
                    <a:pt x="793" y="284"/>
                  </a:lnTo>
                  <a:lnTo>
                    <a:pt x="793" y="284"/>
                  </a:lnTo>
                  <a:lnTo>
                    <a:pt x="793" y="284"/>
                  </a:lnTo>
                  <a:lnTo>
                    <a:pt x="795" y="279"/>
                  </a:lnTo>
                  <a:lnTo>
                    <a:pt x="795" y="279"/>
                  </a:lnTo>
                  <a:lnTo>
                    <a:pt x="795" y="279"/>
                  </a:lnTo>
                  <a:lnTo>
                    <a:pt x="795" y="277"/>
                  </a:lnTo>
                  <a:lnTo>
                    <a:pt x="795" y="277"/>
                  </a:lnTo>
                  <a:lnTo>
                    <a:pt x="797" y="275"/>
                  </a:lnTo>
                  <a:lnTo>
                    <a:pt x="797" y="275"/>
                  </a:lnTo>
                  <a:lnTo>
                    <a:pt x="797" y="275"/>
                  </a:lnTo>
                  <a:lnTo>
                    <a:pt x="797" y="275"/>
                  </a:lnTo>
                  <a:lnTo>
                    <a:pt x="797" y="275"/>
                  </a:lnTo>
                  <a:lnTo>
                    <a:pt x="797" y="272"/>
                  </a:lnTo>
                  <a:lnTo>
                    <a:pt x="797" y="272"/>
                  </a:lnTo>
                  <a:lnTo>
                    <a:pt x="797" y="272"/>
                  </a:lnTo>
                  <a:lnTo>
                    <a:pt x="799" y="270"/>
                  </a:lnTo>
                  <a:lnTo>
                    <a:pt x="799" y="268"/>
                  </a:lnTo>
                  <a:lnTo>
                    <a:pt x="799" y="268"/>
                  </a:lnTo>
                  <a:lnTo>
                    <a:pt x="799" y="268"/>
                  </a:lnTo>
                  <a:lnTo>
                    <a:pt x="799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68"/>
                  </a:lnTo>
                  <a:lnTo>
                    <a:pt x="802" y="270"/>
                  </a:lnTo>
                  <a:lnTo>
                    <a:pt x="799" y="272"/>
                  </a:lnTo>
                  <a:lnTo>
                    <a:pt x="799" y="275"/>
                  </a:lnTo>
                  <a:lnTo>
                    <a:pt x="799" y="275"/>
                  </a:lnTo>
                  <a:lnTo>
                    <a:pt x="799" y="275"/>
                  </a:lnTo>
                  <a:lnTo>
                    <a:pt x="799" y="275"/>
                  </a:lnTo>
                  <a:lnTo>
                    <a:pt x="799" y="275"/>
                  </a:lnTo>
                  <a:lnTo>
                    <a:pt x="797" y="275"/>
                  </a:lnTo>
                  <a:close/>
                  <a:moveTo>
                    <a:pt x="155" y="270"/>
                  </a:moveTo>
                  <a:lnTo>
                    <a:pt x="155" y="272"/>
                  </a:lnTo>
                  <a:lnTo>
                    <a:pt x="155" y="272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2" y="270"/>
                  </a:lnTo>
                  <a:lnTo>
                    <a:pt x="152" y="270"/>
                  </a:lnTo>
                  <a:lnTo>
                    <a:pt x="152" y="272"/>
                  </a:lnTo>
                  <a:lnTo>
                    <a:pt x="152" y="272"/>
                  </a:lnTo>
                  <a:lnTo>
                    <a:pt x="152" y="272"/>
                  </a:lnTo>
                  <a:lnTo>
                    <a:pt x="152" y="270"/>
                  </a:lnTo>
                  <a:lnTo>
                    <a:pt x="152" y="270"/>
                  </a:lnTo>
                  <a:lnTo>
                    <a:pt x="150" y="268"/>
                  </a:lnTo>
                  <a:lnTo>
                    <a:pt x="150" y="268"/>
                  </a:lnTo>
                  <a:lnTo>
                    <a:pt x="150" y="268"/>
                  </a:lnTo>
                  <a:lnTo>
                    <a:pt x="150" y="266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5" y="268"/>
                  </a:lnTo>
                  <a:lnTo>
                    <a:pt x="155" y="268"/>
                  </a:lnTo>
                  <a:lnTo>
                    <a:pt x="155" y="268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close/>
                  <a:moveTo>
                    <a:pt x="602" y="268"/>
                  </a:moveTo>
                  <a:lnTo>
                    <a:pt x="602" y="268"/>
                  </a:lnTo>
                  <a:lnTo>
                    <a:pt x="599" y="268"/>
                  </a:lnTo>
                  <a:lnTo>
                    <a:pt x="599" y="268"/>
                  </a:lnTo>
                  <a:lnTo>
                    <a:pt x="599" y="268"/>
                  </a:lnTo>
                  <a:lnTo>
                    <a:pt x="599" y="266"/>
                  </a:lnTo>
                  <a:lnTo>
                    <a:pt x="599" y="266"/>
                  </a:lnTo>
                  <a:lnTo>
                    <a:pt x="599" y="266"/>
                  </a:lnTo>
                  <a:lnTo>
                    <a:pt x="599" y="266"/>
                  </a:lnTo>
                  <a:lnTo>
                    <a:pt x="599" y="266"/>
                  </a:lnTo>
                  <a:lnTo>
                    <a:pt x="602" y="266"/>
                  </a:lnTo>
                  <a:lnTo>
                    <a:pt x="602" y="268"/>
                  </a:lnTo>
                  <a:lnTo>
                    <a:pt x="602" y="268"/>
                  </a:lnTo>
                  <a:lnTo>
                    <a:pt x="602" y="268"/>
                  </a:lnTo>
                  <a:close/>
                  <a:moveTo>
                    <a:pt x="566" y="261"/>
                  </a:move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6"/>
                  </a:lnTo>
                  <a:lnTo>
                    <a:pt x="568" y="266"/>
                  </a:lnTo>
                  <a:lnTo>
                    <a:pt x="568" y="266"/>
                  </a:lnTo>
                  <a:lnTo>
                    <a:pt x="568" y="266"/>
                  </a:lnTo>
                  <a:lnTo>
                    <a:pt x="568" y="266"/>
                  </a:lnTo>
                  <a:lnTo>
                    <a:pt x="568" y="266"/>
                  </a:lnTo>
                  <a:lnTo>
                    <a:pt x="568" y="270"/>
                  </a:lnTo>
                  <a:lnTo>
                    <a:pt x="568" y="270"/>
                  </a:lnTo>
                  <a:lnTo>
                    <a:pt x="568" y="270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0"/>
                  </a:lnTo>
                  <a:lnTo>
                    <a:pt x="566" y="270"/>
                  </a:lnTo>
                  <a:lnTo>
                    <a:pt x="566" y="270"/>
                  </a:lnTo>
                  <a:lnTo>
                    <a:pt x="566" y="270"/>
                  </a:lnTo>
                  <a:lnTo>
                    <a:pt x="566" y="270"/>
                  </a:lnTo>
                  <a:lnTo>
                    <a:pt x="566" y="270"/>
                  </a:lnTo>
                  <a:lnTo>
                    <a:pt x="563" y="270"/>
                  </a:lnTo>
                  <a:lnTo>
                    <a:pt x="563" y="270"/>
                  </a:lnTo>
                  <a:lnTo>
                    <a:pt x="563" y="270"/>
                  </a:lnTo>
                  <a:lnTo>
                    <a:pt x="563" y="268"/>
                  </a:lnTo>
                  <a:lnTo>
                    <a:pt x="563" y="268"/>
                  </a:lnTo>
                  <a:lnTo>
                    <a:pt x="563" y="266"/>
                  </a:lnTo>
                  <a:lnTo>
                    <a:pt x="563" y="266"/>
                  </a:lnTo>
                  <a:lnTo>
                    <a:pt x="563" y="266"/>
                  </a:lnTo>
                  <a:lnTo>
                    <a:pt x="563" y="266"/>
                  </a:lnTo>
                  <a:lnTo>
                    <a:pt x="563" y="266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3"/>
                  </a:lnTo>
                  <a:lnTo>
                    <a:pt x="563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lnTo>
                    <a:pt x="566" y="261"/>
                  </a:lnTo>
                  <a:close/>
                  <a:moveTo>
                    <a:pt x="438" y="257"/>
                  </a:moveTo>
                  <a:lnTo>
                    <a:pt x="438" y="257"/>
                  </a:lnTo>
                  <a:lnTo>
                    <a:pt x="438" y="257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4"/>
                  </a:lnTo>
                  <a:lnTo>
                    <a:pt x="438" y="257"/>
                  </a:lnTo>
                  <a:close/>
                  <a:moveTo>
                    <a:pt x="772" y="254"/>
                  </a:moveTo>
                  <a:lnTo>
                    <a:pt x="772" y="254"/>
                  </a:lnTo>
                  <a:lnTo>
                    <a:pt x="772" y="254"/>
                  </a:lnTo>
                  <a:lnTo>
                    <a:pt x="772" y="254"/>
                  </a:lnTo>
                  <a:lnTo>
                    <a:pt x="772" y="252"/>
                  </a:lnTo>
                  <a:lnTo>
                    <a:pt x="772" y="252"/>
                  </a:lnTo>
                  <a:lnTo>
                    <a:pt x="772" y="252"/>
                  </a:lnTo>
                  <a:lnTo>
                    <a:pt x="772" y="254"/>
                  </a:lnTo>
                  <a:lnTo>
                    <a:pt x="772" y="254"/>
                  </a:lnTo>
                  <a:close/>
                  <a:moveTo>
                    <a:pt x="584" y="259"/>
                  </a:moveTo>
                  <a:lnTo>
                    <a:pt x="584" y="259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1" y="259"/>
                  </a:lnTo>
                  <a:lnTo>
                    <a:pt x="581" y="261"/>
                  </a:lnTo>
                  <a:lnTo>
                    <a:pt x="581" y="261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3"/>
                  </a:lnTo>
                  <a:lnTo>
                    <a:pt x="579" y="266"/>
                  </a:lnTo>
                  <a:lnTo>
                    <a:pt x="579" y="263"/>
                  </a:lnTo>
                  <a:lnTo>
                    <a:pt x="579" y="266"/>
                  </a:lnTo>
                  <a:lnTo>
                    <a:pt x="579" y="266"/>
                  </a:lnTo>
                  <a:lnTo>
                    <a:pt x="579" y="266"/>
                  </a:lnTo>
                  <a:lnTo>
                    <a:pt x="579" y="266"/>
                  </a:lnTo>
                  <a:lnTo>
                    <a:pt x="579" y="266"/>
                  </a:lnTo>
                  <a:lnTo>
                    <a:pt x="579" y="266"/>
                  </a:lnTo>
                  <a:lnTo>
                    <a:pt x="579" y="266"/>
                  </a:lnTo>
                  <a:lnTo>
                    <a:pt x="581" y="266"/>
                  </a:lnTo>
                  <a:lnTo>
                    <a:pt x="581" y="266"/>
                  </a:lnTo>
                  <a:lnTo>
                    <a:pt x="581" y="266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79" y="268"/>
                  </a:lnTo>
                  <a:lnTo>
                    <a:pt x="579" y="268"/>
                  </a:lnTo>
                  <a:lnTo>
                    <a:pt x="579" y="268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9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7" y="270"/>
                  </a:lnTo>
                  <a:lnTo>
                    <a:pt x="575" y="270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7" y="268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5" y="268"/>
                  </a:lnTo>
                  <a:lnTo>
                    <a:pt x="575" y="270"/>
                  </a:lnTo>
                  <a:lnTo>
                    <a:pt x="575" y="270"/>
                  </a:lnTo>
                  <a:lnTo>
                    <a:pt x="572" y="270"/>
                  </a:lnTo>
                  <a:lnTo>
                    <a:pt x="572" y="270"/>
                  </a:lnTo>
                  <a:lnTo>
                    <a:pt x="572" y="270"/>
                  </a:lnTo>
                  <a:lnTo>
                    <a:pt x="572" y="268"/>
                  </a:lnTo>
                  <a:lnTo>
                    <a:pt x="572" y="268"/>
                  </a:lnTo>
                  <a:lnTo>
                    <a:pt x="572" y="268"/>
                  </a:lnTo>
                  <a:lnTo>
                    <a:pt x="572" y="268"/>
                  </a:lnTo>
                  <a:lnTo>
                    <a:pt x="572" y="268"/>
                  </a:lnTo>
                  <a:lnTo>
                    <a:pt x="572" y="266"/>
                  </a:lnTo>
                  <a:lnTo>
                    <a:pt x="572" y="266"/>
                  </a:lnTo>
                  <a:lnTo>
                    <a:pt x="575" y="266"/>
                  </a:lnTo>
                  <a:lnTo>
                    <a:pt x="575" y="263"/>
                  </a:lnTo>
                  <a:lnTo>
                    <a:pt x="575" y="263"/>
                  </a:lnTo>
                  <a:lnTo>
                    <a:pt x="575" y="263"/>
                  </a:lnTo>
                  <a:lnTo>
                    <a:pt x="575" y="263"/>
                  </a:lnTo>
                  <a:lnTo>
                    <a:pt x="575" y="263"/>
                  </a:lnTo>
                  <a:lnTo>
                    <a:pt x="575" y="261"/>
                  </a:lnTo>
                  <a:lnTo>
                    <a:pt x="575" y="261"/>
                  </a:lnTo>
                  <a:lnTo>
                    <a:pt x="575" y="261"/>
                  </a:lnTo>
                  <a:lnTo>
                    <a:pt x="575" y="261"/>
                  </a:lnTo>
                  <a:lnTo>
                    <a:pt x="575" y="261"/>
                  </a:lnTo>
                  <a:lnTo>
                    <a:pt x="575" y="259"/>
                  </a:lnTo>
                  <a:lnTo>
                    <a:pt x="575" y="259"/>
                  </a:lnTo>
                  <a:lnTo>
                    <a:pt x="575" y="259"/>
                  </a:lnTo>
                  <a:lnTo>
                    <a:pt x="575" y="257"/>
                  </a:lnTo>
                  <a:lnTo>
                    <a:pt x="575" y="257"/>
                  </a:lnTo>
                  <a:lnTo>
                    <a:pt x="575" y="257"/>
                  </a:lnTo>
                  <a:lnTo>
                    <a:pt x="575" y="257"/>
                  </a:lnTo>
                  <a:lnTo>
                    <a:pt x="575" y="257"/>
                  </a:lnTo>
                  <a:lnTo>
                    <a:pt x="575" y="254"/>
                  </a:lnTo>
                  <a:lnTo>
                    <a:pt x="575" y="254"/>
                  </a:lnTo>
                  <a:lnTo>
                    <a:pt x="577" y="254"/>
                  </a:lnTo>
                  <a:lnTo>
                    <a:pt x="577" y="254"/>
                  </a:lnTo>
                  <a:lnTo>
                    <a:pt x="577" y="254"/>
                  </a:lnTo>
                  <a:lnTo>
                    <a:pt x="579" y="252"/>
                  </a:lnTo>
                  <a:lnTo>
                    <a:pt x="579" y="252"/>
                  </a:lnTo>
                  <a:lnTo>
                    <a:pt x="581" y="250"/>
                  </a:lnTo>
                  <a:lnTo>
                    <a:pt x="581" y="250"/>
                  </a:lnTo>
                  <a:lnTo>
                    <a:pt x="584" y="250"/>
                  </a:lnTo>
                  <a:lnTo>
                    <a:pt x="584" y="252"/>
                  </a:lnTo>
                  <a:lnTo>
                    <a:pt x="584" y="252"/>
                  </a:lnTo>
                  <a:lnTo>
                    <a:pt x="584" y="254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4" y="259"/>
                  </a:lnTo>
                  <a:close/>
                  <a:moveTo>
                    <a:pt x="732" y="248"/>
                  </a:moveTo>
                  <a:lnTo>
                    <a:pt x="732" y="250"/>
                  </a:lnTo>
                  <a:lnTo>
                    <a:pt x="730" y="248"/>
                  </a:lnTo>
                  <a:lnTo>
                    <a:pt x="730" y="248"/>
                  </a:lnTo>
                  <a:lnTo>
                    <a:pt x="732" y="248"/>
                  </a:lnTo>
                  <a:close/>
                  <a:moveTo>
                    <a:pt x="734" y="248"/>
                  </a:moveTo>
                  <a:lnTo>
                    <a:pt x="734" y="250"/>
                  </a:lnTo>
                  <a:lnTo>
                    <a:pt x="734" y="250"/>
                  </a:lnTo>
                  <a:lnTo>
                    <a:pt x="734" y="250"/>
                  </a:lnTo>
                  <a:lnTo>
                    <a:pt x="734" y="250"/>
                  </a:lnTo>
                  <a:lnTo>
                    <a:pt x="734" y="250"/>
                  </a:lnTo>
                  <a:lnTo>
                    <a:pt x="734" y="250"/>
                  </a:lnTo>
                  <a:lnTo>
                    <a:pt x="732" y="250"/>
                  </a:lnTo>
                  <a:lnTo>
                    <a:pt x="732" y="250"/>
                  </a:lnTo>
                  <a:lnTo>
                    <a:pt x="734" y="250"/>
                  </a:lnTo>
                  <a:lnTo>
                    <a:pt x="734" y="250"/>
                  </a:lnTo>
                  <a:lnTo>
                    <a:pt x="734" y="250"/>
                  </a:lnTo>
                  <a:lnTo>
                    <a:pt x="734" y="248"/>
                  </a:lnTo>
                  <a:lnTo>
                    <a:pt x="734" y="248"/>
                  </a:lnTo>
                  <a:lnTo>
                    <a:pt x="734" y="248"/>
                  </a:lnTo>
                  <a:close/>
                  <a:moveTo>
                    <a:pt x="770" y="248"/>
                  </a:moveTo>
                  <a:lnTo>
                    <a:pt x="770" y="250"/>
                  </a:lnTo>
                  <a:lnTo>
                    <a:pt x="770" y="248"/>
                  </a:lnTo>
                  <a:lnTo>
                    <a:pt x="770" y="248"/>
                  </a:lnTo>
                  <a:lnTo>
                    <a:pt x="770" y="245"/>
                  </a:lnTo>
                  <a:lnTo>
                    <a:pt x="770" y="245"/>
                  </a:lnTo>
                  <a:lnTo>
                    <a:pt x="770" y="245"/>
                  </a:lnTo>
                  <a:lnTo>
                    <a:pt x="770" y="245"/>
                  </a:lnTo>
                  <a:lnTo>
                    <a:pt x="770" y="245"/>
                  </a:lnTo>
                  <a:lnTo>
                    <a:pt x="770" y="248"/>
                  </a:lnTo>
                  <a:lnTo>
                    <a:pt x="770" y="248"/>
                  </a:lnTo>
                  <a:lnTo>
                    <a:pt x="770" y="248"/>
                  </a:lnTo>
                  <a:close/>
                  <a:moveTo>
                    <a:pt x="593" y="252"/>
                  </a:moveTo>
                  <a:lnTo>
                    <a:pt x="593" y="252"/>
                  </a:lnTo>
                  <a:lnTo>
                    <a:pt x="593" y="257"/>
                  </a:lnTo>
                  <a:lnTo>
                    <a:pt x="593" y="257"/>
                  </a:lnTo>
                  <a:lnTo>
                    <a:pt x="593" y="257"/>
                  </a:lnTo>
                  <a:lnTo>
                    <a:pt x="593" y="257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4"/>
                  </a:lnTo>
                  <a:lnTo>
                    <a:pt x="593" y="252"/>
                  </a:lnTo>
                  <a:lnTo>
                    <a:pt x="590" y="252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90" y="254"/>
                  </a:lnTo>
                  <a:lnTo>
                    <a:pt x="588" y="257"/>
                  </a:lnTo>
                  <a:lnTo>
                    <a:pt x="588" y="257"/>
                  </a:lnTo>
                  <a:lnTo>
                    <a:pt x="588" y="257"/>
                  </a:lnTo>
                  <a:lnTo>
                    <a:pt x="588" y="257"/>
                  </a:lnTo>
                  <a:lnTo>
                    <a:pt x="588" y="259"/>
                  </a:lnTo>
                  <a:lnTo>
                    <a:pt x="588" y="259"/>
                  </a:lnTo>
                  <a:lnTo>
                    <a:pt x="588" y="259"/>
                  </a:lnTo>
                  <a:lnTo>
                    <a:pt x="588" y="259"/>
                  </a:lnTo>
                  <a:lnTo>
                    <a:pt x="588" y="259"/>
                  </a:lnTo>
                  <a:lnTo>
                    <a:pt x="588" y="259"/>
                  </a:lnTo>
                  <a:lnTo>
                    <a:pt x="588" y="261"/>
                  </a:lnTo>
                  <a:lnTo>
                    <a:pt x="588" y="261"/>
                  </a:lnTo>
                  <a:lnTo>
                    <a:pt x="588" y="261"/>
                  </a:lnTo>
                  <a:lnTo>
                    <a:pt x="588" y="261"/>
                  </a:lnTo>
                  <a:lnTo>
                    <a:pt x="588" y="261"/>
                  </a:lnTo>
                  <a:lnTo>
                    <a:pt x="588" y="261"/>
                  </a:lnTo>
                  <a:lnTo>
                    <a:pt x="588" y="261"/>
                  </a:lnTo>
                  <a:lnTo>
                    <a:pt x="588" y="263"/>
                  </a:lnTo>
                  <a:lnTo>
                    <a:pt x="586" y="263"/>
                  </a:lnTo>
                  <a:lnTo>
                    <a:pt x="586" y="263"/>
                  </a:lnTo>
                  <a:lnTo>
                    <a:pt x="586" y="263"/>
                  </a:lnTo>
                  <a:lnTo>
                    <a:pt x="588" y="266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88" y="263"/>
                  </a:lnTo>
                  <a:lnTo>
                    <a:pt x="590" y="263"/>
                  </a:lnTo>
                  <a:lnTo>
                    <a:pt x="590" y="263"/>
                  </a:lnTo>
                  <a:lnTo>
                    <a:pt x="590" y="266"/>
                  </a:lnTo>
                  <a:lnTo>
                    <a:pt x="590" y="266"/>
                  </a:lnTo>
                  <a:lnTo>
                    <a:pt x="590" y="266"/>
                  </a:lnTo>
                  <a:lnTo>
                    <a:pt x="593" y="266"/>
                  </a:lnTo>
                  <a:lnTo>
                    <a:pt x="593" y="266"/>
                  </a:lnTo>
                  <a:lnTo>
                    <a:pt x="593" y="266"/>
                  </a:lnTo>
                  <a:lnTo>
                    <a:pt x="593" y="268"/>
                  </a:lnTo>
                  <a:lnTo>
                    <a:pt x="593" y="268"/>
                  </a:lnTo>
                  <a:lnTo>
                    <a:pt x="590" y="268"/>
                  </a:lnTo>
                  <a:lnTo>
                    <a:pt x="590" y="268"/>
                  </a:lnTo>
                  <a:lnTo>
                    <a:pt x="590" y="270"/>
                  </a:lnTo>
                  <a:lnTo>
                    <a:pt x="590" y="270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8" y="270"/>
                  </a:lnTo>
                  <a:lnTo>
                    <a:pt x="586" y="270"/>
                  </a:lnTo>
                  <a:lnTo>
                    <a:pt x="586" y="270"/>
                  </a:lnTo>
                  <a:lnTo>
                    <a:pt x="584" y="272"/>
                  </a:lnTo>
                  <a:lnTo>
                    <a:pt x="584" y="272"/>
                  </a:lnTo>
                  <a:lnTo>
                    <a:pt x="584" y="272"/>
                  </a:lnTo>
                  <a:lnTo>
                    <a:pt x="586" y="272"/>
                  </a:lnTo>
                  <a:lnTo>
                    <a:pt x="586" y="272"/>
                  </a:lnTo>
                  <a:lnTo>
                    <a:pt x="586" y="272"/>
                  </a:lnTo>
                  <a:lnTo>
                    <a:pt x="586" y="272"/>
                  </a:lnTo>
                  <a:lnTo>
                    <a:pt x="586" y="275"/>
                  </a:lnTo>
                  <a:lnTo>
                    <a:pt x="584" y="275"/>
                  </a:lnTo>
                  <a:lnTo>
                    <a:pt x="584" y="277"/>
                  </a:lnTo>
                  <a:lnTo>
                    <a:pt x="584" y="277"/>
                  </a:lnTo>
                  <a:lnTo>
                    <a:pt x="584" y="277"/>
                  </a:lnTo>
                  <a:lnTo>
                    <a:pt x="584" y="277"/>
                  </a:lnTo>
                  <a:lnTo>
                    <a:pt x="584" y="277"/>
                  </a:lnTo>
                  <a:lnTo>
                    <a:pt x="584" y="275"/>
                  </a:lnTo>
                  <a:lnTo>
                    <a:pt x="581" y="275"/>
                  </a:lnTo>
                  <a:lnTo>
                    <a:pt x="581" y="275"/>
                  </a:lnTo>
                  <a:lnTo>
                    <a:pt x="581" y="275"/>
                  </a:lnTo>
                  <a:lnTo>
                    <a:pt x="581" y="277"/>
                  </a:lnTo>
                  <a:lnTo>
                    <a:pt x="581" y="277"/>
                  </a:lnTo>
                  <a:lnTo>
                    <a:pt x="581" y="277"/>
                  </a:lnTo>
                  <a:lnTo>
                    <a:pt x="581" y="277"/>
                  </a:lnTo>
                  <a:lnTo>
                    <a:pt x="581" y="275"/>
                  </a:lnTo>
                  <a:lnTo>
                    <a:pt x="581" y="275"/>
                  </a:lnTo>
                  <a:lnTo>
                    <a:pt x="581" y="275"/>
                  </a:lnTo>
                  <a:lnTo>
                    <a:pt x="581" y="275"/>
                  </a:lnTo>
                  <a:lnTo>
                    <a:pt x="581" y="277"/>
                  </a:lnTo>
                  <a:lnTo>
                    <a:pt x="581" y="277"/>
                  </a:lnTo>
                  <a:lnTo>
                    <a:pt x="579" y="277"/>
                  </a:lnTo>
                  <a:lnTo>
                    <a:pt x="579" y="277"/>
                  </a:lnTo>
                  <a:lnTo>
                    <a:pt x="579" y="272"/>
                  </a:lnTo>
                  <a:lnTo>
                    <a:pt x="579" y="270"/>
                  </a:lnTo>
                  <a:lnTo>
                    <a:pt x="581" y="270"/>
                  </a:lnTo>
                  <a:lnTo>
                    <a:pt x="581" y="270"/>
                  </a:lnTo>
                  <a:lnTo>
                    <a:pt x="579" y="270"/>
                  </a:lnTo>
                  <a:lnTo>
                    <a:pt x="579" y="270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81" y="268"/>
                  </a:lnTo>
                  <a:lnTo>
                    <a:pt x="581" y="266"/>
                  </a:lnTo>
                  <a:lnTo>
                    <a:pt x="581" y="266"/>
                  </a:lnTo>
                  <a:lnTo>
                    <a:pt x="584" y="266"/>
                  </a:lnTo>
                  <a:lnTo>
                    <a:pt x="584" y="266"/>
                  </a:lnTo>
                  <a:lnTo>
                    <a:pt x="584" y="266"/>
                  </a:lnTo>
                  <a:lnTo>
                    <a:pt x="584" y="266"/>
                  </a:lnTo>
                  <a:lnTo>
                    <a:pt x="584" y="266"/>
                  </a:lnTo>
                  <a:lnTo>
                    <a:pt x="584" y="263"/>
                  </a:lnTo>
                  <a:lnTo>
                    <a:pt x="584" y="266"/>
                  </a:lnTo>
                  <a:lnTo>
                    <a:pt x="584" y="266"/>
                  </a:lnTo>
                  <a:lnTo>
                    <a:pt x="584" y="266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61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4" y="259"/>
                  </a:lnTo>
                  <a:lnTo>
                    <a:pt x="586" y="257"/>
                  </a:lnTo>
                  <a:lnTo>
                    <a:pt x="586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4" y="257"/>
                  </a:lnTo>
                  <a:lnTo>
                    <a:pt x="586" y="257"/>
                  </a:lnTo>
                  <a:lnTo>
                    <a:pt x="586" y="257"/>
                  </a:lnTo>
                  <a:lnTo>
                    <a:pt x="586" y="257"/>
                  </a:lnTo>
                  <a:lnTo>
                    <a:pt x="586" y="252"/>
                  </a:lnTo>
                  <a:lnTo>
                    <a:pt x="586" y="250"/>
                  </a:lnTo>
                  <a:lnTo>
                    <a:pt x="586" y="250"/>
                  </a:lnTo>
                  <a:lnTo>
                    <a:pt x="586" y="248"/>
                  </a:lnTo>
                  <a:lnTo>
                    <a:pt x="586" y="248"/>
                  </a:lnTo>
                  <a:lnTo>
                    <a:pt x="586" y="248"/>
                  </a:lnTo>
                  <a:lnTo>
                    <a:pt x="588" y="248"/>
                  </a:lnTo>
                  <a:lnTo>
                    <a:pt x="590" y="245"/>
                  </a:lnTo>
                  <a:lnTo>
                    <a:pt x="590" y="245"/>
                  </a:lnTo>
                  <a:lnTo>
                    <a:pt x="590" y="245"/>
                  </a:lnTo>
                  <a:lnTo>
                    <a:pt x="590" y="245"/>
                  </a:lnTo>
                  <a:lnTo>
                    <a:pt x="590" y="245"/>
                  </a:lnTo>
                  <a:lnTo>
                    <a:pt x="590" y="248"/>
                  </a:lnTo>
                  <a:lnTo>
                    <a:pt x="590" y="248"/>
                  </a:lnTo>
                  <a:lnTo>
                    <a:pt x="593" y="248"/>
                  </a:lnTo>
                  <a:lnTo>
                    <a:pt x="593" y="248"/>
                  </a:lnTo>
                  <a:lnTo>
                    <a:pt x="593" y="250"/>
                  </a:lnTo>
                  <a:lnTo>
                    <a:pt x="593" y="250"/>
                  </a:lnTo>
                  <a:lnTo>
                    <a:pt x="593" y="250"/>
                  </a:lnTo>
                  <a:lnTo>
                    <a:pt x="593" y="250"/>
                  </a:lnTo>
                  <a:lnTo>
                    <a:pt x="593" y="252"/>
                  </a:lnTo>
                  <a:lnTo>
                    <a:pt x="593" y="252"/>
                  </a:lnTo>
                  <a:lnTo>
                    <a:pt x="593" y="252"/>
                  </a:lnTo>
                  <a:lnTo>
                    <a:pt x="593" y="252"/>
                  </a:lnTo>
                  <a:lnTo>
                    <a:pt x="593" y="252"/>
                  </a:lnTo>
                  <a:lnTo>
                    <a:pt x="593" y="252"/>
                  </a:lnTo>
                  <a:close/>
                  <a:moveTo>
                    <a:pt x="811" y="241"/>
                  </a:moveTo>
                  <a:lnTo>
                    <a:pt x="813" y="243"/>
                  </a:lnTo>
                  <a:lnTo>
                    <a:pt x="813" y="243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11" y="243"/>
                  </a:lnTo>
                  <a:lnTo>
                    <a:pt x="811" y="241"/>
                  </a:lnTo>
                  <a:lnTo>
                    <a:pt x="811" y="241"/>
                  </a:lnTo>
                  <a:lnTo>
                    <a:pt x="811" y="241"/>
                  </a:lnTo>
                  <a:lnTo>
                    <a:pt x="808" y="243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6" y="241"/>
                  </a:lnTo>
                  <a:lnTo>
                    <a:pt x="806" y="241"/>
                  </a:lnTo>
                  <a:lnTo>
                    <a:pt x="806" y="241"/>
                  </a:lnTo>
                  <a:lnTo>
                    <a:pt x="806" y="241"/>
                  </a:lnTo>
                  <a:lnTo>
                    <a:pt x="806" y="241"/>
                  </a:lnTo>
                  <a:lnTo>
                    <a:pt x="806" y="241"/>
                  </a:lnTo>
                  <a:lnTo>
                    <a:pt x="806" y="239"/>
                  </a:lnTo>
                  <a:lnTo>
                    <a:pt x="806" y="239"/>
                  </a:lnTo>
                  <a:lnTo>
                    <a:pt x="806" y="239"/>
                  </a:lnTo>
                  <a:lnTo>
                    <a:pt x="806" y="239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08" y="241"/>
                  </a:lnTo>
                  <a:lnTo>
                    <a:pt x="811" y="241"/>
                  </a:lnTo>
                  <a:lnTo>
                    <a:pt x="811" y="241"/>
                  </a:lnTo>
                  <a:lnTo>
                    <a:pt x="811" y="241"/>
                  </a:lnTo>
                  <a:lnTo>
                    <a:pt x="811" y="241"/>
                  </a:lnTo>
                  <a:close/>
                  <a:moveTo>
                    <a:pt x="766" y="241"/>
                  </a:moveTo>
                  <a:lnTo>
                    <a:pt x="766" y="241"/>
                  </a:lnTo>
                  <a:lnTo>
                    <a:pt x="766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3" y="239"/>
                  </a:lnTo>
                  <a:lnTo>
                    <a:pt x="766" y="239"/>
                  </a:lnTo>
                  <a:lnTo>
                    <a:pt x="766" y="239"/>
                  </a:lnTo>
                  <a:lnTo>
                    <a:pt x="766" y="241"/>
                  </a:lnTo>
                  <a:close/>
                  <a:moveTo>
                    <a:pt x="763" y="236"/>
                  </a:moveTo>
                  <a:lnTo>
                    <a:pt x="763" y="236"/>
                  </a:lnTo>
                  <a:lnTo>
                    <a:pt x="761" y="236"/>
                  </a:lnTo>
                  <a:lnTo>
                    <a:pt x="761" y="236"/>
                  </a:lnTo>
                  <a:lnTo>
                    <a:pt x="761" y="236"/>
                  </a:lnTo>
                  <a:lnTo>
                    <a:pt x="761" y="236"/>
                  </a:lnTo>
                  <a:lnTo>
                    <a:pt x="763" y="236"/>
                  </a:lnTo>
                  <a:lnTo>
                    <a:pt x="763" y="236"/>
                  </a:lnTo>
                  <a:lnTo>
                    <a:pt x="763" y="236"/>
                  </a:lnTo>
                  <a:lnTo>
                    <a:pt x="763" y="236"/>
                  </a:lnTo>
                  <a:lnTo>
                    <a:pt x="763" y="236"/>
                  </a:lnTo>
                  <a:lnTo>
                    <a:pt x="763" y="236"/>
                  </a:lnTo>
                  <a:lnTo>
                    <a:pt x="763" y="236"/>
                  </a:lnTo>
                  <a:close/>
                  <a:moveTo>
                    <a:pt x="590" y="236"/>
                  </a:moveTo>
                  <a:lnTo>
                    <a:pt x="593" y="236"/>
                  </a:lnTo>
                  <a:lnTo>
                    <a:pt x="593" y="236"/>
                  </a:lnTo>
                  <a:lnTo>
                    <a:pt x="593" y="236"/>
                  </a:lnTo>
                  <a:lnTo>
                    <a:pt x="593" y="236"/>
                  </a:lnTo>
                  <a:lnTo>
                    <a:pt x="593" y="236"/>
                  </a:lnTo>
                  <a:lnTo>
                    <a:pt x="595" y="236"/>
                  </a:lnTo>
                  <a:lnTo>
                    <a:pt x="595" y="236"/>
                  </a:lnTo>
                  <a:lnTo>
                    <a:pt x="595" y="236"/>
                  </a:lnTo>
                  <a:lnTo>
                    <a:pt x="595" y="239"/>
                  </a:lnTo>
                  <a:lnTo>
                    <a:pt x="595" y="239"/>
                  </a:lnTo>
                  <a:lnTo>
                    <a:pt x="593" y="241"/>
                  </a:lnTo>
                  <a:lnTo>
                    <a:pt x="593" y="241"/>
                  </a:lnTo>
                  <a:lnTo>
                    <a:pt x="593" y="241"/>
                  </a:lnTo>
                  <a:lnTo>
                    <a:pt x="590" y="241"/>
                  </a:lnTo>
                  <a:lnTo>
                    <a:pt x="590" y="241"/>
                  </a:lnTo>
                  <a:lnTo>
                    <a:pt x="590" y="241"/>
                  </a:lnTo>
                  <a:lnTo>
                    <a:pt x="588" y="239"/>
                  </a:lnTo>
                  <a:lnTo>
                    <a:pt x="588" y="239"/>
                  </a:lnTo>
                  <a:lnTo>
                    <a:pt x="588" y="239"/>
                  </a:lnTo>
                  <a:lnTo>
                    <a:pt x="588" y="236"/>
                  </a:lnTo>
                  <a:lnTo>
                    <a:pt x="588" y="236"/>
                  </a:lnTo>
                  <a:lnTo>
                    <a:pt x="588" y="236"/>
                  </a:lnTo>
                  <a:lnTo>
                    <a:pt x="590" y="236"/>
                  </a:lnTo>
                  <a:lnTo>
                    <a:pt x="590" y="236"/>
                  </a:lnTo>
                  <a:lnTo>
                    <a:pt x="590" y="236"/>
                  </a:lnTo>
                  <a:lnTo>
                    <a:pt x="590" y="236"/>
                  </a:lnTo>
                  <a:lnTo>
                    <a:pt x="590" y="236"/>
                  </a:lnTo>
                  <a:lnTo>
                    <a:pt x="590" y="236"/>
                  </a:lnTo>
                  <a:close/>
                  <a:moveTo>
                    <a:pt x="768" y="236"/>
                  </a:moveTo>
                  <a:lnTo>
                    <a:pt x="766" y="239"/>
                  </a:lnTo>
                  <a:lnTo>
                    <a:pt x="766" y="239"/>
                  </a:lnTo>
                  <a:lnTo>
                    <a:pt x="766" y="236"/>
                  </a:lnTo>
                  <a:lnTo>
                    <a:pt x="766" y="236"/>
                  </a:lnTo>
                  <a:lnTo>
                    <a:pt x="766" y="236"/>
                  </a:lnTo>
                  <a:lnTo>
                    <a:pt x="766" y="236"/>
                  </a:lnTo>
                  <a:lnTo>
                    <a:pt x="766" y="234"/>
                  </a:lnTo>
                  <a:lnTo>
                    <a:pt x="766" y="234"/>
                  </a:lnTo>
                  <a:lnTo>
                    <a:pt x="766" y="234"/>
                  </a:lnTo>
                  <a:lnTo>
                    <a:pt x="766" y="234"/>
                  </a:lnTo>
                  <a:lnTo>
                    <a:pt x="766" y="236"/>
                  </a:lnTo>
                  <a:lnTo>
                    <a:pt x="766" y="236"/>
                  </a:lnTo>
                  <a:lnTo>
                    <a:pt x="766" y="236"/>
                  </a:lnTo>
                  <a:lnTo>
                    <a:pt x="768" y="236"/>
                  </a:lnTo>
                  <a:close/>
                  <a:moveTo>
                    <a:pt x="678" y="234"/>
                  </a:moveTo>
                  <a:lnTo>
                    <a:pt x="678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76" y="232"/>
                  </a:lnTo>
                  <a:lnTo>
                    <a:pt x="676" y="232"/>
                  </a:lnTo>
                  <a:lnTo>
                    <a:pt x="676" y="232"/>
                  </a:lnTo>
                  <a:lnTo>
                    <a:pt x="678" y="232"/>
                  </a:lnTo>
                  <a:lnTo>
                    <a:pt x="678" y="232"/>
                  </a:lnTo>
                  <a:lnTo>
                    <a:pt x="678" y="232"/>
                  </a:lnTo>
                  <a:lnTo>
                    <a:pt x="678" y="232"/>
                  </a:lnTo>
                  <a:lnTo>
                    <a:pt x="678" y="232"/>
                  </a:lnTo>
                  <a:lnTo>
                    <a:pt x="678" y="232"/>
                  </a:lnTo>
                  <a:lnTo>
                    <a:pt x="678" y="234"/>
                  </a:lnTo>
                  <a:lnTo>
                    <a:pt x="678" y="234"/>
                  </a:lnTo>
                  <a:close/>
                  <a:moveTo>
                    <a:pt x="712" y="230"/>
                  </a:moveTo>
                  <a:lnTo>
                    <a:pt x="712" y="230"/>
                  </a:lnTo>
                  <a:lnTo>
                    <a:pt x="712" y="230"/>
                  </a:lnTo>
                  <a:lnTo>
                    <a:pt x="710" y="230"/>
                  </a:lnTo>
                  <a:lnTo>
                    <a:pt x="710" y="227"/>
                  </a:lnTo>
                  <a:lnTo>
                    <a:pt x="712" y="227"/>
                  </a:lnTo>
                  <a:lnTo>
                    <a:pt x="712" y="227"/>
                  </a:lnTo>
                  <a:lnTo>
                    <a:pt x="712" y="227"/>
                  </a:lnTo>
                  <a:lnTo>
                    <a:pt x="712" y="227"/>
                  </a:lnTo>
                  <a:lnTo>
                    <a:pt x="712" y="227"/>
                  </a:lnTo>
                  <a:lnTo>
                    <a:pt x="712" y="227"/>
                  </a:lnTo>
                  <a:lnTo>
                    <a:pt x="712" y="227"/>
                  </a:lnTo>
                  <a:lnTo>
                    <a:pt x="712" y="230"/>
                  </a:lnTo>
                  <a:close/>
                  <a:moveTo>
                    <a:pt x="593" y="227"/>
                  </a:moveTo>
                  <a:lnTo>
                    <a:pt x="593" y="227"/>
                  </a:lnTo>
                  <a:lnTo>
                    <a:pt x="593" y="227"/>
                  </a:lnTo>
                  <a:lnTo>
                    <a:pt x="593" y="227"/>
                  </a:lnTo>
                  <a:lnTo>
                    <a:pt x="593" y="227"/>
                  </a:lnTo>
                  <a:lnTo>
                    <a:pt x="593" y="227"/>
                  </a:lnTo>
                  <a:lnTo>
                    <a:pt x="593" y="227"/>
                  </a:lnTo>
                  <a:lnTo>
                    <a:pt x="590" y="227"/>
                  </a:lnTo>
                  <a:lnTo>
                    <a:pt x="590" y="225"/>
                  </a:lnTo>
                  <a:lnTo>
                    <a:pt x="590" y="225"/>
                  </a:lnTo>
                  <a:lnTo>
                    <a:pt x="590" y="225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5"/>
                  </a:lnTo>
                  <a:lnTo>
                    <a:pt x="593" y="227"/>
                  </a:lnTo>
                  <a:close/>
                  <a:moveTo>
                    <a:pt x="705" y="227"/>
                  </a:moveTo>
                  <a:lnTo>
                    <a:pt x="703" y="227"/>
                  </a:lnTo>
                  <a:lnTo>
                    <a:pt x="703" y="227"/>
                  </a:lnTo>
                  <a:lnTo>
                    <a:pt x="703" y="227"/>
                  </a:lnTo>
                  <a:lnTo>
                    <a:pt x="703" y="227"/>
                  </a:lnTo>
                  <a:lnTo>
                    <a:pt x="703" y="225"/>
                  </a:lnTo>
                  <a:lnTo>
                    <a:pt x="703" y="225"/>
                  </a:lnTo>
                  <a:lnTo>
                    <a:pt x="703" y="225"/>
                  </a:lnTo>
                  <a:lnTo>
                    <a:pt x="703" y="225"/>
                  </a:lnTo>
                  <a:lnTo>
                    <a:pt x="705" y="225"/>
                  </a:lnTo>
                  <a:lnTo>
                    <a:pt x="705" y="225"/>
                  </a:lnTo>
                  <a:lnTo>
                    <a:pt x="705" y="225"/>
                  </a:lnTo>
                  <a:lnTo>
                    <a:pt x="705" y="225"/>
                  </a:lnTo>
                  <a:lnTo>
                    <a:pt x="705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7"/>
                  </a:lnTo>
                  <a:lnTo>
                    <a:pt x="707" y="227"/>
                  </a:lnTo>
                  <a:lnTo>
                    <a:pt x="705" y="227"/>
                  </a:lnTo>
                  <a:lnTo>
                    <a:pt x="705" y="227"/>
                  </a:lnTo>
                  <a:lnTo>
                    <a:pt x="705" y="227"/>
                  </a:lnTo>
                  <a:lnTo>
                    <a:pt x="705" y="227"/>
                  </a:lnTo>
                  <a:close/>
                  <a:moveTo>
                    <a:pt x="575" y="225"/>
                  </a:move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7" y="225"/>
                  </a:lnTo>
                  <a:lnTo>
                    <a:pt x="577" y="225"/>
                  </a:lnTo>
                  <a:lnTo>
                    <a:pt x="577" y="225"/>
                  </a:lnTo>
                  <a:lnTo>
                    <a:pt x="577" y="225"/>
                  </a:lnTo>
                  <a:lnTo>
                    <a:pt x="577" y="225"/>
                  </a:lnTo>
                  <a:lnTo>
                    <a:pt x="575" y="225"/>
                  </a:lnTo>
                  <a:lnTo>
                    <a:pt x="575" y="225"/>
                  </a:lnTo>
                  <a:close/>
                  <a:moveTo>
                    <a:pt x="703" y="225"/>
                  </a:moveTo>
                  <a:lnTo>
                    <a:pt x="703" y="227"/>
                  </a:lnTo>
                  <a:lnTo>
                    <a:pt x="703" y="227"/>
                  </a:lnTo>
                  <a:lnTo>
                    <a:pt x="703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27"/>
                  </a:lnTo>
                  <a:lnTo>
                    <a:pt x="701" y="230"/>
                  </a:lnTo>
                  <a:lnTo>
                    <a:pt x="701" y="230"/>
                  </a:lnTo>
                  <a:lnTo>
                    <a:pt x="701" y="230"/>
                  </a:lnTo>
                  <a:lnTo>
                    <a:pt x="698" y="230"/>
                  </a:lnTo>
                  <a:lnTo>
                    <a:pt x="698" y="230"/>
                  </a:lnTo>
                  <a:lnTo>
                    <a:pt x="698" y="230"/>
                  </a:lnTo>
                  <a:lnTo>
                    <a:pt x="698" y="230"/>
                  </a:lnTo>
                  <a:lnTo>
                    <a:pt x="698" y="230"/>
                  </a:lnTo>
                  <a:lnTo>
                    <a:pt x="696" y="230"/>
                  </a:lnTo>
                  <a:lnTo>
                    <a:pt x="696" y="230"/>
                  </a:lnTo>
                  <a:lnTo>
                    <a:pt x="698" y="230"/>
                  </a:lnTo>
                  <a:lnTo>
                    <a:pt x="698" y="230"/>
                  </a:lnTo>
                  <a:lnTo>
                    <a:pt x="698" y="230"/>
                  </a:lnTo>
                  <a:lnTo>
                    <a:pt x="698" y="227"/>
                  </a:lnTo>
                  <a:lnTo>
                    <a:pt x="701" y="227"/>
                  </a:lnTo>
                  <a:lnTo>
                    <a:pt x="698" y="227"/>
                  </a:lnTo>
                  <a:lnTo>
                    <a:pt x="698" y="227"/>
                  </a:lnTo>
                  <a:lnTo>
                    <a:pt x="698" y="227"/>
                  </a:lnTo>
                  <a:lnTo>
                    <a:pt x="696" y="230"/>
                  </a:lnTo>
                  <a:lnTo>
                    <a:pt x="696" y="230"/>
                  </a:lnTo>
                  <a:lnTo>
                    <a:pt x="696" y="230"/>
                  </a:lnTo>
                  <a:lnTo>
                    <a:pt x="696" y="230"/>
                  </a:lnTo>
                  <a:lnTo>
                    <a:pt x="696" y="230"/>
                  </a:lnTo>
                  <a:lnTo>
                    <a:pt x="694" y="230"/>
                  </a:lnTo>
                  <a:lnTo>
                    <a:pt x="694" y="230"/>
                  </a:lnTo>
                  <a:lnTo>
                    <a:pt x="694" y="232"/>
                  </a:lnTo>
                  <a:lnTo>
                    <a:pt x="694" y="230"/>
                  </a:lnTo>
                  <a:lnTo>
                    <a:pt x="694" y="230"/>
                  </a:lnTo>
                  <a:lnTo>
                    <a:pt x="694" y="230"/>
                  </a:lnTo>
                  <a:lnTo>
                    <a:pt x="694" y="230"/>
                  </a:lnTo>
                  <a:lnTo>
                    <a:pt x="694" y="230"/>
                  </a:lnTo>
                  <a:lnTo>
                    <a:pt x="694" y="227"/>
                  </a:lnTo>
                  <a:lnTo>
                    <a:pt x="694" y="227"/>
                  </a:lnTo>
                  <a:lnTo>
                    <a:pt x="696" y="227"/>
                  </a:lnTo>
                  <a:lnTo>
                    <a:pt x="696" y="227"/>
                  </a:lnTo>
                  <a:lnTo>
                    <a:pt x="696" y="225"/>
                  </a:lnTo>
                  <a:lnTo>
                    <a:pt x="698" y="227"/>
                  </a:lnTo>
                  <a:lnTo>
                    <a:pt x="698" y="227"/>
                  </a:lnTo>
                  <a:lnTo>
                    <a:pt x="701" y="225"/>
                  </a:lnTo>
                  <a:lnTo>
                    <a:pt x="701" y="225"/>
                  </a:lnTo>
                  <a:lnTo>
                    <a:pt x="703" y="225"/>
                  </a:lnTo>
                  <a:lnTo>
                    <a:pt x="703" y="225"/>
                  </a:lnTo>
                  <a:lnTo>
                    <a:pt x="703" y="225"/>
                  </a:lnTo>
                  <a:lnTo>
                    <a:pt x="703" y="225"/>
                  </a:lnTo>
                  <a:lnTo>
                    <a:pt x="703" y="225"/>
                  </a:lnTo>
                  <a:close/>
                  <a:moveTo>
                    <a:pt x="710" y="225"/>
                  </a:moveTo>
                  <a:lnTo>
                    <a:pt x="710" y="225"/>
                  </a:lnTo>
                  <a:lnTo>
                    <a:pt x="710" y="225"/>
                  </a:lnTo>
                  <a:lnTo>
                    <a:pt x="710" y="225"/>
                  </a:lnTo>
                  <a:lnTo>
                    <a:pt x="710" y="225"/>
                  </a:lnTo>
                  <a:lnTo>
                    <a:pt x="710" y="225"/>
                  </a:lnTo>
                  <a:lnTo>
                    <a:pt x="710" y="225"/>
                  </a:lnTo>
                  <a:lnTo>
                    <a:pt x="710" y="227"/>
                  </a:lnTo>
                  <a:lnTo>
                    <a:pt x="710" y="227"/>
                  </a:lnTo>
                  <a:lnTo>
                    <a:pt x="710" y="225"/>
                  </a:lnTo>
                  <a:lnTo>
                    <a:pt x="710" y="225"/>
                  </a:lnTo>
                  <a:lnTo>
                    <a:pt x="710" y="225"/>
                  </a:lnTo>
                  <a:lnTo>
                    <a:pt x="710" y="227"/>
                  </a:lnTo>
                  <a:lnTo>
                    <a:pt x="710" y="227"/>
                  </a:lnTo>
                  <a:lnTo>
                    <a:pt x="710" y="227"/>
                  </a:lnTo>
                  <a:lnTo>
                    <a:pt x="710" y="227"/>
                  </a:lnTo>
                  <a:lnTo>
                    <a:pt x="707" y="227"/>
                  </a:lnTo>
                  <a:lnTo>
                    <a:pt x="707" y="227"/>
                  </a:lnTo>
                  <a:lnTo>
                    <a:pt x="707" y="227"/>
                  </a:lnTo>
                  <a:lnTo>
                    <a:pt x="707" y="227"/>
                  </a:lnTo>
                  <a:lnTo>
                    <a:pt x="707" y="227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07" y="225"/>
                  </a:lnTo>
                  <a:lnTo>
                    <a:pt x="710" y="225"/>
                  </a:lnTo>
                  <a:close/>
                  <a:moveTo>
                    <a:pt x="793" y="223"/>
                  </a:moveTo>
                  <a:lnTo>
                    <a:pt x="795" y="223"/>
                  </a:lnTo>
                  <a:lnTo>
                    <a:pt x="795" y="223"/>
                  </a:lnTo>
                  <a:lnTo>
                    <a:pt x="795" y="223"/>
                  </a:lnTo>
                  <a:lnTo>
                    <a:pt x="795" y="225"/>
                  </a:lnTo>
                  <a:lnTo>
                    <a:pt x="795" y="225"/>
                  </a:lnTo>
                  <a:lnTo>
                    <a:pt x="793" y="225"/>
                  </a:lnTo>
                  <a:lnTo>
                    <a:pt x="793" y="225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lnTo>
                    <a:pt x="793" y="223"/>
                  </a:lnTo>
                  <a:close/>
                  <a:moveTo>
                    <a:pt x="579" y="223"/>
                  </a:moveTo>
                  <a:lnTo>
                    <a:pt x="579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9" y="221"/>
                  </a:lnTo>
                  <a:lnTo>
                    <a:pt x="579" y="223"/>
                  </a:lnTo>
                  <a:lnTo>
                    <a:pt x="579" y="223"/>
                  </a:lnTo>
                  <a:lnTo>
                    <a:pt x="579" y="223"/>
                  </a:lnTo>
                  <a:lnTo>
                    <a:pt x="579" y="223"/>
                  </a:lnTo>
                  <a:lnTo>
                    <a:pt x="579" y="223"/>
                  </a:lnTo>
                  <a:lnTo>
                    <a:pt x="579" y="223"/>
                  </a:lnTo>
                  <a:lnTo>
                    <a:pt x="579" y="223"/>
                  </a:lnTo>
                  <a:close/>
                  <a:moveTo>
                    <a:pt x="451" y="227"/>
                  </a:moveTo>
                  <a:lnTo>
                    <a:pt x="451" y="227"/>
                  </a:lnTo>
                  <a:lnTo>
                    <a:pt x="451" y="227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51" y="223"/>
                  </a:lnTo>
                  <a:lnTo>
                    <a:pt x="451" y="223"/>
                  </a:lnTo>
                  <a:lnTo>
                    <a:pt x="451" y="223"/>
                  </a:lnTo>
                  <a:lnTo>
                    <a:pt x="451" y="223"/>
                  </a:lnTo>
                  <a:lnTo>
                    <a:pt x="451" y="221"/>
                  </a:lnTo>
                  <a:lnTo>
                    <a:pt x="451" y="221"/>
                  </a:lnTo>
                  <a:lnTo>
                    <a:pt x="451" y="221"/>
                  </a:lnTo>
                  <a:lnTo>
                    <a:pt x="451" y="223"/>
                  </a:lnTo>
                  <a:lnTo>
                    <a:pt x="451" y="223"/>
                  </a:lnTo>
                  <a:lnTo>
                    <a:pt x="451" y="225"/>
                  </a:lnTo>
                  <a:lnTo>
                    <a:pt x="451" y="225"/>
                  </a:lnTo>
                  <a:lnTo>
                    <a:pt x="451" y="227"/>
                  </a:lnTo>
                  <a:lnTo>
                    <a:pt x="451" y="227"/>
                  </a:lnTo>
                  <a:close/>
                  <a:moveTo>
                    <a:pt x="685" y="218"/>
                  </a:moveTo>
                  <a:lnTo>
                    <a:pt x="685" y="218"/>
                  </a:lnTo>
                  <a:lnTo>
                    <a:pt x="687" y="218"/>
                  </a:lnTo>
                  <a:lnTo>
                    <a:pt x="687" y="218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5" y="221"/>
                  </a:lnTo>
                  <a:lnTo>
                    <a:pt x="685" y="221"/>
                  </a:lnTo>
                  <a:lnTo>
                    <a:pt x="685" y="221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lnTo>
                    <a:pt x="685" y="218"/>
                  </a:lnTo>
                  <a:close/>
                  <a:moveTo>
                    <a:pt x="444" y="236"/>
                  </a:moveTo>
                  <a:lnTo>
                    <a:pt x="444" y="236"/>
                  </a:lnTo>
                  <a:lnTo>
                    <a:pt x="444" y="239"/>
                  </a:lnTo>
                  <a:lnTo>
                    <a:pt x="444" y="239"/>
                  </a:lnTo>
                  <a:lnTo>
                    <a:pt x="444" y="236"/>
                  </a:lnTo>
                  <a:lnTo>
                    <a:pt x="444" y="236"/>
                  </a:lnTo>
                  <a:lnTo>
                    <a:pt x="444" y="236"/>
                  </a:lnTo>
                  <a:lnTo>
                    <a:pt x="444" y="236"/>
                  </a:lnTo>
                  <a:lnTo>
                    <a:pt x="444" y="236"/>
                  </a:lnTo>
                  <a:lnTo>
                    <a:pt x="444" y="236"/>
                  </a:lnTo>
                  <a:lnTo>
                    <a:pt x="444" y="236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4"/>
                  </a:lnTo>
                  <a:lnTo>
                    <a:pt x="444" y="232"/>
                  </a:lnTo>
                  <a:lnTo>
                    <a:pt x="444" y="232"/>
                  </a:lnTo>
                  <a:lnTo>
                    <a:pt x="444" y="232"/>
                  </a:lnTo>
                  <a:lnTo>
                    <a:pt x="444" y="230"/>
                  </a:lnTo>
                  <a:lnTo>
                    <a:pt x="444" y="230"/>
                  </a:lnTo>
                  <a:lnTo>
                    <a:pt x="442" y="230"/>
                  </a:lnTo>
                  <a:lnTo>
                    <a:pt x="442" y="227"/>
                  </a:lnTo>
                  <a:lnTo>
                    <a:pt x="442" y="227"/>
                  </a:lnTo>
                  <a:lnTo>
                    <a:pt x="444" y="225"/>
                  </a:lnTo>
                  <a:lnTo>
                    <a:pt x="444" y="225"/>
                  </a:lnTo>
                  <a:lnTo>
                    <a:pt x="444" y="223"/>
                  </a:lnTo>
                  <a:lnTo>
                    <a:pt x="444" y="223"/>
                  </a:lnTo>
                  <a:lnTo>
                    <a:pt x="447" y="221"/>
                  </a:lnTo>
                  <a:lnTo>
                    <a:pt x="447" y="221"/>
                  </a:lnTo>
                  <a:lnTo>
                    <a:pt x="447" y="221"/>
                  </a:lnTo>
                  <a:lnTo>
                    <a:pt x="447" y="221"/>
                  </a:lnTo>
                  <a:lnTo>
                    <a:pt x="447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18"/>
                  </a:lnTo>
                  <a:lnTo>
                    <a:pt x="449" y="221"/>
                  </a:lnTo>
                  <a:lnTo>
                    <a:pt x="449" y="223"/>
                  </a:lnTo>
                  <a:lnTo>
                    <a:pt x="449" y="223"/>
                  </a:lnTo>
                  <a:lnTo>
                    <a:pt x="449" y="223"/>
                  </a:lnTo>
                  <a:lnTo>
                    <a:pt x="449" y="223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5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27"/>
                  </a:lnTo>
                  <a:lnTo>
                    <a:pt x="449" y="230"/>
                  </a:lnTo>
                  <a:lnTo>
                    <a:pt x="449" y="230"/>
                  </a:lnTo>
                  <a:lnTo>
                    <a:pt x="449" y="230"/>
                  </a:lnTo>
                  <a:lnTo>
                    <a:pt x="449" y="230"/>
                  </a:lnTo>
                  <a:lnTo>
                    <a:pt x="449" y="230"/>
                  </a:lnTo>
                  <a:lnTo>
                    <a:pt x="449" y="230"/>
                  </a:lnTo>
                  <a:lnTo>
                    <a:pt x="449" y="232"/>
                  </a:lnTo>
                  <a:lnTo>
                    <a:pt x="449" y="232"/>
                  </a:lnTo>
                  <a:lnTo>
                    <a:pt x="449" y="232"/>
                  </a:lnTo>
                  <a:lnTo>
                    <a:pt x="449" y="232"/>
                  </a:lnTo>
                  <a:lnTo>
                    <a:pt x="449" y="232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9" y="234"/>
                  </a:lnTo>
                  <a:lnTo>
                    <a:pt x="447" y="234"/>
                  </a:lnTo>
                  <a:lnTo>
                    <a:pt x="447" y="234"/>
                  </a:lnTo>
                  <a:lnTo>
                    <a:pt x="447" y="234"/>
                  </a:lnTo>
                  <a:lnTo>
                    <a:pt x="447" y="234"/>
                  </a:lnTo>
                  <a:lnTo>
                    <a:pt x="447" y="234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7" y="236"/>
                  </a:lnTo>
                  <a:lnTo>
                    <a:pt x="444" y="236"/>
                  </a:lnTo>
                  <a:close/>
                  <a:moveTo>
                    <a:pt x="692" y="218"/>
                  </a:moveTo>
                  <a:lnTo>
                    <a:pt x="689" y="218"/>
                  </a:lnTo>
                  <a:lnTo>
                    <a:pt x="689" y="218"/>
                  </a:lnTo>
                  <a:lnTo>
                    <a:pt x="689" y="218"/>
                  </a:lnTo>
                  <a:lnTo>
                    <a:pt x="687" y="218"/>
                  </a:lnTo>
                  <a:lnTo>
                    <a:pt x="687" y="218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89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8"/>
                  </a:lnTo>
                  <a:lnTo>
                    <a:pt x="692" y="218"/>
                  </a:lnTo>
                  <a:lnTo>
                    <a:pt x="692" y="218"/>
                  </a:lnTo>
                  <a:close/>
                  <a:moveTo>
                    <a:pt x="119" y="216"/>
                  </a:move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lnTo>
                    <a:pt x="119" y="216"/>
                  </a:lnTo>
                  <a:close/>
                  <a:moveTo>
                    <a:pt x="671" y="214"/>
                  </a:moveTo>
                  <a:lnTo>
                    <a:pt x="671" y="216"/>
                  </a:lnTo>
                  <a:lnTo>
                    <a:pt x="674" y="216"/>
                  </a:lnTo>
                  <a:lnTo>
                    <a:pt x="674" y="216"/>
                  </a:lnTo>
                  <a:lnTo>
                    <a:pt x="674" y="216"/>
                  </a:lnTo>
                  <a:lnTo>
                    <a:pt x="674" y="216"/>
                  </a:lnTo>
                  <a:lnTo>
                    <a:pt x="674" y="216"/>
                  </a:lnTo>
                  <a:lnTo>
                    <a:pt x="676" y="216"/>
                  </a:lnTo>
                  <a:lnTo>
                    <a:pt x="676" y="216"/>
                  </a:lnTo>
                  <a:lnTo>
                    <a:pt x="676" y="216"/>
                  </a:lnTo>
                  <a:lnTo>
                    <a:pt x="676" y="216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18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6" y="221"/>
                  </a:lnTo>
                  <a:lnTo>
                    <a:pt x="678" y="221"/>
                  </a:lnTo>
                  <a:lnTo>
                    <a:pt x="678" y="221"/>
                  </a:lnTo>
                  <a:lnTo>
                    <a:pt x="678" y="221"/>
                  </a:lnTo>
                  <a:lnTo>
                    <a:pt x="678" y="221"/>
                  </a:lnTo>
                  <a:lnTo>
                    <a:pt x="680" y="221"/>
                  </a:lnTo>
                  <a:lnTo>
                    <a:pt x="680" y="221"/>
                  </a:lnTo>
                  <a:lnTo>
                    <a:pt x="680" y="221"/>
                  </a:lnTo>
                  <a:lnTo>
                    <a:pt x="680" y="223"/>
                  </a:lnTo>
                  <a:lnTo>
                    <a:pt x="680" y="223"/>
                  </a:lnTo>
                  <a:lnTo>
                    <a:pt x="678" y="223"/>
                  </a:lnTo>
                  <a:lnTo>
                    <a:pt x="678" y="227"/>
                  </a:lnTo>
                  <a:lnTo>
                    <a:pt x="678" y="227"/>
                  </a:lnTo>
                  <a:lnTo>
                    <a:pt x="678" y="227"/>
                  </a:lnTo>
                  <a:lnTo>
                    <a:pt x="678" y="227"/>
                  </a:lnTo>
                  <a:lnTo>
                    <a:pt x="678" y="227"/>
                  </a:lnTo>
                  <a:lnTo>
                    <a:pt x="676" y="227"/>
                  </a:lnTo>
                  <a:lnTo>
                    <a:pt x="676" y="227"/>
                  </a:lnTo>
                  <a:lnTo>
                    <a:pt x="674" y="230"/>
                  </a:lnTo>
                  <a:lnTo>
                    <a:pt x="674" y="230"/>
                  </a:lnTo>
                  <a:lnTo>
                    <a:pt x="674" y="230"/>
                  </a:lnTo>
                  <a:lnTo>
                    <a:pt x="674" y="230"/>
                  </a:lnTo>
                  <a:lnTo>
                    <a:pt x="674" y="230"/>
                  </a:lnTo>
                  <a:lnTo>
                    <a:pt x="671" y="232"/>
                  </a:lnTo>
                  <a:lnTo>
                    <a:pt x="669" y="232"/>
                  </a:lnTo>
                  <a:lnTo>
                    <a:pt x="669" y="232"/>
                  </a:lnTo>
                  <a:lnTo>
                    <a:pt x="669" y="232"/>
                  </a:lnTo>
                  <a:lnTo>
                    <a:pt x="667" y="232"/>
                  </a:lnTo>
                  <a:lnTo>
                    <a:pt x="667" y="232"/>
                  </a:lnTo>
                  <a:lnTo>
                    <a:pt x="667" y="232"/>
                  </a:lnTo>
                  <a:lnTo>
                    <a:pt x="667" y="232"/>
                  </a:lnTo>
                  <a:lnTo>
                    <a:pt x="667" y="232"/>
                  </a:lnTo>
                  <a:lnTo>
                    <a:pt x="662" y="230"/>
                  </a:lnTo>
                  <a:lnTo>
                    <a:pt x="662" y="230"/>
                  </a:lnTo>
                  <a:lnTo>
                    <a:pt x="662" y="230"/>
                  </a:lnTo>
                  <a:lnTo>
                    <a:pt x="660" y="230"/>
                  </a:lnTo>
                  <a:lnTo>
                    <a:pt x="660" y="230"/>
                  </a:lnTo>
                  <a:lnTo>
                    <a:pt x="660" y="227"/>
                  </a:lnTo>
                  <a:lnTo>
                    <a:pt x="658" y="227"/>
                  </a:lnTo>
                  <a:lnTo>
                    <a:pt x="658" y="227"/>
                  </a:lnTo>
                  <a:lnTo>
                    <a:pt x="658" y="227"/>
                  </a:lnTo>
                  <a:lnTo>
                    <a:pt x="658" y="227"/>
                  </a:lnTo>
                  <a:lnTo>
                    <a:pt x="658" y="227"/>
                  </a:lnTo>
                  <a:lnTo>
                    <a:pt x="656" y="225"/>
                  </a:lnTo>
                  <a:lnTo>
                    <a:pt x="656" y="225"/>
                  </a:lnTo>
                  <a:lnTo>
                    <a:pt x="656" y="223"/>
                  </a:lnTo>
                  <a:lnTo>
                    <a:pt x="656" y="223"/>
                  </a:lnTo>
                  <a:lnTo>
                    <a:pt x="653" y="223"/>
                  </a:lnTo>
                  <a:lnTo>
                    <a:pt x="653" y="223"/>
                  </a:lnTo>
                  <a:lnTo>
                    <a:pt x="653" y="223"/>
                  </a:lnTo>
                  <a:lnTo>
                    <a:pt x="653" y="223"/>
                  </a:lnTo>
                  <a:lnTo>
                    <a:pt x="653" y="223"/>
                  </a:lnTo>
                  <a:lnTo>
                    <a:pt x="653" y="221"/>
                  </a:lnTo>
                  <a:lnTo>
                    <a:pt x="653" y="218"/>
                  </a:lnTo>
                  <a:lnTo>
                    <a:pt x="653" y="216"/>
                  </a:lnTo>
                  <a:lnTo>
                    <a:pt x="653" y="216"/>
                  </a:lnTo>
                  <a:lnTo>
                    <a:pt x="656" y="216"/>
                  </a:lnTo>
                  <a:lnTo>
                    <a:pt x="656" y="214"/>
                  </a:lnTo>
                  <a:lnTo>
                    <a:pt x="656" y="214"/>
                  </a:lnTo>
                  <a:lnTo>
                    <a:pt x="656" y="214"/>
                  </a:lnTo>
                  <a:lnTo>
                    <a:pt x="656" y="216"/>
                  </a:lnTo>
                  <a:lnTo>
                    <a:pt x="656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60" y="214"/>
                  </a:lnTo>
                  <a:lnTo>
                    <a:pt x="662" y="214"/>
                  </a:lnTo>
                  <a:lnTo>
                    <a:pt x="669" y="214"/>
                  </a:lnTo>
                  <a:lnTo>
                    <a:pt x="671" y="214"/>
                  </a:lnTo>
                  <a:lnTo>
                    <a:pt x="671" y="214"/>
                  </a:lnTo>
                  <a:lnTo>
                    <a:pt x="671" y="214"/>
                  </a:lnTo>
                  <a:close/>
                  <a:moveTo>
                    <a:pt x="696" y="212"/>
                  </a:moveTo>
                  <a:lnTo>
                    <a:pt x="696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4"/>
                  </a:lnTo>
                  <a:lnTo>
                    <a:pt x="694" y="214"/>
                  </a:lnTo>
                  <a:lnTo>
                    <a:pt x="694" y="214"/>
                  </a:lnTo>
                  <a:lnTo>
                    <a:pt x="692" y="214"/>
                  </a:lnTo>
                  <a:lnTo>
                    <a:pt x="692" y="214"/>
                  </a:lnTo>
                  <a:lnTo>
                    <a:pt x="692" y="212"/>
                  </a:lnTo>
                  <a:lnTo>
                    <a:pt x="692" y="212"/>
                  </a:lnTo>
                  <a:lnTo>
                    <a:pt x="692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12"/>
                  </a:lnTo>
                  <a:lnTo>
                    <a:pt x="694" y="209"/>
                  </a:lnTo>
                  <a:lnTo>
                    <a:pt x="694" y="209"/>
                  </a:lnTo>
                  <a:lnTo>
                    <a:pt x="696" y="209"/>
                  </a:lnTo>
                  <a:lnTo>
                    <a:pt x="696" y="212"/>
                  </a:lnTo>
                  <a:lnTo>
                    <a:pt x="696" y="212"/>
                  </a:lnTo>
                  <a:lnTo>
                    <a:pt x="696" y="212"/>
                  </a:lnTo>
                  <a:lnTo>
                    <a:pt x="696" y="212"/>
                  </a:lnTo>
                  <a:close/>
                  <a:moveTo>
                    <a:pt x="251" y="214"/>
                  </a:moveTo>
                  <a:lnTo>
                    <a:pt x="251" y="214"/>
                  </a:lnTo>
                  <a:lnTo>
                    <a:pt x="251" y="214"/>
                  </a:lnTo>
                  <a:lnTo>
                    <a:pt x="251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09"/>
                  </a:lnTo>
                  <a:lnTo>
                    <a:pt x="249" y="209"/>
                  </a:lnTo>
                  <a:lnTo>
                    <a:pt x="251" y="209"/>
                  </a:lnTo>
                  <a:lnTo>
                    <a:pt x="251" y="209"/>
                  </a:lnTo>
                  <a:lnTo>
                    <a:pt x="251" y="209"/>
                  </a:lnTo>
                  <a:lnTo>
                    <a:pt x="251" y="209"/>
                  </a:lnTo>
                  <a:lnTo>
                    <a:pt x="251" y="209"/>
                  </a:lnTo>
                  <a:lnTo>
                    <a:pt x="253" y="212"/>
                  </a:lnTo>
                  <a:lnTo>
                    <a:pt x="253" y="212"/>
                  </a:lnTo>
                  <a:lnTo>
                    <a:pt x="251" y="212"/>
                  </a:lnTo>
                  <a:lnTo>
                    <a:pt x="251" y="212"/>
                  </a:lnTo>
                  <a:lnTo>
                    <a:pt x="251" y="214"/>
                  </a:lnTo>
                  <a:close/>
                  <a:moveTo>
                    <a:pt x="256" y="209"/>
                  </a:move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7"/>
                  </a:lnTo>
                  <a:lnTo>
                    <a:pt x="256" y="207"/>
                  </a:lnTo>
                  <a:lnTo>
                    <a:pt x="256" y="207"/>
                  </a:lnTo>
                  <a:lnTo>
                    <a:pt x="256" y="207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6" y="209"/>
                  </a:lnTo>
                  <a:lnTo>
                    <a:pt x="258" y="209"/>
                  </a:lnTo>
                  <a:lnTo>
                    <a:pt x="256" y="209"/>
                  </a:lnTo>
                  <a:lnTo>
                    <a:pt x="256" y="209"/>
                  </a:lnTo>
                  <a:close/>
                  <a:moveTo>
                    <a:pt x="265" y="209"/>
                  </a:moveTo>
                  <a:lnTo>
                    <a:pt x="265" y="209"/>
                  </a:lnTo>
                  <a:lnTo>
                    <a:pt x="265" y="209"/>
                  </a:lnTo>
                  <a:lnTo>
                    <a:pt x="265" y="209"/>
                  </a:lnTo>
                  <a:lnTo>
                    <a:pt x="262" y="212"/>
                  </a:lnTo>
                  <a:lnTo>
                    <a:pt x="262" y="212"/>
                  </a:lnTo>
                  <a:lnTo>
                    <a:pt x="262" y="212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2" y="209"/>
                  </a:lnTo>
                  <a:lnTo>
                    <a:pt x="265" y="207"/>
                  </a:lnTo>
                  <a:lnTo>
                    <a:pt x="265" y="207"/>
                  </a:lnTo>
                  <a:lnTo>
                    <a:pt x="265" y="209"/>
                  </a:lnTo>
                  <a:lnTo>
                    <a:pt x="265" y="209"/>
                  </a:lnTo>
                  <a:lnTo>
                    <a:pt x="265" y="209"/>
                  </a:lnTo>
                  <a:lnTo>
                    <a:pt x="265" y="209"/>
                  </a:lnTo>
                  <a:close/>
                  <a:moveTo>
                    <a:pt x="727" y="207"/>
                  </a:moveTo>
                  <a:lnTo>
                    <a:pt x="727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30" y="207"/>
                  </a:lnTo>
                  <a:lnTo>
                    <a:pt x="732" y="209"/>
                  </a:lnTo>
                  <a:lnTo>
                    <a:pt x="732" y="209"/>
                  </a:lnTo>
                  <a:lnTo>
                    <a:pt x="732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12"/>
                  </a:lnTo>
                  <a:lnTo>
                    <a:pt x="734" y="212"/>
                  </a:lnTo>
                  <a:lnTo>
                    <a:pt x="736" y="212"/>
                  </a:lnTo>
                  <a:lnTo>
                    <a:pt x="736" y="212"/>
                  </a:lnTo>
                  <a:lnTo>
                    <a:pt x="736" y="212"/>
                  </a:lnTo>
                  <a:lnTo>
                    <a:pt x="736" y="212"/>
                  </a:lnTo>
                  <a:lnTo>
                    <a:pt x="736" y="212"/>
                  </a:lnTo>
                  <a:lnTo>
                    <a:pt x="739" y="212"/>
                  </a:lnTo>
                  <a:lnTo>
                    <a:pt x="741" y="212"/>
                  </a:lnTo>
                  <a:lnTo>
                    <a:pt x="743" y="212"/>
                  </a:lnTo>
                  <a:lnTo>
                    <a:pt x="745" y="212"/>
                  </a:lnTo>
                  <a:lnTo>
                    <a:pt x="745" y="212"/>
                  </a:lnTo>
                  <a:lnTo>
                    <a:pt x="748" y="214"/>
                  </a:lnTo>
                  <a:lnTo>
                    <a:pt x="748" y="214"/>
                  </a:lnTo>
                  <a:lnTo>
                    <a:pt x="750" y="216"/>
                  </a:lnTo>
                  <a:lnTo>
                    <a:pt x="750" y="216"/>
                  </a:lnTo>
                  <a:lnTo>
                    <a:pt x="750" y="216"/>
                  </a:lnTo>
                  <a:lnTo>
                    <a:pt x="750" y="216"/>
                  </a:lnTo>
                  <a:lnTo>
                    <a:pt x="750" y="216"/>
                  </a:lnTo>
                  <a:lnTo>
                    <a:pt x="750" y="218"/>
                  </a:lnTo>
                  <a:lnTo>
                    <a:pt x="750" y="218"/>
                  </a:lnTo>
                  <a:lnTo>
                    <a:pt x="750" y="221"/>
                  </a:lnTo>
                  <a:lnTo>
                    <a:pt x="750" y="221"/>
                  </a:lnTo>
                  <a:lnTo>
                    <a:pt x="750" y="221"/>
                  </a:lnTo>
                  <a:lnTo>
                    <a:pt x="750" y="221"/>
                  </a:lnTo>
                  <a:lnTo>
                    <a:pt x="752" y="223"/>
                  </a:lnTo>
                  <a:lnTo>
                    <a:pt x="752" y="223"/>
                  </a:lnTo>
                  <a:lnTo>
                    <a:pt x="752" y="223"/>
                  </a:lnTo>
                  <a:lnTo>
                    <a:pt x="752" y="223"/>
                  </a:lnTo>
                  <a:lnTo>
                    <a:pt x="754" y="223"/>
                  </a:lnTo>
                  <a:lnTo>
                    <a:pt x="754" y="223"/>
                  </a:lnTo>
                  <a:lnTo>
                    <a:pt x="754" y="223"/>
                  </a:lnTo>
                  <a:lnTo>
                    <a:pt x="754" y="223"/>
                  </a:lnTo>
                  <a:lnTo>
                    <a:pt x="754" y="223"/>
                  </a:lnTo>
                  <a:lnTo>
                    <a:pt x="754" y="225"/>
                  </a:lnTo>
                  <a:lnTo>
                    <a:pt x="754" y="225"/>
                  </a:lnTo>
                  <a:lnTo>
                    <a:pt x="754" y="225"/>
                  </a:lnTo>
                  <a:lnTo>
                    <a:pt x="754" y="225"/>
                  </a:lnTo>
                  <a:lnTo>
                    <a:pt x="754" y="227"/>
                  </a:lnTo>
                  <a:lnTo>
                    <a:pt x="754" y="227"/>
                  </a:lnTo>
                  <a:lnTo>
                    <a:pt x="754" y="227"/>
                  </a:lnTo>
                  <a:lnTo>
                    <a:pt x="754" y="227"/>
                  </a:lnTo>
                  <a:lnTo>
                    <a:pt x="754" y="227"/>
                  </a:lnTo>
                  <a:lnTo>
                    <a:pt x="754" y="227"/>
                  </a:lnTo>
                  <a:lnTo>
                    <a:pt x="754" y="227"/>
                  </a:lnTo>
                  <a:lnTo>
                    <a:pt x="754" y="230"/>
                  </a:lnTo>
                  <a:lnTo>
                    <a:pt x="754" y="230"/>
                  </a:lnTo>
                  <a:lnTo>
                    <a:pt x="754" y="232"/>
                  </a:lnTo>
                  <a:lnTo>
                    <a:pt x="754" y="232"/>
                  </a:lnTo>
                  <a:lnTo>
                    <a:pt x="754" y="232"/>
                  </a:lnTo>
                  <a:lnTo>
                    <a:pt x="754" y="232"/>
                  </a:lnTo>
                  <a:lnTo>
                    <a:pt x="754" y="234"/>
                  </a:lnTo>
                  <a:lnTo>
                    <a:pt x="754" y="232"/>
                  </a:lnTo>
                  <a:lnTo>
                    <a:pt x="752" y="232"/>
                  </a:lnTo>
                  <a:lnTo>
                    <a:pt x="752" y="232"/>
                  </a:lnTo>
                  <a:lnTo>
                    <a:pt x="752" y="232"/>
                  </a:lnTo>
                  <a:lnTo>
                    <a:pt x="750" y="232"/>
                  </a:lnTo>
                  <a:lnTo>
                    <a:pt x="750" y="232"/>
                  </a:lnTo>
                  <a:lnTo>
                    <a:pt x="750" y="232"/>
                  </a:lnTo>
                  <a:lnTo>
                    <a:pt x="748" y="230"/>
                  </a:lnTo>
                  <a:lnTo>
                    <a:pt x="748" y="230"/>
                  </a:lnTo>
                  <a:lnTo>
                    <a:pt x="748" y="230"/>
                  </a:lnTo>
                  <a:lnTo>
                    <a:pt x="748" y="230"/>
                  </a:lnTo>
                  <a:lnTo>
                    <a:pt x="748" y="230"/>
                  </a:lnTo>
                  <a:lnTo>
                    <a:pt x="748" y="230"/>
                  </a:lnTo>
                  <a:lnTo>
                    <a:pt x="748" y="230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5" y="227"/>
                  </a:lnTo>
                  <a:lnTo>
                    <a:pt x="743" y="227"/>
                  </a:lnTo>
                  <a:lnTo>
                    <a:pt x="739" y="225"/>
                  </a:lnTo>
                  <a:lnTo>
                    <a:pt x="739" y="225"/>
                  </a:lnTo>
                  <a:lnTo>
                    <a:pt x="739" y="225"/>
                  </a:lnTo>
                  <a:lnTo>
                    <a:pt x="739" y="225"/>
                  </a:lnTo>
                  <a:lnTo>
                    <a:pt x="739" y="223"/>
                  </a:lnTo>
                  <a:lnTo>
                    <a:pt x="736" y="223"/>
                  </a:lnTo>
                  <a:lnTo>
                    <a:pt x="736" y="223"/>
                  </a:lnTo>
                  <a:lnTo>
                    <a:pt x="736" y="223"/>
                  </a:lnTo>
                  <a:lnTo>
                    <a:pt x="736" y="223"/>
                  </a:lnTo>
                  <a:lnTo>
                    <a:pt x="736" y="223"/>
                  </a:lnTo>
                  <a:lnTo>
                    <a:pt x="736" y="223"/>
                  </a:lnTo>
                  <a:lnTo>
                    <a:pt x="736" y="221"/>
                  </a:lnTo>
                  <a:lnTo>
                    <a:pt x="736" y="221"/>
                  </a:lnTo>
                  <a:lnTo>
                    <a:pt x="736" y="221"/>
                  </a:lnTo>
                  <a:lnTo>
                    <a:pt x="734" y="221"/>
                  </a:lnTo>
                  <a:lnTo>
                    <a:pt x="727" y="218"/>
                  </a:lnTo>
                  <a:lnTo>
                    <a:pt x="727" y="221"/>
                  </a:lnTo>
                  <a:lnTo>
                    <a:pt x="727" y="221"/>
                  </a:lnTo>
                  <a:lnTo>
                    <a:pt x="727" y="223"/>
                  </a:lnTo>
                  <a:lnTo>
                    <a:pt x="727" y="223"/>
                  </a:lnTo>
                  <a:lnTo>
                    <a:pt x="727" y="223"/>
                  </a:lnTo>
                  <a:lnTo>
                    <a:pt x="725" y="223"/>
                  </a:lnTo>
                  <a:lnTo>
                    <a:pt x="725" y="223"/>
                  </a:lnTo>
                  <a:lnTo>
                    <a:pt x="723" y="223"/>
                  </a:lnTo>
                  <a:lnTo>
                    <a:pt x="721" y="223"/>
                  </a:lnTo>
                  <a:lnTo>
                    <a:pt x="721" y="221"/>
                  </a:lnTo>
                  <a:lnTo>
                    <a:pt x="719" y="221"/>
                  </a:lnTo>
                  <a:lnTo>
                    <a:pt x="719" y="221"/>
                  </a:lnTo>
                  <a:lnTo>
                    <a:pt x="719" y="221"/>
                  </a:lnTo>
                  <a:lnTo>
                    <a:pt x="716" y="221"/>
                  </a:lnTo>
                  <a:lnTo>
                    <a:pt x="716" y="221"/>
                  </a:lnTo>
                  <a:lnTo>
                    <a:pt x="714" y="221"/>
                  </a:lnTo>
                  <a:lnTo>
                    <a:pt x="714" y="221"/>
                  </a:lnTo>
                  <a:lnTo>
                    <a:pt x="714" y="218"/>
                  </a:lnTo>
                  <a:lnTo>
                    <a:pt x="716" y="218"/>
                  </a:lnTo>
                  <a:lnTo>
                    <a:pt x="716" y="218"/>
                  </a:lnTo>
                  <a:lnTo>
                    <a:pt x="716" y="218"/>
                  </a:lnTo>
                  <a:lnTo>
                    <a:pt x="714" y="218"/>
                  </a:lnTo>
                  <a:lnTo>
                    <a:pt x="714" y="218"/>
                  </a:lnTo>
                  <a:lnTo>
                    <a:pt x="714" y="216"/>
                  </a:lnTo>
                  <a:lnTo>
                    <a:pt x="714" y="216"/>
                  </a:lnTo>
                  <a:lnTo>
                    <a:pt x="714" y="218"/>
                  </a:lnTo>
                  <a:lnTo>
                    <a:pt x="714" y="218"/>
                  </a:lnTo>
                  <a:lnTo>
                    <a:pt x="714" y="218"/>
                  </a:lnTo>
                  <a:lnTo>
                    <a:pt x="712" y="218"/>
                  </a:lnTo>
                  <a:lnTo>
                    <a:pt x="712" y="218"/>
                  </a:lnTo>
                  <a:lnTo>
                    <a:pt x="712" y="218"/>
                  </a:lnTo>
                  <a:lnTo>
                    <a:pt x="710" y="221"/>
                  </a:lnTo>
                  <a:lnTo>
                    <a:pt x="710" y="221"/>
                  </a:lnTo>
                  <a:lnTo>
                    <a:pt x="710" y="221"/>
                  </a:lnTo>
                  <a:lnTo>
                    <a:pt x="710" y="221"/>
                  </a:lnTo>
                  <a:lnTo>
                    <a:pt x="710" y="221"/>
                  </a:lnTo>
                  <a:lnTo>
                    <a:pt x="710" y="221"/>
                  </a:lnTo>
                  <a:lnTo>
                    <a:pt x="710" y="221"/>
                  </a:lnTo>
                  <a:lnTo>
                    <a:pt x="710" y="223"/>
                  </a:lnTo>
                  <a:lnTo>
                    <a:pt x="710" y="223"/>
                  </a:lnTo>
                  <a:lnTo>
                    <a:pt x="710" y="223"/>
                  </a:lnTo>
                  <a:lnTo>
                    <a:pt x="710" y="223"/>
                  </a:lnTo>
                  <a:lnTo>
                    <a:pt x="710" y="223"/>
                  </a:lnTo>
                  <a:lnTo>
                    <a:pt x="707" y="223"/>
                  </a:lnTo>
                  <a:lnTo>
                    <a:pt x="707" y="223"/>
                  </a:lnTo>
                  <a:lnTo>
                    <a:pt x="705" y="223"/>
                  </a:lnTo>
                  <a:lnTo>
                    <a:pt x="705" y="223"/>
                  </a:lnTo>
                  <a:lnTo>
                    <a:pt x="705" y="223"/>
                  </a:lnTo>
                  <a:lnTo>
                    <a:pt x="705" y="223"/>
                  </a:lnTo>
                  <a:lnTo>
                    <a:pt x="703" y="223"/>
                  </a:lnTo>
                  <a:lnTo>
                    <a:pt x="703" y="223"/>
                  </a:lnTo>
                  <a:lnTo>
                    <a:pt x="701" y="218"/>
                  </a:lnTo>
                  <a:lnTo>
                    <a:pt x="701" y="218"/>
                  </a:lnTo>
                  <a:lnTo>
                    <a:pt x="701" y="218"/>
                  </a:lnTo>
                  <a:lnTo>
                    <a:pt x="701" y="216"/>
                  </a:lnTo>
                  <a:lnTo>
                    <a:pt x="698" y="216"/>
                  </a:lnTo>
                  <a:lnTo>
                    <a:pt x="698" y="216"/>
                  </a:lnTo>
                  <a:lnTo>
                    <a:pt x="698" y="216"/>
                  </a:lnTo>
                  <a:lnTo>
                    <a:pt x="698" y="216"/>
                  </a:lnTo>
                  <a:lnTo>
                    <a:pt x="698" y="216"/>
                  </a:lnTo>
                  <a:lnTo>
                    <a:pt x="701" y="214"/>
                  </a:lnTo>
                  <a:lnTo>
                    <a:pt x="701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698" y="216"/>
                  </a:lnTo>
                  <a:lnTo>
                    <a:pt x="696" y="216"/>
                  </a:lnTo>
                  <a:lnTo>
                    <a:pt x="696" y="216"/>
                  </a:lnTo>
                  <a:lnTo>
                    <a:pt x="696" y="218"/>
                  </a:lnTo>
                  <a:lnTo>
                    <a:pt x="696" y="221"/>
                  </a:lnTo>
                  <a:lnTo>
                    <a:pt x="696" y="221"/>
                  </a:lnTo>
                  <a:lnTo>
                    <a:pt x="696" y="221"/>
                  </a:lnTo>
                  <a:lnTo>
                    <a:pt x="696" y="221"/>
                  </a:lnTo>
                  <a:lnTo>
                    <a:pt x="696" y="221"/>
                  </a:lnTo>
                  <a:lnTo>
                    <a:pt x="696" y="221"/>
                  </a:lnTo>
                  <a:lnTo>
                    <a:pt x="694" y="221"/>
                  </a:lnTo>
                  <a:lnTo>
                    <a:pt x="694" y="221"/>
                  </a:lnTo>
                  <a:lnTo>
                    <a:pt x="694" y="223"/>
                  </a:lnTo>
                  <a:lnTo>
                    <a:pt x="694" y="223"/>
                  </a:lnTo>
                  <a:lnTo>
                    <a:pt x="694" y="223"/>
                  </a:lnTo>
                  <a:lnTo>
                    <a:pt x="694" y="223"/>
                  </a:lnTo>
                  <a:lnTo>
                    <a:pt x="694" y="225"/>
                  </a:lnTo>
                  <a:lnTo>
                    <a:pt x="694" y="225"/>
                  </a:lnTo>
                  <a:lnTo>
                    <a:pt x="694" y="225"/>
                  </a:lnTo>
                  <a:lnTo>
                    <a:pt x="694" y="225"/>
                  </a:lnTo>
                  <a:lnTo>
                    <a:pt x="694" y="225"/>
                  </a:lnTo>
                  <a:lnTo>
                    <a:pt x="694" y="225"/>
                  </a:lnTo>
                  <a:lnTo>
                    <a:pt x="694" y="225"/>
                  </a:lnTo>
                  <a:lnTo>
                    <a:pt x="694" y="223"/>
                  </a:lnTo>
                  <a:lnTo>
                    <a:pt x="694" y="221"/>
                  </a:lnTo>
                  <a:lnTo>
                    <a:pt x="694" y="221"/>
                  </a:lnTo>
                  <a:lnTo>
                    <a:pt x="694" y="221"/>
                  </a:lnTo>
                  <a:lnTo>
                    <a:pt x="694" y="221"/>
                  </a:lnTo>
                  <a:lnTo>
                    <a:pt x="694" y="221"/>
                  </a:lnTo>
                  <a:lnTo>
                    <a:pt x="694" y="218"/>
                  </a:lnTo>
                  <a:lnTo>
                    <a:pt x="694" y="218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2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6"/>
                  </a:lnTo>
                  <a:lnTo>
                    <a:pt x="694" y="214"/>
                  </a:lnTo>
                  <a:lnTo>
                    <a:pt x="694" y="214"/>
                  </a:lnTo>
                  <a:lnTo>
                    <a:pt x="696" y="214"/>
                  </a:lnTo>
                  <a:lnTo>
                    <a:pt x="696" y="214"/>
                  </a:lnTo>
                  <a:lnTo>
                    <a:pt x="696" y="214"/>
                  </a:lnTo>
                  <a:lnTo>
                    <a:pt x="696" y="214"/>
                  </a:lnTo>
                  <a:lnTo>
                    <a:pt x="696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698" y="214"/>
                  </a:lnTo>
                  <a:lnTo>
                    <a:pt x="698" y="212"/>
                  </a:lnTo>
                  <a:lnTo>
                    <a:pt x="698" y="212"/>
                  </a:lnTo>
                  <a:lnTo>
                    <a:pt x="698" y="212"/>
                  </a:lnTo>
                  <a:lnTo>
                    <a:pt x="698" y="212"/>
                  </a:lnTo>
                  <a:lnTo>
                    <a:pt x="698" y="212"/>
                  </a:lnTo>
                  <a:lnTo>
                    <a:pt x="696" y="212"/>
                  </a:lnTo>
                  <a:lnTo>
                    <a:pt x="696" y="212"/>
                  </a:lnTo>
                  <a:lnTo>
                    <a:pt x="698" y="212"/>
                  </a:lnTo>
                  <a:lnTo>
                    <a:pt x="698" y="212"/>
                  </a:lnTo>
                  <a:lnTo>
                    <a:pt x="698" y="212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698" y="209"/>
                  </a:lnTo>
                  <a:lnTo>
                    <a:pt x="701" y="209"/>
                  </a:lnTo>
                  <a:lnTo>
                    <a:pt x="701" y="209"/>
                  </a:lnTo>
                  <a:lnTo>
                    <a:pt x="703" y="209"/>
                  </a:lnTo>
                  <a:lnTo>
                    <a:pt x="705" y="209"/>
                  </a:lnTo>
                  <a:lnTo>
                    <a:pt x="705" y="209"/>
                  </a:lnTo>
                  <a:lnTo>
                    <a:pt x="705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07" y="209"/>
                  </a:lnTo>
                  <a:lnTo>
                    <a:pt x="712" y="209"/>
                  </a:lnTo>
                  <a:lnTo>
                    <a:pt x="714" y="209"/>
                  </a:lnTo>
                  <a:lnTo>
                    <a:pt x="714" y="209"/>
                  </a:lnTo>
                  <a:lnTo>
                    <a:pt x="714" y="209"/>
                  </a:lnTo>
                  <a:lnTo>
                    <a:pt x="716" y="209"/>
                  </a:lnTo>
                  <a:lnTo>
                    <a:pt x="716" y="207"/>
                  </a:lnTo>
                  <a:lnTo>
                    <a:pt x="719" y="207"/>
                  </a:lnTo>
                  <a:lnTo>
                    <a:pt x="719" y="207"/>
                  </a:lnTo>
                  <a:lnTo>
                    <a:pt x="719" y="209"/>
                  </a:lnTo>
                  <a:lnTo>
                    <a:pt x="719" y="209"/>
                  </a:lnTo>
                  <a:lnTo>
                    <a:pt x="719" y="209"/>
                  </a:lnTo>
                  <a:lnTo>
                    <a:pt x="719" y="212"/>
                  </a:lnTo>
                  <a:lnTo>
                    <a:pt x="719" y="212"/>
                  </a:lnTo>
                  <a:lnTo>
                    <a:pt x="719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09"/>
                  </a:lnTo>
                  <a:lnTo>
                    <a:pt x="721" y="209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12"/>
                  </a:lnTo>
                  <a:lnTo>
                    <a:pt x="721" y="209"/>
                  </a:lnTo>
                  <a:lnTo>
                    <a:pt x="721" y="209"/>
                  </a:lnTo>
                  <a:lnTo>
                    <a:pt x="723" y="209"/>
                  </a:lnTo>
                  <a:lnTo>
                    <a:pt x="723" y="209"/>
                  </a:lnTo>
                  <a:lnTo>
                    <a:pt x="725" y="209"/>
                  </a:lnTo>
                  <a:lnTo>
                    <a:pt x="725" y="209"/>
                  </a:lnTo>
                  <a:lnTo>
                    <a:pt x="725" y="207"/>
                  </a:lnTo>
                  <a:lnTo>
                    <a:pt x="725" y="207"/>
                  </a:lnTo>
                  <a:lnTo>
                    <a:pt x="725" y="207"/>
                  </a:lnTo>
                  <a:lnTo>
                    <a:pt x="725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27" y="207"/>
                  </a:lnTo>
                  <a:lnTo>
                    <a:pt x="727" y="207"/>
                  </a:lnTo>
                  <a:close/>
                  <a:moveTo>
                    <a:pt x="116" y="214"/>
                  </a:moveTo>
                  <a:lnTo>
                    <a:pt x="116" y="214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6"/>
                  </a:lnTo>
                  <a:lnTo>
                    <a:pt x="116" y="218"/>
                  </a:lnTo>
                  <a:lnTo>
                    <a:pt x="116" y="218"/>
                  </a:lnTo>
                  <a:lnTo>
                    <a:pt x="116" y="218"/>
                  </a:lnTo>
                  <a:lnTo>
                    <a:pt x="116" y="221"/>
                  </a:lnTo>
                  <a:lnTo>
                    <a:pt x="116" y="221"/>
                  </a:lnTo>
                  <a:lnTo>
                    <a:pt x="116" y="221"/>
                  </a:lnTo>
                  <a:lnTo>
                    <a:pt x="116" y="221"/>
                  </a:lnTo>
                  <a:lnTo>
                    <a:pt x="116" y="218"/>
                  </a:lnTo>
                  <a:lnTo>
                    <a:pt x="116" y="218"/>
                  </a:lnTo>
                  <a:lnTo>
                    <a:pt x="116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8"/>
                  </a:lnTo>
                  <a:lnTo>
                    <a:pt x="114" y="218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6"/>
                  </a:lnTo>
                  <a:lnTo>
                    <a:pt x="114" y="214"/>
                  </a:lnTo>
                  <a:lnTo>
                    <a:pt x="114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12"/>
                  </a:lnTo>
                  <a:lnTo>
                    <a:pt x="112" y="209"/>
                  </a:lnTo>
                  <a:lnTo>
                    <a:pt x="112" y="209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4" y="207"/>
                  </a:lnTo>
                  <a:lnTo>
                    <a:pt x="114" y="207"/>
                  </a:lnTo>
                  <a:lnTo>
                    <a:pt x="114" y="207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4" y="209"/>
                  </a:lnTo>
                  <a:lnTo>
                    <a:pt x="116" y="20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4"/>
                  </a:lnTo>
                  <a:lnTo>
                    <a:pt x="116" y="214"/>
                  </a:lnTo>
                  <a:lnTo>
                    <a:pt x="116" y="214"/>
                  </a:lnTo>
                  <a:close/>
                  <a:moveTo>
                    <a:pt x="772" y="205"/>
                  </a:moveTo>
                  <a:lnTo>
                    <a:pt x="770" y="205"/>
                  </a:lnTo>
                  <a:lnTo>
                    <a:pt x="770" y="205"/>
                  </a:lnTo>
                  <a:lnTo>
                    <a:pt x="770" y="205"/>
                  </a:lnTo>
                  <a:lnTo>
                    <a:pt x="772" y="203"/>
                  </a:lnTo>
                  <a:lnTo>
                    <a:pt x="772" y="203"/>
                  </a:lnTo>
                  <a:lnTo>
                    <a:pt x="772" y="203"/>
                  </a:lnTo>
                  <a:lnTo>
                    <a:pt x="772" y="203"/>
                  </a:lnTo>
                  <a:lnTo>
                    <a:pt x="772" y="203"/>
                  </a:lnTo>
                  <a:lnTo>
                    <a:pt x="772" y="205"/>
                  </a:lnTo>
                  <a:lnTo>
                    <a:pt x="772" y="205"/>
                  </a:lnTo>
                  <a:close/>
                  <a:moveTo>
                    <a:pt x="274" y="203"/>
                  </a:moveTo>
                  <a:lnTo>
                    <a:pt x="274" y="203"/>
                  </a:lnTo>
                  <a:lnTo>
                    <a:pt x="274" y="203"/>
                  </a:lnTo>
                  <a:lnTo>
                    <a:pt x="274" y="203"/>
                  </a:lnTo>
                  <a:lnTo>
                    <a:pt x="276" y="203"/>
                  </a:lnTo>
                  <a:lnTo>
                    <a:pt x="276" y="203"/>
                  </a:lnTo>
                  <a:lnTo>
                    <a:pt x="276" y="203"/>
                  </a:lnTo>
                  <a:lnTo>
                    <a:pt x="276" y="205"/>
                  </a:lnTo>
                  <a:lnTo>
                    <a:pt x="276" y="205"/>
                  </a:lnTo>
                  <a:lnTo>
                    <a:pt x="276" y="203"/>
                  </a:lnTo>
                  <a:lnTo>
                    <a:pt x="276" y="203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3"/>
                  </a:lnTo>
                  <a:lnTo>
                    <a:pt x="278" y="205"/>
                  </a:lnTo>
                  <a:lnTo>
                    <a:pt x="278" y="205"/>
                  </a:lnTo>
                  <a:lnTo>
                    <a:pt x="278" y="205"/>
                  </a:lnTo>
                  <a:lnTo>
                    <a:pt x="280" y="205"/>
                  </a:lnTo>
                  <a:lnTo>
                    <a:pt x="280" y="205"/>
                  </a:lnTo>
                  <a:lnTo>
                    <a:pt x="280" y="207"/>
                  </a:lnTo>
                  <a:lnTo>
                    <a:pt x="280" y="207"/>
                  </a:lnTo>
                  <a:lnTo>
                    <a:pt x="283" y="207"/>
                  </a:lnTo>
                  <a:lnTo>
                    <a:pt x="283" y="209"/>
                  </a:lnTo>
                  <a:lnTo>
                    <a:pt x="283" y="209"/>
                  </a:lnTo>
                  <a:lnTo>
                    <a:pt x="280" y="209"/>
                  </a:lnTo>
                  <a:lnTo>
                    <a:pt x="280" y="209"/>
                  </a:lnTo>
                  <a:lnTo>
                    <a:pt x="280" y="209"/>
                  </a:lnTo>
                  <a:lnTo>
                    <a:pt x="280" y="212"/>
                  </a:lnTo>
                  <a:lnTo>
                    <a:pt x="280" y="212"/>
                  </a:lnTo>
                  <a:lnTo>
                    <a:pt x="280" y="212"/>
                  </a:lnTo>
                  <a:lnTo>
                    <a:pt x="280" y="212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80" y="214"/>
                  </a:lnTo>
                  <a:lnTo>
                    <a:pt x="278" y="214"/>
                  </a:lnTo>
                  <a:lnTo>
                    <a:pt x="280" y="214"/>
                  </a:lnTo>
                  <a:lnTo>
                    <a:pt x="280" y="216"/>
                  </a:lnTo>
                  <a:lnTo>
                    <a:pt x="280" y="216"/>
                  </a:lnTo>
                  <a:lnTo>
                    <a:pt x="280" y="216"/>
                  </a:lnTo>
                  <a:lnTo>
                    <a:pt x="278" y="216"/>
                  </a:lnTo>
                  <a:lnTo>
                    <a:pt x="278" y="216"/>
                  </a:lnTo>
                  <a:lnTo>
                    <a:pt x="278" y="216"/>
                  </a:lnTo>
                  <a:lnTo>
                    <a:pt x="278" y="216"/>
                  </a:lnTo>
                  <a:lnTo>
                    <a:pt x="276" y="216"/>
                  </a:lnTo>
                  <a:lnTo>
                    <a:pt x="276" y="216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76" y="218"/>
                  </a:lnTo>
                  <a:lnTo>
                    <a:pt x="274" y="218"/>
                  </a:lnTo>
                  <a:lnTo>
                    <a:pt x="274" y="216"/>
                  </a:lnTo>
                  <a:lnTo>
                    <a:pt x="274" y="216"/>
                  </a:lnTo>
                  <a:lnTo>
                    <a:pt x="274" y="216"/>
                  </a:lnTo>
                  <a:lnTo>
                    <a:pt x="274" y="214"/>
                  </a:lnTo>
                  <a:lnTo>
                    <a:pt x="274" y="214"/>
                  </a:lnTo>
                  <a:lnTo>
                    <a:pt x="274" y="214"/>
                  </a:lnTo>
                  <a:lnTo>
                    <a:pt x="274" y="214"/>
                  </a:lnTo>
                  <a:lnTo>
                    <a:pt x="274" y="214"/>
                  </a:lnTo>
                  <a:lnTo>
                    <a:pt x="274" y="214"/>
                  </a:lnTo>
                  <a:lnTo>
                    <a:pt x="274" y="214"/>
                  </a:lnTo>
                  <a:lnTo>
                    <a:pt x="271" y="214"/>
                  </a:lnTo>
                  <a:lnTo>
                    <a:pt x="271" y="214"/>
                  </a:lnTo>
                  <a:lnTo>
                    <a:pt x="271" y="214"/>
                  </a:lnTo>
                  <a:lnTo>
                    <a:pt x="271" y="214"/>
                  </a:lnTo>
                  <a:lnTo>
                    <a:pt x="271" y="214"/>
                  </a:lnTo>
                  <a:lnTo>
                    <a:pt x="271" y="216"/>
                  </a:lnTo>
                  <a:lnTo>
                    <a:pt x="271" y="216"/>
                  </a:lnTo>
                  <a:lnTo>
                    <a:pt x="267" y="218"/>
                  </a:lnTo>
                  <a:lnTo>
                    <a:pt x="267" y="218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7" y="216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4"/>
                  </a:lnTo>
                  <a:lnTo>
                    <a:pt x="267" y="212"/>
                  </a:lnTo>
                  <a:lnTo>
                    <a:pt x="267" y="212"/>
                  </a:lnTo>
                  <a:lnTo>
                    <a:pt x="267" y="212"/>
                  </a:lnTo>
                  <a:lnTo>
                    <a:pt x="267" y="212"/>
                  </a:lnTo>
                  <a:lnTo>
                    <a:pt x="267" y="212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12"/>
                  </a:lnTo>
                  <a:lnTo>
                    <a:pt x="267" y="212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5"/>
                  </a:lnTo>
                  <a:lnTo>
                    <a:pt x="269" y="203"/>
                  </a:lnTo>
                  <a:lnTo>
                    <a:pt x="269" y="203"/>
                  </a:lnTo>
                  <a:lnTo>
                    <a:pt x="269" y="203"/>
                  </a:lnTo>
                  <a:lnTo>
                    <a:pt x="269" y="203"/>
                  </a:lnTo>
                  <a:lnTo>
                    <a:pt x="271" y="203"/>
                  </a:lnTo>
                  <a:lnTo>
                    <a:pt x="271" y="203"/>
                  </a:lnTo>
                  <a:lnTo>
                    <a:pt x="271" y="203"/>
                  </a:lnTo>
                  <a:lnTo>
                    <a:pt x="271" y="200"/>
                  </a:lnTo>
                  <a:lnTo>
                    <a:pt x="271" y="200"/>
                  </a:lnTo>
                  <a:lnTo>
                    <a:pt x="274" y="203"/>
                  </a:lnTo>
                  <a:close/>
                  <a:moveTo>
                    <a:pt x="112" y="207"/>
                  </a:moveTo>
                  <a:lnTo>
                    <a:pt x="112" y="207"/>
                  </a:lnTo>
                  <a:lnTo>
                    <a:pt x="112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10" y="207"/>
                  </a:lnTo>
                  <a:lnTo>
                    <a:pt x="107" y="207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09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7" y="205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3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07" y="200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10" y="203"/>
                  </a:lnTo>
                  <a:lnTo>
                    <a:pt x="112" y="203"/>
                  </a:lnTo>
                  <a:lnTo>
                    <a:pt x="112" y="203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5"/>
                  </a:lnTo>
                  <a:lnTo>
                    <a:pt x="112" y="207"/>
                  </a:lnTo>
                  <a:lnTo>
                    <a:pt x="112" y="207"/>
                  </a:lnTo>
                  <a:lnTo>
                    <a:pt x="112" y="207"/>
                  </a:lnTo>
                  <a:close/>
                  <a:moveTo>
                    <a:pt x="813" y="198"/>
                  </a:moveTo>
                  <a:lnTo>
                    <a:pt x="813" y="198"/>
                  </a:lnTo>
                  <a:lnTo>
                    <a:pt x="813" y="198"/>
                  </a:lnTo>
                  <a:lnTo>
                    <a:pt x="813" y="198"/>
                  </a:lnTo>
                  <a:lnTo>
                    <a:pt x="813" y="198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1" y="200"/>
                  </a:lnTo>
                  <a:lnTo>
                    <a:pt x="811" y="198"/>
                  </a:lnTo>
                  <a:lnTo>
                    <a:pt x="811" y="198"/>
                  </a:lnTo>
                  <a:lnTo>
                    <a:pt x="811" y="198"/>
                  </a:lnTo>
                  <a:lnTo>
                    <a:pt x="813" y="198"/>
                  </a:lnTo>
                  <a:close/>
                  <a:moveTo>
                    <a:pt x="833" y="198"/>
                  </a:moveTo>
                  <a:lnTo>
                    <a:pt x="833" y="198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3" y="196"/>
                  </a:lnTo>
                  <a:lnTo>
                    <a:pt x="833" y="196"/>
                  </a:lnTo>
                  <a:lnTo>
                    <a:pt x="833" y="196"/>
                  </a:lnTo>
                  <a:lnTo>
                    <a:pt x="835" y="196"/>
                  </a:lnTo>
                  <a:lnTo>
                    <a:pt x="835" y="196"/>
                  </a:lnTo>
                  <a:lnTo>
                    <a:pt x="835" y="196"/>
                  </a:lnTo>
                  <a:lnTo>
                    <a:pt x="835" y="196"/>
                  </a:lnTo>
                  <a:lnTo>
                    <a:pt x="835" y="196"/>
                  </a:lnTo>
                  <a:lnTo>
                    <a:pt x="835" y="196"/>
                  </a:lnTo>
                  <a:lnTo>
                    <a:pt x="835" y="196"/>
                  </a:lnTo>
                  <a:lnTo>
                    <a:pt x="835" y="198"/>
                  </a:lnTo>
                  <a:lnTo>
                    <a:pt x="835" y="198"/>
                  </a:lnTo>
                  <a:lnTo>
                    <a:pt x="835" y="198"/>
                  </a:lnTo>
                  <a:lnTo>
                    <a:pt x="833" y="198"/>
                  </a:lnTo>
                  <a:close/>
                  <a:moveTo>
                    <a:pt x="101" y="191"/>
                  </a:moveTo>
                  <a:lnTo>
                    <a:pt x="103" y="191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8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3" y="196"/>
                  </a:lnTo>
                  <a:lnTo>
                    <a:pt x="101" y="196"/>
                  </a:lnTo>
                  <a:lnTo>
                    <a:pt x="101" y="196"/>
                  </a:lnTo>
                  <a:lnTo>
                    <a:pt x="101" y="196"/>
                  </a:lnTo>
                  <a:lnTo>
                    <a:pt x="101" y="196"/>
                  </a:lnTo>
                  <a:lnTo>
                    <a:pt x="101" y="196"/>
                  </a:lnTo>
                  <a:lnTo>
                    <a:pt x="98" y="196"/>
                  </a:lnTo>
                  <a:lnTo>
                    <a:pt x="98" y="194"/>
                  </a:lnTo>
                  <a:lnTo>
                    <a:pt x="101" y="194"/>
                  </a:lnTo>
                  <a:lnTo>
                    <a:pt x="101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4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101" y="191"/>
                  </a:lnTo>
                  <a:lnTo>
                    <a:pt x="101" y="191"/>
                  </a:lnTo>
                  <a:close/>
                  <a:moveTo>
                    <a:pt x="611" y="189"/>
                  </a:moveTo>
                  <a:lnTo>
                    <a:pt x="611" y="189"/>
                  </a:lnTo>
                  <a:lnTo>
                    <a:pt x="611" y="189"/>
                  </a:lnTo>
                  <a:lnTo>
                    <a:pt x="611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11" y="189"/>
                  </a:lnTo>
                  <a:lnTo>
                    <a:pt x="611" y="189"/>
                  </a:lnTo>
                  <a:lnTo>
                    <a:pt x="611" y="189"/>
                  </a:lnTo>
                  <a:close/>
                  <a:moveTo>
                    <a:pt x="831" y="191"/>
                  </a:moveTo>
                  <a:lnTo>
                    <a:pt x="831" y="191"/>
                  </a:lnTo>
                  <a:lnTo>
                    <a:pt x="829" y="191"/>
                  </a:lnTo>
                  <a:lnTo>
                    <a:pt x="829" y="191"/>
                  </a:lnTo>
                  <a:lnTo>
                    <a:pt x="829" y="191"/>
                  </a:lnTo>
                  <a:lnTo>
                    <a:pt x="829" y="189"/>
                  </a:lnTo>
                  <a:lnTo>
                    <a:pt x="829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89"/>
                  </a:lnTo>
                  <a:lnTo>
                    <a:pt x="831" y="191"/>
                  </a:lnTo>
                  <a:lnTo>
                    <a:pt x="831" y="191"/>
                  </a:lnTo>
                  <a:lnTo>
                    <a:pt x="831" y="191"/>
                  </a:lnTo>
                  <a:close/>
                  <a:moveTo>
                    <a:pt x="656" y="200"/>
                  </a:moveTo>
                  <a:lnTo>
                    <a:pt x="656" y="200"/>
                  </a:lnTo>
                  <a:lnTo>
                    <a:pt x="653" y="200"/>
                  </a:lnTo>
                  <a:lnTo>
                    <a:pt x="653" y="198"/>
                  </a:lnTo>
                  <a:lnTo>
                    <a:pt x="653" y="198"/>
                  </a:lnTo>
                  <a:lnTo>
                    <a:pt x="653" y="198"/>
                  </a:lnTo>
                  <a:lnTo>
                    <a:pt x="653" y="196"/>
                  </a:lnTo>
                  <a:lnTo>
                    <a:pt x="653" y="196"/>
                  </a:lnTo>
                  <a:lnTo>
                    <a:pt x="653" y="194"/>
                  </a:lnTo>
                  <a:lnTo>
                    <a:pt x="653" y="194"/>
                  </a:lnTo>
                  <a:lnTo>
                    <a:pt x="651" y="194"/>
                  </a:lnTo>
                  <a:lnTo>
                    <a:pt x="651" y="194"/>
                  </a:lnTo>
                  <a:lnTo>
                    <a:pt x="651" y="194"/>
                  </a:lnTo>
                  <a:lnTo>
                    <a:pt x="651" y="191"/>
                  </a:lnTo>
                  <a:lnTo>
                    <a:pt x="651" y="191"/>
                  </a:lnTo>
                  <a:lnTo>
                    <a:pt x="651" y="191"/>
                  </a:lnTo>
                  <a:lnTo>
                    <a:pt x="651" y="189"/>
                  </a:lnTo>
                  <a:lnTo>
                    <a:pt x="651" y="189"/>
                  </a:lnTo>
                  <a:lnTo>
                    <a:pt x="651" y="189"/>
                  </a:lnTo>
                  <a:lnTo>
                    <a:pt x="653" y="189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9"/>
                  </a:lnTo>
                  <a:lnTo>
                    <a:pt x="653" y="189"/>
                  </a:lnTo>
                  <a:lnTo>
                    <a:pt x="653" y="189"/>
                  </a:lnTo>
                  <a:lnTo>
                    <a:pt x="653" y="189"/>
                  </a:lnTo>
                  <a:lnTo>
                    <a:pt x="653" y="189"/>
                  </a:lnTo>
                  <a:lnTo>
                    <a:pt x="653" y="191"/>
                  </a:lnTo>
                  <a:lnTo>
                    <a:pt x="653" y="191"/>
                  </a:lnTo>
                  <a:lnTo>
                    <a:pt x="653" y="194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6" y="200"/>
                  </a:lnTo>
                  <a:close/>
                  <a:moveTo>
                    <a:pt x="620" y="189"/>
                  </a:move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7"/>
                  </a:lnTo>
                  <a:lnTo>
                    <a:pt x="620" y="187"/>
                  </a:lnTo>
                  <a:lnTo>
                    <a:pt x="620" y="187"/>
                  </a:lnTo>
                  <a:lnTo>
                    <a:pt x="620" y="187"/>
                  </a:lnTo>
                  <a:lnTo>
                    <a:pt x="620" y="187"/>
                  </a:lnTo>
                  <a:lnTo>
                    <a:pt x="620" y="189"/>
                  </a:lnTo>
                  <a:close/>
                  <a:moveTo>
                    <a:pt x="606" y="187"/>
                  </a:move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4" y="187"/>
                  </a:lnTo>
                  <a:lnTo>
                    <a:pt x="604" y="187"/>
                  </a:lnTo>
                  <a:lnTo>
                    <a:pt x="604" y="187"/>
                  </a:lnTo>
                  <a:lnTo>
                    <a:pt x="606" y="187"/>
                  </a:lnTo>
                  <a:close/>
                  <a:moveTo>
                    <a:pt x="606" y="187"/>
                  </a:move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6" y="187"/>
                  </a:lnTo>
                  <a:close/>
                  <a:moveTo>
                    <a:pt x="608" y="189"/>
                  </a:move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7"/>
                  </a:lnTo>
                  <a:lnTo>
                    <a:pt x="608" y="187"/>
                  </a:lnTo>
                  <a:lnTo>
                    <a:pt x="608" y="185"/>
                  </a:lnTo>
                  <a:lnTo>
                    <a:pt x="608" y="187"/>
                  </a:lnTo>
                  <a:lnTo>
                    <a:pt x="608" y="187"/>
                  </a:lnTo>
                  <a:lnTo>
                    <a:pt x="608" y="187"/>
                  </a:lnTo>
                  <a:lnTo>
                    <a:pt x="608" y="189"/>
                  </a:lnTo>
                  <a:close/>
                  <a:moveTo>
                    <a:pt x="642" y="185"/>
                  </a:moveTo>
                  <a:lnTo>
                    <a:pt x="642" y="185"/>
                  </a:lnTo>
                  <a:lnTo>
                    <a:pt x="642" y="185"/>
                  </a:lnTo>
                  <a:lnTo>
                    <a:pt x="642" y="185"/>
                  </a:lnTo>
                  <a:lnTo>
                    <a:pt x="644" y="182"/>
                  </a:lnTo>
                  <a:lnTo>
                    <a:pt x="644" y="182"/>
                  </a:lnTo>
                  <a:lnTo>
                    <a:pt x="644" y="182"/>
                  </a:lnTo>
                  <a:lnTo>
                    <a:pt x="644" y="182"/>
                  </a:lnTo>
                  <a:lnTo>
                    <a:pt x="644" y="185"/>
                  </a:lnTo>
                  <a:lnTo>
                    <a:pt x="644" y="185"/>
                  </a:lnTo>
                  <a:lnTo>
                    <a:pt x="644" y="185"/>
                  </a:lnTo>
                  <a:lnTo>
                    <a:pt x="644" y="185"/>
                  </a:lnTo>
                  <a:lnTo>
                    <a:pt x="647" y="185"/>
                  </a:lnTo>
                  <a:lnTo>
                    <a:pt x="647" y="185"/>
                  </a:lnTo>
                  <a:lnTo>
                    <a:pt x="647" y="185"/>
                  </a:lnTo>
                  <a:lnTo>
                    <a:pt x="649" y="185"/>
                  </a:lnTo>
                  <a:lnTo>
                    <a:pt x="649" y="185"/>
                  </a:lnTo>
                  <a:lnTo>
                    <a:pt x="649" y="185"/>
                  </a:lnTo>
                  <a:lnTo>
                    <a:pt x="649" y="185"/>
                  </a:lnTo>
                  <a:lnTo>
                    <a:pt x="649" y="185"/>
                  </a:lnTo>
                  <a:lnTo>
                    <a:pt x="649" y="185"/>
                  </a:lnTo>
                  <a:lnTo>
                    <a:pt x="649" y="185"/>
                  </a:lnTo>
                  <a:lnTo>
                    <a:pt x="651" y="185"/>
                  </a:lnTo>
                  <a:lnTo>
                    <a:pt x="653" y="182"/>
                  </a:lnTo>
                  <a:lnTo>
                    <a:pt x="653" y="182"/>
                  </a:lnTo>
                  <a:lnTo>
                    <a:pt x="658" y="185"/>
                  </a:lnTo>
                  <a:lnTo>
                    <a:pt x="660" y="185"/>
                  </a:lnTo>
                  <a:lnTo>
                    <a:pt x="662" y="185"/>
                  </a:lnTo>
                  <a:lnTo>
                    <a:pt x="662" y="185"/>
                  </a:lnTo>
                  <a:lnTo>
                    <a:pt x="662" y="185"/>
                  </a:lnTo>
                  <a:lnTo>
                    <a:pt x="662" y="185"/>
                  </a:lnTo>
                  <a:lnTo>
                    <a:pt x="662" y="185"/>
                  </a:lnTo>
                  <a:lnTo>
                    <a:pt x="662" y="185"/>
                  </a:lnTo>
                  <a:lnTo>
                    <a:pt x="660" y="185"/>
                  </a:lnTo>
                  <a:lnTo>
                    <a:pt x="660" y="185"/>
                  </a:lnTo>
                  <a:lnTo>
                    <a:pt x="660" y="185"/>
                  </a:lnTo>
                  <a:lnTo>
                    <a:pt x="658" y="185"/>
                  </a:lnTo>
                  <a:lnTo>
                    <a:pt x="658" y="185"/>
                  </a:lnTo>
                  <a:lnTo>
                    <a:pt x="658" y="185"/>
                  </a:lnTo>
                  <a:lnTo>
                    <a:pt x="658" y="185"/>
                  </a:lnTo>
                  <a:lnTo>
                    <a:pt x="658" y="187"/>
                  </a:lnTo>
                  <a:lnTo>
                    <a:pt x="658" y="185"/>
                  </a:lnTo>
                  <a:lnTo>
                    <a:pt x="656" y="187"/>
                  </a:lnTo>
                  <a:lnTo>
                    <a:pt x="656" y="187"/>
                  </a:lnTo>
                  <a:lnTo>
                    <a:pt x="656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1" y="187"/>
                  </a:lnTo>
                  <a:lnTo>
                    <a:pt x="651" y="187"/>
                  </a:lnTo>
                  <a:lnTo>
                    <a:pt x="651" y="187"/>
                  </a:lnTo>
                  <a:lnTo>
                    <a:pt x="649" y="187"/>
                  </a:lnTo>
                  <a:lnTo>
                    <a:pt x="647" y="187"/>
                  </a:lnTo>
                  <a:lnTo>
                    <a:pt x="647" y="187"/>
                  </a:lnTo>
                  <a:lnTo>
                    <a:pt x="644" y="187"/>
                  </a:lnTo>
                  <a:lnTo>
                    <a:pt x="644" y="187"/>
                  </a:lnTo>
                  <a:lnTo>
                    <a:pt x="644" y="187"/>
                  </a:lnTo>
                  <a:lnTo>
                    <a:pt x="642" y="187"/>
                  </a:lnTo>
                  <a:lnTo>
                    <a:pt x="642" y="187"/>
                  </a:lnTo>
                  <a:lnTo>
                    <a:pt x="642" y="187"/>
                  </a:lnTo>
                  <a:lnTo>
                    <a:pt x="642" y="187"/>
                  </a:lnTo>
                  <a:lnTo>
                    <a:pt x="642" y="187"/>
                  </a:lnTo>
                  <a:lnTo>
                    <a:pt x="642" y="185"/>
                  </a:lnTo>
                  <a:lnTo>
                    <a:pt x="642" y="185"/>
                  </a:lnTo>
                  <a:lnTo>
                    <a:pt x="642" y="185"/>
                  </a:lnTo>
                  <a:lnTo>
                    <a:pt x="642" y="185"/>
                  </a:lnTo>
                  <a:lnTo>
                    <a:pt x="642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2" y="185"/>
                  </a:lnTo>
                  <a:lnTo>
                    <a:pt x="642" y="182"/>
                  </a:lnTo>
                  <a:lnTo>
                    <a:pt x="642" y="182"/>
                  </a:lnTo>
                  <a:lnTo>
                    <a:pt x="642" y="182"/>
                  </a:lnTo>
                  <a:lnTo>
                    <a:pt x="642" y="182"/>
                  </a:lnTo>
                  <a:lnTo>
                    <a:pt x="642" y="182"/>
                  </a:lnTo>
                  <a:lnTo>
                    <a:pt x="642" y="185"/>
                  </a:lnTo>
                  <a:close/>
                  <a:moveTo>
                    <a:pt x="593" y="187"/>
                  </a:moveTo>
                  <a:lnTo>
                    <a:pt x="593" y="187"/>
                  </a:lnTo>
                  <a:lnTo>
                    <a:pt x="593" y="187"/>
                  </a:lnTo>
                  <a:lnTo>
                    <a:pt x="593" y="187"/>
                  </a:lnTo>
                  <a:lnTo>
                    <a:pt x="593" y="185"/>
                  </a:lnTo>
                  <a:lnTo>
                    <a:pt x="593" y="185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5"/>
                  </a:lnTo>
                  <a:lnTo>
                    <a:pt x="595" y="185"/>
                  </a:lnTo>
                  <a:lnTo>
                    <a:pt x="595" y="185"/>
                  </a:lnTo>
                  <a:lnTo>
                    <a:pt x="595" y="185"/>
                  </a:lnTo>
                  <a:lnTo>
                    <a:pt x="593" y="185"/>
                  </a:lnTo>
                  <a:lnTo>
                    <a:pt x="593" y="185"/>
                  </a:lnTo>
                  <a:lnTo>
                    <a:pt x="593" y="185"/>
                  </a:lnTo>
                  <a:lnTo>
                    <a:pt x="593" y="187"/>
                  </a:lnTo>
                  <a:close/>
                  <a:moveTo>
                    <a:pt x="826" y="187"/>
                  </a:moveTo>
                  <a:lnTo>
                    <a:pt x="826" y="187"/>
                  </a:lnTo>
                  <a:lnTo>
                    <a:pt x="826" y="187"/>
                  </a:lnTo>
                  <a:lnTo>
                    <a:pt x="826" y="185"/>
                  </a:lnTo>
                  <a:lnTo>
                    <a:pt x="826" y="185"/>
                  </a:lnTo>
                  <a:lnTo>
                    <a:pt x="826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5"/>
                  </a:lnTo>
                  <a:lnTo>
                    <a:pt x="826" y="185"/>
                  </a:lnTo>
                  <a:lnTo>
                    <a:pt x="826" y="185"/>
                  </a:lnTo>
                  <a:lnTo>
                    <a:pt x="826" y="185"/>
                  </a:lnTo>
                  <a:lnTo>
                    <a:pt x="826" y="185"/>
                  </a:lnTo>
                  <a:lnTo>
                    <a:pt x="826" y="185"/>
                  </a:lnTo>
                  <a:lnTo>
                    <a:pt x="826" y="187"/>
                  </a:lnTo>
                  <a:close/>
                  <a:moveTo>
                    <a:pt x="292" y="182"/>
                  </a:moveTo>
                  <a:lnTo>
                    <a:pt x="292" y="182"/>
                  </a:lnTo>
                  <a:lnTo>
                    <a:pt x="289" y="182"/>
                  </a:lnTo>
                  <a:lnTo>
                    <a:pt x="292" y="182"/>
                  </a:lnTo>
                  <a:lnTo>
                    <a:pt x="292" y="180"/>
                  </a:lnTo>
                  <a:lnTo>
                    <a:pt x="292" y="180"/>
                  </a:lnTo>
                  <a:lnTo>
                    <a:pt x="292" y="182"/>
                  </a:lnTo>
                  <a:lnTo>
                    <a:pt x="292" y="182"/>
                  </a:lnTo>
                  <a:close/>
                  <a:moveTo>
                    <a:pt x="745" y="180"/>
                  </a:moveTo>
                  <a:lnTo>
                    <a:pt x="745" y="182"/>
                  </a:lnTo>
                  <a:lnTo>
                    <a:pt x="748" y="182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5"/>
                  </a:lnTo>
                  <a:lnTo>
                    <a:pt x="748" y="187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8" y="187"/>
                  </a:lnTo>
                  <a:lnTo>
                    <a:pt x="748" y="187"/>
                  </a:lnTo>
                  <a:lnTo>
                    <a:pt x="748" y="189"/>
                  </a:lnTo>
                  <a:lnTo>
                    <a:pt x="748" y="189"/>
                  </a:lnTo>
                  <a:lnTo>
                    <a:pt x="748" y="189"/>
                  </a:lnTo>
                  <a:lnTo>
                    <a:pt x="748" y="189"/>
                  </a:lnTo>
                  <a:lnTo>
                    <a:pt x="748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5" y="187"/>
                  </a:lnTo>
                  <a:lnTo>
                    <a:pt x="745" y="189"/>
                  </a:lnTo>
                  <a:lnTo>
                    <a:pt x="745" y="189"/>
                  </a:lnTo>
                  <a:lnTo>
                    <a:pt x="743" y="189"/>
                  </a:lnTo>
                  <a:lnTo>
                    <a:pt x="743" y="189"/>
                  </a:lnTo>
                  <a:lnTo>
                    <a:pt x="743" y="189"/>
                  </a:lnTo>
                  <a:lnTo>
                    <a:pt x="743" y="189"/>
                  </a:lnTo>
                  <a:lnTo>
                    <a:pt x="743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39" y="189"/>
                  </a:lnTo>
                  <a:lnTo>
                    <a:pt x="739" y="189"/>
                  </a:lnTo>
                  <a:lnTo>
                    <a:pt x="739" y="189"/>
                  </a:lnTo>
                  <a:lnTo>
                    <a:pt x="736" y="189"/>
                  </a:lnTo>
                  <a:lnTo>
                    <a:pt x="736" y="189"/>
                  </a:lnTo>
                  <a:lnTo>
                    <a:pt x="736" y="189"/>
                  </a:lnTo>
                  <a:lnTo>
                    <a:pt x="736" y="189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4" y="187"/>
                  </a:lnTo>
                  <a:lnTo>
                    <a:pt x="732" y="187"/>
                  </a:lnTo>
                  <a:lnTo>
                    <a:pt x="732" y="187"/>
                  </a:lnTo>
                  <a:lnTo>
                    <a:pt x="732" y="185"/>
                  </a:lnTo>
                  <a:lnTo>
                    <a:pt x="732" y="185"/>
                  </a:lnTo>
                  <a:lnTo>
                    <a:pt x="736" y="185"/>
                  </a:lnTo>
                  <a:lnTo>
                    <a:pt x="736" y="185"/>
                  </a:lnTo>
                  <a:lnTo>
                    <a:pt x="736" y="185"/>
                  </a:lnTo>
                  <a:lnTo>
                    <a:pt x="736" y="185"/>
                  </a:lnTo>
                  <a:lnTo>
                    <a:pt x="736" y="185"/>
                  </a:lnTo>
                  <a:lnTo>
                    <a:pt x="736" y="185"/>
                  </a:lnTo>
                  <a:lnTo>
                    <a:pt x="736" y="185"/>
                  </a:lnTo>
                  <a:lnTo>
                    <a:pt x="736" y="182"/>
                  </a:lnTo>
                  <a:lnTo>
                    <a:pt x="736" y="182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41" y="182"/>
                  </a:lnTo>
                  <a:lnTo>
                    <a:pt x="741" y="182"/>
                  </a:lnTo>
                  <a:lnTo>
                    <a:pt x="741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5" y="180"/>
                  </a:lnTo>
                  <a:lnTo>
                    <a:pt x="745" y="180"/>
                  </a:lnTo>
                  <a:lnTo>
                    <a:pt x="745" y="180"/>
                  </a:lnTo>
                  <a:lnTo>
                    <a:pt x="745" y="180"/>
                  </a:lnTo>
                  <a:lnTo>
                    <a:pt x="745" y="180"/>
                  </a:lnTo>
                  <a:lnTo>
                    <a:pt x="745" y="180"/>
                  </a:lnTo>
                  <a:close/>
                  <a:moveTo>
                    <a:pt x="597" y="182"/>
                  </a:moveTo>
                  <a:lnTo>
                    <a:pt x="597" y="182"/>
                  </a:lnTo>
                  <a:lnTo>
                    <a:pt x="597" y="182"/>
                  </a:lnTo>
                  <a:lnTo>
                    <a:pt x="597" y="182"/>
                  </a:lnTo>
                  <a:lnTo>
                    <a:pt x="597" y="182"/>
                  </a:lnTo>
                  <a:lnTo>
                    <a:pt x="599" y="180"/>
                  </a:lnTo>
                  <a:lnTo>
                    <a:pt x="599" y="180"/>
                  </a:lnTo>
                  <a:lnTo>
                    <a:pt x="599" y="180"/>
                  </a:lnTo>
                  <a:lnTo>
                    <a:pt x="599" y="180"/>
                  </a:lnTo>
                  <a:lnTo>
                    <a:pt x="599" y="180"/>
                  </a:lnTo>
                  <a:lnTo>
                    <a:pt x="599" y="180"/>
                  </a:lnTo>
                  <a:lnTo>
                    <a:pt x="599" y="182"/>
                  </a:lnTo>
                  <a:lnTo>
                    <a:pt x="599" y="182"/>
                  </a:lnTo>
                  <a:lnTo>
                    <a:pt x="599" y="182"/>
                  </a:lnTo>
                  <a:lnTo>
                    <a:pt x="599" y="182"/>
                  </a:lnTo>
                  <a:lnTo>
                    <a:pt x="599" y="182"/>
                  </a:lnTo>
                  <a:lnTo>
                    <a:pt x="597" y="182"/>
                  </a:lnTo>
                  <a:close/>
                  <a:moveTo>
                    <a:pt x="624" y="180"/>
                  </a:moveTo>
                  <a:lnTo>
                    <a:pt x="624" y="180"/>
                  </a:lnTo>
                  <a:lnTo>
                    <a:pt x="624" y="180"/>
                  </a:lnTo>
                  <a:lnTo>
                    <a:pt x="624" y="180"/>
                  </a:lnTo>
                  <a:lnTo>
                    <a:pt x="626" y="180"/>
                  </a:lnTo>
                  <a:lnTo>
                    <a:pt x="626" y="180"/>
                  </a:lnTo>
                  <a:lnTo>
                    <a:pt x="629" y="180"/>
                  </a:lnTo>
                  <a:lnTo>
                    <a:pt x="629" y="180"/>
                  </a:lnTo>
                  <a:lnTo>
                    <a:pt x="629" y="180"/>
                  </a:lnTo>
                  <a:lnTo>
                    <a:pt x="629" y="180"/>
                  </a:lnTo>
                  <a:lnTo>
                    <a:pt x="631" y="180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3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0"/>
                  </a:lnTo>
                  <a:lnTo>
                    <a:pt x="635" y="180"/>
                  </a:lnTo>
                  <a:lnTo>
                    <a:pt x="635" y="180"/>
                  </a:lnTo>
                  <a:lnTo>
                    <a:pt x="635" y="180"/>
                  </a:lnTo>
                  <a:lnTo>
                    <a:pt x="635" y="180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5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5"/>
                  </a:lnTo>
                  <a:lnTo>
                    <a:pt x="640" y="187"/>
                  </a:lnTo>
                  <a:lnTo>
                    <a:pt x="640" y="185"/>
                  </a:lnTo>
                  <a:lnTo>
                    <a:pt x="638" y="185"/>
                  </a:lnTo>
                  <a:lnTo>
                    <a:pt x="638" y="185"/>
                  </a:lnTo>
                  <a:lnTo>
                    <a:pt x="638" y="185"/>
                  </a:lnTo>
                  <a:lnTo>
                    <a:pt x="638" y="185"/>
                  </a:lnTo>
                  <a:lnTo>
                    <a:pt x="635" y="185"/>
                  </a:lnTo>
                  <a:lnTo>
                    <a:pt x="635" y="185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5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6" y="187"/>
                  </a:lnTo>
                  <a:lnTo>
                    <a:pt x="626" y="187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7"/>
                  </a:lnTo>
                  <a:lnTo>
                    <a:pt x="620" y="187"/>
                  </a:lnTo>
                  <a:lnTo>
                    <a:pt x="620" y="185"/>
                  </a:lnTo>
                  <a:lnTo>
                    <a:pt x="620" y="185"/>
                  </a:lnTo>
                  <a:lnTo>
                    <a:pt x="620" y="185"/>
                  </a:lnTo>
                  <a:lnTo>
                    <a:pt x="620" y="182"/>
                  </a:lnTo>
                  <a:lnTo>
                    <a:pt x="620" y="182"/>
                  </a:lnTo>
                  <a:lnTo>
                    <a:pt x="620" y="182"/>
                  </a:lnTo>
                  <a:lnTo>
                    <a:pt x="620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24" y="180"/>
                  </a:lnTo>
                  <a:lnTo>
                    <a:pt x="624" y="180"/>
                  </a:lnTo>
                  <a:lnTo>
                    <a:pt x="624" y="180"/>
                  </a:lnTo>
                  <a:close/>
                  <a:moveTo>
                    <a:pt x="853" y="178"/>
                  </a:moveTo>
                  <a:lnTo>
                    <a:pt x="856" y="180"/>
                  </a:lnTo>
                  <a:lnTo>
                    <a:pt x="860" y="180"/>
                  </a:lnTo>
                  <a:lnTo>
                    <a:pt x="862" y="180"/>
                  </a:lnTo>
                  <a:lnTo>
                    <a:pt x="862" y="180"/>
                  </a:lnTo>
                  <a:lnTo>
                    <a:pt x="865" y="180"/>
                  </a:lnTo>
                  <a:lnTo>
                    <a:pt x="865" y="180"/>
                  </a:lnTo>
                  <a:lnTo>
                    <a:pt x="867" y="180"/>
                  </a:lnTo>
                  <a:lnTo>
                    <a:pt x="867" y="180"/>
                  </a:lnTo>
                  <a:lnTo>
                    <a:pt x="869" y="180"/>
                  </a:lnTo>
                  <a:lnTo>
                    <a:pt x="869" y="180"/>
                  </a:lnTo>
                  <a:lnTo>
                    <a:pt x="869" y="180"/>
                  </a:lnTo>
                  <a:lnTo>
                    <a:pt x="869" y="180"/>
                  </a:lnTo>
                  <a:lnTo>
                    <a:pt x="869" y="180"/>
                  </a:lnTo>
                  <a:lnTo>
                    <a:pt x="869" y="180"/>
                  </a:lnTo>
                  <a:lnTo>
                    <a:pt x="871" y="180"/>
                  </a:lnTo>
                  <a:lnTo>
                    <a:pt x="871" y="180"/>
                  </a:lnTo>
                  <a:lnTo>
                    <a:pt x="871" y="182"/>
                  </a:lnTo>
                  <a:lnTo>
                    <a:pt x="871" y="182"/>
                  </a:lnTo>
                  <a:lnTo>
                    <a:pt x="871" y="182"/>
                  </a:lnTo>
                  <a:lnTo>
                    <a:pt x="874" y="182"/>
                  </a:lnTo>
                  <a:lnTo>
                    <a:pt x="874" y="182"/>
                  </a:lnTo>
                  <a:lnTo>
                    <a:pt x="878" y="182"/>
                  </a:lnTo>
                  <a:lnTo>
                    <a:pt x="880" y="182"/>
                  </a:lnTo>
                  <a:lnTo>
                    <a:pt x="880" y="182"/>
                  </a:lnTo>
                  <a:lnTo>
                    <a:pt x="880" y="182"/>
                  </a:lnTo>
                  <a:lnTo>
                    <a:pt x="880" y="182"/>
                  </a:lnTo>
                  <a:lnTo>
                    <a:pt x="883" y="182"/>
                  </a:lnTo>
                  <a:lnTo>
                    <a:pt x="883" y="182"/>
                  </a:lnTo>
                  <a:lnTo>
                    <a:pt x="883" y="182"/>
                  </a:lnTo>
                  <a:lnTo>
                    <a:pt x="883" y="185"/>
                  </a:lnTo>
                  <a:lnTo>
                    <a:pt x="883" y="185"/>
                  </a:lnTo>
                  <a:lnTo>
                    <a:pt x="883" y="185"/>
                  </a:lnTo>
                  <a:lnTo>
                    <a:pt x="883" y="185"/>
                  </a:lnTo>
                  <a:lnTo>
                    <a:pt x="883" y="185"/>
                  </a:lnTo>
                  <a:lnTo>
                    <a:pt x="880" y="185"/>
                  </a:lnTo>
                  <a:lnTo>
                    <a:pt x="880" y="185"/>
                  </a:lnTo>
                  <a:lnTo>
                    <a:pt x="880" y="185"/>
                  </a:lnTo>
                  <a:lnTo>
                    <a:pt x="880" y="185"/>
                  </a:lnTo>
                  <a:lnTo>
                    <a:pt x="880" y="185"/>
                  </a:lnTo>
                  <a:lnTo>
                    <a:pt x="880" y="185"/>
                  </a:lnTo>
                  <a:lnTo>
                    <a:pt x="880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6" y="185"/>
                  </a:lnTo>
                  <a:lnTo>
                    <a:pt x="876" y="185"/>
                  </a:lnTo>
                  <a:lnTo>
                    <a:pt x="876" y="185"/>
                  </a:lnTo>
                  <a:lnTo>
                    <a:pt x="876" y="185"/>
                  </a:lnTo>
                  <a:lnTo>
                    <a:pt x="876" y="187"/>
                  </a:lnTo>
                  <a:lnTo>
                    <a:pt x="876" y="187"/>
                  </a:lnTo>
                  <a:lnTo>
                    <a:pt x="876" y="187"/>
                  </a:lnTo>
                  <a:lnTo>
                    <a:pt x="876" y="187"/>
                  </a:lnTo>
                  <a:lnTo>
                    <a:pt x="876" y="187"/>
                  </a:lnTo>
                  <a:lnTo>
                    <a:pt x="876" y="187"/>
                  </a:lnTo>
                  <a:lnTo>
                    <a:pt x="876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5"/>
                  </a:lnTo>
                  <a:lnTo>
                    <a:pt x="874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5"/>
                  </a:lnTo>
                  <a:lnTo>
                    <a:pt x="871" y="187"/>
                  </a:lnTo>
                  <a:lnTo>
                    <a:pt x="871" y="187"/>
                  </a:lnTo>
                  <a:lnTo>
                    <a:pt x="871" y="187"/>
                  </a:lnTo>
                  <a:lnTo>
                    <a:pt x="869" y="187"/>
                  </a:lnTo>
                  <a:lnTo>
                    <a:pt x="869" y="187"/>
                  </a:lnTo>
                  <a:lnTo>
                    <a:pt x="869" y="187"/>
                  </a:lnTo>
                  <a:lnTo>
                    <a:pt x="869" y="187"/>
                  </a:lnTo>
                  <a:lnTo>
                    <a:pt x="869" y="187"/>
                  </a:lnTo>
                  <a:lnTo>
                    <a:pt x="869" y="185"/>
                  </a:lnTo>
                  <a:lnTo>
                    <a:pt x="869" y="185"/>
                  </a:lnTo>
                  <a:lnTo>
                    <a:pt x="867" y="185"/>
                  </a:lnTo>
                  <a:lnTo>
                    <a:pt x="867" y="185"/>
                  </a:lnTo>
                  <a:lnTo>
                    <a:pt x="867" y="185"/>
                  </a:lnTo>
                  <a:lnTo>
                    <a:pt x="867" y="185"/>
                  </a:lnTo>
                  <a:lnTo>
                    <a:pt x="867" y="185"/>
                  </a:lnTo>
                  <a:lnTo>
                    <a:pt x="865" y="185"/>
                  </a:lnTo>
                  <a:lnTo>
                    <a:pt x="865" y="185"/>
                  </a:lnTo>
                  <a:lnTo>
                    <a:pt x="865" y="185"/>
                  </a:lnTo>
                  <a:lnTo>
                    <a:pt x="865" y="185"/>
                  </a:lnTo>
                  <a:lnTo>
                    <a:pt x="865" y="185"/>
                  </a:lnTo>
                  <a:lnTo>
                    <a:pt x="865" y="185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0" y="182"/>
                  </a:lnTo>
                  <a:lnTo>
                    <a:pt x="860" y="182"/>
                  </a:lnTo>
                  <a:lnTo>
                    <a:pt x="860" y="182"/>
                  </a:lnTo>
                  <a:lnTo>
                    <a:pt x="860" y="182"/>
                  </a:lnTo>
                  <a:lnTo>
                    <a:pt x="860" y="182"/>
                  </a:lnTo>
                  <a:lnTo>
                    <a:pt x="858" y="182"/>
                  </a:lnTo>
                  <a:lnTo>
                    <a:pt x="858" y="182"/>
                  </a:lnTo>
                  <a:lnTo>
                    <a:pt x="858" y="182"/>
                  </a:lnTo>
                  <a:lnTo>
                    <a:pt x="858" y="182"/>
                  </a:lnTo>
                  <a:lnTo>
                    <a:pt x="858" y="182"/>
                  </a:lnTo>
                  <a:lnTo>
                    <a:pt x="858" y="180"/>
                  </a:lnTo>
                  <a:lnTo>
                    <a:pt x="858" y="180"/>
                  </a:lnTo>
                  <a:lnTo>
                    <a:pt x="858" y="180"/>
                  </a:lnTo>
                  <a:lnTo>
                    <a:pt x="858" y="182"/>
                  </a:lnTo>
                  <a:lnTo>
                    <a:pt x="856" y="182"/>
                  </a:lnTo>
                  <a:lnTo>
                    <a:pt x="856" y="182"/>
                  </a:lnTo>
                  <a:lnTo>
                    <a:pt x="856" y="180"/>
                  </a:lnTo>
                  <a:lnTo>
                    <a:pt x="856" y="180"/>
                  </a:lnTo>
                  <a:lnTo>
                    <a:pt x="856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80"/>
                  </a:lnTo>
                  <a:lnTo>
                    <a:pt x="853" y="178"/>
                  </a:lnTo>
                  <a:lnTo>
                    <a:pt x="853" y="178"/>
                  </a:lnTo>
                  <a:lnTo>
                    <a:pt x="853" y="178"/>
                  </a:lnTo>
                  <a:lnTo>
                    <a:pt x="853" y="178"/>
                  </a:lnTo>
                  <a:close/>
                  <a:moveTo>
                    <a:pt x="296" y="178"/>
                  </a:moveTo>
                  <a:lnTo>
                    <a:pt x="296" y="178"/>
                  </a:lnTo>
                  <a:lnTo>
                    <a:pt x="296" y="180"/>
                  </a:lnTo>
                  <a:lnTo>
                    <a:pt x="296" y="180"/>
                  </a:lnTo>
                  <a:lnTo>
                    <a:pt x="296" y="180"/>
                  </a:lnTo>
                  <a:lnTo>
                    <a:pt x="296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80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4" y="178"/>
                  </a:lnTo>
                  <a:lnTo>
                    <a:pt x="296" y="178"/>
                  </a:lnTo>
                  <a:lnTo>
                    <a:pt x="296" y="178"/>
                  </a:lnTo>
                  <a:lnTo>
                    <a:pt x="296" y="178"/>
                  </a:lnTo>
                  <a:lnTo>
                    <a:pt x="296" y="178"/>
                  </a:lnTo>
                  <a:lnTo>
                    <a:pt x="296" y="178"/>
                  </a:lnTo>
                  <a:lnTo>
                    <a:pt x="296" y="178"/>
                  </a:lnTo>
                  <a:close/>
                  <a:moveTo>
                    <a:pt x="231" y="176"/>
                  </a:moveTo>
                  <a:lnTo>
                    <a:pt x="231" y="176"/>
                  </a:lnTo>
                  <a:lnTo>
                    <a:pt x="231" y="176"/>
                  </a:lnTo>
                  <a:lnTo>
                    <a:pt x="231" y="176"/>
                  </a:lnTo>
                  <a:lnTo>
                    <a:pt x="231" y="176"/>
                  </a:lnTo>
                  <a:lnTo>
                    <a:pt x="233" y="176"/>
                  </a:lnTo>
                  <a:lnTo>
                    <a:pt x="233" y="176"/>
                  </a:lnTo>
                  <a:lnTo>
                    <a:pt x="233" y="178"/>
                  </a:lnTo>
                  <a:lnTo>
                    <a:pt x="233" y="178"/>
                  </a:lnTo>
                  <a:lnTo>
                    <a:pt x="233" y="178"/>
                  </a:lnTo>
                  <a:lnTo>
                    <a:pt x="233" y="178"/>
                  </a:lnTo>
                  <a:lnTo>
                    <a:pt x="233" y="178"/>
                  </a:lnTo>
                  <a:lnTo>
                    <a:pt x="233" y="178"/>
                  </a:lnTo>
                  <a:lnTo>
                    <a:pt x="235" y="178"/>
                  </a:lnTo>
                  <a:lnTo>
                    <a:pt x="235" y="178"/>
                  </a:lnTo>
                  <a:lnTo>
                    <a:pt x="235" y="178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0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5" y="182"/>
                  </a:lnTo>
                  <a:lnTo>
                    <a:pt x="238" y="182"/>
                  </a:lnTo>
                  <a:lnTo>
                    <a:pt x="238" y="182"/>
                  </a:lnTo>
                  <a:lnTo>
                    <a:pt x="238" y="185"/>
                  </a:lnTo>
                  <a:lnTo>
                    <a:pt x="238" y="185"/>
                  </a:lnTo>
                  <a:lnTo>
                    <a:pt x="238" y="185"/>
                  </a:lnTo>
                  <a:lnTo>
                    <a:pt x="238" y="185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9"/>
                  </a:lnTo>
                  <a:lnTo>
                    <a:pt x="238" y="194"/>
                  </a:lnTo>
                  <a:lnTo>
                    <a:pt x="240" y="196"/>
                  </a:lnTo>
                  <a:lnTo>
                    <a:pt x="240" y="198"/>
                  </a:lnTo>
                  <a:lnTo>
                    <a:pt x="240" y="198"/>
                  </a:lnTo>
                  <a:lnTo>
                    <a:pt x="242" y="200"/>
                  </a:lnTo>
                  <a:lnTo>
                    <a:pt x="242" y="200"/>
                  </a:lnTo>
                  <a:lnTo>
                    <a:pt x="242" y="200"/>
                  </a:lnTo>
                  <a:lnTo>
                    <a:pt x="242" y="200"/>
                  </a:lnTo>
                  <a:lnTo>
                    <a:pt x="242" y="200"/>
                  </a:lnTo>
                  <a:lnTo>
                    <a:pt x="242" y="200"/>
                  </a:lnTo>
                  <a:lnTo>
                    <a:pt x="244" y="200"/>
                  </a:lnTo>
                  <a:lnTo>
                    <a:pt x="249" y="200"/>
                  </a:lnTo>
                  <a:lnTo>
                    <a:pt x="249" y="203"/>
                  </a:lnTo>
                  <a:lnTo>
                    <a:pt x="249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49" y="203"/>
                  </a:lnTo>
                  <a:lnTo>
                    <a:pt x="249" y="203"/>
                  </a:lnTo>
                  <a:lnTo>
                    <a:pt x="249" y="203"/>
                  </a:lnTo>
                  <a:lnTo>
                    <a:pt x="249" y="203"/>
                  </a:lnTo>
                  <a:lnTo>
                    <a:pt x="249" y="205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7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2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9" y="214"/>
                  </a:lnTo>
                  <a:lnTo>
                    <a:pt x="247" y="214"/>
                  </a:lnTo>
                  <a:lnTo>
                    <a:pt x="247" y="214"/>
                  </a:lnTo>
                  <a:lnTo>
                    <a:pt x="247" y="214"/>
                  </a:lnTo>
                  <a:lnTo>
                    <a:pt x="247" y="214"/>
                  </a:lnTo>
                  <a:lnTo>
                    <a:pt x="247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4" y="214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2" y="212"/>
                  </a:lnTo>
                  <a:lnTo>
                    <a:pt x="240" y="212"/>
                  </a:lnTo>
                  <a:lnTo>
                    <a:pt x="240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3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31" y="205"/>
                  </a:lnTo>
                  <a:lnTo>
                    <a:pt x="231" y="203"/>
                  </a:lnTo>
                  <a:lnTo>
                    <a:pt x="231" y="203"/>
                  </a:lnTo>
                  <a:lnTo>
                    <a:pt x="233" y="200"/>
                  </a:lnTo>
                  <a:lnTo>
                    <a:pt x="233" y="200"/>
                  </a:lnTo>
                  <a:lnTo>
                    <a:pt x="233" y="200"/>
                  </a:lnTo>
                  <a:lnTo>
                    <a:pt x="231" y="198"/>
                  </a:lnTo>
                  <a:lnTo>
                    <a:pt x="231" y="198"/>
                  </a:lnTo>
                  <a:lnTo>
                    <a:pt x="231" y="198"/>
                  </a:lnTo>
                  <a:lnTo>
                    <a:pt x="231" y="196"/>
                  </a:lnTo>
                  <a:lnTo>
                    <a:pt x="231" y="196"/>
                  </a:lnTo>
                  <a:lnTo>
                    <a:pt x="231" y="196"/>
                  </a:lnTo>
                  <a:lnTo>
                    <a:pt x="231" y="196"/>
                  </a:lnTo>
                  <a:lnTo>
                    <a:pt x="231" y="196"/>
                  </a:lnTo>
                  <a:lnTo>
                    <a:pt x="231" y="196"/>
                  </a:lnTo>
                  <a:lnTo>
                    <a:pt x="229" y="194"/>
                  </a:lnTo>
                  <a:lnTo>
                    <a:pt x="229" y="194"/>
                  </a:lnTo>
                  <a:lnTo>
                    <a:pt x="229" y="194"/>
                  </a:lnTo>
                  <a:lnTo>
                    <a:pt x="229" y="194"/>
                  </a:lnTo>
                  <a:lnTo>
                    <a:pt x="229" y="191"/>
                  </a:lnTo>
                  <a:lnTo>
                    <a:pt x="229" y="191"/>
                  </a:lnTo>
                  <a:lnTo>
                    <a:pt x="229" y="191"/>
                  </a:lnTo>
                  <a:lnTo>
                    <a:pt x="229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6" y="191"/>
                  </a:lnTo>
                  <a:lnTo>
                    <a:pt x="224" y="191"/>
                  </a:lnTo>
                  <a:lnTo>
                    <a:pt x="224" y="189"/>
                  </a:lnTo>
                  <a:lnTo>
                    <a:pt x="224" y="191"/>
                  </a:lnTo>
                  <a:lnTo>
                    <a:pt x="224" y="191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2" y="191"/>
                  </a:lnTo>
                  <a:lnTo>
                    <a:pt x="220" y="191"/>
                  </a:lnTo>
                  <a:lnTo>
                    <a:pt x="220" y="191"/>
                  </a:lnTo>
                  <a:lnTo>
                    <a:pt x="220" y="191"/>
                  </a:lnTo>
                  <a:lnTo>
                    <a:pt x="220" y="191"/>
                  </a:lnTo>
                  <a:lnTo>
                    <a:pt x="220" y="191"/>
                  </a:lnTo>
                  <a:lnTo>
                    <a:pt x="220" y="191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89"/>
                  </a:lnTo>
                  <a:lnTo>
                    <a:pt x="218" y="191"/>
                  </a:lnTo>
                  <a:lnTo>
                    <a:pt x="215" y="191"/>
                  </a:lnTo>
                  <a:lnTo>
                    <a:pt x="215" y="189"/>
                  </a:lnTo>
                  <a:lnTo>
                    <a:pt x="215" y="189"/>
                  </a:lnTo>
                  <a:lnTo>
                    <a:pt x="215" y="187"/>
                  </a:lnTo>
                  <a:lnTo>
                    <a:pt x="215" y="187"/>
                  </a:lnTo>
                  <a:lnTo>
                    <a:pt x="218" y="187"/>
                  </a:lnTo>
                  <a:lnTo>
                    <a:pt x="220" y="185"/>
                  </a:lnTo>
                  <a:lnTo>
                    <a:pt x="222" y="185"/>
                  </a:lnTo>
                  <a:lnTo>
                    <a:pt x="222" y="182"/>
                  </a:lnTo>
                  <a:lnTo>
                    <a:pt x="222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0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80"/>
                  </a:lnTo>
                  <a:lnTo>
                    <a:pt x="222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4" y="178"/>
                  </a:lnTo>
                  <a:lnTo>
                    <a:pt x="226" y="178"/>
                  </a:lnTo>
                  <a:lnTo>
                    <a:pt x="226" y="178"/>
                  </a:lnTo>
                  <a:lnTo>
                    <a:pt x="226" y="178"/>
                  </a:lnTo>
                  <a:lnTo>
                    <a:pt x="226" y="178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6" y="182"/>
                  </a:lnTo>
                  <a:lnTo>
                    <a:pt x="226" y="182"/>
                  </a:lnTo>
                  <a:lnTo>
                    <a:pt x="226" y="182"/>
                  </a:lnTo>
                  <a:lnTo>
                    <a:pt x="226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5"/>
                  </a:lnTo>
                  <a:lnTo>
                    <a:pt x="229" y="185"/>
                  </a:lnTo>
                  <a:lnTo>
                    <a:pt x="231" y="185"/>
                  </a:lnTo>
                  <a:lnTo>
                    <a:pt x="231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29" y="178"/>
                  </a:lnTo>
                  <a:lnTo>
                    <a:pt x="231" y="178"/>
                  </a:lnTo>
                  <a:lnTo>
                    <a:pt x="231" y="178"/>
                  </a:lnTo>
                  <a:lnTo>
                    <a:pt x="231" y="176"/>
                  </a:lnTo>
                  <a:close/>
                  <a:moveTo>
                    <a:pt x="604" y="178"/>
                  </a:moveTo>
                  <a:lnTo>
                    <a:pt x="604" y="180"/>
                  </a:lnTo>
                  <a:lnTo>
                    <a:pt x="604" y="178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4" y="176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close/>
                  <a:moveTo>
                    <a:pt x="847" y="176"/>
                  </a:moveTo>
                  <a:lnTo>
                    <a:pt x="847" y="176"/>
                  </a:lnTo>
                  <a:lnTo>
                    <a:pt x="849" y="176"/>
                  </a:lnTo>
                  <a:lnTo>
                    <a:pt x="849" y="176"/>
                  </a:lnTo>
                  <a:lnTo>
                    <a:pt x="849" y="176"/>
                  </a:lnTo>
                  <a:lnTo>
                    <a:pt x="849" y="176"/>
                  </a:lnTo>
                  <a:lnTo>
                    <a:pt x="849" y="176"/>
                  </a:lnTo>
                  <a:lnTo>
                    <a:pt x="851" y="176"/>
                  </a:lnTo>
                  <a:lnTo>
                    <a:pt x="851" y="176"/>
                  </a:lnTo>
                  <a:lnTo>
                    <a:pt x="851" y="176"/>
                  </a:lnTo>
                  <a:lnTo>
                    <a:pt x="851" y="178"/>
                  </a:lnTo>
                  <a:lnTo>
                    <a:pt x="849" y="178"/>
                  </a:lnTo>
                  <a:lnTo>
                    <a:pt x="847" y="178"/>
                  </a:lnTo>
                  <a:lnTo>
                    <a:pt x="847" y="178"/>
                  </a:lnTo>
                  <a:lnTo>
                    <a:pt x="847" y="178"/>
                  </a:lnTo>
                  <a:lnTo>
                    <a:pt x="847" y="176"/>
                  </a:lnTo>
                  <a:lnTo>
                    <a:pt x="847" y="176"/>
                  </a:lnTo>
                  <a:lnTo>
                    <a:pt x="847" y="176"/>
                  </a:lnTo>
                  <a:close/>
                  <a:moveTo>
                    <a:pt x="683" y="174"/>
                  </a:move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6"/>
                  </a:lnTo>
                  <a:lnTo>
                    <a:pt x="683" y="176"/>
                  </a:lnTo>
                  <a:lnTo>
                    <a:pt x="683" y="176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lnTo>
                    <a:pt x="683" y="174"/>
                  </a:lnTo>
                  <a:close/>
                  <a:moveTo>
                    <a:pt x="694" y="176"/>
                  </a:moveTo>
                  <a:lnTo>
                    <a:pt x="694" y="176"/>
                  </a:lnTo>
                  <a:lnTo>
                    <a:pt x="694" y="176"/>
                  </a:lnTo>
                  <a:lnTo>
                    <a:pt x="694" y="176"/>
                  </a:lnTo>
                  <a:lnTo>
                    <a:pt x="694" y="176"/>
                  </a:lnTo>
                  <a:lnTo>
                    <a:pt x="694" y="176"/>
                  </a:lnTo>
                  <a:lnTo>
                    <a:pt x="694" y="176"/>
                  </a:lnTo>
                  <a:lnTo>
                    <a:pt x="696" y="176"/>
                  </a:lnTo>
                  <a:lnTo>
                    <a:pt x="696" y="176"/>
                  </a:lnTo>
                  <a:lnTo>
                    <a:pt x="696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698" y="178"/>
                  </a:lnTo>
                  <a:lnTo>
                    <a:pt x="701" y="178"/>
                  </a:lnTo>
                  <a:lnTo>
                    <a:pt x="701" y="180"/>
                  </a:lnTo>
                  <a:lnTo>
                    <a:pt x="701" y="180"/>
                  </a:lnTo>
                  <a:lnTo>
                    <a:pt x="698" y="180"/>
                  </a:lnTo>
                  <a:lnTo>
                    <a:pt x="698" y="182"/>
                  </a:lnTo>
                  <a:lnTo>
                    <a:pt x="698" y="182"/>
                  </a:lnTo>
                  <a:lnTo>
                    <a:pt x="696" y="180"/>
                  </a:lnTo>
                  <a:lnTo>
                    <a:pt x="694" y="180"/>
                  </a:lnTo>
                  <a:lnTo>
                    <a:pt x="694" y="180"/>
                  </a:lnTo>
                  <a:lnTo>
                    <a:pt x="694" y="182"/>
                  </a:lnTo>
                  <a:lnTo>
                    <a:pt x="689" y="180"/>
                  </a:lnTo>
                  <a:lnTo>
                    <a:pt x="689" y="180"/>
                  </a:lnTo>
                  <a:lnTo>
                    <a:pt x="689" y="182"/>
                  </a:lnTo>
                  <a:lnTo>
                    <a:pt x="689" y="182"/>
                  </a:lnTo>
                  <a:lnTo>
                    <a:pt x="689" y="182"/>
                  </a:lnTo>
                  <a:lnTo>
                    <a:pt x="687" y="182"/>
                  </a:lnTo>
                  <a:lnTo>
                    <a:pt x="687" y="182"/>
                  </a:lnTo>
                  <a:lnTo>
                    <a:pt x="685" y="182"/>
                  </a:lnTo>
                  <a:lnTo>
                    <a:pt x="685" y="180"/>
                  </a:lnTo>
                  <a:lnTo>
                    <a:pt x="683" y="180"/>
                  </a:lnTo>
                  <a:lnTo>
                    <a:pt x="683" y="180"/>
                  </a:lnTo>
                  <a:lnTo>
                    <a:pt x="685" y="178"/>
                  </a:lnTo>
                  <a:lnTo>
                    <a:pt x="685" y="178"/>
                  </a:lnTo>
                  <a:lnTo>
                    <a:pt x="685" y="178"/>
                  </a:lnTo>
                  <a:lnTo>
                    <a:pt x="685" y="178"/>
                  </a:lnTo>
                  <a:lnTo>
                    <a:pt x="685" y="178"/>
                  </a:lnTo>
                  <a:lnTo>
                    <a:pt x="685" y="176"/>
                  </a:lnTo>
                  <a:lnTo>
                    <a:pt x="685" y="176"/>
                  </a:lnTo>
                  <a:lnTo>
                    <a:pt x="685" y="176"/>
                  </a:lnTo>
                  <a:lnTo>
                    <a:pt x="685" y="176"/>
                  </a:lnTo>
                  <a:lnTo>
                    <a:pt x="685" y="176"/>
                  </a:lnTo>
                  <a:lnTo>
                    <a:pt x="685" y="174"/>
                  </a:lnTo>
                  <a:lnTo>
                    <a:pt x="685" y="176"/>
                  </a:lnTo>
                  <a:lnTo>
                    <a:pt x="685" y="176"/>
                  </a:lnTo>
                  <a:lnTo>
                    <a:pt x="685" y="176"/>
                  </a:lnTo>
                  <a:lnTo>
                    <a:pt x="687" y="176"/>
                  </a:lnTo>
                  <a:lnTo>
                    <a:pt x="687" y="176"/>
                  </a:lnTo>
                  <a:lnTo>
                    <a:pt x="687" y="174"/>
                  </a:lnTo>
                  <a:lnTo>
                    <a:pt x="687" y="174"/>
                  </a:lnTo>
                  <a:lnTo>
                    <a:pt x="689" y="174"/>
                  </a:lnTo>
                  <a:lnTo>
                    <a:pt x="689" y="174"/>
                  </a:lnTo>
                  <a:lnTo>
                    <a:pt x="692" y="174"/>
                  </a:lnTo>
                  <a:lnTo>
                    <a:pt x="692" y="174"/>
                  </a:lnTo>
                  <a:lnTo>
                    <a:pt x="692" y="174"/>
                  </a:lnTo>
                  <a:lnTo>
                    <a:pt x="692" y="174"/>
                  </a:lnTo>
                  <a:lnTo>
                    <a:pt x="692" y="174"/>
                  </a:lnTo>
                  <a:lnTo>
                    <a:pt x="692" y="176"/>
                  </a:lnTo>
                  <a:lnTo>
                    <a:pt x="694" y="176"/>
                  </a:lnTo>
                  <a:close/>
                  <a:moveTo>
                    <a:pt x="301" y="171"/>
                  </a:move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close/>
                  <a:moveTo>
                    <a:pt x="689" y="171"/>
                  </a:moveTo>
                  <a:lnTo>
                    <a:pt x="689" y="171"/>
                  </a:lnTo>
                  <a:lnTo>
                    <a:pt x="689" y="171"/>
                  </a:lnTo>
                  <a:lnTo>
                    <a:pt x="689" y="171"/>
                  </a:lnTo>
                  <a:lnTo>
                    <a:pt x="689" y="171"/>
                  </a:lnTo>
                  <a:lnTo>
                    <a:pt x="687" y="171"/>
                  </a:lnTo>
                  <a:lnTo>
                    <a:pt x="687" y="171"/>
                  </a:lnTo>
                  <a:lnTo>
                    <a:pt x="687" y="171"/>
                  </a:lnTo>
                  <a:lnTo>
                    <a:pt x="687" y="171"/>
                  </a:lnTo>
                  <a:lnTo>
                    <a:pt x="687" y="171"/>
                  </a:lnTo>
                  <a:lnTo>
                    <a:pt x="687" y="171"/>
                  </a:lnTo>
                  <a:lnTo>
                    <a:pt x="685" y="171"/>
                  </a:lnTo>
                  <a:lnTo>
                    <a:pt x="685" y="171"/>
                  </a:lnTo>
                  <a:lnTo>
                    <a:pt x="685" y="171"/>
                  </a:lnTo>
                  <a:lnTo>
                    <a:pt x="685" y="169"/>
                  </a:lnTo>
                  <a:lnTo>
                    <a:pt x="687" y="169"/>
                  </a:lnTo>
                  <a:lnTo>
                    <a:pt x="687" y="169"/>
                  </a:lnTo>
                  <a:lnTo>
                    <a:pt x="687" y="169"/>
                  </a:lnTo>
                  <a:lnTo>
                    <a:pt x="687" y="169"/>
                  </a:lnTo>
                  <a:lnTo>
                    <a:pt x="689" y="169"/>
                  </a:lnTo>
                  <a:lnTo>
                    <a:pt x="689" y="169"/>
                  </a:lnTo>
                  <a:lnTo>
                    <a:pt x="689" y="169"/>
                  </a:lnTo>
                  <a:lnTo>
                    <a:pt x="689" y="169"/>
                  </a:lnTo>
                  <a:lnTo>
                    <a:pt x="689" y="171"/>
                  </a:lnTo>
                  <a:close/>
                  <a:moveTo>
                    <a:pt x="303" y="171"/>
                  </a:moveTo>
                  <a:lnTo>
                    <a:pt x="303" y="171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3" y="171"/>
                  </a:lnTo>
                  <a:close/>
                  <a:moveTo>
                    <a:pt x="595" y="169"/>
                  </a:moveTo>
                  <a:lnTo>
                    <a:pt x="597" y="169"/>
                  </a:lnTo>
                  <a:lnTo>
                    <a:pt x="597" y="171"/>
                  </a:lnTo>
                  <a:lnTo>
                    <a:pt x="597" y="171"/>
                  </a:lnTo>
                  <a:lnTo>
                    <a:pt x="597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7" y="174"/>
                  </a:lnTo>
                  <a:lnTo>
                    <a:pt x="597" y="174"/>
                  </a:lnTo>
                  <a:lnTo>
                    <a:pt x="597" y="174"/>
                  </a:lnTo>
                  <a:lnTo>
                    <a:pt x="597" y="174"/>
                  </a:lnTo>
                  <a:lnTo>
                    <a:pt x="597" y="174"/>
                  </a:lnTo>
                  <a:lnTo>
                    <a:pt x="597" y="174"/>
                  </a:lnTo>
                  <a:lnTo>
                    <a:pt x="597" y="174"/>
                  </a:lnTo>
                  <a:lnTo>
                    <a:pt x="597" y="171"/>
                  </a:lnTo>
                  <a:lnTo>
                    <a:pt x="597" y="171"/>
                  </a:lnTo>
                  <a:lnTo>
                    <a:pt x="597" y="171"/>
                  </a:lnTo>
                  <a:lnTo>
                    <a:pt x="599" y="171"/>
                  </a:lnTo>
                  <a:lnTo>
                    <a:pt x="599" y="171"/>
                  </a:lnTo>
                  <a:lnTo>
                    <a:pt x="599" y="171"/>
                  </a:lnTo>
                  <a:lnTo>
                    <a:pt x="599" y="171"/>
                  </a:lnTo>
                  <a:lnTo>
                    <a:pt x="599" y="169"/>
                  </a:lnTo>
                  <a:lnTo>
                    <a:pt x="599" y="169"/>
                  </a:lnTo>
                  <a:lnTo>
                    <a:pt x="599" y="169"/>
                  </a:lnTo>
                  <a:lnTo>
                    <a:pt x="599" y="169"/>
                  </a:lnTo>
                  <a:lnTo>
                    <a:pt x="599" y="169"/>
                  </a:lnTo>
                  <a:lnTo>
                    <a:pt x="599" y="171"/>
                  </a:lnTo>
                  <a:lnTo>
                    <a:pt x="599" y="171"/>
                  </a:lnTo>
                  <a:lnTo>
                    <a:pt x="599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4" y="171"/>
                  </a:lnTo>
                  <a:lnTo>
                    <a:pt x="604" y="171"/>
                  </a:lnTo>
                  <a:lnTo>
                    <a:pt x="604" y="171"/>
                  </a:lnTo>
                  <a:lnTo>
                    <a:pt x="604" y="174"/>
                  </a:lnTo>
                  <a:lnTo>
                    <a:pt x="604" y="174"/>
                  </a:lnTo>
                  <a:lnTo>
                    <a:pt x="602" y="174"/>
                  </a:lnTo>
                  <a:lnTo>
                    <a:pt x="602" y="174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602" y="176"/>
                  </a:lnTo>
                  <a:lnTo>
                    <a:pt x="599" y="178"/>
                  </a:lnTo>
                  <a:lnTo>
                    <a:pt x="599" y="178"/>
                  </a:lnTo>
                  <a:lnTo>
                    <a:pt x="599" y="176"/>
                  </a:lnTo>
                  <a:lnTo>
                    <a:pt x="599" y="178"/>
                  </a:lnTo>
                  <a:lnTo>
                    <a:pt x="599" y="176"/>
                  </a:lnTo>
                  <a:lnTo>
                    <a:pt x="599" y="176"/>
                  </a:lnTo>
                  <a:lnTo>
                    <a:pt x="599" y="176"/>
                  </a:lnTo>
                  <a:lnTo>
                    <a:pt x="599" y="176"/>
                  </a:lnTo>
                  <a:lnTo>
                    <a:pt x="599" y="176"/>
                  </a:lnTo>
                  <a:lnTo>
                    <a:pt x="599" y="176"/>
                  </a:lnTo>
                  <a:lnTo>
                    <a:pt x="597" y="176"/>
                  </a:lnTo>
                  <a:lnTo>
                    <a:pt x="597" y="176"/>
                  </a:lnTo>
                  <a:lnTo>
                    <a:pt x="597" y="176"/>
                  </a:lnTo>
                  <a:lnTo>
                    <a:pt x="597" y="176"/>
                  </a:lnTo>
                  <a:lnTo>
                    <a:pt x="597" y="176"/>
                  </a:lnTo>
                  <a:lnTo>
                    <a:pt x="597" y="176"/>
                  </a:lnTo>
                  <a:lnTo>
                    <a:pt x="597" y="178"/>
                  </a:lnTo>
                  <a:lnTo>
                    <a:pt x="597" y="178"/>
                  </a:lnTo>
                  <a:lnTo>
                    <a:pt x="597" y="180"/>
                  </a:lnTo>
                  <a:lnTo>
                    <a:pt x="597" y="180"/>
                  </a:lnTo>
                  <a:lnTo>
                    <a:pt x="597" y="180"/>
                  </a:lnTo>
                  <a:lnTo>
                    <a:pt x="597" y="180"/>
                  </a:lnTo>
                  <a:lnTo>
                    <a:pt x="597" y="178"/>
                  </a:lnTo>
                  <a:lnTo>
                    <a:pt x="595" y="178"/>
                  </a:lnTo>
                  <a:lnTo>
                    <a:pt x="595" y="180"/>
                  </a:lnTo>
                  <a:lnTo>
                    <a:pt x="595" y="180"/>
                  </a:lnTo>
                  <a:lnTo>
                    <a:pt x="595" y="180"/>
                  </a:lnTo>
                  <a:lnTo>
                    <a:pt x="595" y="178"/>
                  </a:lnTo>
                  <a:lnTo>
                    <a:pt x="595" y="178"/>
                  </a:lnTo>
                  <a:lnTo>
                    <a:pt x="595" y="178"/>
                  </a:lnTo>
                  <a:lnTo>
                    <a:pt x="593" y="178"/>
                  </a:lnTo>
                  <a:lnTo>
                    <a:pt x="593" y="178"/>
                  </a:lnTo>
                  <a:lnTo>
                    <a:pt x="593" y="178"/>
                  </a:lnTo>
                  <a:lnTo>
                    <a:pt x="595" y="178"/>
                  </a:lnTo>
                  <a:lnTo>
                    <a:pt x="595" y="178"/>
                  </a:lnTo>
                  <a:lnTo>
                    <a:pt x="595" y="178"/>
                  </a:lnTo>
                  <a:lnTo>
                    <a:pt x="595" y="176"/>
                  </a:lnTo>
                  <a:lnTo>
                    <a:pt x="595" y="174"/>
                  </a:lnTo>
                  <a:lnTo>
                    <a:pt x="595" y="174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1"/>
                  </a:lnTo>
                  <a:lnTo>
                    <a:pt x="595" y="174"/>
                  </a:lnTo>
                  <a:lnTo>
                    <a:pt x="595" y="174"/>
                  </a:lnTo>
                  <a:lnTo>
                    <a:pt x="595" y="174"/>
                  </a:lnTo>
                  <a:lnTo>
                    <a:pt x="593" y="174"/>
                  </a:lnTo>
                  <a:lnTo>
                    <a:pt x="593" y="174"/>
                  </a:lnTo>
                  <a:lnTo>
                    <a:pt x="593" y="174"/>
                  </a:lnTo>
                  <a:lnTo>
                    <a:pt x="593" y="174"/>
                  </a:lnTo>
                  <a:lnTo>
                    <a:pt x="593" y="176"/>
                  </a:lnTo>
                  <a:lnTo>
                    <a:pt x="593" y="176"/>
                  </a:lnTo>
                  <a:lnTo>
                    <a:pt x="593" y="176"/>
                  </a:lnTo>
                  <a:lnTo>
                    <a:pt x="590" y="178"/>
                  </a:lnTo>
                  <a:lnTo>
                    <a:pt x="590" y="178"/>
                  </a:lnTo>
                  <a:lnTo>
                    <a:pt x="588" y="178"/>
                  </a:lnTo>
                  <a:lnTo>
                    <a:pt x="588" y="178"/>
                  </a:lnTo>
                  <a:lnTo>
                    <a:pt x="588" y="176"/>
                  </a:lnTo>
                  <a:lnTo>
                    <a:pt x="588" y="174"/>
                  </a:lnTo>
                  <a:lnTo>
                    <a:pt x="588" y="174"/>
                  </a:lnTo>
                  <a:lnTo>
                    <a:pt x="588" y="171"/>
                  </a:lnTo>
                  <a:lnTo>
                    <a:pt x="588" y="171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0" y="169"/>
                  </a:lnTo>
                  <a:lnTo>
                    <a:pt x="593" y="169"/>
                  </a:lnTo>
                  <a:lnTo>
                    <a:pt x="593" y="169"/>
                  </a:lnTo>
                  <a:lnTo>
                    <a:pt x="593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lnTo>
                    <a:pt x="595" y="169"/>
                  </a:lnTo>
                  <a:close/>
                  <a:moveTo>
                    <a:pt x="739" y="169"/>
                  </a:moveTo>
                  <a:lnTo>
                    <a:pt x="739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71"/>
                  </a:lnTo>
                  <a:lnTo>
                    <a:pt x="734" y="171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6" y="169"/>
                  </a:lnTo>
                  <a:lnTo>
                    <a:pt x="739" y="169"/>
                  </a:lnTo>
                  <a:lnTo>
                    <a:pt x="739" y="169"/>
                  </a:lnTo>
                  <a:close/>
                  <a:moveTo>
                    <a:pt x="310" y="165"/>
                  </a:move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4" y="165"/>
                  </a:lnTo>
                  <a:lnTo>
                    <a:pt x="314" y="165"/>
                  </a:lnTo>
                  <a:lnTo>
                    <a:pt x="314" y="165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4" y="169"/>
                  </a:lnTo>
                  <a:lnTo>
                    <a:pt x="314" y="169"/>
                  </a:lnTo>
                  <a:lnTo>
                    <a:pt x="314" y="169"/>
                  </a:lnTo>
                  <a:lnTo>
                    <a:pt x="314" y="169"/>
                  </a:lnTo>
                  <a:lnTo>
                    <a:pt x="312" y="169"/>
                  </a:lnTo>
                  <a:lnTo>
                    <a:pt x="312" y="169"/>
                  </a:lnTo>
                  <a:lnTo>
                    <a:pt x="312" y="169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10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5" y="171"/>
                  </a:lnTo>
                  <a:lnTo>
                    <a:pt x="305" y="171"/>
                  </a:lnTo>
                  <a:lnTo>
                    <a:pt x="307" y="169"/>
                  </a:lnTo>
                  <a:lnTo>
                    <a:pt x="307" y="165"/>
                  </a:lnTo>
                  <a:lnTo>
                    <a:pt x="307" y="165"/>
                  </a:lnTo>
                  <a:lnTo>
                    <a:pt x="307" y="165"/>
                  </a:lnTo>
                  <a:lnTo>
                    <a:pt x="307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close/>
                  <a:moveTo>
                    <a:pt x="705" y="165"/>
                  </a:moveTo>
                  <a:lnTo>
                    <a:pt x="705" y="167"/>
                  </a:lnTo>
                  <a:lnTo>
                    <a:pt x="705" y="167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3" y="162"/>
                  </a:lnTo>
                  <a:lnTo>
                    <a:pt x="703" y="162"/>
                  </a:lnTo>
                  <a:lnTo>
                    <a:pt x="703" y="165"/>
                  </a:lnTo>
                  <a:lnTo>
                    <a:pt x="703" y="165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5" y="165"/>
                  </a:lnTo>
                  <a:lnTo>
                    <a:pt x="705" y="165"/>
                  </a:lnTo>
                  <a:close/>
                  <a:moveTo>
                    <a:pt x="842" y="167"/>
                  </a:moveTo>
                  <a:lnTo>
                    <a:pt x="842" y="167"/>
                  </a:lnTo>
                  <a:lnTo>
                    <a:pt x="842" y="167"/>
                  </a:lnTo>
                  <a:lnTo>
                    <a:pt x="844" y="165"/>
                  </a:lnTo>
                  <a:lnTo>
                    <a:pt x="844" y="165"/>
                  </a:lnTo>
                  <a:lnTo>
                    <a:pt x="844" y="165"/>
                  </a:lnTo>
                  <a:lnTo>
                    <a:pt x="844" y="167"/>
                  </a:lnTo>
                  <a:lnTo>
                    <a:pt x="844" y="167"/>
                  </a:lnTo>
                  <a:lnTo>
                    <a:pt x="842" y="167"/>
                  </a:lnTo>
                  <a:lnTo>
                    <a:pt x="842" y="169"/>
                  </a:lnTo>
                  <a:lnTo>
                    <a:pt x="842" y="169"/>
                  </a:lnTo>
                  <a:lnTo>
                    <a:pt x="842" y="169"/>
                  </a:lnTo>
                  <a:lnTo>
                    <a:pt x="842" y="169"/>
                  </a:lnTo>
                  <a:lnTo>
                    <a:pt x="840" y="167"/>
                  </a:lnTo>
                  <a:lnTo>
                    <a:pt x="840" y="167"/>
                  </a:lnTo>
                  <a:lnTo>
                    <a:pt x="840" y="167"/>
                  </a:lnTo>
                  <a:lnTo>
                    <a:pt x="840" y="167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0" y="165"/>
                  </a:lnTo>
                  <a:lnTo>
                    <a:pt x="842" y="162"/>
                  </a:lnTo>
                  <a:lnTo>
                    <a:pt x="842" y="162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5"/>
                  </a:lnTo>
                  <a:lnTo>
                    <a:pt x="842" y="167"/>
                  </a:lnTo>
                  <a:lnTo>
                    <a:pt x="842" y="167"/>
                  </a:lnTo>
                  <a:close/>
                  <a:moveTo>
                    <a:pt x="85" y="162"/>
                  </a:moveTo>
                  <a:lnTo>
                    <a:pt x="85" y="165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5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7" y="167"/>
                  </a:lnTo>
                  <a:lnTo>
                    <a:pt x="87" y="167"/>
                  </a:lnTo>
                  <a:lnTo>
                    <a:pt x="87" y="167"/>
                  </a:lnTo>
                  <a:lnTo>
                    <a:pt x="87" y="167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7" y="169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92" y="176"/>
                  </a:lnTo>
                  <a:lnTo>
                    <a:pt x="92" y="176"/>
                  </a:lnTo>
                  <a:lnTo>
                    <a:pt x="89" y="176"/>
                  </a:lnTo>
                  <a:lnTo>
                    <a:pt x="89" y="176"/>
                  </a:lnTo>
                  <a:lnTo>
                    <a:pt x="89" y="176"/>
                  </a:lnTo>
                  <a:lnTo>
                    <a:pt x="89" y="176"/>
                  </a:lnTo>
                  <a:lnTo>
                    <a:pt x="89" y="176"/>
                  </a:lnTo>
                  <a:lnTo>
                    <a:pt x="92" y="176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2" y="178"/>
                  </a:lnTo>
                  <a:lnTo>
                    <a:pt x="94" y="178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2"/>
                  </a:lnTo>
                  <a:lnTo>
                    <a:pt x="94" y="182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0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92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7" y="182"/>
                  </a:lnTo>
                  <a:lnTo>
                    <a:pt x="87" y="182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8" y="171"/>
                  </a:lnTo>
                  <a:lnTo>
                    <a:pt x="78" y="169"/>
                  </a:lnTo>
                  <a:lnTo>
                    <a:pt x="78" y="169"/>
                  </a:lnTo>
                  <a:lnTo>
                    <a:pt x="78" y="169"/>
                  </a:lnTo>
                  <a:lnTo>
                    <a:pt x="80" y="169"/>
                  </a:lnTo>
                  <a:lnTo>
                    <a:pt x="80" y="167"/>
                  </a:lnTo>
                  <a:lnTo>
                    <a:pt x="80" y="167"/>
                  </a:lnTo>
                  <a:lnTo>
                    <a:pt x="80" y="167"/>
                  </a:lnTo>
                  <a:lnTo>
                    <a:pt x="80" y="165"/>
                  </a:lnTo>
                  <a:lnTo>
                    <a:pt x="80" y="165"/>
                  </a:lnTo>
                  <a:lnTo>
                    <a:pt x="80" y="165"/>
                  </a:lnTo>
                  <a:lnTo>
                    <a:pt x="80" y="165"/>
                  </a:lnTo>
                  <a:lnTo>
                    <a:pt x="80" y="165"/>
                  </a:lnTo>
                  <a:lnTo>
                    <a:pt x="80" y="165"/>
                  </a:lnTo>
                  <a:lnTo>
                    <a:pt x="80" y="165"/>
                  </a:lnTo>
                  <a:lnTo>
                    <a:pt x="83" y="165"/>
                  </a:lnTo>
                  <a:lnTo>
                    <a:pt x="83" y="165"/>
                  </a:lnTo>
                  <a:lnTo>
                    <a:pt x="83" y="165"/>
                  </a:lnTo>
                  <a:lnTo>
                    <a:pt x="83" y="165"/>
                  </a:lnTo>
                  <a:lnTo>
                    <a:pt x="83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lnTo>
                    <a:pt x="85" y="162"/>
                  </a:lnTo>
                  <a:close/>
                  <a:moveTo>
                    <a:pt x="759" y="162"/>
                  </a:moveTo>
                  <a:lnTo>
                    <a:pt x="759" y="162"/>
                  </a:lnTo>
                  <a:lnTo>
                    <a:pt x="759" y="162"/>
                  </a:lnTo>
                  <a:lnTo>
                    <a:pt x="759" y="162"/>
                  </a:lnTo>
                  <a:lnTo>
                    <a:pt x="759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1" y="165"/>
                  </a:lnTo>
                  <a:lnTo>
                    <a:pt x="761" y="165"/>
                  </a:lnTo>
                  <a:lnTo>
                    <a:pt x="761" y="165"/>
                  </a:lnTo>
                  <a:lnTo>
                    <a:pt x="761" y="165"/>
                  </a:lnTo>
                  <a:lnTo>
                    <a:pt x="761" y="165"/>
                  </a:lnTo>
                  <a:lnTo>
                    <a:pt x="761" y="165"/>
                  </a:lnTo>
                  <a:lnTo>
                    <a:pt x="761" y="165"/>
                  </a:lnTo>
                  <a:lnTo>
                    <a:pt x="761" y="167"/>
                  </a:lnTo>
                  <a:lnTo>
                    <a:pt x="761" y="171"/>
                  </a:lnTo>
                  <a:lnTo>
                    <a:pt x="759" y="171"/>
                  </a:lnTo>
                  <a:lnTo>
                    <a:pt x="759" y="171"/>
                  </a:lnTo>
                  <a:lnTo>
                    <a:pt x="759" y="171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7" y="174"/>
                  </a:lnTo>
                  <a:lnTo>
                    <a:pt x="757" y="174"/>
                  </a:lnTo>
                  <a:lnTo>
                    <a:pt x="757" y="174"/>
                  </a:lnTo>
                  <a:lnTo>
                    <a:pt x="757" y="174"/>
                  </a:lnTo>
                  <a:lnTo>
                    <a:pt x="757" y="174"/>
                  </a:lnTo>
                  <a:lnTo>
                    <a:pt x="757" y="171"/>
                  </a:lnTo>
                  <a:lnTo>
                    <a:pt x="757" y="171"/>
                  </a:lnTo>
                  <a:lnTo>
                    <a:pt x="754" y="171"/>
                  </a:lnTo>
                  <a:lnTo>
                    <a:pt x="754" y="171"/>
                  </a:lnTo>
                  <a:lnTo>
                    <a:pt x="754" y="171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9"/>
                  </a:lnTo>
                  <a:lnTo>
                    <a:pt x="754" y="167"/>
                  </a:lnTo>
                  <a:lnTo>
                    <a:pt x="754" y="167"/>
                  </a:lnTo>
                  <a:lnTo>
                    <a:pt x="752" y="167"/>
                  </a:lnTo>
                  <a:lnTo>
                    <a:pt x="754" y="167"/>
                  </a:lnTo>
                  <a:lnTo>
                    <a:pt x="754" y="167"/>
                  </a:lnTo>
                  <a:lnTo>
                    <a:pt x="754" y="167"/>
                  </a:lnTo>
                  <a:lnTo>
                    <a:pt x="752" y="165"/>
                  </a:lnTo>
                  <a:lnTo>
                    <a:pt x="752" y="165"/>
                  </a:lnTo>
                  <a:lnTo>
                    <a:pt x="752" y="165"/>
                  </a:lnTo>
                  <a:lnTo>
                    <a:pt x="752" y="165"/>
                  </a:lnTo>
                  <a:lnTo>
                    <a:pt x="754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9" y="162"/>
                  </a:lnTo>
                  <a:lnTo>
                    <a:pt x="759" y="162"/>
                  </a:lnTo>
                  <a:lnTo>
                    <a:pt x="759" y="162"/>
                  </a:lnTo>
                  <a:close/>
                  <a:moveTo>
                    <a:pt x="757" y="160"/>
                  </a:move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9" y="160"/>
                  </a:lnTo>
                  <a:lnTo>
                    <a:pt x="759" y="160"/>
                  </a:lnTo>
                  <a:lnTo>
                    <a:pt x="759" y="160"/>
                  </a:lnTo>
                  <a:lnTo>
                    <a:pt x="759" y="160"/>
                  </a:lnTo>
                  <a:lnTo>
                    <a:pt x="759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4" y="162"/>
                  </a:lnTo>
                  <a:lnTo>
                    <a:pt x="752" y="162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50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2"/>
                  </a:lnTo>
                  <a:lnTo>
                    <a:pt x="748" y="160"/>
                  </a:lnTo>
                  <a:lnTo>
                    <a:pt x="748" y="160"/>
                  </a:lnTo>
                  <a:lnTo>
                    <a:pt x="748" y="160"/>
                  </a:lnTo>
                  <a:lnTo>
                    <a:pt x="748" y="160"/>
                  </a:lnTo>
                  <a:lnTo>
                    <a:pt x="748" y="160"/>
                  </a:lnTo>
                  <a:lnTo>
                    <a:pt x="748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4" y="160"/>
                  </a:lnTo>
                  <a:lnTo>
                    <a:pt x="754" y="160"/>
                  </a:lnTo>
                  <a:lnTo>
                    <a:pt x="754" y="160"/>
                  </a:lnTo>
                  <a:lnTo>
                    <a:pt x="754" y="160"/>
                  </a:lnTo>
                  <a:lnTo>
                    <a:pt x="754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close/>
                  <a:moveTo>
                    <a:pt x="853" y="156"/>
                  </a:moveTo>
                  <a:lnTo>
                    <a:pt x="853" y="156"/>
                  </a:lnTo>
                  <a:lnTo>
                    <a:pt x="853" y="156"/>
                  </a:lnTo>
                  <a:lnTo>
                    <a:pt x="853" y="156"/>
                  </a:lnTo>
                  <a:lnTo>
                    <a:pt x="853" y="156"/>
                  </a:lnTo>
                  <a:lnTo>
                    <a:pt x="853" y="158"/>
                  </a:lnTo>
                  <a:lnTo>
                    <a:pt x="853" y="158"/>
                  </a:lnTo>
                  <a:lnTo>
                    <a:pt x="856" y="158"/>
                  </a:lnTo>
                  <a:lnTo>
                    <a:pt x="856" y="158"/>
                  </a:lnTo>
                  <a:lnTo>
                    <a:pt x="856" y="158"/>
                  </a:lnTo>
                  <a:lnTo>
                    <a:pt x="856" y="158"/>
                  </a:lnTo>
                  <a:lnTo>
                    <a:pt x="856" y="158"/>
                  </a:lnTo>
                  <a:lnTo>
                    <a:pt x="856" y="158"/>
                  </a:lnTo>
                  <a:lnTo>
                    <a:pt x="858" y="158"/>
                  </a:lnTo>
                  <a:lnTo>
                    <a:pt x="858" y="158"/>
                  </a:lnTo>
                  <a:lnTo>
                    <a:pt x="858" y="158"/>
                  </a:lnTo>
                  <a:lnTo>
                    <a:pt x="858" y="158"/>
                  </a:lnTo>
                  <a:lnTo>
                    <a:pt x="858" y="158"/>
                  </a:lnTo>
                  <a:lnTo>
                    <a:pt x="858" y="158"/>
                  </a:lnTo>
                  <a:lnTo>
                    <a:pt x="858" y="158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0" y="158"/>
                  </a:lnTo>
                  <a:lnTo>
                    <a:pt x="862" y="158"/>
                  </a:lnTo>
                  <a:lnTo>
                    <a:pt x="862" y="158"/>
                  </a:lnTo>
                  <a:lnTo>
                    <a:pt x="862" y="158"/>
                  </a:lnTo>
                  <a:lnTo>
                    <a:pt x="862" y="158"/>
                  </a:lnTo>
                  <a:lnTo>
                    <a:pt x="865" y="160"/>
                  </a:lnTo>
                  <a:lnTo>
                    <a:pt x="867" y="162"/>
                  </a:lnTo>
                  <a:lnTo>
                    <a:pt x="867" y="162"/>
                  </a:lnTo>
                  <a:lnTo>
                    <a:pt x="867" y="162"/>
                  </a:lnTo>
                  <a:lnTo>
                    <a:pt x="867" y="162"/>
                  </a:lnTo>
                  <a:lnTo>
                    <a:pt x="867" y="162"/>
                  </a:lnTo>
                  <a:lnTo>
                    <a:pt x="867" y="162"/>
                  </a:lnTo>
                  <a:lnTo>
                    <a:pt x="867" y="162"/>
                  </a:lnTo>
                  <a:lnTo>
                    <a:pt x="867" y="165"/>
                  </a:lnTo>
                  <a:lnTo>
                    <a:pt x="867" y="165"/>
                  </a:lnTo>
                  <a:lnTo>
                    <a:pt x="867" y="165"/>
                  </a:lnTo>
                  <a:lnTo>
                    <a:pt x="869" y="165"/>
                  </a:lnTo>
                  <a:lnTo>
                    <a:pt x="869" y="165"/>
                  </a:lnTo>
                  <a:lnTo>
                    <a:pt x="869" y="165"/>
                  </a:lnTo>
                  <a:lnTo>
                    <a:pt x="869" y="167"/>
                  </a:lnTo>
                  <a:lnTo>
                    <a:pt x="869" y="167"/>
                  </a:lnTo>
                  <a:lnTo>
                    <a:pt x="869" y="167"/>
                  </a:lnTo>
                  <a:lnTo>
                    <a:pt x="869" y="167"/>
                  </a:lnTo>
                  <a:lnTo>
                    <a:pt x="869" y="167"/>
                  </a:lnTo>
                  <a:lnTo>
                    <a:pt x="869" y="167"/>
                  </a:lnTo>
                  <a:lnTo>
                    <a:pt x="871" y="167"/>
                  </a:lnTo>
                  <a:lnTo>
                    <a:pt x="871" y="167"/>
                  </a:lnTo>
                  <a:lnTo>
                    <a:pt x="871" y="167"/>
                  </a:lnTo>
                  <a:lnTo>
                    <a:pt x="871" y="167"/>
                  </a:lnTo>
                  <a:lnTo>
                    <a:pt x="874" y="167"/>
                  </a:lnTo>
                  <a:lnTo>
                    <a:pt x="874" y="167"/>
                  </a:lnTo>
                  <a:lnTo>
                    <a:pt x="874" y="167"/>
                  </a:lnTo>
                  <a:lnTo>
                    <a:pt x="874" y="169"/>
                  </a:lnTo>
                  <a:lnTo>
                    <a:pt x="871" y="169"/>
                  </a:lnTo>
                  <a:lnTo>
                    <a:pt x="871" y="169"/>
                  </a:lnTo>
                  <a:lnTo>
                    <a:pt x="871" y="169"/>
                  </a:lnTo>
                  <a:lnTo>
                    <a:pt x="869" y="169"/>
                  </a:lnTo>
                  <a:lnTo>
                    <a:pt x="869" y="169"/>
                  </a:lnTo>
                  <a:lnTo>
                    <a:pt x="869" y="169"/>
                  </a:lnTo>
                  <a:lnTo>
                    <a:pt x="869" y="169"/>
                  </a:lnTo>
                  <a:lnTo>
                    <a:pt x="869" y="169"/>
                  </a:lnTo>
                  <a:lnTo>
                    <a:pt x="867" y="169"/>
                  </a:lnTo>
                  <a:lnTo>
                    <a:pt x="867" y="169"/>
                  </a:lnTo>
                  <a:lnTo>
                    <a:pt x="865" y="169"/>
                  </a:lnTo>
                  <a:lnTo>
                    <a:pt x="865" y="169"/>
                  </a:lnTo>
                  <a:lnTo>
                    <a:pt x="865" y="169"/>
                  </a:lnTo>
                  <a:lnTo>
                    <a:pt x="862" y="169"/>
                  </a:lnTo>
                  <a:lnTo>
                    <a:pt x="862" y="169"/>
                  </a:lnTo>
                  <a:lnTo>
                    <a:pt x="862" y="169"/>
                  </a:lnTo>
                  <a:lnTo>
                    <a:pt x="862" y="169"/>
                  </a:lnTo>
                  <a:lnTo>
                    <a:pt x="862" y="169"/>
                  </a:lnTo>
                  <a:lnTo>
                    <a:pt x="862" y="167"/>
                  </a:lnTo>
                  <a:lnTo>
                    <a:pt x="862" y="167"/>
                  </a:lnTo>
                  <a:lnTo>
                    <a:pt x="862" y="167"/>
                  </a:lnTo>
                  <a:lnTo>
                    <a:pt x="862" y="167"/>
                  </a:lnTo>
                  <a:lnTo>
                    <a:pt x="860" y="165"/>
                  </a:lnTo>
                  <a:lnTo>
                    <a:pt x="860" y="165"/>
                  </a:lnTo>
                  <a:lnTo>
                    <a:pt x="860" y="165"/>
                  </a:lnTo>
                  <a:lnTo>
                    <a:pt x="860" y="165"/>
                  </a:lnTo>
                  <a:lnTo>
                    <a:pt x="860" y="162"/>
                  </a:lnTo>
                  <a:lnTo>
                    <a:pt x="860" y="160"/>
                  </a:lnTo>
                  <a:lnTo>
                    <a:pt x="860" y="160"/>
                  </a:lnTo>
                  <a:lnTo>
                    <a:pt x="860" y="160"/>
                  </a:lnTo>
                  <a:lnTo>
                    <a:pt x="858" y="160"/>
                  </a:lnTo>
                  <a:lnTo>
                    <a:pt x="858" y="162"/>
                  </a:lnTo>
                  <a:lnTo>
                    <a:pt x="858" y="162"/>
                  </a:lnTo>
                  <a:lnTo>
                    <a:pt x="858" y="162"/>
                  </a:lnTo>
                  <a:lnTo>
                    <a:pt x="853" y="160"/>
                  </a:lnTo>
                  <a:lnTo>
                    <a:pt x="853" y="160"/>
                  </a:lnTo>
                  <a:lnTo>
                    <a:pt x="853" y="160"/>
                  </a:lnTo>
                  <a:lnTo>
                    <a:pt x="853" y="160"/>
                  </a:lnTo>
                  <a:lnTo>
                    <a:pt x="853" y="160"/>
                  </a:lnTo>
                  <a:lnTo>
                    <a:pt x="853" y="160"/>
                  </a:lnTo>
                  <a:lnTo>
                    <a:pt x="853" y="158"/>
                  </a:lnTo>
                  <a:lnTo>
                    <a:pt x="851" y="156"/>
                  </a:lnTo>
                  <a:lnTo>
                    <a:pt x="851" y="156"/>
                  </a:lnTo>
                  <a:lnTo>
                    <a:pt x="851" y="156"/>
                  </a:lnTo>
                  <a:lnTo>
                    <a:pt x="853" y="156"/>
                  </a:lnTo>
                  <a:lnTo>
                    <a:pt x="853" y="156"/>
                  </a:lnTo>
                  <a:lnTo>
                    <a:pt x="853" y="156"/>
                  </a:lnTo>
                  <a:close/>
                  <a:moveTo>
                    <a:pt x="683" y="160"/>
                  </a:moveTo>
                  <a:lnTo>
                    <a:pt x="683" y="160"/>
                  </a:lnTo>
                  <a:lnTo>
                    <a:pt x="683" y="160"/>
                  </a:lnTo>
                  <a:lnTo>
                    <a:pt x="683" y="160"/>
                  </a:lnTo>
                  <a:lnTo>
                    <a:pt x="680" y="160"/>
                  </a:lnTo>
                  <a:lnTo>
                    <a:pt x="680" y="160"/>
                  </a:lnTo>
                  <a:lnTo>
                    <a:pt x="680" y="160"/>
                  </a:lnTo>
                  <a:lnTo>
                    <a:pt x="680" y="160"/>
                  </a:lnTo>
                  <a:lnTo>
                    <a:pt x="680" y="160"/>
                  </a:lnTo>
                  <a:lnTo>
                    <a:pt x="678" y="160"/>
                  </a:lnTo>
                  <a:lnTo>
                    <a:pt x="678" y="158"/>
                  </a:lnTo>
                  <a:lnTo>
                    <a:pt x="680" y="158"/>
                  </a:lnTo>
                  <a:lnTo>
                    <a:pt x="680" y="158"/>
                  </a:lnTo>
                  <a:lnTo>
                    <a:pt x="680" y="158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58"/>
                  </a:lnTo>
                  <a:lnTo>
                    <a:pt x="683" y="160"/>
                  </a:lnTo>
                  <a:close/>
                  <a:moveTo>
                    <a:pt x="754" y="151"/>
                  </a:moveTo>
                  <a:lnTo>
                    <a:pt x="752" y="153"/>
                  </a:lnTo>
                  <a:lnTo>
                    <a:pt x="752" y="153"/>
                  </a:lnTo>
                  <a:lnTo>
                    <a:pt x="752" y="153"/>
                  </a:lnTo>
                  <a:lnTo>
                    <a:pt x="752" y="153"/>
                  </a:lnTo>
                  <a:lnTo>
                    <a:pt x="752" y="153"/>
                  </a:lnTo>
                  <a:lnTo>
                    <a:pt x="750" y="153"/>
                  </a:lnTo>
                  <a:lnTo>
                    <a:pt x="752" y="153"/>
                  </a:lnTo>
                  <a:lnTo>
                    <a:pt x="752" y="153"/>
                  </a:lnTo>
                  <a:lnTo>
                    <a:pt x="752" y="151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48" y="153"/>
                  </a:lnTo>
                  <a:lnTo>
                    <a:pt x="748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48" y="153"/>
                  </a:lnTo>
                  <a:lnTo>
                    <a:pt x="748" y="153"/>
                  </a:lnTo>
                  <a:lnTo>
                    <a:pt x="748" y="151"/>
                  </a:lnTo>
                  <a:lnTo>
                    <a:pt x="748" y="151"/>
                  </a:lnTo>
                  <a:lnTo>
                    <a:pt x="748" y="151"/>
                  </a:lnTo>
                  <a:lnTo>
                    <a:pt x="748" y="153"/>
                  </a:lnTo>
                  <a:lnTo>
                    <a:pt x="750" y="153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3"/>
                  </a:lnTo>
                  <a:lnTo>
                    <a:pt x="750" y="153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2" y="151"/>
                  </a:lnTo>
                  <a:lnTo>
                    <a:pt x="754" y="151"/>
                  </a:lnTo>
                  <a:lnTo>
                    <a:pt x="754" y="151"/>
                  </a:lnTo>
                  <a:close/>
                  <a:moveTo>
                    <a:pt x="736" y="153"/>
                  </a:moveTo>
                  <a:lnTo>
                    <a:pt x="736" y="153"/>
                  </a:lnTo>
                  <a:lnTo>
                    <a:pt x="736" y="153"/>
                  </a:lnTo>
                  <a:lnTo>
                    <a:pt x="736" y="153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1"/>
                  </a:lnTo>
                  <a:lnTo>
                    <a:pt x="736" y="153"/>
                  </a:lnTo>
                  <a:lnTo>
                    <a:pt x="736" y="153"/>
                  </a:lnTo>
                  <a:close/>
                  <a:moveTo>
                    <a:pt x="568" y="151"/>
                  </a:moveTo>
                  <a:lnTo>
                    <a:pt x="568" y="151"/>
                  </a:lnTo>
                  <a:lnTo>
                    <a:pt x="568" y="151"/>
                  </a:lnTo>
                  <a:lnTo>
                    <a:pt x="568" y="151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8" y="153"/>
                  </a:lnTo>
                  <a:lnTo>
                    <a:pt x="566" y="153"/>
                  </a:lnTo>
                  <a:lnTo>
                    <a:pt x="566" y="153"/>
                  </a:lnTo>
                  <a:lnTo>
                    <a:pt x="566" y="153"/>
                  </a:lnTo>
                  <a:lnTo>
                    <a:pt x="566" y="153"/>
                  </a:lnTo>
                  <a:lnTo>
                    <a:pt x="566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6" y="151"/>
                  </a:lnTo>
                  <a:lnTo>
                    <a:pt x="568" y="151"/>
                  </a:lnTo>
                  <a:lnTo>
                    <a:pt x="568" y="151"/>
                  </a:lnTo>
                  <a:close/>
                  <a:moveTo>
                    <a:pt x="790" y="149"/>
                  </a:moveTo>
                  <a:lnTo>
                    <a:pt x="795" y="149"/>
                  </a:lnTo>
                  <a:lnTo>
                    <a:pt x="795" y="149"/>
                  </a:lnTo>
                  <a:lnTo>
                    <a:pt x="799" y="151"/>
                  </a:lnTo>
                  <a:lnTo>
                    <a:pt x="799" y="151"/>
                  </a:lnTo>
                  <a:lnTo>
                    <a:pt x="802" y="151"/>
                  </a:lnTo>
                  <a:lnTo>
                    <a:pt x="802" y="151"/>
                  </a:lnTo>
                  <a:lnTo>
                    <a:pt x="802" y="151"/>
                  </a:lnTo>
                  <a:lnTo>
                    <a:pt x="802" y="151"/>
                  </a:lnTo>
                  <a:lnTo>
                    <a:pt x="802" y="151"/>
                  </a:lnTo>
                  <a:lnTo>
                    <a:pt x="802" y="153"/>
                  </a:lnTo>
                  <a:lnTo>
                    <a:pt x="802" y="153"/>
                  </a:lnTo>
                  <a:lnTo>
                    <a:pt x="802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4" y="153"/>
                  </a:lnTo>
                  <a:lnTo>
                    <a:pt x="806" y="153"/>
                  </a:lnTo>
                  <a:lnTo>
                    <a:pt x="808" y="156"/>
                  </a:lnTo>
                  <a:lnTo>
                    <a:pt x="808" y="156"/>
                  </a:lnTo>
                  <a:lnTo>
                    <a:pt x="808" y="158"/>
                  </a:lnTo>
                  <a:lnTo>
                    <a:pt x="808" y="158"/>
                  </a:lnTo>
                  <a:lnTo>
                    <a:pt x="811" y="158"/>
                  </a:lnTo>
                  <a:lnTo>
                    <a:pt x="811" y="158"/>
                  </a:lnTo>
                  <a:lnTo>
                    <a:pt x="813" y="158"/>
                  </a:lnTo>
                  <a:lnTo>
                    <a:pt x="813" y="158"/>
                  </a:lnTo>
                  <a:lnTo>
                    <a:pt x="813" y="158"/>
                  </a:lnTo>
                  <a:lnTo>
                    <a:pt x="813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5" y="158"/>
                  </a:lnTo>
                  <a:lnTo>
                    <a:pt x="817" y="158"/>
                  </a:lnTo>
                  <a:lnTo>
                    <a:pt x="817" y="158"/>
                  </a:lnTo>
                  <a:lnTo>
                    <a:pt x="817" y="158"/>
                  </a:lnTo>
                  <a:lnTo>
                    <a:pt x="817" y="158"/>
                  </a:lnTo>
                  <a:lnTo>
                    <a:pt x="817" y="158"/>
                  </a:lnTo>
                  <a:lnTo>
                    <a:pt x="820" y="158"/>
                  </a:lnTo>
                  <a:lnTo>
                    <a:pt x="820" y="158"/>
                  </a:lnTo>
                  <a:lnTo>
                    <a:pt x="820" y="158"/>
                  </a:lnTo>
                  <a:lnTo>
                    <a:pt x="820" y="158"/>
                  </a:lnTo>
                  <a:lnTo>
                    <a:pt x="820" y="158"/>
                  </a:lnTo>
                  <a:lnTo>
                    <a:pt x="820" y="158"/>
                  </a:lnTo>
                  <a:lnTo>
                    <a:pt x="822" y="158"/>
                  </a:lnTo>
                  <a:lnTo>
                    <a:pt x="822" y="158"/>
                  </a:lnTo>
                  <a:lnTo>
                    <a:pt x="822" y="158"/>
                  </a:lnTo>
                  <a:lnTo>
                    <a:pt x="822" y="158"/>
                  </a:lnTo>
                  <a:lnTo>
                    <a:pt x="822" y="158"/>
                  </a:lnTo>
                  <a:lnTo>
                    <a:pt x="824" y="160"/>
                  </a:lnTo>
                  <a:lnTo>
                    <a:pt x="824" y="160"/>
                  </a:lnTo>
                  <a:lnTo>
                    <a:pt x="824" y="160"/>
                  </a:lnTo>
                  <a:lnTo>
                    <a:pt x="824" y="160"/>
                  </a:lnTo>
                  <a:lnTo>
                    <a:pt x="824" y="160"/>
                  </a:lnTo>
                  <a:lnTo>
                    <a:pt x="826" y="160"/>
                  </a:lnTo>
                  <a:lnTo>
                    <a:pt x="826" y="162"/>
                  </a:lnTo>
                  <a:lnTo>
                    <a:pt x="826" y="162"/>
                  </a:lnTo>
                  <a:lnTo>
                    <a:pt x="826" y="162"/>
                  </a:lnTo>
                  <a:lnTo>
                    <a:pt x="826" y="162"/>
                  </a:lnTo>
                  <a:lnTo>
                    <a:pt x="826" y="162"/>
                  </a:lnTo>
                  <a:lnTo>
                    <a:pt x="824" y="162"/>
                  </a:lnTo>
                  <a:lnTo>
                    <a:pt x="824" y="162"/>
                  </a:lnTo>
                  <a:lnTo>
                    <a:pt x="824" y="162"/>
                  </a:lnTo>
                  <a:lnTo>
                    <a:pt x="824" y="162"/>
                  </a:lnTo>
                  <a:lnTo>
                    <a:pt x="824" y="165"/>
                  </a:lnTo>
                  <a:lnTo>
                    <a:pt x="824" y="165"/>
                  </a:lnTo>
                  <a:lnTo>
                    <a:pt x="824" y="165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6" y="169"/>
                  </a:lnTo>
                  <a:lnTo>
                    <a:pt x="826" y="169"/>
                  </a:lnTo>
                  <a:lnTo>
                    <a:pt x="826" y="169"/>
                  </a:lnTo>
                  <a:lnTo>
                    <a:pt x="826" y="169"/>
                  </a:lnTo>
                  <a:lnTo>
                    <a:pt x="826" y="169"/>
                  </a:lnTo>
                  <a:lnTo>
                    <a:pt x="826" y="169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6"/>
                  </a:lnTo>
                  <a:lnTo>
                    <a:pt x="829" y="176"/>
                  </a:lnTo>
                  <a:lnTo>
                    <a:pt x="829" y="176"/>
                  </a:lnTo>
                  <a:lnTo>
                    <a:pt x="826" y="178"/>
                  </a:lnTo>
                  <a:lnTo>
                    <a:pt x="826" y="178"/>
                  </a:lnTo>
                  <a:lnTo>
                    <a:pt x="826" y="178"/>
                  </a:lnTo>
                  <a:lnTo>
                    <a:pt x="826" y="180"/>
                  </a:lnTo>
                  <a:lnTo>
                    <a:pt x="826" y="180"/>
                  </a:lnTo>
                  <a:lnTo>
                    <a:pt x="826" y="180"/>
                  </a:lnTo>
                  <a:lnTo>
                    <a:pt x="824" y="180"/>
                  </a:lnTo>
                  <a:lnTo>
                    <a:pt x="824" y="180"/>
                  </a:lnTo>
                  <a:lnTo>
                    <a:pt x="824" y="180"/>
                  </a:lnTo>
                  <a:lnTo>
                    <a:pt x="824" y="180"/>
                  </a:lnTo>
                  <a:lnTo>
                    <a:pt x="824" y="180"/>
                  </a:lnTo>
                  <a:lnTo>
                    <a:pt x="824" y="182"/>
                  </a:lnTo>
                  <a:lnTo>
                    <a:pt x="824" y="182"/>
                  </a:lnTo>
                  <a:lnTo>
                    <a:pt x="826" y="187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6" y="189"/>
                  </a:lnTo>
                  <a:lnTo>
                    <a:pt x="824" y="189"/>
                  </a:lnTo>
                  <a:lnTo>
                    <a:pt x="824" y="191"/>
                  </a:lnTo>
                  <a:lnTo>
                    <a:pt x="824" y="191"/>
                  </a:lnTo>
                  <a:lnTo>
                    <a:pt x="824" y="191"/>
                  </a:lnTo>
                  <a:lnTo>
                    <a:pt x="826" y="191"/>
                  </a:lnTo>
                  <a:lnTo>
                    <a:pt x="826" y="191"/>
                  </a:lnTo>
                  <a:lnTo>
                    <a:pt x="826" y="194"/>
                  </a:lnTo>
                  <a:lnTo>
                    <a:pt x="826" y="194"/>
                  </a:lnTo>
                  <a:lnTo>
                    <a:pt x="826" y="194"/>
                  </a:lnTo>
                  <a:lnTo>
                    <a:pt x="826" y="194"/>
                  </a:lnTo>
                  <a:lnTo>
                    <a:pt x="826" y="194"/>
                  </a:lnTo>
                  <a:lnTo>
                    <a:pt x="826" y="194"/>
                  </a:lnTo>
                  <a:lnTo>
                    <a:pt x="826" y="196"/>
                  </a:lnTo>
                  <a:lnTo>
                    <a:pt x="826" y="196"/>
                  </a:lnTo>
                  <a:lnTo>
                    <a:pt x="826" y="196"/>
                  </a:lnTo>
                  <a:lnTo>
                    <a:pt x="826" y="196"/>
                  </a:lnTo>
                  <a:lnTo>
                    <a:pt x="826" y="196"/>
                  </a:lnTo>
                  <a:lnTo>
                    <a:pt x="826" y="196"/>
                  </a:lnTo>
                  <a:lnTo>
                    <a:pt x="826" y="198"/>
                  </a:lnTo>
                  <a:lnTo>
                    <a:pt x="826" y="198"/>
                  </a:lnTo>
                  <a:lnTo>
                    <a:pt x="826" y="198"/>
                  </a:lnTo>
                  <a:lnTo>
                    <a:pt x="826" y="198"/>
                  </a:lnTo>
                  <a:lnTo>
                    <a:pt x="829" y="198"/>
                  </a:lnTo>
                  <a:lnTo>
                    <a:pt x="829" y="200"/>
                  </a:lnTo>
                  <a:lnTo>
                    <a:pt x="829" y="200"/>
                  </a:lnTo>
                  <a:lnTo>
                    <a:pt x="829" y="200"/>
                  </a:lnTo>
                  <a:lnTo>
                    <a:pt x="829" y="200"/>
                  </a:lnTo>
                  <a:lnTo>
                    <a:pt x="829" y="200"/>
                  </a:lnTo>
                  <a:lnTo>
                    <a:pt x="829" y="200"/>
                  </a:lnTo>
                  <a:lnTo>
                    <a:pt x="829" y="200"/>
                  </a:lnTo>
                  <a:lnTo>
                    <a:pt x="829" y="203"/>
                  </a:lnTo>
                  <a:lnTo>
                    <a:pt x="829" y="203"/>
                  </a:lnTo>
                  <a:lnTo>
                    <a:pt x="829" y="203"/>
                  </a:lnTo>
                  <a:lnTo>
                    <a:pt x="831" y="205"/>
                  </a:lnTo>
                  <a:lnTo>
                    <a:pt x="831" y="205"/>
                  </a:lnTo>
                  <a:lnTo>
                    <a:pt x="831" y="207"/>
                  </a:lnTo>
                  <a:lnTo>
                    <a:pt x="831" y="207"/>
                  </a:lnTo>
                  <a:lnTo>
                    <a:pt x="831" y="207"/>
                  </a:lnTo>
                  <a:lnTo>
                    <a:pt x="831" y="207"/>
                  </a:lnTo>
                  <a:lnTo>
                    <a:pt x="831" y="207"/>
                  </a:lnTo>
                  <a:lnTo>
                    <a:pt x="831" y="209"/>
                  </a:lnTo>
                  <a:lnTo>
                    <a:pt x="831" y="209"/>
                  </a:lnTo>
                  <a:lnTo>
                    <a:pt x="833" y="209"/>
                  </a:lnTo>
                  <a:lnTo>
                    <a:pt x="833" y="209"/>
                  </a:lnTo>
                  <a:lnTo>
                    <a:pt x="833" y="209"/>
                  </a:lnTo>
                  <a:lnTo>
                    <a:pt x="833" y="207"/>
                  </a:lnTo>
                  <a:lnTo>
                    <a:pt x="833" y="207"/>
                  </a:lnTo>
                  <a:lnTo>
                    <a:pt x="833" y="207"/>
                  </a:lnTo>
                  <a:lnTo>
                    <a:pt x="833" y="207"/>
                  </a:lnTo>
                  <a:lnTo>
                    <a:pt x="833" y="207"/>
                  </a:lnTo>
                  <a:lnTo>
                    <a:pt x="833" y="205"/>
                  </a:lnTo>
                  <a:lnTo>
                    <a:pt x="833" y="205"/>
                  </a:lnTo>
                  <a:lnTo>
                    <a:pt x="833" y="205"/>
                  </a:lnTo>
                  <a:lnTo>
                    <a:pt x="833" y="205"/>
                  </a:lnTo>
                  <a:lnTo>
                    <a:pt x="833" y="205"/>
                  </a:lnTo>
                  <a:lnTo>
                    <a:pt x="831" y="203"/>
                  </a:lnTo>
                  <a:lnTo>
                    <a:pt x="831" y="203"/>
                  </a:lnTo>
                  <a:lnTo>
                    <a:pt x="831" y="203"/>
                  </a:lnTo>
                  <a:lnTo>
                    <a:pt x="833" y="203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3"/>
                  </a:lnTo>
                  <a:lnTo>
                    <a:pt x="835" y="207"/>
                  </a:lnTo>
                  <a:lnTo>
                    <a:pt x="835" y="212"/>
                  </a:lnTo>
                  <a:lnTo>
                    <a:pt x="838" y="212"/>
                  </a:lnTo>
                  <a:lnTo>
                    <a:pt x="838" y="212"/>
                  </a:lnTo>
                  <a:lnTo>
                    <a:pt x="840" y="209"/>
                  </a:lnTo>
                  <a:lnTo>
                    <a:pt x="840" y="209"/>
                  </a:lnTo>
                  <a:lnTo>
                    <a:pt x="840" y="212"/>
                  </a:lnTo>
                  <a:lnTo>
                    <a:pt x="840" y="212"/>
                  </a:lnTo>
                  <a:lnTo>
                    <a:pt x="840" y="212"/>
                  </a:lnTo>
                  <a:lnTo>
                    <a:pt x="840" y="214"/>
                  </a:lnTo>
                  <a:lnTo>
                    <a:pt x="840" y="214"/>
                  </a:lnTo>
                  <a:lnTo>
                    <a:pt x="840" y="214"/>
                  </a:lnTo>
                  <a:lnTo>
                    <a:pt x="840" y="214"/>
                  </a:lnTo>
                  <a:lnTo>
                    <a:pt x="840" y="214"/>
                  </a:lnTo>
                  <a:lnTo>
                    <a:pt x="840" y="214"/>
                  </a:lnTo>
                  <a:lnTo>
                    <a:pt x="838" y="216"/>
                  </a:lnTo>
                  <a:lnTo>
                    <a:pt x="838" y="216"/>
                  </a:lnTo>
                  <a:lnTo>
                    <a:pt x="840" y="216"/>
                  </a:lnTo>
                  <a:lnTo>
                    <a:pt x="840" y="216"/>
                  </a:lnTo>
                  <a:lnTo>
                    <a:pt x="840" y="216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0" y="218"/>
                  </a:lnTo>
                  <a:lnTo>
                    <a:pt x="842" y="218"/>
                  </a:lnTo>
                  <a:lnTo>
                    <a:pt x="842" y="218"/>
                  </a:lnTo>
                  <a:lnTo>
                    <a:pt x="842" y="218"/>
                  </a:lnTo>
                  <a:lnTo>
                    <a:pt x="842" y="218"/>
                  </a:lnTo>
                  <a:lnTo>
                    <a:pt x="842" y="218"/>
                  </a:lnTo>
                  <a:lnTo>
                    <a:pt x="842" y="218"/>
                  </a:lnTo>
                  <a:lnTo>
                    <a:pt x="842" y="221"/>
                  </a:lnTo>
                  <a:lnTo>
                    <a:pt x="842" y="221"/>
                  </a:lnTo>
                  <a:lnTo>
                    <a:pt x="844" y="221"/>
                  </a:lnTo>
                  <a:lnTo>
                    <a:pt x="844" y="221"/>
                  </a:lnTo>
                  <a:lnTo>
                    <a:pt x="844" y="221"/>
                  </a:lnTo>
                  <a:lnTo>
                    <a:pt x="844" y="221"/>
                  </a:lnTo>
                  <a:lnTo>
                    <a:pt x="849" y="221"/>
                  </a:lnTo>
                  <a:lnTo>
                    <a:pt x="849" y="221"/>
                  </a:lnTo>
                  <a:lnTo>
                    <a:pt x="849" y="221"/>
                  </a:lnTo>
                  <a:lnTo>
                    <a:pt x="849" y="221"/>
                  </a:lnTo>
                  <a:lnTo>
                    <a:pt x="849" y="221"/>
                  </a:lnTo>
                  <a:lnTo>
                    <a:pt x="851" y="221"/>
                  </a:lnTo>
                  <a:lnTo>
                    <a:pt x="851" y="221"/>
                  </a:lnTo>
                  <a:lnTo>
                    <a:pt x="853" y="221"/>
                  </a:lnTo>
                  <a:lnTo>
                    <a:pt x="853" y="221"/>
                  </a:lnTo>
                  <a:lnTo>
                    <a:pt x="853" y="221"/>
                  </a:lnTo>
                  <a:lnTo>
                    <a:pt x="853" y="218"/>
                  </a:lnTo>
                  <a:lnTo>
                    <a:pt x="853" y="218"/>
                  </a:lnTo>
                  <a:lnTo>
                    <a:pt x="853" y="218"/>
                  </a:lnTo>
                  <a:lnTo>
                    <a:pt x="853" y="218"/>
                  </a:lnTo>
                  <a:lnTo>
                    <a:pt x="853" y="218"/>
                  </a:lnTo>
                  <a:lnTo>
                    <a:pt x="853" y="218"/>
                  </a:lnTo>
                  <a:lnTo>
                    <a:pt x="856" y="216"/>
                  </a:lnTo>
                  <a:lnTo>
                    <a:pt x="856" y="216"/>
                  </a:lnTo>
                  <a:lnTo>
                    <a:pt x="858" y="216"/>
                  </a:lnTo>
                  <a:lnTo>
                    <a:pt x="858" y="216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58" y="214"/>
                  </a:lnTo>
                  <a:lnTo>
                    <a:pt x="860" y="214"/>
                  </a:lnTo>
                  <a:lnTo>
                    <a:pt x="860" y="214"/>
                  </a:lnTo>
                  <a:lnTo>
                    <a:pt x="860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2" y="212"/>
                  </a:lnTo>
                  <a:lnTo>
                    <a:pt x="862" y="209"/>
                  </a:lnTo>
                  <a:lnTo>
                    <a:pt x="862" y="209"/>
                  </a:lnTo>
                  <a:lnTo>
                    <a:pt x="862" y="209"/>
                  </a:lnTo>
                  <a:lnTo>
                    <a:pt x="862" y="209"/>
                  </a:lnTo>
                  <a:lnTo>
                    <a:pt x="862" y="207"/>
                  </a:lnTo>
                  <a:lnTo>
                    <a:pt x="862" y="207"/>
                  </a:lnTo>
                  <a:lnTo>
                    <a:pt x="862" y="207"/>
                  </a:lnTo>
                  <a:lnTo>
                    <a:pt x="865" y="207"/>
                  </a:lnTo>
                  <a:lnTo>
                    <a:pt x="865" y="207"/>
                  </a:lnTo>
                  <a:lnTo>
                    <a:pt x="865" y="207"/>
                  </a:lnTo>
                  <a:lnTo>
                    <a:pt x="865" y="205"/>
                  </a:lnTo>
                  <a:lnTo>
                    <a:pt x="865" y="205"/>
                  </a:lnTo>
                  <a:lnTo>
                    <a:pt x="865" y="205"/>
                  </a:lnTo>
                  <a:lnTo>
                    <a:pt x="865" y="205"/>
                  </a:lnTo>
                  <a:lnTo>
                    <a:pt x="865" y="205"/>
                  </a:lnTo>
                  <a:lnTo>
                    <a:pt x="865" y="205"/>
                  </a:lnTo>
                  <a:lnTo>
                    <a:pt x="865" y="205"/>
                  </a:lnTo>
                  <a:lnTo>
                    <a:pt x="867" y="205"/>
                  </a:lnTo>
                  <a:lnTo>
                    <a:pt x="867" y="205"/>
                  </a:lnTo>
                  <a:lnTo>
                    <a:pt x="869" y="203"/>
                  </a:lnTo>
                  <a:lnTo>
                    <a:pt x="869" y="203"/>
                  </a:lnTo>
                  <a:lnTo>
                    <a:pt x="869" y="203"/>
                  </a:lnTo>
                  <a:lnTo>
                    <a:pt x="869" y="200"/>
                  </a:lnTo>
                  <a:lnTo>
                    <a:pt x="869" y="200"/>
                  </a:lnTo>
                  <a:lnTo>
                    <a:pt x="871" y="198"/>
                  </a:lnTo>
                  <a:lnTo>
                    <a:pt x="871" y="198"/>
                  </a:lnTo>
                  <a:lnTo>
                    <a:pt x="871" y="198"/>
                  </a:lnTo>
                  <a:lnTo>
                    <a:pt x="871" y="198"/>
                  </a:lnTo>
                  <a:lnTo>
                    <a:pt x="871" y="198"/>
                  </a:lnTo>
                  <a:lnTo>
                    <a:pt x="871" y="196"/>
                  </a:lnTo>
                  <a:lnTo>
                    <a:pt x="871" y="196"/>
                  </a:lnTo>
                  <a:lnTo>
                    <a:pt x="871" y="196"/>
                  </a:lnTo>
                  <a:lnTo>
                    <a:pt x="871" y="196"/>
                  </a:lnTo>
                  <a:lnTo>
                    <a:pt x="871" y="196"/>
                  </a:lnTo>
                  <a:lnTo>
                    <a:pt x="871" y="196"/>
                  </a:lnTo>
                  <a:lnTo>
                    <a:pt x="871" y="194"/>
                  </a:lnTo>
                  <a:lnTo>
                    <a:pt x="871" y="194"/>
                  </a:lnTo>
                  <a:lnTo>
                    <a:pt x="874" y="194"/>
                  </a:lnTo>
                  <a:lnTo>
                    <a:pt x="874" y="194"/>
                  </a:lnTo>
                  <a:lnTo>
                    <a:pt x="874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6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78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0" y="194"/>
                  </a:lnTo>
                  <a:lnTo>
                    <a:pt x="883" y="194"/>
                  </a:lnTo>
                  <a:lnTo>
                    <a:pt x="883" y="194"/>
                  </a:lnTo>
                  <a:lnTo>
                    <a:pt x="885" y="194"/>
                  </a:lnTo>
                  <a:lnTo>
                    <a:pt x="885" y="194"/>
                  </a:lnTo>
                  <a:lnTo>
                    <a:pt x="885" y="191"/>
                  </a:lnTo>
                  <a:lnTo>
                    <a:pt x="885" y="191"/>
                  </a:lnTo>
                  <a:lnTo>
                    <a:pt x="885" y="191"/>
                  </a:lnTo>
                  <a:lnTo>
                    <a:pt x="885" y="191"/>
                  </a:lnTo>
                  <a:lnTo>
                    <a:pt x="887" y="191"/>
                  </a:lnTo>
                  <a:lnTo>
                    <a:pt x="889" y="191"/>
                  </a:lnTo>
                  <a:lnTo>
                    <a:pt x="889" y="191"/>
                  </a:lnTo>
                  <a:lnTo>
                    <a:pt x="889" y="191"/>
                  </a:lnTo>
                  <a:lnTo>
                    <a:pt x="889" y="189"/>
                  </a:lnTo>
                  <a:lnTo>
                    <a:pt x="889" y="189"/>
                  </a:lnTo>
                  <a:lnTo>
                    <a:pt x="889" y="189"/>
                  </a:lnTo>
                  <a:lnTo>
                    <a:pt x="889" y="189"/>
                  </a:lnTo>
                  <a:lnTo>
                    <a:pt x="889" y="189"/>
                  </a:lnTo>
                  <a:lnTo>
                    <a:pt x="889" y="189"/>
                  </a:lnTo>
                  <a:lnTo>
                    <a:pt x="889" y="189"/>
                  </a:lnTo>
                  <a:lnTo>
                    <a:pt x="889" y="187"/>
                  </a:lnTo>
                  <a:lnTo>
                    <a:pt x="889" y="187"/>
                  </a:lnTo>
                  <a:lnTo>
                    <a:pt x="889" y="187"/>
                  </a:lnTo>
                  <a:lnTo>
                    <a:pt x="889" y="187"/>
                  </a:lnTo>
                  <a:lnTo>
                    <a:pt x="889" y="187"/>
                  </a:lnTo>
                  <a:lnTo>
                    <a:pt x="889" y="187"/>
                  </a:lnTo>
                  <a:lnTo>
                    <a:pt x="887" y="185"/>
                  </a:lnTo>
                  <a:lnTo>
                    <a:pt x="887" y="185"/>
                  </a:lnTo>
                  <a:lnTo>
                    <a:pt x="887" y="185"/>
                  </a:lnTo>
                  <a:lnTo>
                    <a:pt x="887" y="185"/>
                  </a:lnTo>
                  <a:lnTo>
                    <a:pt x="889" y="185"/>
                  </a:lnTo>
                  <a:lnTo>
                    <a:pt x="889" y="182"/>
                  </a:lnTo>
                  <a:lnTo>
                    <a:pt x="894" y="182"/>
                  </a:lnTo>
                  <a:lnTo>
                    <a:pt x="896" y="180"/>
                  </a:lnTo>
                  <a:lnTo>
                    <a:pt x="896" y="180"/>
                  </a:lnTo>
                  <a:lnTo>
                    <a:pt x="896" y="180"/>
                  </a:lnTo>
                  <a:lnTo>
                    <a:pt x="896" y="180"/>
                  </a:lnTo>
                  <a:lnTo>
                    <a:pt x="896" y="178"/>
                  </a:lnTo>
                  <a:lnTo>
                    <a:pt x="896" y="178"/>
                  </a:lnTo>
                  <a:lnTo>
                    <a:pt x="896" y="178"/>
                  </a:lnTo>
                  <a:lnTo>
                    <a:pt x="903" y="176"/>
                  </a:lnTo>
                  <a:lnTo>
                    <a:pt x="903" y="176"/>
                  </a:lnTo>
                  <a:lnTo>
                    <a:pt x="905" y="176"/>
                  </a:lnTo>
                  <a:lnTo>
                    <a:pt x="905" y="176"/>
                  </a:lnTo>
                  <a:lnTo>
                    <a:pt x="905" y="176"/>
                  </a:lnTo>
                  <a:lnTo>
                    <a:pt x="905" y="178"/>
                  </a:lnTo>
                  <a:lnTo>
                    <a:pt x="905" y="178"/>
                  </a:lnTo>
                  <a:lnTo>
                    <a:pt x="907" y="178"/>
                  </a:lnTo>
                  <a:lnTo>
                    <a:pt x="907" y="178"/>
                  </a:lnTo>
                  <a:lnTo>
                    <a:pt x="907" y="178"/>
                  </a:lnTo>
                  <a:lnTo>
                    <a:pt x="907" y="178"/>
                  </a:lnTo>
                  <a:lnTo>
                    <a:pt x="907" y="178"/>
                  </a:lnTo>
                  <a:lnTo>
                    <a:pt x="907" y="180"/>
                  </a:lnTo>
                  <a:lnTo>
                    <a:pt x="909" y="180"/>
                  </a:lnTo>
                  <a:lnTo>
                    <a:pt x="912" y="180"/>
                  </a:lnTo>
                  <a:lnTo>
                    <a:pt x="914" y="182"/>
                  </a:lnTo>
                  <a:lnTo>
                    <a:pt x="918" y="182"/>
                  </a:lnTo>
                  <a:lnTo>
                    <a:pt x="918" y="182"/>
                  </a:lnTo>
                  <a:lnTo>
                    <a:pt x="921" y="182"/>
                  </a:lnTo>
                  <a:lnTo>
                    <a:pt x="921" y="182"/>
                  </a:lnTo>
                  <a:lnTo>
                    <a:pt x="923" y="185"/>
                  </a:lnTo>
                  <a:lnTo>
                    <a:pt x="923" y="187"/>
                  </a:lnTo>
                  <a:lnTo>
                    <a:pt x="925" y="187"/>
                  </a:lnTo>
                  <a:lnTo>
                    <a:pt x="925" y="187"/>
                  </a:lnTo>
                  <a:lnTo>
                    <a:pt x="925" y="187"/>
                  </a:lnTo>
                  <a:lnTo>
                    <a:pt x="927" y="187"/>
                  </a:lnTo>
                  <a:lnTo>
                    <a:pt x="930" y="189"/>
                  </a:lnTo>
                  <a:lnTo>
                    <a:pt x="934" y="191"/>
                  </a:lnTo>
                  <a:lnTo>
                    <a:pt x="936" y="191"/>
                  </a:lnTo>
                  <a:lnTo>
                    <a:pt x="936" y="194"/>
                  </a:lnTo>
                  <a:lnTo>
                    <a:pt x="936" y="194"/>
                  </a:lnTo>
                  <a:lnTo>
                    <a:pt x="936" y="194"/>
                  </a:lnTo>
                  <a:lnTo>
                    <a:pt x="939" y="194"/>
                  </a:lnTo>
                  <a:lnTo>
                    <a:pt x="941" y="196"/>
                  </a:lnTo>
                  <a:lnTo>
                    <a:pt x="943" y="196"/>
                  </a:lnTo>
                  <a:lnTo>
                    <a:pt x="945" y="198"/>
                  </a:lnTo>
                  <a:lnTo>
                    <a:pt x="945" y="198"/>
                  </a:lnTo>
                  <a:lnTo>
                    <a:pt x="950" y="196"/>
                  </a:lnTo>
                  <a:lnTo>
                    <a:pt x="950" y="196"/>
                  </a:lnTo>
                  <a:lnTo>
                    <a:pt x="950" y="196"/>
                  </a:lnTo>
                  <a:lnTo>
                    <a:pt x="950" y="196"/>
                  </a:lnTo>
                  <a:lnTo>
                    <a:pt x="950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6"/>
                  </a:lnTo>
                  <a:lnTo>
                    <a:pt x="952" y="198"/>
                  </a:lnTo>
                  <a:lnTo>
                    <a:pt x="952" y="198"/>
                  </a:lnTo>
                  <a:lnTo>
                    <a:pt x="954" y="198"/>
                  </a:lnTo>
                  <a:lnTo>
                    <a:pt x="954" y="198"/>
                  </a:lnTo>
                  <a:lnTo>
                    <a:pt x="954" y="200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7" y="198"/>
                  </a:lnTo>
                  <a:lnTo>
                    <a:pt x="959" y="198"/>
                  </a:lnTo>
                  <a:lnTo>
                    <a:pt x="959" y="198"/>
                  </a:lnTo>
                  <a:lnTo>
                    <a:pt x="961" y="198"/>
                  </a:lnTo>
                  <a:lnTo>
                    <a:pt x="963" y="200"/>
                  </a:lnTo>
                  <a:lnTo>
                    <a:pt x="963" y="200"/>
                  </a:lnTo>
                  <a:lnTo>
                    <a:pt x="963" y="200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3" y="203"/>
                  </a:lnTo>
                  <a:lnTo>
                    <a:pt x="966" y="203"/>
                  </a:lnTo>
                  <a:lnTo>
                    <a:pt x="966" y="203"/>
                  </a:lnTo>
                  <a:lnTo>
                    <a:pt x="966" y="203"/>
                  </a:lnTo>
                  <a:lnTo>
                    <a:pt x="966" y="203"/>
                  </a:lnTo>
                  <a:lnTo>
                    <a:pt x="968" y="203"/>
                  </a:lnTo>
                  <a:lnTo>
                    <a:pt x="968" y="203"/>
                  </a:lnTo>
                  <a:lnTo>
                    <a:pt x="968" y="203"/>
                  </a:lnTo>
                  <a:lnTo>
                    <a:pt x="968" y="203"/>
                  </a:lnTo>
                  <a:lnTo>
                    <a:pt x="968" y="207"/>
                  </a:lnTo>
                  <a:lnTo>
                    <a:pt x="968" y="212"/>
                  </a:lnTo>
                  <a:lnTo>
                    <a:pt x="968" y="218"/>
                  </a:lnTo>
                  <a:lnTo>
                    <a:pt x="968" y="225"/>
                  </a:lnTo>
                  <a:lnTo>
                    <a:pt x="968" y="232"/>
                  </a:lnTo>
                  <a:lnTo>
                    <a:pt x="968" y="236"/>
                  </a:lnTo>
                  <a:lnTo>
                    <a:pt x="968" y="241"/>
                  </a:lnTo>
                  <a:lnTo>
                    <a:pt x="966" y="250"/>
                  </a:lnTo>
                  <a:lnTo>
                    <a:pt x="966" y="254"/>
                  </a:lnTo>
                  <a:lnTo>
                    <a:pt x="966" y="259"/>
                  </a:lnTo>
                  <a:lnTo>
                    <a:pt x="966" y="259"/>
                  </a:lnTo>
                  <a:lnTo>
                    <a:pt x="966" y="266"/>
                  </a:lnTo>
                  <a:lnTo>
                    <a:pt x="966" y="268"/>
                  </a:lnTo>
                  <a:lnTo>
                    <a:pt x="966" y="268"/>
                  </a:lnTo>
                  <a:lnTo>
                    <a:pt x="966" y="275"/>
                  </a:lnTo>
                  <a:lnTo>
                    <a:pt x="963" y="279"/>
                  </a:lnTo>
                  <a:lnTo>
                    <a:pt x="963" y="284"/>
                  </a:lnTo>
                  <a:lnTo>
                    <a:pt x="963" y="288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3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1" y="295"/>
                  </a:lnTo>
                  <a:lnTo>
                    <a:pt x="961" y="295"/>
                  </a:lnTo>
                  <a:lnTo>
                    <a:pt x="961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3" y="295"/>
                  </a:lnTo>
                  <a:lnTo>
                    <a:pt x="961" y="295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7"/>
                  </a:lnTo>
                  <a:lnTo>
                    <a:pt x="961" y="299"/>
                  </a:lnTo>
                  <a:lnTo>
                    <a:pt x="961" y="299"/>
                  </a:lnTo>
                  <a:lnTo>
                    <a:pt x="961" y="299"/>
                  </a:lnTo>
                  <a:lnTo>
                    <a:pt x="961" y="299"/>
                  </a:lnTo>
                  <a:lnTo>
                    <a:pt x="961" y="299"/>
                  </a:lnTo>
                  <a:lnTo>
                    <a:pt x="961" y="299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2"/>
                  </a:lnTo>
                  <a:lnTo>
                    <a:pt x="961" y="304"/>
                  </a:lnTo>
                  <a:lnTo>
                    <a:pt x="961" y="304"/>
                  </a:lnTo>
                  <a:lnTo>
                    <a:pt x="961" y="304"/>
                  </a:lnTo>
                  <a:lnTo>
                    <a:pt x="961" y="304"/>
                  </a:lnTo>
                  <a:lnTo>
                    <a:pt x="961" y="304"/>
                  </a:lnTo>
                  <a:lnTo>
                    <a:pt x="961" y="304"/>
                  </a:lnTo>
                  <a:lnTo>
                    <a:pt x="961" y="304"/>
                  </a:lnTo>
                  <a:lnTo>
                    <a:pt x="963" y="306"/>
                  </a:lnTo>
                  <a:lnTo>
                    <a:pt x="963" y="306"/>
                  </a:lnTo>
                  <a:lnTo>
                    <a:pt x="963" y="308"/>
                  </a:lnTo>
                  <a:lnTo>
                    <a:pt x="961" y="311"/>
                  </a:lnTo>
                  <a:lnTo>
                    <a:pt x="961" y="315"/>
                  </a:lnTo>
                  <a:lnTo>
                    <a:pt x="961" y="315"/>
                  </a:lnTo>
                  <a:lnTo>
                    <a:pt x="961" y="322"/>
                  </a:lnTo>
                  <a:lnTo>
                    <a:pt x="961" y="326"/>
                  </a:lnTo>
                  <a:lnTo>
                    <a:pt x="961" y="331"/>
                  </a:lnTo>
                  <a:lnTo>
                    <a:pt x="961" y="331"/>
                  </a:lnTo>
                  <a:lnTo>
                    <a:pt x="961" y="335"/>
                  </a:lnTo>
                  <a:lnTo>
                    <a:pt x="959" y="342"/>
                  </a:lnTo>
                  <a:lnTo>
                    <a:pt x="959" y="347"/>
                  </a:lnTo>
                  <a:lnTo>
                    <a:pt x="959" y="351"/>
                  </a:lnTo>
                  <a:lnTo>
                    <a:pt x="959" y="356"/>
                  </a:lnTo>
                  <a:lnTo>
                    <a:pt x="959" y="358"/>
                  </a:lnTo>
                  <a:lnTo>
                    <a:pt x="957" y="358"/>
                  </a:lnTo>
                  <a:lnTo>
                    <a:pt x="957" y="358"/>
                  </a:lnTo>
                  <a:lnTo>
                    <a:pt x="957" y="356"/>
                  </a:lnTo>
                  <a:lnTo>
                    <a:pt x="952" y="351"/>
                  </a:lnTo>
                  <a:lnTo>
                    <a:pt x="950" y="347"/>
                  </a:lnTo>
                  <a:lnTo>
                    <a:pt x="948" y="344"/>
                  </a:lnTo>
                  <a:lnTo>
                    <a:pt x="948" y="344"/>
                  </a:lnTo>
                  <a:lnTo>
                    <a:pt x="948" y="344"/>
                  </a:lnTo>
                  <a:lnTo>
                    <a:pt x="948" y="344"/>
                  </a:lnTo>
                  <a:lnTo>
                    <a:pt x="948" y="342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5" y="342"/>
                  </a:lnTo>
                  <a:lnTo>
                    <a:pt x="941" y="338"/>
                  </a:lnTo>
                  <a:lnTo>
                    <a:pt x="939" y="335"/>
                  </a:lnTo>
                  <a:lnTo>
                    <a:pt x="939" y="335"/>
                  </a:lnTo>
                  <a:lnTo>
                    <a:pt x="939" y="335"/>
                  </a:lnTo>
                  <a:lnTo>
                    <a:pt x="939" y="335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1"/>
                  </a:lnTo>
                  <a:lnTo>
                    <a:pt x="941" y="331"/>
                  </a:lnTo>
                  <a:lnTo>
                    <a:pt x="941" y="331"/>
                  </a:lnTo>
                  <a:lnTo>
                    <a:pt x="941" y="331"/>
                  </a:lnTo>
                  <a:lnTo>
                    <a:pt x="943" y="331"/>
                  </a:lnTo>
                  <a:lnTo>
                    <a:pt x="943" y="331"/>
                  </a:lnTo>
                  <a:lnTo>
                    <a:pt x="943" y="329"/>
                  </a:lnTo>
                  <a:lnTo>
                    <a:pt x="943" y="329"/>
                  </a:lnTo>
                  <a:lnTo>
                    <a:pt x="943" y="329"/>
                  </a:lnTo>
                  <a:lnTo>
                    <a:pt x="943" y="329"/>
                  </a:lnTo>
                  <a:lnTo>
                    <a:pt x="941" y="329"/>
                  </a:lnTo>
                  <a:lnTo>
                    <a:pt x="941" y="329"/>
                  </a:lnTo>
                  <a:lnTo>
                    <a:pt x="941" y="331"/>
                  </a:lnTo>
                  <a:lnTo>
                    <a:pt x="941" y="331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41" y="333"/>
                  </a:lnTo>
                  <a:lnTo>
                    <a:pt x="939" y="333"/>
                  </a:lnTo>
                  <a:lnTo>
                    <a:pt x="939" y="333"/>
                  </a:lnTo>
                  <a:lnTo>
                    <a:pt x="934" y="333"/>
                  </a:lnTo>
                  <a:lnTo>
                    <a:pt x="932" y="335"/>
                  </a:lnTo>
                  <a:lnTo>
                    <a:pt x="932" y="335"/>
                  </a:lnTo>
                  <a:lnTo>
                    <a:pt x="930" y="335"/>
                  </a:lnTo>
                  <a:lnTo>
                    <a:pt x="930" y="335"/>
                  </a:lnTo>
                  <a:lnTo>
                    <a:pt x="927" y="335"/>
                  </a:lnTo>
                  <a:lnTo>
                    <a:pt x="927" y="335"/>
                  </a:lnTo>
                  <a:lnTo>
                    <a:pt x="925" y="335"/>
                  </a:lnTo>
                  <a:lnTo>
                    <a:pt x="925" y="335"/>
                  </a:lnTo>
                  <a:lnTo>
                    <a:pt x="925" y="335"/>
                  </a:lnTo>
                  <a:lnTo>
                    <a:pt x="925" y="335"/>
                  </a:lnTo>
                  <a:lnTo>
                    <a:pt x="923" y="333"/>
                  </a:lnTo>
                  <a:lnTo>
                    <a:pt x="923" y="333"/>
                  </a:lnTo>
                  <a:lnTo>
                    <a:pt x="923" y="333"/>
                  </a:lnTo>
                  <a:lnTo>
                    <a:pt x="925" y="333"/>
                  </a:lnTo>
                  <a:lnTo>
                    <a:pt x="925" y="333"/>
                  </a:lnTo>
                  <a:lnTo>
                    <a:pt x="925" y="333"/>
                  </a:lnTo>
                  <a:lnTo>
                    <a:pt x="925" y="333"/>
                  </a:lnTo>
                  <a:lnTo>
                    <a:pt x="925" y="331"/>
                  </a:lnTo>
                  <a:lnTo>
                    <a:pt x="925" y="331"/>
                  </a:lnTo>
                  <a:lnTo>
                    <a:pt x="923" y="331"/>
                  </a:lnTo>
                  <a:lnTo>
                    <a:pt x="925" y="331"/>
                  </a:lnTo>
                  <a:lnTo>
                    <a:pt x="925" y="331"/>
                  </a:lnTo>
                  <a:lnTo>
                    <a:pt x="925" y="331"/>
                  </a:lnTo>
                  <a:lnTo>
                    <a:pt x="925" y="331"/>
                  </a:lnTo>
                  <a:lnTo>
                    <a:pt x="925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1"/>
                  </a:lnTo>
                  <a:lnTo>
                    <a:pt x="923" y="333"/>
                  </a:lnTo>
                  <a:lnTo>
                    <a:pt x="923" y="333"/>
                  </a:lnTo>
                  <a:lnTo>
                    <a:pt x="923" y="333"/>
                  </a:lnTo>
                  <a:lnTo>
                    <a:pt x="921" y="333"/>
                  </a:lnTo>
                  <a:lnTo>
                    <a:pt x="921" y="335"/>
                  </a:lnTo>
                  <a:lnTo>
                    <a:pt x="918" y="338"/>
                  </a:lnTo>
                  <a:lnTo>
                    <a:pt x="918" y="338"/>
                  </a:lnTo>
                  <a:lnTo>
                    <a:pt x="918" y="338"/>
                  </a:lnTo>
                  <a:lnTo>
                    <a:pt x="918" y="338"/>
                  </a:lnTo>
                  <a:lnTo>
                    <a:pt x="918" y="338"/>
                  </a:lnTo>
                  <a:lnTo>
                    <a:pt x="916" y="338"/>
                  </a:lnTo>
                  <a:lnTo>
                    <a:pt x="916" y="338"/>
                  </a:lnTo>
                  <a:lnTo>
                    <a:pt x="916" y="338"/>
                  </a:lnTo>
                  <a:lnTo>
                    <a:pt x="916" y="338"/>
                  </a:lnTo>
                  <a:lnTo>
                    <a:pt x="916" y="338"/>
                  </a:lnTo>
                  <a:lnTo>
                    <a:pt x="916" y="335"/>
                  </a:lnTo>
                  <a:lnTo>
                    <a:pt x="916" y="335"/>
                  </a:lnTo>
                  <a:lnTo>
                    <a:pt x="916" y="335"/>
                  </a:lnTo>
                  <a:lnTo>
                    <a:pt x="916" y="333"/>
                  </a:lnTo>
                  <a:lnTo>
                    <a:pt x="916" y="333"/>
                  </a:lnTo>
                  <a:lnTo>
                    <a:pt x="916" y="333"/>
                  </a:lnTo>
                  <a:lnTo>
                    <a:pt x="916" y="333"/>
                  </a:lnTo>
                  <a:lnTo>
                    <a:pt x="918" y="333"/>
                  </a:lnTo>
                  <a:lnTo>
                    <a:pt x="918" y="333"/>
                  </a:lnTo>
                  <a:lnTo>
                    <a:pt x="916" y="333"/>
                  </a:lnTo>
                  <a:lnTo>
                    <a:pt x="916" y="333"/>
                  </a:lnTo>
                  <a:lnTo>
                    <a:pt x="916" y="333"/>
                  </a:lnTo>
                  <a:lnTo>
                    <a:pt x="916" y="331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18" y="329"/>
                  </a:lnTo>
                  <a:lnTo>
                    <a:pt x="921" y="326"/>
                  </a:lnTo>
                  <a:lnTo>
                    <a:pt x="921" y="324"/>
                  </a:lnTo>
                  <a:lnTo>
                    <a:pt x="921" y="324"/>
                  </a:lnTo>
                  <a:lnTo>
                    <a:pt x="921" y="324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1" y="322"/>
                  </a:lnTo>
                  <a:lnTo>
                    <a:pt x="923" y="322"/>
                  </a:lnTo>
                  <a:lnTo>
                    <a:pt x="921" y="320"/>
                  </a:lnTo>
                  <a:lnTo>
                    <a:pt x="921" y="320"/>
                  </a:lnTo>
                  <a:lnTo>
                    <a:pt x="921" y="320"/>
                  </a:lnTo>
                  <a:lnTo>
                    <a:pt x="918" y="320"/>
                  </a:lnTo>
                  <a:lnTo>
                    <a:pt x="918" y="320"/>
                  </a:lnTo>
                  <a:lnTo>
                    <a:pt x="918" y="317"/>
                  </a:lnTo>
                  <a:lnTo>
                    <a:pt x="918" y="317"/>
                  </a:lnTo>
                  <a:lnTo>
                    <a:pt x="918" y="315"/>
                  </a:lnTo>
                  <a:lnTo>
                    <a:pt x="918" y="315"/>
                  </a:lnTo>
                  <a:lnTo>
                    <a:pt x="916" y="315"/>
                  </a:lnTo>
                  <a:lnTo>
                    <a:pt x="916" y="313"/>
                  </a:lnTo>
                  <a:lnTo>
                    <a:pt x="916" y="313"/>
                  </a:lnTo>
                  <a:lnTo>
                    <a:pt x="916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4" y="313"/>
                  </a:lnTo>
                  <a:lnTo>
                    <a:pt x="918" y="313"/>
                  </a:lnTo>
                  <a:lnTo>
                    <a:pt x="918" y="313"/>
                  </a:lnTo>
                  <a:lnTo>
                    <a:pt x="921" y="313"/>
                  </a:lnTo>
                  <a:lnTo>
                    <a:pt x="921" y="313"/>
                  </a:lnTo>
                  <a:lnTo>
                    <a:pt x="921" y="313"/>
                  </a:lnTo>
                  <a:lnTo>
                    <a:pt x="923" y="313"/>
                  </a:lnTo>
                  <a:lnTo>
                    <a:pt x="925" y="313"/>
                  </a:lnTo>
                  <a:lnTo>
                    <a:pt x="925" y="313"/>
                  </a:lnTo>
                  <a:lnTo>
                    <a:pt x="925" y="313"/>
                  </a:lnTo>
                  <a:lnTo>
                    <a:pt x="925" y="311"/>
                  </a:lnTo>
                  <a:lnTo>
                    <a:pt x="925" y="311"/>
                  </a:lnTo>
                  <a:lnTo>
                    <a:pt x="925" y="311"/>
                  </a:lnTo>
                  <a:lnTo>
                    <a:pt x="925" y="311"/>
                  </a:lnTo>
                  <a:lnTo>
                    <a:pt x="925" y="311"/>
                  </a:lnTo>
                  <a:lnTo>
                    <a:pt x="925" y="313"/>
                  </a:lnTo>
                  <a:lnTo>
                    <a:pt x="925" y="313"/>
                  </a:lnTo>
                  <a:lnTo>
                    <a:pt x="923" y="313"/>
                  </a:lnTo>
                  <a:lnTo>
                    <a:pt x="923" y="313"/>
                  </a:lnTo>
                  <a:lnTo>
                    <a:pt x="923" y="313"/>
                  </a:lnTo>
                  <a:lnTo>
                    <a:pt x="921" y="313"/>
                  </a:lnTo>
                  <a:lnTo>
                    <a:pt x="921" y="313"/>
                  </a:lnTo>
                  <a:lnTo>
                    <a:pt x="921" y="313"/>
                  </a:lnTo>
                  <a:lnTo>
                    <a:pt x="921" y="311"/>
                  </a:lnTo>
                  <a:lnTo>
                    <a:pt x="918" y="311"/>
                  </a:lnTo>
                  <a:lnTo>
                    <a:pt x="918" y="311"/>
                  </a:lnTo>
                  <a:lnTo>
                    <a:pt x="918" y="311"/>
                  </a:lnTo>
                  <a:lnTo>
                    <a:pt x="918" y="311"/>
                  </a:lnTo>
                  <a:lnTo>
                    <a:pt x="916" y="311"/>
                  </a:lnTo>
                  <a:lnTo>
                    <a:pt x="916" y="311"/>
                  </a:lnTo>
                  <a:lnTo>
                    <a:pt x="916" y="311"/>
                  </a:lnTo>
                  <a:lnTo>
                    <a:pt x="916" y="311"/>
                  </a:lnTo>
                  <a:lnTo>
                    <a:pt x="914" y="308"/>
                  </a:lnTo>
                  <a:lnTo>
                    <a:pt x="912" y="306"/>
                  </a:lnTo>
                  <a:lnTo>
                    <a:pt x="912" y="306"/>
                  </a:lnTo>
                  <a:lnTo>
                    <a:pt x="912" y="304"/>
                  </a:lnTo>
                  <a:lnTo>
                    <a:pt x="912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4" y="304"/>
                  </a:lnTo>
                  <a:lnTo>
                    <a:pt x="916" y="306"/>
                  </a:lnTo>
                  <a:lnTo>
                    <a:pt x="916" y="306"/>
                  </a:lnTo>
                  <a:lnTo>
                    <a:pt x="916" y="304"/>
                  </a:lnTo>
                  <a:lnTo>
                    <a:pt x="916" y="304"/>
                  </a:lnTo>
                  <a:lnTo>
                    <a:pt x="916" y="304"/>
                  </a:lnTo>
                  <a:lnTo>
                    <a:pt x="918" y="304"/>
                  </a:lnTo>
                  <a:lnTo>
                    <a:pt x="918" y="304"/>
                  </a:lnTo>
                  <a:lnTo>
                    <a:pt x="921" y="304"/>
                  </a:lnTo>
                  <a:lnTo>
                    <a:pt x="921" y="304"/>
                  </a:lnTo>
                  <a:lnTo>
                    <a:pt x="921" y="304"/>
                  </a:lnTo>
                  <a:lnTo>
                    <a:pt x="921" y="304"/>
                  </a:lnTo>
                  <a:lnTo>
                    <a:pt x="921" y="304"/>
                  </a:lnTo>
                  <a:lnTo>
                    <a:pt x="921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5" y="306"/>
                  </a:lnTo>
                  <a:lnTo>
                    <a:pt x="925" y="306"/>
                  </a:lnTo>
                  <a:lnTo>
                    <a:pt x="925" y="306"/>
                  </a:lnTo>
                  <a:lnTo>
                    <a:pt x="925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3" y="306"/>
                  </a:lnTo>
                  <a:lnTo>
                    <a:pt x="921" y="304"/>
                  </a:lnTo>
                  <a:lnTo>
                    <a:pt x="921" y="304"/>
                  </a:lnTo>
                  <a:lnTo>
                    <a:pt x="921" y="304"/>
                  </a:lnTo>
                  <a:lnTo>
                    <a:pt x="918" y="304"/>
                  </a:lnTo>
                  <a:lnTo>
                    <a:pt x="918" y="304"/>
                  </a:lnTo>
                  <a:lnTo>
                    <a:pt x="918" y="304"/>
                  </a:lnTo>
                  <a:lnTo>
                    <a:pt x="916" y="302"/>
                  </a:lnTo>
                  <a:lnTo>
                    <a:pt x="916" y="302"/>
                  </a:lnTo>
                  <a:lnTo>
                    <a:pt x="916" y="302"/>
                  </a:lnTo>
                  <a:lnTo>
                    <a:pt x="914" y="302"/>
                  </a:lnTo>
                  <a:lnTo>
                    <a:pt x="914" y="299"/>
                  </a:lnTo>
                  <a:lnTo>
                    <a:pt x="914" y="299"/>
                  </a:lnTo>
                  <a:lnTo>
                    <a:pt x="914" y="299"/>
                  </a:lnTo>
                  <a:lnTo>
                    <a:pt x="916" y="299"/>
                  </a:lnTo>
                  <a:lnTo>
                    <a:pt x="916" y="299"/>
                  </a:lnTo>
                  <a:lnTo>
                    <a:pt x="916" y="299"/>
                  </a:lnTo>
                  <a:lnTo>
                    <a:pt x="918" y="302"/>
                  </a:lnTo>
                  <a:lnTo>
                    <a:pt x="916" y="299"/>
                  </a:lnTo>
                  <a:lnTo>
                    <a:pt x="914" y="297"/>
                  </a:lnTo>
                  <a:lnTo>
                    <a:pt x="914" y="297"/>
                  </a:lnTo>
                  <a:lnTo>
                    <a:pt x="914" y="297"/>
                  </a:lnTo>
                  <a:lnTo>
                    <a:pt x="914" y="297"/>
                  </a:lnTo>
                  <a:lnTo>
                    <a:pt x="912" y="293"/>
                  </a:lnTo>
                  <a:lnTo>
                    <a:pt x="909" y="290"/>
                  </a:lnTo>
                  <a:lnTo>
                    <a:pt x="909" y="290"/>
                  </a:lnTo>
                  <a:lnTo>
                    <a:pt x="909" y="290"/>
                  </a:lnTo>
                  <a:lnTo>
                    <a:pt x="909" y="290"/>
                  </a:lnTo>
                  <a:lnTo>
                    <a:pt x="909" y="288"/>
                  </a:lnTo>
                  <a:lnTo>
                    <a:pt x="909" y="288"/>
                  </a:lnTo>
                  <a:lnTo>
                    <a:pt x="909" y="286"/>
                  </a:lnTo>
                  <a:lnTo>
                    <a:pt x="909" y="286"/>
                  </a:lnTo>
                  <a:lnTo>
                    <a:pt x="909" y="286"/>
                  </a:lnTo>
                  <a:lnTo>
                    <a:pt x="909" y="286"/>
                  </a:lnTo>
                  <a:lnTo>
                    <a:pt x="909" y="286"/>
                  </a:lnTo>
                  <a:lnTo>
                    <a:pt x="909" y="284"/>
                  </a:lnTo>
                  <a:lnTo>
                    <a:pt x="907" y="281"/>
                  </a:lnTo>
                  <a:lnTo>
                    <a:pt x="907" y="281"/>
                  </a:lnTo>
                  <a:lnTo>
                    <a:pt x="907" y="281"/>
                  </a:lnTo>
                  <a:lnTo>
                    <a:pt x="907" y="281"/>
                  </a:lnTo>
                  <a:lnTo>
                    <a:pt x="909" y="281"/>
                  </a:lnTo>
                  <a:lnTo>
                    <a:pt x="909" y="279"/>
                  </a:lnTo>
                  <a:lnTo>
                    <a:pt x="909" y="279"/>
                  </a:lnTo>
                  <a:lnTo>
                    <a:pt x="909" y="279"/>
                  </a:lnTo>
                  <a:lnTo>
                    <a:pt x="909" y="279"/>
                  </a:lnTo>
                  <a:lnTo>
                    <a:pt x="907" y="279"/>
                  </a:lnTo>
                  <a:lnTo>
                    <a:pt x="905" y="279"/>
                  </a:lnTo>
                  <a:lnTo>
                    <a:pt x="905" y="279"/>
                  </a:lnTo>
                  <a:lnTo>
                    <a:pt x="905" y="279"/>
                  </a:lnTo>
                  <a:lnTo>
                    <a:pt x="905" y="279"/>
                  </a:lnTo>
                  <a:lnTo>
                    <a:pt x="905" y="279"/>
                  </a:lnTo>
                  <a:lnTo>
                    <a:pt x="907" y="277"/>
                  </a:lnTo>
                  <a:lnTo>
                    <a:pt x="909" y="277"/>
                  </a:lnTo>
                  <a:lnTo>
                    <a:pt x="909" y="277"/>
                  </a:lnTo>
                  <a:lnTo>
                    <a:pt x="909" y="277"/>
                  </a:lnTo>
                  <a:lnTo>
                    <a:pt x="909" y="277"/>
                  </a:lnTo>
                  <a:lnTo>
                    <a:pt x="907" y="277"/>
                  </a:lnTo>
                  <a:lnTo>
                    <a:pt x="907" y="277"/>
                  </a:lnTo>
                  <a:lnTo>
                    <a:pt x="907" y="277"/>
                  </a:lnTo>
                  <a:lnTo>
                    <a:pt x="907" y="277"/>
                  </a:lnTo>
                  <a:lnTo>
                    <a:pt x="905" y="277"/>
                  </a:lnTo>
                  <a:lnTo>
                    <a:pt x="905" y="277"/>
                  </a:lnTo>
                  <a:lnTo>
                    <a:pt x="905" y="277"/>
                  </a:lnTo>
                  <a:lnTo>
                    <a:pt x="903" y="277"/>
                  </a:lnTo>
                  <a:lnTo>
                    <a:pt x="903" y="277"/>
                  </a:lnTo>
                  <a:lnTo>
                    <a:pt x="903" y="277"/>
                  </a:lnTo>
                  <a:lnTo>
                    <a:pt x="903" y="277"/>
                  </a:lnTo>
                  <a:lnTo>
                    <a:pt x="903" y="277"/>
                  </a:lnTo>
                  <a:lnTo>
                    <a:pt x="903" y="277"/>
                  </a:lnTo>
                  <a:lnTo>
                    <a:pt x="903" y="277"/>
                  </a:lnTo>
                  <a:lnTo>
                    <a:pt x="903" y="275"/>
                  </a:lnTo>
                  <a:lnTo>
                    <a:pt x="903" y="275"/>
                  </a:lnTo>
                  <a:lnTo>
                    <a:pt x="903" y="275"/>
                  </a:lnTo>
                  <a:lnTo>
                    <a:pt x="903" y="275"/>
                  </a:lnTo>
                  <a:lnTo>
                    <a:pt x="903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5" y="272"/>
                  </a:lnTo>
                  <a:lnTo>
                    <a:pt x="903" y="272"/>
                  </a:lnTo>
                  <a:lnTo>
                    <a:pt x="903" y="272"/>
                  </a:lnTo>
                  <a:lnTo>
                    <a:pt x="905" y="270"/>
                  </a:lnTo>
                  <a:lnTo>
                    <a:pt x="905" y="270"/>
                  </a:lnTo>
                  <a:lnTo>
                    <a:pt x="905" y="270"/>
                  </a:lnTo>
                  <a:lnTo>
                    <a:pt x="903" y="270"/>
                  </a:lnTo>
                  <a:lnTo>
                    <a:pt x="903" y="270"/>
                  </a:lnTo>
                  <a:lnTo>
                    <a:pt x="903" y="270"/>
                  </a:lnTo>
                  <a:lnTo>
                    <a:pt x="903" y="270"/>
                  </a:lnTo>
                  <a:lnTo>
                    <a:pt x="903" y="270"/>
                  </a:lnTo>
                  <a:lnTo>
                    <a:pt x="903" y="270"/>
                  </a:lnTo>
                  <a:lnTo>
                    <a:pt x="903" y="270"/>
                  </a:lnTo>
                  <a:lnTo>
                    <a:pt x="903" y="272"/>
                  </a:lnTo>
                  <a:lnTo>
                    <a:pt x="903" y="272"/>
                  </a:lnTo>
                  <a:lnTo>
                    <a:pt x="903" y="270"/>
                  </a:lnTo>
                  <a:lnTo>
                    <a:pt x="900" y="270"/>
                  </a:lnTo>
                  <a:lnTo>
                    <a:pt x="900" y="270"/>
                  </a:lnTo>
                  <a:lnTo>
                    <a:pt x="900" y="268"/>
                  </a:lnTo>
                  <a:lnTo>
                    <a:pt x="900" y="268"/>
                  </a:lnTo>
                  <a:lnTo>
                    <a:pt x="900" y="268"/>
                  </a:lnTo>
                  <a:lnTo>
                    <a:pt x="900" y="268"/>
                  </a:lnTo>
                  <a:lnTo>
                    <a:pt x="898" y="268"/>
                  </a:lnTo>
                  <a:lnTo>
                    <a:pt x="898" y="268"/>
                  </a:lnTo>
                  <a:lnTo>
                    <a:pt x="898" y="268"/>
                  </a:lnTo>
                  <a:lnTo>
                    <a:pt x="898" y="268"/>
                  </a:lnTo>
                  <a:lnTo>
                    <a:pt x="898" y="268"/>
                  </a:lnTo>
                  <a:lnTo>
                    <a:pt x="898" y="268"/>
                  </a:lnTo>
                  <a:lnTo>
                    <a:pt x="898" y="266"/>
                  </a:lnTo>
                  <a:lnTo>
                    <a:pt x="898" y="266"/>
                  </a:lnTo>
                  <a:lnTo>
                    <a:pt x="898" y="266"/>
                  </a:lnTo>
                  <a:lnTo>
                    <a:pt x="898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6" y="266"/>
                  </a:lnTo>
                  <a:lnTo>
                    <a:pt x="894" y="266"/>
                  </a:lnTo>
                  <a:lnTo>
                    <a:pt x="894" y="266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4" y="263"/>
                  </a:lnTo>
                  <a:lnTo>
                    <a:pt x="891" y="263"/>
                  </a:lnTo>
                  <a:lnTo>
                    <a:pt x="891" y="263"/>
                  </a:lnTo>
                  <a:lnTo>
                    <a:pt x="891" y="263"/>
                  </a:lnTo>
                  <a:lnTo>
                    <a:pt x="891" y="263"/>
                  </a:lnTo>
                  <a:lnTo>
                    <a:pt x="891" y="263"/>
                  </a:lnTo>
                  <a:lnTo>
                    <a:pt x="891" y="261"/>
                  </a:lnTo>
                  <a:lnTo>
                    <a:pt x="891" y="263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9" y="259"/>
                  </a:lnTo>
                  <a:lnTo>
                    <a:pt x="889" y="261"/>
                  </a:lnTo>
                  <a:lnTo>
                    <a:pt x="889" y="261"/>
                  </a:lnTo>
                  <a:lnTo>
                    <a:pt x="887" y="261"/>
                  </a:lnTo>
                  <a:lnTo>
                    <a:pt x="887" y="261"/>
                  </a:lnTo>
                  <a:lnTo>
                    <a:pt x="887" y="259"/>
                  </a:lnTo>
                  <a:lnTo>
                    <a:pt x="887" y="259"/>
                  </a:lnTo>
                  <a:lnTo>
                    <a:pt x="887" y="259"/>
                  </a:lnTo>
                  <a:lnTo>
                    <a:pt x="887" y="259"/>
                  </a:lnTo>
                  <a:lnTo>
                    <a:pt x="887" y="259"/>
                  </a:lnTo>
                  <a:lnTo>
                    <a:pt x="887" y="259"/>
                  </a:lnTo>
                  <a:lnTo>
                    <a:pt x="887" y="261"/>
                  </a:lnTo>
                  <a:lnTo>
                    <a:pt x="885" y="259"/>
                  </a:lnTo>
                  <a:lnTo>
                    <a:pt x="885" y="259"/>
                  </a:lnTo>
                  <a:lnTo>
                    <a:pt x="885" y="259"/>
                  </a:lnTo>
                  <a:lnTo>
                    <a:pt x="885" y="259"/>
                  </a:lnTo>
                  <a:lnTo>
                    <a:pt x="885" y="259"/>
                  </a:lnTo>
                  <a:lnTo>
                    <a:pt x="885" y="259"/>
                  </a:lnTo>
                  <a:lnTo>
                    <a:pt x="885" y="259"/>
                  </a:lnTo>
                  <a:lnTo>
                    <a:pt x="885" y="257"/>
                  </a:lnTo>
                  <a:lnTo>
                    <a:pt x="885" y="257"/>
                  </a:lnTo>
                  <a:lnTo>
                    <a:pt x="885" y="259"/>
                  </a:lnTo>
                  <a:lnTo>
                    <a:pt x="883" y="259"/>
                  </a:lnTo>
                  <a:lnTo>
                    <a:pt x="883" y="259"/>
                  </a:lnTo>
                  <a:lnTo>
                    <a:pt x="880" y="259"/>
                  </a:lnTo>
                  <a:lnTo>
                    <a:pt x="880" y="259"/>
                  </a:lnTo>
                  <a:lnTo>
                    <a:pt x="880" y="259"/>
                  </a:lnTo>
                  <a:lnTo>
                    <a:pt x="880" y="257"/>
                  </a:lnTo>
                  <a:lnTo>
                    <a:pt x="883" y="257"/>
                  </a:lnTo>
                  <a:lnTo>
                    <a:pt x="883" y="257"/>
                  </a:lnTo>
                  <a:lnTo>
                    <a:pt x="883" y="257"/>
                  </a:lnTo>
                  <a:lnTo>
                    <a:pt x="883" y="257"/>
                  </a:lnTo>
                  <a:lnTo>
                    <a:pt x="880" y="257"/>
                  </a:lnTo>
                  <a:lnTo>
                    <a:pt x="880" y="259"/>
                  </a:lnTo>
                  <a:lnTo>
                    <a:pt x="878" y="259"/>
                  </a:lnTo>
                  <a:lnTo>
                    <a:pt x="878" y="259"/>
                  </a:lnTo>
                  <a:lnTo>
                    <a:pt x="878" y="259"/>
                  </a:lnTo>
                  <a:lnTo>
                    <a:pt x="878" y="259"/>
                  </a:lnTo>
                  <a:lnTo>
                    <a:pt x="878" y="259"/>
                  </a:lnTo>
                  <a:lnTo>
                    <a:pt x="878" y="257"/>
                  </a:lnTo>
                  <a:lnTo>
                    <a:pt x="878" y="257"/>
                  </a:lnTo>
                  <a:lnTo>
                    <a:pt x="878" y="257"/>
                  </a:lnTo>
                  <a:lnTo>
                    <a:pt x="878" y="257"/>
                  </a:lnTo>
                  <a:lnTo>
                    <a:pt x="878" y="257"/>
                  </a:lnTo>
                  <a:lnTo>
                    <a:pt x="878" y="257"/>
                  </a:lnTo>
                  <a:lnTo>
                    <a:pt x="876" y="257"/>
                  </a:lnTo>
                  <a:lnTo>
                    <a:pt x="876" y="257"/>
                  </a:lnTo>
                  <a:lnTo>
                    <a:pt x="874" y="257"/>
                  </a:lnTo>
                  <a:lnTo>
                    <a:pt x="874" y="254"/>
                  </a:lnTo>
                  <a:lnTo>
                    <a:pt x="871" y="254"/>
                  </a:lnTo>
                  <a:lnTo>
                    <a:pt x="871" y="252"/>
                  </a:lnTo>
                  <a:lnTo>
                    <a:pt x="871" y="252"/>
                  </a:lnTo>
                  <a:lnTo>
                    <a:pt x="871" y="252"/>
                  </a:lnTo>
                  <a:lnTo>
                    <a:pt x="869" y="252"/>
                  </a:lnTo>
                  <a:lnTo>
                    <a:pt x="869" y="252"/>
                  </a:lnTo>
                  <a:lnTo>
                    <a:pt x="869" y="252"/>
                  </a:lnTo>
                  <a:lnTo>
                    <a:pt x="867" y="252"/>
                  </a:lnTo>
                  <a:lnTo>
                    <a:pt x="865" y="252"/>
                  </a:lnTo>
                  <a:lnTo>
                    <a:pt x="865" y="250"/>
                  </a:lnTo>
                  <a:lnTo>
                    <a:pt x="865" y="250"/>
                  </a:lnTo>
                  <a:lnTo>
                    <a:pt x="865" y="250"/>
                  </a:lnTo>
                  <a:lnTo>
                    <a:pt x="865" y="250"/>
                  </a:lnTo>
                  <a:lnTo>
                    <a:pt x="865" y="250"/>
                  </a:lnTo>
                  <a:lnTo>
                    <a:pt x="862" y="250"/>
                  </a:lnTo>
                  <a:lnTo>
                    <a:pt x="862" y="250"/>
                  </a:lnTo>
                  <a:lnTo>
                    <a:pt x="862" y="250"/>
                  </a:lnTo>
                  <a:lnTo>
                    <a:pt x="862" y="250"/>
                  </a:lnTo>
                  <a:lnTo>
                    <a:pt x="862" y="250"/>
                  </a:lnTo>
                  <a:lnTo>
                    <a:pt x="860" y="248"/>
                  </a:lnTo>
                  <a:lnTo>
                    <a:pt x="860" y="248"/>
                  </a:lnTo>
                  <a:lnTo>
                    <a:pt x="860" y="248"/>
                  </a:lnTo>
                  <a:lnTo>
                    <a:pt x="858" y="248"/>
                  </a:lnTo>
                  <a:lnTo>
                    <a:pt x="858" y="248"/>
                  </a:lnTo>
                  <a:lnTo>
                    <a:pt x="858" y="248"/>
                  </a:lnTo>
                  <a:lnTo>
                    <a:pt x="856" y="248"/>
                  </a:lnTo>
                  <a:lnTo>
                    <a:pt x="856" y="248"/>
                  </a:lnTo>
                  <a:lnTo>
                    <a:pt x="856" y="248"/>
                  </a:lnTo>
                  <a:lnTo>
                    <a:pt x="856" y="248"/>
                  </a:lnTo>
                  <a:lnTo>
                    <a:pt x="856" y="248"/>
                  </a:lnTo>
                  <a:lnTo>
                    <a:pt x="853" y="248"/>
                  </a:lnTo>
                  <a:lnTo>
                    <a:pt x="853" y="248"/>
                  </a:lnTo>
                  <a:lnTo>
                    <a:pt x="853" y="248"/>
                  </a:lnTo>
                  <a:lnTo>
                    <a:pt x="851" y="248"/>
                  </a:lnTo>
                  <a:lnTo>
                    <a:pt x="851" y="248"/>
                  </a:lnTo>
                  <a:lnTo>
                    <a:pt x="849" y="245"/>
                  </a:lnTo>
                  <a:lnTo>
                    <a:pt x="849" y="245"/>
                  </a:lnTo>
                  <a:lnTo>
                    <a:pt x="849" y="248"/>
                  </a:lnTo>
                  <a:lnTo>
                    <a:pt x="849" y="248"/>
                  </a:lnTo>
                  <a:lnTo>
                    <a:pt x="847" y="248"/>
                  </a:lnTo>
                  <a:lnTo>
                    <a:pt x="847" y="248"/>
                  </a:lnTo>
                  <a:lnTo>
                    <a:pt x="844" y="248"/>
                  </a:lnTo>
                  <a:lnTo>
                    <a:pt x="840" y="243"/>
                  </a:lnTo>
                  <a:lnTo>
                    <a:pt x="840" y="243"/>
                  </a:lnTo>
                  <a:lnTo>
                    <a:pt x="840" y="243"/>
                  </a:lnTo>
                  <a:lnTo>
                    <a:pt x="840" y="243"/>
                  </a:lnTo>
                  <a:lnTo>
                    <a:pt x="840" y="243"/>
                  </a:lnTo>
                  <a:lnTo>
                    <a:pt x="838" y="243"/>
                  </a:lnTo>
                  <a:lnTo>
                    <a:pt x="838" y="243"/>
                  </a:lnTo>
                  <a:lnTo>
                    <a:pt x="838" y="243"/>
                  </a:lnTo>
                  <a:lnTo>
                    <a:pt x="838" y="243"/>
                  </a:lnTo>
                  <a:lnTo>
                    <a:pt x="838" y="243"/>
                  </a:lnTo>
                  <a:lnTo>
                    <a:pt x="838" y="241"/>
                  </a:lnTo>
                  <a:lnTo>
                    <a:pt x="835" y="241"/>
                  </a:lnTo>
                  <a:lnTo>
                    <a:pt x="835" y="241"/>
                  </a:lnTo>
                  <a:lnTo>
                    <a:pt x="835" y="241"/>
                  </a:lnTo>
                  <a:lnTo>
                    <a:pt x="835" y="239"/>
                  </a:lnTo>
                  <a:lnTo>
                    <a:pt x="835" y="239"/>
                  </a:lnTo>
                  <a:lnTo>
                    <a:pt x="835" y="239"/>
                  </a:lnTo>
                  <a:lnTo>
                    <a:pt x="835" y="239"/>
                  </a:lnTo>
                  <a:lnTo>
                    <a:pt x="833" y="239"/>
                  </a:lnTo>
                  <a:lnTo>
                    <a:pt x="833" y="239"/>
                  </a:lnTo>
                  <a:lnTo>
                    <a:pt x="833" y="239"/>
                  </a:lnTo>
                  <a:lnTo>
                    <a:pt x="835" y="239"/>
                  </a:lnTo>
                  <a:lnTo>
                    <a:pt x="835" y="236"/>
                  </a:lnTo>
                  <a:lnTo>
                    <a:pt x="835" y="236"/>
                  </a:lnTo>
                  <a:lnTo>
                    <a:pt x="835" y="236"/>
                  </a:lnTo>
                  <a:lnTo>
                    <a:pt x="835" y="236"/>
                  </a:lnTo>
                  <a:lnTo>
                    <a:pt x="835" y="236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8" y="234"/>
                  </a:lnTo>
                  <a:lnTo>
                    <a:pt x="838" y="234"/>
                  </a:lnTo>
                  <a:lnTo>
                    <a:pt x="840" y="234"/>
                  </a:lnTo>
                  <a:lnTo>
                    <a:pt x="840" y="236"/>
                  </a:lnTo>
                  <a:lnTo>
                    <a:pt x="840" y="236"/>
                  </a:lnTo>
                  <a:lnTo>
                    <a:pt x="840" y="236"/>
                  </a:lnTo>
                  <a:lnTo>
                    <a:pt x="840" y="236"/>
                  </a:lnTo>
                  <a:lnTo>
                    <a:pt x="840" y="236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40" y="234"/>
                  </a:lnTo>
                  <a:lnTo>
                    <a:pt x="838" y="234"/>
                  </a:lnTo>
                  <a:lnTo>
                    <a:pt x="838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5" y="234"/>
                  </a:lnTo>
                  <a:lnTo>
                    <a:pt x="833" y="234"/>
                  </a:lnTo>
                  <a:lnTo>
                    <a:pt x="833" y="234"/>
                  </a:lnTo>
                  <a:lnTo>
                    <a:pt x="833" y="236"/>
                  </a:lnTo>
                  <a:lnTo>
                    <a:pt x="833" y="236"/>
                  </a:lnTo>
                  <a:lnTo>
                    <a:pt x="833" y="236"/>
                  </a:lnTo>
                  <a:lnTo>
                    <a:pt x="833" y="236"/>
                  </a:lnTo>
                  <a:lnTo>
                    <a:pt x="831" y="236"/>
                  </a:lnTo>
                  <a:lnTo>
                    <a:pt x="831" y="236"/>
                  </a:lnTo>
                  <a:lnTo>
                    <a:pt x="831" y="236"/>
                  </a:lnTo>
                  <a:lnTo>
                    <a:pt x="831" y="236"/>
                  </a:lnTo>
                  <a:lnTo>
                    <a:pt x="831" y="236"/>
                  </a:lnTo>
                  <a:lnTo>
                    <a:pt x="831" y="234"/>
                  </a:lnTo>
                  <a:lnTo>
                    <a:pt x="831" y="234"/>
                  </a:lnTo>
                  <a:lnTo>
                    <a:pt x="831" y="234"/>
                  </a:lnTo>
                  <a:lnTo>
                    <a:pt x="831" y="234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9" y="232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6" y="234"/>
                  </a:lnTo>
                  <a:lnTo>
                    <a:pt x="826" y="234"/>
                  </a:lnTo>
                  <a:lnTo>
                    <a:pt x="826" y="234"/>
                  </a:lnTo>
                  <a:lnTo>
                    <a:pt x="826" y="236"/>
                  </a:lnTo>
                  <a:lnTo>
                    <a:pt x="829" y="236"/>
                  </a:lnTo>
                  <a:lnTo>
                    <a:pt x="829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6"/>
                  </a:lnTo>
                  <a:lnTo>
                    <a:pt x="826" y="234"/>
                  </a:lnTo>
                  <a:lnTo>
                    <a:pt x="826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4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4" y="230"/>
                  </a:lnTo>
                  <a:lnTo>
                    <a:pt x="824" y="230"/>
                  </a:lnTo>
                  <a:lnTo>
                    <a:pt x="824" y="230"/>
                  </a:lnTo>
                  <a:lnTo>
                    <a:pt x="824" y="230"/>
                  </a:lnTo>
                  <a:lnTo>
                    <a:pt x="824" y="230"/>
                  </a:lnTo>
                  <a:lnTo>
                    <a:pt x="824" y="230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4" y="232"/>
                  </a:lnTo>
                  <a:lnTo>
                    <a:pt x="822" y="232"/>
                  </a:lnTo>
                  <a:lnTo>
                    <a:pt x="822" y="232"/>
                  </a:lnTo>
                  <a:lnTo>
                    <a:pt x="822" y="232"/>
                  </a:lnTo>
                  <a:lnTo>
                    <a:pt x="822" y="232"/>
                  </a:lnTo>
                  <a:lnTo>
                    <a:pt x="822" y="232"/>
                  </a:lnTo>
                  <a:lnTo>
                    <a:pt x="820" y="232"/>
                  </a:lnTo>
                  <a:lnTo>
                    <a:pt x="820" y="232"/>
                  </a:lnTo>
                  <a:lnTo>
                    <a:pt x="820" y="232"/>
                  </a:lnTo>
                  <a:lnTo>
                    <a:pt x="820" y="232"/>
                  </a:lnTo>
                  <a:lnTo>
                    <a:pt x="820" y="230"/>
                  </a:lnTo>
                  <a:lnTo>
                    <a:pt x="820" y="230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5"/>
                  </a:lnTo>
                  <a:lnTo>
                    <a:pt x="817" y="225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27"/>
                  </a:lnTo>
                  <a:lnTo>
                    <a:pt x="817" y="230"/>
                  </a:lnTo>
                  <a:lnTo>
                    <a:pt x="817" y="230"/>
                  </a:lnTo>
                  <a:lnTo>
                    <a:pt x="817" y="230"/>
                  </a:lnTo>
                  <a:lnTo>
                    <a:pt x="817" y="230"/>
                  </a:lnTo>
                  <a:lnTo>
                    <a:pt x="817" y="230"/>
                  </a:lnTo>
                  <a:lnTo>
                    <a:pt x="817" y="230"/>
                  </a:lnTo>
                  <a:lnTo>
                    <a:pt x="817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7"/>
                  </a:lnTo>
                  <a:lnTo>
                    <a:pt x="815" y="225"/>
                  </a:lnTo>
                  <a:lnTo>
                    <a:pt x="813" y="225"/>
                  </a:lnTo>
                  <a:lnTo>
                    <a:pt x="813" y="223"/>
                  </a:lnTo>
                  <a:lnTo>
                    <a:pt x="813" y="223"/>
                  </a:lnTo>
                  <a:lnTo>
                    <a:pt x="813" y="223"/>
                  </a:lnTo>
                  <a:lnTo>
                    <a:pt x="815" y="223"/>
                  </a:lnTo>
                  <a:lnTo>
                    <a:pt x="815" y="223"/>
                  </a:lnTo>
                  <a:lnTo>
                    <a:pt x="815" y="223"/>
                  </a:lnTo>
                  <a:lnTo>
                    <a:pt x="815" y="221"/>
                  </a:lnTo>
                  <a:lnTo>
                    <a:pt x="815" y="218"/>
                  </a:lnTo>
                  <a:lnTo>
                    <a:pt x="815" y="218"/>
                  </a:lnTo>
                  <a:lnTo>
                    <a:pt x="815" y="218"/>
                  </a:lnTo>
                  <a:lnTo>
                    <a:pt x="815" y="218"/>
                  </a:lnTo>
                  <a:lnTo>
                    <a:pt x="815" y="218"/>
                  </a:lnTo>
                  <a:lnTo>
                    <a:pt x="815" y="218"/>
                  </a:lnTo>
                  <a:lnTo>
                    <a:pt x="815" y="216"/>
                  </a:lnTo>
                  <a:lnTo>
                    <a:pt x="815" y="216"/>
                  </a:lnTo>
                  <a:lnTo>
                    <a:pt x="815" y="216"/>
                  </a:lnTo>
                  <a:lnTo>
                    <a:pt x="817" y="216"/>
                  </a:lnTo>
                  <a:lnTo>
                    <a:pt x="817" y="216"/>
                  </a:lnTo>
                  <a:lnTo>
                    <a:pt x="817" y="216"/>
                  </a:lnTo>
                  <a:lnTo>
                    <a:pt x="817" y="216"/>
                  </a:lnTo>
                  <a:lnTo>
                    <a:pt x="817" y="214"/>
                  </a:lnTo>
                  <a:lnTo>
                    <a:pt x="817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6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4"/>
                  </a:lnTo>
                  <a:lnTo>
                    <a:pt x="820" y="212"/>
                  </a:lnTo>
                  <a:lnTo>
                    <a:pt x="820" y="212"/>
                  </a:lnTo>
                  <a:lnTo>
                    <a:pt x="820" y="212"/>
                  </a:lnTo>
                  <a:lnTo>
                    <a:pt x="820" y="212"/>
                  </a:lnTo>
                  <a:lnTo>
                    <a:pt x="820" y="212"/>
                  </a:lnTo>
                  <a:lnTo>
                    <a:pt x="820" y="212"/>
                  </a:lnTo>
                  <a:lnTo>
                    <a:pt x="820" y="209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7" y="212"/>
                  </a:lnTo>
                  <a:lnTo>
                    <a:pt x="815" y="214"/>
                  </a:lnTo>
                  <a:lnTo>
                    <a:pt x="815" y="214"/>
                  </a:lnTo>
                  <a:lnTo>
                    <a:pt x="815" y="214"/>
                  </a:lnTo>
                  <a:lnTo>
                    <a:pt x="815" y="216"/>
                  </a:lnTo>
                  <a:lnTo>
                    <a:pt x="815" y="216"/>
                  </a:lnTo>
                  <a:lnTo>
                    <a:pt x="815" y="221"/>
                  </a:lnTo>
                  <a:lnTo>
                    <a:pt x="813" y="223"/>
                  </a:lnTo>
                  <a:lnTo>
                    <a:pt x="813" y="223"/>
                  </a:lnTo>
                  <a:lnTo>
                    <a:pt x="813" y="223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1" y="221"/>
                  </a:lnTo>
                  <a:lnTo>
                    <a:pt x="811" y="221"/>
                  </a:lnTo>
                  <a:lnTo>
                    <a:pt x="811" y="221"/>
                  </a:lnTo>
                  <a:lnTo>
                    <a:pt x="811" y="221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1" y="223"/>
                  </a:lnTo>
                  <a:lnTo>
                    <a:pt x="813" y="223"/>
                  </a:lnTo>
                  <a:lnTo>
                    <a:pt x="813" y="225"/>
                  </a:lnTo>
                  <a:lnTo>
                    <a:pt x="813" y="225"/>
                  </a:lnTo>
                  <a:lnTo>
                    <a:pt x="813" y="225"/>
                  </a:lnTo>
                  <a:lnTo>
                    <a:pt x="813" y="225"/>
                  </a:lnTo>
                  <a:lnTo>
                    <a:pt x="813" y="225"/>
                  </a:lnTo>
                  <a:lnTo>
                    <a:pt x="811" y="227"/>
                  </a:lnTo>
                  <a:lnTo>
                    <a:pt x="811" y="227"/>
                  </a:lnTo>
                  <a:lnTo>
                    <a:pt x="811" y="227"/>
                  </a:lnTo>
                  <a:lnTo>
                    <a:pt x="811" y="227"/>
                  </a:lnTo>
                  <a:lnTo>
                    <a:pt x="808" y="230"/>
                  </a:lnTo>
                  <a:lnTo>
                    <a:pt x="808" y="230"/>
                  </a:lnTo>
                  <a:lnTo>
                    <a:pt x="808" y="232"/>
                  </a:lnTo>
                  <a:lnTo>
                    <a:pt x="808" y="232"/>
                  </a:lnTo>
                  <a:lnTo>
                    <a:pt x="808" y="232"/>
                  </a:lnTo>
                  <a:lnTo>
                    <a:pt x="808" y="232"/>
                  </a:lnTo>
                  <a:lnTo>
                    <a:pt x="808" y="234"/>
                  </a:lnTo>
                  <a:lnTo>
                    <a:pt x="808" y="234"/>
                  </a:lnTo>
                  <a:lnTo>
                    <a:pt x="808" y="234"/>
                  </a:lnTo>
                  <a:lnTo>
                    <a:pt x="808" y="234"/>
                  </a:lnTo>
                  <a:lnTo>
                    <a:pt x="808" y="234"/>
                  </a:lnTo>
                  <a:lnTo>
                    <a:pt x="804" y="236"/>
                  </a:lnTo>
                  <a:lnTo>
                    <a:pt x="804" y="239"/>
                  </a:lnTo>
                  <a:lnTo>
                    <a:pt x="804" y="239"/>
                  </a:lnTo>
                  <a:lnTo>
                    <a:pt x="802" y="239"/>
                  </a:lnTo>
                  <a:lnTo>
                    <a:pt x="802" y="239"/>
                  </a:lnTo>
                  <a:lnTo>
                    <a:pt x="799" y="239"/>
                  </a:lnTo>
                  <a:lnTo>
                    <a:pt x="799" y="239"/>
                  </a:lnTo>
                  <a:lnTo>
                    <a:pt x="799" y="239"/>
                  </a:lnTo>
                  <a:lnTo>
                    <a:pt x="799" y="239"/>
                  </a:lnTo>
                  <a:lnTo>
                    <a:pt x="799" y="239"/>
                  </a:lnTo>
                  <a:lnTo>
                    <a:pt x="797" y="239"/>
                  </a:lnTo>
                  <a:lnTo>
                    <a:pt x="797" y="239"/>
                  </a:lnTo>
                  <a:lnTo>
                    <a:pt x="797" y="239"/>
                  </a:lnTo>
                  <a:lnTo>
                    <a:pt x="797" y="239"/>
                  </a:lnTo>
                  <a:lnTo>
                    <a:pt x="797" y="239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7" y="236"/>
                  </a:lnTo>
                  <a:lnTo>
                    <a:pt x="795" y="236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4"/>
                  </a:lnTo>
                  <a:lnTo>
                    <a:pt x="795" y="232"/>
                  </a:lnTo>
                  <a:lnTo>
                    <a:pt x="795" y="232"/>
                  </a:lnTo>
                  <a:lnTo>
                    <a:pt x="795" y="232"/>
                  </a:lnTo>
                  <a:lnTo>
                    <a:pt x="795" y="232"/>
                  </a:lnTo>
                  <a:lnTo>
                    <a:pt x="795" y="232"/>
                  </a:lnTo>
                  <a:lnTo>
                    <a:pt x="795" y="230"/>
                  </a:lnTo>
                  <a:lnTo>
                    <a:pt x="795" y="227"/>
                  </a:lnTo>
                  <a:lnTo>
                    <a:pt x="795" y="227"/>
                  </a:lnTo>
                  <a:lnTo>
                    <a:pt x="795" y="227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7" y="227"/>
                  </a:lnTo>
                  <a:lnTo>
                    <a:pt x="797" y="225"/>
                  </a:lnTo>
                  <a:lnTo>
                    <a:pt x="797" y="225"/>
                  </a:lnTo>
                  <a:lnTo>
                    <a:pt x="799" y="225"/>
                  </a:lnTo>
                  <a:lnTo>
                    <a:pt x="799" y="225"/>
                  </a:lnTo>
                  <a:lnTo>
                    <a:pt x="799" y="225"/>
                  </a:lnTo>
                  <a:lnTo>
                    <a:pt x="797" y="225"/>
                  </a:lnTo>
                  <a:lnTo>
                    <a:pt x="797" y="225"/>
                  </a:lnTo>
                  <a:lnTo>
                    <a:pt x="797" y="225"/>
                  </a:lnTo>
                  <a:lnTo>
                    <a:pt x="797" y="225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7" y="223"/>
                  </a:lnTo>
                  <a:lnTo>
                    <a:pt x="797" y="221"/>
                  </a:lnTo>
                  <a:lnTo>
                    <a:pt x="797" y="221"/>
                  </a:lnTo>
                  <a:lnTo>
                    <a:pt x="797" y="218"/>
                  </a:lnTo>
                  <a:lnTo>
                    <a:pt x="797" y="218"/>
                  </a:lnTo>
                  <a:lnTo>
                    <a:pt x="795" y="218"/>
                  </a:lnTo>
                  <a:lnTo>
                    <a:pt x="795" y="218"/>
                  </a:lnTo>
                  <a:lnTo>
                    <a:pt x="795" y="218"/>
                  </a:lnTo>
                  <a:lnTo>
                    <a:pt x="795" y="218"/>
                  </a:lnTo>
                  <a:lnTo>
                    <a:pt x="795" y="218"/>
                  </a:lnTo>
                  <a:lnTo>
                    <a:pt x="795" y="218"/>
                  </a:lnTo>
                  <a:lnTo>
                    <a:pt x="795" y="221"/>
                  </a:lnTo>
                  <a:lnTo>
                    <a:pt x="795" y="221"/>
                  </a:lnTo>
                  <a:lnTo>
                    <a:pt x="795" y="221"/>
                  </a:lnTo>
                  <a:lnTo>
                    <a:pt x="793" y="221"/>
                  </a:lnTo>
                  <a:lnTo>
                    <a:pt x="793" y="221"/>
                  </a:lnTo>
                  <a:lnTo>
                    <a:pt x="793" y="221"/>
                  </a:lnTo>
                  <a:lnTo>
                    <a:pt x="793" y="221"/>
                  </a:lnTo>
                  <a:lnTo>
                    <a:pt x="793" y="218"/>
                  </a:lnTo>
                  <a:lnTo>
                    <a:pt x="793" y="218"/>
                  </a:lnTo>
                  <a:lnTo>
                    <a:pt x="793" y="218"/>
                  </a:lnTo>
                  <a:lnTo>
                    <a:pt x="793" y="218"/>
                  </a:lnTo>
                  <a:lnTo>
                    <a:pt x="793" y="218"/>
                  </a:lnTo>
                  <a:lnTo>
                    <a:pt x="793" y="218"/>
                  </a:lnTo>
                  <a:lnTo>
                    <a:pt x="793" y="216"/>
                  </a:lnTo>
                  <a:lnTo>
                    <a:pt x="793" y="216"/>
                  </a:lnTo>
                  <a:lnTo>
                    <a:pt x="793" y="216"/>
                  </a:lnTo>
                  <a:lnTo>
                    <a:pt x="793" y="216"/>
                  </a:lnTo>
                  <a:lnTo>
                    <a:pt x="793" y="216"/>
                  </a:lnTo>
                  <a:lnTo>
                    <a:pt x="790" y="216"/>
                  </a:lnTo>
                  <a:lnTo>
                    <a:pt x="790" y="216"/>
                  </a:lnTo>
                  <a:lnTo>
                    <a:pt x="790" y="216"/>
                  </a:lnTo>
                  <a:lnTo>
                    <a:pt x="790" y="216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90" y="214"/>
                  </a:lnTo>
                  <a:lnTo>
                    <a:pt x="788" y="212"/>
                  </a:lnTo>
                  <a:lnTo>
                    <a:pt x="786" y="212"/>
                  </a:lnTo>
                  <a:lnTo>
                    <a:pt x="786" y="212"/>
                  </a:lnTo>
                  <a:lnTo>
                    <a:pt x="786" y="212"/>
                  </a:lnTo>
                  <a:lnTo>
                    <a:pt x="786" y="212"/>
                  </a:lnTo>
                  <a:lnTo>
                    <a:pt x="786" y="212"/>
                  </a:lnTo>
                  <a:lnTo>
                    <a:pt x="784" y="212"/>
                  </a:lnTo>
                  <a:lnTo>
                    <a:pt x="784" y="212"/>
                  </a:lnTo>
                  <a:lnTo>
                    <a:pt x="784" y="212"/>
                  </a:lnTo>
                  <a:lnTo>
                    <a:pt x="784" y="209"/>
                  </a:lnTo>
                  <a:lnTo>
                    <a:pt x="784" y="209"/>
                  </a:lnTo>
                  <a:lnTo>
                    <a:pt x="784" y="212"/>
                  </a:lnTo>
                  <a:lnTo>
                    <a:pt x="784" y="212"/>
                  </a:lnTo>
                  <a:lnTo>
                    <a:pt x="784" y="212"/>
                  </a:lnTo>
                  <a:lnTo>
                    <a:pt x="784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12"/>
                  </a:lnTo>
                  <a:lnTo>
                    <a:pt x="781" y="209"/>
                  </a:lnTo>
                  <a:lnTo>
                    <a:pt x="781" y="212"/>
                  </a:lnTo>
                  <a:lnTo>
                    <a:pt x="779" y="209"/>
                  </a:lnTo>
                  <a:lnTo>
                    <a:pt x="779" y="212"/>
                  </a:lnTo>
                  <a:lnTo>
                    <a:pt x="779" y="212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9"/>
                  </a:lnTo>
                  <a:lnTo>
                    <a:pt x="779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79" y="207"/>
                  </a:lnTo>
                  <a:lnTo>
                    <a:pt x="779" y="207"/>
                  </a:lnTo>
                  <a:lnTo>
                    <a:pt x="779" y="207"/>
                  </a:lnTo>
                  <a:lnTo>
                    <a:pt x="779" y="207"/>
                  </a:lnTo>
                  <a:lnTo>
                    <a:pt x="779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7"/>
                  </a:lnTo>
                  <a:lnTo>
                    <a:pt x="781" y="205"/>
                  </a:lnTo>
                  <a:lnTo>
                    <a:pt x="781" y="207"/>
                  </a:lnTo>
                  <a:lnTo>
                    <a:pt x="784" y="205"/>
                  </a:lnTo>
                  <a:lnTo>
                    <a:pt x="784" y="205"/>
                  </a:lnTo>
                  <a:lnTo>
                    <a:pt x="784" y="205"/>
                  </a:lnTo>
                  <a:lnTo>
                    <a:pt x="781" y="205"/>
                  </a:lnTo>
                  <a:lnTo>
                    <a:pt x="781" y="205"/>
                  </a:lnTo>
                  <a:lnTo>
                    <a:pt x="781" y="205"/>
                  </a:lnTo>
                  <a:lnTo>
                    <a:pt x="784" y="205"/>
                  </a:lnTo>
                  <a:lnTo>
                    <a:pt x="784" y="205"/>
                  </a:lnTo>
                  <a:lnTo>
                    <a:pt x="784" y="205"/>
                  </a:lnTo>
                  <a:lnTo>
                    <a:pt x="784" y="205"/>
                  </a:lnTo>
                  <a:lnTo>
                    <a:pt x="786" y="205"/>
                  </a:lnTo>
                  <a:lnTo>
                    <a:pt x="786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5"/>
                  </a:lnTo>
                  <a:lnTo>
                    <a:pt x="788" y="207"/>
                  </a:lnTo>
                  <a:lnTo>
                    <a:pt x="788" y="207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0" y="205"/>
                  </a:lnTo>
                  <a:lnTo>
                    <a:pt x="793" y="205"/>
                  </a:lnTo>
                  <a:lnTo>
                    <a:pt x="793" y="205"/>
                  </a:lnTo>
                  <a:lnTo>
                    <a:pt x="793" y="207"/>
                  </a:lnTo>
                  <a:lnTo>
                    <a:pt x="795" y="207"/>
                  </a:lnTo>
                  <a:lnTo>
                    <a:pt x="795" y="207"/>
                  </a:lnTo>
                  <a:lnTo>
                    <a:pt x="795" y="207"/>
                  </a:lnTo>
                  <a:lnTo>
                    <a:pt x="795" y="207"/>
                  </a:lnTo>
                  <a:lnTo>
                    <a:pt x="795" y="207"/>
                  </a:lnTo>
                  <a:lnTo>
                    <a:pt x="795" y="207"/>
                  </a:lnTo>
                  <a:lnTo>
                    <a:pt x="797" y="207"/>
                  </a:lnTo>
                  <a:lnTo>
                    <a:pt x="797" y="205"/>
                  </a:lnTo>
                  <a:lnTo>
                    <a:pt x="797" y="205"/>
                  </a:lnTo>
                  <a:lnTo>
                    <a:pt x="799" y="205"/>
                  </a:lnTo>
                  <a:lnTo>
                    <a:pt x="799" y="203"/>
                  </a:lnTo>
                  <a:lnTo>
                    <a:pt x="799" y="203"/>
                  </a:lnTo>
                  <a:lnTo>
                    <a:pt x="802" y="200"/>
                  </a:lnTo>
                  <a:lnTo>
                    <a:pt x="802" y="200"/>
                  </a:lnTo>
                  <a:lnTo>
                    <a:pt x="802" y="200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4" y="198"/>
                  </a:lnTo>
                  <a:lnTo>
                    <a:pt x="806" y="198"/>
                  </a:lnTo>
                  <a:lnTo>
                    <a:pt x="806" y="198"/>
                  </a:lnTo>
                  <a:lnTo>
                    <a:pt x="806" y="198"/>
                  </a:lnTo>
                  <a:lnTo>
                    <a:pt x="806" y="198"/>
                  </a:lnTo>
                  <a:lnTo>
                    <a:pt x="806" y="198"/>
                  </a:lnTo>
                  <a:lnTo>
                    <a:pt x="808" y="198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8" y="203"/>
                  </a:lnTo>
                  <a:lnTo>
                    <a:pt x="808" y="205"/>
                  </a:lnTo>
                  <a:lnTo>
                    <a:pt x="808" y="205"/>
                  </a:lnTo>
                  <a:lnTo>
                    <a:pt x="808" y="205"/>
                  </a:lnTo>
                  <a:lnTo>
                    <a:pt x="808" y="205"/>
                  </a:lnTo>
                  <a:lnTo>
                    <a:pt x="808" y="203"/>
                  </a:lnTo>
                  <a:lnTo>
                    <a:pt x="808" y="203"/>
                  </a:lnTo>
                  <a:lnTo>
                    <a:pt x="811" y="203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0"/>
                  </a:lnTo>
                  <a:lnTo>
                    <a:pt x="811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3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3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3"/>
                  </a:lnTo>
                  <a:lnTo>
                    <a:pt x="815" y="203"/>
                  </a:lnTo>
                  <a:lnTo>
                    <a:pt x="815" y="203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5"/>
                  </a:lnTo>
                  <a:lnTo>
                    <a:pt x="815" y="203"/>
                  </a:lnTo>
                  <a:lnTo>
                    <a:pt x="815" y="203"/>
                  </a:lnTo>
                  <a:lnTo>
                    <a:pt x="815" y="203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3"/>
                  </a:lnTo>
                  <a:lnTo>
                    <a:pt x="817" y="203"/>
                  </a:lnTo>
                  <a:lnTo>
                    <a:pt x="817" y="203"/>
                  </a:lnTo>
                  <a:lnTo>
                    <a:pt x="817" y="205"/>
                  </a:lnTo>
                  <a:lnTo>
                    <a:pt x="817" y="205"/>
                  </a:lnTo>
                  <a:lnTo>
                    <a:pt x="817" y="203"/>
                  </a:lnTo>
                  <a:lnTo>
                    <a:pt x="817" y="203"/>
                  </a:lnTo>
                  <a:lnTo>
                    <a:pt x="817" y="203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200"/>
                  </a:lnTo>
                  <a:lnTo>
                    <a:pt x="817" y="198"/>
                  </a:lnTo>
                  <a:lnTo>
                    <a:pt x="817" y="198"/>
                  </a:lnTo>
                  <a:lnTo>
                    <a:pt x="817" y="198"/>
                  </a:lnTo>
                  <a:lnTo>
                    <a:pt x="817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0" y="200"/>
                  </a:lnTo>
                  <a:lnTo>
                    <a:pt x="820" y="200"/>
                  </a:lnTo>
                  <a:lnTo>
                    <a:pt x="820" y="200"/>
                  </a:lnTo>
                  <a:lnTo>
                    <a:pt x="820" y="200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2" y="198"/>
                  </a:lnTo>
                  <a:lnTo>
                    <a:pt x="822" y="198"/>
                  </a:lnTo>
                  <a:lnTo>
                    <a:pt x="822" y="198"/>
                  </a:lnTo>
                  <a:lnTo>
                    <a:pt x="822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0" y="198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4"/>
                  </a:lnTo>
                  <a:lnTo>
                    <a:pt x="822" y="194"/>
                  </a:lnTo>
                  <a:lnTo>
                    <a:pt x="822" y="194"/>
                  </a:lnTo>
                  <a:lnTo>
                    <a:pt x="822" y="194"/>
                  </a:lnTo>
                  <a:lnTo>
                    <a:pt x="822" y="196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17" y="196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2" y="194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20" y="191"/>
                  </a:lnTo>
                  <a:lnTo>
                    <a:pt x="817" y="191"/>
                  </a:lnTo>
                  <a:lnTo>
                    <a:pt x="817" y="191"/>
                  </a:lnTo>
                  <a:lnTo>
                    <a:pt x="817" y="191"/>
                  </a:lnTo>
                  <a:lnTo>
                    <a:pt x="817" y="191"/>
                  </a:lnTo>
                  <a:lnTo>
                    <a:pt x="817" y="191"/>
                  </a:lnTo>
                  <a:lnTo>
                    <a:pt x="817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1" y="194"/>
                  </a:lnTo>
                  <a:lnTo>
                    <a:pt x="811" y="194"/>
                  </a:lnTo>
                  <a:lnTo>
                    <a:pt x="811" y="194"/>
                  </a:lnTo>
                  <a:lnTo>
                    <a:pt x="808" y="194"/>
                  </a:lnTo>
                  <a:lnTo>
                    <a:pt x="808" y="194"/>
                  </a:lnTo>
                  <a:lnTo>
                    <a:pt x="808" y="194"/>
                  </a:lnTo>
                  <a:lnTo>
                    <a:pt x="808" y="194"/>
                  </a:lnTo>
                  <a:lnTo>
                    <a:pt x="808" y="194"/>
                  </a:lnTo>
                  <a:lnTo>
                    <a:pt x="806" y="194"/>
                  </a:lnTo>
                  <a:lnTo>
                    <a:pt x="806" y="194"/>
                  </a:lnTo>
                  <a:lnTo>
                    <a:pt x="806" y="194"/>
                  </a:lnTo>
                  <a:lnTo>
                    <a:pt x="804" y="194"/>
                  </a:lnTo>
                  <a:lnTo>
                    <a:pt x="804" y="194"/>
                  </a:lnTo>
                  <a:lnTo>
                    <a:pt x="804" y="194"/>
                  </a:lnTo>
                  <a:lnTo>
                    <a:pt x="802" y="194"/>
                  </a:lnTo>
                  <a:lnTo>
                    <a:pt x="802" y="194"/>
                  </a:lnTo>
                  <a:lnTo>
                    <a:pt x="802" y="196"/>
                  </a:lnTo>
                  <a:lnTo>
                    <a:pt x="799" y="196"/>
                  </a:lnTo>
                  <a:lnTo>
                    <a:pt x="799" y="196"/>
                  </a:lnTo>
                  <a:lnTo>
                    <a:pt x="797" y="194"/>
                  </a:lnTo>
                  <a:lnTo>
                    <a:pt x="797" y="194"/>
                  </a:lnTo>
                  <a:lnTo>
                    <a:pt x="797" y="194"/>
                  </a:lnTo>
                  <a:lnTo>
                    <a:pt x="797" y="194"/>
                  </a:lnTo>
                  <a:lnTo>
                    <a:pt x="795" y="196"/>
                  </a:lnTo>
                  <a:lnTo>
                    <a:pt x="795" y="196"/>
                  </a:lnTo>
                  <a:lnTo>
                    <a:pt x="795" y="196"/>
                  </a:lnTo>
                  <a:lnTo>
                    <a:pt x="795" y="196"/>
                  </a:lnTo>
                  <a:lnTo>
                    <a:pt x="795" y="196"/>
                  </a:lnTo>
                  <a:lnTo>
                    <a:pt x="795" y="196"/>
                  </a:lnTo>
                  <a:lnTo>
                    <a:pt x="793" y="196"/>
                  </a:lnTo>
                  <a:lnTo>
                    <a:pt x="793" y="194"/>
                  </a:lnTo>
                  <a:lnTo>
                    <a:pt x="793" y="194"/>
                  </a:lnTo>
                  <a:lnTo>
                    <a:pt x="793" y="194"/>
                  </a:lnTo>
                  <a:lnTo>
                    <a:pt x="793" y="194"/>
                  </a:lnTo>
                  <a:lnTo>
                    <a:pt x="793" y="194"/>
                  </a:lnTo>
                  <a:lnTo>
                    <a:pt x="793" y="194"/>
                  </a:lnTo>
                  <a:lnTo>
                    <a:pt x="793" y="194"/>
                  </a:lnTo>
                  <a:lnTo>
                    <a:pt x="790" y="194"/>
                  </a:lnTo>
                  <a:lnTo>
                    <a:pt x="790" y="194"/>
                  </a:lnTo>
                  <a:lnTo>
                    <a:pt x="788" y="194"/>
                  </a:lnTo>
                  <a:lnTo>
                    <a:pt x="788" y="196"/>
                  </a:lnTo>
                  <a:lnTo>
                    <a:pt x="786" y="196"/>
                  </a:lnTo>
                  <a:lnTo>
                    <a:pt x="786" y="194"/>
                  </a:lnTo>
                  <a:lnTo>
                    <a:pt x="786" y="194"/>
                  </a:lnTo>
                  <a:lnTo>
                    <a:pt x="786" y="194"/>
                  </a:lnTo>
                  <a:lnTo>
                    <a:pt x="786" y="194"/>
                  </a:lnTo>
                  <a:lnTo>
                    <a:pt x="786" y="191"/>
                  </a:lnTo>
                  <a:lnTo>
                    <a:pt x="781" y="191"/>
                  </a:lnTo>
                  <a:lnTo>
                    <a:pt x="781" y="191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4" y="189"/>
                  </a:lnTo>
                  <a:lnTo>
                    <a:pt x="784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81" y="189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7"/>
                  </a:lnTo>
                  <a:lnTo>
                    <a:pt x="779" y="185"/>
                  </a:lnTo>
                  <a:lnTo>
                    <a:pt x="779" y="185"/>
                  </a:lnTo>
                  <a:lnTo>
                    <a:pt x="779" y="185"/>
                  </a:lnTo>
                  <a:lnTo>
                    <a:pt x="779" y="185"/>
                  </a:lnTo>
                  <a:lnTo>
                    <a:pt x="779" y="185"/>
                  </a:lnTo>
                  <a:lnTo>
                    <a:pt x="779" y="185"/>
                  </a:lnTo>
                  <a:lnTo>
                    <a:pt x="779" y="182"/>
                  </a:lnTo>
                  <a:lnTo>
                    <a:pt x="779" y="182"/>
                  </a:lnTo>
                  <a:lnTo>
                    <a:pt x="781" y="182"/>
                  </a:lnTo>
                  <a:lnTo>
                    <a:pt x="781" y="182"/>
                  </a:lnTo>
                  <a:lnTo>
                    <a:pt x="781" y="182"/>
                  </a:lnTo>
                  <a:lnTo>
                    <a:pt x="781" y="182"/>
                  </a:lnTo>
                  <a:lnTo>
                    <a:pt x="781" y="180"/>
                  </a:lnTo>
                  <a:lnTo>
                    <a:pt x="781" y="180"/>
                  </a:lnTo>
                  <a:lnTo>
                    <a:pt x="781" y="180"/>
                  </a:lnTo>
                  <a:lnTo>
                    <a:pt x="781" y="180"/>
                  </a:lnTo>
                  <a:lnTo>
                    <a:pt x="781" y="180"/>
                  </a:lnTo>
                  <a:lnTo>
                    <a:pt x="781" y="180"/>
                  </a:lnTo>
                  <a:lnTo>
                    <a:pt x="779" y="180"/>
                  </a:lnTo>
                  <a:lnTo>
                    <a:pt x="779" y="182"/>
                  </a:lnTo>
                  <a:lnTo>
                    <a:pt x="779" y="182"/>
                  </a:lnTo>
                  <a:lnTo>
                    <a:pt x="779" y="182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80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9" y="178"/>
                  </a:lnTo>
                  <a:lnTo>
                    <a:pt x="777" y="178"/>
                  </a:lnTo>
                  <a:lnTo>
                    <a:pt x="777" y="178"/>
                  </a:lnTo>
                  <a:lnTo>
                    <a:pt x="777" y="178"/>
                  </a:lnTo>
                  <a:lnTo>
                    <a:pt x="777" y="180"/>
                  </a:lnTo>
                  <a:lnTo>
                    <a:pt x="777" y="178"/>
                  </a:lnTo>
                  <a:lnTo>
                    <a:pt x="777" y="178"/>
                  </a:lnTo>
                  <a:lnTo>
                    <a:pt x="777" y="178"/>
                  </a:lnTo>
                  <a:lnTo>
                    <a:pt x="777" y="176"/>
                  </a:lnTo>
                  <a:lnTo>
                    <a:pt x="777" y="178"/>
                  </a:lnTo>
                  <a:lnTo>
                    <a:pt x="777" y="178"/>
                  </a:lnTo>
                  <a:lnTo>
                    <a:pt x="777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5" y="178"/>
                  </a:lnTo>
                  <a:lnTo>
                    <a:pt x="772" y="178"/>
                  </a:lnTo>
                  <a:lnTo>
                    <a:pt x="772" y="178"/>
                  </a:lnTo>
                  <a:lnTo>
                    <a:pt x="772" y="178"/>
                  </a:lnTo>
                  <a:lnTo>
                    <a:pt x="772" y="176"/>
                  </a:lnTo>
                  <a:lnTo>
                    <a:pt x="772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70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6"/>
                  </a:lnTo>
                  <a:lnTo>
                    <a:pt x="768" y="174"/>
                  </a:lnTo>
                  <a:lnTo>
                    <a:pt x="768" y="174"/>
                  </a:lnTo>
                  <a:lnTo>
                    <a:pt x="768" y="174"/>
                  </a:lnTo>
                  <a:lnTo>
                    <a:pt x="768" y="174"/>
                  </a:lnTo>
                  <a:lnTo>
                    <a:pt x="766" y="174"/>
                  </a:lnTo>
                  <a:lnTo>
                    <a:pt x="766" y="174"/>
                  </a:lnTo>
                  <a:lnTo>
                    <a:pt x="766" y="174"/>
                  </a:lnTo>
                  <a:lnTo>
                    <a:pt x="766" y="174"/>
                  </a:lnTo>
                  <a:lnTo>
                    <a:pt x="766" y="176"/>
                  </a:lnTo>
                  <a:lnTo>
                    <a:pt x="766" y="176"/>
                  </a:lnTo>
                  <a:lnTo>
                    <a:pt x="766" y="176"/>
                  </a:lnTo>
                  <a:lnTo>
                    <a:pt x="766" y="176"/>
                  </a:lnTo>
                  <a:lnTo>
                    <a:pt x="766" y="176"/>
                  </a:lnTo>
                  <a:lnTo>
                    <a:pt x="766" y="176"/>
                  </a:lnTo>
                  <a:lnTo>
                    <a:pt x="763" y="178"/>
                  </a:lnTo>
                  <a:lnTo>
                    <a:pt x="763" y="178"/>
                  </a:lnTo>
                  <a:lnTo>
                    <a:pt x="763" y="178"/>
                  </a:lnTo>
                  <a:lnTo>
                    <a:pt x="763" y="176"/>
                  </a:lnTo>
                  <a:lnTo>
                    <a:pt x="763" y="176"/>
                  </a:lnTo>
                  <a:lnTo>
                    <a:pt x="763" y="176"/>
                  </a:lnTo>
                  <a:lnTo>
                    <a:pt x="763" y="176"/>
                  </a:lnTo>
                  <a:lnTo>
                    <a:pt x="761" y="176"/>
                  </a:lnTo>
                  <a:lnTo>
                    <a:pt x="761" y="176"/>
                  </a:lnTo>
                  <a:lnTo>
                    <a:pt x="759" y="176"/>
                  </a:lnTo>
                  <a:lnTo>
                    <a:pt x="759" y="176"/>
                  </a:lnTo>
                  <a:lnTo>
                    <a:pt x="759" y="176"/>
                  </a:lnTo>
                  <a:lnTo>
                    <a:pt x="759" y="176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59" y="174"/>
                  </a:lnTo>
                  <a:lnTo>
                    <a:pt x="761" y="171"/>
                  </a:lnTo>
                  <a:lnTo>
                    <a:pt x="761" y="171"/>
                  </a:lnTo>
                  <a:lnTo>
                    <a:pt x="761" y="171"/>
                  </a:lnTo>
                  <a:lnTo>
                    <a:pt x="761" y="171"/>
                  </a:lnTo>
                  <a:lnTo>
                    <a:pt x="761" y="171"/>
                  </a:lnTo>
                  <a:lnTo>
                    <a:pt x="761" y="171"/>
                  </a:lnTo>
                  <a:lnTo>
                    <a:pt x="761" y="171"/>
                  </a:lnTo>
                  <a:lnTo>
                    <a:pt x="763" y="169"/>
                  </a:lnTo>
                  <a:lnTo>
                    <a:pt x="763" y="169"/>
                  </a:lnTo>
                  <a:lnTo>
                    <a:pt x="763" y="169"/>
                  </a:lnTo>
                  <a:lnTo>
                    <a:pt x="763" y="169"/>
                  </a:lnTo>
                  <a:lnTo>
                    <a:pt x="766" y="167"/>
                  </a:lnTo>
                  <a:lnTo>
                    <a:pt x="766" y="167"/>
                  </a:lnTo>
                  <a:lnTo>
                    <a:pt x="766" y="167"/>
                  </a:lnTo>
                  <a:lnTo>
                    <a:pt x="766" y="167"/>
                  </a:lnTo>
                  <a:lnTo>
                    <a:pt x="766" y="167"/>
                  </a:lnTo>
                  <a:lnTo>
                    <a:pt x="766" y="165"/>
                  </a:lnTo>
                  <a:lnTo>
                    <a:pt x="766" y="165"/>
                  </a:lnTo>
                  <a:lnTo>
                    <a:pt x="766" y="165"/>
                  </a:lnTo>
                  <a:lnTo>
                    <a:pt x="766" y="165"/>
                  </a:lnTo>
                  <a:lnTo>
                    <a:pt x="766" y="165"/>
                  </a:lnTo>
                  <a:lnTo>
                    <a:pt x="766" y="162"/>
                  </a:lnTo>
                  <a:lnTo>
                    <a:pt x="766" y="162"/>
                  </a:lnTo>
                  <a:lnTo>
                    <a:pt x="766" y="162"/>
                  </a:lnTo>
                  <a:lnTo>
                    <a:pt x="766" y="162"/>
                  </a:lnTo>
                  <a:lnTo>
                    <a:pt x="766" y="160"/>
                  </a:lnTo>
                  <a:lnTo>
                    <a:pt x="766" y="160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68" y="160"/>
                  </a:lnTo>
                  <a:lnTo>
                    <a:pt x="770" y="160"/>
                  </a:lnTo>
                  <a:lnTo>
                    <a:pt x="770" y="158"/>
                  </a:lnTo>
                  <a:lnTo>
                    <a:pt x="770" y="158"/>
                  </a:lnTo>
                  <a:lnTo>
                    <a:pt x="770" y="158"/>
                  </a:lnTo>
                  <a:lnTo>
                    <a:pt x="770" y="158"/>
                  </a:lnTo>
                  <a:lnTo>
                    <a:pt x="770" y="158"/>
                  </a:lnTo>
                  <a:lnTo>
                    <a:pt x="770" y="158"/>
                  </a:lnTo>
                  <a:lnTo>
                    <a:pt x="772" y="158"/>
                  </a:lnTo>
                  <a:lnTo>
                    <a:pt x="770" y="160"/>
                  </a:lnTo>
                  <a:lnTo>
                    <a:pt x="770" y="160"/>
                  </a:lnTo>
                  <a:lnTo>
                    <a:pt x="770" y="160"/>
                  </a:lnTo>
                  <a:lnTo>
                    <a:pt x="770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2" y="160"/>
                  </a:lnTo>
                  <a:lnTo>
                    <a:pt x="777" y="158"/>
                  </a:lnTo>
                  <a:lnTo>
                    <a:pt x="777" y="158"/>
                  </a:lnTo>
                  <a:lnTo>
                    <a:pt x="779" y="158"/>
                  </a:lnTo>
                  <a:lnTo>
                    <a:pt x="779" y="158"/>
                  </a:lnTo>
                  <a:lnTo>
                    <a:pt x="779" y="156"/>
                  </a:lnTo>
                  <a:lnTo>
                    <a:pt x="779" y="156"/>
                  </a:lnTo>
                  <a:lnTo>
                    <a:pt x="781" y="156"/>
                  </a:lnTo>
                  <a:lnTo>
                    <a:pt x="781" y="153"/>
                  </a:lnTo>
                  <a:lnTo>
                    <a:pt x="781" y="153"/>
                  </a:lnTo>
                  <a:lnTo>
                    <a:pt x="781" y="153"/>
                  </a:lnTo>
                  <a:lnTo>
                    <a:pt x="781" y="153"/>
                  </a:lnTo>
                  <a:lnTo>
                    <a:pt x="784" y="153"/>
                  </a:lnTo>
                  <a:lnTo>
                    <a:pt x="784" y="151"/>
                  </a:lnTo>
                  <a:lnTo>
                    <a:pt x="784" y="151"/>
                  </a:lnTo>
                  <a:lnTo>
                    <a:pt x="784" y="151"/>
                  </a:lnTo>
                  <a:lnTo>
                    <a:pt x="786" y="151"/>
                  </a:lnTo>
                  <a:lnTo>
                    <a:pt x="786" y="151"/>
                  </a:lnTo>
                  <a:lnTo>
                    <a:pt x="786" y="151"/>
                  </a:lnTo>
                  <a:lnTo>
                    <a:pt x="786" y="151"/>
                  </a:lnTo>
                  <a:lnTo>
                    <a:pt x="788" y="151"/>
                  </a:lnTo>
                  <a:lnTo>
                    <a:pt x="790" y="149"/>
                  </a:lnTo>
                  <a:lnTo>
                    <a:pt x="790" y="149"/>
                  </a:lnTo>
                  <a:close/>
                  <a:moveTo>
                    <a:pt x="204" y="151"/>
                  </a:moveTo>
                  <a:lnTo>
                    <a:pt x="204" y="151"/>
                  </a:lnTo>
                  <a:lnTo>
                    <a:pt x="204" y="151"/>
                  </a:lnTo>
                  <a:lnTo>
                    <a:pt x="204" y="153"/>
                  </a:lnTo>
                  <a:lnTo>
                    <a:pt x="204" y="153"/>
                  </a:lnTo>
                  <a:lnTo>
                    <a:pt x="204" y="153"/>
                  </a:lnTo>
                  <a:lnTo>
                    <a:pt x="204" y="153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2" y="156"/>
                  </a:lnTo>
                  <a:lnTo>
                    <a:pt x="202" y="156"/>
                  </a:lnTo>
                  <a:lnTo>
                    <a:pt x="202" y="156"/>
                  </a:lnTo>
                  <a:lnTo>
                    <a:pt x="202" y="156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7" y="153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2" y="151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4" y="149"/>
                  </a:lnTo>
                  <a:lnTo>
                    <a:pt x="204" y="149"/>
                  </a:lnTo>
                  <a:lnTo>
                    <a:pt x="204" y="149"/>
                  </a:lnTo>
                  <a:lnTo>
                    <a:pt x="204" y="149"/>
                  </a:lnTo>
                  <a:lnTo>
                    <a:pt x="204" y="151"/>
                  </a:lnTo>
                  <a:lnTo>
                    <a:pt x="204" y="151"/>
                  </a:lnTo>
                  <a:close/>
                  <a:moveTo>
                    <a:pt x="572" y="149"/>
                  </a:moveTo>
                  <a:lnTo>
                    <a:pt x="572" y="149"/>
                  </a:lnTo>
                  <a:lnTo>
                    <a:pt x="572" y="149"/>
                  </a:lnTo>
                  <a:lnTo>
                    <a:pt x="572" y="149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0" y="151"/>
                  </a:lnTo>
                  <a:lnTo>
                    <a:pt x="570" y="151"/>
                  </a:lnTo>
                  <a:lnTo>
                    <a:pt x="570" y="151"/>
                  </a:lnTo>
                  <a:lnTo>
                    <a:pt x="570" y="151"/>
                  </a:lnTo>
                  <a:lnTo>
                    <a:pt x="568" y="151"/>
                  </a:lnTo>
                  <a:lnTo>
                    <a:pt x="568" y="151"/>
                  </a:lnTo>
                  <a:lnTo>
                    <a:pt x="568" y="151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2" y="149"/>
                  </a:lnTo>
                  <a:lnTo>
                    <a:pt x="572" y="149"/>
                  </a:lnTo>
                  <a:close/>
                  <a:moveTo>
                    <a:pt x="689" y="151"/>
                  </a:move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3"/>
                  </a:lnTo>
                  <a:lnTo>
                    <a:pt x="689" y="153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6"/>
                  </a:lnTo>
                  <a:lnTo>
                    <a:pt x="689" y="158"/>
                  </a:lnTo>
                  <a:lnTo>
                    <a:pt x="689" y="158"/>
                  </a:lnTo>
                  <a:lnTo>
                    <a:pt x="689" y="158"/>
                  </a:lnTo>
                  <a:lnTo>
                    <a:pt x="689" y="158"/>
                  </a:lnTo>
                  <a:lnTo>
                    <a:pt x="689" y="158"/>
                  </a:lnTo>
                  <a:lnTo>
                    <a:pt x="689" y="158"/>
                  </a:lnTo>
                  <a:lnTo>
                    <a:pt x="692" y="158"/>
                  </a:lnTo>
                  <a:lnTo>
                    <a:pt x="692" y="158"/>
                  </a:lnTo>
                  <a:lnTo>
                    <a:pt x="692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8"/>
                  </a:lnTo>
                  <a:lnTo>
                    <a:pt x="694" y="158"/>
                  </a:lnTo>
                  <a:lnTo>
                    <a:pt x="694" y="158"/>
                  </a:lnTo>
                  <a:lnTo>
                    <a:pt x="694" y="158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0"/>
                  </a:lnTo>
                  <a:lnTo>
                    <a:pt x="694" y="162"/>
                  </a:lnTo>
                  <a:lnTo>
                    <a:pt x="694" y="162"/>
                  </a:lnTo>
                  <a:lnTo>
                    <a:pt x="694" y="162"/>
                  </a:lnTo>
                  <a:lnTo>
                    <a:pt x="692" y="162"/>
                  </a:lnTo>
                  <a:lnTo>
                    <a:pt x="692" y="162"/>
                  </a:lnTo>
                  <a:lnTo>
                    <a:pt x="692" y="162"/>
                  </a:lnTo>
                  <a:lnTo>
                    <a:pt x="692" y="162"/>
                  </a:lnTo>
                  <a:lnTo>
                    <a:pt x="692" y="162"/>
                  </a:lnTo>
                  <a:lnTo>
                    <a:pt x="692" y="162"/>
                  </a:lnTo>
                  <a:lnTo>
                    <a:pt x="692" y="162"/>
                  </a:lnTo>
                  <a:lnTo>
                    <a:pt x="689" y="162"/>
                  </a:lnTo>
                  <a:lnTo>
                    <a:pt x="689" y="162"/>
                  </a:lnTo>
                  <a:lnTo>
                    <a:pt x="689" y="162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9" y="160"/>
                  </a:lnTo>
                  <a:lnTo>
                    <a:pt x="687" y="160"/>
                  </a:lnTo>
                  <a:lnTo>
                    <a:pt x="685" y="160"/>
                  </a:lnTo>
                  <a:lnTo>
                    <a:pt x="685" y="160"/>
                  </a:lnTo>
                  <a:lnTo>
                    <a:pt x="685" y="160"/>
                  </a:lnTo>
                  <a:lnTo>
                    <a:pt x="685" y="160"/>
                  </a:lnTo>
                  <a:lnTo>
                    <a:pt x="685" y="160"/>
                  </a:lnTo>
                  <a:lnTo>
                    <a:pt x="685" y="158"/>
                  </a:lnTo>
                  <a:lnTo>
                    <a:pt x="685" y="158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5" y="156"/>
                  </a:lnTo>
                  <a:lnTo>
                    <a:pt x="683" y="156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83" y="153"/>
                  </a:lnTo>
                  <a:lnTo>
                    <a:pt x="683" y="151"/>
                  </a:lnTo>
                  <a:lnTo>
                    <a:pt x="683" y="151"/>
                  </a:lnTo>
                  <a:lnTo>
                    <a:pt x="683" y="151"/>
                  </a:lnTo>
                  <a:lnTo>
                    <a:pt x="683" y="151"/>
                  </a:lnTo>
                  <a:lnTo>
                    <a:pt x="683" y="151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5" y="149"/>
                  </a:lnTo>
                  <a:lnTo>
                    <a:pt x="685" y="149"/>
                  </a:lnTo>
                  <a:lnTo>
                    <a:pt x="685" y="149"/>
                  </a:lnTo>
                  <a:lnTo>
                    <a:pt x="685" y="149"/>
                  </a:lnTo>
                  <a:lnTo>
                    <a:pt x="685" y="149"/>
                  </a:lnTo>
                  <a:lnTo>
                    <a:pt x="685" y="149"/>
                  </a:lnTo>
                  <a:lnTo>
                    <a:pt x="685" y="151"/>
                  </a:lnTo>
                  <a:lnTo>
                    <a:pt x="685" y="151"/>
                  </a:lnTo>
                  <a:lnTo>
                    <a:pt x="685" y="151"/>
                  </a:lnTo>
                  <a:lnTo>
                    <a:pt x="685" y="151"/>
                  </a:lnTo>
                  <a:lnTo>
                    <a:pt x="685" y="151"/>
                  </a:lnTo>
                  <a:lnTo>
                    <a:pt x="685" y="151"/>
                  </a:lnTo>
                  <a:lnTo>
                    <a:pt x="685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7" y="149"/>
                  </a:lnTo>
                  <a:lnTo>
                    <a:pt x="689" y="149"/>
                  </a:lnTo>
                  <a:lnTo>
                    <a:pt x="689" y="149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lnTo>
                    <a:pt x="689" y="151"/>
                  </a:lnTo>
                  <a:close/>
                  <a:moveTo>
                    <a:pt x="202" y="149"/>
                  </a:move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9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4" y="149"/>
                  </a:lnTo>
                  <a:lnTo>
                    <a:pt x="204" y="149"/>
                  </a:lnTo>
                  <a:lnTo>
                    <a:pt x="204" y="149"/>
                  </a:lnTo>
                  <a:lnTo>
                    <a:pt x="202" y="149"/>
                  </a:lnTo>
                  <a:close/>
                  <a:moveTo>
                    <a:pt x="575" y="149"/>
                  </a:moveTo>
                  <a:lnTo>
                    <a:pt x="575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51"/>
                  </a:lnTo>
                  <a:lnTo>
                    <a:pt x="572" y="149"/>
                  </a:lnTo>
                  <a:lnTo>
                    <a:pt x="572" y="149"/>
                  </a:lnTo>
                  <a:lnTo>
                    <a:pt x="572" y="149"/>
                  </a:lnTo>
                  <a:lnTo>
                    <a:pt x="572" y="147"/>
                  </a:lnTo>
                  <a:lnTo>
                    <a:pt x="572" y="147"/>
                  </a:lnTo>
                  <a:lnTo>
                    <a:pt x="572" y="149"/>
                  </a:lnTo>
                  <a:lnTo>
                    <a:pt x="572" y="149"/>
                  </a:lnTo>
                  <a:lnTo>
                    <a:pt x="572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close/>
                  <a:moveTo>
                    <a:pt x="680" y="147"/>
                  </a:moveTo>
                  <a:lnTo>
                    <a:pt x="680" y="147"/>
                  </a:lnTo>
                  <a:lnTo>
                    <a:pt x="680" y="147"/>
                  </a:lnTo>
                  <a:lnTo>
                    <a:pt x="680" y="147"/>
                  </a:lnTo>
                  <a:lnTo>
                    <a:pt x="680" y="147"/>
                  </a:lnTo>
                  <a:lnTo>
                    <a:pt x="680" y="147"/>
                  </a:lnTo>
                  <a:lnTo>
                    <a:pt x="680" y="147"/>
                  </a:lnTo>
                  <a:lnTo>
                    <a:pt x="683" y="147"/>
                  </a:lnTo>
                  <a:lnTo>
                    <a:pt x="683" y="147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0" y="149"/>
                  </a:lnTo>
                  <a:lnTo>
                    <a:pt x="680" y="149"/>
                  </a:lnTo>
                  <a:lnTo>
                    <a:pt x="680" y="149"/>
                  </a:lnTo>
                  <a:lnTo>
                    <a:pt x="680" y="149"/>
                  </a:lnTo>
                  <a:lnTo>
                    <a:pt x="683" y="149"/>
                  </a:lnTo>
                  <a:lnTo>
                    <a:pt x="683" y="149"/>
                  </a:lnTo>
                  <a:lnTo>
                    <a:pt x="683" y="151"/>
                  </a:lnTo>
                  <a:lnTo>
                    <a:pt x="683" y="151"/>
                  </a:lnTo>
                  <a:lnTo>
                    <a:pt x="680" y="151"/>
                  </a:lnTo>
                  <a:lnTo>
                    <a:pt x="680" y="151"/>
                  </a:lnTo>
                  <a:lnTo>
                    <a:pt x="683" y="151"/>
                  </a:lnTo>
                  <a:lnTo>
                    <a:pt x="683" y="151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80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3"/>
                  </a:lnTo>
                  <a:lnTo>
                    <a:pt x="678" y="151"/>
                  </a:lnTo>
                  <a:lnTo>
                    <a:pt x="678" y="151"/>
                  </a:lnTo>
                  <a:lnTo>
                    <a:pt x="678" y="151"/>
                  </a:lnTo>
                  <a:lnTo>
                    <a:pt x="678" y="151"/>
                  </a:lnTo>
                  <a:lnTo>
                    <a:pt x="678" y="151"/>
                  </a:lnTo>
                  <a:lnTo>
                    <a:pt x="678" y="151"/>
                  </a:lnTo>
                  <a:lnTo>
                    <a:pt x="678" y="151"/>
                  </a:lnTo>
                  <a:lnTo>
                    <a:pt x="678" y="149"/>
                  </a:lnTo>
                  <a:lnTo>
                    <a:pt x="678" y="149"/>
                  </a:lnTo>
                  <a:lnTo>
                    <a:pt x="678" y="149"/>
                  </a:lnTo>
                  <a:lnTo>
                    <a:pt x="678" y="149"/>
                  </a:lnTo>
                  <a:lnTo>
                    <a:pt x="678" y="149"/>
                  </a:lnTo>
                  <a:lnTo>
                    <a:pt x="678" y="149"/>
                  </a:lnTo>
                  <a:lnTo>
                    <a:pt x="678" y="149"/>
                  </a:lnTo>
                  <a:lnTo>
                    <a:pt x="678" y="147"/>
                  </a:lnTo>
                  <a:lnTo>
                    <a:pt x="678" y="147"/>
                  </a:lnTo>
                  <a:lnTo>
                    <a:pt x="678" y="147"/>
                  </a:lnTo>
                  <a:lnTo>
                    <a:pt x="680" y="147"/>
                  </a:lnTo>
                  <a:lnTo>
                    <a:pt x="680" y="147"/>
                  </a:lnTo>
                  <a:lnTo>
                    <a:pt x="680" y="147"/>
                  </a:lnTo>
                  <a:lnTo>
                    <a:pt x="680" y="147"/>
                  </a:lnTo>
                  <a:close/>
                  <a:moveTo>
                    <a:pt x="76" y="153"/>
                  </a:move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6"/>
                  </a:lnTo>
                  <a:lnTo>
                    <a:pt x="76" y="156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6"/>
                  </a:lnTo>
                  <a:lnTo>
                    <a:pt x="76" y="156"/>
                  </a:lnTo>
                  <a:lnTo>
                    <a:pt x="74" y="156"/>
                  </a:lnTo>
                  <a:lnTo>
                    <a:pt x="74" y="153"/>
                  </a:lnTo>
                  <a:lnTo>
                    <a:pt x="71" y="153"/>
                  </a:lnTo>
                  <a:lnTo>
                    <a:pt x="71" y="153"/>
                  </a:lnTo>
                  <a:lnTo>
                    <a:pt x="71" y="153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4" y="153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6" y="147"/>
                  </a:lnTo>
                  <a:lnTo>
                    <a:pt x="76" y="147"/>
                  </a:lnTo>
                  <a:lnTo>
                    <a:pt x="76" y="147"/>
                  </a:lnTo>
                  <a:lnTo>
                    <a:pt x="76" y="147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6" y="151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3"/>
                  </a:lnTo>
                  <a:close/>
                  <a:moveTo>
                    <a:pt x="188" y="149"/>
                  </a:moveTo>
                  <a:lnTo>
                    <a:pt x="188" y="149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6" y="149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49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2" y="149"/>
                  </a:lnTo>
                  <a:lnTo>
                    <a:pt x="182" y="149"/>
                  </a:lnTo>
                  <a:lnTo>
                    <a:pt x="182" y="149"/>
                  </a:lnTo>
                  <a:lnTo>
                    <a:pt x="182" y="149"/>
                  </a:lnTo>
                  <a:lnTo>
                    <a:pt x="182" y="147"/>
                  </a:lnTo>
                  <a:lnTo>
                    <a:pt x="184" y="147"/>
                  </a:lnTo>
                  <a:lnTo>
                    <a:pt x="184" y="147"/>
                  </a:lnTo>
                  <a:lnTo>
                    <a:pt x="184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6" y="149"/>
                  </a:lnTo>
                  <a:lnTo>
                    <a:pt x="188" y="149"/>
                  </a:lnTo>
                  <a:lnTo>
                    <a:pt x="188" y="149"/>
                  </a:lnTo>
                  <a:lnTo>
                    <a:pt x="188" y="149"/>
                  </a:lnTo>
                  <a:close/>
                  <a:moveTo>
                    <a:pt x="575" y="147"/>
                  </a:move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close/>
                  <a:moveTo>
                    <a:pt x="577" y="147"/>
                  </a:moveTo>
                  <a:lnTo>
                    <a:pt x="577" y="147"/>
                  </a:lnTo>
                  <a:lnTo>
                    <a:pt x="579" y="147"/>
                  </a:lnTo>
                  <a:lnTo>
                    <a:pt x="579" y="147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5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lnTo>
                    <a:pt x="577" y="147"/>
                  </a:lnTo>
                  <a:close/>
                  <a:moveTo>
                    <a:pt x="563" y="147"/>
                  </a:moveTo>
                  <a:lnTo>
                    <a:pt x="563" y="147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4"/>
                  </a:lnTo>
                  <a:lnTo>
                    <a:pt x="563" y="147"/>
                  </a:lnTo>
                  <a:close/>
                  <a:moveTo>
                    <a:pt x="757" y="142"/>
                  </a:moveTo>
                  <a:lnTo>
                    <a:pt x="759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59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1" y="142"/>
                  </a:lnTo>
                  <a:lnTo>
                    <a:pt x="763" y="142"/>
                  </a:lnTo>
                  <a:lnTo>
                    <a:pt x="763" y="142"/>
                  </a:lnTo>
                  <a:lnTo>
                    <a:pt x="763" y="142"/>
                  </a:lnTo>
                  <a:lnTo>
                    <a:pt x="763" y="144"/>
                  </a:lnTo>
                  <a:lnTo>
                    <a:pt x="763" y="144"/>
                  </a:lnTo>
                  <a:lnTo>
                    <a:pt x="763" y="144"/>
                  </a:lnTo>
                  <a:lnTo>
                    <a:pt x="763" y="144"/>
                  </a:lnTo>
                  <a:lnTo>
                    <a:pt x="763" y="144"/>
                  </a:lnTo>
                  <a:lnTo>
                    <a:pt x="763" y="144"/>
                  </a:lnTo>
                  <a:lnTo>
                    <a:pt x="763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4"/>
                  </a:lnTo>
                  <a:lnTo>
                    <a:pt x="766" y="147"/>
                  </a:lnTo>
                  <a:lnTo>
                    <a:pt x="766" y="147"/>
                  </a:lnTo>
                  <a:lnTo>
                    <a:pt x="766" y="147"/>
                  </a:lnTo>
                  <a:lnTo>
                    <a:pt x="766" y="147"/>
                  </a:lnTo>
                  <a:lnTo>
                    <a:pt x="766" y="147"/>
                  </a:lnTo>
                  <a:lnTo>
                    <a:pt x="768" y="147"/>
                  </a:lnTo>
                  <a:lnTo>
                    <a:pt x="768" y="149"/>
                  </a:lnTo>
                  <a:lnTo>
                    <a:pt x="768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49"/>
                  </a:lnTo>
                  <a:lnTo>
                    <a:pt x="766" y="151"/>
                  </a:lnTo>
                  <a:lnTo>
                    <a:pt x="766" y="151"/>
                  </a:lnTo>
                  <a:lnTo>
                    <a:pt x="763" y="151"/>
                  </a:lnTo>
                  <a:lnTo>
                    <a:pt x="763" y="149"/>
                  </a:lnTo>
                  <a:lnTo>
                    <a:pt x="763" y="149"/>
                  </a:lnTo>
                  <a:lnTo>
                    <a:pt x="763" y="149"/>
                  </a:lnTo>
                  <a:lnTo>
                    <a:pt x="763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61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7" y="149"/>
                  </a:lnTo>
                  <a:lnTo>
                    <a:pt x="759" y="149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7" y="147"/>
                  </a:lnTo>
                  <a:lnTo>
                    <a:pt x="754" y="147"/>
                  </a:lnTo>
                  <a:lnTo>
                    <a:pt x="754" y="144"/>
                  </a:lnTo>
                  <a:lnTo>
                    <a:pt x="754" y="144"/>
                  </a:lnTo>
                  <a:lnTo>
                    <a:pt x="754" y="144"/>
                  </a:lnTo>
                  <a:lnTo>
                    <a:pt x="754" y="144"/>
                  </a:lnTo>
                  <a:lnTo>
                    <a:pt x="754" y="144"/>
                  </a:lnTo>
                  <a:lnTo>
                    <a:pt x="754" y="144"/>
                  </a:lnTo>
                  <a:lnTo>
                    <a:pt x="754" y="144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2" y="142"/>
                  </a:lnTo>
                  <a:lnTo>
                    <a:pt x="752" y="142"/>
                  </a:lnTo>
                  <a:lnTo>
                    <a:pt x="752" y="142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2" y="144"/>
                  </a:lnTo>
                  <a:lnTo>
                    <a:pt x="754" y="147"/>
                  </a:lnTo>
                  <a:lnTo>
                    <a:pt x="754" y="147"/>
                  </a:lnTo>
                  <a:lnTo>
                    <a:pt x="754" y="147"/>
                  </a:lnTo>
                  <a:lnTo>
                    <a:pt x="754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7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49"/>
                  </a:lnTo>
                  <a:lnTo>
                    <a:pt x="759" y="151"/>
                  </a:lnTo>
                  <a:lnTo>
                    <a:pt x="759" y="151"/>
                  </a:lnTo>
                  <a:lnTo>
                    <a:pt x="759" y="151"/>
                  </a:lnTo>
                  <a:lnTo>
                    <a:pt x="759" y="151"/>
                  </a:lnTo>
                  <a:lnTo>
                    <a:pt x="759" y="151"/>
                  </a:lnTo>
                  <a:lnTo>
                    <a:pt x="757" y="151"/>
                  </a:lnTo>
                  <a:lnTo>
                    <a:pt x="754" y="151"/>
                  </a:lnTo>
                  <a:lnTo>
                    <a:pt x="754" y="151"/>
                  </a:lnTo>
                  <a:lnTo>
                    <a:pt x="754" y="151"/>
                  </a:lnTo>
                  <a:lnTo>
                    <a:pt x="754" y="151"/>
                  </a:lnTo>
                  <a:lnTo>
                    <a:pt x="754" y="151"/>
                  </a:lnTo>
                  <a:lnTo>
                    <a:pt x="752" y="149"/>
                  </a:lnTo>
                  <a:lnTo>
                    <a:pt x="754" y="149"/>
                  </a:lnTo>
                  <a:lnTo>
                    <a:pt x="754" y="149"/>
                  </a:lnTo>
                  <a:lnTo>
                    <a:pt x="754" y="149"/>
                  </a:lnTo>
                  <a:lnTo>
                    <a:pt x="754" y="149"/>
                  </a:lnTo>
                  <a:lnTo>
                    <a:pt x="752" y="149"/>
                  </a:lnTo>
                  <a:lnTo>
                    <a:pt x="752" y="149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2" y="149"/>
                  </a:lnTo>
                  <a:lnTo>
                    <a:pt x="752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51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0" y="149"/>
                  </a:lnTo>
                  <a:lnTo>
                    <a:pt x="750" y="147"/>
                  </a:lnTo>
                  <a:lnTo>
                    <a:pt x="750" y="147"/>
                  </a:lnTo>
                  <a:lnTo>
                    <a:pt x="750" y="147"/>
                  </a:lnTo>
                  <a:lnTo>
                    <a:pt x="750" y="147"/>
                  </a:lnTo>
                  <a:lnTo>
                    <a:pt x="750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9"/>
                  </a:lnTo>
                  <a:lnTo>
                    <a:pt x="748" y="149"/>
                  </a:lnTo>
                  <a:lnTo>
                    <a:pt x="748" y="149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3" y="147"/>
                  </a:lnTo>
                  <a:lnTo>
                    <a:pt x="743" y="147"/>
                  </a:lnTo>
                  <a:lnTo>
                    <a:pt x="743" y="147"/>
                  </a:lnTo>
                  <a:lnTo>
                    <a:pt x="743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7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7"/>
                  </a:lnTo>
                  <a:lnTo>
                    <a:pt x="745" y="147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2"/>
                  </a:lnTo>
                  <a:lnTo>
                    <a:pt x="745" y="142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5" y="144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5" y="142"/>
                  </a:lnTo>
                  <a:lnTo>
                    <a:pt x="745" y="142"/>
                  </a:lnTo>
                  <a:lnTo>
                    <a:pt x="748" y="142"/>
                  </a:lnTo>
                  <a:lnTo>
                    <a:pt x="748" y="142"/>
                  </a:lnTo>
                  <a:lnTo>
                    <a:pt x="748" y="144"/>
                  </a:lnTo>
                  <a:lnTo>
                    <a:pt x="748" y="144"/>
                  </a:lnTo>
                  <a:lnTo>
                    <a:pt x="748" y="142"/>
                  </a:lnTo>
                  <a:lnTo>
                    <a:pt x="748" y="142"/>
                  </a:lnTo>
                  <a:lnTo>
                    <a:pt x="748" y="142"/>
                  </a:lnTo>
                  <a:lnTo>
                    <a:pt x="748" y="142"/>
                  </a:lnTo>
                  <a:lnTo>
                    <a:pt x="748" y="144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0" y="142"/>
                  </a:lnTo>
                  <a:lnTo>
                    <a:pt x="752" y="142"/>
                  </a:lnTo>
                  <a:lnTo>
                    <a:pt x="752" y="142"/>
                  </a:lnTo>
                  <a:lnTo>
                    <a:pt x="752" y="142"/>
                  </a:lnTo>
                  <a:lnTo>
                    <a:pt x="752" y="142"/>
                  </a:lnTo>
                  <a:lnTo>
                    <a:pt x="752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4" y="142"/>
                  </a:lnTo>
                  <a:lnTo>
                    <a:pt x="757" y="142"/>
                  </a:lnTo>
                  <a:lnTo>
                    <a:pt x="757" y="142"/>
                  </a:lnTo>
                  <a:lnTo>
                    <a:pt x="757" y="142"/>
                  </a:lnTo>
                  <a:close/>
                  <a:moveTo>
                    <a:pt x="78" y="147"/>
                  </a:moveTo>
                  <a:lnTo>
                    <a:pt x="78" y="149"/>
                  </a:lnTo>
                  <a:lnTo>
                    <a:pt x="78" y="149"/>
                  </a:lnTo>
                  <a:lnTo>
                    <a:pt x="78" y="149"/>
                  </a:lnTo>
                  <a:lnTo>
                    <a:pt x="78" y="149"/>
                  </a:lnTo>
                  <a:lnTo>
                    <a:pt x="78" y="149"/>
                  </a:lnTo>
                  <a:lnTo>
                    <a:pt x="78" y="149"/>
                  </a:lnTo>
                  <a:lnTo>
                    <a:pt x="78" y="149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8" y="149"/>
                  </a:lnTo>
                  <a:lnTo>
                    <a:pt x="76" y="144"/>
                  </a:lnTo>
                  <a:lnTo>
                    <a:pt x="74" y="144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4" y="140"/>
                  </a:lnTo>
                  <a:lnTo>
                    <a:pt x="74" y="140"/>
                  </a:lnTo>
                  <a:lnTo>
                    <a:pt x="76" y="142"/>
                  </a:lnTo>
                  <a:lnTo>
                    <a:pt x="76" y="142"/>
                  </a:lnTo>
                  <a:lnTo>
                    <a:pt x="76" y="144"/>
                  </a:lnTo>
                  <a:lnTo>
                    <a:pt x="76" y="144"/>
                  </a:lnTo>
                  <a:lnTo>
                    <a:pt x="76" y="147"/>
                  </a:lnTo>
                  <a:lnTo>
                    <a:pt x="78" y="147"/>
                  </a:lnTo>
                  <a:lnTo>
                    <a:pt x="78" y="147"/>
                  </a:lnTo>
                  <a:close/>
                  <a:moveTo>
                    <a:pt x="204" y="140"/>
                  </a:moveTo>
                  <a:lnTo>
                    <a:pt x="206" y="142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4"/>
                  </a:lnTo>
                  <a:lnTo>
                    <a:pt x="206" y="142"/>
                  </a:lnTo>
                  <a:lnTo>
                    <a:pt x="206" y="142"/>
                  </a:lnTo>
                  <a:lnTo>
                    <a:pt x="206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7"/>
                  </a:lnTo>
                  <a:lnTo>
                    <a:pt x="209" y="147"/>
                  </a:lnTo>
                  <a:lnTo>
                    <a:pt x="211" y="147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1" y="144"/>
                  </a:lnTo>
                  <a:lnTo>
                    <a:pt x="213" y="147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3" y="147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09" y="147"/>
                  </a:lnTo>
                  <a:lnTo>
                    <a:pt x="209" y="147"/>
                  </a:lnTo>
                  <a:lnTo>
                    <a:pt x="209" y="147"/>
                  </a:lnTo>
                  <a:lnTo>
                    <a:pt x="209" y="147"/>
                  </a:lnTo>
                  <a:lnTo>
                    <a:pt x="209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4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0"/>
                  </a:lnTo>
                  <a:lnTo>
                    <a:pt x="204" y="142"/>
                  </a:lnTo>
                  <a:lnTo>
                    <a:pt x="204" y="140"/>
                  </a:lnTo>
                  <a:lnTo>
                    <a:pt x="204" y="140"/>
                  </a:lnTo>
                  <a:lnTo>
                    <a:pt x="204" y="140"/>
                  </a:lnTo>
                  <a:lnTo>
                    <a:pt x="204" y="140"/>
                  </a:lnTo>
                  <a:lnTo>
                    <a:pt x="204" y="140"/>
                  </a:lnTo>
                  <a:close/>
                  <a:moveTo>
                    <a:pt x="730" y="147"/>
                  </a:moveTo>
                  <a:lnTo>
                    <a:pt x="730" y="147"/>
                  </a:lnTo>
                  <a:lnTo>
                    <a:pt x="730" y="147"/>
                  </a:lnTo>
                  <a:lnTo>
                    <a:pt x="730" y="147"/>
                  </a:lnTo>
                  <a:lnTo>
                    <a:pt x="727" y="147"/>
                  </a:lnTo>
                  <a:lnTo>
                    <a:pt x="727" y="144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5" y="140"/>
                  </a:lnTo>
                  <a:lnTo>
                    <a:pt x="725" y="140"/>
                  </a:lnTo>
                  <a:lnTo>
                    <a:pt x="725" y="140"/>
                  </a:lnTo>
                  <a:lnTo>
                    <a:pt x="725" y="140"/>
                  </a:lnTo>
                  <a:lnTo>
                    <a:pt x="723" y="140"/>
                  </a:lnTo>
                  <a:lnTo>
                    <a:pt x="723" y="140"/>
                  </a:lnTo>
                  <a:lnTo>
                    <a:pt x="723" y="140"/>
                  </a:lnTo>
                  <a:lnTo>
                    <a:pt x="725" y="140"/>
                  </a:lnTo>
                  <a:lnTo>
                    <a:pt x="725" y="140"/>
                  </a:lnTo>
                  <a:lnTo>
                    <a:pt x="727" y="142"/>
                  </a:lnTo>
                  <a:lnTo>
                    <a:pt x="730" y="144"/>
                  </a:lnTo>
                  <a:lnTo>
                    <a:pt x="730" y="144"/>
                  </a:lnTo>
                  <a:lnTo>
                    <a:pt x="730" y="144"/>
                  </a:lnTo>
                  <a:lnTo>
                    <a:pt x="730" y="144"/>
                  </a:lnTo>
                  <a:lnTo>
                    <a:pt x="730" y="147"/>
                  </a:lnTo>
                  <a:lnTo>
                    <a:pt x="730" y="147"/>
                  </a:lnTo>
                  <a:lnTo>
                    <a:pt x="730" y="147"/>
                  </a:lnTo>
                  <a:lnTo>
                    <a:pt x="730" y="147"/>
                  </a:lnTo>
                  <a:close/>
                  <a:moveTo>
                    <a:pt x="685" y="138"/>
                  </a:moveTo>
                  <a:lnTo>
                    <a:pt x="685" y="138"/>
                  </a:lnTo>
                  <a:lnTo>
                    <a:pt x="685" y="138"/>
                  </a:lnTo>
                  <a:lnTo>
                    <a:pt x="685" y="138"/>
                  </a:lnTo>
                  <a:lnTo>
                    <a:pt x="685" y="138"/>
                  </a:lnTo>
                  <a:lnTo>
                    <a:pt x="685" y="142"/>
                  </a:lnTo>
                  <a:lnTo>
                    <a:pt x="685" y="142"/>
                  </a:lnTo>
                  <a:lnTo>
                    <a:pt x="685" y="142"/>
                  </a:lnTo>
                  <a:lnTo>
                    <a:pt x="685" y="142"/>
                  </a:lnTo>
                  <a:lnTo>
                    <a:pt x="685" y="142"/>
                  </a:lnTo>
                  <a:lnTo>
                    <a:pt x="685" y="142"/>
                  </a:lnTo>
                  <a:lnTo>
                    <a:pt x="685" y="142"/>
                  </a:lnTo>
                  <a:lnTo>
                    <a:pt x="685" y="140"/>
                  </a:lnTo>
                  <a:lnTo>
                    <a:pt x="685" y="140"/>
                  </a:lnTo>
                  <a:lnTo>
                    <a:pt x="685" y="140"/>
                  </a:lnTo>
                  <a:lnTo>
                    <a:pt x="685" y="140"/>
                  </a:lnTo>
                  <a:lnTo>
                    <a:pt x="685" y="140"/>
                  </a:lnTo>
                  <a:lnTo>
                    <a:pt x="685" y="140"/>
                  </a:lnTo>
                  <a:lnTo>
                    <a:pt x="685" y="142"/>
                  </a:lnTo>
                  <a:lnTo>
                    <a:pt x="685" y="140"/>
                  </a:lnTo>
                  <a:lnTo>
                    <a:pt x="685" y="140"/>
                  </a:lnTo>
                  <a:lnTo>
                    <a:pt x="685" y="138"/>
                  </a:lnTo>
                  <a:lnTo>
                    <a:pt x="685" y="138"/>
                  </a:lnTo>
                  <a:close/>
                  <a:moveTo>
                    <a:pt x="202" y="138"/>
                  </a:moveTo>
                  <a:lnTo>
                    <a:pt x="202" y="140"/>
                  </a:lnTo>
                  <a:lnTo>
                    <a:pt x="204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40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lnTo>
                    <a:pt x="202" y="138"/>
                  </a:lnTo>
                  <a:close/>
                  <a:moveTo>
                    <a:pt x="716" y="135"/>
                  </a:move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close/>
                  <a:moveTo>
                    <a:pt x="204" y="135"/>
                  </a:moveTo>
                  <a:lnTo>
                    <a:pt x="204" y="135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6" y="140"/>
                  </a:lnTo>
                  <a:lnTo>
                    <a:pt x="209" y="140"/>
                  </a:lnTo>
                  <a:lnTo>
                    <a:pt x="206" y="140"/>
                  </a:lnTo>
                  <a:lnTo>
                    <a:pt x="206" y="140"/>
                  </a:lnTo>
                  <a:lnTo>
                    <a:pt x="206" y="140"/>
                  </a:lnTo>
                  <a:lnTo>
                    <a:pt x="206" y="140"/>
                  </a:lnTo>
                  <a:lnTo>
                    <a:pt x="206" y="140"/>
                  </a:lnTo>
                  <a:lnTo>
                    <a:pt x="206" y="138"/>
                  </a:lnTo>
                  <a:lnTo>
                    <a:pt x="206" y="138"/>
                  </a:lnTo>
                  <a:lnTo>
                    <a:pt x="206" y="140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8"/>
                  </a:lnTo>
                  <a:lnTo>
                    <a:pt x="204" y="135"/>
                  </a:lnTo>
                  <a:lnTo>
                    <a:pt x="204" y="135"/>
                  </a:lnTo>
                  <a:lnTo>
                    <a:pt x="202" y="135"/>
                  </a:lnTo>
                  <a:lnTo>
                    <a:pt x="202" y="135"/>
                  </a:lnTo>
                  <a:lnTo>
                    <a:pt x="204" y="135"/>
                  </a:lnTo>
                  <a:lnTo>
                    <a:pt x="204" y="135"/>
                  </a:lnTo>
                  <a:close/>
                  <a:moveTo>
                    <a:pt x="168" y="135"/>
                  </a:moveTo>
                  <a:lnTo>
                    <a:pt x="168" y="135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70" y="133"/>
                  </a:lnTo>
                  <a:lnTo>
                    <a:pt x="170" y="133"/>
                  </a:lnTo>
                  <a:lnTo>
                    <a:pt x="170" y="133"/>
                  </a:lnTo>
                  <a:lnTo>
                    <a:pt x="168" y="135"/>
                  </a:lnTo>
                  <a:close/>
                  <a:moveTo>
                    <a:pt x="202" y="133"/>
                  </a:moveTo>
                  <a:lnTo>
                    <a:pt x="202" y="133"/>
                  </a:lnTo>
                  <a:lnTo>
                    <a:pt x="202" y="133"/>
                  </a:lnTo>
                  <a:lnTo>
                    <a:pt x="202" y="133"/>
                  </a:lnTo>
                  <a:lnTo>
                    <a:pt x="202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0" y="133"/>
                  </a:lnTo>
                  <a:lnTo>
                    <a:pt x="202" y="133"/>
                  </a:lnTo>
                  <a:lnTo>
                    <a:pt x="202" y="133"/>
                  </a:lnTo>
                  <a:lnTo>
                    <a:pt x="202" y="133"/>
                  </a:lnTo>
                  <a:lnTo>
                    <a:pt x="202" y="133"/>
                  </a:lnTo>
                  <a:lnTo>
                    <a:pt x="202" y="133"/>
                  </a:lnTo>
                  <a:close/>
                  <a:moveTo>
                    <a:pt x="685" y="133"/>
                  </a:moveTo>
                  <a:lnTo>
                    <a:pt x="685" y="135"/>
                  </a:lnTo>
                  <a:lnTo>
                    <a:pt x="683" y="135"/>
                  </a:lnTo>
                  <a:lnTo>
                    <a:pt x="683" y="133"/>
                  </a:lnTo>
                  <a:lnTo>
                    <a:pt x="683" y="133"/>
                  </a:lnTo>
                  <a:lnTo>
                    <a:pt x="683" y="133"/>
                  </a:lnTo>
                  <a:lnTo>
                    <a:pt x="683" y="133"/>
                  </a:lnTo>
                  <a:lnTo>
                    <a:pt x="683" y="133"/>
                  </a:lnTo>
                  <a:lnTo>
                    <a:pt x="683" y="133"/>
                  </a:lnTo>
                  <a:lnTo>
                    <a:pt x="685" y="133"/>
                  </a:lnTo>
                  <a:lnTo>
                    <a:pt x="685" y="133"/>
                  </a:lnTo>
                  <a:lnTo>
                    <a:pt x="685" y="133"/>
                  </a:lnTo>
                  <a:lnTo>
                    <a:pt x="685" y="133"/>
                  </a:lnTo>
                  <a:close/>
                  <a:moveTo>
                    <a:pt x="173" y="126"/>
                  </a:move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3" y="126"/>
                  </a:lnTo>
                  <a:close/>
                  <a:moveTo>
                    <a:pt x="182" y="126"/>
                  </a:moveTo>
                  <a:lnTo>
                    <a:pt x="182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6"/>
                  </a:lnTo>
                  <a:lnTo>
                    <a:pt x="182" y="126"/>
                  </a:lnTo>
                  <a:close/>
                  <a:moveTo>
                    <a:pt x="175" y="129"/>
                  </a:moveTo>
                  <a:lnTo>
                    <a:pt x="175" y="129"/>
                  </a:lnTo>
                  <a:lnTo>
                    <a:pt x="175" y="129"/>
                  </a:lnTo>
                  <a:lnTo>
                    <a:pt x="175" y="129"/>
                  </a:lnTo>
                  <a:lnTo>
                    <a:pt x="175" y="129"/>
                  </a:lnTo>
                  <a:lnTo>
                    <a:pt x="175" y="126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7" y="124"/>
                  </a:lnTo>
                  <a:lnTo>
                    <a:pt x="177" y="124"/>
                  </a:lnTo>
                  <a:lnTo>
                    <a:pt x="177" y="124"/>
                  </a:lnTo>
                  <a:lnTo>
                    <a:pt x="177" y="124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9"/>
                  </a:lnTo>
                  <a:lnTo>
                    <a:pt x="177" y="129"/>
                  </a:lnTo>
                  <a:lnTo>
                    <a:pt x="175" y="129"/>
                  </a:lnTo>
                  <a:lnTo>
                    <a:pt x="175" y="129"/>
                  </a:lnTo>
                  <a:close/>
                  <a:moveTo>
                    <a:pt x="200" y="126"/>
                  </a:moveTo>
                  <a:lnTo>
                    <a:pt x="197" y="126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200" y="126"/>
                  </a:lnTo>
                  <a:close/>
                  <a:moveTo>
                    <a:pt x="209" y="124"/>
                  </a:move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lnTo>
                    <a:pt x="209" y="124"/>
                  </a:lnTo>
                  <a:close/>
                  <a:moveTo>
                    <a:pt x="685" y="124"/>
                  </a:move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6"/>
                  </a:lnTo>
                  <a:lnTo>
                    <a:pt x="685" y="126"/>
                  </a:lnTo>
                  <a:lnTo>
                    <a:pt x="685" y="126"/>
                  </a:lnTo>
                  <a:lnTo>
                    <a:pt x="685" y="126"/>
                  </a:lnTo>
                  <a:lnTo>
                    <a:pt x="683" y="126"/>
                  </a:lnTo>
                  <a:lnTo>
                    <a:pt x="683" y="126"/>
                  </a:lnTo>
                  <a:lnTo>
                    <a:pt x="683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lnTo>
                    <a:pt x="685" y="124"/>
                  </a:lnTo>
                  <a:close/>
                  <a:moveTo>
                    <a:pt x="831" y="124"/>
                  </a:moveTo>
                  <a:lnTo>
                    <a:pt x="829" y="124"/>
                  </a:lnTo>
                  <a:lnTo>
                    <a:pt x="829" y="124"/>
                  </a:lnTo>
                  <a:lnTo>
                    <a:pt x="829" y="124"/>
                  </a:lnTo>
                  <a:lnTo>
                    <a:pt x="829" y="124"/>
                  </a:lnTo>
                  <a:lnTo>
                    <a:pt x="831" y="122"/>
                  </a:lnTo>
                  <a:lnTo>
                    <a:pt x="831" y="122"/>
                  </a:lnTo>
                  <a:lnTo>
                    <a:pt x="831" y="124"/>
                  </a:lnTo>
                  <a:lnTo>
                    <a:pt x="831" y="124"/>
                  </a:lnTo>
                  <a:close/>
                  <a:moveTo>
                    <a:pt x="173" y="124"/>
                  </a:move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5" y="122"/>
                  </a:lnTo>
                  <a:lnTo>
                    <a:pt x="175" y="122"/>
                  </a:lnTo>
                  <a:lnTo>
                    <a:pt x="175" y="124"/>
                  </a:lnTo>
                  <a:lnTo>
                    <a:pt x="173" y="124"/>
                  </a:lnTo>
                  <a:close/>
                  <a:moveTo>
                    <a:pt x="206" y="122"/>
                  </a:moveTo>
                  <a:lnTo>
                    <a:pt x="206" y="122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4" y="124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close/>
                  <a:moveTo>
                    <a:pt x="197" y="122"/>
                  </a:moveTo>
                  <a:lnTo>
                    <a:pt x="197" y="122"/>
                  </a:lnTo>
                  <a:lnTo>
                    <a:pt x="197" y="124"/>
                  </a:lnTo>
                  <a:lnTo>
                    <a:pt x="200" y="124"/>
                  </a:lnTo>
                  <a:lnTo>
                    <a:pt x="200" y="124"/>
                  </a:lnTo>
                  <a:lnTo>
                    <a:pt x="200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4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close/>
                  <a:moveTo>
                    <a:pt x="186" y="122"/>
                  </a:move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2"/>
                  </a:lnTo>
                  <a:close/>
                  <a:moveTo>
                    <a:pt x="206" y="122"/>
                  </a:move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0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lnTo>
                    <a:pt x="206" y="122"/>
                  </a:lnTo>
                  <a:close/>
                  <a:moveTo>
                    <a:pt x="683" y="124"/>
                  </a:moveTo>
                  <a:lnTo>
                    <a:pt x="683" y="124"/>
                  </a:lnTo>
                  <a:lnTo>
                    <a:pt x="683" y="124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3" y="120"/>
                  </a:lnTo>
                  <a:lnTo>
                    <a:pt x="683" y="120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5" y="122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3" y="124"/>
                  </a:lnTo>
                  <a:close/>
                  <a:moveTo>
                    <a:pt x="182" y="122"/>
                  </a:move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82" y="120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close/>
                  <a:moveTo>
                    <a:pt x="191" y="122"/>
                  </a:moveTo>
                  <a:lnTo>
                    <a:pt x="191" y="122"/>
                  </a:lnTo>
                  <a:lnTo>
                    <a:pt x="191" y="122"/>
                  </a:lnTo>
                  <a:lnTo>
                    <a:pt x="191" y="122"/>
                  </a:lnTo>
                  <a:lnTo>
                    <a:pt x="191" y="122"/>
                  </a:lnTo>
                  <a:lnTo>
                    <a:pt x="191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8" y="120"/>
                  </a:lnTo>
                  <a:lnTo>
                    <a:pt x="191" y="120"/>
                  </a:lnTo>
                  <a:lnTo>
                    <a:pt x="191" y="120"/>
                  </a:lnTo>
                  <a:lnTo>
                    <a:pt x="191" y="122"/>
                  </a:lnTo>
                  <a:lnTo>
                    <a:pt x="191" y="122"/>
                  </a:lnTo>
                  <a:lnTo>
                    <a:pt x="191" y="122"/>
                  </a:lnTo>
                  <a:close/>
                  <a:moveTo>
                    <a:pt x="182" y="126"/>
                  </a:moveTo>
                  <a:lnTo>
                    <a:pt x="182" y="126"/>
                  </a:lnTo>
                  <a:lnTo>
                    <a:pt x="179" y="126"/>
                  </a:lnTo>
                  <a:lnTo>
                    <a:pt x="179" y="124"/>
                  </a:lnTo>
                  <a:lnTo>
                    <a:pt x="179" y="124"/>
                  </a:lnTo>
                  <a:lnTo>
                    <a:pt x="179" y="124"/>
                  </a:lnTo>
                  <a:lnTo>
                    <a:pt x="179" y="122"/>
                  </a:lnTo>
                  <a:lnTo>
                    <a:pt x="179" y="122"/>
                  </a:lnTo>
                  <a:lnTo>
                    <a:pt x="179" y="122"/>
                  </a:lnTo>
                  <a:lnTo>
                    <a:pt x="179" y="122"/>
                  </a:lnTo>
                  <a:lnTo>
                    <a:pt x="179" y="122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2"/>
                  </a:lnTo>
                  <a:lnTo>
                    <a:pt x="179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6"/>
                  </a:lnTo>
                  <a:close/>
                  <a:moveTo>
                    <a:pt x="188" y="122"/>
                  </a:move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0"/>
                  </a:lnTo>
                  <a:lnTo>
                    <a:pt x="188" y="120"/>
                  </a:lnTo>
                  <a:lnTo>
                    <a:pt x="188" y="120"/>
                  </a:lnTo>
                  <a:lnTo>
                    <a:pt x="188" y="120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8" y="122"/>
                  </a:lnTo>
                  <a:close/>
                  <a:moveTo>
                    <a:pt x="182" y="120"/>
                  </a:moveTo>
                  <a:lnTo>
                    <a:pt x="182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82" y="120"/>
                  </a:lnTo>
                  <a:lnTo>
                    <a:pt x="182" y="120"/>
                  </a:lnTo>
                  <a:close/>
                  <a:moveTo>
                    <a:pt x="195" y="120"/>
                  </a:moveTo>
                  <a:lnTo>
                    <a:pt x="197" y="120"/>
                  </a:lnTo>
                  <a:lnTo>
                    <a:pt x="197" y="120"/>
                  </a:lnTo>
                  <a:lnTo>
                    <a:pt x="197" y="120"/>
                  </a:lnTo>
                  <a:lnTo>
                    <a:pt x="197" y="120"/>
                  </a:lnTo>
                  <a:lnTo>
                    <a:pt x="197" y="120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5" y="122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lnTo>
                    <a:pt x="195" y="120"/>
                  </a:lnTo>
                  <a:close/>
                  <a:moveTo>
                    <a:pt x="191" y="117"/>
                  </a:moveTo>
                  <a:lnTo>
                    <a:pt x="191" y="117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1" y="120"/>
                  </a:lnTo>
                  <a:lnTo>
                    <a:pt x="191" y="120"/>
                  </a:lnTo>
                  <a:lnTo>
                    <a:pt x="191" y="120"/>
                  </a:lnTo>
                  <a:lnTo>
                    <a:pt x="191" y="120"/>
                  </a:lnTo>
                  <a:lnTo>
                    <a:pt x="191" y="120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88" y="117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191" y="117"/>
                  </a:lnTo>
                  <a:close/>
                  <a:moveTo>
                    <a:pt x="211" y="117"/>
                  </a:move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lnTo>
                    <a:pt x="211" y="117"/>
                  </a:lnTo>
                  <a:close/>
                  <a:moveTo>
                    <a:pt x="766" y="117"/>
                  </a:moveTo>
                  <a:lnTo>
                    <a:pt x="766" y="117"/>
                  </a:lnTo>
                  <a:lnTo>
                    <a:pt x="766" y="117"/>
                  </a:lnTo>
                  <a:lnTo>
                    <a:pt x="766" y="117"/>
                  </a:lnTo>
                  <a:lnTo>
                    <a:pt x="766" y="117"/>
                  </a:lnTo>
                  <a:close/>
                  <a:moveTo>
                    <a:pt x="269" y="117"/>
                  </a:move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7" y="117"/>
                  </a:lnTo>
                  <a:lnTo>
                    <a:pt x="269" y="117"/>
                  </a:lnTo>
                  <a:close/>
                  <a:moveTo>
                    <a:pt x="766" y="115"/>
                  </a:moveTo>
                  <a:lnTo>
                    <a:pt x="766" y="115"/>
                  </a:lnTo>
                  <a:lnTo>
                    <a:pt x="766" y="115"/>
                  </a:lnTo>
                  <a:lnTo>
                    <a:pt x="766" y="115"/>
                  </a:lnTo>
                  <a:lnTo>
                    <a:pt x="766" y="115"/>
                  </a:lnTo>
                  <a:lnTo>
                    <a:pt x="766" y="115"/>
                  </a:lnTo>
                  <a:lnTo>
                    <a:pt x="766" y="115"/>
                  </a:lnTo>
                  <a:lnTo>
                    <a:pt x="766" y="115"/>
                  </a:lnTo>
                  <a:close/>
                  <a:moveTo>
                    <a:pt x="543" y="115"/>
                  </a:moveTo>
                  <a:lnTo>
                    <a:pt x="543" y="115"/>
                  </a:lnTo>
                  <a:lnTo>
                    <a:pt x="541" y="115"/>
                  </a:lnTo>
                  <a:lnTo>
                    <a:pt x="541" y="115"/>
                  </a:lnTo>
                  <a:lnTo>
                    <a:pt x="541" y="115"/>
                  </a:lnTo>
                  <a:lnTo>
                    <a:pt x="541" y="115"/>
                  </a:lnTo>
                  <a:lnTo>
                    <a:pt x="541" y="115"/>
                  </a:lnTo>
                  <a:lnTo>
                    <a:pt x="543" y="115"/>
                  </a:lnTo>
                  <a:lnTo>
                    <a:pt x="543" y="115"/>
                  </a:lnTo>
                  <a:lnTo>
                    <a:pt x="543" y="115"/>
                  </a:lnTo>
                  <a:lnTo>
                    <a:pt x="543" y="115"/>
                  </a:lnTo>
                  <a:close/>
                  <a:moveTo>
                    <a:pt x="537" y="117"/>
                  </a:moveTo>
                  <a:lnTo>
                    <a:pt x="537" y="117"/>
                  </a:lnTo>
                  <a:lnTo>
                    <a:pt x="537" y="117"/>
                  </a:lnTo>
                  <a:lnTo>
                    <a:pt x="537" y="115"/>
                  </a:lnTo>
                  <a:lnTo>
                    <a:pt x="537" y="115"/>
                  </a:lnTo>
                  <a:lnTo>
                    <a:pt x="537" y="115"/>
                  </a:lnTo>
                  <a:lnTo>
                    <a:pt x="537" y="115"/>
                  </a:lnTo>
                  <a:lnTo>
                    <a:pt x="537" y="115"/>
                  </a:lnTo>
                  <a:lnTo>
                    <a:pt x="537" y="115"/>
                  </a:lnTo>
                  <a:lnTo>
                    <a:pt x="537" y="115"/>
                  </a:lnTo>
                  <a:lnTo>
                    <a:pt x="537" y="117"/>
                  </a:lnTo>
                  <a:lnTo>
                    <a:pt x="537" y="117"/>
                  </a:lnTo>
                  <a:lnTo>
                    <a:pt x="537" y="117"/>
                  </a:lnTo>
                  <a:close/>
                  <a:moveTo>
                    <a:pt x="182" y="117"/>
                  </a:move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9" y="117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7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79" y="115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lnTo>
                    <a:pt x="182" y="117"/>
                  </a:lnTo>
                  <a:close/>
                  <a:moveTo>
                    <a:pt x="164" y="117"/>
                  </a:moveTo>
                  <a:lnTo>
                    <a:pt x="164" y="117"/>
                  </a:lnTo>
                  <a:lnTo>
                    <a:pt x="164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8" y="117"/>
                  </a:lnTo>
                  <a:lnTo>
                    <a:pt x="170" y="120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2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3" y="124"/>
                  </a:lnTo>
                  <a:lnTo>
                    <a:pt x="170" y="124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68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4" y="122"/>
                  </a:lnTo>
                  <a:lnTo>
                    <a:pt x="161" y="122"/>
                  </a:lnTo>
                  <a:lnTo>
                    <a:pt x="161" y="122"/>
                  </a:lnTo>
                  <a:lnTo>
                    <a:pt x="161" y="122"/>
                  </a:lnTo>
                  <a:lnTo>
                    <a:pt x="159" y="122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61" y="120"/>
                  </a:lnTo>
                  <a:lnTo>
                    <a:pt x="161" y="117"/>
                  </a:lnTo>
                  <a:lnTo>
                    <a:pt x="161" y="117"/>
                  </a:lnTo>
                  <a:lnTo>
                    <a:pt x="161" y="115"/>
                  </a:lnTo>
                  <a:lnTo>
                    <a:pt x="159" y="115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4" y="115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close/>
                  <a:moveTo>
                    <a:pt x="173" y="115"/>
                  </a:moveTo>
                  <a:lnTo>
                    <a:pt x="173" y="117"/>
                  </a:lnTo>
                  <a:lnTo>
                    <a:pt x="175" y="120"/>
                  </a:lnTo>
                  <a:lnTo>
                    <a:pt x="175" y="120"/>
                  </a:lnTo>
                  <a:lnTo>
                    <a:pt x="175" y="120"/>
                  </a:lnTo>
                  <a:lnTo>
                    <a:pt x="175" y="120"/>
                  </a:lnTo>
                  <a:lnTo>
                    <a:pt x="175" y="122"/>
                  </a:lnTo>
                  <a:lnTo>
                    <a:pt x="173" y="122"/>
                  </a:lnTo>
                  <a:lnTo>
                    <a:pt x="170" y="120"/>
                  </a:lnTo>
                  <a:lnTo>
                    <a:pt x="170" y="120"/>
                  </a:lnTo>
                  <a:lnTo>
                    <a:pt x="170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6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7"/>
                  </a:lnTo>
                  <a:lnTo>
                    <a:pt x="164" y="115"/>
                  </a:lnTo>
                  <a:lnTo>
                    <a:pt x="166" y="115"/>
                  </a:lnTo>
                  <a:lnTo>
                    <a:pt x="166" y="113"/>
                  </a:lnTo>
                  <a:lnTo>
                    <a:pt x="166" y="113"/>
                  </a:lnTo>
                  <a:lnTo>
                    <a:pt x="166" y="113"/>
                  </a:lnTo>
                  <a:lnTo>
                    <a:pt x="168" y="113"/>
                  </a:lnTo>
                  <a:lnTo>
                    <a:pt x="168" y="115"/>
                  </a:lnTo>
                  <a:lnTo>
                    <a:pt x="170" y="115"/>
                  </a:lnTo>
                  <a:lnTo>
                    <a:pt x="173" y="115"/>
                  </a:lnTo>
                  <a:close/>
                  <a:moveTo>
                    <a:pt x="195" y="113"/>
                  </a:move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5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3" y="117"/>
                  </a:lnTo>
                  <a:lnTo>
                    <a:pt x="191" y="117"/>
                  </a:lnTo>
                  <a:lnTo>
                    <a:pt x="191" y="117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5"/>
                  </a:lnTo>
                  <a:lnTo>
                    <a:pt x="191" y="113"/>
                  </a:lnTo>
                  <a:lnTo>
                    <a:pt x="191" y="113"/>
                  </a:lnTo>
                  <a:lnTo>
                    <a:pt x="193" y="115"/>
                  </a:lnTo>
                  <a:lnTo>
                    <a:pt x="193" y="115"/>
                  </a:lnTo>
                  <a:lnTo>
                    <a:pt x="193" y="113"/>
                  </a:lnTo>
                  <a:lnTo>
                    <a:pt x="193" y="113"/>
                  </a:lnTo>
                  <a:lnTo>
                    <a:pt x="193" y="113"/>
                  </a:lnTo>
                  <a:lnTo>
                    <a:pt x="193" y="113"/>
                  </a:lnTo>
                  <a:lnTo>
                    <a:pt x="193" y="113"/>
                  </a:lnTo>
                  <a:lnTo>
                    <a:pt x="195" y="115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5" y="113"/>
                  </a:lnTo>
                  <a:close/>
                  <a:moveTo>
                    <a:pt x="204" y="113"/>
                  </a:moveTo>
                  <a:lnTo>
                    <a:pt x="204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06" y="117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6" y="120"/>
                  </a:lnTo>
                  <a:lnTo>
                    <a:pt x="204" y="122"/>
                  </a:lnTo>
                  <a:lnTo>
                    <a:pt x="204" y="122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20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2" y="115"/>
                  </a:lnTo>
                  <a:lnTo>
                    <a:pt x="202" y="115"/>
                  </a:lnTo>
                  <a:lnTo>
                    <a:pt x="202" y="115"/>
                  </a:lnTo>
                  <a:lnTo>
                    <a:pt x="202" y="115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200" y="117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197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0" y="113"/>
                  </a:lnTo>
                  <a:lnTo>
                    <a:pt x="202" y="113"/>
                  </a:lnTo>
                  <a:lnTo>
                    <a:pt x="202" y="113"/>
                  </a:lnTo>
                  <a:lnTo>
                    <a:pt x="202" y="113"/>
                  </a:lnTo>
                  <a:lnTo>
                    <a:pt x="202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3"/>
                  </a:lnTo>
                  <a:lnTo>
                    <a:pt x="204" y="113"/>
                  </a:lnTo>
                  <a:lnTo>
                    <a:pt x="204" y="113"/>
                  </a:lnTo>
                  <a:lnTo>
                    <a:pt x="204" y="113"/>
                  </a:lnTo>
                  <a:lnTo>
                    <a:pt x="204" y="113"/>
                  </a:lnTo>
                  <a:lnTo>
                    <a:pt x="204" y="113"/>
                  </a:lnTo>
                  <a:close/>
                  <a:moveTo>
                    <a:pt x="662" y="111"/>
                  </a:moveTo>
                  <a:lnTo>
                    <a:pt x="662" y="111"/>
                  </a:lnTo>
                  <a:lnTo>
                    <a:pt x="662" y="111"/>
                  </a:lnTo>
                  <a:lnTo>
                    <a:pt x="662" y="111"/>
                  </a:lnTo>
                  <a:lnTo>
                    <a:pt x="662" y="111"/>
                  </a:lnTo>
                  <a:lnTo>
                    <a:pt x="662" y="108"/>
                  </a:lnTo>
                  <a:lnTo>
                    <a:pt x="662" y="108"/>
                  </a:lnTo>
                  <a:lnTo>
                    <a:pt x="662" y="108"/>
                  </a:lnTo>
                  <a:lnTo>
                    <a:pt x="662" y="108"/>
                  </a:lnTo>
                  <a:lnTo>
                    <a:pt x="662" y="108"/>
                  </a:lnTo>
                  <a:lnTo>
                    <a:pt x="662" y="108"/>
                  </a:lnTo>
                  <a:lnTo>
                    <a:pt x="662" y="108"/>
                  </a:lnTo>
                  <a:lnTo>
                    <a:pt x="662" y="111"/>
                  </a:lnTo>
                  <a:lnTo>
                    <a:pt x="662" y="111"/>
                  </a:lnTo>
                  <a:lnTo>
                    <a:pt x="662" y="111"/>
                  </a:lnTo>
                  <a:close/>
                  <a:moveTo>
                    <a:pt x="159" y="117"/>
                  </a:moveTo>
                  <a:lnTo>
                    <a:pt x="159" y="117"/>
                  </a:lnTo>
                  <a:lnTo>
                    <a:pt x="159" y="117"/>
                  </a:lnTo>
                  <a:lnTo>
                    <a:pt x="159" y="117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9" y="120"/>
                  </a:lnTo>
                  <a:lnTo>
                    <a:pt x="157" y="117"/>
                  </a:lnTo>
                  <a:lnTo>
                    <a:pt x="157" y="117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3"/>
                  </a:lnTo>
                  <a:lnTo>
                    <a:pt x="155" y="113"/>
                  </a:lnTo>
                  <a:lnTo>
                    <a:pt x="155" y="113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5" y="108"/>
                  </a:lnTo>
                  <a:lnTo>
                    <a:pt x="157" y="108"/>
                  </a:lnTo>
                  <a:lnTo>
                    <a:pt x="157" y="108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59" y="111"/>
                  </a:lnTo>
                  <a:lnTo>
                    <a:pt x="161" y="111"/>
                  </a:lnTo>
                  <a:lnTo>
                    <a:pt x="161" y="113"/>
                  </a:lnTo>
                  <a:lnTo>
                    <a:pt x="161" y="113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5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59" y="117"/>
                  </a:lnTo>
                  <a:close/>
                  <a:moveTo>
                    <a:pt x="54" y="104"/>
                  </a:moveTo>
                  <a:lnTo>
                    <a:pt x="54" y="106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8" y="108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60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2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5" y="120"/>
                  </a:lnTo>
                  <a:lnTo>
                    <a:pt x="65" y="120"/>
                  </a:lnTo>
                  <a:lnTo>
                    <a:pt x="65" y="120"/>
                  </a:lnTo>
                  <a:lnTo>
                    <a:pt x="65" y="120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5" y="124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26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58" y="124"/>
                  </a:lnTo>
                  <a:lnTo>
                    <a:pt x="58" y="124"/>
                  </a:lnTo>
                  <a:lnTo>
                    <a:pt x="58" y="122"/>
                  </a:lnTo>
                  <a:lnTo>
                    <a:pt x="58" y="122"/>
                  </a:lnTo>
                  <a:lnTo>
                    <a:pt x="58" y="122"/>
                  </a:lnTo>
                  <a:lnTo>
                    <a:pt x="58" y="120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20"/>
                  </a:lnTo>
                  <a:lnTo>
                    <a:pt x="56" y="117"/>
                  </a:lnTo>
                  <a:lnTo>
                    <a:pt x="54" y="117"/>
                  </a:lnTo>
                  <a:lnTo>
                    <a:pt x="54" y="120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7"/>
                  </a:lnTo>
                  <a:lnTo>
                    <a:pt x="54" y="115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1"/>
                  </a:lnTo>
                  <a:lnTo>
                    <a:pt x="51" y="111"/>
                  </a:lnTo>
                  <a:lnTo>
                    <a:pt x="51" y="111"/>
                  </a:lnTo>
                  <a:lnTo>
                    <a:pt x="51" y="111"/>
                  </a:lnTo>
                  <a:lnTo>
                    <a:pt x="51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6"/>
                  </a:lnTo>
                  <a:lnTo>
                    <a:pt x="47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51" y="108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4" y="104"/>
                  </a:lnTo>
                  <a:lnTo>
                    <a:pt x="54" y="104"/>
                  </a:lnTo>
                  <a:close/>
                  <a:moveTo>
                    <a:pt x="638" y="108"/>
                  </a:moveTo>
                  <a:lnTo>
                    <a:pt x="638" y="108"/>
                  </a:lnTo>
                  <a:lnTo>
                    <a:pt x="638" y="108"/>
                  </a:lnTo>
                  <a:lnTo>
                    <a:pt x="638" y="108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40" y="106"/>
                  </a:lnTo>
                  <a:lnTo>
                    <a:pt x="640" y="104"/>
                  </a:lnTo>
                  <a:lnTo>
                    <a:pt x="640" y="104"/>
                  </a:lnTo>
                  <a:lnTo>
                    <a:pt x="640" y="104"/>
                  </a:lnTo>
                  <a:lnTo>
                    <a:pt x="640" y="106"/>
                  </a:lnTo>
                  <a:lnTo>
                    <a:pt x="640" y="106"/>
                  </a:lnTo>
                  <a:lnTo>
                    <a:pt x="640" y="106"/>
                  </a:lnTo>
                  <a:lnTo>
                    <a:pt x="640" y="106"/>
                  </a:lnTo>
                  <a:lnTo>
                    <a:pt x="640" y="106"/>
                  </a:lnTo>
                  <a:lnTo>
                    <a:pt x="640" y="108"/>
                  </a:lnTo>
                  <a:lnTo>
                    <a:pt x="640" y="108"/>
                  </a:lnTo>
                  <a:lnTo>
                    <a:pt x="638" y="108"/>
                  </a:lnTo>
                  <a:close/>
                  <a:moveTo>
                    <a:pt x="155" y="104"/>
                  </a:move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7" y="104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8"/>
                  </a:lnTo>
                  <a:lnTo>
                    <a:pt x="161" y="111"/>
                  </a:lnTo>
                  <a:lnTo>
                    <a:pt x="161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8"/>
                  </a:lnTo>
                  <a:lnTo>
                    <a:pt x="157" y="108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7" y="106"/>
                  </a:lnTo>
                  <a:lnTo>
                    <a:pt x="152" y="106"/>
                  </a:lnTo>
                  <a:lnTo>
                    <a:pt x="152" y="106"/>
                  </a:lnTo>
                  <a:lnTo>
                    <a:pt x="152" y="106"/>
                  </a:lnTo>
                  <a:lnTo>
                    <a:pt x="150" y="104"/>
                  </a:lnTo>
                  <a:lnTo>
                    <a:pt x="150" y="104"/>
                  </a:lnTo>
                  <a:lnTo>
                    <a:pt x="150" y="102"/>
                  </a:lnTo>
                  <a:lnTo>
                    <a:pt x="152" y="102"/>
                  </a:lnTo>
                  <a:lnTo>
                    <a:pt x="152" y="102"/>
                  </a:lnTo>
                  <a:lnTo>
                    <a:pt x="152" y="104"/>
                  </a:lnTo>
                  <a:lnTo>
                    <a:pt x="152" y="104"/>
                  </a:lnTo>
                  <a:lnTo>
                    <a:pt x="152" y="104"/>
                  </a:lnTo>
                  <a:lnTo>
                    <a:pt x="155" y="104"/>
                  </a:lnTo>
                  <a:lnTo>
                    <a:pt x="155" y="104"/>
                  </a:lnTo>
                  <a:close/>
                  <a:moveTo>
                    <a:pt x="76" y="102"/>
                  </a:moveTo>
                  <a:lnTo>
                    <a:pt x="76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8" y="102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102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102"/>
                  </a:lnTo>
                  <a:lnTo>
                    <a:pt x="76" y="102"/>
                  </a:lnTo>
                  <a:close/>
                  <a:moveTo>
                    <a:pt x="635" y="102"/>
                  </a:moveTo>
                  <a:lnTo>
                    <a:pt x="635" y="102"/>
                  </a:lnTo>
                  <a:lnTo>
                    <a:pt x="638" y="102"/>
                  </a:lnTo>
                  <a:lnTo>
                    <a:pt x="638" y="102"/>
                  </a:lnTo>
                  <a:lnTo>
                    <a:pt x="638" y="102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8" y="104"/>
                  </a:lnTo>
                  <a:lnTo>
                    <a:pt x="638" y="104"/>
                  </a:lnTo>
                  <a:lnTo>
                    <a:pt x="638" y="104"/>
                  </a:lnTo>
                  <a:lnTo>
                    <a:pt x="640" y="106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38" y="106"/>
                  </a:lnTo>
                  <a:lnTo>
                    <a:pt x="635" y="108"/>
                  </a:lnTo>
                  <a:lnTo>
                    <a:pt x="635" y="108"/>
                  </a:lnTo>
                  <a:lnTo>
                    <a:pt x="635" y="113"/>
                  </a:lnTo>
                  <a:lnTo>
                    <a:pt x="633" y="115"/>
                  </a:lnTo>
                  <a:lnTo>
                    <a:pt x="633" y="115"/>
                  </a:lnTo>
                  <a:lnTo>
                    <a:pt x="633" y="117"/>
                  </a:lnTo>
                  <a:lnTo>
                    <a:pt x="631" y="117"/>
                  </a:lnTo>
                  <a:lnTo>
                    <a:pt x="631" y="117"/>
                  </a:lnTo>
                  <a:lnTo>
                    <a:pt x="631" y="117"/>
                  </a:lnTo>
                  <a:lnTo>
                    <a:pt x="631" y="117"/>
                  </a:lnTo>
                  <a:lnTo>
                    <a:pt x="631" y="117"/>
                  </a:lnTo>
                  <a:lnTo>
                    <a:pt x="631" y="120"/>
                  </a:lnTo>
                  <a:lnTo>
                    <a:pt x="631" y="120"/>
                  </a:lnTo>
                  <a:lnTo>
                    <a:pt x="631" y="120"/>
                  </a:lnTo>
                  <a:lnTo>
                    <a:pt x="629" y="120"/>
                  </a:lnTo>
                  <a:lnTo>
                    <a:pt x="629" y="120"/>
                  </a:lnTo>
                  <a:lnTo>
                    <a:pt x="629" y="120"/>
                  </a:lnTo>
                  <a:lnTo>
                    <a:pt x="629" y="120"/>
                  </a:lnTo>
                  <a:lnTo>
                    <a:pt x="629" y="122"/>
                  </a:lnTo>
                  <a:lnTo>
                    <a:pt x="626" y="122"/>
                  </a:lnTo>
                  <a:lnTo>
                    <a:pt x="626" y="122"/>
                  </a:lnTo>
                  <a:lnTo>
                    <a:pt x="626" y="122"/>
                  </a:lnTo>
                  <a:lnTo>
                    <a:pt x="626" y="122"/>
                  </a:lnTo>
                  <a:lnTo>
                    <a:pt x="626" y="124"/>
                  </a:lnTo>
                  <a:lnTo>
                    <a:pt x="626" y="124"/>
                  </a:lnTo>
                  <a:lnTo>
                    <a:pt x="626" y="124"/>
                  </a:lnTo>
                  <a:lnTo>
                    <a:pt x="626" y="124"/>
                  </a:lnTo>
                  <a:lnTo>
                    <a:pt x="624" y="124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6"/>
                  </a:lnTo>
                  <a:lnTo>
                    <a:pt x="624" y="129"/>
                  </a:lnTo>
                  <a:lnTo>
                    <a:pt x="624" y="129"/>
                  </a:lnTo>
                  <a:lnTo>
                    <a:pt x="624" y="129"/>
                  </a:lnTo>
                  <a:lnTo>
                    <a:pt x="624" y="129"/>
                  </a:lnTo>
                  <a:lnTo>
                    <a:pt x="624" y="129"/>
                  </a:lnTo>
                  <a:lnTo>
                    <a:pt x="622" y="129"/>
                  </a:lnTo>
                  <a:lnTo>
                    <a:pt x="622" y="131"/>
                  </a:lnTo>
                  <a:lnTo>
                    <a:pt x="622" y="131"/>
                  </a:lnTo>
                  <a:lnTo>
                    <a:pt x="622" y="131"/>
                  </a:lnTo>
                  <a:lnTo>
                    <a:pt x="622" y="131"/>
                  </a:lnTo>
                  <a:lnTo>
                    <a:pt x="620" y="131"/>
                  </a:lnTo>
                  <a:lnTo>
                    <a:pt x="620" y="131"/>
                  </a:lnTo>
                  <a:lnTo>
                    <a:pt x="620" y="131"/>
                  </a:lnTo>
                  <a:lnTo>
                    <a:pt x="617" y="133"/>
                  </a:lnTo>
                  <a:lnTo>
                    <a:pt x="615" y="133"/>
                  </a:lnTo>
                  <a:lnTo>
                    <a:pt x="615" y="131"/>
                  </a:lnTo>
                  <a:lnTo>
                    <a:pt x="615" y="133"/>
                  </a:lnTo>
                  <a:lnTo>
                    <a:pt x="615" y="133"/>
                  </a:lnTo>
                  <a:lnTo>
                    <a:pt x="613" y="133"/>
                  </a:lnTo>
                  <a:lnTo>
                    <a:pt x="613" y="133"/>
                  </a:lnTo>
                  <a:lnTo>
                    <a:pt x="613" y="133"/>
                  </a:lnTo>
                  <a:lnTo>
                    <a:pt x="613" y="133"/>
                  </a:lnTo>
                  <a:lnTo>
                    <a:pt x="613" y="133"/>
                  </a:lnTo>
                  <a:lnTo>
                    <a:pt x="611" y="133"/>
                  </a:lnTo>
                  <a:lnTo>
                    <a:pt x="611" y="133"/>
                  </a:lnTo>
                  <a:lnTo>
                    <a:pt x="611" y="133"/>
                  </a:lnTo>
                  <a:lnTo>
                    <a:pt x="611" y="133"/>
                  </a:lnTo>
                  <a:lnTo>
                    <a:pt x="608" y="133"/>
                  </a:lnTo>
                  <a:lnTo>
                    <a:pt x="608" y="133"/>
                  </a:lnTo>
                  <a:lnTo>
                    <a:pt x="608" y="133"/>
                  </a:lnTo>
                  <a:lnTo>
                    <a:pt x="608" y="133"/>
                  </a:lnTo>
                  <a:lnTo>
                    <a:pt x="608" y="133"/>
                  </a:lnTo>
                  <a:lnTo>
                    <a:pt x="608" y="133"/>
                  </a:lnTo>
                  <a:lnTo>
                    <a:pt x="608" y="133"/>
                  </a:lnTo>
                  <a:lnTo>
                    <a:pt x="606" y="133"/>
                  </a:lnTo>
                  <a:lnTo>
                    <a:pt x="606" y="133"/>
                  </a:lnTo>
                  <a:lnTo>
                    <a:pt x="606" y="133"/>
                  </a:lnTo>
                  <a:lnTo>
                    <a:pt x="606" y="135"/>
                  </a:lnTo>
                  <a:lnTo>
                    <a:pt x="606" y="135"/>
                  </a:lnTo>
                  <a:lnTo>
                    <a:pt x="604" y="135"/>
                  </a:lnTo>
                  <a:lnTo>
                    <a:pt x="604" y="135"/>
                  </a:lnTo>
                  <a:lnTo>
                    <a:pt x="604" y="133"/>
                  </a:lnTo>
                  <a:lnTo>
                    <a:pt x="604" y="133"/>
                  </a:lnTo>
                  <a:lnTo>
                    <a:pt x="602" y="133"/>
                  </a:lnTo>
                  <a:lnTo>
                    <a:pt x="602" y="133"/>
                  </a:lnTo>
                  <a:lnTo>
                    <a:pt x="599" y="133"/>
                  </a:lnTo>
                  <a:lnTo>
                    <a:pt x="599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7" y="133"/>
                  </a:lnTo>
                  <a:lnTo>
                    <a:pt x="595" y="131"/>
                  </a:lnTo>
                  <a:lnTo>
                    <a:pt x="595" y="131"/>
                  </a:lnTo>
                  <a:lnTo>
                    <a:pt x="595" y="131"/>
                  </a:lnTo>
                  <a:lnTo>
                    <a:pt x="595" y="131"/>
                  </a:lnTo>
                  <a:lnTo>
                    <a:pt x="595" y="131"/>
                  </a:lnTo>
                  <a:lnTo>
                    <a:pt x="595" y="131"/>
                  </a:lnTo>
                  <a:lnTo>
                    <a:pt x="593" y="129"/>
                  </a:lnTo>
                  <a:lnTo>
                    <a:pt x="593" y="129"/>
                  </a:lnTo>
                  <a:lnTo>
                    <a:pt x="593" y="129"/>
                  </a:lnTo>
                  <a:lnTo>
                    <a:pt x="593" y="129"/>
                  </a:lnTo>
                  <a:lnTo>
                    <a:pt x="593" y="129"/>
                  </a:lnTo>
                  <a:lnTo>
                    <a:pt x="590" y="129"/>
                  </a:lnTo>
                  <a:lnTo>
                    <a:pt x="588" y="129"/>
                  </a:lnTo>
                  <a:lnTo>
                    <a:pt x="586" y="129"/>
                  </a:lnTo>
                  <a:lnTo>
                    <a:pt x="586" y="129"/>
                  </a:lnTo>
                  <a:lnTo>
                    <a:pt x="586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84" y="129"/>
                  </a:lnTo>
                  <a:lnTo>
                    <a:pt x="577" y="129"/>
                  </a:lnTo>
                  <a:lnTo>
                    <a:pt x="577" y="129"/>
                  </a:lnTo>
                  <a:lnTo>
                    <a:pt x="577" y="129"/>
                  </a:lnTo>
                  <a:lnTo>
                    <a:pt x="577" y="129"/>
                  </a:lnTo>
                  <a:lnTo>
                    <a:pt x="575" y="129"/>
                  </a:lnTo>
                  <a:lnTo>
                    <a:pt x="575" y="129"/>
                  </a:lnTo>
                  <a:lnTo>
                    <a:pt x="575" y="129"/>
                  </a:lnTo>
                  <a:lnTo>
                    <a:pt x="575" y="131"/>
                  </a:lnTo>
                  <a:lnTo>
                    <a:pt x="575" y="131"/>
                  </a:lnTo>
                  <a:lnTo>
                    <a:pt x="575" y="131"/>
                  </a:lnTo>
                  <a:lnTo>
                    <a:pt x="572" y="129"/>
                  </a:lnTo>
                  <a:lnTo>
                    <a:pt x="572" y="129"/>
                  </a:lnTo>
                  <a:lnTo>
                    <a:pt x="570" y="129"/>
                  </a:lnTo>
                  <a:lnTo>
                    <a:pt x="570" y="131"/>
                  </a:lnTo>
                  <a:lnTo>
                    <a:pt x="570" y="131"/>
                  </a:lnTo>
                  <a:lnTo>
                    <a:pt x="568" y="131"/>
                  </a:lnTo>
                  <a:lnTo>
                    <a:pt x="568" y="131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31"/>
                  </a:lnTo>
                  <a:lnTo>
                    <a:pt x="566" y="129"/>
                  </a:lnTo>
                  <a:lnTo>
                    <a:pt x="566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3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61" y="129"/>
                  </a:lnTo>
                  <a:lnTo>
                    <a:pt x="559" y="129"/>
                  </a:lnTo>
                  <a:lnTo>
                    <a:pt x="559" y="129"/>
                  </a:lnTo>
                  <a:lnTo>
                    <a:pt x="559" y="129"/>
                  </a:lnTo>
                  <a:lnTo>
                    <a:pt x="559" y="131"/>
                  </a:lnTo>
                  <a:lnTo>
                    <a:pt x="559" y="129"/>
                  </a:lnTo>
                  <a:lnTo>
                    <a:pt x="559" y="129"/>
                  </a:lnTo>
                  <a:lnTo>
                    <a:pt x="559" y="129"/>
                  </a:lnTo>
                  <a:lnTo>
                    <a:pt x="557" y="131"/>
                  </a:lnTo>
                  <a:lnTo>
                    <a:pt x="557" y="131"/>
                  </a:lnTo>
                  <a:lnTo>
                    <a:pt x="557" y="131"/>
                  </a:lnTo>
                  <a:lnTo>
                    <a:pt x="557" y="131"/>
                  </a:lnTo>
                  <a:lnTo>
                    <a:pt x="557" y="129"/>
                  </a:lnTo>
                  <a:lnTo>
                    <a:pt x="557" y="129"/>
                  </a:lnTo>
                  <a:lnTo>
                    <a:pt x="555" y="129"/>
                  </a:lnTo>
                  <a:lnTo>
                    <a:pt x="555" y="131"/>
                  </a:lnTo>
                  <a:lnTo>
                    <a:pt x="555" y="131"/>
                  </a:lnTo>
                  <a:lnTo>
                    <a:pt x="555" y="131"/>
                  </a:lnTo>
                  <a:lnTo>
                    <a:pt x="552" y="131"/>
                  </a:lnTo>
                  <a:lnTo>
                    <a:pt x="552" y="131"/>
                  </a:lnTo>
                  <a:lnTo>
                    <a:pt x="552" y="131"/>
                  </a:lnTo>
                  <a:lnTo>
                    <a:pt x="552" y="131"/>
                  </a:lnTo>
                  <a:lnTo>
                    <a:pt x="552" y="131"/>
                  </a:lnTo>
                  <a:lnTo>
                    <a:pt x="552" y="131"/>
                  </a:lnTo>
                  <a:lnTo>
                    <a:pt x="552" y="131"/>
                  </a:lnTo>
                  <a:lnTo>
                    <a:pt x="550" y="131"/>
                  </a:lnTo>
                  <a:lnTo>
                    <a:pt x="550" y="131"/>
                  </a:lnTo>
                  <a:lnTo>
                    <a:pt x="550" y="131"/>
                  </a:lnTo>
                  <a:lnTo>
                    <a:pt x="550" y="131"/>
                  </a:lnTo>
                  <a:lnTo>
                    <a:pt x="550" y="131"/>
                  </a:lnTo>
                  <a:lnTo>
                    <a:pt x="548" y="131"/>
                  </a:lnTo>
                  <a:lnTo>
                    <a:pt x="548" y="131"/>
                  </a:lnTo>
                  <a:lnTo>
                    <a:pt x="548" y="131"/>
                  </a:lnTo>
                  <a:lnTo>
                    <a:pt x="548" y="131"/>
                  </a:lnTo>
                  <a:lnTo>
                    <a:pt x="548" y="131"/>
                  </a:lnTo>
                  <a:lnTo>
                    <a:pt x="548" y="131"/>
                  </a:lnTo>
                  <a:lnTo>
                    <a:pt x="546" y="131"/>
                  </a:lnTo>
                  <a:lnTo>
                    <a:pt x="546" y="131"/>
                  </a:lnTo>
                  <a:lnTo>
                    <a:pt x="546" y="131"/>
                  </a:lnTo>
                  <a:lnTo>
                    <a:pt x="546" y="131"/>
                  </a:lnTo>
                  <a:lnTo>
                    <a:pt x="546" y="129"/>
                  </a:lnTo>
                  <a:lnTo>
                    <a:pt x="546" y="129"/>
                  </a:lnTo>
                  <a:lnTo>
                    <a:pt x="546" y="129"/>
                  </a:lnTo>
                  <a:lnTo>
                    <a:pt x="546" y="129"/>
                  </a:lnTo>
                  <a:lnTo>
                    <a:pt x="546" y="129"/>
                  </a:lnTo>
                  <a:lnTo>
                    <a:pt x="546" y="129"/>
                  </a:lnTo>
                  <a:lnTo>
                    <a:pt x="543" y="129"/>
                  </a:lnTo>
                  <a:lnTo>
                    <a:pt x="543" y="129"/>
                  </a:lnTo>
                  <a:lnTo>
                    <a:pt x="543" y="129"/>
                  </a:lnTo>
                  <a:lnTo>
                    <a:pt x="539" y="129"/>
                  </a:lnTo>
                  <a:lnTo>
                    <a:pt x="539" y="129"/>
                  </a:lnTo>
                  <a:lnTo>
                    <a:pt x="537" y="129"/>
                  </a:lnTo>
                  <a:lnTo>
                    <a:pt x="537" y="129"/>
                  </a:lnTo>
                  <a:lnTo>
                    <a:pt x="537" y="129"/>
                  </a:lnTo>
                  <a:lnTo>
                    <a:pt x="537" y="131"/>
                  </a:lnTo>
                  <a:lnTo>
                    <a:pt x="537" y="131"/>
                  </a:lnTo>
                  <a:lnTo>
                    <a:pt x="537" y="131"/>
                  </a:lnTo>
                  <a:lnTo>
                    <a:pt x="534" y="131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8"/>
                  </a:lnTo>
                  <a:lnTo>
                    <a:pt x="532" y="138"/>
                  </a:lnTo>
                  <a:lnTo>
                    <a:pt x="532" y="138"/>
                  </a:lnTo>
                  <a:lnTo>
                    <a:pt x="532" y="138"/>
                  </a:lnTo>
                  <a:lnTo>
                    <a:pt x="530" y="138"/>
                  </a:lnTo>
                  <a:lnTo>
                    <a:pt x="530" y="140"/>
                  </a:lnTo>
                  <a:lnTo>
                    <a:pt x="530" y="140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4"/>
                  </a:lnTo>
                  <a:lnTo>
                    <a:pt x="530" y="144"/>
                  </a:lnTo>
                  <a:lnTo>
                    <a:pt x="530" y="144"/>
                  </a:lnTo>
                  <a:lnTo>
                    <a:pt x="530" y="147"/>
                  </a:lnTo>
                  <a:lnTo>
                    <a:pt x="530" y="147"/>
                  </a:lnTo>
                  <a:lnTo>
                    <a:pt x="530" y="147"/>
                  </a:lnTo>
                  <a:lnTo>
                    <a:pt x="530" y="149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30" y="156"/>
                  </a:lnTo>
                  <a:lnTo>
                    <a:pt x="530" y="156"/>
                  </a:lnTo>
                  <a:lnTo>
                    <a:pt x="534" y="162"/>
                  </a:lnTo>
                  <a:lnTo>
                    <a:pt x="534" y="162"/>
                  </a:lnTo>
                  <a:lnTo>
                    <a:pt x="534" y="162"/>
                  </a:lnTo>
                  <a:lnTo>
                    <a:pt x="537" y="162"/>
                  </a:lnTo>
                  <a:lnTo>
                    <a:pt x="537" y="162"/>
                  </a:lnTo>
                  <a:lnTo>
                    <a:pt x="537" y="162"/>
                  </a:lnTo>
                  <a:lnTo>
                    <a:pt x="537" y="162"/>
                  </a:lnTo>
                  <a:lnTo>
                    <a:pt x="537" y="162"/>
                  </a:lnTo>
                  <a:lnTo>
                    <a:pt x="537" y="162"/>
                  </a:lnTo>
                  <a:lnTo>
                    <a:pt x="539" y="162"/>
                  </a:lnTo>
                  <a:lnTo>
                    <a:pt x="539" y="165"/>
                  </a:lnTo>
                  <a:lnTo>
                    <a:pt x="539" y="165"/>
                  </a:lnTo>
                  <a:lnTo>
                    <a:pt x="539" y="165"/>
                  </a:lnTo>
                  <a:lnTo>
                    <a:pt x="539" y="165"/>
                  </a:lnTo>
                  <a:lnTo>
                    <a:pt x="539" y="165"/>
                  </a:lnTo>
                  <a:lnTo>
                    <a:pt x="539" y="165"/>
                  </a:lnTo>
                  <a:lnTo>
                    <a:pt x="539" y="165"/>
                  </a:lnTo>
                  <a:lnTo>
                    <a:pt x="541" y="167"/>
                  </a:lnTo>
                  <a:lnTo>
                    <a:pt x="541" y="167"/>
                  </a:lnTo>
                  <a:lnTo>
                    <a:pt x="541" y="167"/>
                  </a:lnTo>
                  <a:lnTo>
                    <a:pt x="541" y="169"/>
                  </a:lnTo>
                  <a:lnTo>
                    <a:pt x="541" y="169"/>
                  </a:lnTo>
                  <a:lnTo>
                    <a:pt x="541" y="169"/>
                  </a:lnTo>
                  <a:lnTo>
                    <a:pt x="541" y="169"/>
                  </a:lnTo>
                  <a:lnTo>
                    <a:pt x="541" y="169"/>
                  </a:lnTo>
                  <a:lnTo>
                    <a:pt x="541" y="169"/>
                  </a:lnTo>
                  <a:lnTo>
                    <a:pt x="541" y="169"/>
                  </a:lnTo>
                  <a:lnTo>
                    <a:pt x="541" y="171"/>
                  </a:lnTo>
                  <a:lnTo>
                    <a:pt x="541" y="171"/>
                  </a:lnTo>
                  <a:lnTo>
                    <a:pt x="541" y="171"/>
                  </a:lnTo>
                  <a:lnTo>
                    <a:pt x="541" y="174"/>
                  </a:lnTo>
                  <a:lnTo>
                    <a:pt x="541" y="174"/>
                  </a:lnTo>
                  <a:lnTo>
                    <a:pt x="543" y="174"/>
                  </a:lnTo>
                  <a:lnTo>
                    <a:pt x="543" y="174"/>
                  </a:lnTo>
                  <a:lnTo>
                    <a:pt x="543" y="174"/>
                  </a:lnTo>
                  <a:lnTo>
                    <a:pt x="543" y="174"/>
                  </a:lnTo>
                  <a:lnTo>
                    <a:pt x="546" y="174"/>
                  </a:lnTo>
                  <a:lnTo>
                    <a:pt x="546" y="174"/>
                  </a:lnTo>
                  <a:lnTo>
                    <a:pt x="546" y="174"/>
                  </a:lnTo>
                  <a:lnTo>
                    <a:pt x="546" y="174"/>
                  </a:lnTo>
                  <a:lnTo>
                    <a:pt x="546" y="174"/>
                  </a:lnTo>
                  <a:lnTo>
                    <a:pt x="546" y="174"/>
                  </a:lnTo>
                  <a:lnTo>
                    <a:pt x="548" y="174"/>
                  </a:lnTo>
                  <a:lnTo>
                    <a:pt x="548" y="174"/>
                  </a:lnTo>
                  <a:lnTo>
                    <a:pt x="548" y="174"/>
                  </a:lnTo>
                  <a:lnTo>
                    <a:pt x="550" y="174"/>
                  </a:lnTo>
                  <a:lnTo>
                    <a:pt x="550" y="174"/>
                  </a:lnTo>
                  <a:lnTo>
                    <a:pt x="550" y="174"/>
                  </a:lnTo>
                  <a:lnTo>
                    <a:pt x="550" y="174"/>
                  </a:lnTo>
                  <a:lnTo>
                    <a:pt x="550" y="176"/>
                  </a:lnTo>
                  <a:lnTo>
                    <a:pt x="550" y="176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7" y="167"/>
                  </a:lnTo>
                  <a:lnTo>
                    <a:pt x="557" y="167"/>
                  </a:lnTo>
                  <a:lnTo>
                    <a:pt x="557" y="165"/>
                  </a:lnTo>
                  <a:lnTo>
                    <a:pt x="559" y="162"/>
                  </a:lnTo>
                  <a:lnTo>
                    <a:pt x="559" y="162"/>
                  </a:lnTo>
                  <a:lnTo>
                    <a:pt x="561" y="162"/>
                  </a:lnTo>
                  <a:lnTo>
                    <a:pt x="561" y="162"/>
                  </a:lnTo>
                  <a:lnTo>
                    <a:pt x="561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60"/>
                  </a:lnTo>
                  <a:lnTo>
                    <a:pt x="563" y="160"/>
                  </a:lnTo>
                  <a:lnTo>
                    <a:pt x="563" y="160"/>
                  </a:lnTo>
                  <a:lnTo>
                    <a:pt x="563" y="160"/>
                  </a:lnTo>
                  <a:lnTo>
                    <a:pt x="563" y="160"/>
                  </a:lnTo>
                  <a:lnTo>
                    <a:pt x="563" y="162"/>
                  </a:lnTo>
                  <a:lnTo>
                    <a:pt x="563" y="162"/>
                  </a:lnTo>
                  <a:lnTo>
                    <a:pt x="563" y="162"/>
                  </a:lnTo>
                  <a:lnTo>
                    <a:pt x="563" y="162"/>
                  </a:lnTo>
                  <a:lnTo>
                    <a:pt x="563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8" y="165"/>
                  </a:lnTo>
                  <a:lnTo>
                    <a:pt x="568" y="165"/>
                  </a:lnTo>
                  <a:lnTo>
                    <a:pt x="570" y="165"/>
                  </a:lnTo>
                  <a:lnTo>
                    <a:pt x="570" y="165"/>
                  </a:lnTo>
                  <a:lnTo>
                    <a:pt x="570" y="162"/>
                  </a:lnTo>
                  <a:lnTo>
                    <a:pt x="570" y="162"/>
                  </a:lnTo>
                  <a:lnTo>
                    <a:pt x="572" y="162"/>
                  </a:lnTo>
                  <a:lnTo>
                    <a:pt x="572" y="162"/>
                  </a:lnTo>
                  <a:lnTo>
                    <a:pt x="572" y="162"/>
                  </a:lnTo>
                  <a:lnTo>
                    <a:pt x="572" y="162"/>
                  </a:lnTo>
                  <a:lnTo>
                    <a:pt x="572" y="162"/>
                  </a:lnTo>
                  <a:lnTo>
                    <a:pt x="575" y="162"/>
                  </a:lnTo>
                  <a:lnTo>
                    <a:pt x="575" y="162"/>
                  </a:lnTo>
                  <a:lnTo>
                    <a:pt x="575" y="160"/>
                  </a:lnTo>
                  <a:lnTo>
                    <a:pt x="575" y="160"/>
                  </a:lnTo>
                  <a:lnTo>
                    <a:pt x="575" y="160"/>
                  </a:lnTo>
                  <a:lnTo>
                    <a:pt x="575" y="160"/>
                  </a:lnTo>
                  <a:lnTo>
                    <a:pt x="579" y="160"/>
                  </a:lnTo>
                  <a:lnTo>
                    <a:pt x="579" y="158"/>
                  </a:lnTo>
                  <a:lnTo>
                    <a:pt x="581" y="158"/>
                  </a:lnTo>
                  <a:lnTo>
                    <a:pt x="581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58"/>
                  </a:lnTo>
                  <a:lnTo>
                    <a:pt x="584" y="158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0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90" y="158"/>
                  </a:lnTo>
                  <a:lnTo>
                    <a:pt x="588" y="158"/>
                  </a:lnTo>
                  <a:lnTo>
                    <a:pt x="588" y="158"/>
                  </a:lnTo>
                  <a:lnTo>
                    <a:pt x="588" y="158"/>
                  </a:lnTo>
                  <a:lnTo>
                    <a:pt x="586" y="158"/>
                  </a:lnTo>
                  <a:lnTo>
                    <a:pt x="586" y="158"/>
                  </a:lnTo>
                  <a:lnTo>
                    <a:pt x="586" y="158"/>
                  </a:lnTo>
                  <a:lnTo>
                    <a:pt x="586" y="156"/>
                  </a:lnTo>
                  <a:lnTo>
                    <a:pt x="586" y="156"/>
                  </a:lnTo>
                  <a:lnTo>
                    <a:pt x="586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0" y="156"/>
                  </a:lnTo>
                  <a:lnTo>
                    <a:pt x="590" y="156"/>
                  </a:lnTo>
                  <a:lnTo>
                    <a:pt x="593" y="156"/>
                  </a:lnTo>
                  <a:lnTo>
                    <a:pt x="593" y="156"/>
                  </a:lnTo>
                  <a:lnTo>
                    <a:pt x="593" y="156"/>
                  </a:lnTo>
                  <a:lnTo>
                    <a:pt x="593" y="156"/>
                  </a:lnTo>
                  <a:lnTo>
                    <a:pt x="593" y="156"/>
                  </a:lnTo>
                  <a:lnTo>
                    <a:pt x="593" y="153"/>
                  </a:lnTo>
                  <a:lnTo>
                    <a:pt x="593" y="153"/>
                  </a:lnTo>
                  <a:lnTo>
                    <a:pt x="597" y="156"/>
                  </a:lnTo>
                  <a:lnTo>
                    <a:pt x="597" y="156"/>
                  </a:lnTo>
                  <a:lnTo>
                    <a:pt x="599" y="156"/>
                  </a:lnTo>
                  <a:lnTo>
                    <a:pt x="599" y="156"/>
                  </a:lnTo>
                  <a:lnTo>
                    <a:pt x="599" y="156"/>
                  </a:lnTo>
                  <a:lnTo>
                    <a:pt x="599" y="158"/>
                  </a:lnTo>
                  <a:lnTo>
                    <a:pt x="599" y="158"/>
                  </a:lnTo>
                  <a:lnTo>
                    <a:pt x="599" y="158"/>
                  </a:lnTo>
                  <a:lnTo>
                    <a:pt x="599" y="158"/>
                  </a:lnTo>
                  <a:lnTo>
                    <a:pt x="599" y="158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2"/>
                  </a:lnTo>
                  <a:lnTo>
                    <a:pt x="599" y="162"/>
                  </a:lnTo>
                  <a:lnTo>
                    <a:pt x="599" y="162"/>
                  </a:lnTo>
                  <a:lnTo>
                    <a:pt x="599" y="165"/>
                  </a:lnTo>
                  <a:lnTo>
                    <a:pt x="599" y="165"/>
                  </a:lnTo>
                  <a:lnTo>
                    <a:pt x="599" y="167"/>
                  </a:lnTo>
                  <a:lnTo>
                    <a:pt x="597" y="167"/>
                  </a:lnTo>
                  <a:lnTo>
                    <a:pt x="597" y="167"/>
                  </a:lnTo>
                  <a:lnTo>
                    <a:pt x="597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5" y="165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0"/>
                  </a:lnTo>
                  <a:lnTo>
                    <a:pt x="593" y="160"/>
                  </a:lnTo>
                  <a:lnTo>
                    <a:pt x="593" y="162"/>
                  </a:lnTo>
                  <a:lnTo>
                    <a:pt x="593" y="162"/>
                  </a:lnTo>
                  <a:lnTo>
                    <a:pt x="593" y="162"/>
                  </a:lnTo>
                  <a:lnTo>
                    <a:pt x="590" y="162"/>
                  </a:lnTo>
                  <a:lnTo>
                    <a:pt x="588" y="162"/>
                  </a:lnTo>
                  <a:lnTo>
                    <a:pt x="588" y="162"/>
                  </a:lnTo>
                  <a:lnTo>
                    <a:pt x="588" y="162"/>
                  </a:lnTo>
                  <a:lnTo>
                    <a:pt x="586" y="165"/>
                  </a:lnTo>
                  <a:lnTo>
                    <a:pt x="586" y="165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6" y="167"/>
                  </a:lnTo>
                  <a:lnTo>
                    <a:pt x="584" y="169"/>
                  </a:lnTo>
                  <a:lnTo>
                    <a:pt x="584" y="169"/>
                  </a:lnTo>
                  <a:lnTo>
                    <a:pt x="584" y="169"/>
                  </a:lnTo>
                  <a:lnTo>
                    <a:pt x="584" y="169"/>
                  </a:lnTo>
                  <a:lnTo>
                    <a:pt x="584" y="171"/>
                  </a:lnTo>
                  <a:lnTo>
                    <a:pt x="584" y="171"/>
                  </a:lnTo>
                  <a:lnTo>
                    <a:pt x="581" y="171"/>
                  </a:lnTo>
                  <a:lnTo>
                    <a:pt x="581" y="174"/>
                  </a:lnTo>
                  <a:lnTo>
                    <a:pt x="581" y="174"/>
                  </a:lnTo>
                  <a:lnTo>
                    <a:pt x="581" y="174"/>
                  </a:lnTo>
                  <a:lnTo>
                    <a:pt x="581" y="174"/>
                  </a:lnTo>
                  <a:lnTo>
                    <a:pt x="581" y="174"/>
                  </a:lnTo>
                  <a:lnTo>
                    <a:pt x="581" y="174"/>
                  </a:lnTo>
                  <a:lnTo>
                    <a:pt x="579" y="176"/>
                  </a:lnTo>
                  <a:lnTo>
                    <a:pt x="579" y="176"/>
                  </a:lnTo>
                  <a:lnTo>
                    <a:pt x="579" y="176"/>
                  </a:lnTo>
                  <a:lnTo>
                    <a:pt x="577" y="178"/>
                  </a:lnTo>
                  <a:lnTo>
                    <a:pt x="575" y="178"/>
                  </a:lnTo>
                  <a:lnTo>
                    <a:pt x="575" y="180"/>
                  </a:lnTo>
                  <a:lnTo>
                    <a:pt x="575" y="180"/>
                  </a:lnTo>
                  <a:lnTo>
                    <a:pt x="575" y="180"/>
                  </a:lnTo>
                  <a:lnTo>
                    <a:pt x="575" y="178"/>
                  </a:lnTo>
                  <a:lnTo>
                    <a:pt x="572" y="178"/>
                  </a:lnTo>
                  <a:lnTo>
                    <a:pt x="572" y="178"/>
                  </a:lnTo>
                  <a:lnTo>
                    <a:pt x="572" y="180"/>
                  </a:lnTo>
                  <a:lnTo>
                    <a:pt x="572" y="180"/>
                  </a:lnTo>
                  <a:lnTo>
                    <a:pt x="572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68" y="180"/>
                  </a:lnTo>
                  <a:lnTo>
                    <a:pt x="568" y="180"/>
                  </a:lnTo>
                  <a:lnTo>
                    <a:pt x="568" y="180"/>
                  </a:lnTo>
                  <a:lnTo>
                    <a:pt x="568" y="180"/>
                  </a:lnTo>
                  <a:lnTo>
                    <a:pt x="568" y="180"/>
                  </a:lnTo>
                  <a:lnTo>
                    <a:pt x="566" y="182"/>
                  </a:lnTo>
                  <a:lnTo>
                    <a:pt x="566" y="182"/>
                  </a:lnTo>
                  <a:lnTo>
                    <a:pt x="566" y="182"/>
                  </a:lnTo>
                  <a:lnTo>
                    <a:pt x="566" y="182"/>
                  </a:lnTo>
                  <a:lnTo>
                    <a:pt x="566" y="182"/>
                  </a:lnTo>
                  <a:lnTo>
                    <a:pt x="566" y="182"/>
                  </a:lnTo>
                  <a:lnTo>
                    <a:pt x="566" y="185"/>
                  </a:lnTo>
                  <a:lnTo>
                    <a:pt x="566" y="185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3" y="187"/>
                  </a:lnTo>
                  <a:lnTo>
                    <a:pt x="561" y="187"/>
                  </a:lnTo>
                  <a:lnTo>
                    <a:pt x="561" y="187"/>
                  </a:lnTo>
                  <a:lnTo>
                    <a:pt x="561" y="187"/>
                  </a:lnTo>
                  <a:lnTo>
                    <a:pt x="561" y="187"/>
                  </a:lnTo>
                  <a:lnTo>
                    <a:pt x="561" y="187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9" y="185"/>
                  </a:lnTo>
                  <a:lnTo>
                    <a:pt x="557" y="185"/>
                  </a:lnTo>
                  <a:lnTo>
                    <a:pt x="557" y="185"/>
                  </a:lnTo>
                  <a:lnTo>
                    <a:pt x="557" y="182"/>
                  </a:lnTo>
                  <a:lnTo>
                    <a:pt x="557" y="182"/>
                  </a:lnTo>
                  <a:lnTo>
                    <a:pt x="557" y="182"/>
                  </a:lnTo>
                  <a:lnTo>
                    <a:pt x="555" y="185"/>
                  </a:lnTo>
                  <a:lnTo>
                    <a:pt x="557" y="185"/>
                  </a:lnTo>
                  <a:lnTo>
                    <a:pt x="557" y="185"/>
                  </a:lnTo>
                  <a:lnTo>
                    <a:pt x="557" y="185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9"/>
                  </a:lnTo>
                  <a:lnTo>
                    <a:pt x="557" y="189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7" y="187"/>
                  </a:lnTo>
                  <a:lnTo>
                    <a:pt x="559" y="187"/>
                  </a:lnTo>
                  <a:lnTo>
                    <a:pt x="559" y="187"/>
                  </a:lnTo>
                  <a:lnTo>
                    <a:pt x="559" y="189"/>
                  </a:lnTo>
                  <a:lnTo>
                    <a:pt x="559" y="189"/>
                  </a:lnTo>
                  <a:lnTo>
                    <a:pt x="559" y="189"/>
                  </a:lnTo>
                  <a:lnTo>
                    <a:pt x="559" y="189"/>
                  </a:lnTo>
                  <a:lnTo>
                    <a:pt x="561" y="189"/>
                  </a:lnTo>
                  <a:lnTo>
                    <a:pt x="561" y="191"/>
                  </a:lnTo>
                  <a:lnTo>
                    <a:pt x="561" y="191"/>
                  </a:lnTo>
                  <a:lnTo>
                    <a:pt x="561" y="194"/>
                  </a:lnTo>
                  <a:lnTo>
                    <a:pt x="563" y="194"/>
                  </a:lnTo>
                  <a:lnTo>
                    <a:pt x="563" y="194"/>
                  </a:lnTo>
                  <a:lnTo>
                    <a:pt x="566" y="194"/>
                  </a:lnTo>
                  <a:lnTo>
                    <a:pt x="566" y="194"/>
                  </a:lnTo>
                  <a:lnTo>
                    <a:pt x="566" y="196"/>
                  </a:lnTo>
                  <a:lnTo>
                    <a:pt x="568" y="196"/>
                  </a:lnTo>
                  <a:lnTo>
                    <a:pt x="568" y="196"/>
                  </a:lnTo>
                  <a:lnTo>
                    <a:pt x="568" y="198"/>
                  </a:lnTo>
                  <a:lnTo>
                    <a:pt x="568" y="198"/>
                  </a:lnTo>
                  <a:lnTo>
                    <a:pt x="568" y="198"/>
                  </a:lnTo>
                  <a:lnTo>
                    <a:pt x="568" y="200"/>
                  </a:lnTo>
                  <a:lnTo>
                    <a:pt x="570" y="200"/>
                  </a:lnTo>
                  <a:lnTo>
                    <a:pt x="570" y="203"/>
                  </a:lnTo>
                  <a:lnTo>
                    <a:pt x="570" y="203"/>
                  </a:lnTo>
                  <a:lnTo>
                    <a:pt x="570" y="203"/>
                  </a:lnTo>
                  <a:lnTo>
                    <a:pt x="570" y="203"/>
                  </a:lnTo>
                  <a:lnTo>
                    <a:pt x="570" y="205"/>
                  </a:lnTo>
                  <a:lnTo>
                    <a:pt x="570" y="205"/>
                  </a:lnTo>
                  <a:lnTo>
                    <a:pt x="570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7"/>
                  </a:lnTo>
                  <a:lnTo>
                    <a:pt x="572" y="209"/>
                  </a:lnTo>
                  <a:lnTo>
                    <a:pt x="575" y="209"/>
                  </a:lnTo>
                  <a:lnTo>
                    <a:pt x="575" y="209"/>
                  </a:lnTo>
                  <a:lnTo>
                    <a:pt x="575" y="209"/>
                  </a:lnTo>
                  <a:lnTo>
                    <a:pt x="575" y="209"/>
                  </a:lnTo>
                  <a:lnTo>
                    <a:pt x="575" y="209"/>
                  </a:lnTo>
                  <a:lnTo>
                    <a:pt x="577" y="212"/>
                  </a:lnTo>
                  <a:lnTo>
                    <a:pt x="575" y="212"/>
                  </a:lnTo>
                  <a:lnTo>
                    <a:pt x="575" y="212"/>
                  </a:lnTo>
                  <a:lnTo>
                    <a:pt x="575" y="214"/>
                  </a:lnTo>
                  <a:lnTo>
                    <a:pt x="575" y="214"/>
                  </a:lnTo>
                  <a:lnTo>
                    <a:pt x="577" y="214"/>
                  </a:lnTo>
                  <a:lnTo>
                    <a:pt x="577" y="216"/>
                  </a:lnTo>
                  <a:lnTo>
                    <a:pt x="577" y="216"/>
                  </a:lnTo>
                  <a:lnTo>
                    <a:pt x="577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6"/>
                  </a:lnTo>
                  <a:lnTo>
                    <a:pt x="579" y="218"/>
                  </a:lnTo>
                  <a:lnTo>
                    <a:pt x="579" y="218"/>
                  </a:lnTo>
                  <a:lnTo>
                    <a:pt x="579" y="218"/>
                  </a:lnTo>
                  <a:lnTo>
                    <a:pt x="579" y="218"/>
                  </a:lnTo>
                  <a:lnTo>
                    <a:pt x="579" y="218"/>
                  </a:lnTo>
                  <a:lnTo>
                    <a:pt x="577" y="218"/>
                  </a:lnTo>
                  <a:lnTo>
                    <a:pt x="579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3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7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1"/>
                  </a:lnTo>
                  <a:lnTo>
                    <a:pt x="575" y="223"/>
                  </a:lnTo>
                  <a:lnTo>
                    <a:pt x="575" y="223"/>
                  </a:lnTo>
                  <a:lnTo>
                    <a:pt x="575" y="223"/>
                  </a:lnTo>
                  <a:lnTo>
                    <a:pt x="575" y="223"/>
                  </a:lnTo>
                  <a:lnTo>
                    <a:pt x="575" y="223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5" y="225"/>
                  </a:lnTo>
                  <a:lnTo>
                    <a:pt x="572" y="225"/>
                  </a:lnTo>
                  <a:lnTo>
                    <a:pt x="572" y="225"/>
                  </a:lnTo>
                  <a:lnTo>
                    <a:pt x="572" y="225"/>
                  </a:lnTo>
                  <a:lnTo>
                    <a:pt x="572" y="227"/>
                  </a:lnTo>
                  <a:lnTo>
                    <a:pt x="575" y="227"/>
                  </a:lnTo>
                  <a:lnTo>
                    <a:pt x="575" y="227"/>
                  </a:lnTo>
                  <a:lnTo>
                    <a:pt x="575" y="227"/>
                  </a:lnTo>
                  <a:lnTo>
                    <a:pt x="575" y="227"/>
                  </a:lnTo>
                  <a:lnTo>
                    <a:pt x="575" y="227"/>
                  </a:lnTo>
                  <a:lnTo>
                    <a:pt x="575" y="227"/>
                  </a:lnTo>
                  <a:lnTo>
                    <a:pt x="575" y="230"/>
                  </a:lnTo>
                  <a:lnTo>
                    <a:pt x="575" y="230"/>
                  </a:lnTo>
                  <a:lnTo>
                    <a:pt x="577" y="230"/>
                  </a:lnTo>
                  <a:lnTo>
                    <a:pt x="577" y="230"/>
                  </a:lnTo>
                  <a:lnTo>
                    <a:pt x="577" y="230"/>
                  </a:lnTo>
                  <a:lnTo>
                    <a:pt x="577" y="230"/>
                  </a:lnTo>
                  <a:lnTo>
                    <a:pt x="579" y="230"/>
                  </a:lnTo>
                  <a:lnTo>
                    <a:pt x="579" y="230"/>
                  </a:lnTo>
                  <a:lnTo>
                    <a:pt x="579" y="232"/>
                  </a:lnTo>
                  <a:lnTo>
                    <a:pt x="579" y="232"/>
                  </a:lnTo>
                  <a:lnTo>
                    <a:pt x="579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4" y="234"/>
                  </a:lnTo>
                  <a:lnTo>
                    <a:pt x="584" y="234"/>
                  </a:lnTo>
                  <a:lnTo>
                    <a:pt x="584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4"/>
                  </a:lnTo>
                  <a:lnTo>
                    <a:pt x="581" y="236"/>
                  </a:lnTo>
                  <a:lnTo>
                    <a:pt x="579" y="236"/>
                  </a:lnTo>
                  <a:lnTo>
                    <a:pt x="579" y="236"/>
                  </a:lnTo>
                  <a:lnTo>
                    <a:pt x="581" y="236"/>
                  </a:lnTo>
                  <a:lnTo>
                    <a:pt x="581" y="236"/>
                  </a:lnTo>
                  <a:lnTo>
                    <a:pt x="581" y="236"/>
                  </a:lnTo>
                  <a:lnTo>
                    <a:pt x="581" y="236"/>
                  </a:lnTo>
                  <a:lnTo>
                    <a:pt x="581" y="236"/>
                  </a:lnTo>
                  <a:lnTo>
                    <a:pt x="581" y="236"/>
                  </a:lnTo>
                  <a:lnTo>
                    <a:pt x="581" y="239"/>
                  </a:lnTo>
                  <a:lnTo>
                    <a:pt x="581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4" y="239"/>
                  </a:lnTo>
                  <a:lnTo>
                    <a:pt x="586" y="239"/>
                  </a:lnTo>
                  <a:lnTo>
                    <a:pt x="586" y="239"/>
                  </a:lnTo>
                  <a:lnTo>
                    <a:pt x="586" y="239"/>
                  </a:lnTo>
                  <a:lnTo>
                    <a:pt x="584" y="236"/>
                  </a:lnTo>
                  <a:lnTo>
                    <a:pt x="586" y="236"/>
                  </a:lnTo>
                  <a:lnTo>
                    <a:pt x="586" y="239"/>
                  </a:lnTo>
                  <a:lnTo>
                    <a:pt x="586" y="239"/>
                  </a:lnTo>
                  <a:lnTo>
                    <a:pt x="588" y="239"/>
                  </a:lnTo>
                  <a:lnTo>
                    <a:pt x="588" y="241"/>
                  </a:lnTo>
                  <a:lnTo>
                    <a:pt x="588" y="241"/>
                  </a:lnTo>
                  <a:lnTo>
                    <a:pt x="588" y="241"/>
                  </a:lnTo>
                  <a:lnTo>
                    <a:pt x="586" y="243"/>
                  </a:lnTo>
                  <a:lnTo>
                    <a:pt x="586" y="243"/>
                  </a:lnTo>
                  <a:lnTo>
                    <a:pt x="588" y="243"/>
                  </a:lnTo>
                  <a:lnTo>
                    <a:pt x="588" y="245"/>
                  </a:lnTo>
                  <a:lnTo>
                    <a:pt x="586" y="245"/>
                  </a:lnTo>
                  <a:lnTo>
                    <a:pt x="586" y="245"/>
                  </a:lnTo>
                  <a:lnTo>
                    <a:pt x="586" y="245"/>
                  </a:lnTo>
                  <a:lnTo>
                    <a:pt x="586" y="245"/>
                  </a:lnTo>
                  <a:lnTo>
                    <a:pt x="586" y="245"/>
                  </a:lnTo>
                  <a:lnTo>
                    <a:pt x="586" y="248"/>
                  </a:lnTo>
                  <a:lnTo>
                    <a:pt x="586" y="245"/>
                  </a:lnTo>
                  <a:lnTo>
                    <a:pt x="584" y="245"/>
                  </a:lnTo>
                  <a:lnTo>
                    <a:pt x="584" y="243"/>
                  </a:lnTo>
                  <a:lnTo>
                    <a:pt x="584" y="243"/>
                  </a:lnTo>
                  <a:lnTo>
                    <a:pt x="581" y="243"/>
                  </a:lnTo>
                  <a:lnTo>
                    <a:pt x="581" y="243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5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4" y="248"/>
                  </a:lnTo>
                  <a:lnTo>
                    <a:pt x="581" y="248"/>
                  </a:lnTo>
                  <a:lnTo>
                    <a:pt x="581" y="248"/>
                  </a:lnTo>
                  <a:lnTo>
                    <a:pt x="581" y="248"/>
                  </a:lnTo>
                  <a:lnTo>
                    <a:pt x="581" y="248"/>
                  </a:lnTo>
                  <a:lnTo>
                    <a:pt x="581" y="245"/>
                  </a:lnTo>
                  <a:lnTo>
                    <a:pt x="581" y="245"/>
                  </a:lnTo>
                  <a:lnTo>
                    <a:pt x="579" y="245"/>
                  </a:lnTo>
                  <a:lnTo>
                    <a:pt x="579" y="245"/>
                  </a:lnTo>
                  <a:lnTo>
                    <a:pt x="579" y="248"/>
                  </a:lnTo>
                  <a:lnTo>
                    <a:pt x="577" y="245"/>
                  </a:lnTo>
                  <a:lnTo>
                    <a:pt x="577" y="245"/>
                  </a:lnTo>
                  <a:lnTo>
                    <a:pt x="577" y="248"/>
                  </a:lnTo>
                  <a:lnTo>
                    <a:pt x="575" y="248"/>
                  </a:lnTo>
                  <a:lnTo>
                    <a:pt x="575" y="248"/>
                  </a:lnTo>
                  <a:lnTo>
                    <a:pt x="572" y="248"/>
                  </a:lnTo>
                  <a:lnTo>
                    <a:pt x="572" y="248"/>
                  </a:lnTo>
                  <a:lnTo>
                    <a:pt x="572" y="248"/>
                  </a:lnTo>
                  <a:lnTo>
                    <a:pt x="572" y="248"/>
                  </a:lnTo>
                  <a:lnTo>
                    <a:pt x="572" y="248"/>
                  </a:lnTo>
                  <a:lnTo>
                    <a:pt x="572" y="248"/>
                  </a:lnTo>
                  <a:lnTo>
                    <a:pt x="570" y="248"/>
                  </a:lnTo>
                  <a:lnTo>
                    <a:pt x="570" y="248"/>
                  </a:lnTo>
                  <a:lnTo>
                    <a:pt x="570" y="248"/>
                  </a:lnTo>
                  <a:lnTo>
                    <a:pt x="570" y="248"/>
                  </a:lnTo>
                  <a:lnTo>
                    <a:pt x="570" y="250"/>
                  </a:lnTo>
                  <a:lnTo>
                    <a:pt x="570" y="250"/>
                  </a:lnTo>
                  <a:lnTo>
                    <a:pt x="568" y="252"/>
                  </a:lnTo>
                  <a:lnTo>
                    <a:pt x="568" y="252"/>
                  </a:lnTo>
                  <a:lnTo>
                    <a:pt x="568" y="252"/>
                  </a:lnTo>
                  <a:lnTo>
                    <a:pt x="568" y="254"/>
                  </a:lnTo>
                  <a:lnTo>
                    <a:pt x="570" y="254"/>
                  </a:lnTo>
                  <a:lnTo>
                    <a:pt x="570" y="254"/>
                  </a:lnTo>
                  <a:lnTo>
                    <a:pt x="570" y="254"/>
                  </a:lnTo>
                  <a:lnTo>
                    <a:pt x="570" y="254"/>
                  </a:lnTo>
                  <a:lnTo>
                    <a:pt x="570" y="254"/>
                  </a:lnTo>
                  <a:lnTo>
                    <a:pt x="570" y="257"/>
                  </a:lnTo>
                  <a:lnTo>
                    <a:pt x="570" y="257"/>
                  </a:lnTo>
                  <a:lnTo>
                    <a:pt x="570" y="257"/>
                  </a:lnTo>
                  <a:lnTo>
                    <a:pt x="568" y="257"/>
                  </a:lnTo>
                  <a:lnTo>
                    <a:pt x="568" y="257"/>
                  </a:lnTo>
                  <a:lnTo>
                    <a:pt x="568" y="257"/>
                  </a:lnTo>
                  <a:lnTo>
                    <a:pt x="566" y="257"/>
                  </a:lnTo>
                  <a:lnTo>
                    <a:pt x="566" y="257"/>
                  </a:lnTo>
                  <a:lnTo>
                    <a:pt x="563" y="257"/>
                  </a:lnTo>
                  <a:lnTo>
                    <a:pt x="563" y="257"/>
                  </a:lnTo>
                  <a:lnTo>
                    <a:pt x="563" y="257"/>
                  </a:lnTo>
                  <a:lnTo>
                    <a:pt x="563" y="257"/>
                  </a:lnTo>
                  <a:lnTo>
                    <a:pt x="563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7"/>
                  </a:lnTo>
                  <a:lnTo>
                    <a:pt x="561" y="254"/>
                  </a:lnTo>
                  <a:lnTo>
                    <a:pt x="559" y="254"/>
                  </a:lnTo>
                  <a:lnTo>
                    <a:pt x="559" y="254"/>
                  </a:lnTo>
                  <a:lnTo>
                    <a:pt x="559" y="254"/>
                  </a:lnTo>
                  <a:lnTo>
                    <a:pt x="559" y="254"/>
                  </a:lnTo>
                  <a:lnTo>
                    <a:pt x="557" y="252"/>
                  </a:lnTo>
                  <a:lnTo>
                    <a:pt x="557" y="252"/>
                  </a:lnTo>
                  <a:lnTo>
                    <a:pt x="557" y="252"/>
                  </a:lnTo>
                  <a:lnTo>
                    <a:pt x="557" y="252"/>
                  </a:lnTo>
                  <a:lnTo>
                    <a:pt x="557" y="252"/>
                  </a:lnTo>
                  <a:lnTo>
                    <a:pt x="557" y="252"/>
                  </a:lnTo>
                  <a:lnTo>
                    <a:pt x="557" y="252"/>
                  </a:lnTo>
                  <a:lnTo>
                    <a:pt x="557" y="250"/>
                  </a:lnTo>
                  <a:lnTo>
                    <a:pt x="557" y="248"/>
                  </a:lnTo>
                  <a:lnTo>
                    <a:pt x="559" y="248"/>
                  </a:lnTo>
                  <a:lnTo>
                    <a:pt x="559" y="245"/>
                  </a:lnTo>
                  <a:lnTo>
                    <a:pt x="559" y="245"/>
                  </a:lnTo>
                  <a:lnTo>
                    <a:pt x="559" y="243"/>
                  </a:lnTo>
                  <a:lnTo>
                    <a:pt x="559" y="243"/>
                  </a:lnTo>
                  <a:lnTo>
                    <a:pt x="559" y="241"/>
                  </a:lnTo>
                  <a:lnTo>
                    <a:pt x="559" y="241"/>
                  </a:lnTo>
                  <a:lnTo>
                    <a:pt x="559" y="241"/>
                  </a:lnTo>
                  <a:lnTo>
                    <a:pt x="559" y="241"/>
                  </a:lnTo>
                  <a:lnTo>
                    <a:pt x="559" y="241"/>
                  </a:lnTo>
                  <a:lnTo>
                    <a:pt x="559" y="243"/>
                  </a:lnTo>
                  <a:lnTo>
                    <a:pt x="559" y="243"/>
                  </a:lnTo>
                  <a:lnTo>
                    <a:pt x="559" y="241"/>
                  </a:lnTo>
                  <a:lnTo>
                    <a:pt x="561" y="241"/>
                  </a:lnTo>
                  <a:lnTo>
                    <a:pt x="561" y="239"/>
                  </a:lnTo>
                  <a:lnTo>
                    <a:pt x="559" y="236"/>
                  </a:lnTo>
                  <a:lnTo>
                    <a:pt x="559" y="236"/>
                  </a:lnTo>
                  <a:lnTo>
                    <a:pt x="557" y="236"/>
                  </a:lnTo>
                  <a:lnTo>
                    <a:pt x="555" y="236"/>
                  </a:lnTo>
                  <a:lnTo>
                    <a:pt x="555" y="236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5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2" y="232"/>
                  </a:lnTo>
                  <a:lnTo>
                    <a:pt x="550" y="230"/>
                  </a:lnTo>
                  <a:lnTo>
                    <a:pt x="546" y="225"/>
                  </a:lnTo>
                  <a:lnTo>
                    <a:pt x="546" y="225"/>
                  </a:lnTo>
                  <a:lnTo>
                    <a:pt x="546" y="223"/>
                  </a:lnTo>
                  <a:lnTo>
                    <a:pt x="546" y="223"/>
                  </a:lnTo>
                  <a:lnTo>
                    <a:pt x="546" y="223"/>
                  </a:lnTo>
                  <a:lnTo>
                    <a:pt x="546" y="223"/>
                  </a:lnTo>
                  <a:lnTo>
                    <a:pt x="546" y="223"/>
                  </a:lnTo>
                  <a:lnTo>
                    <a:pt x="546" y="221"/>
                  </a:lnTo>
                  <a:lnTo>
                    <a:pt x="546" y="221"/>
                  </a:lnTo>
                  <a:lnTo>
                    <a:pt x="548" y="221"/>
                  </a:lnTo>
                  <a:lnTo>
                    <a:pt x="548" y="221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48" y="218"/>
                  </a:lnTo>
                  <a:lnTo>
                    <a:pt x="550" y="218"/>
                  </a:lnTo>
                  <a:lnTo>
                    <a:pt x="550" y="218"/>
                  </a:lnTo>
                  <a:lnTo>
                    <a:pt x="550" y="218"/>
                  </a:lnTo>
                  <a:lnTo>
                    <a:pt x="550" y="218"/>
                  </a:lnTo>
                  <a:lnTo>
                    <a:pt x="550" y="218"/>
                  </a:lnTo>
                  <a:lnTo>
                    <a:pt x="550" y="216"/>
                  </a:lnTo>
                  <a:lnTo>
                    <a:pt x="550" y="216"/>
                  </a:lnTo>
                  <a:lnTo>
                    <a:pt x="550" y="216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0" y="212"/>
                  </a:lnTo>
                  <a:lnTo>
                    <a:pt x="550" y="212"/>
                  </a:lnTo>
                  <a:lnTo>
                    <a:pt x="550" y="212"/>
                  </a:lnTo>
                  <a:lnTo>
                    <a:pt x="550" y="212"/>
                  </a:lnTo>
                  <a:lnTo>
                    <a:pt x="550" y="212"/>
                  </a:lnTo>
                  <a:lnTo>
                    <a:pt x="550" y="209"/>
                  </a:lnTo>
                  <a:lnTo>
                    <a:pt x="550" y="209"/>
                  </a:lnTo>
                  <a:lnTo>
                    <a:pt x="550" y="209"/>
                  </a:lnTo>
                  <a:lnTo>
                    <a:pt x="550" y="209"/>
                  </a:lnTo>
                  <a:lnTo>
                    <a:pt x="550" y="209"/>
                  </a:lnTo>
                  <a:lnTo>
                    <a:pt x="550" y="209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9"/>
                  </a:lnTo>
                  <a:lnTo>
                    <a:pt x="550" y="209"/>
                  </a:lnTo>
                  <a:lnTo>
                    <a:pt x="548" y="209"/>
                  </a:lnTo>
                  <a:lnTo>
                    <a:pt x="548" y="209"/>
                  </a:lnTo>
                  <a:lnTo>
                    <a:pt x="548" y="209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5"/>
                  </a:lnTo>
                  <a:lnTo>
                    <a:pt x="550" y="205"/>
                  </a:lnTo>
                  <a:lnTo>
                    <a:pt x="550" y="205"/>
                  </a:lnTo>
                  <a:lnTo>
                    <a:pt x="550" y="205"/>
                  </a:lnTo>
                  <a:lnTo>
                    <a:pt x="550" y="205"/>
                  </a:lnTo>
                  <a:lnTo>
                    <a:pt x="550" y="205"/>
                  </a:lnTo>
                  <a:lnTo>
                    <a:pt x="546" y="205"/>
                  </a:lnTo>
                  <a:lnTo>
                    <a:pt x="546" y="205"/>
                  </a:lnTo>
                  <a:lnTo>
                    <a:pt x="546" y="205"/>
                  </a:lnTo>
                  <a:lnTo>
                    <a:pt x="546" y="205"/>
                  </a:lnTo>
                  <a:lnTo>
                    <a:pt x="546" y="205"/>
                  </a:lnTo>
                  <a:lnTo>
                    <a:pt x="546" y="203"/>
                  </a:lnTo>
                  <a:lnTo>
                    <a:pt x="546" y="203"/>
                  </a:lnTo>
                  <a:lnTo>
                    <a:pt x="546" y="203"/>
                  </a:lnTo>
                  <a:lnTo>
                    <a:pt x="546" y="203"/>
                  </a:lnTo>
                  <a:lnTo>
                    <a:pt x="543" y="203"/>
                  </a:lnTo>
                  <a:lnTo>
                    <a:pt x="543" y="203"/>
                  </a:lnTo>
                  <a:lnTo>
                    <a:pt x="543" y="203"/>
                  </a:lnTo>
                  <a:lnTo>
                    <a:pt x="543" y="203"/>
                  </a:lnTo>
                  <a:lnTo>
                    <a:pt x="543" y="205"/>
                  </a:lnTo>
                  <a:lnTo>
                    <a:pt x="543" y="205"/>
                  </a:lnTo>
                  <a:lnTo>
                    <a:pt x="541" y="205"/>
                  </a:lnTo>
                  <a:lnTo>
                    <a:pt x="541" y="205"/>
                  </a:lnTo>
                  <a:lnTo>
                    <a:pt x="541" y="205"/>
                  </a:lnTo>
                  <a:lnTo>
                    <a:pt x="541" y="205"/>
                  </a:lnTo>
                  <a:lnTo>
                    <a:pt x="541" y="205"/>
                  </a:lnTo>
                  <a:lnTo>
                    <a:pt x="539" y="205"/>
                  </a:lnTo>
                  <a:lnTo>
                    <a:pt x="539" y="207"/>
                  </a:lnTo>
                  <a:lnTo>
                    <a:pt x="539" y="207"/>
                  </a:lnTo>
                  <a:lnTo>
                    <a:pt x="534" y="209"/>
                  </a:lnTo>
                  <a:lnTo>
                    <a:pt x="532" y="212"/>
                  </a:lnTo>
                  <a:lnTo>
                    <a:pt x="532" y="212"/>
                  </a:lnTo>
                  <a:lnTo>
                    <a:pt x="532" y="212"/>
                  </a:lnTo>
                  <a:lnTo>
                    <a:pt x="532" y="212"/>
                  </a:lnTo>
                  <a:lnTo>
                    <a:pt x="532" y="212"/>
                  </a:lnTo>
                  <a:lnTo>
                    <a:pt x="532" y="212"/>
                  </a:lnTo>
                  <a:lnTo>
                    <a:pt x="532" y="214"/>
                  </a:lnTo>
                  <a:lnTo>
                    <a:pt x="532" y="214"/>
                  </a:lnTo>
                  <a:lnTo>
                    <a:pt x="532" y="214"/>
                  </a:lnTo>
                  <a:lnTo>
                    <a:pt x="532" y="214"/>
                  </a:lnTo>
                  <a:lnTo>
                    <a:pt x="532" y="214"/>
                  </a:lnTo>
                  <a:lnTo>
                    <a:pt x="534" y="214"/>
                  </a:lnTo>
                  <a:lnTo>
                    <a:pt x="534" y="216"/>
                  </a:lnTo>
                  <a:lnTo>
                    <a:pt x="534" y="216"/>
                  </a:lnTo>
                  <a:lnTo>
                    <a:pt x="534" y="216"/>
                  </a:lnTo>
                  <a:lnTo>
                    <a:pt x="532" y="216"/>
                  </a:lnTo>
                  <a:lnTo>
                    <a:pt x="534" y="216"/>
                  </a:lnTo>
                  <a:lnTo>
                    <a:pt x="534" y="216"/>
                  </a:lnTo>
                  <a:lnTo>
                    <a:pt x="534" y="216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18"/>
                  </a:lnTo>
                  <a:lnTo>
                    <a:pt x="537" y="221"/>
                  </a:lnTo>
                  <a:lnTo>
                    <a:pt x="537" y="221"/>
                  </a:lnTo>
                  <a:lnTo>
                    <a:pt x="537" y="221"/>
                  </a:lnTo>
                  <a:lnTo>
                    <a:pt x="537" y="221"/>
                  </a:lnTo>
                  <a:lnTo>
                    <a:pt x="537" y="221"/>
                  </a:lnTo>
                  <a:lnTo>
                    <a:pt x="537" y="221"/>
                  </a:lnTo>
                  <a:lnTo>
                    <a:pt x="537" y="223"/>
                  </a:lnTo>
                  <a:lnTo>
                    <a:pt x="537" y="223"/>
                  </a:lnTo>
                  <a:lnTo>
                    <a:pt x="537" y="223"/>
                  </a:lnTo>
                  <a:lnTo>
                    <a:pt x="537" y="223"/>
                  </a:lnTo>
                  <a:lnTo>
                    <a:pt x="537" y="223"/>
                  </a:lnTo>
                  <a:lnTo>
                    <a:pt x="537" y="225"/>
                  </a:lnTo>
                  <a:lnTo>
                    <a:pt x="537" y="225"/>
                  </a:lnTo>
                  <a:lnTo>
                    <a:pt x="537" y="225"/>
                  </a:lnTo>
                  <a:lnTo>
                    <a:pt x="537" y="227"/>
                  </a:lnTo>
                  <a:lnTo>
                    <a:pt x="537" y="227"/>
                  </a:lnTo>
                  <a:lnTo>
                    <a:pt x="537" y="227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4"/>
                  </a:lnTo>
                  <a:lnTo>
                    <a:pt x="534" y="234"/>
                  </a:lnTo>
                  <a:lnTo>
                    <a:pt x="534" y="239"/>
                  </a:lnTo>
                  <a:lnTo>
                    <a:pt x="534" y="239"/>
                  </a:lnTo>
                  <a:lnTo>
                    <a:pt x="534" y="241"/>
                  </a:lnTo>
                  <a:lnTo>
                    <a:pt x="534" y="241"/>
                  </a:lnTo>
                  <a:lnTo>
                    <a:pt x="534" y="241"/>
                  </a:lnTo>
                  <a:lnTo>
                    <a:pt x="534" y="241"/>
                  </a:lnTo>
                  <a:lnTo>
                    <a:pt x="534" y="241"/>
                  </a:lnTo>
                  <a:lnTo>
                    <a:pt x="534" y="243"/>
                  </a:lnTo>
                  <a:lnTo>
                    <a:pt x="534" y="243"/>
                  </a:lnTo>
                  <a:lnTo>
                    <a:pt x="534" y="243"/>
                  </a:lnTo>
                  <a:lnTo>
                    <a:pt x="534" y="243"/>
                  </a:lnTo>
                  <a:lnTo>
                    <a:pt x="534" y="245"/>
                  </a:lnTo>
                  <a:lnTo>
                    <a:pt x="534" y="245"/>
                  </a:lnTo>
                  <a:lnTo>
                    <a:pt x="534" y="248"/>
                  </a:lnTo>
                  <a:lnTo>
                    <a:pt x="534" y="248"/>
                  </a:lnTo>
                  <a:lnTo>
                    <a:pt x="534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0"/>
                  </a:lnTo>
                  <a:lnTo>
                    <a:pt x="534" y="250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2"/>
                  </a:lnTo>
                  <a:lnTo>
                    <a:pt x="534" y="252"/>
                  </a:lnTo>
                  <a:lnTo>
                    <a:pt x="534" y="252"/>
                  </a:lnTo>
                  <a:lnTo>
                    <a:pt x="534" y="252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7"/>
                  </a:lnTo>
                  <a:lnTo>
                    <a:pt x="534" y="257"/>
                  </a:lnTo>
                  <a:lnTo>
                    <a:pt x="534" y="257"/>
                  </a:lnTo>
                  <a:lnTo>
                    <a:pt x="532" y="257"/>
                  </a:lnTo>
                  <a:lnTo>
                    <a:pt x="532" y="257"/>
                  </a:lnTo>
                  <a:lnTo>
                    <a:pt x="532" y="257"/>
                  </a:lnTo>
                  <a:lnTo>
                    <a:pt x="532" y="259"/>
                  </a:lnTo>
                  <a:lnTo>
                    <a:pt x="532" y="263"/>
                  </a:lnTo>
                  <a:lnTo>
                    <a:pt x="532" y="263"/>
                  </a:lnTo>
                  <a:lnTo>
                    <a:pt x="530" y="263"/>
                  </a:lnTo>
                  <a:lnTo>
                    <a:pt x="532" y="266"/>
                  </a:lnTo>
                  <a:lnTo>
                    <a:pt x="532" y="266"/>
                  </a:lnTo>
                  <a:lnTo>
                    <a:pt x="532" y="266"/>
                  </a:lnTo>
                  <a:lnTo>
                    <a:pt x="532" y="268"/>
                  </a:lnTo>
                  <a:lnTo>
                    <a:pt x="532" y="268"/>
                  </a:lnTo>
                  <a:lnTo>
                    <a:pt x="532" y="268"/>
                  </a:lnTo>
                  <a:lnTo>
                    <a:pt x="532" y="268"/>
                  </a:lnTo>
                  <a:lnTo>
                    <a:pt x="534" y="272"/>
                  </a:lnTo>
                  <a:lnTo>
                    <a:pt x="534" y="275"/>
                  </a:lnTo>
                  <a:lnTo>
                    <a:pt x="534" y="275"/>
                  </a:lnTo>
                  <a:lnTo>
                    <a:pt x="534" y="275"/>
                  </a:lnTo>
                  <a:lnTo>
                    <a:pt x="534" y="275"/>
                  </a:lnTo>
                  <a:lnTo>
                    <a:pt x="534" y="275"/>
                  </a:lnTo>
                  <a:lnTo>
                    <a:pt x="534" y="275"/>
                  </a:lnTo>
                  <a:lnTo>
                    <a:pt x="534" y="275"/>
                  </a:lnTo>
                  <a:lnTo>
                    <a:pt x="532" y="275"/>
                  </a:lnTo>
                  <a:lnTo>
                    <a:pt x="532" y="275"/>
                  </a:lnTo>
                  <a:lnTo>
                    <a:pt x="532" y="272"/>
                  </a:lnTo>
                  <a:lnTo>
                    <a:pt x="532" y="272"/>
                  </a:lnTo>
                  <a:lnTo>
                    <a:pt x="532" y="272"/>
                  </a:lnTo>
                  <a:lnTo>
                    <a:pt x="532" y="272"/>
                  </a:lnTo>
                  <a:lnTo>
                    <a:pt x="532" y="272"/>
                  </a:lnTo>
                  <a:lnTo>
                    <a:pt x="530" y="272"/>
                  </a:lnTo>
                  <a:lnTo>
                    <a:pt x="530" y="272"/>
                  </a:lnTo>
                  <a:lnTo>
                    <a:pt x="530" y="272"/>
                  </a:lnTo>
                  <a:lnTo>
                    <a:pt x="530" y="272"/>
                  </a:lnTo>
                  <a:lnTo>
                    <a:pt x="528" y="275"/>
                  </a:lnTo>
                  <a:lnTo>
                    <a:pt x="528" y="275"/>
                  </a:lnTo>
                  <a:lnTo>
                    <a:pt x="528" y="275"/>
                  </a:lnTo>
                  <a:lnTo>
                    <a:pt x="528" y="275"/>
                  </a:lnTo>
                  <a:lnTo>
                    <a:pt x="528" y="275"/>
                  </a:lnTo>
                  <a:lnTo>
                    <a:pt x="528" y="275"/>
                  </a:lnTo>
                  <a:lnTo>
                    <a:pt x="525" y="275"/>
                  </a:lnTo>
                  <a:lnTo>
                    <a:pt x="525" y="275"/>
                  </a:lnTo>
                  <a:lnTo>
                    <a:pt x="525" y="275"/>
                  </a:lnTo>
                  <a:lnTo>
                    <a:pt x="525" y="275"/>
                  </a:lnTo>
                  <a:lnTo>
                    <a:pt x="523" y="275"/>
                  </a:lnTo>
                  <a:lnTo>
                    <a:pt x="523" y="275"/>
                  </a:lnTo>
                  <a:lnTo>
                    <a:pt x="523" y="275"/>
                  </a:lnTo>
                  <a:lnTo>
                    <a:pt x="523" y="275"/>
                  </a:lnTo>
                  <a:lnTo>
                    <a:pt x="521" y="275"/>
                  </a:lnTo>
                  <a:lnTo>
                    <a:pt x="521" y="275"/>
                  </a:lnTo>
                  <a:lnTo>
                    <a:pt x="521" y="275"/>
                  </a:lnTo>
                  <a:lnTo>
                    <a:pt x="521" y="277"/>
                  </a:lnTo>
                  <a:lnTo>
                    <a:pt x="521" y="277"/>
                  </a:lnTo>
                  <a:lnTo>
                    <a:pt x="521" y="277"/>
                  </a:lnTo>
                  <a:lnTo>
                    <a:pt x="519" y="277"/>
                  </a:lnTo>
                  <a:lnTo>
                    <a:pt x="519" y="277"/>
                  </a:lnTo>
                  <a:lnTo>
                    <a:pt x="519" y="277"/>
                  </a:lnTo>
                  <a:lnTo>
                    <a:pt x="516" y="277"/>
                  </a:lnTo>
                  <a:lnTo>
                    <a:pt x="516" y="277"/>
                  </a:lnTo>
                  <a:lnTo>
                    <a:pt x="516" y="275"/>
                  </a:lnTo>
                  <a:lnTo>
                    <a:pt x="516" y="275"/>
                  </a:lnTo>
                  <a:lnTo>
                    <a:pt x="516" y="275"/>
                  </a:lnTo>
                  <a:lnTo>
                    <a:pt x="516" y="275"/>
                  </a:lnTo>
                  <a:lnTo>
                    <a:pt x="516" y="275"/>
                  </a:lnTo>
                  <a:lnTo>
                    <a:pt x="516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2"/>
                  </a:lnTo>
                  <a:lnTo>
                    <a:pt x="514" y="272"/>
                  </a:lnTo>
                  <a:lnTo>
                    <a:pt x="514" y="272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4" y="275"/>
                  </a:lnTo>
                  <a:lnTo>
                    <a:pt x="512" y="275"/>
                  </a:lnTo>
                  <a:lnTo>
                    <a:pt x="512" y="275"/>
                  </a:lnTo>
                  <a:lnTo>
                    <a:pt x="512" y="272"/>
                  </a:lnTo>
                  <a:lnTo>
                    <a:pt x="512" y="272"/>
                  </a:lnTo>
                  <a:lnTo>
                    <a:pt x="512" y="272"/>
                  </a:lnTo>
                  <a:lnTo>
                    <a:pt x="512" y="272"/>
                  </a:lnTo>
                  <a:lnTo>
                    <a:pt x="512" y="272"/>
                  </a:lnTo>
                  <a:lnTo>
                    <a:pt x="512" y="272"/>
                  </a:lnTo>
                  <a:lnTo>
                    <a:pt x="512" y="272"/>
                  </a:lnTo>
                  <a:lnTo>
                    <a:pt x="512" y="270"/>
                  </a:lnTo>
                  <a:lnTo>
                    <a:pt x="512" y="270"/>
                  </a:lnTo>
                  <a:lnTo>
                    <a:pt x="512" y="268"/>
                  </a:lnTo>
                  <a:lnTo>
                    <a:pt x="512" y="268"/>
                  </a:lnTo>
                  <a:lnTo>
                    <a:pt x="512" y="266"/>
                  </a:lnTo>
                  <a:lnTo>
                    <a:pt x="512" y="266"/>
                  </a:lnTo>
                  <a:lnTo>
                    <a:pt x="512" y="266"/>
                  </a:lnTo>
                  <a:lnTo>
                    <a:pt x="512" y="263"/>
                  </a:lnTo>
                  <a:lnTo>
                    <a:pt x="512" y="263"/>
                  </a:lnTo>
                  <a:lnTo>
                    <a:pt x="512" y="263"/>
                  </a:lnTo>
                  <a:lnTo>
                    <a:pt x="512" y="263"/>
                  </a:lnTo>
                  <a:lnTo>
                    <a:pt x="514" y="263"/>
                  </a:lnTo>
                  <a:lnTo>
                    <a:pt x="514" y="263"/>
                  </a:lnTo>
                  <a:lnTo>
                    <a:pt x="514" y="261"/>
                  </a:lnTo>
                  <a:lnTo>
                    <a:pt x="514" y="261"/>
                  </a:lnTo>
                  <a:lnTo>
                    <a:pt x="514" y="261"/>
                  </a:lnTo>
                  <a:lnTo>
                    <a:pt x="514" y="259"/>
                  </a:lnTo>
                  <a:lnTo>
                    <a:pt x="516" y="259"/>
                  </a:lnTo>
                  <a:lnTo>
                    <a:pt x="516" y="257"/>
                  </a:lnTo>
                  <a:lnTo>
                    <a:pt x="514" y="254"/>
                  </a:lnTo>
                  <a:lnTo>
                    <a:pt x="514" y="254"/>
                  </a:lnTo>
                  <a:lnTo>
                    <a:pt x="516" y="252"/>
                  </a:lnTo>
                  <a:lnTo>
                    <a:pt x="516" y="252"/>
                  </a:lnTo>
                  <a:lnTo>
                    <a:pt x="516" y="252"/>
                  </a:lnTo>
                  <a:lnTo>
                    <a:pt x="516" y="252"/>
                  </a:lnTo>
                  <a:lnTo>
                    <a:pt x="516" y="252"/>
                  </a:lnTo>
                  <a:lnTo>
                    <a:pt x="516" y="250"/>
                  </a:lnTo>
                  <a:lnTo>
                    <a:pt x="516" y="250"/>
                  </a:lnTo>
                  <a:lnTo>
                    <a:pt x="519" y="245"/>
                  </a:lnTo>
                  <a:lnTo>
                    <a:pt x="519" y="245"/>
                  </a:lnTo>
                  <a:lnTo>
                    <a:pt x="519" y="243"/>
                  </a:lnTo>
                  <a:lnTo>
                    <a:pt x="519" y="243"/>
                  </a:lnTo>
                  <a:lnTo>
                    <a:pt x="519" y="243"/>
                  </a:lnTo>
                  <a:lnTo>
                    <a:pt x="519" y="243"/>
                  </a:lnTo>
                  <a:lnTo>
                    <a:pt x="519" y="243"/>
                  </a:lnTo>
                  <a:lnTo>
                    <a:pt x="519" y="243"/>
                  </a:lnTo>
                  <a:lnTo>
                    <a:pt x="519" y="243"/>
                  </a:lnTo>
                  <a:lnTo>
                    <a:pt x="519" y="241"/>
                  </a:lnTo>
                  <a:lnTo>
                    <a:pt x="519" y="241"/>
                  </a:lnTo>
                  <a:lnTo>
                    <a:pt x="519" y="241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9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6"/>
                  </a:lnTo>
                  <a:lnTo>
                    <a:pt x="519" y="234"/>
                  </a:lnTo>
                  <a:lnTo>
                    <a:pt x="516" y="232"/>
                  </a:lnTo>
                  <a:lnTo>
                    <a:pt x="516" y="232"/>
                  </a:lnTo>
                  <a:lnTo>
                    <a:pt x="516" y="230"/>
                  </a:lnTo>
                  <a:lnTo>
                    <a:pt x="516" y="230"/>
                  </a:lnTo>
                  <a:lnTo>
                    <a:pt x="516" y="230"/>
                  </a:lnTo>
                  <a:lnTo>
                    <a:pt x="516" y="227"/>
                  </a:lnTo>
                  <a:lnTo>
                    <a:pt x="516" y="227"/>
                  </a:lnTo>
                  <a:lnTo>
                    <a:pt x="516" y="227"/>
                  </a:lnTo>
                  <a:lnTo>
                    <a:pt x="516" y="225"/>
                  </a:lnTo>
                  <a:lnTo>
                    <a:pt x="516" y="225"/>
                  </a:lnTo>
                  <a:lnTo>
                    <a:pt x="516" y="225"/>
                  </a:lnTo>
                  <a:lnTo>
                    <a:pt x="516" y="225"/>
                  </a:lnTo>
                  <a:lnTo>
                    <a:pt x="516" y="225"/>
                  </a:lnTo>
                  <a:lnTo>
                    <a:pt x="516" y="223"/>
                  </a:lnTo>
                  <a:lnTo>
                    <a:pt x="516" y="223"/>
                  </a:lnTo>
                  <a:lnTo>
                    <a:pt x="516" y="223"/>
                  </a:lnTo>
                  <a:lnTo>
                    <a:pt x="516" y="223"/>
                  </a:lnTo>
                  <a:lnTo>
                    <a:pt x="514" y="223"/>
                  </a:lnTo>
                  <a:lnTo>
                    <a:pt x="514" y="223"/>
                  </a:lnTo>
                  <a:lnTo>
                    <a:pt x="514" y="223"/>
                  </a:lnTo>
                  <a:lnTo>
                    <a:pt x="512" y="223"/>
                  </a:lnTo>
                  <a:lnTo>
                    <a:pt x="512" y="223"/>
                  </a:lnTo>
                  <a:lnTo>
                    <a:pt x="512" y="223"/>
                  </a:lnTo>
                  <a:lnTo>
                    <a:pt x="512" y="223"/>
                  </a:lnTo>
                  <a:lnTo>
                    <a:pt x="512" y="223"/>
                  </a:lnTo>
                  <a:lnTo>
                    <a:pt x="512" y="223"/>
                  </a:lnTo>
                  <a:lnTo>
                    <a:pt x="510" y="225"/>
                  </a:lnTo>
                  <a:lnTo>
                    <a:pt x="510" y="223"/>
                  </a:lnTo>
                  <a:lnTo>
                    <a:pt x="510" y="223"/>
                  </a:lnTo>
                  <a:lnTo>
                    <a:pt x="510" y="223"/>
                  </a:lnTo>
                  <a:lnTo>
                    <a:pt x="510" y="223"/>
                  </a:lnTo>
                  <a:lnTo>
                    <a:pt x="510" y="225"/>
                  </a:lnTo>
                  <a:lnTo>
                    <a:pt x="507" y="225"/>
                  </a:lnTo>
                  <a:lnTo>
                    <a:pt x="507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5" y="225"/>
                  </a:lnTo>
                  <a:lnTo>
                    <a:pt x="503" y="223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3" y="221"/>
                  </a:lnTo>
                  <a:lnTo>
                    <a:pt x="503" y="221"/>
                  </a:lnTo>
                  <a:lnTo>
                    <a:pt x="503" y="221"/>
                  </a:lnTo>
                  <a:lnTo>
                    <a:pt x="503" y="221"/>
                  </a:lnTo>
                  <a:lnTo>
                    <a:pt x="503" y="218"/>
                  </a:lnTo>
                  <a:lnTo>
                    <a:pt x="503" y="218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3" y="216"/>
                  </a:lnTo>
                  <a:lnTo>
                    <a:pt x="501" y="214"/>
                  </a:lnTo>
                  <a:lnTo>
                    <a:pt x="501" y="214"/>
                  </a:lnTo>
                  <a:lnTo>
                    <a:pt x="501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503" y="214"/>
                  </a:lnTo>
                  <a:lnTo>
                    <a:pt x="503" y="212"/>
                  </a:lnTo>
                  <a:lnTo>
                    <a:pt x="503" y="212"/>
                  </a:lnTo>
                  <a:lnTo>
                    <a:pt x="505" y="212"/>
                  </a:lnTo>
                  <a:lnTo>
                    <a:pt x="505" y="209"/>
                  </a:lnTo>
                  <a:lnTo>
                    <a:pt x="505" y="209"/>
                  </a:lnTo>
                  <a:lnTo>
                    <a:pt x="505" y="209"/>
                  </a:lnTo>
                  <a:lnTo>
                    <a:pt x="505" y="209"/>
                  </a:lnTo>
                  <a:lnTo>
                    <a:pt x="505" y="209"/>
                  </a:lnTo>
                  <a:lnTo>
                    <a:pt x="503" y="209"/>
                  </a:lnTo>
                  <a:lnTo>
                    <a:pt x="503" y="209"/>
                  </a:lnTo>
                  <a:lnTo>
                    <a:pt x="503" y="209"/>
                  </a:lnTo>
                  <a:lnTo>
                    <a:pt x="503" y="209"/>
                  </a:lnTo>
                  <a:lnTo>
                    <a:pt x="503" y="209"/>
                  </a:lnTo>
                  <a:lnTo>
                    <a:pt x="501" y="207"/>
                  </a:lnTo>
                  <a:lnTo>
                    <a:pt x="501" y="207"/>
                  </a:lnTo>
                  <a:lnTo>
                    <a:pt x="503" y="207"/>
                  </a:lnTo>
                  <a:lnTo>
                    <a:pt x="503" y="207"/>
                  </a:lnTo>
                  <a:lnTo>
                    <a:pt x="503" y="207"/>
                  </a:lnTo>
                  <a:lnTo>
                    <a:pt x="503" y="205"/>
                  </a:lnTo>
                  <a:lnTo>
                    <a:pt x="503" y="205"/>
                  </a:lnTo>
                  <a:lnTo>
                    <a:pt x="503" y="205"/>
                  </a:lnTo>
                  <a:lnTo>
                    <a:pt x="503" y="203"/>
                  </a:lnTo>
                  <a:lnTo>
                    <a:pt x="503" y="203"/>
                  </a:lnTo>
                  <a:lnTo>
                    <a:pt x="503" y="203"/>
                  </a:lnTo>
                  <a:lnTo>
                    <a:pt x="503" y="205"/>
                  </a:lnTo>
                  <a:lnTo>
                    <a:pt x="505" y="205"/>
                  </a:lnTo>
                  <a:lnTo>
                    <a:pt x="505" y="205"/>
                  </a:lnTo>
                  <a:lnTo>
                    <a:pt x="505" y="205"/>
                  </a:lnTo>
                  <a:lnTo>
                    <a:pt x="505" y="203"/>
                  </a:lnTo>
                  <a:lnTo>
                    <a:pt x="507" y="203"/>
                  </a:lnTo>
                  <a:lnTo>
                    <a:pt x="507" y="203"/>
                  </a:lnTo>
                  <a:lnTo>
                    <a:pt x="507" y="203"/>
                  </a:lnTo>
                  <a:lnTo>
                    <a:pt x="507" y="203"/>
                  </a:lnTo>
                  <a:lnTo>
                    <a:pt x="507" y="200"/>
                  </a:lnTo>
                  <a:lnTo>
                    <a:pt x="507" y="200"/>
                  </a:lnTo>
                  <a:lnTo>
                    <a:pt x="507" y="200"/>
                  </a:lnTo>
                  <a:lnTo>
                    <a:pt x="510" y="200"/>
                  </a:lnTo>
                  <a:lnTo>
                    <a:pt x="510" y="200"/>
                  </a:lnTo>
                  <a:lnTo>
                    <a:pt x="510" y="198"/>
                  </a:lnTo>
                  <a:lnTo>
                    <a:pt x="510" y="198"/>
                  </a:lnTo>
                  <a:lnTo>
                    <a:pt x="510" y="198"/>
                  </a:lnTo>
                  <a:lnTo>
                    <a:pt x="510" y="194"/>
                  </a:lnTo>
                  <a:lnTo>
                    <a:pt x="510" y="194"/>
                  </a:lnTo>
                  <a:lnTo>
                    <a:pt x="510" y="194"/>
                  </a:lnTo>
                  <a:lnTo>
                    <a:pt x="510" y="194"/>
                  </a:lnTo>
                  <a:lnTo>
                    <a:pt x="510" y="194"/>
                  </a:lnTo>
                  <a:lnTo>
                    <a:pt x="512" y="191"/>
                  </a:lnTo>
                  <a:lnTo>
                    <a:pt x="512" y="191"/>
                  </a:lnTo>
                  <a:lnTo>
                    <a:pt x="512" y="189"/>
                  </a:lnTo>
                  <a:lnTo>
                    <a:pt x="512" y="189"/>
                  </a:lnTo>
                  <a:lnTo>
                    <a:pt x="512" y="187"/>
                  </a:lnTo>
                  <a:lnTo>
                    <a:pt x="514" y="187"/>
                  </a:lnTo>
                  <a:lnTo>
                    <a:pt x="514" y="187"/>
                  </a:lnTo>
                  <a:lnTo>
                    <a:pt x="514" y="187"/>
                  </a:lnTo>
                  <a:lnTo>
                    <a:pt x="514" y="187"/>
                  </a:lnTo>
                  <a:lnTo>
                    <a:pt x="514" y="187"/>
                  </a:lnTo>
                  <a:lnTo>
                    <a:pt x="514" y="187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5"/>
                  </a:lnTo>
                  <a:lnTo>
                    <a:pt x="514" y="182"/>
                  </a:lnTo>
                  <a:lnTo>
                    <a:pt x="514" y="182"/>
                  </a:lnTo>
                  <a:lnTo>
                    <a:pt x="514" y="180"/>
                  </a:lnTo>
                  <a:lnTo>
                    <a:pt x="514" y="180"/>
                  </a:lnTo>
                  <a:lnTo>
                    <a:pt x="514" y="178"/>
                  </a:lnTo>
                  <a:lnTo>
                    <a:pt x="514" y="178"/>
                  </a:lnTo>
                  <a:lnTo>
                    <a:pt x="514" y="178"/>
                  </a:lnTo>
                  <a:lnTo>
                    <a:pt x="514" y="176"/>
                  </a:lnTo>
                  <a:lnTo>
                    <a:pt x="514" y="176"/>
                  </a:lnTo>
                  <a:lnTo>
                    <a:pt x="514" y="174"/>
                  </a:lnTo>
                  <a:lnTo>
                    <a:pt x="514" y="174"/>
                  </a:lnTo>
                  <a:lnTo>
                    <a:pt x="514" y="174"/>
                  </a:lnTo>
                  <a:lnTo>
                    <a:pt x="514" y="174"/>
                  </a:lnTo>
                  <a:lnTo>
                    <a:pt x="514" y="174"/>
                  </a:lnTo>
                  <a:lnTo>
                    <a:pt x="514" y="174"/>
                  </a:lnTo>
                  <a:lnTo>
                    <a:pt x="514" y="174"/>
                  </a:lnTo>
                  <a:lnTo>
                    <a:pt x="514" y="171"/>
                  </a:lnTo>
                  <a:lnTo>
                    <a:pt x="514" y="171"/>
                  </a:lnTo>
                  <a:lnTo>
                    <a:pt x="514" y="169"/>
                  </a:lnTo>
                  <a:lnTo>
                    <a:pt x="514" y="169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6" y="167"/>
                  </a:lnTo>
                  <a:lnTo>
                    <a:pt x="516" y="167"/>
                  </a:lnTo>
                  <a:lnTo>
                    <a:pt x="516" y="167"/>
                  </a:lnTo>
                  <a:lnTo>
                    <a:pt x="516" y="167"/>
                  </a:lnTo>
                  <a:lnTo>
                    <a:pt x="519" y="165"/>
                  </a:lnTo>
                  <a:lnTo>
                    <a:pt x="519" y="165"/>
                  </a:lnTo>
                  <a:lnTo>
                    <a:pt x="519" y="165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3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3" y="158"/>
                  </a:lnTo>
                  <a:lnTo>
                    <a:pt x="523" y="158"/>
                  </a:lnTo>
                  <a:lnTo>
                    <a:pt x="523" y="156"/>
                  </a:lnTo>
                  <a:lnTo>
                    <a:pt x="523" y="156"/>
                  </a:lnTo>
                  <a:lnTo>
                    <a:pt x="523" y="156"/>
                  </a:lnTo>
                  <a:lnTo>
                    <a:pt x="523" y="158"/>
                  </a:lnTo>
                  <a:lnTo>
                    <a:pt x="523" y="158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2"/>
                  </a:lnTo>
                  <a:lnTo>
                    <a:pt x="525" y="162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58"/>
                  </a:lnTo>
                  <a:lnTo>
                    <a:pt x="525" y="158"/>
                  </a:lnTo>
                  <a:lnTo>
                    <a:pt x="525" y="158"/>
                  </a:lnTo>
                  <a:lnTo>
                    <a:pt x="525" y="158"/>
                  </a:lnTo>
                  <a:lnTo>
                    <a:pt x="525" y="158"/>
                  </a:lnTo>
                  <a:lnTo>
                    <a:pt x="525" y="156"/>
                  </a:lnTo>
                  <a:lnTo>
                    <a:pt x="525" y="156"/>
                  </a:lnTo>
                  <a:lnTo>
                    <a:pt x="525" y="156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5" y="147"/>
                  </a:lnTo>
                  <a:lnTo>
                    <a:pt x="525" y="147"/>
                  </a:lnTo>
                  <a:lnTo>
                    <a:pt x="525" y="147"/>
                  </a:lnTo>
                  <a:lnTo>
                    <a:pt x="525" y="147"/>
                  </a:lnTo>
                  <a:lnTo>
                    <a:pt x="525" y="144"/>
                  </a:lnTo>
                  <a:lnTo>
                    <a:pt x="525" y="144"/>
                  </a:lnTo>
                  <a:lnTo>
                    <a:pt x="525" y="144"/>
                  </a:lnTo>
                  <a:lnTo>
                    <a:pt x="523" y="144"/>
                  </a:lnTo>
                  <a:lnTo>
                    <a:pt x="523" y="144"/>
                  </a:lnTo>
                  <a:lnTo>
                    <a:pt x="523" y="144"/>
                  </a:lnTo>
                  <a:lnTo>
                    <a:pt x="523" y="144"/>
                  </a:lnTo>
                  <a:lnTo>
                    <a:pt x="521" y="142"/>
                  </a:lnTo>
                  <a:lnTo>
                    <a:pt x="521" y="142"/>
                  </a:lnTo>
                  <a:lnTo>
                    <a:pt x="521" y="142"/>
                  </a:lnTo>
                  <a:lnTo>
                    <a:pt x="521" y="140"/>
                  </a:lnTo>
                  <a:lnTo>
                    <a:pt x="521" y="142"/>
                  </a:lnTo>
                  <a:lnTo>
                    <a:pt x="521" y="142"/>
                  </a:lnTo>
                  <a:lnTo>
                    <a:pt x="521" y="142"/>
                  </a:lnTo>
                  <a:lnTo>
                    <a:pt x="521" y="142"/>
                  </a:lnTo>
                  <a:lnTo>
                    <a:pt x="521" y="140"/>
                  </a:lnTo>
                  <a:lnTo>
                    <a:pt x="521" y="140"/>
                  </a:lnTo>
                  <a:lnTo>
                    <a:pt x="523" y="140"/>
                  </a:lnTo>
                  <a:lnTo>
                    <a:pt x="523" y="140"/>
                  </a:lnTo>
                  <a:lnTo>
                    <a:pt x="523" y="142"/>
                  </a:lnTo>
                  <a:lnTo>
                    <a:pt x="523" y="142"/>
                  </a:lnTo>
                  <a:lnTo>
                    <a:pt x="523" y="142"/>
                  </a:lnTo>
                  <a:lnTo>
                    <a:pt x="523" y="142"/>
                  </a:lnTo>
                  <a:lnTo>
                    <a:pt x="525" y="142"/>
                  </a:lnTo>
                  <a:lnTo>
                    <a:pt x="525" y="144"/>
                  </a:lnTo>
                  <a:lnTo>
                    <a:pt x="525" y="144"/>
                  </a:lnTo>
                  <a:lnTo>
                    <a:pt x="525" y="142"/>
                  </a:lnTo>
                  <a:lnTo>
                    <a:pt x="525" y="142"/>
                  </a:lnTo>
                  <a:lnTo>
                    <a:pt x="525" y="142"/>
                  </a:lnTo>
                  <a:lnTo>
                    <a:pt x="525" y="140"/>
                  </a:lnTo>
                  <a:lnTo>
                    <a:pt x="528" y="140"/>
                  </a:lnTo>
                  <a:lnTo>
                    <a:pt x="525" y="138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25" y="135"/>
                  </a:lnTo>
                  <a:lnTo>
                    <a:pt x="525" y="133"/>
                  </a:lnTo>
                  <a:lnTo>
                    <a:pt x="525" y="133"/>
                  </a:lnTo>
                  <a:lnTo>
                    <a:pt x="525" y="133"/>
                  </a:lnTo>
                  <a:lnTo>
                    <a:pt x="525" y="133"/>
                  </a:lnTo>
                  <a:lnTo>
                    <a:pt x="525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8" y="129"/>
                  </a:lnTo>
                  <a:lnTo>
                    <a:pt x="528" y="129"/>
                  </a:lnTo>
                  <a:lnTo>
                    <a:pt x="528" y="129"/>
                  </a:lnTo>
                  <a:lnTo>
                    <a:pt x="528" y="129"/>
                  </a:lnTo>
                  <a:lnTo>
                    <a:pt x="530" y="129"/>
                  </a:lnTo>
                  <a:lnTo>
                    <a:pt x="530" y="129"/>
                  </a:lnTo>
                  <a:lnTo>
                    <a:pt x="530" y="129"/>
                  </a:lnTo>
                  <a:lnTo>
                    <a:pt x="530" y="126"/>
                  </a:lnTo>
                  <a:lnTo>
                    <a:pt x="530" y="126"/>
                  </a:lnTo>
                  <a:lnTo>
                    <a:pt x="530" y="126"/>
                  </a:lnTo>
                  <a:lnTo>
                    <a:pt x="530" y="124"/>
                  </a:lnTo>
                  <a:lnTo>
                    <a:pt x="530" y="124"/>
                  </a:lnTo>
                  <a:lnTo>
                    <a:pt x="530" y="124"/>
                  </a:lnTo>
                  <a:lnTo>
                    <a:pt x="530" y="124"/>
                  </a:lnTo>
                  <a:lnTo>
                    <a:pt x="530" y="124"/>
                  </a:lnTo>
                  <a:lnTo>
                    <a:pt x="530" y="124"/>
                  </a:lnTo>
                  <a:lnTo>
                    <a:pt x="532" y="124"/>
                  </a:lnTo>
                  <a:lnTo>
                    <a:pt x="532" y="124"/>
                  </a:lnTo>
                  <a:lnTo>
                    <a:pt x="532" y="122"/>
                  </a:lnTo>
                  <a:lnTo>
                    <a:pt x="532" y="122"/>
                  </a:lnTo>
                  <a:lnTo>
                    <a:pt x="534" y="122"/>
                  </a:lnTo>
                  <a:lnTo>
                    <a:pt x="534" y="122"/>
                  </a:lnTo>
                  <a:lnTo>
                    <a:pt x="534" y="120"/>
                  </a:lnTo>
                  <a:lnTo>
                    <a:pt x="534" y="117"/>
                  </a:lnTo>
                  <a:lnTo>
                    <a:pt x="534" y="117"/>
                  </a:lnTo>
                  <a:lnTo>
                    <a:pt x="534" y="117"/>
                  </a:lnTo>
                  <a:lnTo>
                    <a:pt x="537" y="117"/>
                  </a:lnTo>
                  <a:lnTo>
                    <a:pt x="537" y="117"/>
                  </a:lnTo>
                  <a:lnTo>
                    <a:pt x="537" y="120"/>
                  </a:lnTo>
                  <a:lnTo>
                    <a:pt x="537" y="120"/>
                  </a:lnTo>
                  <a:lnTo>
                    <a:pt x="537" y="120"/>
                  </a:lnTo>
                  <a:lnTo>
                    <a:pt x="537" y="120"/>
                  </a:lnTo>
                  <a:lnTo>
                    <a:pt x="537" y="120"/>
                  </a:lnTo>
                  <a:lnTo>
                    <a:pt x="537" y="122"/>
                  </a:lnTo>
                  <a:lnTo>
                    <a:pt x="537" y="122"/>
                  </a:lnTo>
                  <a:lnTo>
                    <a:pt x="537" y="122"/>
                  </a:lnTo>
                  <a:lnTo>
                    <a:pt x="537" y="122"/>
                  </a:lnTo>
                  <a:lnTo>
                    <a:pt x="539" y="122"/>
                  </a:lnTo>
                  <a:lnTo>
                    <a:pt x="539" y="122"/>
                  </a:lnTo>
                  <a:lnTo>
                    <a:pt x="539" y="122"/>
                  </a:lnTo>
                  <a:lnTo>
                    <a:pt x="539" y="122"/>
                  </a:lnTo>
                  <a:lnTo>
                    <a:pt x="539" y="122"/>
                  </a:lnTo>
                  <a:lnTo>
                    <a:pt x="539" y="122"/>
                  </a:lnTo>
                  <a:lnTo>
                    <a:pt x="539" y="122"/>
                  </a:lnTo>
                  <a:lnTo>
                    <a:pt x="541" y="122"/>
                  </a:lnTo>
                  <a:lnTo>
                    <a:pt x="541" y="122"/>
                  </a:lnTo>
                  <a:lnTo>
                    <a:pt x="541" y="122"/>
                  </a:lnTo>
                  <a:lnTo>
                    <a:pt x="541" y="122"/>
                  </a:lnTo>
                  <a:lnTo>
                    <a:pt x="541" y="122"/>
                  </a:lnTo>
                  <a:lnTo>
                    <a:pt x="541" y="120"/>
                  </a:lnTo>
                  <a:lnTo>
                    <a:pt x="541" y="120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3" y="117"/>
                  </a:lnTo>
                  <a:lnTo>
                    <a:pt x="546" y="117"/>
                  </a:lnTo>
                  <a:lnTo>
                    <a:pt x="546" y="117"/>
                  </a:lnTo>
                  <a:lnTo>
                    <a:pt x="546" y="117"/>
                  </a:lnTo>
                  <a:lnTo>
                    <a:pt x="546" y="117"/>
                  </a:lnTo>
                  <a:lnTo>
                    <a:pt x="546" y="115"/>
                  </a:lnTo>
                  <a:lnTo>
                    <a:pt x="546" y="115"/>
                  </a:lnTo>
                  <a:lnTo>
                    <a:pt x="546" y="115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3"/>
                  </a:lnTo>
                  <a:lnTo>
                    <a:pt x="546" y="111"/>
                  </a:lnTo>
                  <a:lnTo>
                    <a:pt x="546" y="111"/>
                  </a:lnTo>
                  <a:lnTo>
                    <a:pt x="546" y="111"/>
                  </a:lnTo>
                  <a:lnTo>
                    <a:pt x="546" y="111"/>
                  </a:lnTo>
                  <a:lnTo>
                    <a:pt x="546" y="108"/>
                  </a:lnTo>
                  <a:lnTo>
                    <a:pt x="548" y="111"/>
                  </a:lnTo>
                  <a:lnTo>
                    <a:pt x="548" y="111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48" y="111"/>
                  </a:lnTo>
                  <a:lnTo>
                    <a:pt x="548" y="111"/>
                  </a:lnTo>
                  <a:lnTo>
                    <a:pt x="548" y="111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50" y="108"/>
                  </a:lnTo>
                  <a:lnTo>
                    <a:pt x="550" y="108"/>
                  </a:lnTo>
                  <a:lnTo>
                    <a:pt x="552" y="108"/>
                  </a:lnTo>
                  <a:lnTo>
                    <a:pt x="552" y="111"/>
                  </a:lnTo>
                  <a:lnTo>
                    <a:pt x="552" y="111"/>
                  </a:lnTo>
                  <a:lnTo>
                    <a:pt x="555" y="111"/>
                  </a:lnTo>
                  <a:lnTo>
                    <a:pt x="555" y="113"/>
                  </a:lnTo>
                  <a:lnTo>
                    <a:pt x="557" y="111"/>
                  </a:lnTo>
                  <a:lnTo>
                    <a:pt x="557" y="111"/>
                  </a:lnTo>
                  <a:lnTo>
                    <a:pt x="557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61" y="115"/>
                  </a:lnTo>
                  <a:lnTo>
                    <a:pt x="561" y="115"/>
                  </a:lnTo>
                  <a:lnTo>
                    <a:pt x="561" y="115"/>
                  </a:lnTo>
                  <a:lnTo>
                    <a:pt x="563" y="115"/>
                  </a:lnTo>
                  <a:lnTo>
                    <a:pt x="570" y="115"/>
                  </a:lnTo>
                  <a:lnTo>
                    <a:pt x="570" y="115"/>
                  </a:lnTo>
                  <a:lnTo>
                    <a:pt x="570" y="115"/>
                  </a:lnTo>
                  <a:lnTo>
                    <a:pt x="570" y="117"/>
                  </a:lnTo>
                  <a:lnTo>
                    <a:pt x="570" y="117"/>
                  </a:lnTo>
                  <a:lnTo>
                    <a:pt x="570" y="117"/>
                  </a:lnTo>
                  <a:lnTo>
                    <a:pt x="570" y="117"/>
                  </a:lnTo>
                  <a:lnTo>
                    <a:pt x="572" y="115"/>
                  </a:lnTo>
                  <a:lnTo>
                    <a:pt x="572" y="115"/>
                  </a:lnTo>
                  <a:lnTo>
                    <a:pt x="572" y="115"/>
                  </a:lnTo>
                  <a:lnTo>
                    <a:pt x="575" y="117"/>
                  </a:lnTo>
                  <a:lnTo>
                    <a:pt x="575" y="117"/>
                  </a:lnTo>
                  <a:lnTo>
                    <a:pt x="575" y="117"/>
                  </a:lnTo>
                  <a:lnTo>
                    <a:pt x="575" y="117"/>
                  </a:lnTo>
                  <a:lnTo>
                    <a:pt x="575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7" y="117"/>
                  </a:lnTo>
                  <a:lnTo>
                    <a:pt x="579" y="117"/>
                  </a:lnTo>
                  <a:lnTo>
                    <a:pt x="579" y="117"/>
                  </a:lnTo>
                  <a:lnTo>
                    <a:pt x="579" y="117"/>
                  </a:lnTo>
                  <a:lnTo>
                    <a:pt x="579" y="117"/>
                  </a:lnTo>
                  <a:lnTo>
                    <a:pt x="581" y="117"/>
                  </a:lnTo>
                  <a:lnTo>
                    <a:pt x="581" y="117"/>
                  </a:lnTo>
                  <a:lnTo>
                    <a:pt x="584" y="117"/>
                  </a:lnTo>
                  <a:lnTo>
                    <a:pt x="584" y="117"/>
                  </a:lnTo>
                  <a:lnTo>
                    <a:pt x="584" y="117"/>
                  </a:lnTo>
                  <a:lnTo>
                    <a:pt x="584" y="120"/>
                  </a:lnTo>
                  <a:lnTo>
                    <a:pt x="584" y="120"/>
                  </a:lnTo>
                  <a:lnTo>
                    <a:pt x="586" y="120"/>
                  </a:lnTo>
                  <a:lnTo>
                    <a:pt x="586" y="120"/>
                  </a:lnTo>
                  <a:lnTo>
                    <a:pt x="586" y="120"/>
                  </a:lnTo>
                  <a:lnTo>
                    <a:pt x="586" y="120"/>
                  </a:lnTo>
                  <a:lnTo>
                    <a:pt x="586" y="120"/>
                  </a:lnTo>
                  <a:lnTo>
                    <a:pt x="586" y="120"/>
                  </a:lnTo>
                  <a:lnTo>
                    <a:pt x="586" y="120"/>
                  </a:lnTo>
                  <a:lnTo>
                    <a:pt x="588" y="120"/>
                  </a:lnTo>
                  <a:lnTo>
                    <a:pt x="588" y="120"/>
                  </a:lnTo>
                  <a:lnTo>
                    <a:pt x="588" y="122"/>
                  </a:lnTo>
                  <a:lnTo>
                    <a:pt x="588" y="122"/>
                  </a:lnTo>
                  <a:lnTo>
                    <a:pt x="588" y="122"/>
                  </a:lnTo>
                  <a:lnTo>
                    <a:pt x="590" y="122"/>
                  </a:lnTo>
                  <a:lnTo>
                    <a:pt x="590" y="122"/>
                  </a:lnTo>
                  <a:lnTo>
                    <a:pt x="590" y="120"/>
                  </a:lnTo>
                  <a:lnTo>
                    <a:pt x="590" y="120"/>
                  </a:lnTo>
                  <a:lnTo>
                    <a:pt x="590" y="120"/>
                  </a:lnTo>
                  <a:lnTo>
                    <a:pt x="590" y="120"/>
                  </a:lnTo>
                  <a:lnTo>
                    <a:pt x="590" y="120"/>
                  </a:lnTo>
                  <a:lnTo>
                    <a:pt x="590" y="120"/>
                  </a:lnTo>
                  <a:lnTo>
                    <a:pt x="590" y="117"/>
                  </a:lnTo>
                  <a:lnTo>
                    <a:pt x="590" y="117"/>
                  </a:lnTo>
                  <a:lnTo>
                    <a:pt x="590" y="117"/>
                  </a:lnTo>
                  <a:lnTo>
                    <a:pt x="593" y="117"/>
                  </a:lnTo>
                  <a:lnTo>
                    <a:pt x="593" y="120"/>
                  </a:lnTo>
                  <a:lnTo>
                    <a:pt x="593" y="120"/>
                  </a:lnTo>
                  <a:lnTo>
                    <a:pt x="595" y="120"/>
                  </a:lnTo>
                  <a:lnTo>
                    <a:pt x="595" y="120"/>
                  </a:lnTo>
                  <a:lnTo>
                    <a:pt x="595" y="120"/>
                  </a:lnTo>
                  <a:lnTo>
                    <a:pt x="595" y="120"/>
                  </a:lnTo>
                  <a:lnTo>
                    <a:pt x="595" y="120"/>
                  </a:lnTo>
                  <a:lnTo>
                    <a:pt x="595" y="117"/>
                  </a:lnTo>
                  <a:lnTo>
                    <a:pt x="595" y="117"/>
                  </a:lnTo>
                  <a:lnTo>
                    <a:pt x="597" y="117"/>
                  </a:lnTo>
                  <a:lnTo>
                    <a:pt x="597" y="117"/>
                  </a:lnTo>
                  <a:lnTo>
                    <a:pt x="597" y="117"/>
                  </a:lnTo>
                  <a:lnTo>
                    <a:pt x="597" y="117"/>
                  </a:lnTo>
                  <a:lnTo>
                    <a:pt x="597" y="120"/>
                  </a:lnTo>
                  <a:lnTo>
                    <a:pt x="597" y="120"/>
                  </a:lnTo>
                  <a:lnTo>
                    <a:pt x="597" y="120"/>
                  </a:lnTo>
                  <a:lnTo>
                    <a:pt x="597" y="120"/>
                  </a:lnTo>
                  <a:lnTo>
                    <a:pt x="597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599" y="120"/>
                  </a:lnTo>
                  <a:lnTo>
                    <a:pt x="602" y="120"/>
                  </a:lnTo>
                  <a:lnTo>
                    <a:pt x="602" y="120"/>
                  </a:lnTo>
                  <a:lnTo>
                    <a:pt x="604" y="120"/>
                  </a:lnTo>
                  <a:lnTo>
                    <a:pt x="604" y="120"/>
                  </a:lnTo>
                  <a:lnTo>
                    <a:pt x="604" y="120"/>
                  </a:lnTo>
                  <a:lnTo>
                    <a:pt x="604" y="120"/>
                  </a:lnTo>
                  <a:lnTo>
                    <a:pt x="606" y="120"/>
                  </a:lnTo>
                  <a:lnTo>
                    <a:pt x="606" y="120"/>
                  </a:lnTo>
                  <a:lnTo>
                    <a:pt x="606" y="122"/>
                  </a:lnTo>
                  <a:lnTo>
                    <a:pt x="608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11" y="122"/>
                  </a:lnTo>
                  <a:lnTo>
                    <a:pt x="611" y="120"/>
                  </a:lnTo>
                  <a:lnTo>
                    <a:pt x="611" y="120"/>
                  </a:lnTo>
                  <a:lnTo>
                    <a:pt x="611" y="120"/>
                  </a:lnTo>
                  <a:lnTo>
                    <a:pt x="613" y="120"/>
                  </a:lnTo>
                  <a:lnTo>
                    <a:pt x="613" y="120"/>
                  </a:lnTo>
                  <a:lnTo>
                    <a:pt x="615" y="120"/>
                  </a:lnTo>
                  <a:lnTo>
                    <a:pt x="615" y="120"/>
                  </a:lnTo>
                  <a:lnTo>
                    <a:pt x="615" y="117"/>
                  </a:lnTo>
                  <a:lnTo>
                    <a:pt x="617" y="117"/>
                  </a:lnTo>
                  <a:lnTo>
                    <a:pt x="617" y="117"/>
                  </a:lnTo>
                  <a:lnTo>
                    <a:pt x="620" y="117"/>
                  </a:lnTo>
                  <a:lnTo>
                    <a:pt x="620" y="117"/>
                  </a:lnTo>
                  <a:lnTo>
                    <a:pt x="620" y="115"/>
                  </a:lnTo>
                  <a:lnTo>
                    <a:pt x="620" y="113"/>
                  </a:lnTo>
                  <a:lnTo>
                    <a:pt x="620" y="113"/>
                  </a:lnTo>
                  <a:lnTo>
                    <a:pt x="620" y="113"/>
                  </a:lnTo>
                  <a:lnTo>
                    <a:pt x="622" y="113"/>
                  </a:lnTo>
                  <a:lnTo>
                    <a:pt x="622" y="113"/>
                  </a:lnTo>
                  <a:lnTo>
                    <a:pt x="622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6" y="113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08"/>
                  </a:lnTo>
                  <a:lnTo>
                    <a:pt x="624" y="108"/>
                  </a:lnTo>
                  <a:lnTo>
                    <a:pt x="626" y="108"/>
                  </a:lnTo>
                  <a:lnTo>
                    <a:pt x="626" y="108"/>
                  </a:lnTo>
                  <a:lnTo>
                    <a:pt x="626" y="108"/>
                  </a:lnTo>
                  <a:lnTo>
                    <a:pt x="626" y="108"/>
                  </a:lnTo>
                  <a:lnTo>
                    <a:pt x="629" y="108"/>
                  </a:lnTo>
                  <a:lnTo>
                    <a:pt x="629" y="108"/>
                  </a:lnTo>
                  <a:lnTo>
                    <a:pt x="629" y="106"/>
                  </a:lnTo>
                  <a:lnTo>
                    <a:pt x="629" y="106"/>
                  </a:lnTo>
                  <a:lnTo>
                    <a:pt x="629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4"/>
                  </a:lnTo>
                  <a:lnTo>
                    <a:pt x="631" y="104"/>
                  </a:lnTo>
                  <a:lnTo>
                    <a:pt x="631" y="104"/>
                  </a:lnTo>
                  <a:lnTo>
                    <a:pt x="631" y="104"/>
                  </a:lnTo>
                  <a:lnTo>
                    <a:pt x="633" y="102"/>
                  </a:lnTo>
                  <a:lnTo>
                    <a:pt x="633" y="102"/>
                  </a:lnTo>
                  <a:lnTo>
                    <a:pt x="633" y="102"/>
                  </a:lnTo>
                  <a:lnTo>
                    <a:pt x="633" y="102"/>
                  </a:lnTo>
                  <a:lnTo>
                    <a:pt x="633" y="102"/>
                  </a:lnTo>
                  <a:lnTo>
                    <a:pt x="633" y="99"/>
                  </a:lnTo>
                  <a:lnTo>
                    <a:pt x="633" y="99"/>
                  </a:lnTo>
                  <a:lnTo>
                    <a:pt x="633" y="99"/>
                  </a:lnTo>
                  <a:lnTo>
                    <a:pt x="633" y="99"/>
                  </a:lnTo>
                  <a:lnTo>
                    <a:pt x="633" y="99"/>
                  </a:lnTo>
                  <a:lnTo>
                    <a:pt x="633" y="99"/>
                  </a:lnTo>
                  <a:lnTo>
                    <a:pt x="633" y="102"/>
                  </a:lnTo>
                  <a:lnTo>
                    <a:pt x="635" y="102"/>
                  </a:lnTo>
                  <a:lnTo>
                    <a:pt x="635" y="102"/>
                  </a:lnTo>
                  <a:close/>
                  <a:moveTo>
                    <a:pt x="638" y="99"/>
                  </a:moveTo>
                  <a:lnTo>
                    <a:pt x="635" y="99"/>
                  </a:lnTo>
                  <a:lnTo>
                    <a:pt x="635" y="99"/>
                  </a:lnTo>
                  <a:lnTo>
                    <a:pt x="635" y="99"/>
                  </a:lnTo>
                  <a:lnTo>
                    <a:pt x="635" y="99"/>
                  </a:lnTo>
                  <a:lnTo>
                    <a:pt x="635" y="99"/>
                  </a:lnTo>
                  <a:lnTo>
                    <a:pt x="635" y="97"/>
                  </a:lnTo>
                  <a:lnTo>
                    <a:pt x="635" y="97"/>
                  </a:lnTo>
                  <a:lnTo>
                    <a:pt x="635" y="97"/>
                  </a:lnTo>
                  <a:lnTo>
                    <a:pt x="635" y="97"/>
                  </a:lnTo>
                  <a:lnTo>
                    <a:pt x="635" y="97"/>
                  </a:lnTo>
                  <a:lnTo>
                    <a:pt x="638" y="97"/>
                  </a:lnTo>
                  <a:lnTo>
                    <a:pt x="638" y="97"/>
                  </a:lnTo>
                  <a:lnTo>
                    <a:pt x="638" y="97"/>
                  </a:lnTo>
                  <a:lnTo>
                    <a:pt x="638" y="99"/>
                  </a:lnTo>
                  <a:lnTo>
                    <a:pt x="638" y="99"/>
                  </a:lnTo>
                  <a:lnTo>
                    <a:pt x="638" y="99"/>
                  </a:lnTo>
                  <a:lnTo>
                    <a:pt x="638" y="99"/>
                  </a:lnTo>
                  <a:lnTo>
                    <a:pt x="638" y="99"/>
                  </a:lnTo>
                  <a:close/>
                  <a:moveTo>
                    <a:pt x="49" y="90"/>
                  </a:move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9" y="90"/>
                  </a:lnTo>
                  <a:close/>
                  <a:moveTo>
                    <a:pt x="143" y="93"/>
                  </a:moveTo>
                  <a:lnTo>
                    <a:pt x="146" y="93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1" y="99"/>
                  </a:lnTo>
                  <a:lnTo>
                    <a:pt x="141" y="99"/>
                  </a:lnTo>
                  <a:lnTo>
                    <a:pt x="141" y="99"/>
                  </a:lnTo>
                  <a:lnTo>
                    <a:pt x="139" y="99"/>
                  </a:lnTo>
                  <a:lnTo>
                    <a:pt x="139" y="99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3"/>
                  </a:lnTo>
                  <a:lnTo>
                    <a:pt x="139" y="93"/>
                  </a:lnTo>
                  <a:lnTo>
                    <a:pt x="139" y="93"/>
                  </a:lnTo>
                  <a:lnTo>
                    <a:pt x="139" y="93"/>
                  </a:lnTo>
                  <a:lnTo>
                    <a:pt x="139" y="93"/>
                  </a:lnTo>
                  <a:lnTo>
                    <a:pt x="141" y="93"/>
                  </a:lnTo>
                  <a:lnTo>
                    <a:pt x="141" y="93"/>
                  </a:lnTo>
                  <a:lnTo>
                    <a:pt x="141" y="93"/>
                  </a:lnTo>
                  <a:lnTo>
                    <a:pt x="141" y="90"/>
                  </a:lnTo>
                  <a:lnTo>
                    <a:pt x="143" y="90"/>
                  </a:lnTo>
                  <a:lnTo>
                    <a:pt x="143" y="90"/>
                  </a:lnTo>
                  <a:lnTo>
                    <a:pt x="143" y="93"/>
                  </a:lnTo>
                  <a:lnTo>
                    <a:pt x="143" y="93"/>
                  </a:lnTo>
                  <a:close/>
                  <a:moveTo>
                    <a:pt x="642" y="90"/>
                  </a:move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3"/>
                  </a:lnTo>
                  <a:lnTo>
                    <a:pt x="640" y="93"/>
                  </a:lnTo>
                  <a:lnTo>
                    <a:pt x="640" y="93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0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lnTo>
                    <a:pt x="642" y="90"/>
                  </a:lnTo>
                  <a:close/>
                  <a:moveTo>
                    <a:pt x="716" y="135"/>
                  </a:moveTo>
                  <a:lnTo>
                    <a:pt x="714" y="135"/>
                  </a:lnTo>
                  <a:lnTo>
                    <a:pt x="714" y="135"/>
                  </a:lnTo>
                  <a:lnTo>
                    <a:pt x="714" y="135"/>
                  </a:lnTo>
                  <a:lnTo>
                    <a:pt x="712" y="133"/>
                  </a:lnTo>
                  <a:lnTo>
                    <a:pt x="712" y="135"/>
                  </a:lnTo>
                  <a:lnTo>
                    <a:pt x="712" y="133"/>
                  </a:lnTo>
                  <a:lnTo>
                    <a:pt x="710" y="133"/>
                  </a:lnTo>
                  <a:lnTo>
                    <a:pt x="710" y="133"/>
                  </a:lnTo>
                  <a:lnTo>
                    <a:pt x="710" y="133"/>
                  </a:lnTo>
                  <a:lnTo>
                    <a:pt x="707" y="133"/>
                  </a:lnTo>
                  <a:lnTo>
                    <a:pt x="707" y="133"/>
                  </a:lnTo>
                  <a:lnTo>
                    <a:pt x="707" y="131"/>
                  </a:lnTo>
                  <a:lnTo>
                    <a:pt x="707" y="131"/>
                  </a:lnTo>
                  <a:lnTo>
                    <a:pt x="707" y="131"/>
                  </a:lnTo>
                  <a:lnTo>
                    <a:pt x="705" y="131"/>
                  </a:lnTo>
                  <a:lnTo>
                    <a:pt x="705" y="131"/>
                  </a:lnTo>
                  <a:lnTo>
                    <a:pt x="705" y="131"/>
                  </a:lnTo>
                  <a:lnTo>
                    <a:pt x="705" y="131"/>
                  </a:lnTo>
                  <a:lnTo>
                    <a:pt x="703" y="131"/>
                  </a:lnTo>
                  <a:lnTo>
                    <a:pt x="703" y="131"/>
                  </a:lnTo>
                  <a:lnTo>
                    <a:pt x="703" y="131"/>
                  </a:lnTo>
                  <a:lnTo>
                    <a:pt x="701" y="131"/>
                  </a:lnTo>
                  <a:lnTo>
                    <a:pt x="701" y="131"/>
                  </a:lnTo>
                  <a:lnTo>
                    <a:pt x="701" y="131"/>
                  </a:lnTo>
                  <a:lnTo>
                    <a:pt x="701" y="131"/>
                  </a:lnTo>
                  <a:lnTo>
                    <a:pt x="698" y="131"/>
                  </a:lnTo>
                  <a:lnTo>
                    <a:pt x="698" y="131"/>
                  </a:lnTo>
                  <a:lnTo>
                    <a:pt x="698" y="131"/>
                  </a:lnTo>
                  <a:lnTo>
                    <a:pt x="696" y="131"/>
                  </a:lnTo>
                  <a:lnTo>
                    <a:pt x="696" y="129"/>
                  </a:lnTo>
                  <a:lnTo>
                    <a:pt x="696" y="131"/>
                  </a:lnTo>
                  <a:lnTo>
                    <a:pt x="696" y="131"/>
                  </a:lnTo>
                  <a:lnTo>
                    <a:pt x="696" y="131"/>
                  </a:lnTo>
                  <a:lnTo>
                    <a:pt x="694" y="133"/>
                  </a:lnTo>
                  <a:lnTo>
                    <a:pt x="694" y="133"/>
                  </a:lnTo>
                  <a:lnTo>
                    <a:pt x="694" y="133"/>
                  </a:lnTo>
                  <a:lnTo>
                    <a:pt x="694" y="133"/>
                  </a:lnTo>
                  <a:lnTo>
                    <a:pt x="696" y="135"/>
                  </a:lnTo>
                  <a:lnTo>
                    <a:pt x="696" y="135"/>
                  </a:lnTo>
                  <a:lnTo>
                    <a:pt x="696" y="138"/>
                  </a:lnTo>
                  <a:lnTo>
                    <a:pt x="696" y="138"/>
                  </a:lnTo>
                  <a:lnTo>
                    <a:pt x="696" y="138"/>
                  </a:lnTo>
                  <a:lnTo>
                    <a:pt x="694" y="138"/>
                  </a:lnTo>
                  <a:lnTo>
                    <a:pt x="694" y="140"/>
                  </a:lnTo>
                  <a:lnTo>
                    <a:pt x="694" y="140"/>
                  </a:lnTo>
                  <a:lnTo>
                    <a:pt x="694" y="140"/>
                  </a:lnTo>
                  <a:lnTo>
                    <a:pt x="694" y="142"/>
                  </a:lnTo>
                  <a:lnTo>
                    <a:pt x="694" y="142"/>
                  </a:lnTo>
                  <a:lnTo>
                    <a:pt x="696" y="144"/>
                  </a:lnTo>
                  <a:lnTo>
                    <a:pt x="696" y="144"/>
                  </a:lnTo>
                  <a:lnTo>
                    <a:pt x="696" y="147"/>
                  </a:lnTo>
                  <a:lnTo>
                    <a:pt x="696" y="147"/>
                  </a:lnTo>
                  <a:lnTo>
                    <a:pt x="696" y="147"/>
                  </a:lnTo>
                  <a:lnTo>
                    <a:pt x="696" y="149"/>
                  </a:lnTo>
                  <a:lnTo>
                    <a:pt x="698" y="149"/>
                  </a:lnTo>
                  <a:lnTo>
                    <a:pt x="698" y="149"/>
                  </a:lnTo>
                  <a:lnTo>
                    <a:pt x="698" y="149"/>
                  </a:lnTo>
                  <a:lnTo>
                    <a:pt x="698" y="151"/>
                  </a:lnTo>
                  <a:lnTo>
                    <a:pt x="698" y="151"/>
                  </a:lnTo>
                  <a:lnTo>
                    <a:pt x="698" y="153"/>
                  </a:lnTo>
                  <a:lnTo>
                    <a:pt x="698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8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60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5" y="162"/>
                  </a:lnTo>
                  <a:lnTo>
                    <a:pt x="703" y="162"/>
                  </a:lnTo>
                  <a:lnTo>
                    <a:pt x="703" y="162"/>
                  </a:lnTo>
                  <a:lnTo>
                    <a:pt x="703" y="162"/>
                  </a:lnTo>
                  <a:lnTo>
                    <a:pt x="703" y="162"/>
                  </a:lnTo>
                  <a:lnTo>
                    <a:pt x="701" y="160"/>
                  </a:lnTo>
                  <a:lnTo>
                    <a:pt x="703" y="160"/>
                  </a:lnTo>
                  <a:lnTo>
                    <a:pt x="703" y="160"/>
                  </a:lnTo>
                  <a:lnTo>
                    <a:pt x="703" y="160"/>
                  </a:lnTo>
                  <a:lnTo>
                    <a:pt x="703" y="160"/>
                  </a:lnTo>
                  <a:lnTo>
                    <a:pt x="703" y="160"/>
                  </a:lnTo>
                  <a:lnTo>
                    <a:pt x="701" y="160"/>
                  </a:lnTo>
                  <a:lnTo>
                    <a:pt x="698" y="158"/>
                  </a:lnTo>
                  <a:lnTo>
                    <a:pt x="698" y="158"/>
                  </a:lnTo>
                  <a:lnTo>
                    <a:pt x="698" y="158"/>
                  </a:lnTo>
                  <a:lnTo>
                    <a:pt x="696" y="153"/>
                  </a:lnTo>
                  <a:lnTo>
                    <a:pt x="696" y="153"/>
                  </a:lnTo>
                  <a:lnTo>
                    <a:pt x="694" y="151"/>
                  </a:lnTo>
                  <a:lnTo>
                    <a:pt x="694" y="151"/>
                  </a:lnTo>
                  <a:lnTo>
                    <a:pt x="694" y="149"/>
                  </a:lnTo>
                  <a:lnTo>
                    <a:pt x="694" y="149"/>
                  </a:lnTo>
                  <a:lnTo>
                    <a:pt x="694" y="149"/>
                  </a:lnTo>
                  <a:lnTo>
                    <a:pt x="692" y="149"/>
                  </a:lnTo>
                  <a:lnTo>
                    <a:pt x="692" y="149"/>
                  </a:lnTo>
                  <a:lnTo>
                    <a:pt x="692" y="149"/>
                  </a:lnTo>
                  <a:lnTo>
                    <a:pt x="692" y="149"/>
                  </a:lnTo>
                  <a:lnTo>
                    <a:pt x="689" y="147"/>
                  </a:lnTo>
                  <a:lnTo>
                    <a:pt x="689" y="147"/>
                  </a:lnTo>
                  <a:lnTo>
                    <a:pt x="689" y="147"/>
                  </a:lnTo>
                  <a:lnTo>
                    <a:pt x="689" y="144"/>
                  </a:lnTo>
                  <a:lnTo>
                    <a:pt x="689" y="144"/>
                  </a:lnTo>
                  <a:lnTo>
                    <a:pt x="689" y="144"/>
                  </a:lnTo>
                  <a:lnTo>
                    <a:pt x="689" y="142"/>
                  </a:lnTo>
                  <a:lnTo>
                    <a:pt x="689" y="140"/>
                  </a:lnTo>
                  <a:lnTo>
                    <a:pt x="689" y="140"/>
                  </a:lnTo>
                  <a:lnTo>
                    <a:pt x="692" y="140"/>
                  </a:lnTo>
                  <a:lnTo>
                    <a:pt x="692" y="140"/>
                  </a:lnTo>
                  <a:lnTo>
                    <a:pt x="692" y="140"/>
                  </a:lnTo>
                  <a:lnTo>
                    <a:pt x="689" y="138"/>
                  </a:lnTo>
                  <a:lnTo>
                    <a:pt x="689" y="138"/>
                  </a:lnTo>
                  <a:lnTo>
                    <a:pt x="689" y="138"/>
                  </a:lnTo>
                  <a:lnTo>
                    <a:pt x="692" y="135"/>
                  </a:lnTo>
                  <a:lnTo>
                    <a:pt x="692" y="133"/>
                  </a:lnTo>
                  <a:lnTo>
                    <a:pt x="692" y="133"/>
                  </a:lnTo>
                  <a:lnTo>
                    <a:pt x="692" y="133"/>
                  </a:lnTo>
                  <a:lnTo>
                    <a:pt x="692" y="133"/>
                  </a:lnTo>
                  <a:lnTo>
                    <a:pt x="689" y="133"/>
                  </a:lnTo>
                  <a:lnTo>
                    <a:pt x="689" y="133"/>
                  </a:lnTo>
                  <a:lnTo>
                    <a:pt x="689" y="133"/>
                  </a:lnTo>
                  <a:lnTo>
                    <a:pt x="689" y="133"/>
                  </a:lnTo>
                  <a:lnTo>
                    <a:pt x="689" y="131"/>
                  </a:lnTo>
                  <a:lnTo>
                    <a:pt x="689" y="131"/>
                  </a:lnTo>
                  <a:lnTo>
                    <a:pt x="689" y="131"/>
                  </a:lnTo>
                  <a:lnTo>
                    <a:pt x="687" y="131"/>
                  </a:lnTo>
                  <a:lnTo>
                    <a:pt x="687" y="131"/>
                  </a:lnTo>
                  <a:lnTo>
                    <a:pt x="687" y="131"/>
                  </a:lnTo>
                  <a:lnTo>
                    <a:pt x="687" y="131"/>
                  </a:lnTo>
                  <a:lnTo>
                    <a:pt x="687" y="131"/>
                  </a:lnTo>
                  <a:lnTo>
                    <a:pt x="687" y="129"/>
                  </a:lnTo>
                  <a:lnTo>
                    <a:pt x="687" y="129"/>
                  </a:lnTo>
                  <a:lnTo>
                    <a:pt x="687" y="129"/>
                  </a:lnTo>
                  <a:lnTo>
                    <a:pt x="687" y="129"/>
                  </a:lnTo>
                  <a:lnTo>
                    <a:pt x="687" y="129"/>
                  </a:lnTo>
                  <a:lnTo>
                    <a:pt x="687" y="129"/>
                  </a:lnTo>
                  <a:lnTo>
                    <a:pt x="687" y="129"/>
                  </a:lnTo>
                  <a:lnTo>
                    <a:pt x="687" y="126"/>
                  </a:lnTo>
                  <a:lnTo>
                    <a:pt x="687" y="124"/>
                  </a:lnTo>
                  <a:lnTo>
                    <a:pt x="687" y="124"/>
                  </a:lnTo>
                  <a:lnTo>
                    <a:pt x="687" y="124"/>
                  </a:lnTo>
                  <a:lnTo>
                    <a:pt x="687" y="122"/>
                  </a:lnTo>
                  <a:lnTo>
                    <a:pt x="689" y="122"/>
                  </a:lnTo>
                  <a:lnTo>
                    <a:pt x="689" y="122"/>
                  </a:lnTo>
                  <a:lnTo>
                    <a:pt x="689" y="122"/>
                  </a:lnTo>
                  <a:lnTo>
                    <a:pt x="689" y="120"/>
                  </a:lnTo>
                  <a:lnTo>
                    <a:pt x="687" y="120"/>
                  </a:lnTo>
                  <a:lnTo>
                    <a:pt x="687" y="120"/>
                  </a:lnTo>
                  <a:lnTo>
                    <a:pt x="687" y="120"/>
                  </a:lnTo>
                  <a:lnTo>
                    <a:pt x="687" y="120"/>
                  </a:lnTo>
                  <a:lnTo>
                    <a:pt x="687" y="120"/>
                  </a:lnTo>
                  <a:lnTo>
                    <a:pt x="687" y="120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7"/>
                  </a:lnTo>
                  <a:lnTo>
                    <a:pt x="687" y="115"/>
                  </a:lnTo>
                  <a:lnTo>
                    <a:pt x="687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7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5"/>
                  </a:lnTo>
                  <a:lnTo>
                    <a:pt x="685" y="113"/>
                  </a:lnTo>
                  <a:lnTo>
                    <a:pt x="685" y="113"/>
                  </a:lnTo>
                  <a:lnTo>
                    <a:pt x="685" y="113"/>
                  </a:lnTo>
                  <a:lnTo>
                    <a:pt x="685" y="113"/>
                  </a:lnTo>
                  <a:lnTo>
                    <a:pt x="685" y="113"/>
                  </a:lnTo>
                  <a:lnTo>
                    <a:pt x="685" y="113"/>
                  </a:lnTo>
                  <a:lnTo>
                    <a:pt x="685" y="111"/>
                  </a:lnTo>
                  <a:lnTo>
                    <a:pt x="685" y="111"/>
                  </a:lnTo>
                  <a:lnTo>
                    <a:pt x="685" y="108"/>
                  </a:lnTo>
                  <a:lnTo>
                    <a:pt x="687" y="106"/>
                  </a:lnTo>
                  <a:lnTo>
                    <a:pt x="687" y="106"/>
                  </a:lnTo>
                  <a:lnTo>
                    <a:pt x="687" y="106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102"/>
                  </a:lnTo>
                  <a:lnTo>
                    <a:pt x="687" y="99"/>
                  </a:lnTo>
                  <a:lnTo>
                    <a:pt x="687" y="99"/>
                  </a:lnTo>
                  <a:lnTo>
                    <a:pt x="689" y="97"/>
                  </a:lnTo>
                  <a:lnTo>
                    <a:pt x="689" y="97"/>
                  </a:lnTo>
                  <a:lnTo>
                    <a:pt x="689" y="95"/>
                  </a:lnTo>
                  <a:lnTo>
                    <a:pt x="689" y="95"/>
                  </a:lnTo>
                  <a:lnTo>
                    <a:pt x="692" y="95"/>
                  </a:lnTo>
                  <a:lnTo>
                    <a:pt x="692" y="93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4" y="88"/>
                  </a:lnTo>
                  <a:lnTo>
                    <a:pt x="696" y="88"/>
                  </a:lnTo>
                  <a:lnTo>
                    <a:pt x="696" y="88"/>
                  </a:lnTo>
                  <a:lnTo>
                    <a:pt x="696" y="88"/>
                  </a:lnTo>
                  <a:lnTo>
                    <a:pt x="696" y="88"/>
                  </a:lnTo>
                  <a:lnTo>
                    <a:pt x="698" y="88"/>
                  </a:lnTo>
                  <a:lnTo>
                    <a:pt x="698" y="88"/>
                  </a:lnTo>
                  <a:lnTo>
                    <a:pt x="698" y="90"/>
                  </a:lnTo>
                  <a:lnTo>
                    <a:pt x="698" y="90"/>
                  </a:lnTo>
                  <a:lnTo>
                    <a:pt x="696" y="90"/>
                  </a:lnTo>
                  <a:lnTo>
                    <a:pt x="696" y="90"/>
                  </a:lnTo>
                  <a:lnTo>
                    <a:pt x="696" y="90"/>
                  </a:lnTo>
                  <a:lnTo>
                    <a:pt x="696" y="90"/>
                  </a:lnTo>
                  <a:lnTo>
                    <a:pt x="696" y="93"/>
                  </a:lnTo>
                  <a:lnTo>
                    <a:pt x="696" y="93"/>
                  </a:lnTo>
                  <a:lnTo>
                    <a:pt x="696" y="93"/>
                  </a:lnTo>
                  <a:lnTo>
                    <a:pt x="696" y="93"/>
                  </a:lnTo>
                  <a:lnTo>
                    <a:pt x="696" y="93"/>
                  </a:lnTo>
                  <a:lnTo>
                    <a:pt x="696" y="95"/>
                  </a:lnTo>
                  <a:lnTo>
                    <a:pt x="696" y="95"/>
                  </a:lnTo>
                  <a:lnTo>
                    <a:pt x="694" y="95"/>
                  </a:lnTo>
                  <a:lnTo>
                    <a:pt x="694" y="95"/>
                  </a:lnTo>
                  <a:lnTo>
                    <a:pt x="694" y="95"/>
                  </a:lnTo>
                  <a:lnTo>
                    <a:pt x="694" y="95"/>
                  </a:lnTo>
                  <a:lnTo>
                    <a:pt x="694" y="95"/>
                  </a:lnTo>
                  <a:lnTo>
                    <a:pt x="694" y="95"/>
                  </a:lnTo>
                  <a:lnTo>
                    <a:pt x="694" y="97"/>
                  </a:lnTo>
                  <a:lnTo>
                    <a:pt x="694" y="97"/>
                  </a:lnTo>
                  <a:lnTo>
                    <a:pt x="694" y="97"/>
                  </a:lnTo>
                  <a:lnTo>
                    <a:pt x="694" y="97"/>
                  </a:lnTo>
                  <a:lnTo>
                    <a:pt x="696" y="97"/>
                  </a:lnTo>
                  <a:lnTo>
                    <a:pt x="696" y="99"/>
                  </a:lnTo>
                  <a:lnTo>
                    <a:pt x="696" y="99"/>
                  </a:lnTo>
                  <a:lnTo>
                    <a:pt x="696" y="99"/>
                  </a:lnTo>
                  <a:lnTo>
                    <a:pt x="696" y="99"/>
                  </a:lnTo>
                  <a:lnTo>
                    <a:pt x="696" y="102"/>
                  </a:lnTo>
                  <a:lnTo>
                    <a:pt x="696" y="102"/>
                  </a:lnTo>
                  <a:lnTo>
                    <a:pt x="696" y="102"/>
                  </a:lnTo>
                  <a:lnTo>
                    <a:pt x="696" y="102"/>
                  </a:lnTo>
                  <a:lnTo>
                    <a:pt x="696" y="104"/>
                  </a:lnTo>
                  <a:lnTo>
                    <a:pt x="696" y="104"/>
                  </a:lnTo>
                  <a:lnTo>
                    <a:pt x="696" y="104"/>
                  </a:lnTo>
                  <a:lnTo>
                    <a:pt x="696" y="104"/>
                  </a:lnTo>
                  <a:lnTo>
                    <a:pt x="698" y="104"/>
                  </a:lnTo>
                  <a:lnTo>
                    <a:pt x="698" y="104"/>
                  </a:lnTo>
                  <a:lnTo>
                    <a:pt x="696" y="106"/>
                  </a:lnTo>
                  <a:lnTo>
                    <a:pt x="696" y="106"/>
                  </a:lnTo>
                  <a:lnTo>
                    <a:pt x="696" y="108"/>
                  </a:lnTo>
                  <a:lnTo>
                    <a:pt x="696" y="108"/>
                  </a:lnTo>
                  <a:lnTo>
                    <a:pt x="696" y="108"/>
                  </a:lnTo>
                  <a:lnTo>
                    <a:pt x="696" y="108"/>
                  </a:lnTo>
                  <a:lnTo>
                    <a:pt x="696" y="108"/>
                  </a:lnTo>
                  <a:lnTo>
                    <a:pt x="696" y="108"/>
                  </a:lnTo>
                  <a:lnTo>
                    <a:pt x="696" y="108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1"/>
                  </a:lnTo>
                  <a:lnTo>
                    <a:pt x="696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4" y="113"/>
                  </a:lnTo>
                  <a:lnTo>
                    <a:pt x="692" y="115"/>
                  </a:lnTo>
                  <a:lnTo>
                    <a:pt x="689" y="117"/>
                  </a:lnTo>
                  <a:lnTo>
                    <a:pt x="689" y="117"/>
                  </a:lnTo>
                  <a:lnTo>
                    <a:pt x="689" y="117"/>
                  </a:lnTo>
                  <a:lnTo>
                    <a:pt x="689" y="120"/>
                  </a:lnTo>
                  <a:lnTo>
                    <a:pt x="689" y="120"/>
                  </a:lnTo>
                  <a:lnTo>
                    <a:pt x="689" y="120"/>
                  </a:lnTo>
                  <a:lnTo>
                    <a:pt x="689" y="120"/>
                  </a:lnTo>
                  <a:lnTo>
                    <a:pt x="689" y="120"/>
                  </a:lnTo>
                  <a:lnTo>
                    <a:pt x="692" y="120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2" y="122"/>
                  </a:lnTo>
                  <a:lnTo>
                    <a:pt x="694" y="122"/>
                  </a:lnTo>
                  <a:lnTo>
                    <a:pt x="694" y="122"/>
                  </a:lnTo>
                  <a:lnTo>
                    <a:pt x="694" y="122"/>
                  </a:lnTo>
                  <a:lnTo>
                    <a:pt x="694" y="122"/>
                  </a:lnTo>
                  <a:lnTo>
                    <a:pt x="694" y="122"/>
                  </a:lnTo>
                  <a:lnTo>
                    <a:pt x="696" y="120"/>
                  </a:lnTo>
                  <a:lnTo>
                    <a:pt x="696" y="120"/>
                  </a:lnTo>
                  <a:lnTo>
                    <a:pt x="696" y="117"/>
                  </a:lnTo>
                  <a:lnTo>
                    <a:pt x="696" y="117"/>
                  </a:lnTo>
                  <a:lnTo>
                    <a:pt x="696" y="117"/>
                  </a:lnTo>
                  <a:lnTo>
                    <a:pt x="696" y="115"/>
                  </a:lnTo>
                  <a:lnTo>
                    <a:pt x="696" y="115"/>
                  </a:lnTo>
                  <a:lnTo>
                    <a:pt x="698" y="115"/>
                  </a:lnTo>
                  <a:lnTo>
                    <a:pt x="698" y="115"/>
                  </a:lnTo>
                  <a:lnTo>
                    <a:pt x="698" y="115"/>
                  </a:lnTo>
                  <a:lnTo>
                    <a:pt x="701" y="115"/>
                  </a:lnTo>
                  <a:lnTo>
                    <a:pt x="701" y="115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1"/>
                  </a:lnTo>
                  <a:lnTo>
                    <a:pt x="701" y="111"/>
                  </a:lnTo>
                  <a:lnTo>
                    <a:pt x="698" y="111"/>
                  </a:lnTo>
                  <a:lnTo>
                    <a:pt x="698" y="111"/>
                  </a:lnTo>
                  <a:lnTo>
                    <a:pt x="698" y="111"/>
                  </a:lnTo>
                  <a:lnTo>
                    <a:pt x="698" y="111"/>
                  </a:lnTo>
                  <a:lnTo>
                    <a:pt x="701" y="111"/>
                  </a:lnTo>
                  <a:lnTo>
                    <a:pt x="701" y="111"/>
                  </a:lnTo>
                  <a:lnTo>
                    <a:pt x="701" y="108"/>
                  </a:lnTo>
                  <a:lnTo>
                    <a:pt x="701" y="108"/>
                  </a:lnTo>
                  <a:lnTo>
                    <a:pt x="701" y="108"/>
                  </a:lnTo>
                  <a:lnTo>
                    <a:pt x="703" y="108"/>
                  </a:lnTo>
                  <a:lnTo>
                    <a:pt x="703" y="106"/>
                  </a:lnTo>
                  <a:lnTo>
                    <a:pt x="703" y="106"/>
                  </a:lnTo>
                  <a:lnTo>
                    <a:pt x="703" y="106"/>
                  </a:lnTo>
                  <a:lnTo>
                    <a:pt x="703" y="106"/>
                  </a:lnTo>
                  <a:lnTo>
                    <a:pt x="705" y="106"/>
                  </a:lnTo>
                  <a:lnTo>
                    <a:pt x="705" y="106"/>
                  </a:lnTo>
                  <a:lnTo>
                    <a:pt x="705" y="106"/>
                  </a:lnTo>
                  <a:lnTo>
                    <a:pt x="705" y="106"/>
                  </a:lnTo>
                  <a:lnTo>
                    <a:pt x="705" y="104"/>
                  </a:lnTo>
                  <a:lnTo>
                    <a:pt x="705" y="104"/>
                  </a:lnTo>
                  <a:lnTo>
                    <a:pt x="705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10" y="104"/>
                  </a:lnTo>
                  <a:lnTo>
                    <a:pt x="710" y="104"/>
                  </a:lnTo>
                  <a:lnTo>
                    <a:pt x="712" y="104"/>
                  </a:lnTo>
                  <a:lnTo>
                    <a:pt x="712" y="104"/>
                  </a:lnTo>
                  <a:lnTo>
                    <a:pt x="712" y="104"/>
                  </a:lnTo>
                  <a:lnTo>
                    <a:pt x="712" y="104"/>
                  </a:lnTo>
                  <a:lnTo>
                    <a:pt x="712" y="104"/>
                  </a:lnTo>
                  <a:lnTo>
                    <a:pt x="712" y="104"/>
                  </a:lnTo>
                  <a:lnTo>
                    <a:pt x="712" y="106"/>
                  </a:lnTo>
                  <a:lnTo>
                    <a:pt x="712" y="106"/>
                  </a:lnTo>
                  <a:lnTo>
                    <a:pt x="712" y="106"/>
                  </a:lnTo>
                  <a:lnTo>
                    <a:pt x="712" y="106"/>
                  </a:lnTo>
                  <a:lnTo>
                    <a:pt x="712" y="106"/>
                  </a:lnTo>
                  <a:lnTo>
                    <a:pt x="712" y="108"/>
                  </a:lnTo>
                  <a:lnTo>
                    <a:pt x="712" y="108"/>
                  </a:lnTo>
                  <a:lnTo>
                    <a:pt x="712" y="108"/>
                  </a:lnTo>
                  <a:lnTo>
                    <a:pt x="712" y="108"/>
                  </a:lnTo>
                  <a:lnTo>
                    <a:pt x="712" y="108"/>
                  </a:lnTo>
                  <a:lnTo>
                    <a:pt x="712" y="108"/>
                  </a:lnTo>
                  <a:lnTo>
                    <a:pt x="712" y="108"/>
                  </a:lnTo>
                  <a:lnTo>
                    <a:pt x="712" y="111"/>
                  </a:lnTo>
                  <a:lnTo>
                    <a:pt x="712" y="111"/>
                  </a:lnTo>
                  <a:lnTo>
                    <a:pt x="712" y="111"/>
                  </a:lnTo>
                  <a:lnTo>
                    <a:pt x="712" y="111"/>
                  </a:lnTo>
                  <a:lnTo>
                    <a:pt x="712" y="111"/>
                  </a:lnTo>
                  <a:lnTo>
                    <a:pt x="712" y="113"/>
                  </a:lnTo>
                  <a:lnTo>
                    <a:pt x="712" y="113"/>
                  </a:lnTo>
                  <a:lnTo>
                    <a:pt x="712" y="115"/>
                  </a:lnTo>
                  <a:lnTo>
                    <a:pt x="712" y="115"/>
                  </a:lnTo>
                  <a:lnTo>
                    <a:pt x="712" y="115"/>
                  </a:lnTo>
                  <a:lnTo>
                    <a:pt x="712" y="115"/>
                  </a:lnTo>
                  <a:lnTo>
                    <a:pt x="712" y="115"/>
                  </a:lnTo>
                  <a:lnTo>
                    <a:pt x="712" y="115"/>
                  </a:lnTo>
                  <a:lnTo>
                    <a:pt x="712" y="115"/>
                  </a:lnTo>
                  <a:lnTo>
                    <a:pt x="710" y="115"/>
                  </a:lnTo>
                  <a:lnTo>
                    <a:pt x="710" y="115"/>
                  </a:lnTo>
                  <a:lnTo>
                    <a:pt x="710" y="117"/>
                  </a:lnTo>
                  <a:lnTo>
                    <a:pt x="707" y="117"/>
                  </a:lnTo>
                  <a:lnTo>
                    <a:pt x="707" y="117"/>
                  </a:lnTo>
                  <a:lnTo>
                    <a:pt x="707" y="117"/>
                  </a:lnTo>
                  <a:lnTo>
                    <a:pt x="707" y="117"/>
                  </a:lnTo>
                  <a:lnTo>
                    <a:pt x="707" y="120"/>
                  </a:lnTo>
                  <a:lnTo>
                    <a:pt x="705" y="120"/>
                  </a:lnTo>
                  <a:lnTo>
                    <a:pt x="705" y="120"/>
                  </a:lnTo>
                  <a:lnTo>
                    <a:pt x="705" y="120"/>
                  </a:lnTo>
                  <a:lnTo>
                    <a:pt x="703" y="120"/>
                  </a:lnTo>
                  <a:lnTo>
                    <a:pt x="703" y="120"/>
                  </a:lnTo>
                  <a:lnTo>
                    <a:pt x="703" y="120"/>
                  </a:lnTo>
                  <a:lnTo>
                    <a:pt x="703" y="120"/>
                  </a:lnTo>
                  <a:lnTo>
                    <a:pt x="703" y="122"/>
                  </a:lnTo>
                  <a:lnTo>
                    <a:pt x="703" y="122"/>
                  </a:lnTo>
                  <a:lnTo>
                    <a:pt x="703" y="122"/>
                  </a:lnTo>
                  <a:lnTo>
                    <a:pt x="703" y="122"/>
                  </a:lnTo>
                  <a:lnTo>
                    <a:pt x="703" y="122"/>
                  </a:lnTo>
                  <a:lnTo>
                    <a:pt x="703" y="122"/>
                  </a:lnTo>
                  <a:lnTo>
                    <a:pt x="703" y="122"/>
                  </a:lnTo>
                  <a:lnTo>
                    <a:pt x="701" y="122"/>
                  </a:lnTo>
                  <a:lnTo>
                    <a:pt x="701" y="122"/>
                  </a:lnTo>
                  <a:lnTo>
                    <a:pt x="701" y="122"/>
                  </a:lnTo>
                  <a:lnTo>
                    <a:pt x="701" y="124"/>
                  </a:lnTo>
                  <a:lnTo>
                    <a:pt x="703" y="124"/>
                  </a:lnTo>
                  <a:lnTo>
                    <a:pt x="703" y="124"/>
                  </a:lnTo>
                  <a:lnTo>
                    <a:pt x="703" y="124"/>
                  </a:lnTo>
                  <a:lnTo>
                    <a:pt x="703" y="124"/>
                  </a:lnTo>
                  <a:lnTo>
                    <a:pt x="705" y="126"/>
                  </a:lnTo>
                  <a:lnTo>
                    <a:pt x="705" y="126"/>
                  </a:lnTo>
                  <a:lnTo>
                    <a:pt x="705" y="126"/>
                  </a:lnTo>
                  <a:lnTo>
                    <a:pt x="705" y="126"/>
                  </a:lnTo>
                  <a:lnTo>
                    <a:pt x="705" y="126"/>
                  </a:lnTo>
                  <a:lnTo>
                    <a:pt x="707" y="126"/>
                  </a:lnTo>
                  <a:lnTo>
                    <a:pt x="707" y="126"/>
                  </a:lnTo>
                  <a:lnTo>
                    <a:pt x="707" y="126"/>
                  </a:lnTo>
                  <a:lnTo>
                    <a:pt x="707" y="126"/>
                  </a:lnTo>
                  <a:lnTo>
                    <a:pt x="707" y="126"/>
                  </a:lnTo>
                  <a:lnTo>
                    <a:pt x="707" y="126"/>
                  </a:lnTo>
                  <a:lnTo>
                    <a:pt x="707" y="126"/>
                  </a:lnTo>
                  <a:lnTo>
                    <a:pt x="710" y="129"/>
                  </a:lnTo>
                  <a:lnTo>
                    <a:pt x="710" y="129"/>
                  </a:lnTo>
                  <a:lnTo>
                    <a:pt x="710" y="129"/>
                  </a:lnTo>
                  <a:lnTo>
                    <a:pt x="710" y="129"/>
                  </a:lnTo>
                  <a:lnTo>
                    <a:pt x="710" y="129"/>
                  </a:lnTo>
                  <a:lnTo>
                    <a:pt x="710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29"/>
                  </a:lnTo>
                  <a:lnTo>
                    <a:pt x="712" y="131"/>
                  </a:lnTo>
                  <a:lnTo>
                    <a:pt x="712" y="131"/>
                  </a:lnTo>
                  <a:lnTo>
                    <a:pt x="712" y="133"/>
                  </a:lnTo>
                  <a:lnTo>
                    <a:pt x="712" y="133"/>
                  </a:lnTo>
                  <a:lnTo>
                    <a:pt x="712" y="133"/>
                  </a:lnTo>
                  <a:lnTo>
                    <a:pt x="714" y="133"/>
                  </a:lnTo>
                  <a:lnTo>
                    <a:pt x="714" y="133"/>
                  </a:lnTo>
                  <a:lnTo>
                    <a:pt x="714" y="133"/>
                  </a:lnTo>
                  <a:lnTo>
                    <a:pt x="714" y="133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lnTo>
                    <a:pt x="716" y="135"/>
                  </a:lnTo>
                  <a:close/>
                  <a:moveTo>
                    <a:pt x="49" y="88"/>
                  </a:move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close/>
                  <a:moveTo>
                    <a:pt x="692" y="86"/>
                  </a:move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8"/>
                  </a:lnTo>
                  <a:lnTo>
                    <a:pt x="692" y="86"/>
                  </a:lnTo>
                  <a:close/>
                  <a:moveTo>
                    <a:pt x="498" y="86"/>
                  </a:moveTo>
                  <a:lnTo>
                    <a:pt x="498" y="86"/>
                  </a:lnTo>
                  <a:lnTo>
                    <a:pt x="498" y="86"/>
                  </a:lnTo>
                  <a:lnTo>
                    <a:pt x="498" y="88"/>
                  </a:lnTo>
                  <a:lnTo>
                    <a:pt x="498" y="88"/>
                  </a:lnTo>
                  <a:lnTo>
                    <a:pt x="498" y="86"/>
                  </a:lnTo>
                  <a:lnTo>
                    <a:pt x="498" y="86"/>
                  </a:lnTo>
                  <a:lnTo>
                    <a:pt x="498" y="86"/>
                  </a:lnTo>
                  <a:lnTo>
                    <a:pt x="498" y="86"/>
                  </a:lnTo>
                  <a:lnTo>
                    <a:pt x="498" y="86"/>
                  </a:lnTo>
                  <a:lnTo>
                    <a:pt x="498" y="88"/>
                  </a:lnTo>
                  <a:lnTo>
                    <a:pt x="498" y="88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498" y="88"/>
                  </a:lnTo>
                  <a:lnTo>
                    <a:pt x="498" y="88"/>
                  </a:lnTo>
                  <a:lnTo>
                    <a:pt x="498" y="88"/>
                  </a:lnTo>
                  <a:lnTo>
                    <a:pt x="498" y="88"/>
                  </a:lnTo>
                  <a:lnTo>
                    <a:pt x="498" y="88"/>
                  </a:lnTo>
                  <a:lnTo>
                    <a:pt x="498" y="86"/>
                  </a:lnTo>
                  <a:lnTo>
                    <a:pt x="498" y="86"/>
                  </a:lnTo>
                  <a:lnTo>
                    <a:pt x="498" y="86"/>
                  </a:lnTo>
                  <a:lnTo>
                    <a:pt x="498" y="86"/>
                  </a:lnTo>
                  <a:close/>
                  <a:moveTo>
                    <a:pt x="642" y="86"/>
                  </a:moveTo>
                  <a:lnTo>
                    <a:pt x="642" y="86"/>
                  </a:lnTo>
                  <a:lnTo>
                    <a:pt x="642" y="86"/>
                  </a:lnTo>
                  <a:lnTo>
                    <a:pt x="640" y="86"/>
                  </a:lnTo>
                  <a:lnTo>
                    <a:pt x="640" y="84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42" y="84"/>
                  </a:lnTo>
                  <a:lnTo>
                    <a:pt x="642" y="86"/>
                  </a:lnTo>
                  <a:close/>
                  <a:moveTo>
                    <a:pt x="701" y="86"/>
                  </a:moveTo>
                  <a:lnTo>
                    <a:pt x="698" y="86"/>
                  </a:lnTo>
                  <a:lnTo>
                    <a:pt x="698" y="86"/>
                  </a:lnTo>
                  <a:lnTo>
                    <a:pt x="698" y="86"/>
                  </a:lnTo>
                  <a:lnTo>
                    <a:pt x="698" y="86"/>
                  </a:lnTo>
                  <a:lnTo>
                    <a:pt x="698" y="86"/>
                  </a:lnTo>
                  <a:lnTo>
                    <a:pt x="698" y="86"/>
                  </a:lnTo>
                  <a:lnTo>
                    <a:pt x="698" y="84"/>
                  </a:lnTo>
                  <a:lnTo>
                    <a:pt x="698" y="84"/>
                  </a:lnTo>
                  <a:lnTo>
                    <a:pt x="698" y="84"/>
                  </a:lnTo>
                  <a:lnTo>
                    <a:pt x="698" y="84"/>
                  </a:lnTo>
                  <a:lnTo>
                    <a:pt x="701" y="84"/>
                  </a:lnTo>
                  <a:lnTo>
                    <a:pt x="701" y="84"/>
                  </a:lnTo>
                  <a:lnTo>
                    <a:pt x="701" y="84"/>
                  </a:lnTo>
                  <a:lnTo>
                    <a:pt x="701" y="86"/>
                  </a:lnTo>
                  <a:lnTo>
                    <a:pt x="701" y="86"/>
                  </a:lnTo>
                  <a:close/>
                  <a:moveTo>
                    <a:pt x="298" y="81"/>
                  </a:moveTo>
                  <a:lnTo>
                    <a:pt x="298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79"/>
                  </a:lnTo>
                  <a:lnTo>
                    <a:pt x="296" y="79"/>
                  </a:lnTo>
                  <a:lnTo>
                    <a:pt x="296" y="79"/>
                  </a:lnTo>
                  <a:lnTo>
                    <a:pt x="296" y="79"/>
                  </a:lnTo>
                  <a:lnTo>
                    <a:pt x="296" y="79"/>
                  </a:lnTo>
                  <a:lnTo>
                    <a:pt x="298" y="81"/>
                  </a:lnTo>
                  <a:lnTo>
                    <a:pt x="298" y="81"/>
                  </a:lnTo>
                  <a:close/>
                  <a:moveTo>
                    <a:pt x="710" y="79"/>
                  </a:moveTo>
                  <a:lnTo>
                    <a:pt x="710" y="79"/>
                  </a:lnTo>
                  <a:lnTo>
                    <a:pt x="710" y="81"/>
                  </a:lnTo>
                  <a:lnTo>
                    <a:pt x="710" y="81"/>
                  </a:lnTo>
                  <a:lnTo>
                    <a:pt x="710" y="81"/>
                  </a:lnTo>
                  <a:lnTo>
                    <a:pt x="710" y="84"/>
                  </a:lnTo>
                  <a:lnTo>
                    <a:pt x="710" y="84"/>
                  </a:lnTo>
                  <a:lnTo>
                    <a:pt x="710" y="86"/>
                  </a:lnTo>
                  <a:lnTo>
                    <a:pt x="710" y="86"/>
                  </a:lnTo>
                  <a:lnTo>
                    <a:pt x="710" y="88"/>
                  </a:lnTo>
                  <a:lnTo>
                    <a:pt x="710" y="90"/>
                  </a:lnTo>
                  <a:lnTo>
                    <a:pt x="707" y="90"/>
                  </a:lnTo>
                  <a:lnTo>
                    <a:pt x="707" y="90"/>
                  </a:lnTo>
                  <a:lnTo>
                    <a:pt x="707" y="93"/>
                  </a:lnTo>
                  <a:lnTo>
                    <a:pt x="707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3" y="93"/>
                  </a:lnTo>
                  <a:lnTo>
                    <a:pt x="701" y="90"/>
                  </a:lnTo>
                  <a:lnTo>
                    <a:pt x="701" y="90"/>
                  </a:lnTo>
                  <a:lnTo>
                    <a:pt x="701" y="88"/>
                  </a:lnTo>
                  <a:lnTo>
                    <a:pt x="701" y="88"/>
                  </a:lnTo>
                  <a:lnTo>
                    <a:pt x="701" y="88"/>
                  </a:lnTo>
                  <a:lnTo>
                    <a:pt x="701" y="88"/>
                  </a:lnTo>
                  <a:lnTo>
                    <a:pt x="701" y="88"/>
                  </a:lnTo>
                  <a:lnTo>
                    <a:pt x="701" y="86"/>
                  </a:lnTo>
                  <a:lnTo>
                    <a:pt x="701" y="86"/>
                  </a:lnTo>
                  <a:lnTo>
                    <a:pt x="703" y="84"/>
                  </a:lnTo>
                  <a:lnTo>
                    <a:pt x="703" y="84"/>
                  </a:lnTo>
                  <a:lnTo>
                    <a:pt x="703" y="81"/>
                  </a:lnTo>
                  <a:lnTo>
                    <a:pt x="705" y="81"/>
                  </a:lnTo>
                  <a:lnTo>
                    <a:pt x="705" y="81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7" y="79"/>
                  </a:lnTo>
                  <a:lnTo>
                    <a:pt x="707" y="79"/>
                  </a:lnTo>
                  <a:lnTo>
                    <a:pt x="707" y="79"/>
                  </a:lnTo>
                  <a:lnTo>
                    <a:pt x="707" y="79"/>
                  </a:lnTo>
                  <a:lnTo>
                    <a:pt x="707" y="79"/>
                  </a:lnTo>
                  <a:lnTo>
                    <a:pt x="707" y="79"/>
                  </a:lnTo>
                  <a:lnTo>
                    <a:pt x="707" y="79"/>
                  </a:lnTo>
                  <a:lnTo>
                    <a:pt x="710" y="79"/>
                  </a:lnTo>
                  <a:close/>
                  <a:moveTo>
                    <a:pt x="642" y="79"/>
                  </a:moveTo>
                  <a:lnTo>
                    <a:pt x="642" y="79"/>
                  </a:lnTo>
                  <a:lnTo>
                    <a:pt x="642" y="79"/>
                  </a:lnTo>
                  <a:lnTo>
                    <a:pt x="640" y="79"/>
                  </a:lnTo>
                  <a:lnTo>
                    <a:pt x="640" y="77"/>
                  </a:lnTo>
                  <a:lnTo>
                    <a:pt x="640" y="77"/>
                  </a:lnTo>
                  <a:lnTo>
                    <a:pt x="640" y="77"/>
                  </a:lnTo>
                  <a:lnTo>
                    <a:pt x="640" y="77"/>
                  </a:lnTo>
                  <a:lnTo>
                    <a:pt x="640" y="77"/>
                  </a:lnTo>
                  <a:lnTo>
                    <a:pt x="640" y="75"/>
                  </a:lnTo>
                  <a:lnTo>
                    <a:pt x="640" y="75"/>
                  </a:lnTo>
                  <a:lnTo>
                    <a:pt x="640" y="75"/>
                  </a:lnTo>
                  <a:lnTo>
                    <a:pt x="642" y="75"/>
                  </a:lnTo>
                  <a:lnTo>
                    <a:pt x="642" y="75"/>
                  </a:lnTo>
                  <a:lnTo>
                    <a:pt x="642" y="75"/>
                  </a:lnTo>
                  <a:lnTo>
                    <a:pt x="642" y="75"/>
                  </a:lnTo>
                  <a:lnTo>
                    <a:pt x="642" y="75"/>
                  </a:lnTo>
                  <a:lnTo>
                    <a:pt x="642" y="75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2" y="77"/>
                  </a:lnTo>
                  <a:lnTo>
                    <a:pt x="642" y="77"/>
                  </a:lnTo>
                  <a:lnTo>
                    <a:pt x="642" y="77"/>
                  </a:lnTo>
                  <a:lnTo>
                    <a:pt x="642" y="77"/>
                  </a:lnTo>
                  <a:lnTo>
                    <a:pt x="642" y="77"/>
                  </a:lnTo>
                  <a:lnTo>
                    <a:pt x="642" y="77"/>
                  </a:lnTo>
                  <a:lnTo>
                    <a:pt x="642" y="79"/>
                  </a:lnTo>
                  <a:lnTo>
                    <a:pt x="642" y="79"/>
                  </a:lnTo>
                  <a:close/>
                  <a:moveTo>
                    <a:pt x="22" y="72"/>
                  </a:move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3" y="86"/>
                  </a:lnTo>
                  <a:lnTo>
                    <a:pt x="31" y="84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2" y="72"/>
                  </a:lnTo>
                  <a:close/>
                  <a:moveTo>
                    <a:pt x="294" y="72"/>
                  </a:moveTo>
                  <a:lnTo>
                    <a:pt x="294" y="72"/>
                  </a:lnTo>
                  <a:lnTo>
                    <a:pt x="294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2" y="72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2"/>
                  </a:lnTo>
                  <a:close/>
                  <a:moveTo>
                    <a:pt x="229" y="70"/>
                  </a:move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31" y="70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6" y="72"/>
                  </a:lnTo>
                  <a:lnTo>
                    <a:pt x="226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6" y="70"/>
                  </a:lnTo>
                  <a:lnTo>
                    <a:pt x="226" y="70"/>
                  </a:lnTo>
                  <a:lnTo>
                    <a:pt x="226" y="70"/>
                  </a:lnTo>
                  <a:lnTo>
                    <a:pt x="226" y="70"/>
                  </a:lnTo>
                  <a:lnTo>
                    <a:pt x="226" y="68"/>
                  </a:lnTo>
                  <a:lnTo>
                    <a:pt x="226" y="68"/>
                  </a:lnTo>
                  <a:lnTo>
                    <a:pt x="226" y="68"/>
                  </a:lnTo>
                  <a:lnTo>
                    <a:pt x="226" y="68"/>
                  </a:lnTo>
                  <a:lnTo>
                    <a:pt x="226" y="68"/>
                  </a:lnTo>
                  <a:lnTo>
                    <a:pt x="226" y="68"/>
                  </a:lnTo>
                  <a:lnTo>
                    <a:pt x="226" y="68"/>
                  </a:lnTo>
                  <a:lnTo>
                    <a:pt x="229" y="68"/>
                  </a:lnTo>
                  <a:lnTo>
                    <a:pt x="229" y="68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lnTo>
                    <a:pt x="229" y="70"/>
                  </a:lnTo>
                  <a:close/>
                  <a:moveTo>
                    <a:pt x="238" y="63"/>
                  </a:moveTo>
                  <a:lnTo>
                    <a:pt x="238" y="63"/>
                  </a:lnTo>
                  <a:lnTo>
                    <a:pt x="240" y="66"/>
                  </a:lnTo>
                  <a:lnTo>
                    <a:pt x="240" y="66"/>
                  </a:lnTo>
                  <a:lnTo>
                    <a:pt x="240" y="68"/>
                  </a:lnTo>
                  <a:lnTo>
                    <a:pt x="240" y="68"/>
                  </a:lnTo>
                  <a:lnTo>
                    <a:pt x="238" y="68"/>
                  </a:lnTo>
                  <a:lnTo>
                    <a:pt x="238" y="68"/>
                  </a:lnTo>
                  <a:lnTo>
                    <a:pt x="238" y="68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6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3"/>
                  </a:lnTo>
                  <a:close/>
                  <a:moveTo>
                    <a:pt x="476" y="63"/>
                  </a:moveTo>
                  <a:lnTo>
                    <a:pt x="476" y="63"/>
                  </a:lnTo>
                  <a:lnTo>
                    <a:pt x="476" y="63"/>
                  </a:lnTo>
                  <a:lnTo>
                    <a:pt x="476" y="63"/>
                  </a:lnTo>
                  <a:lnTo>
                    <a:pt x="476" y="63"/>
                  </a:lnTo>
                  <a:lnTo>
                    <a:pt x="474" y="63"/>
                  </a:lnTo>
                  <a:lnTo>
                    <a:pt x="474" y="63"/>
                  </a:lnTo>
                  <a:lnTo>
                    <a:pt x="474" y="63"/>
                  </a:lnTo>
                  <a:lnTo>
                    <a:pt x="474" y="63"/>
                  </a:lnTo>
                  <a:lnTo>
                    <a:pt x="474" y="63"/>
                  </a:lnTo>
                  <a:lnTo>
                    <a:pt x="474" y="63"/>
                  </a:lnTo>
                  <a:lnTo>
                    <a:pt x="474" y="63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6" y="61"/>
                  </a:lnTo>
                  <a:lnTo>
                    <a:pt x="476" y="61"/>
                  </a:lnTo>
                  <a:lnTo>
                    <a:pt x="476" y="61"/>
                  </a:lnTo>
                  <a:lnTo>
                    <a:pt x="476" y="63"/>
                  </a:lnTo>
                  <a:close/>
                  <a:moveTo>
                    <a:pt x="240" y="61"/>
                  </a:move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40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3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38" y="61"/>
                  </a:lnTo>
                  <a:lnTo>
                    <a:pt x="240" y="61"/>
                  </a:lnTo>
                  <a:lnTo>
                    <a:pt x="240" y="61"/>
                  </a:lnTo>
                  <a:lnTo>
                    <a:pt x="240" y="61"/>
                  </a:lnTo>
                  <a:close/>
                  <a:moveTo>
                    <a:pt x="478" y="63"/>
                  </a:moveTo>
                  <a:lnTo>
                    <a:pt x="478" y="63"/>
                  </a:lnTo>
                  <a:lnTo>
                    <a:pt x="478" y="63"/>
                  </a:lnTo>
                  <a:lnTo>
                    <a:pt x="478" y="63"/>
                  </a:lnTo>
                  <a:lnTo>
                    <a:pt x="478" y="63"/>
                  </a:lnTo>
                  <a:lnTo>
                    <a:pt x="476" y="61"/>
                  </a:lnTo>
                  <a:lnTo>
                    <a:pt x="476" y="61"/>
                  </a:lnTo>
                  <a:lnTo>
                    <a:pt x="476" y="61"/>
                  </a:lnTo>
                  <a:lnTo>
                    <a:pt x="476" y="61"/>
                  </a:lnTo>
                  <a:lnTo>
                    <a:pt x="476" y="59"/>
                  </a:lnTo>
                  <a:lnTo>
                    <a:pt x="476" y="59"/>
                  </a:lnTo>
                  <a:lnTo>
                    <a:pt x="476" y="59"/>
                  </a:lnTo>
                  <a:lnTo>
                    <a:pt x="478" y="59"/>
                  </a:lnTo>
                  <a:lnTo>
                    <a:pt x="478" y="59"/>
                  </a:lnTo>
                  <a:lnTo>
                    <a:pt x="478" y="59"/>
                  </a:lnTo>
                  <a:lnTo>
                    <a:pt x="478" y="59"/>
                  </a:lnTo>
                  <a:lnTo>
                    <a:pt x="478" y="59"/>
                  </a:lnTo>
                  <a:lnTo>
                    <a:pt x="478" y="61"/>
                  </a:lnTo>
                  <a:lnTo>
                    <a:pt x="478" y="61"/>
                  </a:lnTo>
                  <a:lnTo>
                    <a:pt x="478" y="61"/>
                  </a:lnTo>
                  <a:lnTo>
                    <a:pt x="478" y="61"/>
                  </a:lnTo>
                  <a:lnTo>
                    <a:pt x="478" y="63"/>
                  </a:lnTo>
                  <a:lnTo>
                    <a:pt x="478" y="63"/>
                  </a:lnTo>
                  <a:close/>
                  <a:moveTo>
                    <a:pt x="483" y="59"/>
                  </a:moveTo>
                  <a:lnTo>
                    <a:pt x="483" y="59"/>
                  </a:lnTo>
                  <a:lnTo>
                    <a:pt x="483" y="59"/>
                  </a:lnTo>
                  <a:lnTo>
                    <a:pt x="480" y="59"/>
                  </a:lnTo>
                  <a:lnTo>
                    <a:pt x="480" y="57"/>
                  </a:lnTo>
                  <a:lnTo>
                    <a:pt x="480" y="57"/>
                  </a:lnTo>
                  <a:lnTo>
                    <a:pt x="480" y="57"/>
                  </a:lnTo>
                  <a:lnTo>
                    <a:pt x="480" y="57"/>
                  </a:lnTo>
                  <a:lnTo>
                    <a:pt x="480" y="57"/>
                  </a:lnTo>
                  <a:lnTo>
                    <a:pt x="480" y="57"/>
                  </a:lnTo>
                  <a:lnTo>
                    <a:pt x="483" y="57"/>
                  </a:lnTo>
                  <a:lnTo>
                    <a:pt x="483" y="57"/>
                  </a:lnTo>
                  <a:lnTo>
                    <a:pt x="483" y="57"/>
                  </a:lnTo>
                  <a:lnTo>
                    <a:pt x="483" y="57"/>
                  </a:lnTo>
                  <a:lnTo>
                    <a:pt x="483" y="59"/>
                  </a:lnTo>
                  <a:lnTo>
                    <a:pt x="483" y="59"/>
                  </a:lnTo>
                  <a:lnTo>
                    <a:pt x="483" y="59"/>
                  </a:lnTo>
                  <a:close/>
                  <a:moveTo>
                    <a:pt x="474" y="57"/>
                  </a:moveTo>
                  <a:lnTo>
                    <a:pt x="476" y="59"/>
                  </a:lnTo>
                  <a:lnTo>
                    <a:pt x="476" y="59"/>
                  </a:lnTo>
                  <a:lnTo>
                    <a:pt x="476" y="59"/>
                  </a:lnTo>
                  <a:lnTo>
                    <a:pt x="474" y="59"/>
                  </a:lnTo>
                  <a:lnTo>
                    <a:pt x="474" y="59"/>
                  </a:lnTo>
                  <a:lnTo>
                    <a:pt x="471" y="59"/>
                  </a:lnTo>
                  <a:lnTo>
                    <a:pt x="469" y="59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4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71" y="57"/>
                  </a:lnTo>
                  <a:lnTo>
                    <a:pt x="471" y="57"/>
                  </a:lnTo>
                  <a:lnTo>
                    <a:pt x="474" y="57"/>
                  </a:lnTo>
                  <a:lnTo>
                    <a:pt x="474" y="57"/>
                  </a:lnTo>
                  <a:lnTo>
                    <a:pt x="474" y="57"/>
                  </a:lnTo>
                  <a:lnTo>
                    <a:pt x="474" y="57"/>
                  </a:lnTo>
                  <a:lnTo>
                    <a:pt x="474" y="57"/>
                  </a:lnTo>
                  <a:lnTo>
                    <a:pt x="474" y="57"/>
                  </a:lnTo>
                  <a:close/>
                  <a:moveTo>
                    <a:pt x="644" y="57"/>
                  </a:moveTo>
                  <a:lnTo>
                    <a:pt x="644" y="57"/>
                  </a:lnTo>
                  <a:lnTo>
                    <a:pt x="647" y="57"/>
                  </a:lnTo>
                  <a:lnTo>
                    <a:pt x="647" y="59"/>
                  </a:lnTo>
                  <a:lnTo>
                    <a:pt x="647" y="59"/>
                  </a:lnTo>
                  <a:lnTo>
                    <a:pt x="647" y="59"/>
                  </a:lnTo>
                  <a:lnTo>
                    <a:pt x="647" y="59"/>
                  </a:lnTo>
                  <a:lnTo>
                    <a:pt x="647" y="59"/>
                  </a:lnTo>
                  <a:lnTo>
                    <a:pt x="647" y="59"/>
                  </a:lnTo>
                  <a:lnTo>
                    <a:pt x="647" y="59"/>
                  </a:lnTo>
                  <a:lnTo>
                    <a:pt x="644" y="61"/>
                  </a:lnTo>
                  <a:lnTo>
                    <a:pt x="644" y="61"/>
                  </a:lnTo>
                  <a:lnTo>
                    <a:pt x="644" y="61"/>
                  </a:lnTo>
                  <a:lnTo>
                    <a:pt x="644" y="59"/>
                  </a:lnTo>
                  <a:lnTo>
                    <a:pt x="644" y="59"/>
                  </a:lnTo>
                  <a:lnTo>
                    <a:pt x="644" y="59"/>
                  </a:lnTo>
                  <a:lnTo>
                    <a:pt x="644" y="59"/>
                  </a:lnTo>
                  <a:lnTo>
                    <a:pt x="642" y="59"/>
                  </a:lnTo>
                  <a:lnTo>
                    <a:pt x="642" y="59"/>
                  </a:lnTo>
                  <a:lnTo>
                    <a:pt x="642" y="59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2" y="57"/>
                  </a:lnTo>
                  <a:lnTo>
                    <a:pt x="642" y="54"/>
                  </a:lnTo>
                  <a:lnTo>
                    <a:pt x="642" y="54"/>
                  </a:lnTo>
                  <a:lnTo>
                    <a:pt x="640" y="54"/>
                  </a:lnTo>
                  <a:lnTo>
                    <a:pt x="640" y="54"/>
                  </a:lnTo>
                  <a:lnTo>
                    <a:pt x="640" y="52"/>
                  </a:lnTo>
                  <a:lnTo>
                    <a:pt x="640" y="52"/>
                  </a:lnTo>
                  <a:lnTo>
                    <a:pt x="642" y="52"/>
                  </a:lnTo>
                  <a:lnTo>
                    <a:pt x="642" y="52"/>
                  </a:lnTo>
                  <a:lnTo>
                    <a:pt x="642" y="52"/>
                  </a:lnTo>
                  <a:lnTo>
                    <a:pt x="642" y="54"/>
                  </a:lnTo>
                  <a:lnTo>
                    <a:pt x="644" y="54"/>
                  </a:lnTo>
                  <a:lnTo>
                    <a:pt x="644" y="54"/>
                  </a:lnTo>
                  <a:lnTo>
                    <a:pt x="644" y="54"/>
                  </a:lnTo>
                  <a:lnTo>
                    <a:pt x="644" y="54"/>
                  </a:lnTo>
                  <a:lnTo>
                    <a:pt x="644" y="57"/>
                  </a:lnTo>
                  <a:lnTo>
                    <a:pt x="644" y="57"/>
                  </a:lnTo>
                  <a:lnTo>
                    <a:pt x="644" y="57"/>
                  </a:lnTo>
                  <a:lnTo>
                    <a:pt x="644" y="57"/>
                  </a:lnTo>
                  <a:lnTo>
                    <a:pt x="644" y="57"/>
                  </a:lnTo>
                  <a:lnTo>
                    <a:pt x="644" y="57"/>
                  </a:lnTo>
                  <a:lnTo>
                    <a:pt x="644" y="57"/>
                  </a:lnTo>
                  <a:lnTo>
                    <a:pt x="644" y="57"/>
                  </a:lnTo>
                  <a:close/>
                  <a:moveTo>
                    <a:pt x="671" y="52"/>
                  </a:moveTo>
                  <a:lnTo>
                    <a:pt x="669" y="52"/>
                  </a:lnTo>
                  <a:lnTo>
                    <a:pt x="669" y="50"/>
                  </a:lnTo>
                  <a:lnTo>
                    <a:pt x="669" y="50"/>
                  </a:lnTo>
                  <a:lnTo>
                    <a:pt x="669" y="50"/>
                  </a:lnTo>
                  <a:lnTo>
                    <a:pt x="669" y="50"/>
                  </a:lnTo>
                  <a:lnTo>
                    <a:pt x="671" y="50"/>
                  </a:lnTo>
                  <a:lnTo>
                    <a:pt x="671" y="50"/>
                  </a:lnTo>
                  <a:lnTo>
                    <a:pt x="671" y="50"/>
                  </a:lnTo>
                  <a:lnTo>
                    <a:pt x="671" y="50"/>
                  </a:lnTo>
                  <a:lnTo>
                    <a:pt x="671" y="52"/>
                  </a:lnTo>
                  <a:lnTo>
                    <a:pt x="671" y="52"/>
                  </a:lnTo>
                  <a:close/>
                  <a:moveTo>
                    <a:pt x="480" y="50"/>
                  </a:move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3" y="50"/>
                  </a:lnTo>
                  <a:lnTo>
                    <a:pt x="483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close/>
                  <a:moveTo>
                    <a:pt x="667" y="50"/>
                  </a:moveTo>
                  <a:lnTo>
                    <a:pt x="669" y="50"/>
                  </a:lnTo>
                  <a:lnTo>
                    <a:pt x="667" y="50"/>
                  </a:lnTo>
                  <a:lnTo>
                    <a:pt x="667" y="48"/>
                  </a:lnTo>
                  <a:lnTo>
                    <a:pt x="667" y="48"/>
                  </a:lnTo>
                  <a:lnTo>
                    <a:pt x="667" y="48"/>
                  </a:lnTo>
                  <a:lnTo>
                    <a:pt x="667" y="48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8"/>
                  </a:lnTo>
                  <a:lnTo>
                    <a:pt x="669" y="48"/>
                  </a:lnTo>
                  <a:lnTo>
                    <a:pt x="669" y="48"/>
                  </a:lnTo>
                  <a:lnTo>
                    <a:pt x="667" y="48"/>
                  </a:lnTo>
                  <a:lnTo>
                    <a:pt x="667" y="50"/>
                  </a:lnTo>
                  <a:close/>
                  <a:moveTo>
                    <a:pt x="478" y="45"/>
                  </a:moveTo>
                  <a:lnTo>
                    <a:pt x="478" y="45"/>
                  </a:lnTo>
                  <a:lnTo>
                    <a:pt x="476" y="45"/>
                  </a:lnTo>
                  <a:lnTo>
                    <a:pt x="476" y="45"/>
                  </a:lnTo>
                  <a:lnTo>
                    <a:pt x="476" y="43"/>
                  </a:lnTo>
                  <a:lnTo>
                    <a:pt x="476" y="43"/>
                  </a:lnTo>
                  <a:lnTo>
                    <a:pt x="478" y="43"/>
                  </a:lnTo>
                  <a:lnTo>
                    <a:pt x="478" y="43"/>
                  </a:lnTo>
                  <a:lnTo>
                    <a:pt x="478" y="43"/>
                  </a:lnTo>
                  <a:lnTo>
                    <a:pt x="478" y="43"/>
                  </a:lnTo>
                  <a:lnTo>
                    <a:pt x="478" y="43"/>
                  </a:lnTo>
                  <a:lnTo>
                    <a:pt x="480" y="45"/>
                  </a:lnTo>
                  <a:lnTo>
                    <a:pt x="478" y="45"/>
                  </a:lnTo>
                  <a:lnTo>
                    <a:pt x="478" y="45"/>
                  </a:lnTo>
                  <a:close/>
                  <a:moveTo>
                    <a:pt x="483" y="45"/>
                  </a:moveTo>
                  <a:lnTo>
                    <a:pt x="483" y="45"/>
                  </a:lnTo>
                  <a:lnTo>
                    <a:pt x="480" y="45"/>
                  </a:lnTo>
                  <a:lnTo>
                    <a:pt x="480" y="43"/>
                  </a:lnTo>
                  <a:lnTo>
                    <a:pt x="480" y="43"/>
                  </a:lnTo>
                  <a:lnTo>
                    <a:pt x="478" y="43"/>
                  </a:lnTo>
                  <a:lnTo>
                    <a:pt x="478" y="41"/>
                  </a:lnTo>
                  <a:lnTo>
                    <a:pt x="483" y="41"/>
                  </a:lnTo>
                  <a:lnTo>
                    <a:pt x="483" y="43"/>
                  </a:lnTo>
                  <a:lnTo>
                    <a:pt x="483" y="43"/>
                  </a:lnTo>
                  <a:lnTo>
                    <a:pt x="483" y="45"/>
                  </a:lnTo>
                  <a:lnTo>
                    <a:pt x="483" y="45"/>
                  </a:lnTo>
                  <a:lnTo>
                    <a:pt x="483" y="45"/>
                  </a:lnTo>
                  <a:close/>
                  <a:moveTo>
                    <a:pt x="280" y="43"/>
                  </a:move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50"/>
                  </a:lnTo>
                  <a:lnTo>
                    <a:pt x="283" y="50"/>
                  </a:lnTo>
                  <a:lnTo>
                    <a:pt x="283" y="50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3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80" y="54"/>
                  </a:lnTo>
                  <a:lnTo>
                    <a:pt x="278" y="54"/>
                  </a:lnTo>
                  <a:lnTo>
                    <a:pt x="278" y="54"/>
                  </a:lnTo>
                  <a:lnTo>
                    <a:pt x="278" y="54"/>
                  </a:lnTo>
                  <a:lnTo>
                    <a:pt x="278" y="54"/>
                  </a:lnTo>
                  <a:lnTo>
                    <a:pt x="278" y="52"/>
                  </a:lnTo>
                  <a:lnTo>
                    <a:pt x="276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2"/>
                  </a:lnTo>
                  <a:lnTo>
                    <a:pt x="278" y="50"/>
                  </a:lnTo>
                  <a:lnTo>
                    <a:pt x="278" y="50"/>
                  </a:lnTo>
                  <a:lnTo>
                    <a:pt x="278" y="50"/>
                  </a:lnTo>
                  <a:lnTo>
                    <a:pt x="278" y="50"/>
                  </a:lnTo>
                  <a:lnTo>
                    <a:pt x="280" y="50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80" y="50"/>
                  </a:lnTo>
                  <a:lnTo>
                    <a:pt x="280" y="50"/>
                  </a:lnTo>
                  <a:lnTo>
                    <a:pt x="280" y="50"/>
                  </a:lnTo>
                  <a:lnTo>
                    <a:pt x="280" y="50"/>
                  </a:lnTo>
                  <a:lnTo>
                    <a:pt x="280" y="50"/>
                  </a:lnTo>
                  <a:lnTo>
                    <a:pt x="278" y="50"/>
                  </a:lnTo>
                  <a:lnTo>
                    <a:pt x="278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6" y="48"/>
                  </a:lnTo>
                  <a:lnTo>
                    <a:pt x="274" y="48"/>
                  </a:lnTo>
                  <a:lnTo>
                    <a:pt x="274" y="48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4" y="45"/>
                  </a:lnTo>
                  <a:lnTo>
                    <a:pt x="276" y="45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6" y="43"/>
                  </a:lnTo>
                  <a:lnTo>
                    <a:pt x="278" y="41"/>
                  </a:lnTo>
                  <a:lnTo>
                    <a:pt x="278" y="41"/>
                  </a:lnTo>
                  <a:lnTo>
                    <a:pt x="278" y="41"/>
                  </a:lnTo>
                  <a:lnTo>
                    <a:pt x="278" y="41"/>
                  </a:lnTo>
                  <a:lnTo>
                    <a:pt x="278" y="41"/>
                  </a:lnTo>
                  <a:lnTo>
                    <a:pt x="280" y="41"/>
                  </a:lnTo>
                  <a:lnTo>
                    <a:pt x="280" y="41"/>
                  </a:lnTo>
                  <a:lnTo>
                    <a:pt x="280" y="41"/>
                  </a:lnTo>
                  <a:lnTo>
                    <a:pt x="280" y="43"/>
                  </a:lnTo>
                  <a:lnTo>
                    <a:pt x="280" y="43"/>
                  </a:lnTo>
                  <a:lnTo>
                    <a:pt x="280" y="43"/>
                  </a:lnTo>
                  <a:close/>
                  <a:moveTo>
                    <a:pt x="453" y="39"/>
                  </a:moveTo>
                  <a:lnTo>
                    <a:pt x="456" y="39"/>
                  </a:lnTo>
                  <a:lnTo>
                    <a:pt x="456" y="39"/>
                  </a:lnTo>
                  <a:lnTo>
                    <a:pt x="456" y="39"/>
                  </a:lnTo>
                  <a:lnTo>
                    <a:pt x="456" y="39"/>
                  </a:lnTo>
                  <a:lnTo>
                    <a:pt x="456" y="39"/>
                  </a:lnTo>
                  <a:lnTo>
                    <a:pt x="458" y="36"/>
                  </a:lnTo>
                  <a:lnTo>
                    <a:pt x="458" y="36"/>
                  </a:lnTo>
                  <a:lnTo>
                    <a:pt x="458" y="39"/>
                  </a:lnTo>
                  <a:lnTo>
                    <a:pt x="460" y="39"/>
                  </a:lnTo>
                  <a:lnTo>
                    <a:pt x="460" y="39"/>
                  </a:lnTo>
                  <a:lnTo>
                    <a:pt x="462" y="39"/>
                  </a:lnTo>
                  <a:lnTo>
                    <a:pt x="462" y="39"/>
                  </a:lnTo>
                  <a:lnTo>
                    <a:pt x="467" y="39"/>
                  </a:lnTo>
                  <a:lnTo>
                    <a:pt x="467" y="39"/>
                  </a:lnTo>
                  <a:lnTo>
                    <a:pt x="467" y="36"/>
                  </a:lnTo>
                  <a:lnTo>
                    <a:pt x="467" y="36"/>
                  </a:lnTo>
                  <a:lnTo>
                    <a:pt x="467" y="36"/>
                  </a:lnTo>
                  <a:lnTo>
                    <a:pt x="467" y="36"/>
                  </a:lnTo>
                  <a:lnTo>
                    <a:pt x="467" y="39"/>
                  </a:lnTo>
                  <a:lnTo>
                    <a:pt x="469" y="39"/>
                  </a:lnTo>
                  <a:lnTo>
                    <a:pt x="469" y="39"/>
                  </a:lnTo>
                  <a:lnTo>
                    <a:pt x="471" y="39"/>
                  </a:lnTo>
                  <a:lnTo>
                    <a:pt x="471" y="41"/>
                  </a:lnTo>
                  <a:lnTo>
                    <a:pt x="471" y="41"/>
                  </a:lnTo>
                  <a:lnTo>
                    <a:pt x="474" y="41"/>
                  </a:lnTo>
                  <a:lnTo>
                    <a:pt x="474" y="41"/>
                  </a:lnTo>
                  <a:lnTo>
                    <a:pt x="474" y="41"/>
                  </a:lnTo>
                  <a:lnTo>
                    <a:pt x="474" y="41"/>
                  </a:lnTo>
                  <a:lnTo>
                    <a:pt x="476" y="41"/>
                  </a:lnTo>
                  <a:lnTo>
                    <a:pt x="476" y="41"/>
                  </a:lnTo>
                  <a:lnTo>
                    <a:pt x="476" y="43"/>
                  </a:lnTo>
                  <a:lnTo>
                    <a:pt x="474" y="43"/>
                  </a:lnTo>
                  <a:lnTo>
                    <a:pt x="474" y="43"/>
                  </a:lnTo>
                  <a:lnTo>
                    <a:pt x="474" y="43"/>
                  </a:lnTo>
                  <a:lnTo>
                    <a:pt x="471" y="41"/>
                  </a:lnTo>
                  <a:lnTo>
                    <a:pt x="471" y="41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1" y="43"/>
                  </a:lnTo>
                  <a:lnTo>
                    <a:pt x="474" y="43"/>
                  </a:lnTo>
                  <a:lnTo>
                    <a:pt x="474" y="43"/>
                  </a:lnTo>
                  <a:lnTo>
                    <a:pt x="474" y="43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4" y="48"/>
                  </a:lnTo>
                  <a:lnTo>
                    <a:pt x="474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6" y="48"/>
                  </a:lnTo>
                  <a:lnTo>
                    <a:pt x="478" y="50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48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2"/>
                  </a:lnTo>
                  <a:lnTo>
                    <a:pt x="480" y="52"/>
                  </a:lnTo>
                  <a:lnTo>
                    <a:pt x="480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80" y="52"/>
                  </a:lnTo>
                  <a:lnTo>
                    <a:pt x="480" y="52"/>
                  </a:lnTo>
                  <a:lnTo>
                    <a:pt x="480" y="52"/>
                  </a:lnTo>
                  <a:lnTo>
                    <a:pt x="480" y="52"/>
                  </a:lnTo>
                  <a:lnTo>
                    <a:pt x="480" y="52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0"/>
                  </a:lnTo>
                  <a:lnTo>
                    <a:pt x="474" y="50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69" y="54"/>
                  </a:lnTo>
                  <a:lnTo>
                    <a:pt x="469" y="54"/>
                  </a:lnTo>
                  <a:lnTo>
                    <a:pt x="467" y="54"/>
                  </a:lnTo>
                  <a:lnTo>
                    <a:pt x="465" y="54"/>
                  </a:lnTo>
                  <a:lnTo>
                    <a:pt x="465" y="54"/>
                  </a:lnTo>
                  <a:lnTo>
                    <a:pt x="465" y="54"/>
                  </a:lnTo>
                  <a:lnTo>
                    <a:pt x="465" y="54"/>
                  </a:lnTo>
                  <a:lnTo>
                    <a:pt x="467" y="54"/>
                  </a:lnTo>
                  <a:lnTo>
                    <a:pt x="467" y="54"/>
                  </a:lnTo>
                  <a:lnTo>
                    <a:pt x="469" y="54"/>
                  </a:lnTo>
                  <a:lnTo>
                    <a:pt x="469" y="54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7"/>
                  </a:lnTo>
                  <a:lnTo>
                    <a:pt x="469" y="59"/>
                  </a:lnTo>
                  <a:lnTo>
                    <a:pt x="469" y="59"/>
                  </a:lnTo>
                  <a:lnTo>
                    <a:pt x="469" y="59"/>
                  </a:lnTo>
                  <a:lnTo>
                    <a:pt x="471" y="59"/>
                  </a:lnTo>
                  <a:lnTo>
                    <a:pt x="471" y="59"/>
                  </a:lnTo>
                  <a:lnTo>
                    <a:pt x="471" y="59"/>
                  </a:lnTo>
                  <a:lnTo>
                    <a:pt x="471" y="59"/>
                  </a:lnTo>
                  <a:lnTo>
                    <a:pt x="471" y="59"/>
                  </a:lnTo>
                  <a:lnTo>
                    <a:pt x="474" y="59"/>
                  </a:lnTo>
                  <a:lnTo>
                    <a:pt x="474" y="59"/>
                  </a:lnTo>
                  <a:lnTo>
                    <a:pt x="474" y="59"/>
                  </a:lnTo>
                  <a:lnTo>
                    <a:pt x="474" y="59"/>
                  </a:lnTo>
                  <a:lnTo>
                    <a:pt x="474" y="59"/>
                  </a:lnTo>
                  <a:lnTo>
                    <a:pt x="474" y="59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4" y="61"/>
                  </a:lnTo>
                  <a:lnTo>
                    <a:pt x="471" y="61"/>
                  </a:lnTo>
                  <a:lnTo>
                    <a:pt x="471" y="61"/>
                  </a:lnTo>
                  <a:lnTo>
                    <a:pt x="471" y="61"/>
                  </a:lnTo>
                  <a:lnTo>
                    <a:pt x="471" y="63"/>
                  </a:lnTo>
                  <a:lnTo>
                    <a:pt x="471" y="63"/>
                  </a:lnTo>
                  <a:lnTo>
                    <a:pt x="471" y="63"/>
                  </a:lnTo>
                  <a:lnTo>
                    <a:pt x="471" y="63"/>
                  </a:lnTo>
                  <a:lnTo>
                    <a:pt x="471" y="63"/>
                  </a:lnTo>
                  <a:lnTo>
                    <a:pt x="471" y="63"/>
                  </a:lnTo>
                  <a:lnTo>
                    <a:pt x="471" y="63"/>
                  </a:lnTo>
                  <a:lnTo>
                    <a:pt x="469" y="63"/>
                  </a:lnTo>
                  <a:lnTo>
                    <a:pt x="469" y="63"/>
                  </a:lnTo>
                  <a:lnTo>
                    <a:pt x="469" y="63"/>
                  </a:lnTo>
                  <a:lnTo>
                    <a:pt x="469" y="63"/>
                  </a:lnTo>
                  <a:lnTo>
                    <a:pt x="469" y="63"/>
                  </a:lnTo>
                  <a:lnTo>
                    <a:pt x="469" y="63"/>
                  </a:lnTo>
                  <a:lnTo>
                    <a:pt x="469" y="63"/>
                  </a:lnTo>
                  <a:lnTo>
                    <a:pt x="471" y="66"/>
                  </a:lnTo>
                  <a:lnTo>
                    <a:pt x="471" y="66"/>
                  </a:lnTo>
                  <a:lnTo>
                    <a:pt x="471" y="66"/>
                  </a:lnTo>
                  <a:lnTo>
                    <a:pt x="474" y="66"/>
                  </a:lnTo>
                  <a:lnTo>
                    <a:pt x="474" y="66"/>
                  </a:lnTo>
                  <a:lnTo>
                    <a:pt x="474" y="66"/>
                  </a:lnTo>
                  <a:lnTo>
                    <a:pt x="474" y="66"/>
                  </a:lnTo>
                  <a:lnTo>
                    <a:pt x="474" y="66"/>
                  </a:lnTo>
                  <a:lnTo>
                    <a:pt x="474" y="68"/>
                  </a:lnTo>
                  <a:lnTo>
                    <a:pt x="476" y="68"/>
                  </a:lnTo>
                  <a:lnTo>
                    <a:pt x="476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6" y="70"/>
                  </a:lnTo>
                  <a:lnTo>
                    <a:pt x="476" y="70"/>
                  </a:lnTo>
                  <a:lnTo>
                    <a:pt x="476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6" y="70"/>
                  </a:lnTo>
                  <a:lnTo>
                    <a:pt x="476" y="72"/>
                  </a:lnTo>
                  <a:lnTo>
                    <a:pt x="476" y="72"/>
                  </a:lnTo>
                  <a:lnTo>
                    <a:pt x="478" y="72"/>
                  </a:lnTo>
                  <a:lnTo>
                    <a:pt x="480" y="72"/>
                  </a:lnTo>
                  <a:lnTo>
                    <a:pt x="480" y="72"/>
                  </a:lnTo>
                  <a:lnTo>
                    <a:pt x="480" y="72"/>
                  </a:lnTo>
                  <a:lnTo>
                    <a:pt x="478" y="72"/>
                  </a:lnTo>
                  <a:lnTo>
                    <a:pt x="478" y="72"/>
                  </a:lnTo>
                  <a:lnTo>
                    <a:pt x="478" y="72"/>
                  </a:lnTo>
                  <a:lnTo>
                    <a:pt x="478" y="75"/>
                  </a:lnTo>
                  <a:lnTo>
                    <a:pt x="478" y="75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5"/>
                  </a:lnTo>
                  <a:lnTo>
                    <a:pt x="480" y="75"/>
                  </a:lnTo>
                  <a:lnTo>
                    <a:pt x="480" y="75"/>
                  </a:lnTo>
                  <a:lnTo>
                    <a:pt x="480" y="77"/>
                  </a:lnTo>
                  <a:lnTo>
                    <a:pt x="483" y="77"/>
                  </a:lnTo>
                  <a:lnTo>
                    <a:pt x="483" y="79"/>
                  </a:lnTo>
                  <a:lnTo>
                    <a:pt x="483" y="79"/>
                  </a:lnTo>
                  <a:lnTo>
                    <a:pt x="483" y="79"/>
                  </a:lnTo>
                  <a:lnTo>
                    <a:pt x="483" y="79"/>
                  </a:lnTo>
                  <a:lnTo>
                    <a:pt x="483" y="79"/>
                  </a:lnTo>
                  <a:lnTo>
                    <a:pt x="485" y="81"/>
                  </a:lnTo>
                  <a:lnTo>
                    <a:pt x="485" y="81"/>
                  </a:lnTo>
                  <a:lnTo>
                    <a:pt x="485" y="84"/>
                  </a:lnTo>
                  <a:lnTo>
                    <a:pt x="487" y="84"/>
                  </a:lnTo>
                  <a:lnTo>
                    <a:pt x="487" y="84"/>
                  </a:lnTo>
                  <a:lnTo>
                    <a:pt x="487" y="84"/>
                  </a:lnTo>
                  <a:lnTo>
                    <a:pt x="487" y="84"/>
                  </a:lnTo>
                  <a:lnTo>
                    <a:pt x="487" y="84"/>
                  </a:lnTo>
                  <a:lnTo>
                    <a:pt x="487" y="86"/>
                  </a:lnTo>
                  <a:lnTo>
                    <a:pt x="487" y="86"/>
                  </a:lnTo>
                  <a:lnTo>
                    <a:pt x="487" y="86"/>
                  </a:lnTo>
                  <a:lnTo>
                    <a:pt x="487" y="88"/>
                  </a:lnTo>
                  <a:lnTo>
                    <a:pt x="487" y="88"/>
                  </a:lnTo>
                  <a:lnTo>
                    <a:pt x="487" y="88"/>
                  </a:lnTo>
                  <a:lnTo>
                    <a:pt x="485" y="88"/>
                  </a:lnTo>
                  <a:lnTo>
                    <a:pt x="485" y="88"/>
                  </a:lnTo>
                  <a:lnTo>
                    <a:pt x="485" y="90"/>
                  </a:lnTo>
                  <a:lnTo>
                    <a:pt x="485" y="90"/>
                  </a:lnTo>
                  <a:lnTo>
                    <a:pt x="485" y="90"/>
                  </a:lnTo>
                  <a:lnTo>
                    <a:pt x="485" y="90"/>
                  </a:lnTo>
                  <a:lnTo>
                    <a:pt x="485" y="90"/>
                  </a:lnTo>
                  <a:lnTo>
                    <a:pt x="483" y="90"/>
                  </a:lnTo>
                  <a:lnTo>
                    <a:pt x="483" y="90"/>
                  </a:lnTo>
                  <a:lnTo>
                    <a:pt x="483" y="90"/>
                  </a:lnTo>
                  <a:lnTo>
                    <a:pt x="483" y="93"/>
                  </a:lnTo>
                  <a:lnTo>
                    <a:pt x="485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0" y="93"/>
                  </a:lnTo>
                  <a:lnTo>
                    <a:pt x="480" y="93"/>
                  </a:lnTo>
                  <a:lnTo>
                    <a:pt x="480" y="93"/>
                  </a:lnTo>
                  <a:lnTo>
                    <a:pt x="480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3"/>
                  </a:lnTo>
                  <a:lnTo>
                    <a:pt x="483" y="95"/>
                  </a:lnTo>
                  <a:lnTo>
                    <a:pt x="483" y="95"/>
                  </a:lnTo>
                  <a:lnTo>
                    <a:pt x="483" y="95"/>
                  </a:lnTo>
                  <a:lnTo>
                    <a:pt x="483" y="95"/>
                  </a:lnTo>
                  <a:lnTo>
                    <a:pt x="483" y="95"/>
                  </a:lnTo>
                  <a:lnTo>
                    <a:pt x="483" y="97"/>
                  </a:lnTo>
                  <a:lnTo>
                    <a:pt x="483" y="97"/>
                  </a:lnTo>
                  <a:lnTo>
                    <a:pt x="483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5" y="97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7" y="99"/>
                  </a:lnTo>
                  <a:lnTo>
                    <a:pt x="489" y="102"/>
                  </a:lnTo>
                  <a:lnTo>
                    <a:pt x="489" y="102"/>
                  </a:lnTo>
                  <a:lnTo>
                    <a:pt x="492" y="104"/>
                  </a:lnTo>
                  <a:lnTo>
                    <a:pt x="494" y="104"/>
                  </a:lnTo>
                  <a:lnTo>
                    <a:pt x="494" y="104"/>
                  </a:lnTo>
                  <a:lnTo>
                    <a:pt x="494" y="104"/>
                  </a:lnTo>
                  <a:lnTo>
                    <a:pt x="494" y="106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4" y="106"/>
                  </a:lnTo>
                  <a:lnTo>
                    <a:pt x="494" y="106"/>
                  </a:lnTo>
                  <a:lnTo>
                    <a:pt x="494" y="106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8" y="108"/>
                  </a:lnTo>
                  <a:lnTo>
                    <a:pt x="498" y="108"/>
                  </a:lnTo>
                  <a:lnTo>
                    <a:pt x="498" y="108"/>
                  </a:lnTo>
                  <a:lnTo>
                    <a:pt x="498" y="108"/>
                  </a:lnTo>
                  <a:lnTo>
                    <a:pt x="501" y="111"/>
                  </a:lnTo>
                  <a:lnTo>
                    <a:pt x="501" y="111"/>
                  </a:lnTo>
                  <a:lnTo>
                    <a:pt x="503" y="111"/>
                  </a:lnTo>
                  <a:lnTo>
                    <a:pt x="503" y="111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3"/>
                  </a:lnTo>
                  <a:lnTo>
                    <a:pt x="503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5" y="115"/>
                  </a:lnTo>
                  <a:lnTo>
                    <a:pt x="507" y="115"/>
                  </a:lnTo>
                  <a:lnTo>
                    <a:pt x="507" y="115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17"/>
                  </a:lnTo>
                  <a:lnTo>
                    <a:pt x="507" y="120"/>
                  </a:lnTo>
                  <a:lnTo>
                    <a:pt x="507" y="120"/>
                  </a:lnTo>
                  <a:lnTo>
                    <a:pt x="507" y="120"/>
                  </a:lnTo>
                  <a:lnTo>
                    <a:pt x="505" y="120"/>
                  </a:lnTo>
                  <a:lnTo>
                    <a:pt x="505" y="120"/>
                  </a:lnTo>
                  <a:lnTo>
                    <a:pt x="505" y="122"/>
                  </a:lnTo>
                  <a:lnTo>
                    <a:pt x="505" y="122"/>
                  </a:lnTo>
                  <a:lnTo>
                    <a:pt x="503" y="122"/>
                  </a:lnTo>
                  <a:lnTo>
                    <a:pt x="503" y="122"/>
                  </a:lnTo>
                  <a:lnTo>
                    <a:pt x="503" y="122"/>
                  </a:lnTo>
                  <a:lnTo>
                    <a:pt x="503" y="122"/>
                  </a:lnTo>
                  <a:lnTo>
                    <a:pt x="503" y="122"/>
                  </a:lnTo>
                  <a:lnTo>
                    <a:pt x="503" y="122"/>
                  </a:lnTo>
                  <a:lnTo>
                    <a:pt x="501" y="122"/>
                  </a:lnTo>
                  <a:lnTo>
                    <a:pt x="501" y="122"/>
                  </a:lnTo>
                  <a:lnTo>
                    <a:pt x="501" y="122"/>
                  </a:lnTo>
                  <a:lnTo>
                    <a:pt x="501" y="122"/>
                  </a:lnTo>
                  <a:lnTo>
                    <a:pt x="501" y="122"/>
                  </a:lnTo>
                  <a:lnTo>
                    <a:pt x="498" y="122"/>
                  </a:lnTo>
                  <a:lnTo>
                    <a:pt x="498" y="122"/>
                  </a:lnTo>
                  <a:lnTo>
                    <a:pt x="498" y="122"/>
                  </a:lnTo>
                  <a:lnTo>
                    <a:pt x="498" y="122"/>
                  </a:lnTo>
                  <a:lnTo>
                    <a:pt x="498" y="122"/>
                  </a:lnTo>
                  <a:lnTo>
                    <a:pt x="498" y="122"/>
                  </a:lnTo>
                  <a:lnTo>
                    <a:pt x="498" y="122"/>
                  </a:lnTo>
                  <a:lnTo>
                    <a:pt x="496" y="122"/>
                  </a:lnTo>
                  <a:lnTo>
                    <a:pt x="496" y="122"/>
                  </a:lnTo>
                  <a:lnTo>
                    <a:pt x="496" y="122"/>
                  </a:lnTo>
                  <a:lnTo>
                    <a:pt x="496" y="122"/>
                  </a:lnTo>
                  <a:lnTo>
                    <a:pt x="496" y="122"/>
                  </a:lnTo>
                  <a:lnTo>
                    <a:pt x="494" y="122"/>
                  </a:lnTo>
                  <a:lnTo>
                    <a:pt x="494" y="122"/>
                  </a:lnTo>
                  <a:lnTo>
                    <a:pt x="494" y="122"/>
                  </a:lnTo>
                  <a:lnTo>
                    <a:pt x="494" y="122"/>
                  </a:lnTo>
                  <a:lnTo>
                    <a:pt x="494" y="122"/>
                  </a:lnTo>
                  <a:lnTo>
                    <a:pt x="494" y="120"/>
                  </a:lnTo>
                  <a:lnTo>
                    <a:pt x="494" y="120"/>
                  </a:lnTo>
                  <a:lnTo>
                    <a:pt x="492" y="120"/>
                  </a:lnTo>
                  <a:lnTo>
                    <a:pt x="489" y="120"/>
                  </a:lnTo>
                  <a:lnTo>
                    <a:pt x="489" y="120"/>
                  </a:lnTo>
                  <a:lnTo>
                    <a:pt x="487" y="120"/>
                  </a:lnTo>
                  <a:lnTo>
                    <a:pt x="487" y="117"/>
                  </a:lnTo>
                  <a:lnTo>
                    <a:pt x="487" y="117"/>
                  </a:lnTo>
                  <a:lnTo>
                    <a:pt x="487" y="115"/>
                  </a:lnTo>
                  <a:lnTo>
                    <a:pt x="487" y="115"/>
                  </a:lnTo>
                  <a:lnTo>
                    <a:pt x="487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5"/>
                  </a:lnTo>
                  <a:lnTo>
                    <a:pt x="485" y="117"/>
                  </a:lnTo>
                  <a:lnTo>
                    <a:pt x="487" y="117"/>
                  </a:lnTo>
                  <a:lnTo>
                    <a:pt x="487" y="117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0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3" y="122"/>
                  </a:lnTo>
                  <a:lnTo>
                    <a:pt x="483" y="122"/>
                  </a:lnTo>
                  <a:lnTo>
                    <a:pt x="483" y="122"/>
                  </a:lnTo>
                  <a:lnTo>
                    <a:pt x="483" y="122"/>
                  </a:lnTo>
                  <a:lnTo>
                    <a:pt x="480" y="124"/>
                  </a:lnTo>
                  <a:lnTo>
                    <a:pt x="480" y="124"/>
                  </a:lnTo>
                  <a:lnTo>
                    <a:pt x="480" y="126"/>
                  </a:lnTo>
                  <a:lnTo>
                    <a:pt x="480" y="126"/>
                  </a:lnTo>
                  <a:lnTo>
                    <a:pt x="480" y="126"/>
                  </a:lnTo>
                  <a:lnTo>
                    <a:pt x="480" y="126"/>
                  </a:lnTo>
                  <a:lnTo>
                    <a:pt x="480" y="126"/>
                  </a:lnTo>
                  <a:lnTo>
                    <a:pt x="480" y="126"/>
                  </a:lnTo>
                  <a:lnTo>
                    <a:pt x="480" y="129"/>
                  </a:lnTo>
                  <a:lnTo>
                    <a:pt x="478" y="129"/>
                  </a:lnTo>
                  <a:lnTo>
                    <a:pt x="478" y="129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5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38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0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7"/>
                  </a:lnTo>
                  <a:lnTo>
                    <a:pt x="476" y="147"/>
                  </a:lnTo>
                  <a:lnTo>
                    <a:pt x="476" y="147"/>
                  </a:lnTo>
                  <a:lnTo>
                    <a:pt x="476" y="147"/>
                  </a:lnTo>
                  <a:lnTo>
                    <a:pt x="476" y="149"/>
                  </a:lnTo>
                  <a:lnTo>
                    <a:pt x="476" y="149"/>
                  </a:lnTo>
                  <a:lnTo>
                    <a:pt x="476" y="149"/>
                  </a:lnTo>
                  <a:lnTo>
                    <a:pt x="476" y="149"/>
                  </a:lnTo>
                  <a:lnTo>
                    <a:pt x="476" y="149"/>
                  </a:lnTo>
                  <a:lnTo>
                    <a:pt x="476" y="149"/>
                  </a:lnTo>
                  <a:lnTo>
                    <a:pt x="476" y="151"/>
                  </a:lnTo>
                  <a:lnTo>
                    <a:pt x="476" y="151"/>
                  </a:lnTo>
                  <a:lnTo>
                    <a:pt x="476" y="151"/>
                  </a:lnTo>
                  <a:lnTo>
                    <a:pt x="476" y="151"/>
                  </a:lnTo>
                  <a:lnTo>
                    <a:pt x="476" y="151"/>
                  </a:lnTo>
                  <a:lnTo>
                    <a:pt x="476" y="153"/>
                  </a:lnTo>
                  <a:lnTo>
                    <a:pt x="476" y="153"/>
                  </a:lnTo>
                  <a:lnTo>
                    <a:pt x="476" y="153"/>
                  </a:lnTo>
                  <a:lnTo>
                    <a:pt x="476" y="153"/>
                  </a:lnTo>
                  <a:lnTo>
                    <a:pt x="476" y="153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8" y="151"/>
                  </a:lnTo>
                  <a:lnTo>
                    <a:pt x="478" y="153"/>
                  </a:lnTo>
                  <a:lnTo>
                    <a:pt x="478" y="153"/>
                  </a:lnTo>
                  <a:lnTo>
                    <a:pt x="478" y="153"/>
                  </a:lnTo>
                  <a:lnTo>
                    <a:pt x="478" y="153"/>
                  </a:lnTo>
                  <a:lnTo>
                    <a:pt x="478" y="153"/>
                  </a:lnTo>
                  <a:lnTo>
                    <a:pt x="478" y="153"/>
                  </a:lnTo>
                  <a:lnTo>
                    <a:pt x="478" y="153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6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6"/>
                  </a:lnTo>
                  <a:lnTo>
                    <a:pt x="478" y="158"/>
                  </a:lnTo>
                  <a:lnTo>
                    <a:pt x="476" y="158"/>
                  </a:lnTo>
                  <a:lnTo>
                    <a:pt x="478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6" y="158"/>
                  </a:lnTo>
                  <a:lnTo>
                    <a:pt x="478" y="158"/>
                  </a:lnTo>
                  <a:lnTo>
                    <a:pt x="478" y="158"/>
                  </a:lnTo>
                  <a:lnTo>
                    <a:pt x="478" y="158"/>
                  </a:lnTo>
                  <a:lnTo>
                    <a:pt x="478" y="158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8" y="160"/>
                  </a:lnTo>
                  <a:lnTo>
                    <a:pt x="476" y="160"/>
                  </a:lnTo>
                  <a:lnTo>
                    <a:pt x="476" y="160"/>
                  </a:lnTo>
                  <a:lnTo>
                    <a:pt x="476" y="160"/>
                  </a:lnTo>
                  <a:lnTo>
                    <a:pt x="476" y="160"/>
                  </a:lnTo>
                  <a:lnTo>
                    <a:pt x="476" y="160"/>
                  </a:lnTo>
                  <a:lnTo>
                    <a:pt x="476" y="162"/>
                  </a:lnTo>
                  <a:lnTo>
                    <a:pt x="476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0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0"/>
                  </a:lnTo>
                  <a:lnTo>
                    <a:pt x="471" y="160"/>
                  </a:lnTo>
                  <a:lnTo>
                    <a:pt x="471" y="160"/>
                  </a:lnTo>
                  <a:lnTo>
                    <a:pt x="471" y="160"/>
                  </a:lnTo>
                  <a:lnTo>
                    <a:pt x="471" y="162"/>
                  </a:lnTo>
                  <a:lnTo>
                    <a:pt x="471" y="162"/>
                  </a:lnTo>
                  <a:lnTo>
                    <a:pt x="471" y="162"/>
                  </a:lnTo>
                  <a:lnTo>
                    <a:pt x="471" y="162"/>
                  </a:lnTo>
                  <a:lnTo>
                    <a:pt x="469" y="165"/>
                  </a:lnTo>
                  <a:lnTo>
                    <a:pt x="469" y="165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69"/>
                  </a:lnTo>
                  <a:lnTo>
                    <a:pt x="467" y="169"/>
                  </a:lnTo>
                  <a:lnTo>
                    <a:pt x="467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5" y="171"/>
                  </a:lnTo>
                  <a:lnTo>
                    <a:pt x="462" y="171"/>
                  </a:lnTo>
                  <a:lnTo>
                    <a:pt x="462" y="171"/>
                  </a:lnTo>
                  <a:lnTo>
                    <a:pt x="462" y="171"/>
                  </a:lnTo>
                  <a:lnTo>
                    <a:pt x="462" y="171"/>
                  </a:lnTo>
                  <a:lnTo>
                    <a:pt x="462" y="169"/>
                  </a:lnTo>
                  <a:lnTo>
                    <a:pt x="462" y="169"/>
                  </a:lnTo>
                  <a:lnTo>
                    <a:pt x="462" y="169"/>
                  </a:lnTo>
                  <a:lnTo>
                    <a:pt x="462" y="169"/>
                  </a:lnTo>
                  <a:lnTo>
                    <a:pt x="462" y="169"/>
                  </a:lnTo>
                  <a:lnTo>
                    <a:pt x="462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7"/>
                  </a:lnTo>
                  <a:lnTo>
                    <a:pt x="460" y="167"/>
                  </a:lnTo>
                  <a:lnTo>
                    <a:pt x="460" y="165"/>
                  </a:lnTo>
                  <a:lnTo>
                    <a:pt x="460" y="165"/>
                  </a:lnTo>
                  <a:lnTo>
                    <a:pt x="460" y="167"/>
                  </a:lnTo>
                  <a:lnTo>
                    <a:pt x="460" y="167"/>
                  </a:lnTo>
                  <a:lnTo>
                    <a:pt x="460" y="167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69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1"/>
                  </a:lnTo>
                  <a:lnTo>
                    <a:pt x="460" y="174"/>
                  </a:lnTo>
                  <a:lnTo>
                    <a:pt x="460" y="174"/>
                  </a:lnTo>
                  <a:lnTo>
                    <a:pt x="460" y="174"/>
                  </a:lnTo>
                  <a:lnTo>
                    <a:pt x="460" y="174"/>
                  </a:lnTo>
                  <a:lnTo>
                    <a:pt x="458" y="176"/>
                  </a:lnTo>
                  <a:lnTo>
                    <a:pt x="456" y="176"/>
                  </a:lnTo>
                  <a:lnTo>
                    <a:pt x="456" y="176"/>
                  </a:lnTo>
                  <a:lnTo>
                    <a:pt x="456" y="178"/>
                  </a:lnTo>
                  <a:lnTo>
                    <a:pt x="456" y="178"/>
                  </a:lnTo>
                  <a:lnTo>
                    <a:pt x="456" y="178"/>
                  </a:lnTo>
                  <a:lnTo>
                    <a:pt x="456" y="178"/>
                  </a:lnTo>
                  <a:lnTo>
                    <a:pt x="456" y="178"/>
                  </a:lnTo>
                  <a:lnTo>
                    <a:pt x="456" y="180"/>
                  </a:lnTo>
                  <a:lnTo>
                    <a:pt x="456" y="180"/>
                  </a:lnTo>
                  <a:lnTo>
                    <a:pt x="456" y="180"/>
                  </a:lnTo>
                  <a:lnTo>
                    <a:pt x="453" y="180"/>
                  </a:lnTo>
                  <a:lnTo>
                    <a:pt x="453" y="180"/>
                  </a:lnTo>
                  <a:lnTo>
                    <a:pt x="451" y="180"/>
                  </a:lnTo>
                  <a:lnTo>
                    <a:pt x="451" y="182"/>
                  </a:lnTo>
                  <a:lnTo>
                    <a:pt x="449" y="182"/>
                  </a:lnTo>
                  <a:lnTo>
                    <a:pt x="449" y="182"/>
                  </a:lnTo>
                  <a:lnTo>
                    <a:pt x="449" y="182"/>
                  </a:lnTo>
                  <a:lnTo>
                    <a:pt x="449" y="182"/>
                  </a:lnTo>
                  <a:lnTo>
                    <a:pt x="449" y="185"/>
                  </a:lnTo>
                  <a:lnTo>
                    <a:pt x="449" y="185"/>
                  </a:lnTo>
                  <a:lnTo>
                    <a:pt x="451" y="185"/>
                  </a:lnTo>
                  <a:lnTo>
                    <a:pt x="451" y="185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1" y="182"/>
                  </a:lnTo>
                  <a:lnTo>
                    <a:pt x="453" y="182"/>
                  </a:lnTo>
                  <a:lnTo>
                    <a:pt x="453" y="182"/>
                  </a:lnTo>
                  <a:lnTo>
                    <a:pt x="453" y="182"/>
                  </a:lnTo>
                  <a:lnTo>
                    <a:pt x="453" y="182"/>
                  </a:lnTo>
                  <a:lnTo>
                    <a:pt x="453" y="182"/>
                  </a:lnTo>
                  <a:lnTo>
                    <a:pt x="453" y="185"/>
                  </a:lnTo>
                  <a:lnTo>
                    <a:pt x="453" y="185"/>
                  </a:lnTo>
                  <a:lnTo>
                    <a:pt x="453" y="185"/>
                  </a:lnTo>
                  <a:lnTo>
                    <a:pt x="453" y="185"/>
                  </a:lnTo>
                  <a:lnTo>
                    <a:pt x="453" y="187"/>
                  </a:lnTo>
                  <a:lnTo>
                    <a:pt x="453" y="187"/>
                  </a:lnTo>
                  <a:lnTo>
                    <a:pt x="453" y="189"/>
                  </a:lnTo>
                  <a:lnTo>
                    <a:pt x="453" y="189"/>
                  </a:lnTo>
                  <a:lnTo>
                    <a:pt x="453" y="189"/>
                  </a:lnTo>
                  <a:lnTo>
                    <a:pt x="453" y="191"/>
                  </a:lnTo>
                  <a:lnTo>
                    <a:pt x="451" y="191"/>
                  </a:lnTo>
                  <a:lnTo>
                    <a:pt x="451" y="191"/>
                  </a:lnTo>
                  <a:lnTo>
                    <a:pt x="451" y="191"/>
                  </a:lnTo>
                  <a:lnTo>
                    <a:pt x="451" y="191"/>
                  </a:lnTo>
                  <a:lnTo>
                    <a:pt x="451" y="194"/>
                  </a:lnTo>
                  <a:lnTo>
                    <a:pt x="451" y="194"/>
                  </a:lnTo>
                  <a:lnTo>
                    <a:pt x="451" y="191"/>
                  </a:lnTo>
                  <a:lnTo>
                    <a:pt x="451" y="191"/>
                  </a:lnTo>
                  <a:lnTo>
                    <a:pt x="451" y="191"/>
                  </a:lnTo>
                  <a:lnTo>
                    <a:pt x="453" y="194"/>
                  </a:lnTo>
                  <a:lnTo>
                    <a:pt x="453" y="194"/>
                  </a:lnTo>
                  <a:lnTo>
                    <a:pt x="453" y="194"/>
                  </a:lnTo>
                  <a:lnTo>
                    <a:pt x="456" y="194"/>
                  </a:lnTo>
                  <a:lnTo>
                    <a:pt x="456" y="191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6" y="194"/>
                  </a:lnTo>
                  <a:lnTo>
                    <a:pt x="458" y="194"/>
                  </a:lnTo>
                  <a:lnTo>
                    <a:pt x="456" y="194"/>
                  </a:lnTo>
                  <a:lnTo>
                    <a:pt x="456" y="200"/>
                  </a:lnTo>
                  <a:lnTo>
                    <a:pt x="456" y="203"/>
                  </a:lnTo>
                  <a:lnTo>
                    <a:pt x="453" y="203"/>
                  </a:lnTo>
                  <a:lnTo>
                    <a:pt x="453" y="203"/>
                  </a:lnTo>
                  <a:lnTo>
                    <a:pt x="453" y="200"/>
                  </a:lnTo>
                  <a:lnTo>
                    <a:pt x="453" y="200"/>
                  </a:lnTo>
                  <a:lnTo>
                    <a:pt x="453" y="200"/>
                  </a:lnTo>
                  <a:lnTo>
                    <a:pt x="453" y="200"/>
                  </a:lnTo>
                  <a:lnTo>
                    <a:pt x="453" y="200"/>
                  </a:lnTo>
                  <a:lnTo>
                    <a:pt x="453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0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3"/>
                  </a:lnTo>
                  <a:lnTo>
                    <a:pt x="451" y="205"/>
                  </a:lnTo>
                  <a:lnTo>
                    <a:pt x="451" y="207"/>
                  </a:lnTo>
                  <a:lnTo>
                    <a:pt x="451" y="209"/>
                  </a:lnTo>
                  <a:lnTo>
                    <a:pt x="451" y="209"/>
                  </a:lnTo>
                  <a:lnTo>
                    <a:pt x="451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12"/>
                  </a:lnTo>
                  <a:lnTo>
                    <a:pt x="449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7"/>
                  </a:lnTo>
                  <a:lnTo>
                    <a:pt x="447" y="207"/>
                  </a:lnTo>
                  <a:lnTo>
                    <a:pt x="447" y="207"/>
                  </a:lnTo>
                  <a:lnTo>
                    <a:pt x="447" y="207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09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2"/>
                  </a:lnTo>
                  <a:lnTo>
                    <a:pt x="447" y="214"/>
                  </a:lnTo>
                  <a:lnTo>
                    <a:pt x="447" y="214"/>
                  </a:lnTo>
                  <a:lnTo>
                    <a:pt x="447" y="214"/>
                  </a:lnTo>
                  <a:lnTo>
                    <a:pt x="449" y="214"/>
                  </a:lnTo>
                  <a:lnTo>
                    <a:pt x="449" y="216"/>
                  </a:lnTo>
                  <a:lnTo>
                    <a:pt x="449" y="216"/>
                  </a:lnTo>
                  <a:lnTo>
                    <a:pt x="449" y="216"/>
                  </a:lnTo>
                  <a:lnTo>
                    <a:pt x="447" y="216"/>
                  </a:lnTo>
                  <a:lnTo>
                    <a:pt x="447" y="216"/>
                  </a:lnTo>
                  <a:lnTo>
                    <a:pt x="447" y="216"/>
                  </a:lnTo>
                  <a:lnTo>
                    <a:pt x="447" y="216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7" y="218"/>
                  </a:lnTo>
                  <a:lnTo>
                    <a:pt x="444" y="218"/>
                  </a:lnTo>
                  <a:lnTo>
                    <a:pt x="444" y="221"/>
                  </a:lnTo>
                  <a:lnTo>
                    <a:pt x="444" y="223"/>
                  </a:lnTo>
                  <a:lnTo>
                    <a:pt x="442" y="223"/>
                  </a:lnTo>
                  <a:lnTo>
                    <a:pt x="442" y="225"/>
                  </a:lnTo>
                  <a:lnTo>
                    <a:pt x="442" y="225"/>
                  </a:lnTo>
                  <a:lnTo>
                    <a:pt x="442" y="227"/>
                  </a:lnTo>
                  <a:lnTo>
                    <a:pt x="442" y="227"/>
                  </a:lnTo>
                  <a:lnTo>
                    <a:pt x="440" y="227"/>
                  </a:lnTo>
                  <a:lnTo>
                    <a:pt x="440" y="227"/>
                  </a:lnTo>
                  <a:lnTo>
                    <a:pt x="440" y="227"/>
                  </a:lnTo>
                  <a:lnTo>
                    <a:pt x="438" y="227"/>
                  </a:lnTo>
                  <a:lnTo>
                    <a:pt x="438" y="230"/>
                  </a:lnTo>
                  <a:lnTo>
                    <a:pt x="433" y="232"/>
                  </a:lnTo>
                  <a:lnTo>
                    <a:pt x="429" y="234"/>
                  </a:lnTo>
                  <a:lnTo>
                    <a:pt x="422" y="236"/>
                  </a:lnTo>
                  <a:lnTo>
                    <a:pt x="420" y="239"/>
                  </a:lnTo>
                  <a:lnTo>
                    <a:pt x="415" y="241"/>
                  </a:lnTo>
                  <a:lnTo>
                    <a:pt x="415" y="241"/>
                  </a:lnTo>
                  <a:lnTo>
                    <a:pt x="413" y="241"/>
                  </a:lnTo>
                  <a:lnTo>
                    <a:pt x="413" y="239"/>
                  </a:lnTo>
                  <a:lnTo>
                    <a:pt x="413" y="239"/>
                  </a:lnTo>
                  <a:lnTo>
                    <a:pt x="413" y="236"/>
                  </a:lnTo>
                  <a:lnTo>
                    <a:pt x="413" y="234"/>
                  </a:lnTo>
                  <a:lnTo>
                    <a:pt x="413" y="232"/>
                  </a:lnTo>
                  <a:lnTo>
                    <a:pt x="413" y="230"/>
                  </a:lnTo>
                  <a:lnTo>
                    <a:pt x="413" y="227"/>
                  </a:lnTo>
                  <a:lnTo>
                    <a:pt x="413" y="225"/>
                  </a:lnTo>
                  <a:lnTo>
                    <a:pt x="413" y="225"/>
                  </a:lnTo>
                  <a:lnTo>
                    <a:pt x="413" y="223"/>
                  </a:lnTo>
                  <a:lnTo>
                    <a:pt x="413" y="221"/>
                  </a:lnTo>
                  <a:lnTo>
                    <a:pt x="413" y="221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11" y="225"/>
                  </a:lnTo>
                  <a:lnTo>
                    <a:pt x="411" y="225"/>
                  </a:lnTo>
                  <a:lnTo>
                    <a:pt x="411" y="223"/>
                  </a:lnTo>
                  <a:lnTo>
                    <a:pt x="408" y="223"/>
                  </a:lnTo>
                  <a:lnTo>
                    <a:pt x="406" y="223"/>
                  </a:lnTo>
                  <a:lnTo>
                    <a:pt x="406" y="223"/>
                  </a:lnTo>
                  <a:lnTo>
                    <a:pt x="406" y="221"/>
                  </a:lnTo>
                  <a:lnTo>
                    <a:pt x="406" y="221"/>
                  </a:lnTo>
                  <a:lnTo>
                    <a:pt x="406" y="221"/>
                  </a:lnTo>
                  <a:lnTo>
                    <a:pt x="406" y="221"/>
                  </a:lnTo>
                  <a:lnTo>
                    <a:pt x="408" y="221"/>
                  </a:lnTo>
                  <a:lnTo>
                    <a:pt x="408" y="218"/>
                  </a:lnTo>
                  <a:lnTo>
                    <a:pt x="408" y="218"/>
                  </a:lnTo>
                  <a:lnTo>
                    <a:pt x="408" y="218"/>
                  </a:lnTo>
                  <a:lnTo>
                    <a:pt x="408" y="218"/>
                  </a:lnTo>
                  <a:lnTo>
                    <a:pt x="408" y="218"/>
                  </a:lnTo>
                  <a:lnTo>
                    <a:pt x="406" y="221"/>
                  </a:lnTo>
                  <a:lnTo>
                    <a:pt x="406" y="221"/>
                  </a:lnTo>
                  <a:lnTo>
                    <a:pt x="404" y="221"/>
                  </a:lnTo>
                  <a:lnTo>
                    <a:pt x="404" y="221"/>
                  </a:lnTo>
                  <a:lnTo>
                    <a:pt x="404" y="221"/>
                  </a:lnTo>
                  <a:lnTo>
                    <a:pt x="404" y="221"/>
                  </a:lnTo>
                  <a:lnTo>
                    <a:pt x="404" y="221"/>
                  </a:lnTo>
                  <a:lnTo>
                    <a:pt x="404" y="218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4" y="218"/>
                  </a:lnTo>
                  <a:lnTo>
                    <a:pt x="404" y="218"/>
                  </a:lnTo>
                  <a:lnTo>
                    <a:pt x="404" y="218"/>
                  </a:lnTo>
                  <a:lnTo>
                    <a:pt x="402" y="221"/>
                  </a:lnTo>
                  <a:lnTo>
                    <a:pt x="402" y="221"/>
                  </a:lnTo>
                  <a:lnTo>
                    <a:pt x="399" y="221"/>
                  </a:lnTo>
                  <a:lnTo>
                    <a:pt x="399" y="223"/>
                  </a:lnTo>
                  <a:lnTo>
                    <a:pt x="397" y="223"/>
                  </a:lnTo>
                  <a:lnTo>
                    <a:pt x="395" y="223"/>
                  </a:lnTo>
                  <a:lnTo>
                    <a:pt x="393" y="223"/>
                  </a:lnTo>
                  <a:lnTo>
                    <a:pt x="393" y="221"/>
                  </a:lnTo>
                  <a:lnTo>
                    <a:pt x="393" y="221"/>
                  </a:lnTo>
                  <a:lnTo>
                    <a:pt x="393" y="218"/>
                  </a:lnTo>
                  <a:lnTo>
                    <a:pt x="393" y="218"/>
                  </a:lnTo>
                  <a:lnTo>
                    <a:pt x="393" y="216"/>
                  </a:lnTo>
                  <a:lnTo>
                    <a:pt x="393" y="216"/>
                  </a:lnTo>
                  <a:lnTo>
                    <a:pt x="393" y="216"/>
                  </a:lnTo>
                  <a:lnTo>
                    <a:pt x="391" y="216"/>
                  </a:lnTo>
                  <a:lnTo>
                    <a:pt x="391" y="216"/>
                  </a:lnTo>
                  <a:lnTo>
                    <a:pt x="391" y="216"/>
                  </a:lnTo>
                  <a:lnTo>
                    <a:pt x="391" y="216"/>
                  </a:lnTo>
                  <a:lnTo>
                    <a:pt x="391" y="218"/>
                  </a:lnTo>
                  <a:lnTo>
                    <a:pt x="391" y="218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8" y="216"/>
                  </a:lnTo>
                  <a:lnTo>
                    <a:pt x="388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8" y="218"/>
                  </a:lnTo>
                  <a:lnTo>
                    <a:pt x="388" y="218"/>
                  </a:lnTo>
                  <a:lnTo>
                    <a:pt x="386" y="218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6" y="216"/>
                  </a:lnTo>
                  <a:lnTo>
                    <a:pt x="384" y="216"/>
                  </a:lnTo>
                  <a:lnTo>
                    <a:pt x="384" y="214"/>
                  </a:lnTo>
                  <a:lnTo>
                    <a:pt x="384" y="214"/>
                  </a:lnTo>
                  <a:lnTo>
                    <a:pt x="384" y="214"/>
                  </a:lnTo>
                  <a:lnTo>
                    <a:pt x="384" y="214"/>
                  </a:lnTo>
                  <a:lnTo>
                    <a:pt x="384" y="214"/>
                  </a:lnTo>
                  <a:lnTo>
                    <a:pt x="382" y="214"/>
                  </a:lnTo>
                  <a:lnTo>
                    <a:pt x="382" y="209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82" y="214"/>
                  </a:lnTo>
                  <a:lnTo>
                    <a:pt x="382" y="214"/>
                  </a:lnTo>
                  <a:lnTo>
                    <a:pt x="382" y="214"/>
                  </a:lnTo>
                  <a:lnTo>
                    <a:pt x="379" y="214"/>
                  </a:lnTo>
                  <a:lnTo>
                    <a:pt x="379" y="214"/>
                  </a:lnTo>
                  <a:lnTo>
                    <a:pt x="379" y="214"/>
                  </a:lnTo>
                  <a:lnTo>
                    <a:pt x="379" y="214"/>
                  </a:lnTo>
                  <a:lnTo>
                    <a:pt x="379" y="214"/>
                  </a:lnTo>
                  <a:lnTo>
                    <a:pt x="379" y="214"/>
                  </a:lnTo>
                  <a:lnTo>
                    <a:pt x="379" y="214"/>
                  </a:lnTo>
                  <a:lnTo>
                    <a:pt x="379" y="216"/>
                  </a:lnTo>
                  <a:lnTo>
                    <a:pt x="379" y="216"/>
                  </a:lnTo>
                  <a:lnTo>
                    <a:pt x="379" y="216"/>
                  </a:lnTo>
                  <a:lnTo>
                    <a:pt x="379" y="216"/>
                  </a:lnTo>
                  <a:lnTo>
                    <a:pt x="379" y="216"/>
                  </a:lnTo>
                  <a:lnTo>
                    <a:pt x="382" y="216"/>
                  </a:lnTo>
                  <a:lnTo>
                    <a:pt x="382" y="216"/>
                  </a:lnTo>
                  <a:lnTo>
                    <a:pt x="382" y="216"/>
                  </a:lnTo>
                  <a:lnTo>
                    <a:pt x="373" y="221"/>
                  </a:lnTo>
                  <a:lnTo>
                    <a:pt x="373" y="223"/>
                  </a:lnTo>
                  <a:lnTo>
                    <a:pt x="373" y="223"/>
                  </a:lnTo>
                  <a:lnTo>
                    <a:pt x="370" y="223"/>
                  </a:lnTo>
                  <a:lnTo>
                    <a:pt x="370" y="223"/>
                  </a:lnTo>
                  <a:lnTo>
                    <a:pt x="370" y="223"/>
                  </a:lnTo>
                  <a:lnTo>
                    <a:pt x="370" y="223"/>
                  </a:lnTo>
                  <a:lnTo>
                    <a:pt x="370" y="223"/>
                  </a:lnTo>
                  <a:lnTo>
                    <a:pt x="370" y="223"/>
                  </a:lnTo>
                  <a:lnTo>
                    <a:pt x="370" y="223"/>
                  </a:lnTo>
                  <a:lnTo>
                    <a:pt x="368" y="221"/>
                  </a:lnTo>
                  <a:lnTo>
                    <a:pt x="366" y="221"/>
                  </a:lnTo>
                  <a:lnTo>
                    <a:pt x="366" y="221"/>
                  </a:lnTo>
                  <a:lnTo>
                    <a:pt x="364" y="221"/>
                  </a:lnTo>
                  <a:lnTo>
                    <a:pt x="361" y="221"/>
                  </a:lnTo>
                  <a:lnTo>
                    <a:pt x="359" y="225"/>
                  </a:lnTo>
                  <a:lnTo>
                    <a:pt x="357" y="225"/>
                  </a:lnTo>
                  <a:lnTo>
                    <a:pt x="357" y="225"/>
                  </a:lnTo>
                  <a:lnTo>
                    <a:pt x="357" y="225"/>
                  </a:lnTo>
                  <a:lnTo>
                    <a:pt x="357" y="225"/>
                  </a:lnTo>
                  <a:lnTo>
                    <a:pt x="355" y="225"/>
                  </a:lnTo>
                  <a:lnTo>
                    <a:pt x="355" y="225"/>
                  </a:lnTo>
                  <a:lnTo>
                    <a:pt x="355" y="225"/>
                  </a:lnTo>
                  <a:lnTo>
                    <a:pt x="355" y="223"/>
                  </a:lnTo>
                  <a:lnTo>
                    <a:pt x="355" y="223"/>
                  </a:lnTo>
                  <a:lnTo>
                    <a:pt x="357" y="221"/>
                  </a:lnTo>
                  <a:lnTo>
                    <a:pt x="357" y="221"/>
                  </a:lnTo>
                  <a:lnTo>
                    <a:pt x="355" y="216"/>
                  </a:lnTo>
                  <a:lnTo>
                    <a:pt x="355" y="216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5" y="209"/>
                  </a:lnTo>
                  <a:lnTo>
                    <a:pt x="355" y="209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5" y="207"/>
                  </a:lnTo>
                  <a:lnTo>
                    <a:pt x="352" y="207"/>
                  </a:lnTo>
                  <a:lnTo>
                    <a:pt x="355" y="209"/>
                  </a:lnTo>
                  <a:lnTo>
                    <a:pt x="355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09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2" y="212"/>
                  </a:lnTo>
                  <a:lnTo>
                    <a:pt x="350" y="212"/>
                  </a:lnTo>
                  <a:lnTo>
                    <a:pt x="350" y="212"/>
                  </a:lnTo>
                  <a:lnTo>
                    <a:pt x="350" y="212"/>
                  </a:lnTo>
                  <a:lnTo>
                    <a:pt x="350" y="212"/>
                  </a:lnTo>
                  <a:lnTo>
                    <a:pt x="350" y="212"/>
                  </a:lnTo>
                  <a:lnTo>
                    <a:pt x="350" y="212"/>
                  </a:lnTo>
                  <a:lnTo>
                    <a:pt x="350" y="212"/>
                  </a:lnTo>
                  <a:lnTo>
                    <a:pt x="348" y="212"/>
                  </a:lnTo>
                  <a:lnTo>
                    <a:pt x="348" y="212"/>
                  </a:lnTo>
                  <a:lnTo>
                    <a:pt x="346" y="209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39" y="214"/>
                  </a:lnTo>
                  <a:lnTo>
                    <a:pt x="339" y="214"/>
                  </a:lnTo>
                  <a:lnTo>
                    <a:pt x="337" y="214"/>
                  </a:lnTo>
                  <a:lnTo>
                    <a:pt x="337" y="214"/>
                  </a:lnTo>
                  <a:lnTo>
                    <a:pt x="334" y="214"/>
                  </a:lnTo>
                  <a:lnTo>
                    <a:pt x="334" y="214"/>
                  </a:lnTo>
                  <a:lnTo>
                    <a:pt x="334" y="214"/>
                  </a:lnTo>
                  <a:lnTo>
                    <a:pt x="334" y="214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7" y="212"/>
                  </a:lnTo>
                  <a:lnTo>
                    <a:pt x="337" y="209"/>
                  </a:lnTo>
                  <a:lnTo>
                    <a:pt x="339" y="209"/>
                  </a:lnTo>
                  <a:lnTo>
                    <a:pt x="337" y="209"/>
                  </a:lnTo>
                  <a:lnTo>
                    <a:pt x="337" y="209"/>
                  </a:lnTo>
                  <a:lnTo>
                    <a:pt x="337" y="209"/>
                  </a:lnTo>
                  <a:lnTo>
                    <a:pt x="337" y="209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4" y="212"/>
                  </a:lnTo>
                  <a:lnTo>
                    <a:pt x="332" y="214"/>
                  </a:lnTo>
                  <a:lnTo>
                    <a:pt x="332" y="214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0" y="214"/>
                  </a:lnTo>
                  <a:lnTo>
                    <a:pt x="330" y="212"/>
                  </a:lnTo>
                  <a:lnTo>
                    <a:pt x="330" y="212"/>
                  </a:lnTo>
                  <a:lnTo>
                    <a:pt x="330" y="212"/>
                  </a:lnTo>
                  <a:lnTo>
                    <a:pt x="330" y="209"/>
                  </a:lnTo>
                  <a:lnTo>
                    <a:pt x="330" y="209"/>
                  </a:lnTo>
                  <a:lnTo>
                    <a:pt x="330" y="209"/>
                  </a:lnTo>
                  <a:lnTo>
                    <a:pt x="328" y="209"/>
                  </a:lnTo>
                  <a:lnTo>
                    <a:pt x="325" y="209"/>
                  </a:lnTo>
                  <a:lnTo>
                    <a:pt x="323" y="212"/>
                  </a:lnTo>
                  <a:lnTo>
                    <a:pt x="323" y="212"/>
                  </a:lnTo>
                  <a:lnTo>
                    <a:pt x="323" y="212"/>
                  </a:lnTo>
                  <a:lnTo>
                    <a:pt x="323" y="212"/>
                  </a:lnTo>
                  <a:lnTo>
                    <a:pt x="321" y="209"/>
                  </a:lnTo>
                  <a:lnTo>
                    <a:pt x="323" y="209"/>
                  </a:lnTo>
                  <a:lnTo>
                    <a:pt x="323" y="209"/>
                  </a:lnTo>
                  <a:lnTo>
                    <a:pt x="323" y="207"/>
                  </a:lnTo>
                  <a:lnTo>
                    <a:pt x="323" y="207"/>
                  </a:lnTo>
                  <a:lnTo>
                    <a:pt x="323" y="207"/>
                  </a:lnTo>
                  <a:lnTo>
                    <a:pt x="323" y="205"/>
                  </a:lnTo>
                  <a:lnTo>
                    <a:pt x="323" y="205"/>
                  </a:lnTo>
                  <a:lnTo>
                    <a:pt x="323" y="205"/>
                  </a:lnTo>
                  <a:lnTo>
                    <a:pt x="321" y="203"/>
                  </a:lnTo>
                  <a:lnTo>
                    <a:pt x="321" y="203"/>
                  </a:lnTo>
                  <a:lnTo>
                    <a:pt x="321" y="203"/>
                  </a:lnTo>
                  <a:lnTo>
                    <a:pt x="321" y="203"/>
                  </a:lnTo>
                  <a:lnTo>
                    <a:pt x="321" y="203"/>
                  </a:lnTo>
                  <a:lnTo>
                    <a:pt x="321" y="203"/>
                  </a:lnTo>
                  <a:lnTo>
                    <a:pt x="321" y="203"/>
                  </a:lnTo>
                  <a:lnTo>
                    <a:pt x="323" y="203"/>
                  </a:lnTo>
                  <a:lnTo>
                    <a:pt x="323" y="203"/>
                  </a:lnTo>
                  <a:lnTo>
                    <a:pt x="323" y="200"/>
                  </a:lnTo>
                  <a:lnTo>
                    <a:pt x="323" y="200"/>
                  </a:lnTo>
                  <a:lnTo>
                    <a:pt x="323" y="200"/>
                  </a:lnTo>
                  <a:lnTo>
                    <a:pt x="321" y="200"/>
                  </a:lnTo>
                  <a:lnTo>
                    <a:pt x="321" y="198"/>
                  </a:lnTo>
                  <a:lnTo>
                    <a:pt x="321" y="198"/>
                  </a:lnTo>
                  <a:lnTo>
                    <a:pt x="321" y="198"/>
                  </a:lnTo>
                  <a:lnTo>
                    <a:pt x="321" y="196"/>
                  </a:lnTo>
                  <a:lnTo>
                    <a:pt x="321" y="196"/>
                  </a:lnTo>
                  <a:lnTo>
                    <a:pt x="321" y="194"/>
                  </a:lnTo>
                  <a:lnTo>
                    <a:pt x="321" y="194"/>
                  </a:lnTo>
                  <a:lnTo>
                    <a:pt x="321" y="194"/>
                  </a:lnTo>
                  <a:lnTo>
                    <a:pt x="321" y="194"/>
                  </a:lnTo>
                  <a:lnTo>
                    <a:pt x="321" y="194"/>
                  </a:lnTo>
                  <a:lnTo>
                    <a:pt x="321" y="191"/>
                  </a:lnTo>
                  <a:lnTo>
                    <a:pt x="321" y="191"/>
                  </a:lnTo>
                  <a:lnTo>
                    <a:pt x="321" y="189"/>
                  </a:lnTo>
                  <a:lnTo>
                    <a:pt x="321" y="189"/>
                  </a:lnTo>
                  <a:lnTo>
                    <a:pt x="321" y="187"/>
                  </a:lnTo>
                  <a:lnTo>
                    <a:pt x="321" y="187"/>
                  </a:lnTo>
                  <a:lnTo>
                    <a:pt x="319" y="187"/>
                  </a:lnTo>
                  <a:lnTo>
                    <a:pt x="319" y="187"/>
                  </a:lnTo>
                  <a:lnTo>
                    <a:pt x="319" y="187"/>
                  </a:lnTo>
                  <a:lnTo>
                    <a:pt x="319" y="187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5"/>
                  </a:lnTo>
                  <a:lnTo>
                    <a:pt x="316" y="182"/>
                  </a:lnTo>
                  <a:lnTo>
                    <a:pt x="316" y="182"/>
                  </a:lnTo>
                  <a:lnTo>
                    <a:pt x="316" y="182"/>
                  </a:lnTo>
                  <a:lnTo>
                    <a:pt x="316" y="182"/>
                  </a:lnTo>
                  <a:lnTo>
                    <a:pt x="319" y="182"/>
                  </a:lnTo>
                  <a:lnTo>
                    <a:pt x="319" y="182"/>
                  </a:lnTo>
                  <a:lnTo>
                    <a:pt x="319" y="182"/>
                  </a:lnTo>
                  <a:lnTo>
                    <a:pt x="319" y="180"/>
                  </a:lnTo>
                  <a:lnTo>
                    <a:pt x="319" y="180"/>
                  </a:lnTo>
                  <a:lnTo>
                    <a:pt x="319" y="178"/>
                  </a:lnTo>
                  <a:lnTo>
                    <a:pt x="319" y="176"/>
                  </a:lnTo>
                  <a:lnTo>
                    <a:pt x="321" y="174"/>
                  </a:lnTo>
                  <a:lnTo>
                    <a:pt x="319" y="174"/>
                  </a:lnTo>
                  <a:lnTo>
                    <a:pt x="319" y="171"/>
                  </a:lnTo>
                  <a:lnTo>
                    <a:pt x="319" y="171"/>
                  </a:lnTo>
                  <a:lnTo>
                    <a:pt x="319" y="171"/>
                  </a:lnTo>
                  <a:lnTo>
                    <a:pt x="319" y="171"/>
                  </a:lnTo>
                  <a:lnTo>
                    <a:pt x="319" y="171"/>
                  </a:lnTo>
                  <a:lnTo>
                    <a:pt x="316" y="171"/>
                  </a:lnTo>
                  <a:lnTo>
                    <a:pt x="316" y="171"/>
                  </a:lnTo>
                  <a:lnTo>
                    <a:pt x="316" y="169"/>
                  </a:lnTo>
                  <a:lnTo>
                    <a:pt x="316" y="169"/>
                  </a:lnTo>
                  <a:lnTo>
                    <a:pt x="316" y="169"/>
                  </a:lnTo>
                  <a:lnTo>
                    <a:pt x="316" y="167"/>
                  </a:lnTo>
                  <a:lnTo>
                    <a:pt x="316" y="167"/>
                  </a:lnTo>
                  <a:lnTo>
                    <a:pt x="316" y="167"/>
                  </a:lnTo>
                  <a:lnTo>
                    <a:pt x="316" y="167"/>
                  </a:lnTo>
                  <a:lnTo>
                    <a:pt x="316" y="167"/>
                  </a:lnTo>
                  <a:lnTo>
                    <a:pt x="316" y="167"/>
                  </a:lnTo>
                  <a:lnTo>
                    <a:pt x="316" y="167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4" y="167"/>
                  </a:lnTo>
                  <a:lnTo>
                    <a:pt x="314" y="165"/>
                  </a:lnTo>
                  <a:lnTo>
                    <a:pt x="314" y="165"/>
                  </a:lnTo>
                  <a:lnTo>
                    <a:pt x="314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4" y="162"/>
                  </a:lnTo>
                  <a:lnTo>
                    <a:pt x="314" y="162"/>
                  </a:lnTo>
                  <a:lnTo>
                    <a:pt x="314" y="162"/>
                  </a:lnTo>
                  <a:lnTo>
                    <a:pt x="314" y="162"/>
                  </a:lnTo>
                  <a:lnTo>
                    <a:pt x="314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2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5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5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3" y="158"/>
                  </a:lnTo>
                  <a:lnTo>
                    <a:pt x="303" y="158"/>
                  </a:lnTo>
                  <a:lnTo>
                    <a:pt x="303" y="158"/>
                  </a:lnTo>
                  <a:lnTo>
                    <a:pt x="303" y="158"/>
                  </a:lnTo>
                  <a:lnTo>
                    <a:pt x="303" y="158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5" y="158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7" y="156"/>
                  </a:lnTo>
                  <a:lnTo>
                    <a:pt x="307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5" y="156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6"/>
                  </a:lnTo>
                  <a:lnTo>
                    <a:pt x="303" y="153"/>
                  </a:lnTo>
                  <a:lnTo>
                    <a:pt x="303" y="153"/>
                  </a:lnTo>
                  <a:lnTo>
                    <a:pt x="303" y="153"/>
                  </a:lnTo>
                  <a:lnTo>
                    <a:pt x="303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1"/>
                  </a:lnTo>
                  <a:lnTo>
                    <a:pt x="301" y="149"/>
                  </a:lnTo>
                  <a:lnTo>
                    <a:pt x="301" y="149"/>
                  </a:lnTo>
                  <a:lnTo>
                    <a:pt x="301" y="149"/>
                  </a:lnTo>
                  <a:lnTo>
                    <a:pt x="301" y="149"/>
                  </a:lnTo>
                  <a:lnTo>
                    <a:pt x="301" y="149"/>
                  </a:lnTo>
                  <a:lnTo>
                    <a:pt x="298" y="149"/>
                  </a:lnTo>
                  <a:lnTo>
                    <a:pt x="301" y="147"/>
                  </a:lnTo>
                  <a:lnTo>
                    <a:pt x="301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298" y="147"/>
                  </a:lnTo>
                  <a:lnTo>
                    <a:pt x="301" y="147"/>
                  </a:lnTo>
                  <a:lnTo>
                    <a:pt x="301" y="147"/>
                  </a:lnTo>
                  <a:lnTo>
                    <a:pt x="301" y="147"/>
                  </a:lnTo>
                  <a:lnTo>
                    <a:pt x="301" y="147"/>
                  </a:lnTo>
                  <a:lnTo>
                    <a:pt x="303" y="147"/>
                  </a:lnTo>
                  <a:lnTo>
                    <a:pt x="303" y="147"/>
                  </a:lnTo>
                  <a:lnTo>
                    <a:pt x="303" y="147"/>
                  </a:lnTo>
                  <a:lnTo>
                    <a:pt x="301" y="147"/>
                  </a:lnTo>
                  <a:lnTo>
                    <a:pt x="301" y="147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2"/>
                  </a:lnTo>
                  <a:lnTo>
                    <a:pt x="301" y="142"/>
                  </a:lnTo>
                  <a:lnTo>
                    <a:pt x="301" y="142"/>
                  </a:lnTo>
                  <a:lnTo>
                    <a:pt x="301" y="142"/>
                  </a:lnTo>
                  <a:lnTo>
                    <a:pt x="301" y="140"/>
                  </a:lnTo>
                  <a:lnTo>
                    <a:pt x="301" y="140"/>
                  </a:lnTo>
                  <a:lnTo>
                    <a:pt x="301" y="140"/>
                  </a:lnTo>
                  <a:lnTo>
                    <a:pt x="301" y="140"/>
                  </a:lnTo>
                  <a:lnTo>
                    <a:pt x="303" y="140"/>
                  </a:lnTo>
                  <a:lnTo>
                    <a:pt x="303" y="140"/>
                  </a:lnTo>
                  <a:lnTo>
                    <a:pt x="303" y="140"/>
                  </a:lnTo>
                  <a:lnTo>
                    <a:pt x="301" y="138"/>
                  </a:lnTo>
                  <a:lnTo>
                    <a:pt x="301" y="138"/>
                  </a:lnTo>
                  <a:lnTo>
                    <a:pt x="301" y="135"/>
                  </a:lnTo>
                  <a:lnTo>
                    <a:pt x="298" y="135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6" y="133"/>
                  </a:lnTo>
                  <a:lnTo>
                    <a:pt x="296" y="133"/>
                  </a:lnTo>
                  <a:lnTo>
                    <a:pt x="296" y="133"/>
                  </a:lnTo>
                  <a:lnTo>
                    <a:pt x="296" y="133"/>
                  </a:lnTo>
                  <a:lnTo>
                    <a:pt x="296" y="131"/>
                  </a:lnTo>
                  <a:lnTo>
                    <a:pt x="296" y="131"/>
                  </a:lnTo>
                  <a:lnTo>
                    <a:pt x="296" y="131"/>
                  </a:lnTo>
                  <a:lnTo>
                    <a:pt x="296" y="131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9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94" y="124"/>
                  </a:lnTo>
                  <a:lnTo>
                    <a:pt x="296" y="124"/>
                  </a:lnTo>
                  <a:lnTo>
                    <a:pt x="294" y="122"/>
                  </a:lnTo>
                  <a:lnTo>
                    <a:pt x="294" y="122"/>
                  </a:lnTo>
                  <a:lnTo>
                    <a:pt x="294" y="122"/>
                  </a:lnTo>
                  <a:lnTo>
                    <a:pt x="294" y="122"/>
                  </a:lnTo>
                  <a:lnTo>
                    <a:pt x="294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20"/>
                  </a:lnTo>
                  <a:lnTo>
                    <a:pt x="296" y="117"/>
                  </a:lnTo>
                  <a:lnTo>
                    <a:pt x="296" y="117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1" y="113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3" y="108"/>
                  </a:lnTo>
                  <a:lnTo>
                    <a:pt x="301" y="108"/>
                  </a:lnTo>
                  <a:lnTo>
                    <a:pt x="301" y="108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301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13"/>
                  </a:lnTo>
                  <a:lnTo>
                    <a:pt x="298" y="113"/>
                  </a:lnTo>
                  <a:lnTo>
                    <a:pt x="296" y="113"/>
                  </a:lnTo>
                  <a:lnTo>
                    <a:pt x="296" y="111"/>
                  </a:lnTo>
                  <a:lnTo>
                    <a:pt x="298" y="111"/>
                  </a:lnTo>
                  <a:lnTo>
                    <a:pt x="298" y="111"/>
                  </a:lnTo>
                  <a:lnTo>
                    <a:pt x="298" y="108"/>
                  </a:lnTo>
                  <a:lnTo>
                    <a:pt x="298" y="108"/>
                  </a:lnTo>
                  <a:lnTo>
                    <a:pt x="298" y="106"/>
                  </a:lnTo>
                  <a:lnTo>
                    <a:pt x="298" y="104"/>
                  </a:lnTo>
                  <a:lnTo>
                    <a:pt x="298" y="104"/>
                  </a:lnTo>
                  <a:lnTo>
                    <a:pt x="303" y="102"/>
                  </a:lnTo>
                  <a:lnTo>
                    <a:pt x="303" y="102"/>
                  </a:lnTo>
                  <a:lnTo>
                    <a:pt x="303" y="99"/>
                  </a:lnTo>
                  <a:lnTo>
                    <a:pt x="303" y="99"/>
                  </a:lnTo>
                  <a:lnTo>
                    <a:pt x="305" y="99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3" y="99"/>
                  </a:lnTo>
                  <a:lnTo>
                    <a:pt x="303" y="99"/>
                  </a:lnTo>
                  <a:lnTo>
                    <a:pt x="303" y="97"/>
                  </a:lnTo>
                  <a:lnTo>
                    <a:pt x="303" y="97"/>
                  </a:lnTo>
                  <a:lnTo>
                    <a:pt x="303" y="97"/>
                  </a:lnTo>
                  <a:lnTo>
                    <a:pt x="305" y="97"/>
                  </a:lnTo>
                  <a:lnTo>
                    <a:pt x="305" y="97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3"/>
                  </a:lnTo>
                  <a:lnTo>
                    <a:pt x="310" y="90"/>
                  </a:lnTo>
                  <a:lnTo>
                    <a:pt x="310" y="93"/>
                  </a:lnTo>
                  <a:lnTo>
                    <a:pt x="310" y="95"/>
                  </a:lnTo>
                  <a:lnTo>
                    <a:pt x="310" y="95"/>
                  </a:lnTo>
                  <a:lnTo>
                    <a:pt x="310" y="95"/>
                  </a:lnTo>
                  <a:lnTo>
                    <a:pt x="307" y="95"/>
                  </a:lnTo>
                  <a:lnTo>
                    <a:pt x="307" y="95"/>
                  </a:lnTo>
                  <a:lnTo>
                    <a:pt x="307" y="97"/>
                  </a:lnTo>
                  <a:lnTo>
                    <a:pt x="307" y="97"/>
                  </a:lnTo>
                  <a:lnTo>
                    <a:pt x="307" y="97"/>
                  </a:lnTo>
                  <a:lnTo>
                    <a:pt x="307" y="97"/>
                  </a:lnTo>
                  <a:lnTo>
                    <a:pt x="307" y="97"/>
                  </a:lnTo>
                  <a:lnTo>
                    <a:pt x="310" y="97"/>
                  </a:lnTo>
                  <a:lnTo>
                    <a:pt x="310" y="97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99"/>
                  </a:lnTo>
                  <a:lnTo>
                    <a:pt x="310" y="102"/>
                  </a:lnTo>
                  <a:lnTo>
                    <a:pt x="310" y="102"/>
                  </a:lnTo>
                  <a:lnTo>
                    <a:pt x="310" y="102"/>
                  </a:lnTo>
                  <a:lnTo>
                    <a:pt x="312" y="104"/>
                  </a:lnTo>
                  <a:lnTo>
                    <a:pt x="312" y="104"/>
                  </a:lnTo>
                  <a:lnTo>
                    <a:pt x="314" y="106"/>
                  </a:lnTo>
                  <a:lnTo>
                    <a:pt x="314" y="106"/>
                  </a:lnTo>
                  <a:lnTo>
                    <a:pt x="314" y="106"/>
                  </a:lnTo>
                  <a:lnTo>
                    <a:pt x="314" y="106"/>
                  </a:lnTo>
                  <a:lnTo>
                    <a:pt x="314" y="106"/>
                  </a:lnTo>
                  <a:lnTo>
                    <a:pt x="314" y="106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6" y="108"/>
                  </a:lnTo>
                  <a:lnTo>
                    <a:pt x="316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3"/>
                  </a:lnTo>
                  <a:lnTo>
                    <a:pt x="321" y="113"/>
                  </a:lnTo>
                  <a:lnTo>
                    <a:pt x="321" y="113"/>
                  </a:lnTo>
                  <a:lnTo>
                    <a:pt x="321" y="113"/>
                  </a:lnTo>
                  <a:lnTo>
                    <a:pt x="321" y="113"/>
                  </a:lnTo>
                  <a:lnTo>
                    <a:pt x="323" y="113"/>
                  </a:lnTo>
                  <a:lnTo>
                    <a:pt x="323" y="115"/>
                  </a:lnTo>
                  <a:lnTo>
                    <a:pt x="323" y="117"/>
                  </a:lnTo>
                  <a:lnTo>
                    <a:pt x="323" y="117"/>
                  </a:lnTo>
                  <a:lnTo>
                    <a:pt x="323" y="117"/>
                  </a:lnTo>
                  <a:lnTo>
                    <a:pt x="323" y="117"/>
                  </a:lnTo>
                  <a:lnTo>
                    <a:pt x="325" y="117"/>
                  </a:lnTo>
                  <a:lnTo>
                    <a:pt x="325" y="117"/>
                  </a:lnTo>
                  <a:lnTo>
                    <a:pt x="325" y="117"/>
                  </a:lnTo>
                  <a:lnTo>
                    <a:pt x="325" y="117"/>
                  </a:lnTo>
                  <a:lnTo>
                    <a:pt x="325" y="117"/>
                  </a:lnTo>
                  <a:lnTo>
                    <a:pt x="328" y="120"/>
                  </a:lnTo>
                  <a:lnTo>
                    <a:pt x="328" y="120"/>
                  </a:lnTo>
                  <a:lnTo>
                    <a:pt x="330" y="120"/>
                  </a:lnTo>
                  <a:lnTo>
                    <a:pt x="330" y="122"/>
                  </a:lnTo>
                  <a:lnTo>
                    <a:pt x="330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2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20"/>
                  </a:lnTo>
                  <a:lnTo>
                    <a:pt x="334" y="117"/>
                  </a:lnTo>
                  <a:lnTo>
                    <a:pt x="337" y="117"/>
                  </a:lnTo>
                  <a:lnTo>
                    <a:pt x="337" y="117"/>
                  </a:lnTo>
                  <a:lnTo>
                    <a:pt x="337" y="117"/>
                  </a:lnTo>
                  <a:lnTo>
                    <a:pt x="339" y="117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8" y="117"/>
                  </a:lnTo>
                  <a:lnTo>
                    <a:pt x="348" y="117"/>
                  </a:lnTo>
                  <a:lnTo>
                    <a:pt x="348" y="117"/>
                  </a:lnTo>
                  <a:lnTo>
                    <a:pt x="348" y="117"/>
                  </a:lnTo>
                  <a:lnTo>
                    <a:pt x="348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7" y="117"/>
                  </a:lnTo>
                  <a:lnTo>
                    <a:pt x="359" y="115"/>
                  </a:lnTo>
                  <a:lnTo>
                    <a:pt x="359" y="115"/>
                  </a:lnTo>
                  <a:lnTo>
                    <a:pt x="361" y="115"/>
                  </a:lnTo>
                  <a:lnTo>
                    <a:pt x="361" y="115"/>
                  </a:lnTo>
                  <a:lnTo>
                    <a:pt x="361" y="113"/>
                  </a:lnTo>
                  <a:lnTo>
                    <a:pt x="361" y="113"/>
                  </a:lnTo>
                  <a:lnTo>
                    <a:pt x="364" y="111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6"/>
                  </a:lnTo>
                  <a:lnTo>
                    <a:pt x="364" y="106"/>
                  </a:lnTo>
                  <a:lnTo>
                    <a:pt x="366" y="106"/>
                  </a:lnTo>
                  <a:lnTo>
                    <a:pt x="366" y="106"/>
                  </a:lnTo>
                  <a:lnTo>
                    <a:pt x="368" y="104"/>
                  </a:lnTo>
                  <a:lnTo>
                    <a:pt x="368" y="104"/>
                  </a:lnTo>
                  <a:lnTo>
                    <a:pt x="368" y="104"/>
                  </a:lnTo>
                  <a:lnTo>
                    <a:pt x="370" y="104"/>
                  </a:lnTo>
                  <a:lnTo>
                    <a:pt x="370" y="104"/>
                  </a:lnTo>
                  <a:lnTo>
                    <a:pt x="370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82" y="104"/>
                  </a:lnTo>
                  <a:lnTo>
                    <a:pt x="382" y="104"/>
                  </a:lnTo>
                  <a:lnTo>
                    <a:pt x="382" y="104"/>
                  </a:lnTo>
                  <a:lnTo>
                    <a:pt x="382" y="104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79" y="106"/>
                  </a:lnTo>
                  <a:lnTo>
                    <a:pt x="379" y="108"/>
                  </a:lnTo>
                  <a:lnTo>
                    <a:pt x="382" y="108"/>
                  </a:lnTo>
                  <a:lnTo>
                    <a:pt x="382" y="106"/>
                  </a:lnTo>
                  <a:lnTo>
                    <a:pt x="382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08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6" y="108"/>
                  </a:lnTo>
                  <a:lnTo>
                    <a:pt x="388" y="108"/>
                  </a:lnTo>
                  <a:lnTo>
                    <a:pt x="391" y="111"/>
                  </a:lnTo>
                  <a:lnTo>
                    <a:pt x="391" y="111"/>
                  </a:lnTo>
                  <a:lnTo>
                    <a:pt x="391" y="111"/>
                  </a:lnTo>
                  <a:lnTo>
                    <a:pt x="393" y="111"/>
                  </a:lnTo>
                  <a:lnTo>
                    <a:pt x="393" y="111"/>
                  </a:lnTo>
                  <a:lnTo>
                    <a:pt x="393" y="111"/>
                  </a:lnTo>
                  <a:lnTo>
                    <a:pt x="393" y="111"/>
                  </a:lnTo>
                  <a:lnTo>
                    <a:pt x="395" y="113"/>
                  </a:lnTo>
                  <a:lnTo>
                    <a:pt x="395" y="111"/>
                  </a:lnTo>
                  <a:lnTo>
                    <a:pt x="397" y="108"/>
                  </a:lnTo>
                  <a:lnTo>
                    <a:pt x="399" y="108"/>
                  </a:lnTo>
                  <a:lnTo>
                    <a:pt x="399" y="106"/>
                  </a:lnTo>
                  <a:lnTo>
                    <a:pt x="399" y="106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4" y="106"/>
                  </a:lnTo>
                  <a:lnTo>
                    <a:pt x="406" y="106"/>
                  </a:lnTo>
                  <a:lnTo>
                    <a:pt x="406" y="106"/>
                  </a:lnTo>
                  <a:lnTo>
                    <a:pt x="406" y="106"/>
                  </a:lnTo>
                  <a:lnTo>
                    <a:pt x="406" y="108"/>
                  </a:lnTo>
                  <a:lnTo>
                    <a:pt x="406" y="106"/>
                  </a:lnTo>
                  <a:lnTo>
                    <a:pt x="406" y="106"/>
                  </a:lnTo>
                  <a:lnTo>
                    <a:pt x="411" y="106"/>
                  </a:lnTo>
                  <a:lnTo>
                    <a:pt x="411" y="106"/>
                  </a:lnTo>
                  <a:lnTo>
                    <a:pt x="411" y="106"/>
                  </a:lnTo>
                  <a:lnTo>
                    <a:pt x="411" y="106"/>
                  </a:lnTo>
                  <a:lnTo>
                    <a:pt x="413" y="106"/>
                  </a:lnTo>
                  <a:lnTo>
                    <a:pt x="413" y="106"/>
                  </a:lnTo>
                  <a:lnTo>
                    <a:pt x="413" y="106"/>
                  </a:lnTo>
                  <a:lnTo>
                    <a:pt x="413" y="106"/>
                  </a:lnTo>
                  <a:lnTo>
                    <a:pt x="415" y="106"/>
                  </a:lnTo>
                  <a:lnTo>
                    <a:pt x="415" y="106"/>
                  </a:lnTo>
                  <a:lnTo>
                    <a:pt x="413" y="106"/>
                  </a:lnTo>
                  <a:lnTo>
                    <a:pt x="413" y="104"/>
                  </a:lnTo>
                  <a:lnTo>
                    <a:pt x="415" y="104"/>
                  </a:lnTo>
                  <a:lnTo>
                    <a:pt x="415" y="104"/>
                  </a:lnTo>
                  <a:lnTo>
                    <a:pt x="415" y="104"/>
                  </a:lnTo>
                  <a:lnTo>
                    <a:pt x="415" y="102"/>
                  </a:lnTo>
                  <a:lnTo>
                    <a:pt x="415" y="102"/>
                  </a:lnTo>
                  <a:lnTo>
                    <a:pt x="417" y="99"/>
                  </a:lnTo>
                  <a:lnTo>
                    <a:pt x="415" y="99"/>
                  </a:lnTo>
                  <a:lnTo>
                    <a:pt x="415" y="97"/>
                  </a:lnTo>
                  <a:lnTo>
                    <a:pt x="415" y="97"/>
                  </a:lnTo>
                  <a:lnTo>
                    <a:pt x="415" y="97"/>
                  </a:lnTo>
                  <a:lnTo>
                    <a:pt x="415" y="97"/>
                  </a:lnTo>
                  <a:lnTo>
                    <a:pt x="415" y="97"/>
                  </a:lnTo>
                  <a:lnTo>
                    <a:pt x="417" y="97"/>
                  </a:lnTo>
                  <a:lnTo>
                    <a:pt x="417" y="97"/>
                  </a:lnTo>
                  <a:lnTo>
                    <a:pt x="417" y="97"/>
                  </a:lnTo>
                  <a:lnTo>
                    <a:pt x="417" y="97"/>
                  </a:lnTo>
                  <a:lnTo>
                    <a:pt x="420" y="97"/>
                  </a:lnTo>
                  <a:lnTo>
                    <a:pt x="420" y="95"/>
                  </a:lnTo>
                  <a:lnTo>
                    <a:pt x="420" y="95"/>
                  </a:lnTo>
                  <a:lnTo>
                    <a:pt x="420" y="95"/>
                  </a:lnTo>
                  <a:lnTo>
                    <a:pt x="420" y="95"/>
                  </a:lnTo>
                  <a:lnTo>
                    <a:pt x="420" y="95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20" y="93"/>
                  </a:lnTo>
                  <a:lnTo>
                    <a:pt x="417" y="93"/>
                  </a:lnTo>
                  <a:lnTo>
                    <a:pt x="417" y="93"/>
                  </a:lnTo>
                  <a:lnTo>
                    <a:pt x="417" y="93"/>
                  </a:lnTo>
                  <a:lnTo>
                    <a:pt x="417" y="93"/>
                  </a:lnTo>
                  <a:lnTo>
                    <a:pt x="417" y="90"/>
                  </a:lnTo>
                  <a:lnTo>
                    <a:pt x="417" y="90"/>
                  </a:lnTo>
                  <a:lnTo>
                    <a:pt x="417" y="90"/>
                  </a:lnTo>
                  <a:lnTo>
                    <a:pt x="417" y="90"/>
                  </a:lnTo>
                  <a:lnTo>
                    <a:pt x="417" y="90"/>
                  </a:lnTo>
                  <a:lnTo>
                    <a:pt x="417" y="88"/>
                  </a:lnTo>
                  <a:lnTo>
                    <a:pt x="417" y="88"/>
                  </a:lnTo>
                  <a:lnTo>
                    <a:pt x="420" y="88"/>
                  </a:lnTo>
                  <a:lnTo>
                    <a:pt x="420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6"/>
                  </a:lnTo>
                  <a:lnTo>
                    <a:pt x="422" y="84"/>
                  </a:lnTo>
                  <a:lnTo>
                    <a:pt x="424" y="84"/>
                  </a:lnTo>
                  <a:lnTo>
                    <a:pt x="424" y="84"/>
                  </a:lnTo>
                  <a:lnTo>
                    <a:pt x="424" y="84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6" y="81"/>
                  </a:lnTo>
                  <a:lnTo>
                    <a:pt x="426" y="81"/>
                  </a:lnTo>
                  <a:lnTo>
                    <a:pt x="426" y="81"/>
                  </a:lnTo>
                  <a:lnTo>
                    <a:pt x="426" y="81"/>
                  </a:lnTo>
                  <a:lnTo>
                    <a:pt x="426" y="81"/>
                  </a:lnTo>
                  <a:lnTo>
                    <a:pt x="426" y="79"/>
                  </a:lnTo>
                  <a:lnTo>
                    <a:pt x="426" y="79"/>
                  </a:lnTo>
                  <a:lnTo>
                    <a:pt x="426" y="79"/>
                  </a:lnTo>
                  <a:lnTo>
                    <a:pt x="426" y="79"/>
                  </a:lnTo>
                  <a:lnTo>
                    <a:pt x="424" y="79"/>
                  </a:lnTo>
                  <a:lnTo>
                    <a:pt x="424" y="79"/>
                  </a:lnTo>
                  <a:lnTo>
                    <a:pt x="424" y="79"/>
                  </a:lnTo>
                  <a:lnTo>
                    <a:pt x="424" y="79"/>
                  </a:lnTo>
                  <a:lnTo>
                    <a:pt x="424" y="79"/>
                  </a:lnTo>
                  <a:lnTo>
                    <a:pt x="424" y="79"/>
                  </a:lnTo>
                  <a:lnTo>
                    <a:pt x="424" y="79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7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6" y="70"/>
                  </a:lnTo>
                  <a:lnTo>
                    <a:pt x="426" y="68"/>
                  </a:lnTo>
                  <a:lnTo>
                    <a:pt x="429" y="68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31" y="70"/>
                  </a:lnTo>
                  <a:lnTo>
                    <a:pt x="431" y="70"/>
                  </a:lnTo>
                  <a:lnTo>
                    <a:pt x="431" y="68"/>
                  </a:lnTo>
                  <a:lnTo>
                    <a:pt x="433" y="68"/>
                  </a:lnTo>
                  <a:lnTo>
                    <a:pt x="433" y="68"/>
                  </a:lnTo>
                  <a:lnTo>
                    <a:pt x="433" y="68"/>
                  </a:lnTo>
                  <a:lnTo>
                    <a:pt x="433" y="66"/>
                  </a:lnTo>
                  <a:lnTo>
                    <a:pt x="433" y="66"/>
                  </a:lnTo>
                  <a:lnTo>
                    <a:pt x="433" y="66"/>
                  </a:lnTo>
                  <a:lnTo>
                    <a:pt x="433" y="66"/>
                  </a:lnTo>
                  <a:lnTo>
                    <a:pt x="433" y="66"/>
                  </a:lnTo>
                  <a:lnTo>
                    <a:pt x="433" y="61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5" y="59"/>
                  </a:lnTo>
                  <a:lnTo>
                    <a:pt x="435" y="59"/>
                  </a:lnTo>
                  <a:lnTo>
                    <a:pt x="435" y="59"/>
                  </a:lnTo>
                  <a:lnTo>
                    <a:pt x="435" y="59"/>
                  </a:lnTo>
                  <a:lnTo>
                    <a:pt x="433" y="59"/>
                  </a:lnTo>
                  <a:lnTo>
                    <a:pt x="433" y="57"/>
                  </a:lnTo>
                  <a:lnTo>
                    <a:pt x="433" y="57"/>
                  </a:lnTo>
                  <a:lnTo>
                    <a:pt x="433" y="57"/>
                  </a:lnTo>
                  <a:lnTo>
                    <a:pt x="433" y="57"/>
                  </a:lnTo>
                  <a:lnTo>
                    <a:pt x="433" y="54"/>
                  </a:lnTo>
                  <a:lnTo>
                    <a:pt x="433" y="54"/>
                  </a:lnTo>
                  <a:lnTo>
                    <a:pt x="433" y="54"/>
                  </a:lnTo>
                  <a:lnTo>
                    <a:pt x="433" y="52"/>
                  </a:lnTo>
                  <a:lnTo>
                    <a:pt x="433" y="50"/>
                  </a:lnTo>
                  <a:lnTo>
                    <a:pt x="433" y="50"/>
                  </a:lnTo>
                  <a:lnTo>
                    <a:pt x="433" y="50"/>
                  </a:lnTo>
                  <a:lnTo>
                    <a:pt x="433" y="48"/>
                  </a:lnTo>
                  <a:lnTo>
                    <a:pt x="433" y="48"/>
                  </a:lnTo>
                  <a:lnTo>
                    <a:pt x="433" y="48"/>
                  </a:lnTo>
                  <a:lnTo>
                    <a:pt x="433" y="48"/>
                  </a:lnTo>
                  <a:lnTo>
                    <a:pt x="433" y="48"/>
                  </a:lnTo>
                  <a:lnTo>
                    <a:pt x="433" y="48"/>
                  </a:lnTo>
                  <a:lnTo>
                    <a:pt x="433" y="45"/>
                  </a:lnTo>
                  <a:lnTo>
                    <a:pt x="435" y="45"/>
                  </a:lnTo>
                  <a:lnTo>
                    <a:pt x="435" y="43"/>
                  </a:lnTo>
                  <a:lnTo>
                    <a:pt x="435" y="41"/>
                  </a:lnTo>
                  <a:lnTo>
                    <a:pt x="435" y="41"/>
                  </a:lnTo>
                  <a:lnTo>
                    <a:pt x="435" y="41"/>
                  </a:lnTo>
                  <a:lnTo>
                    <a:pt x="435" y="41"/>
                  </a:lnTo>
                  <a:lnTo>
                    <a:pt x="435" y="41"/>
                  </a:lnTo>
                  <a:lnTo>
                    <a:pt x="435" y="41"/>
                  </a:lnTo>
                  <a:lnTo>
                    <a:pt x="438" y="41"/>
                  </a:lnTo>
                  <a:lnTo>
                    <a:pt x="438" y="41"/>
                  </a:lnTo>
                  <a:lnTo>
                    <a:pt x="438" y="41"/>
                  </a:lnTo>
                  <a:lnTo>
                    <a:pt x="438" y="41"/>
                  </a:lnTo>
                  <a:lnTo>
                    <a:pt x="438" y="41"/>
                  </a:lnTo>
                  <a:lnTo>
                    <a:pt x="438" y="41"/>
                  </a:lnTo>
                  <a:lnTo>
                    <a:pt x="438" y="39"/>
                  </a:lnTo>
                  <a:lnTo>
                    <a:pt x="438" y="39"/>
                  </a:lnTo>
                  <a:lnTo>
                    <a:pt x="438" y="39"/>
                  </a:lnTo>
                  <a:lnTo>
                    <a:pt x="438" y="36"/>
                  </a:lnTo>
                  <a:lnTo>
                    <a:pt x="438" y="36"/>
                  </a:lnTo>
                  <a:lnTo>
                    <a:pt x="440" y="36"/>
                  </a:lnTo>
                  <a:lnTo>
                    <a:pt x="440" y="36"/>
                  </a:lnTo>
                  <a:lnTo>
                    <a:pt x="440" y="36"/>
                  </a:lnTo>
                  <a:lnTo>
                    <a:pt x="440" y="36"/>
                  </a:lnTo>
                  <a:lnTo>
                    <a:pt x="440" y="36"/>
                  </a:lnTo>
                  <a:lnTo>
                    <a:pt x="440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2" y="39"/>
                  </a:lnTo>
                  <a:lnTo>
                    <a:pt x="444" y="39"/>
                  </a:lnTo>
                  <a:lnTo>
                    <a:pt x="444" y="39"/>
                  </a:lnTo>
                  <a:lnTo>
                    <a:pt x="444" y="39"/>
                  </a:lnTo>
                  <a:lnTo>
                    <a:pt x="444" y="36"/>
                  </a:lnTo>
                  <a:lnTo>
                    <a:pt x="444" y="36"/>
                  </a:lnTo>
                  <a:lnTo>
                    <a:pt x="444" y="36"/>
                  </a:lnTo>
                  <a:lnTo>
                    <a:pt x="444" y="36"/>
                  </a:lnTo>
                  <a:lnTo>
                    <a:pt x="444" y="36"/>
                  </a:lnTo>
                  <a:lnTo>
                    <a:pt x="447" y="36"/>
                  </a:lnTo>
                  <a:lnTo>
                    <a:pt x="447" y="36"/>
                  </a:lnTo>
                  <a:lnTo>
                    <a:pt x="447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6"/>
                  </a:lnTo>
                  <a:lnTo>
                    <a:pt x="449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3" y="39"/>
                  </a:lnTo>
                  <a:lnTo>
                    <a:pt x="451" y="39"/>
                  </a:lnTo>
                  <a:lnTo>
                    <a:pt x="451" y="39"/>
                  </a:lnTo>
                  <a:lnTo>
                    <a:pt x="451" y="36"/>
                  </a:lnTo>
                  <a:lnTo>
                    <a:pt x="451" y="36"/>
                  </a:lnTo>
                  <a:lnTo>
                    <a:pt x="453" y="36"/>
                  </a:lnTo>
                  <a:lnTo>
                    <a:pt x="453" y="36"/>
                  </a:lnTo>
                  <a:lnTo>
                    <a:pt x="453" y="36"/>
                  </a:lnTo>
                  <a:lnTo>
                    <a:pt x="453" y="39"/>
                  </a:lnTo>
                  <a:close/>
                  <a:moveTo>
                    <a:pt x="669" y="45"/>
                  </a:moveTo>
                  <a:lnTo>
                    <a:pt x="669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5"/>
                  </a:lnTo>
                  <a:lnTo>
                    <a:pt x="667" y="43"/>
                  </a:lnTo>
                  <a:lnTo>
                    <a:pt x="669" y="43"/>
                  </a:lnTo>
                  <a:lnTo>
                    <a:pt x="669" y="41"/>
                  </a:lnTo>
                  <a:lnTo>
                    <a:pt x="669" y="39"/>
                  </a:lnTo>
                  <a:lnTo>
                    <a:pt x="669" y="39"/>
                  </a:lnTo>
                  <a:lnTo>
                    <a:pt x="669" y="39"/>
                  </a:lnTo>
                  <a:lnTo>
                    <a:pt x="669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9"/>
                  </a:lnTo>
                  <a:lnTo>
                    <a:pt x="667" y="36"/>
                  </a:lnTo>
                  <a:lnTo>
                    <a:pt x="667" y="36"/>
                  </a:lnTo>
                  <a:lnTo>
                    <a:pt x="667" y="36"/>
                  </a:lnTo>
                  <a:lnTo>
                    <a:pt x="667" y="36"/>
                  </a:lnTo>
                  <a:lnTo>
                    <a:pt x="667" y="34"/>
                  </a:lnTo>
                  <a:lnTo>
                    <a:pt x="667" y="34"/>
                  </a:lnTo>
                  <a:lnTo>
                    <a:pt x="667" y="34"/>
                  </a:lnTo>
                  <a:lnTo>
                    <a:pt x="667" y="34"/>
                  </a:lnTo>
                  <a:lnTo>
                    <a:pt x="667" y="34"/>
                  </a:lnTo>
                  <a:lnTo>
                    <a:pt x="667" y="32"/>
                  </a:lnTo>
                  <a:lnTo>
                    <a:pt x="667" y="32"/>
                  </a:lnTo>
                  <a:lnTo>
                    <a:pt x="667" y="32"/>
                  </a:lnTo>
                  <a:lnTo>
                    <a:pt x="669" y="32"/>
                  </a:lnTo>
                  <a:lnTo>
                    <a:pt x="669" y="32"/>
                  </a:lnTo>
                  <a:lnTo>
                    <a:pt x="669" y="32"/>
                  </a:lnTo>
                  <a:lnTo>
                    <a:pt x="669" y="34"/>
                  </a:lnTo>
                  <a:lnTo>
                    <a:pt x="669" y="34"/>
                  </a:lnTo>
                  <a:lnTo>
                    <a:pt x="669" y="34"/>
                  </a:lnTo>
                  <a:lnTo>
                    <a:pt x="669" y="34"/>
                  </a:lnTo>
                  <a:lnTo>
                    <a:pt x="669" y="34"/>
                  </a:lnTo>
                  <a:lnTo>
                    <a:pt x="671" y="34"/>
                  </a:lnTo>
                  <a:lnTo>
                    <a:pt x="671" y="34"/>
                  </a:lnTo>
                  <a:lnTo>
                    <a:pt x="671" y="34"/>
                  </a:lnTo>
                  <a:lnTo>
                    <a:pt x="671" y="34"/>
                  </a:lnTo>
                  <a:lnTo>
                    <a:pt x="671" y="34"/>
                  </a:lnTo>
                  <a:lnTo>
                    <a:pt x="671" y="34"/>
                  </a:lnTo>
                  <a:lnTo>
                    <a:pt x="671" y="36"/>
                  </a:lnTo>
                  <a:lnTo>
                    <a:pt x="671" y="36"/>
                  </a:lnTo>
                  <a:lnTo>
                    <a:pt x="669" y="36"/>
                  </a:lnTo>
                  <a:lnTo>
                    <a:pt x="671" y="36"/>
                  </a:lnTo>
                  <a:lnTo>
                    <a:pt x="671" y="39"/>
                  </a:lnTo>
                  <a:lnTo>
                    <a:pt x="671" y="39"/>
                  </a:lnTo>
                  <a:lnTo>
                    <a:pt x="671" y="39"/>
                  </a:lnTo>
                  <a:lnTo>
                    <a:pt x="671" y="39"/>
                  </a:lnTo>
                  <a:lnTo>
                    <a:pt x="671" y="41"/>
                  </a:lnTo>
                  <a:lnTo>
                    <a:pt x="669" y="41"/>
                  </a:lnTo>
                  <a:lnTo>
                    <a:pt x="669" y="43"/>
                  </a:lnTo>
                  <a:lnTo>
                    <a:pt x="669" y="45"/>
                  </a:lnTo>
                  <a:lnTo>
                    <a:pt x="669" y="45"/>
                  </a:lnTo>
                  <a:close/>
                  <a:moveTo>
                    <a:pt x="676" y="27"/>
                  </a:move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lnTo>
                    <a:pt x="676" y="27"/>
                  </a:lnTo>
                  <a:close/>
                  <a:moveTo>
                    <a:pt x="662" y="9"/>
                  </a:moveTo>
                  <a:lnTo>
                    <a:pt x="662" y="9"/>
                  </a:lnTo>
                  <a:lnTo>
                    <a:pt x="662" y="9"/>
                  </a:lnTo>
                  <a:lnTo>
                    <a:pt x="662" y="9"/>
                  </a:lnTo>
                  <a:lnTo>
                    <a:pt x="662" y="9"/>
                  </a:lnTo>
                  <a:lnTo>
                    <a:pt x="662" y="9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4" y="16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6" y="21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5" y="30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3" y="52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9" y="57"/>
                  </a:lnTo>
                  <a:lnTo>
                    <a:pt x="94" y="59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1" y="66"/>
                  </a:lnTo>
                  <a:lnTo>
                    <a:pt x="103" y="66"/>
                  </a:lnTo>
                  <a:lnTo>
                    <a:pt x="103" y="66"/>
                  </a:lnTo>
                  <a:lnTo>
                    <a:pt x="103" y="68"/>
                  </a:lnTo>
                  <a:lnTo>
                    <a:pt x="105" y="68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70"/>
                  </a:lnTo>
                  <a:lnTo>
                    <a:pt x="107" y="72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10" y="81"/>
                  </a:lnTo>
                  <a:lnTo>
                    <a:pt x="110" y="81"/>
                  </a:lnTo>
                  <a:lnTo>
                    <a:pt x="110" y="81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10" y="79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6" y="86"/>
                  </a:lnTo>
                  <a:lnTo>
                    <a:pt x="119" y="88"/>
                  </a:lnTo>
                  <a:lnTo>
                    <a:pt x="119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5"/>
                  </a:lnTo>
                  <a:lnTo>
                    <a:pt x="128" y="93"/>
                  </a:lnTo>
                  <a:lnTo>
                    <a:pt x="128" y="93"/>
                  </a:lnTo>
                  <a:lnTo>
                    <a:pt x="125" y="90"/>
                  </a:lnTo>
                  <a:lnTo>
                    <a:pt x="125" y="90"/>
                  </a:lnTo>
                  <a:lnTo>
                    <a:pt x="125" y="88"/>
                  </a:lnTo>
                  <a:lnTo>
                    <a:pt x="125" y="88"/>
                  </a:lnTo>
                  <a:lnTo>
                    <a:pt x="125" y="86"/>
                  </a:lnTo>
                  <a:lnTo>
                    <a:pt x="128" y="86"/>
                  </a:lnTo>
                  <a:lnTo>
                    <a:pt x="128" y="86"/>
                  </a:lnTo>
                  <a:lnTo>
                    <a:pt x="130" y="86"/>
                  </a:lnTo>
                  <a:lnTo>
                    <a:pt x="130" y="86"/>
                  </a:lnTo>
                  <a:lnTo>
                    <a:pt x="130" y="88"/>
                  </a:lnTo>
                  <a:lnTo>
                    <a:pt x="130" y="88"/>
                  </a:lnTo>
                  <a:lnTo>
                    <a:pt x="132" y="90"/>
                  </a:lnTo>
                  <a:lnTo>
                    <a:pt x="134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7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9" y="99"/>
                  </a:lnTo>
                  <a:lnTo>
                    <a:pt x="139" y="102"/>
                  </a:lnTo>
                  <a:lnTo>
                    <a:pt x="141" y="102"/>
                  </a:lnTo>
                  <a:lnTo>
                    <a:pt x="141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3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50" y="106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3"/>
                  </a:lnTo>
                  <a:lnTo>
                    <a:pt x="155" y="113"/>
                  </a:lnTo>
                  <a:lnTo>
                    <a:pt x="155" y="113"/>
                  </a:lnTo>
                  <a:lnTo>
                    <a:pt x="155" y="115"/>
                  </a:lnTo>
                  <a:lnTo>
                    <a:pt x="155" y="115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7" y="120"/>
                  </a:lnTo>
                  <a:lnTo>
                    <a:pt x="159" y="122"/>
                  </a:lnTo>
                  <a:lnTo>
                    <a:pt x="161" y="122"/>
                  </a:lnTo>
                  <a:lnTo>
                    <a:pt x="161" y="124"/>
                  </a:lnTo>
                  <a:lnTo>
                    <a:pt x="161" y="124"/>
                  </a:lnTo>
                  <a:lnTo>
                    <a:pt x="161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4" y="124"/>
                  </a:lnTo>
                  <a:lnTo>
                    <a:pt x="166" y="124"/>
                  </a:lnTo>
                  <a:lnTo>
                    <a:pt x="168" y="124"/>
                  </a:lnTo>
                  <a:lnTo>
                    <a:pt x="170" y="124"/>
                  </a:lnTo>
                  <a:lnTo>
                    <a:pt x="170" y="124"/>
                  </a:lnTo>
                  <a:lnTo>
                    <a:pt x="173" y="129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3" y="131"/>
                  </a:lnTo>
                  <a:lnTo>
                    <a:pt x="173" y="131"/>
                  </a:lnTo>
                  <a:lnTo>
                    <a:pt x="170" y="131"/>
                  </a:lnTo>
                  <a:lnTo>
                    <a:pt x="170" y="133"/>
                  </a:lnTo>
                  <a:lnTo>
                    <a:pt x="170" y="133"/>
                  </a:lnTo>
                  <a:lnTo>
                    <a:pt x="168" y="133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8"/>
                  </a:lnTo>
                  <a:lnTo>
                    <a:pt x="164" y="138"/>
                  </a:lnTo>
                  <a:lnTo>
                    <a:pt x="161" y="138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59" y="135"/>
                  </a:lnTo>
                  <a:lnTo>
                    <a:pt x="159" y="135"/>
                  </a:lnTo>
                  <a:lnTo>
                    <a:pt x="159" y="135"/>
                  </a:lnTo>
                  <a:lnTo>
                    <a:pt x="159" y="135"/>
                  </a:lnTo>
                  <a:lnTo>
                    <a:pt x="159" y="135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61" y="135"/>
                  </a:lnTo>
                  <a:lnTo>
                    <a:pt x="161" y="138"/>
                  </a:lnTo>
                  <a:lnTo>
                    <a:pt x="164" y="138"/>
                  </a:lnTo>
                  <a:lnTo>
                    <a:pt x="164" y="138"/>
                  </a:lnTo>
                  <a:lnTo>
                    <a:pt x="164" y="138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70" y="135"/>
                  </a:lnTo>
                  <a:lnTo>
                    <a:pt x="170" y="133"/>
                  </a:lnTo>
                  <a:lnTo>
                    <a:pt x="170" y="133"/>
                  </a:lnTo>
                  <a:lnTo>
                    <a:pt x="173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7" y="129"/>
                  </a:lnTo>
                  <a:lnTo>
                    <a:pt x="177" y="129"/>
                  </a:lnTo>
                  <a:lnTo>
                    <a:pt x="177" y="129"/>
                  </a:lnTo>
                  <a:lnTo>
                    <a:pt x="179" y="129"/>
                  </a:lnTo>
                  <a:lnTo>
                    <a:pt x="179" y="129"/>
                  </a:lnTo>
                  <a:lnTo>
                    <a:pt x="179" y="129"/>
                  </a:lnTo>
                  <a:lnTo>
                    <a:pt x="179" y="129"/>
                  </a:lnTo>
                  <a:lnTo>
                    <a:pt x="182" y="129"/>
                  </a:lnTo>
                  <a:lnTo>
                    <a:pt x="184" y="131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4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8" y="135"/>
                  </a:lnTo>
                  <a:lnTo>
                    <a:pt x="188" y="140"/>
                  </a:lnTo>
                  <a:lnTo>
                    <a:pt x="188" y="140"/>
                  </a:lnTo>
                  <a:lnTo>
                    <a:pt x="188" y="140"/>
                  </a:lnTo>
                  <a:lnTo>
                    <a:pt x="188" y="140"/>
                  </a:lnTo>
                  <a:lnTo>
                    <a:pt x="188" y="142"/>
                  </a:lnTo>
                  <a:lnTo>
                    <a:pt x="188" y="142"/>
                  </a:lnTo>
                  <a:lnTo>
                    <a:pt x="188" y="142"/>
                  </a:lnTo>
                  <a:lnTo>
                    <a:pt x="188" y="142"/>
                  </a:lnTo>
                  <a:lnTo>
                    <a:pt x="186" y="142"/>
                  </a:lnTo>
                  <a:lnTo>
                    <a:pt x="186" y="142"/>
                  </a:lnTo>
                  <a:lnTo>
                    <a:pt x="186" y="142"/>
                  </a:lnTo>
                  <a:lnTo>
                    <a:pt x="186" y="142"/>
                  </a:lnTo>
                  <a:lnTo>
                    <a:pt x="186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7"/>
                  </a:lnTo>
                  <a:lnTo>
                    <a:pt x="179" y="147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7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79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9"/>
                  </a:lnTo>
                  <a:lnTo>
                    <a:pt x="182" y="149"/>
                  </a:lnTo>
                  <a:lnTo>
                    <a:pt x="182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51"/>
                  </a:lnTo>
                  <a:lnTo>
                    <a:pt x="179" y="151"/>
                  </a:lnTo>
                  <a:lnTo>
                    <a:pt x="179" y="151"/>
                  </a:lnTo>
                  <a:lnTo>
                    <a:pt x="182" y="151"/>
                  </a:lnTo>
                  <a:lnTo>
                    <a:pt x="182" y="149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2" y="151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2" y="153"/>
                  </a:lnTo>
                  <a:lnTo>
                    <a:pt x="179" y="153"/>
                  </a:lnTo>
                  <a:lnTo>
                    <a:pt x="179" y="153"/>
                  </a:lnTo>
                  <a:lnTo>
                    <a:pt x="179" y="153"/>
                  </a:lnTo>
                  <a:lnTo>
                    <a:pt x="179" y="151"/>
                  </a:lnTo>
                  <a:lnTo>
                    <a:pt x="179" y="153"/>
                  </a:lnTo>
                  <a:lnTo>
                    <a:pt x="179" y="153"/>
                  </a:lnTo>
                  <a:lnTo>
                    <a:pt x="179" y="153"/>
                  </a:lnTo>
                  <a:lnTo>
                    <a:pt x="179" y="153"/>
                  </a:lnTo>
                  <a:lnTo>
                    <a:pt x="179" y="156"/>
                  </a:lnTo>
                  <a:lnTo>
                    <a:pt x="179" y="156"/>
                  </a:lnTo>
                  <a:lnTo>
                    <a:pt x="179" y="156"/>
                  </a:lnTo>
                  <a:lnTo>
                    <a:pt x="179" y="156"/>
                  </a:lnTo>
                  <a:lnTo>
                    <a:pt x="179" y="156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82" y="158"/>
                  </a:lnTo>
                  <a:lnTo>
                    <a:pt x="182" y="158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2" y="160"/>
                  </a:lnTo>
                  <a:lnTo>
                    <a:pt x="184" y="160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6" y="162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6" y="165"/>
                  </a:lnTo>
                  <a:lnTo>
                    <a:pt x="188" y="165"/>
                  </a:lnTo>
                  <a:lnTo>
                    <a:pt x="188" y="165"/>
                  </a:lnTo>
                  <a:lnTo>
                    <a:pt x="188" y="165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5"/>
                  </a:lnTo>
                  <a:lnTo>
                    <a:pt x="191" y="165"/>
                  </a:lnTo>
                  <a:lnTo>
                    <a:pt x="191" y="165"/>
                  </a:lnTo>
                  <a:lnTo>
                    <a:pt x="191" y="165"/>
                  </a:lnTo>
                  <a:lnTo>
                    <a:pt x="191" y="165"/>
                  </a:lnTo>
                  <a:lnTo>
                    <a:pt x="193" y="165"/>
                  </a:lnTo>
                  <a:lnTo>
                    <a:pt x="193" y="165"/>
                  </a:lnTo>
                  <a:lnTo>
                    <a:pt x="193" y="165"/>
                  </a:lnTo>
                  <a:lnTo>
                    <a:pt x="195" y="165"/>
                  </a:lnTo>
                  <a:lnTo>
                    <a:pt x="195" y="165"/>
                  </a:lnTo>
                  <a:lnTo>
                    <a:pt x="197" y="167"/>
                  </a:lnTo>
                  <a:lnTo>
                    <a:pt x="197" y="167"/>
                  </a:lnTo>
                  <a:lnTo>
                    <a:pt x="197" y="167"/>
                  </a:lnTo>
                  <a:lnTo>
                    <a:pt x="197" y="167"/>
                  </a:lnTo>
                  <a:lnTo>
                    <a:pt x="200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9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4"/>
                  </a:lnTo>
                  <a:lnTo>
                    <a:pt x="202" y="178"/>
                  </a:lnTo>
                  <a:lnTo>
                    <a:pt x="202" y="178"/>
                  </a:lnTo>
                  <a:lnTo>
                    <a:pt x="202" y="180"/>
                  </a:lnTo>
                  <a:lnTo>
                    <a:pt x="204" y="180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82"/>
                  </a:lnTo>
                  <a:lnTo>
                    <a:pt x="204" y="185"/>
                  </a:lnTo>
                  <a:lnTo>
                    <a:pt x="204" y="185"/>
                  </a:lnTo>
                  <a:lnTo>
                    <a:pt x="202" y="185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7"/>
                  </a:lnTo>
                  <a:lnTo>
                    <a:pt x="202" y="187"/>
                  </a:lnTo>
                  <a:lnTo>
                    <a:pt x="202" y="187"/>
                  </a:lnTo>
                  <a:lnTo>
                    <a:pt x="204" y="185"/>
                  </a:lnTo>
                  <a:lnTo>
                    <a:pt x="204" y="185"/>
                  </a:lnTo>
                  <a:lnTo>
                    <a:pt x="204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6" y="187"/>
                  </a:lnTo>
                  <a:lnTo>
                    <a:pt x="206" y="187"/>
                  </a:lnTo>
                  <a:lnTo>
                    <a:pt x="206" y="187"/>
                  </a:lnTo>
                  <a:lnTo>
                    <a:pt x="204" y="187"/>
                  </a:lnTo>
                  <a:lnTo>
                    <a:pt x="204" y="189"/>
                  </a:lnTo>
                  <a:lnTo>
                    <a:pt x="204" y="189"/>
                  </a:lnTo>
                  <a:lnTo>
                    <a:pt x="204" y="189"/>
                  </a:lnTo>
                  <a:lnTo>
                    <a:pt x="204" y="189"/>
                  </a:lnTo>
                  <a:lnTo>
                    <a:pt x="204" y="189"/>
                  </a:lnTo>
                  <a:lnTo>
                    <a:pt x="204" y="189"/>
                  </a:lnTo>
                  <a:lnTo>
                    <a:pt x="206" y="189"/>
                  </a:lnTo>
                  <a:lnTo>
                    <a:pt x="206" y="187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9" y="189"/>
                  </a:lnTo>
                  <a:lnTo>
                    <a:pt x="209" y="189"/>
                  </a:lnTo>
                  <a:lnTo>
                    <a:pt x="211" y="189"/>
                  </a:lnTo>
                  <a:lnTo>
                    <a:pt x="211" y="191"/>
                  </a:lnTo>
                  <a:lnTo>
                    <a:pt x="211" y="191"/>
                  </a:lnTo>
                  <a:lnTo>
                    <a:pt x="211" y="191"/>
                  </a:lnTo>
                  <a:lnTo>
                    <a:pt x="211" y="194"/>
                  </a:lnTo>
                  <a:lnTo>
                    <a:pt x="209" y="194"/>
                  </a:lnTo>
                  <a:lnTo>
                    <a:pt x="209" y="196"/>
                  </a:lnTo>
                  <a:lnTo>
                    <a:pt x="209" y="196"/>
                  </a:lnTo>
                  <a:lnTo>
                    <a:pt x="206" y="196"/>
                  </a:lnTo>
                  <a:lnTo>
                    <a:pt x="206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4" y="198"/>
                  </a:lnTo>
                  <a:lnTo>
                    <a:pt x="204" y="198"/>
                  </a:lnTo>
                  <a:lnTo>
                    <a:pt x="206" y="198"/>
                  </a:lnTo>
                  <a:lnTo>
                    <a:pt x="206" y="198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0"/>
                  </a:lnTo>
                  <a:lnTo>
                    <a:pt x="206" y="200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4" y="203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204" y="207"/>
                  </a:lnTo>
                  <a:lnTo>
                    <a:pt x="204" y="207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4" y="205"/>
                  </a:lnTo>
                  <a:lnTo>
                    <a:pt x="206" y="203"/>
                  </a:lnTo>
                  <a:lnTo>
                    <a:pt x="206" y="203"/>
                  </a:lnTo>
                  <a:lnTo>
                    <a:pt x="209" y="203"/>
                  </a:lnTo>
                  <a:lnTo>
                    <a:pt x="209" y="200"/>
                  </a:lnTo>
                  <a:lnTo>
                    <a:pt x="209" y="200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9" y="196"/>
                  </a:lnTo>
                  <a:lnTo>
                    <a:pt x="211" y="196"/>
                  </a:lnTo>
                  <a:lnTo>
                    <a:pt x="211" y="196"/>
                  </a:lnTo>
                  <a:lnTo>
                    <a:pt x="211" y="196"/>
                  </a:lnTo>
                  <a:lnTo>
                    <a:pt x="211" y="196"/>
                  </a:lnTo>
                  <a:lnTo>
                    <a:pt x="211" y="196"/>
                  </a:lnTo>
                  <a:lnTo>
                    <a:pt x="211" y="196"/>
                  </a:lnTo>
                  <a:lnTo>
                    <a:pt x="211" y="198"/>
                  </a:lnTo>
                  <a:lnTo>
                    <a:pt x="211" y="198"/>
                  </a:lnTo>
                  <a:lnTo>
                    <a:pt x="211" y="196"/>
                  </a:lnTo>
                  <a:lnTo>
                    <a:pt x="211" y="196"/>
                  </a:lnTo>
                  <a:lnTo>
                    <a:pt x="213" y="196"/>
                  </a:lnTo>
                  <a:lnTo>
                    <a:pt x="213" y="196"/>
                  </a:lnTo>
                  <a:lnTo>
                    <a:pt x="213" y="196"/>
                  </a:lnTo>
                  <a:lnTo>
                    <a:pt x="213" y="196"/>
                  </a:lnTo>
                  <a:lnTo>
                    <a:pt x="213" y="198"/>
                  </a:lnTo>
                  <a:lnTo>
                    <a:pt x="213" y="198"/>
                  </a:lnTo>
                  <a:lnTo>
                    <a:pt x="213" y="198"/>
                  </a:lnTo>
                  <a:lnTo>
                    <a:pt x="215" y="198"/>
                  </a:lnTo>
                  <a:lnTo>
                    <a:pt x="215" y="198"/>
                  </a:lnTo>
                  <a:lnTo>
                    <a:pt x="215" y="198"/>
                  </a:lnTo>
                  <a:lnTo>
                    <a:pt x="215" y="198"/>
                  </a:lnTo>
                  <a:lnTo>
                    <a:pt x="215" y="198"/>
                  </a:lnTo>
                  <a:lnTo>
                    <a:pt x="215" y="198"/>
                  </a:lnTo>
                  <a:lnTo>
                    <a:pt x="218" y="196"/>
                  </a:lnTo>
                  <a:lnTo>
                    <a:pt x="218" y="196"/>
                  </a:lnTo>
                  <a:lnTo>
                    <a:pt x="218" y="196"/>
                  </a:lnTo>
                  <a:lnTo>
                    <a:pt x="218" y="196"/>
                  </a:lnTo>
                  <a:lnTo>
                    <a:pt x="220" y="198"/>
                  </a:lnTo>
                  <a:lnTo>
                    <a:pt x="220" y="198"/>
                  </a:lnTo>
                  <a:lnTo>
                    <a:pt x="222" y="198"/>
                  </a:lnTo>
                  <a:lnTo>
                    <a:pt x="222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4" y="198"/>
                  </a:lnTo>
                  <a:lnTo>
                    <a:pt x="226" y="198"/>
                  </a:lnTo>
                  <a:lnTo>
                    <a:pt x="226" y="198"/>
                  </a:lnTo>
                  <a:lnTo>
                    <a:pt x="226" y="198"/>
                  </a:lnTo>
                  <a:lnTo>
                    <a:pt x="226" y="198"/>
                  </a:lnTo>
                  <a:lnTo>
                    <a:pt x="226" y="200"/>
                  </a:lnTo>
                  <a:lnTo>
                    <a:pt x="226" y="200"/>
                  </a:lnTo>
                  <a:lnTo>
                    <a:pt x="226" y="200"/>
                  </a:lnTo>
                  <a:lnTo>
                    <a:pt x="226" y="203"/>
                  </a:lnTo>
                  <a:lnTo>
                    <a:pt x="226" y="203"/>
                  </a:lnTo>
                  <a:lnTo>
                    <a:pt x="226" y="203"/>
                  </a:lnTo>
                  <a:lnTo>
                    <a:pt x="226" y="203"/>
                  </a:lnTo>
                  <a:lnTo>
                    <a:pt x="226" y="203"/>
                  </a:lnTo>
                  <a:lnTo>
                    <a:pt x="226" y="205"/>
                  </a:lnTo>
                  <a:lnTo>
                    <a:pt x="226" y="205"/>
                  </a:lnTo>
                  <a:lnTo>
                    <a:pt x="226" y="205"/>
                  </a:lnTo>
                  <a:lnTo>
                    <a:pt x="229" y="205"/>
                  </a:lnTo>
                  <a:lnTo>
                    <a:pt x="229" y="205"/>
                  </a:lnTo>
                  <a:lnTo>
                    <a:pt x="229" y="205"/>
                  </a:lnTo>
                  <a:lnTo>
                    <a:pt x="229" y="205"/>
                  </a:lnTo>
                  <a:lnTo>
                    <a:pt x="229" y="205"/>
                  </a:lnTo>
                  <a:lnTo>
                    <a:pt x="229" y="205"/>
                  </a:lnTo>
                  <a:lnTo>
                    <a:pt x="229" y="209"/>
                  </a:lnTo>
                  <a:lnTo>
                    <a:pt x="229" y="209"/>
                  </a:lnTo>
                  <a:lnTo>
                    <a:pt x="231" y="212"/>
                  </a:lnTo>
                  <a:lnTo>
                    <a:pt x="231" y="212"/>
                  </a:lnTo>
                  <a:lnTo>
                    <a:pt x="231" y="212"/>
                  </a:lnTo>
                  <a:lnTo>
                    <a:pt x="231" y="212"/>
                  </a:lnTo>
                  <a:lnTo>
                    <a:pt x="233" y="212"/>
                  </a:lnTo>
                  <a:lnTo>
                    <a:pt x="233" y="212"/>
                  </a:lnTo>
                  <a:lnTo>
                    <a:pt x="233" y="212"/>
                  </a:lnTo>
                  <a:lnTo>
                    <a:pt x="233" y="212"/>
                  </a:lnTo>
                  <a:lnTo>
                    <a:pt x="233" y="212"/>
                  </a:lnTo>
                  <a:lnTo>
                    <a:pt x="233" y="212"/>
                  </a:lnTo>
                  <a:lnTo>
                    <a:pt x="233" y="212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5" y="216"/>
                  </a:lnTo>
                  <a:lnTo>
                    <a:pt x="235" y="216"/>
                  </a:lnTo>
                  <a:lnTo>
                    <a:pt x="235" y="216"/>
                  </a:lnTo>
                  <a:lnTo>
                    <a:pt x="235" y="216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5" y="218"/>
                  </a:lnTo>
                  <a:lnTo>
                    <a:pt x="233" y="218"/>
                  </a:lnTo>
                  <a:lnTo>
                    <a:pt x="233" y="221"/>
                  </a:lnTo>
                  <a:lnTo>
                    <a:pt x="231" y="221"/>
                  </a:lnTo>
                  <a:lnTo>
                    <a:pt x="231" y="223"/>
                  </a:lnTo>
                  <a:lnTo>
                    <a:pt x="231" y="223"/>
                  </a:lnTo>
                  <a:lnTo>
                    <a:pt x="229" y="227"/>
                  </a:lnTo>
                  <a:lnTo>
                    <a:pt x="229" y="230"/>
                  </a:lnTo>
                  <a:lnTo>
                    <a:pt x="229" y="230"/>
                  </a:lnTo>
                  <a:lnTo>
                    <a:pt x="231" y="232"/>
                  </a:lnTo>
                  <a:lnTo>
                    <a:pt x="231" y="232"/>
                  </a:lnTo>
                  <a:lnTo>
                    <a:pt x="231" y="234"/>
                  </a:lnTo>
                  <a:lnTo>
                    <a:pt x="231" y="234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9"/>
                  </a:lnTo>
                  <a:lnTo>
                    <a:pt x="229" y="239"/>
                  </a:lnTo>
                  <a:lnTo>
                    <a:pt x="229" y="241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3"/>
                  </a:lnTo>
                  <a:lnTo>
                    <a:pt x="229" y="245"/>
                  </a:lnTo>
                  <a:lnTo>
                    <a:pt x="229" y="245"/>
                  </a:lnTo>
                  <a:lnTo>
                    <a:pt x="229" y="245"/>
                  </a:lnTo>
                  <a:lnTo>
                    <a:pt x="229" y="245"/>
                  </a:lnTo>
                  <a:lnTo>
                    <a:pt x="229" y="245"/>
                  </a:lnTo>
                  <a:lnTo>
                    <a:pt x="229" y="248"/>
                  </a:lnTo>
                  <a:lnTo>
                    <a:pt x="231" y="248"/>
                  </a:lnTo>
                  <a:lnTo>
                    <a:pt x="231" y="248"/>
                  </a:lnTo>
                  <a:lnTo>
                    <a:pt x="231" y="248"/>
                  </a:lnTo>
                  <a:lnTo>
                    <a:pt x="231" y="248"/>
                  </a:lnTo>
                  <a:lnTo>
                    <a:pt x="231" y="248"/>
                  </a:lnTo>
                  <a:lnTo>
                    <a:pt x="231" y="250"/>
                  </a:lnTo>
                  <a:lnTo>
                    <a:pt x="231" y="250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9" y="252"/>
                  </a:lnTo>
                  <a:lnTo>
                    <a:pt x="229" y="252"/>
                  </a:lnTo>
                  <a:lnTo>
                    <a:pt x="229" y="252"/>
                  </a:lnTo>
                  <a:lnTo>
                    <a:pt x="229" y="254"/>
                  </a:lnTo>
                  <a:lnTo>
                    <a:pt x="229" y="257"/>
                  </a:lnTo>
                  <a:lnTo>
                    <a:pt x="229" y="257"/>
                  </a:lnTo>
                  <a:lnTo>
                    <a:pt x="229" y="259"/>
                  </a:lnTo>
                  <a:lnTo>
                    <a:pt x="229" y="259"/>
                  </a:lnTo>
                  <a:lnTo>
                    <a:pt x="229" y="259"/>
                  </a:lnTo>
                  <a:lnTo>
                    <a:pt x="229" y="261"/>
                  </a:lnTo>
                  <a:lnTo>
                    <a:pt x="229" y="261"/>
                  </a:lnTo>
                  <a:lnTo>
                    <a:pt x="229" y="263"/>
                  </a:lnTo>
                  <a:lnTo>
                    <a:pt x="229" y="266"/>
                  </a:lnTo>
                  <a:lnTo>
                    <a:pt x="229" y="266"/>
                  </a:lnTo>
                  <a:lnTo>
                    <a:pt x="229" y="268"/>
                  </a:lnTo>
                  <a:lnTo>
                    <a:pt x="226" y="270"/>
                  </a:lnTo>
                  <a:lnTo>
                    <a:pt x="226" y="270"/>
                  </a:lnTo>
                  <a:lnTo>
                    <a:pt x="226" y="272"/>
                  </a:lnTo>
                  <a:lnTo>
                    <a:pt x="226" y="272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5"/>
                  </a:lnTo>
                  <a:lnTo>
                    <a:pt x="226" y="277"/>
                  </a:lnTo>
                  <a:lnTo>
                    <a:pt x="226" y="277"/>
                  </a:lnTo>
                  <a:lnTo>
                    <a:pt x="226" y="279"/>
                  </a:lnTo>
                  <a:lnTo>
                    <a:pt x="226" y="279"/>
                  </a:lnTo>
                  <a:lnTo>
                    <a:pt x="226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79"/>
                  </a:lnTo>
                  <a:lnTo>
                    <a:pt x="224" y="279"/>
                  </a:lnTo>
                  <a:lnTo>
                    <a:pt x="224" y="279"/>
                  </a:lnTo>
                  <a:lnTo>
                    <a:pt x="222" y="279"/>
                  </a:lnTo>
                  <a:lnTo>
                    <a:pt x="222" y="279"/>
                  </a:lnTo>
                  <a:lnTo>
                    <a:pt x="222" y="277"/>
                  </a:lnTo>
                  <a:lnTo>
                    <a:pt x="222" y="277"/>
                  </a:lnTo>
                  <a:lnTo>
                    <a:pt x="222" y="275"/>
                  </a:lnTo>
                  <a:lnTo>
                    <a:pt x="222" y="277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0" y="277"/>
                  </a:lnTo>
                  <a:lnTo>
                    <a:pt x="220" y="275"/>
                  </a:lnTo>
                  <a:lnTo>
                    <a:pt x="220" y="275"/>
                  </a:lnTo>
                  <a:lnTo>
                    <a:pt x="218" y="275"/>
                  </a:lnTo>
                  <a:lnTo>
                    <a:pt x="218" y="272"/>
                  </a:lnTo>
                  <a:lnTo>
                    <a:pt x="218" y="270"/>
                  </a:lnTo>
                  <a:lnTo>
                    <a:pt x="215" y="270"/>
                  </a:lnTo>
                  <a:lnTo>
                    <a:pt x="215" y="270"/>
                  </a:lnTo>
                  <a:lnTo>
                    <a:pt x="215" y="272"/>
                  </a:lnTo>
                  <a:lnTo>
                    <a:pt x="215" y="272"/>
                  </a:lnTo>
                  <a:lnTo>
                    <a:pt x="215" y="272"/>
                  </a:lnTo>
                  <a:lnTo>
                    <a:pt x="215" y="272"/>
                  </a:lnTo>
                  <a:lnTo>
                    <a:pt x="215" y="275"/>
                  </a:lnTo>
                  <a:lnTo>
                    <a:pt x="215" y="275"/>
                  </a:lnTo>
                  <a:lnTo>
                    <a:pt x="215" y="275"/>
                  </a:lnTo>
                  <a:lnTo>
                    <a:pt x="215" y="275"/>
                  </a:lnTo>
                  <a:lnTo>
                    <a:pt x="213" y="275"/>
                  </a:lnTo>
                  <a:lnTo>
                    <a:pt x="213" y="275"/>
                  </a:lnTo>
                  <a:lnTo>
                    <a:pt x="213" y="275"/>
                  </a:lnTo>
                  <a:lnTo>
                    <a:pt x="213" y="275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5" y="277"/>
                  </a:lnTo>
                  <a:lnTo>
                    <a:pt x="215" y="277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3" y="277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9"/>
                  </a:lnTo>
                  <a:lnTo>
                    <a:pt x="213" y="279"/>
                  </a:lnTo>
                  <a:lnTo>
                    <a:pt x="213" y="279"/>
                  </a:lnTo>
                  <a:lnTo>
                    <a:pt x="213" y="279"/>
                  </a:lnTo>
                  <a:lnTo>
                    <a:pt x="211" y="277"/>
                  </a:lnTo>
                  <a:lnTo>
                    <a:pt x="209" y="277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4" y="279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197" y="279"/>
                  </a:lnTo>
                  <a:lnTo>
                    <a:pt x="197" y="279"/>
                  </a:lnTo>
                  <a:lnTo>
                    <a:pt x="197" y="277"/>
                  </a:lnTo>
                  <a:lnTo>
                    <a:pt x="197" y="277"/>
                  </a:lnTo>
                  <a:lnTo>
                    <a:pt x="197" y="277"/>
                  </a:lnTo>
                  <a:lnTo>
                    <a:pt x="195" y="275"/>
                  </a:lnTo>
                  <a:lnTo>
                    <a:pt x="195" y="275"/>
                  </a:lnTo>
                  <a:lnTo>
                    <a:pt x="195" y="275"/>
                  </a:lnTo>
                  <a:lnTo>
                    <a:pt x="195" y="275"/>
                  </a:lnTo>
                  <a:lnTo>
                    <a:pt x="195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1" y="270"/>
                  </a:lnTo>
                  <a:lnTo>
                    <a:pt x="191" y="270"/>
                  </a:lnTo>
                  <a:lnTo>
                    <a:pt x="191" y="268"/>
                  </a:lnTo>
                  <a:lnTo>
                    <a:pt x="188" y="268"/>
                  </a:lnTo>
                  <a:lnTo>
                    <a:pt x="188" y="268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8" y="266"/>
                  </a:lnTo>
                  <a:lnTo>
                    <a:pt x="186" y="266"/>
                  </a:lnTo>
                  <a:lnTo>
                    <a:pt x="186" y="266"/>
                  </a:lnTo>
                  <a:lnTo>
                    <a:pt x="188" y="263"/>
                  </a:lnTo>
                  <a:lnTo>
                    <a:pt x="188" y="263"/>
                  </a:lnTo>
                  <a:lnTo>
                    <a:pt x="188" y="263"/>
                  </a:lnTo>
                  <a:lnTo>
                    <a:pt x="188" y="263"/>
                  </a:lnTo>
                  <a:lnTo>
                    <a:pt x="188" y="263"/>
                  </a:lnTo>
                  <a:lnTo>
                    <a:pt x="186" y="263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61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79" y="259"/>
                  </a:lnTo>
                  <a:lnTo>
                    <a:pt x="179" y="259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9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7"/>
                  </a:lnTo>
                  <a:lnTo>
                    <a:pt x="177" y="254"/>
                  </a:lnTo>
                  <a:lnTo>
                    <a:pt x="177" y="254"/>
                  </a:lnTo>
                  <a:lnTo>
                    <a:pt x="177" y="254"/>
                  </a:lnTo>
                  <a:lnTo>
                    <a:pt x="177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2"/>
                  </a:lnTo>
                  <a:lnTo>
                    <a:pt x="173" y="250"/>
                  </a:lnTo>
                  <a:lnTo>
                    <a:pt x="170" y="250"/>
                  </a:lnTo>
                  <a:lnTo>
                    <a:pt x="168" y="248"/>
                  </a:lnTo>
                  <a:lnTo>
                    <a:pt x="168" y="248"/>
                  </a:lnTo>
                  <a:lnTo>
                    <a:pt x="166" y="248"/>
                  </a:lnTo>
                  <a:lnTo>
                    <a:pt x="166" y="245"/>
                  </a:lnTo>
                  <a:lnTo>
                    <a:pt x="164" y="243"/>
                  </a:lnTo>
                  <a:lnTo>
                    <a:pt x="159" y="239"/>
                  </a:lnTo>
                  <a:lnTo>
                    <a:pt x="157" y="236"/>
                  </a:lnTo>
                  <a:lnTo>
                    <a:pt x="155" y="236"/>
                  </a:lnTo>
                  <a:lnTo>
                    <a:pt x="155" y="236"/>
                  </a:lnTo>
                  <a:lnTo>
                    <a:pt x="155" y="236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4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2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30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5" y="227"/>
                  </a:lnTo>
                  <a:lnTo>
                    <a:pt x="150" y="225"/>
                  </a:lnTo>
                  <a:lnTo>
                    <a:pt x="146" y="223"/>
                  </a:lnTo>
                  <a:lnTo>
                    <a:pt x="141" y="218"/>
                  </a:lnTo>
                  <a:lnTo>
                    <a:pt x="141" y="218"/>
                  </a:lnTo>
                  <a:lnTo>
                    <a:pt x="141" y="216"/>
                  </a:lnTo>
                  <a:lnTo>
                    <a:pt x="141" y="216"/>
                  </a:lnTo>
                  <a:lnTo>
                    <a:pt x="137" y="212"/>
                  </a:lnTo>
                  <a:lnTo>
                    <a:pt x="137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5"/>
                  </a:lnTo>
                  <a:lnTo>
                    <a:pt x="132" y="205"/>
                  </a:lnTo>
                  <a:lnTo>
                    <a:pt x="132" y="203"/>
                  </a:lnTo>
                  <a:lnTo>
                    <a:pt x="130" y="203"/>
                  </a:lnTo>
                  <a:lnTo>
                    <a:pt x="130" y="200"/>
                  </a:lnTo>
                  <a:lnTo>
                    <a:pt x="128" y="196"/>
                  </a:lnTo>
                  <a:lnTo>
                    <a:pt x="125" y="191"/>
                  </a:lnTo>
                  <a:lnTo>
                    <a:pt x="125" y="191"/>
                  </a:lnTo>
                  <a:lnTo>
                    <a:pt x="125" y="191"/>
                  </a:lnTo>
                  <a:lnTo>
                    <a:pt x="125" y="191"/>
                  </a:lnTo>
                  <a:lnTo>
                    <a:pt x="125" y="191"/>
                  </a:lnTo>
                  <a:lnTo>
                    <a:pt x="128" y="189"/>
                  </a:lnTo>
                  <a:lnTo>
                    <a:pt x="125" y="189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0"/>
                  </a:lnTo>
                  <a:lnTo>
                    <a:pt x="121" y="180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8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6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71"/>
                  </a:lnTo>
                  <a:lnTo>
                    <a:pt x="116" y="169"/>
                  </a:lnTo>
                  <a:lnTo>
                    <a:pt x="116" y="169"/>
                  </a:lnTo>
                  <a:lnTo>
                    <a:pt x="116" y="169"/>
                  </a:lnTo>
                  <a:lnTo>
                    <a:pt x="116" y="169"/>
                  </a:lnTo>
                  <a:lnTo>
                    <a:pt x="116" y="169"/>
                  </a:lnTo>
                  <a:lnTo>
                    <a:pt x="116" y="169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7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2"/>
                  </a:lnTo>
                  <a:lnTo>
                    <a:pt x="114" y="162"/>
                  </a:lnTo>
                  <a:lnTo>
                    <a:pt x="114" y="160"/>
                  </a:lnTo>
                  <a:lnTo>
                    <a:pt x="112" y="158"/>
                  </a:lnTo>
                  <a:lnTo>
                    <a:pt x="112" y="156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07" y="151"/>
                  </a:lnTo>
                  <a:lnTo>
                    <a:pt x="107" y="151"/>
                  </a:lnTo>
                  <a:lnTo>
                    <a:pt x="107" y="151"/>
                  </a:lnTo>
                  <a:lnTo>
                    <a:pt x="107" y="151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5" y="149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5" y="147"/>
                  </a:lnTo>
                  <a:lnTo>
                    <a:pt x="103" y="147"/>
                  </a:lnTo>
                  <a:lnTo>
                    <a:pt x="103" y="147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0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98" y="138"/>
                  </a:lnTo>
                  <a:lnTo>
                    <a:pt x="98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6" y="138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4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92" y="135"/>
                  </a:lnTo>
                  <a:lnTo>
                    <a:pt x="89" y="135"/>
                  </a:lnTo>
                  <a:lnTo>
                    <a:pt x="89" y="135"/>
                  </a:lnTo>
                  <a:lnTo>
                    <a:pt x="89" y="135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1"/>
                  </a:lnTo>
                  <a:lnTo>
                    <a:pt x="89" y="131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9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9" y="126"/>
                  </a:lnTo>
                  <a:lnTo>
                    <a:pt x="87" y="126"/>
                  </a:lnTo>
                  <a:lnTo>
                    <a:pt x="89" y="124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2"/>
                  </a:lnTo>
                  <a:lnTo>
                    <a:pt x="87" y="120"/>
                  </a:lnTo>
                  <a:lnTo>
                    <a:pt x="87" y="120"/>
                  </a:lnTo>
                  <a:lnTo>
                    <a:pt x="85" y="115"/>
                  </a:lnTo>
                  <a:lnTo>
                    <a:pt x="85" y="111"/>
                  </a:lnTo>
                  <a:lnTo>
                    <a:pt x="83" y="111"/>
                  </a:lnTo>
                  <a:lnTo>
                    <a:pt x="83" y="111"/>
                  </a:lnTo>
                  <a:lnTo>
                    <a:pt x="83" y="111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102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78" y="97"/>
                  </a:lnTo>
                  <a:lnTo>
                    <a:pt x="78" y="95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3"/>
                  </a:lnTo>
                  <a:lnTo>
                    <a:pt x="71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7" y="88"/>
                  </a:lnTo>
                  <a:lnTo>
                    <a:pt x="65" y="88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1"/>
                  </a:lnTo>
                  <a:lnTo>
                    <a:pt x="58" y="77"/>
                  </a:lnTo>
                  <a:lnTo>
                    <a:pt x="58" y="72"/>
                  </a:lnTo>
                  <a:lnTo>
                    <a:pt x="58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0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6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1" y="50"/>
                  </a:lnTo>
                  <a:lnTo>
                    <a:pt x="29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0" y="39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4" y="7"/>
                  </a:move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7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6" y="0"/>
                  </a:moveTo>
                  <a:lnTo>
                    <a:pt x="6" y="3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2" name="Freeform 579"/>
            <p:cNvSpPr>
              <a:spLocks noEditPoints="1"/>
            </p:cNvSpPr>
            <p:nvPr/>
          </p:nvSpPr>
          <p:spPr bwMode="auto">
            <a:xfrm>
              <a:off x="7979218" y="2556741"/>
              <a:ext cx="969427" cy="1141583"/>
            </a:xfrm>
            <a:custGeom>
              <a:avLst/>
              <a:gdLst>
                <a:gd name="T0" fmla="*/ 557 w 580"/>
                <a:gd name="T1" fmla="*/ 654 h 683"/>
                <a:gd name="T2" fmla="*/ 537 w 580"/>
                <a:gd name="T3" fmla="*/ 591 h 683"/>
                <a:gd name="T4" fmla="*/ 537 w 580"/>
                <a:gd name="T5" fmla="*/ 535 h 683"/>
                <a:gd name="T6" fmla="*/ 542 w 580"/>
                <a:gd name="T7" fmla="*/ 548 h 683"/>
                <a:gd name="T8" fmla="*/ 537 w 580"/>
                <a:gd name="T9" fmla="*/ 564 h 683"/>
                <a:gd name="T10" fmla="*/ 539 w 580"/>
                <a:gd name="T11" fmla="*/ 528 h 683"/>
                <a:gd name="T12" fmla="*/ 169 w 580"/>
                <a:gd name="T13" fmla="*/ 24 h 683"/>
                <a:gd name="T14" fmla="*/ 182 w 580"/>
                <a:gd name="T15" fmla="*/ 85 h 683"/>
                <a:gd name="T16" fmla="*/ 218 w 580"/>
                <a:gd name="T17" fmla="*/ 114 h 683"/>
                <a:gd name="T18" fmla="*/ 223 w 580"/>
                <a:gd name="T19" fmla="*/ 155 h 683"/>
                <a:gd name="T20" fmla="*/ 277 w 580"/>
                <a:gd name="T21" fmla="*/ 186 h 683"/>
                <a:gd name="T22" fmla="*/ 348 w 580"/>
                <a:gd name="T23" fmla="*/ 206 h 683"/>
                <a:gd name="T24" fmla="*/ 396 w 580"/>
                <a:gd name="T25" fmla="*/ 215 h 683"/>
                <a:gd name="T26" fmla="*/ 411 w 580"/>
                <a:gd name="T27" fmla="*/ 193 h 683"/>
                <a:gd name="T28" fmla="*/ 468 w 580"/>
                <a:gd name="T29" fmla="*/ 206 h 683"/>
                <a:gd name="T30" fmla="*/ 483 w 580"/>
                <a:gd name="T31" fmla="*/ 177 h 683"/>
                <a:gd name="T32" fmla="*/ 526 w 580"/>
                <a:gd name="T33" fmla="*/ 150 h 683"/>
                <a:gd name="T34" fmla="*/ 555 w 580"/>
                <a:gd name="T35" fmla="*/ 164 h 683"/>
                <a:gd name="T36" fmla="*/ 578 w 580"/>
                <a:gd name="T37" fmla="*/ 200 h 683"/>
                <a:gd name="T38" fmla="*/ 542 w 580"/>
                <a:gd name="T39" fmla="*/ 231 h 683"/>
                <a:gd name="T40" fmla="*/ 515 w 580"/>
                <a:gd name="T41" fmla="*/ 269 h 683"/>
                <a:gd name="T42" fmla="*/ 508 w 580"/>
                <a:gd name="T43" fmla="*/ 317 h 683"/>
                <a:gd name="T44" fmla="*/ 486 w 580"/>
                <a:gd name="T45" fmla="*/ 296 h 683"/>
                <a:gd name="T46" fmla="*/ 481 w 580"/>
                <a:gd name="T47" fmla="*/ 267 h 683"/>
                <a:gd name="T48" fmla="*/ 468 w 580"/>
                <a:gd name="T49" fmla="*/ 245 h 683"/>
                <a:gd name="T50" fmla="*/ 427 w 580"/>
                <a:gd name="T51" fmla="*/ 224 h 683"/>
                <a:gd name="T52" fmla="*/ 402 w 580"/>
                <a:gd name="T53" fmla="*/ 213 h 683"/>
                <a:gd name="T54" fmla="*/ 420 w 580"/>
                <a:gd name="T55" fmla="*/ 245 h 683"/>
                <a:gd name="T56" fmla="*/ 418 w 580"/>
                <a:gd name="T57" fmla="*/ 276 h 683"/>
                <a:gd name="T58" fmla="*/ 434 w 580"/>
                <a:gd name="T59" fmla="*/ 321 h 683"/>
                <a:gd name="T60" fmla="*/ 427 w 580"/>
                <a:gd name="T61" fmla="*/ 317 h 683"/>
                <a:gd name="T62" fmla="*/ 420 w 580"/>
                <a:gd name="T63" fmla="*/ 328 h 683"/>
                <a:gd name="T64" fmla="*/ 396 w 580"/>
                <a:gd name="T65" fmla="*/ 348 h 683"/>
                <a:gd name="T66" fmla="*/ 373 w 580"/>
                <a:gd name="T67" fmla="*/ 373 h 683"/>
                <a:gd name="T68" fmla="*/ 366 w 580"/>
                <a:gd name="T69" fmla="*/ 377 h 683"/>
                <a:gd name="T70" fmla="*/ 328 w 580"/>
                <a:gd name="T71" fmla="*/ 422 h 683"/>
                <a:gd name="T72" fmla="*/ 297 w 580"/>
                <a:gd name="T73" fmla="*/ 454 h 683"/>
                <a:gd name="T74" fmla="*/ 268 w 580"/>
                <a:gd name="T75" fmla="*/ 488 h 683"/>
                <a:gd name="T76" fmla="*/ 277 w 580"/>
                <a:gd name="T77" fmla="*/ 532 h 683"/>
                <a:gd name="T78" fmla="*/ 268 w 580"/>
                <a:gd name="T79" fmla="*/ 598 h 683"/>
                <a:gd name="T80" fmla="*/ 241 w 580"/>
                <a:gd name="T81" fmla="*/ 634 h 683"/>
                <a:gd name="T82" fmla="*/ 202 w 580"/>
                <a:gd name="T83" fmla="*/ 627 h 683"/>
                <a:gd name="T84" fmla="*/ 198 w 580"/>
                <a:gd name="T85" fmla="*/ 600 h 683"/>
                <a:gd name="T86" fmla="*/ 169 w 580"/>
                <a:gd name="T87" fmla="*/ 548 h 683"/>
                <a:gd name="T88" fmla="*/ 151 w 580"/>
                <a:gd name="T89" fmla="*/ 499 h 683"/>
                <a:gd name="T90" fmla="*/ 140 w 580"/>
                <a:gd name="T91" fmla="*/ 476 h 683"/>
                <a:gd name="T92" fmla="*/ 124 w 580"/>
                <a:gd name="T93" fmla="*/ 449 h 683"/>
                <a:gd name="T94" fmla="*/ 115 w 580"/>
                <a:gd name="T95" fmla="*/ 416 h 683"/>
                <a:gd name="T96" fmla="*/ 113 w 580"/>
                <a:gd name="T97" fmla="*/ 395 h 683"/>
                <a:gd name="T98" fmla="*/ 110 w 580"/>
                <a:gd name="T99" fmla="*/ 384 h 683"/>
                <a:gd name="T100" fmla="*/ 106 w 580"/>
                <a:gd name="T101" fmla="*/ 348 h 683"/>
                <a:gd name="T102" fmla="*/ 101 w 580"/>
                <a:gd name="T103" fmla="*/ 328 h 683"/>
                <a:gd name="T104" fmla="*/ 95 w 580"/>
                <a:gd name="T105" fmla="*/ 314 h 683"/>
                <a:gd name="T106" fmla="*/ 86 w 580"/>
                <a:gd name="T107" fmla="*/ 323 h 683"/>
                <a:gd name="T108" fmla="*/ 56 w 580"/>
                <a:gd name="T109" fmla="*/ 348 h 683"/>
                <a:gd name="T110" fmla="*/ 34 w 580"/>
                <a:gd name="T111" fmla="*/ 312 h 683"/>
                <a:gd name="T112" fmla="*/ 43 w 580"/>
                <a:gd name="T113" fmla="*/ 299 h 683"/>
                <a:gd name="T114" fmla="*/ 7 w 580"/>
                <a:gd name="T115" fmla="*/ 281 h 683"/>
                <a:gd name="T116" fmla="*/ 11 w 580"/>
                <a:gd name="T117" fmla="*/ 267 h 683"/>
                <a:gd name="T118" fmla="*/ 43 w 580"/>
                <a:gd name="T119" fmla="*/ 231 h 683"/>
                <a:gd name="T120" fmla="*/ 92 w 580"/>
                <a:gd name="T121" fmla="*/ 123 h 683"/>
                <a:gd name="T122" fmla="*/ 104 w 580"/>
                <a:gd name="T123" fmla="*/ 81 h 683"/>
                <a:gd name="T124" fmla="*/ 81 w 580"/>
                <a:gd name="T125" fmla="*/ 36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0" h="683">
                  <a:moveTo>
                    <a:pt x="571" y="672"/>
                  </a:moveTo>
                  <a:lnTo>
                    <a:pt x="571" y="672"/>
                  </a:lnTo>
                  <a:lnTo>
                    <a:pt x="571" y="672"/>
                  </a:lnTo>
                  <a:lnTo>
                    <a:pt x="571" y="674"/>
                  </a:lnTo>
                  <a:lnTo>
                    <a:pt x="571" y="674"/>
                  </a:lnTo>
                  <a:lnTo>
                    <a:pt x="571" y="674"/>
                  </a:lnTo>
                  <a:lnTo>
                    <a:pt x="571" y="674"/>
                  </a:lnTo>
                  <a:lnTo>
                    <a:pt x="571" y="676"/>
                  </a:lnTo>
                  <a:lnTo>
                    <a:pt x="571" y="676"/>
                  </a:lnTo>
                  <a:lnTo>
                    <a:pt x="571" y="676"/>
                  </a:lnTo>
                  <a:lnTo>
                    <a:pt x="573" y="676"/>
                  </a:lnTo>
                  <a:lnTo>
                    <a:pt x="573" y="679"/>
                  </a:lnTo>
                  <a:lnTo>
                    <a:pt x="571" y="679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3"/>
                  </a:lnTo>
                  <a:lnTo>
                    <a:pt x="571" y="683"/>
                  </a:lnTo>
                  <a:lnTo>
                    <a:pt x="571" y="681"/>
                  </a:lnTo>
                  <a:lnTo>
                    <a:pt x="571" y="681"/>
                  </a:lnTo>
                  <a:lnTo>
                    <a:pt x="571" y="683"/>
                  </a:lnTo>
                  <a:lnTo>
                    <a:pt x="571" y="683"/>
                  </a:lnTo>
                  <a:lnTo>
                    <a:pt x="571" y="683"/>
                  </a:lnTo>
                  <a:lnTo>
                    <a:pt x="571" y="683"/>
                  </a:lnTo>
                  <a:lnTo>
                    <a:pt x="571" y="683"/>
                  </a:lnTo>
                  <a:lnTo>
                    <a:pt x="571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81"/>
                  </a:lnTo>
                  <a:lnTo>
                    <a:pt x="569" y="679"/>
                  </a:lnTo>
                  <a:lnTo>
                    <a:pt x="569" y="679"/>
                  </a:lnTo>
                  <a:lnTo>
                    <a:pt x="569" y="679"/>
                  </a:lnTo>
                  <a:lnTo>
                    <a:pt x="569" y="679"/>
                  </a:lnTo>
                  <a:lnTo>
                    <a:pt x="569" y="679"/>
                  </a:lnTo>
                  <a:lnTo>
                    <a:pt x="569" y="679"/>
                  </a:lnTo>
                  <a:lnTo>
                    <a:pt x="569" y="676"/>
                  </a:lnTo>
                  <a:lnTo>
                    <a:pt x="566" y="676"/>
                  </a:lnTo>
                  <a:lnTo>
                    <a:pt x="566" y="676"/>
                  </a:lnTo>
                  <a:lnTo>
                    <a:pt x="566" y="676"/>
                  </a:lnTo>
                  <a:lnTo>
                    <a:pt x="566" y="676"/>
                  </a:lnTo>
                  <a:lnTo>
                    <a:pt x="566" y="674"/>
                  </a:lnTo>
                  <a:lnTo>
                    <a:pt x="566" y="674"/>
                  </a:lnTo>
                  <a:lnTo>
                    <a:pt x="566" y="672"/>
                  </a:lnTo>
                  <a:lnTo>
                    <a:pt x="566" y="672"/>
                  </a:lnTo>
                  <a:lnTo>
                    <a:pt x="566" y="672"/>
                  </a:lnTo>
                  <a:lnTo>
                    <a:pt x="566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69" y="672"/>
                  </a:lnTo>
                  <a:lnTo>
                    <a:pt x="571" y="672"/>
                  </a:lnTo>
                  <a:close/>
                  <a:moveTo>
                    <a:pt x="566" y="672"/>
                  </a:moveTo>
                  <a:lnTo>
                    <a:pt x="566" y="672"/>
                  </a:lnTo>
                  <a:lnTo>
                    <a:pt x="564" y="672"/>
                  </a:lnTo>
                  <a:lnTo>
                    <a:pt x="564" y="672"/>
                  </a:lnTo>
                  <a:lnTo>
                    <a:pt x="564" y="670"/>
                  </a:lnTo>
                  <a:lnTo>
                    <a:pt x="564" y="670"/>
                  </a:lnTo>
                  <a:lnTo>
                    <a:pt x="564" y="670"/>
                  </a:lnTo>
                  <a:lnTo>
                    <a:pt x="564" y="670"/>
                  </a:lnTo>
                  <a:lnTo>
                    <a:pt x="564" y="670"/>
                  </a:lnTo>
                  <a:lnTo>
                    <a:pt x="564" y="670"/>
                  </a:lnTo>
                  <a:lnTo>
                    <a:pt x="564" y="670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67"/>
                  </a:lnTo>
                  <a:lnTo>
                    <a:pt x="566" y="670"/>
                  </a:lnTo>
                  <a:lnTo>
                    <a:pt x="566" y="670"/>
                  </a:lnTo>
                  <a:lnTo>
                    <a:pt x="566" y="670"/>
                  </a:lnTo>
                  <a:lnTo>
                    <a:pt x="566" y="670"/>
                  </a:lnTo>
                  <a:lnTo>
                    <a:pt x="566" y="670"/>
                  </a:lnTo>
                  <a:lnTo>
                    <a:pt x="566" y="672"/>
                  </a:lnTo>
                  <a:close/>
                  <a:moveTo>
                    <a:pt x="560" y="654"/>
                  </a:moveTo>
                  <a:lnTo>
                    <a:pt x="562" y="656"/>
                  </a:lnTo>
                  <a:lnTo>
                    <a:pt x="562" y="656"/>
                  </a:lnTo>
                  <a:lnTo>
                    <a:pt x="562" y="656"/>
                  </a:lnTo>
                  <a:lnTo>
                    <a:pt x="562" y="656"/>
                  </a:lnTo>
                  <a:lnTo>
                    <a:pt x="562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60" y="656"/>
                  </a:lnTo>
                  <a:lnTo>
                    <a:pt x="557" y="656"/>
                  </a:lnTo>
                  <a:lnTo>
                    <a:pt x="557" y="656"/>
                  </a:lnTo>
                  <a:lnTo>
                    <a:pt x="557" y="656"/>
                  </a:lnTo>
                  <a:lnTo>
                    <a:pt x="557" y="654"/>
                  </a:lnTo>
                  <a:lnTo>
                    <a:pt x="557" y="654"/>
                  </a:lnTo>
                  <a:lnTo>
                    <a:pt x="557" y="654"/>
                  </a:lnTo>
                  <a:lnTo>
                    <a:pt x="557" y="654"/>
                  </a:lnTo>
                  <a:lnTo>
                    <a:pt x="557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lnTo>
                    <a:pt x="560" y="654"/>
                  </a:lnTo>
                  <a:close/>
                  <a:moveTo>
                    <a:pt x="564" y="654"/>
                  </a:moveTo>
                  <a:lnTo>
                    <a:pt x="564" y="654"/>
                  </a:lnTo>
                  <a:lnTo>
                    <a:pt x="564" y="654"/>
                  </a:lnTo>
                  <a:lnTo>
                    <a:pt x="564" y="656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4" y="654"/>
                  </a:lnTo>
                  <a:close/>
                  <a:moveTo>
                    <a:pt x="562" y="649"/>
                  </a:moveTo>
                  <a:lnTo>
                    <a:pt x="562" y="649"/>
                  </a:lnTo>
                  <a:lnTo>
                    <a:pt x="562" y="649"/>
                  </a:lnTo>
                  <a:lnTo>
                    <a:pt x="562" y="647"/>
                  </a:lnTo>
                  <a:lnTo>
                    <a:pt x="562" y="649"/>
                  </a:lnTo>
                  <a:lnTo>
                    <a:pt x="562" y="649"/>
                  </a:lnTo>
                  <a:close/>
                  <a:moveTo>
                    <a:pt x="562" y="649"/>
                  </a:move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2" y="652"/>
                  </a:lnTo>
                  <a:lnTo>
                    <a:pt x="560" y="649"/>
                  </a:lnTo>
                  <a:lnTo>
                    <a:pt x="560" y="649"/>
                  </a:lnTo>
                  <a:lnTo>
                    <a:pt x="560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9"/>
                  </a:lnTo>
                  <a:lnTo>
                    <a:pt x="562" y="647"/>
                  </a:lnTo>
                  <a:lnTo>
                    <a:pt x="562" y="647"/>
                  </a:lnTo>
                  <a:lnTo>
                    <a:pt x="562" y="649"/>
                  </a:lnTo>
                  <a:close/>
                  <a:moveTo>
                    <a:pt x="555" y="649"/>
                  </a:moveTo>
                  <a:lnTo>
                    <a:pt x="555" y="649"/>
                  </a:lnTo>
                  <a:lnTo>
                    <a:pt x="555" y="649"/>
                  </a:lnTo>
                  <a:lnTo>
                    <a:pt x="553" y="649"/>
                  </a:lnTo>
                  <a:lnTo>
                    <a:pt x="553" y="647"/>
                  </a:lnTo>
                  <a:lnTo>
                    <a:pt x="553" y="647"/>
                  </a:lnTo>
                  <a:lnTo>
                    <a:pt x="553" y="647"/>
                  </a:lnTo>
                  <a:lnTo>
                    <a:pt x="553" y="647"/>
                  </a:lnTo>
                  <a:lnTo>
                    <a:pt x="553" y="645"/>
                  </a:lnTo>
                  <a:lnTo>
                    <a:pt x="553" y="645"/>
                  </a:lnTo>
                  <a:lnTo>
                    <a:pt x="553" y="645"/>
                  </a:lnTo>
                  <a:lnTo>
                    <a:pt x="553" y="645"/>
                  </a:lnTo>
                  <a:lnTo>
                    <a:pt x="553" y="645"/>
                  </a:lnTo>
                  <a:lnTo>
                    <a:pt x="553" y="645"/>
                  </a:lnTo>
                  <a:lnTo>
                    <a:pt x="553" y="647"/>
                  </a:lnTo>
                  <a:lnTo>
                    <a:pt x="553" y="647"/>
                  </a:lnTo>
                  <a:lnTo>
                    <a:pt x="553" y="647"/>
                  </a:lnTo>
                  <a:lnTo>
                    <a:pt x="553" y="647"/>
                  </a:lnTo>
                  <a:lnTo>
                    <a:pt x="555" y="647"/>
                  </a:lnTo>
                  <a:lnTo>
                    <a:pt x="555" y="647"/>
                  </a:lnTo>
                  <a:lnTo>
                    <a:pt x="555" y="649"/>
                  </a:lnTo>
                  <a:close/>
                  <a:moveTo>
                    <a:pt x="546" y="627"/>
                  </a:moveTo>
                  <a:lnTo>
                    <a:pt x="546" y="627"/>
                  </a:lnTo>
                  <a:lnTo>
                    <a:pt x="544" y="627"/>
                  </a:lnTo>
                  <a:lnTo>
                    <a:pt x="544" y="627"/>
                  </a:lnTo>
                  <a:lnTo>
                    <a:pt x="544" y="625"/>
                  </a:lnTo>
                  <a:lnTo>
                    <a:pt x="544" y="625"/>
                  </a:lnTo>
                  <a:lnTo>
                    <a:pt x="544" y="625"/>
                  </a:lnTo>
                  <a:lnTo>
                    <a:pt x="544" y="625"/>
                  </a:lnTo>
                  <a:lnTo>
                    <a:pt x="544" y="625"/>
                  </a:lnTo>
                  <a:lnTo>
                    <a:pt x="544" y="625"/>
                  </a:lnTo>
                  <a:lnTo>
                    <a:pt x="544" y="622"/>
                  </a:lnTo>
                  <a:lnTo>
                    <a:pt x="544" y="622"/>
                  </a:lnTo>
                  <a:lnTo>
                    <a:pt x="544" y="622"/>
                  </a:lnTo>
                  <a:lnTo>
                    <a:pt x="544" y="625"/>
                  </a:lnTo>
                  <a:lnTo>
                    <a:pt x="546" y="625"/>
                  </a:lnTo>
                  <a:lnTo>
                    <a:pt x="546" y="625"/>
                  </a:lnTo>
                  <a:lnTo>
                    <a:pt x="546" y="627"/>
                  </a:lnTo>
                  <a:close/>
                  <a:moveTo>
                    <a:pt x="537" y="586"/>
                  </a:moveTo>
                  <a:lnTo>
                    <a:pt x="537" y="586"/>
                  </a:lnTo>
                  <a:lnTo>
                    <a:pt x="537" y="586"/>
                  </a:lnTo>
                  <a:lnTo>
                    <a:pt x="537" y="589"/>
                  </a:lnTo>
                  <a:lnTo>
                    <a:pt x="537" y="589"/>
                  </a:lnTo>
                  <a:lnTo>
                    <a:pt x="537" y="589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1"/>
                  </a:lnTo>
                  <a:lnTo>
                    <a:pt x="537" y="593"/>
                  </a:lnTo>
                  <a:lnTo>
                    <a:pt x="537" y="593"/>
                  </a:lnTo>
                  <a:lnTo>
                    <a:pt x="537" y="593"/>
                  </a:lnTo>
                  <a:lnTo>
                    <a:pt x="537" y="593"/>
                  </a:lnTo>
                  <a:lnTo>
                    <a:pt x="537" y="593"/>
                  </a:lnTo>
                  <a:lnTo>
                    <a:pt x="535" y="593"/>
                  </a:lnTo>
                  <a:lnTo>
                    <a:pt x="535" y="593"/>
                  </a:lnTo>
                  <a:lnTo>
                    <a:pt x="535" y="593"/>
                  </a:lnTo>
                  <a:lnTo>
                    <a:pt x="535" y="593"/>
                  </a:lnTo>
                  <a:lnTo>
                    <a:pt x="535" y="593"/>
                  </a:lnTo>
                  <a:lnTo>
                    <a:pt x="535" y="593"/>
                  </a:lnTo>
                  <a:lnTo>
                    <a:pt x="535" y="591"/>
                  </a:lnTo>
                  <a:lnTo>
                    <a:pt x="535" y="591"/>
                  </a:lnTo>
                  <a:lnTo>
                    <a:pt x="533" y="589"/>
                  </a:lnTo>
                  <a:lnTo>
                    <a:pt x="533" y="589"/>
                  </a:lnTo>
                  <a:lnTo>
                    <a:pt x="533" y="589"/>
                  </a:lnTo>
                  <a:lnTo>
                    <a:pt x="533" y="589"/>
                  </a:lnTo>
                  <a:lnTo>
                    <a:pt x="533" y="586"/>
                  </a:lnTo>
                  <a:lnTo>
                    <a:pt x="533" y="586"/>
                  </a:lnTo>
                  <a:lnTo>
                    <a:pt x="533" y="586"/>
                  </a:lnTo>
                  <a:lnTo>
                    <a:pt x="533" y="586"/>
                  </a:lnTo>
                  <a:lnTo>
                    <a:pt x="535" y="586"/>
                  </a:lnTo>
                  <a:lnTo>
                    <a:pt x="535" y="586"/>
                  </a:lnTo>
                  <a:lnTo>
                    <a:pt x="535" y="586"/>
                  </a:lnTo>
                  <a:lnTo>
                    <a:pt x="535" y="586"/>
                  </a:lnTo>
                  <a:lnTo>
                    <a:pt x="535" y="586"/>
                  </a:lnTo>
                  <a:lnTo>
                    <a:pt x="537" y="584"/>
                  </a:lnTo>
                  <a:lnTo>
                    <a:pt x="537" y="584"/>
                  </a:lnTo>
                  <a:lnTo>
                    <a:pt x="537" y="584"/>
                  </a:lnTo>
                  <a:lnTo>
                    <a:pt x="537" y="586"/>
                  </a:lnTo>
                  <a:lnTo>
                    <a:pt x="537" y="586"/>
                  </a:lnTo>
                  <a:close/>
                  <a:moveTo>
                    <a:pt x="539" y="573"/>
                  </a:moveTo>
                  <a:lnTo>
                    <a:pt x="539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3"/>
                  </a:lnTo>
                  <a:lnTo>
                    <a:pt x="537" y="571"/>
                  </a:lnTo>
                  <a:lnTo>
                    <a:pt x="537" y="571"/>
                  </a:lnTo>
                  <a:lnTo>
                    <a:pt x="537" y="571"/>
                  </a:lnTo>
                  <a:lnTo>
                    <a:pt x="537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lnTo>
                    <a:pt x="539" y="573"/>
                  </a:lnTo>
                  <a:close/>
                  <a:moveTo>
                    <a:pt x="546" y="562"/>
                  </a:moveTo>
                  <a:lnTo>
                    <a:pt x="546" y="562"/>
                  </a:lnTo>
                  <a:lnTo>
                    <a:pt x="546" y="559"/>
                  </a:lnTo>
                  <a:lnTo>
                    <a:pt x="546" y="559"/>
                  </a:lnTo>
                  <a:lnTo>
                    <a:pt x="546" y="559"/>
                  </a:lnTo>
                  <a:lnTo>
                    <a:pt x="546" y="559"/>
                  </a:lnTo>
                  <a:lnTo>
                    <a:pt x="544" y="559"/>
                  </a:lnTo>
                  <a:lnTo>
                    <a:pt x="544" y="559"/>
                  </a:lnTo>
                  <a:lnTo>
                    <a:pt x="544" y="559"/>
                  </a:lnTo>
                  <a:lnTo>
                    <a:pt x="544" y="559"/>
                  </a:lnTo>
                  <a:lnTo>
                    <a:pt x="544" y="559"/>
                  </a:lnTo>
                  <a:lnTo>
                    <a:pt x="544" y="559"/>
                  </a:lnTo>
                  <a:lnTo>
                    <a:pt x="544" y="559"/>
                  </a:lnTo>
                  <a:lnTo>
                    <a:pt x="544" y="557"/>
                  </a:lnTo>
                  <a:lnTo>
                    <a:pt x="544" y="557"/>
                  </a:lnTo>
                  <a:lnTo>
                    <a:pt x="544" y="557"/>
                  </a:lnTo>
                  <a:lnTo>
                    <a:pt x="544" y="557"/>
                  </a:lnTo>
                  <a:lnTo>
                    <a:pt x="546" y="557"/>
                  </a:lnTo>
                  <a:lnTo>
                    <a:pt x="544" y="557"/>
                  </a:lnTo>
                  <a:lnTo>
                    <a:pt x="546" y="559"/>
                  </a:lnTo>
                  <a:lnTo>
                    <a:pt x="546" y="559"/>
                  </a:lnTo>
                  <a:lnTo>
                    <a:pt x="546" y="559"/>
                  </a:lnTo>
                  <a:lnTo>
                    <a:pt x="546" y="562"/>
                  </a:lnTo>
                  <a:close/>
                  <a:moveTo>
                    <a:pt x="546" y="555"/>
                  </a:move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3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lnTo>
                    <a:pt x="546" y="555"/>
                  </a:lnTo>
                  <a:close/>
                  <a:moveTo>
                    <a:pt x="537" y="539"/>
                  </a:moveTo>
                  <a:lnTo>
                    <a:pt x="537" y="539"/>
                  </a:lnTo>
                  <a:lnTo>
                    <a:pt x="535" y="537"/>
                  </a:lnTo>
                  <a:lnTo>
                    <a:pt x="535" y="537"/>
                  </a:lnTo>
                  <a:lnTo>
                    <a:pt x="537" y="537"/>
                  </a:lnTo>
                  <a:lnTo>
                    <a:pt x="537" y="535"/>
                  </a:lnTo>
                  <a:lnTo>
                    <a:pt x="535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5"/>
                  </a:lnTo>
                  <a:lnTo>
                    <a:pt x="537" y="537"/>
                  </a:lnTo>
                  <a:lnTo>
                    <a:pt x="537" y="537"/>
                  </a:lnTo>
                  <a:lnTo>
                    <a:pt x="537" y="537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close/>
                  <a:moveTo>
                    <a:pt x="542" y="521"/>
                  </a:move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3"/>
                  </a:lnTo>
                  <a:lnTo>
                    <a:pt x="542" y="523"/>
                  </a:lnTo>
                  <a:lnTo>
                    <a:pt x="544" y="526"/>
                  </a:lnTo>
                  <a:lnTo>
                    <a:pt x="544" y="526"/>
                  </a:lnTo>
                  <a:lnTo>
                    <a:pt x="544" y="526"/>
                  </a:lnTo>
                  <a:lnTo>
                    <a:pt x="544" y="523"/>
                  </a:lnTo>
                  <a:lnTo>
                    <a:pt x="544" y="526"/>
                  </a:lnTo>
                  <a:lnTo>
                    <a:pt x="544" y="526"/>
                  </a:lnTo>
                  <a:lnTo>
                    <a:pt x="544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6"/>
                  </a:lnTo>
                  <a:lnTo>
                    <a:pt x="542" y="528"/>
                  </a:lnTo>
                  <a:lnTo>
                    <a:pt x="542" y="528"/>
                  </a:lnTo>
                  <a:lnTo>
                    <a:pt x="542" y="528"/>
                  </a:lnTo>
                  <a:lnTo>
                    <a:pt x="544" y="528"/>
                  </a:lnTo>
                  <a:lnTo>
                    <a:pt x="544" y="528"/>
                  </a:lnTo>
                  <a:lnTo>
                    <a:pt x="544" y="528"/>
                  </a:lnTo>
                  <a:lnTo>
                    <a:pt x="544" y="528"/>
                  </a:lnTo>
                  <a:lnTo>
                    <a:pt x="544" y="530"/>
                  </a:lnTo>
                  <a:lnTo>
                    <a:pt x="544" y="530"/>
                  </a:lnTo>
                  <a:lnTo>
                    <a:pt x="544" y="532"/>
                  </a:lnTo>
                  <a:lnTo>
                    <a:pt x="544" y="532"/>
                  </a:lnTo>
                  <a:lnTo>
                    <a:pt x="544" y="535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2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42" y="535"/>
                  </a:lnTo>
                  <a:lnTo>
                    <a:pt x="539" y="537"/>
                  </a:lnTo>
                  <a:lnTo>
                    <a:pt x="539" y="537"/>
                  </a:lnTo>
                  <a:lnTo>
                    <a:pt x="539" y="537"/>
                  </a:lnTo>
                  <a:lnTo>
                    <a:pt x="539" y="537"/>
                  </a:lnTo>
                  <a:lnTo>
                    <a:pt x="539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7"/>
                  </a:lnTo>
                  <a:lnTo>
                    <a:pt x="542" y="539"/>
                  </a:lnTo>
                  <a:lnTo>
                    <a:pt x="542" y="539"/>
                  </a:lnTo>
                  <a:lnTo>
                    <a:pt x="542" y="539"/>
                  </a:lnTo>
                  <a:lnTo>
                    <a:pt x="542" y="539"/>
                  </a:lnTo>
                  <a:lnTo>
                    <a:pt x="544" y="541"/>
                  </a:lnTo>
                  <a:lnTo>
                    <a:pt x="544" y="541"/>
                  </a:lnTo>
                  <a:lnTo>
                    <a:pt x="544" y="541"/>
                  </a:lnTo>
                  <a:lnTo>
                    <a:pt x="544" y="544"/>
                  </a:lnTo>
                  <a:lnTo>
                    <a:pt x="544" y="544"/>
                  </a:lnTo>
                  <a:lnTo>
                    <a:pt x="544" y="544"/>
                  </a:lnTo>
                  <a:lnTo>
                    <a:pt x="544" y="544"/>
                  </a:lnTo>
                  <a:lnTo>
                    <a:pt x="544" y="546"/>
                  </a:lnTo>
                  <a:lnTo>
                    <a:pt x="544" y="546"/>
                  </a:lnTo>
                  <a:lnTo>
                    <a:pt x="544" y="546"/>
                  </a:lnTo>
                  <a:lnTo>
                    <a:pt x="542" y="546"/>
                  </a:lnTo>
                  <a:lnTo>
                    <a:pt x="544" y="546"/>
                  </a:lnTo>
                  <a:lnTo>
                    <a:pt x="544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48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0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3"/>
                  </a:lnTo>
                  <a:lnTo>
                    <a:pt x="542" y="555"/>
                  </a:lnTo>
                  <a:lnTo>
                    <a:pt x="542" y="555"/>
                  </a:lnTo>
                  <a:lnTo>
                    <a:pt x="542" y="555"/>
                  </a:lnTo>
                  <a:lnTo>
                    <a:pt x="542" y="555"/>
                  </a:lnTo>
                  <a:lnTo>
                    <a:pt x="542" y="555"/>
                  </a:lnTo>
                  <a:lnTo>
                    <a:pt x="542" y="555"/>
                  </a:lnTo>
                  <a:lnTo>
                    <a:pt x="542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7"/>
                  </a:lnTo>
                  <a:lnTo>
                    <a:pt x="539" y="559"/>
                  </a:lnTo>
                  <a:lnTo>
                    <a:pt x="539" y="559"/>
                  </a:lnTo>
                  <a:lnTo>
                    <a:pt x="539" y="562"/>
                  </a:lnTo>
                  <a:lnTo>
                    <a:pt x="539" y="562"/>
                  </a:lnTo>
                  <a:lnTo>
                    <a:pt x="539" y="559"/>
                  </a:lnTo>
                  <a:lnTo>
                    <a:pt x="539" y="559"/>
                  </a:lnTo>
                  <a:lnTo>
                    <a:pt x="539" y="559"/>
                  </a:lnTo>
                  <a:lnTo>
                    <a:pt x="539" y="559"/>
                  </a:lnTo>
                  <a:lnTo>
                    <a:pt x="539" y="559"/>
                  </a:lnTo>
                  <a:lnTo>
                    <a:pt x="542" y="559"/>
                  </a:lnTo>
                  <a:lnTo>
                    <a:pt x="542" y="562"/>
                  </a:lnTo>
                  <a:lnTo>
                    <a:pt x="542" y="562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39" y="566"/>
                  </a:lnTo>
                  <a:lnTo>
                    <a:pt x="542" y="566"/>
                  </a:lnTo>
                  <a:lnTo>
                    <a:pt x="542" y="566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71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9" y="568"/>
                  </a:lnTo>
                  <a:lnTo>
                    <a:pt x="537" y="568"/>
                  </a:lnTo>
                  <a:lnTo>
                    <a:pt x="537" y="568"/>
                  </a:lnTo>
                  <a:lnTo>
                    <a:pt x="537" y="568"/>
                  </a:lnTo>
                  <a:lnTo>
                    <a:pt x="537" y="568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6"/>
                  </a:lnTo>
                  <a:lnTo>
                    <a:pt x="537" y="564"/>
                  </a:lnTo>
                  <a:lnTo>
                    <a:pt x="537" y="564"/>
                  </a:lnTo>
                  <a:lnTo>
                    <a:pt x="537" y="564"/>
                  </a:lnTo>
                  <a:lnTo>
                    <a:pt x="537" y="564"/>
                  </a:lnTo>
                  <a:lnTo>
                    <a:pt x="537" y="564"/>
                  </a:lnTo>
                  <a:lnTo>
                    <a:pt x="535" y="564"/>
                  </a:lnTo>
                  <a:lnTo>
                    <a:pt x="537" y="564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62"/>
                  </a:lnTo>
                  <a:lnTo>
                    <a:pt x="535" y="559"/>
                  </a:lnTo>
                  <a:lnTo>
                    <a:pt x="535" y="559"/>
                  </a:lnTo>
                  <a:lnTo>
                    <a:pt x="535" y="559"/>
                  </a:lnTo>
                  <a:lnTo>
                    <a:pt x="537" y="559"/>
                  </a:lnTo>
                  <a:lnTo>
                    <a:pt x="537" y="562"/>
                  </a:lnTo>
                  <a:lnTo>
                    <a:pt x="537" y="562"/>
                  </a:lnTo>
                  <a:lnTo>
                    <a:pt x="537" y="562"/>
                  </a:lnTo>
                  <a:lnTo>
                    <a:pt x="537" y="562"/>
                  </a:lnTo>
                  <a:lnTo>
                    <a:pt x="537" y="562"/>
                  </a:lnTo>
                  <a:lnTo>
                    <a:pt x="537" y="562"/>
                  </a:lnTo>
                  <a:lnTo>
                    <a:pt x="537" y="562"/>
                  </a:lnTo>
                  <a:lnTo>
                    <a:pt x="537" y="559"/>
                  </a:lnTo>
                  <a:lnTo>
                    <a:pt x="537" y="559"/>
                  </a:lnTo>
                  <a:lnTo>
                    <a:pt x="537" y="559"/>
                  </a:lnTo>
                  <a:lnTo>
                    <a:pt x="537" y="559"/>
                  </a:lnTo>
                  <a:lnTo>
                    <a:pt x="537" y="559"/>
                  </a:lnTo>
                  <a:lnTo>
                    <a:pt x="537" y="557"/>
                  </a:lnTo>
                  <a:lnTo>
                    <a:pt x="537" y="557"/>
                  </a:lnTo>
                  <a:lnTo>
                    <a:pt x="537" y="557"/>
                  </a:lnTo>
                  <a:lnTo>
                    <a:pt x="537" y="555"/>
                  </a:lnTo>
                  <a:lnTo>
                    <a:pt x="537" y="555"/>
                  </a:lnTo>
                  <a:lnTo>
                    <a:pt x="537" y="553"/>
                  </a:lnTo>
                  <a:lnTo>
                    <a:pt x="537" y="553"/>
                  </a:lnTo>
                  <a:lnTo>
                    <a:pt x="537" y="553"/>
                  </a:lnTo>
                  <a:lnTo>
                    <a:pt x="537" y="553"/>
                  </a:lnTo>
                  <a:lnTo>
                    <a:pt x="537" y="553"/>
                  </a:lnTo>
                  <a:lnTo>
                    <a:pt x="537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5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3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9" y="550"/>
                  </a:lnTo>
                  <a:lnTo>
                    <a:pt x="537" y="550"/>
                  </a:lnTo>
                  <a:lnTo>
                    <a:pt x="537" y="550"/>
                  </a:lnTo>
                  <a:lnTo>
                    <a:pt x="537" y="544"/>
                  </a:lnTo>
                  <a:lnTo>
                    <a:pt x="537" y="544"/>
                  </a:lnTo>
                  <a:lnTo>
                    <a:pt x="537" y="544"/>
                  </a:lnTo>
                  <a:lnTo>
                    <a:pt x="537" y="544"/>
                  </a:lnTo>
                  <a:lnTo>
                    <a:pt x="537" y="544"/>
                  </a:lnTo>
                  <a:lnTo>
                    <a:pt x="539" y="544"/>
                  </a:lnTo>
                  <a:lnTo>
                    <a:pt x="539" y="544"/>
                  </a:lnTo>
                  <a:lnTo>
                    <a:pt x="539" y="544"/>
                  </a:lnTo>
                  <a:lnTo>
                    <a:pt x="539" y="541"/>
                  </a:lnTo>
                  <a:lnTo>
                    <a:pt x="539" y="541"/>
                  </a:lnTo>
                  <a:lnTo>
                    <a:pt x="539" y="541"/>
                  </a:lnTo>
                  <a:lnTo>
                    <a:pt x="537" y="541"/>
                  </a:lnTo>
                  <a:lnTo>
                    <a:pt x="537" y="541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7" y="539"/>
                  </a:lnTo>
                  <a:lnTo>
                    <a:pt x="539" y="539"/>
                  </a:lnTo>
                  <a:lnTo>
                    <a:pt x="539" y="537"/>
                  </a:lnTo>
                  <a:lnTo>
                    <a:pt x="539" y="537"/>
                  </a:lnTo>
                  <a:lnTo>
                    <a:pt x="539" y="537"/>
                  </a:lnTo>
                  <a:lnTo>
                    <a:pt x="539" y="535"/>
                  </a:lnTo>
                  <a:lnTo>
                    <a:pt x="539" y="535"/>
                  </a:lnTo>
                  <a:lnTo>
                    <a:pt x="539" y="535"/>
                  </a:lnTo>
                  <a:lnTo>
                    <a:pt x="539" y="535"/>
                  </a:lnTo>
                  <a:lnTo>
                    <a:pt x="539" y="535"/>
                  </a:lnTo>
                  <a:lnTo>
                    <a:pt x="539" y="532"/>
                  </a:lnTo>
                  <a:lnTo>
                    <a:pt x="539" y="532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30"/>
                  </a:lnTo>
                  <a:lnTo>
                    <a:pt x="539" y="528"/>
                  </a:lnTo>
                  <a:lnTo>
                    <a:pt x="539" y="528"/>
                  </a:lnTo>
                  <a:lnTo>
                    <a:pt x="539" y="528"/>
                  </a:lnTo>
                  <a:lnTo>
                    <a:pt x="539" y="528"/>
                  </a:lnTo>
                  <a:lnTo>
                    <a:pt x="539" y="528"/>
                  </a:lnTo>
                  <a:lnTo>
                    <a:pt x="539" y="528"/>
                  </a:lnTo>
                  <a:lnTo>
                    <a:pt x="539" y="526"/>
                  </a:lnTo>
                  <a:lnTo>
                    <a:pt x="539" y="526"/>
                  </a:lnTo>
                  <a:lnTo>
                    <a:pt x="539" y="526"/>
                  </a:lnTo>
                  <a:lnTo>
                    <a:pt x="539" y="526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3"/>
                  </a:lnTo>
                  <a:lnTo>
                    <a:pt x="539" y="521"/>
                  </a:lnTo>
                  <a:lnTo>
                    <a:pt x="539" y="521"/>
                  </a:lnTo>
                  <a:lnTo>
                    <a:pt x="539" y="521"/>
                  </a:lnTo>
                  <a:lnTo>
                    <a:pt x="539" y="521"/>
                  </a:lnTo>
                  <a:lnTo>
                    <a:pt x="539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lnTo>
                    <a:pt x="542" y="521"/>
                  </a:lnTo>
                  <a:close/>
                  <a:moveTo>
                    <a:pt x="434" y="332"/>
                  </a:moveTo>
                  <a:lnTo>
                    <a:pt x="434" y="332"/>
                  </a:lnTo>
                  <a:lnTo>
                    <a:pt x="432" y="332"/>
                  </a:lnTo>
                  <a:lnTo>
                    <a:pt x="432" y="332"/>
                  </a:lnTo>
                  <a:lnTo>
                    <a:pt x="432" y="332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4" y="330"/>
                  </a:lnTo>
                  <a:lnTo>
                    <a:pt x="434" y="330"/>
                  </a:lnTo>
                  <a:lnTo>
                    <a:pt x="434" y="330"/>
                  </a:lnTo>
                  <a:lnTo>
                    <a:pt x="434" y="332"/>
                  </a:lnTo>
                  <a:close/>
                  <a:moveTo>
                    <a:pt x="418" y="328"/>
                  </a:moveTo>
                  <a:lnTo>
                    <a:pt x="416" y="330"/>
                  </a:lnTo>
                  <a:lnTo>
                    <a:pt x="416" y="330"/>
                  </a:lnTo>
                  <a:lnTo>
                    <a:pt x="416" y="328"/>
                  </a:lnTo>
                  <a:lnTo>
                    <a:pt x="416" y="328"/>
                  </a:lnTo>
                  <a:lnTo>
                    <a:pt x="416" y="328"/>
                  </a:lnTo>
                  <a:lnTo>
                    <a:pt x="416" y="328"/>
                  </a:lnTo>
                  <a:lnTo>
                    <a:pt x="416" y="328"/>
                  </a:lnTo>
                  <a:lnTo>
                    <a:pt x="416" y="328"/>
                  </a:lnTo>
                  <a:lnTo>
                    <a:pt x="416" y="328"/>
                  </a:lnTo>
                  <a:lnTo>
                    <a:pt x="416" y="326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8" y="326"/>
                  </a:lnTo>
                  <a:lnTo>
                    <a:pt x="418" y="328"/>
                  </a:lnTo>
                  <a:lnTo>
                    <a:pt x="416" y="328"/>
                  </a:lnTo>
                  <a:lnTo>
                    <a:pt x="418" y="328"/>
                  </a:lnTo>
                  <a:lnTo>
                    <a:pt x="418" y="328"/>
                  </a:lnTo>
                  <a:lnTo>
                    <a:pt x="418" y="328"/>
                  </a:lnTo>
                  <a:close/>
                  <a:moveTo>
                    <a:pt x="427" y="323"/>
                  </a:moveTo>
                  <a:lnTo>
                    <a:pt x="427" y="326"/>
                  </a:lnTo>
                  <a:lnTo>
                    <a:pt x="427" y="326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5" y="323"/>
                  </a:lnTo>
                  <a:lnTo>
                    <a:pt x="425" y="323"/>
                  </a:lnTo>
                  <a:lnTo>
                    <a:pt x="425" y="323"/>
                  </a:lnTo>
                  <a:lnTo>
                    <a:pt x="425" y="323"/>
                  </a:lnTo>
                  <a:lnTo>
                    <a:pt x="425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3"/>
                  </a:lnTo>
                  <a:lnTo>
                    <a:pt x="427" y="323"/>
                  </a:lnTo>
                  <a:lnTo>
                    <a:pt x="427" y="323"/>
                  </a:lnTo>
                  <a:lnTo>
                    <a:pt x="427" y="323"/>
                  </a:lnTo>
                  <a:close/>
                  <a:moveTo>
                    <a:pt x="416" y="323"/>
                  </a:moveTo>
                  <a:lnTo>
                    <a:pt x="416" y="323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3"/>
                  </a:lnTo>
                  <a:lnTo>
                    <a:pt x="416" y="323"/>
                  </a:lnTo>
                  <a:close/>
                  <a:moveTo>
                    <a:pt x="142" y="0"/>
                  </a:moveTo>
                  <a:lnTo>
                    <a:pt x="144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6" y="4"/>
                  </a:lnTo>
                  <a:lnTo>
                    <a:pt x="149" y="6"/>
                  </a:lnTo>
                  <a:lnTo>
                    <a:pt x="151" y="9"/>
                  </a:lnTo>
                  <a:lnTo>
                    <a:pt x="151" y="11"/>
                  </a:lnTo>
                  <a:lnTo>
                    <a:pt x="151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5"/>
                  </a:lnTo>
                  <a:lnTo>
                    <a:pt x="155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58" y="20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6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3" y="27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1" y="31"/>
                  </a:lnTo>
                  <a:lnTo>
                    <a:pt x="169" y="31"/>
                  </a:lnTo>
                  <a:lnTo>
                    <a:pt x="169" y="33"/>
                  </a:lnTo>
                  <a:lnTo>
                    <a:pt x="169" y="36"/>
                  </a:lnTo>
                  <a:lnTo>
                    <a:pt x="171" y="38"/>
                  </a:lnTo>
                  <a:lnTo>
                    <a:pt x="171" y="40"/>
                  </a:lnTo>
                  <a:lnTo>
                    <a:pt x="171" y="40"/>
                  </a:lnTo>
                  <a:lnTo>
                    <a:pt x="173" y="45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5" y="49"/>
                  </a:lnTo>
                  <a:lnTo>
                    <a:pt x="178" y="51"/>
                  </a:lnTo>
                  <a:lnTo>
                    <a:pt x="178" y="51"/>
                  </a:lnTo>
                  <a:lnTo>
                    <a:pt x="180" y="51"/>
                  </a:lnTo>
                  <a:lnTo>
                    <a:pt x="180" y="51"/>
                  </a:lnTo>
                  <a:lnTo>
                    <a:pt x="180" y="51"/>
                  </a:lnTo>
                  <a:lnTo>
                    <a:pt x="180" y="51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4" y="54"/>
                  </a:lnTo>
                  <a:lnTo>
                    <a:pt x="184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6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7" y="60"/>
                  </a:lnTo>
                  <a:lnTo>
                    <a:pt x="187" y="60"/>
                  </a:lnTo>
                  <a:lnTo>
                    <a:pt x="189" y="60"/>
                  </a:lnTo>
                  <a:lnTo>
                    <a:pt x="189" y="63"/>
                  </a:lnTo>
                  <a:lnTo>
                    <a:pt x="191" y="63"/>
                  </a:lnTo>
                  <a:lnTo>
                    <a:pt x="191" y="63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5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91" y="67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9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69"/>
                  </a:lnTo>
                  <a:lnTo>
                    <a:pt x="187" y="72"/>
                  </a:lnTo>
                  <a:lnTo>
                    <a:pt x="187" y="72"/>
                  </a:lnTo>
                  <a:lnTo>
                    <a:pt x="184" y="72"/>
                  </a:lnTo>
                  <a:lnTo>
                    <a:pt x="187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4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78" y="69"/>
                  </a:lnTo>
                  <a:lnTo>
                    <a:pt x="178" y="69"/>
                  </a:lnTo>
                  <a:lnTo>
                    <a:pt x="178" y="69"/>
                  </a:lnTo>
                  <a:lnTo>
                    <a:pt x="178" y="69"/>
                  </a:lnTo>
                  <a:lnTo>
                    <a:pt x="178" y="67"/>
                  </a:lnTo>
                  <a:lnTo>
                    <a:pt x="178" y="67"/>
                  </a:lnTo>
                  <a:lnTo>
                    <a:pt x="178" y="67"/>
                  </a:lnTo>
                  <a:lnTo>
                    <a:pt x="178" y="67"/>
                  </a:lnTo>
                  <a:lnTo>
                    <a:pt x="175" y="67"/>
                  </a:lnTo>
                  <a:lnTo>
                    <a:pt x="175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5" y="69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1" y="69"/>
                  </a:lnTo>
                  <a:lnTo>
                    <a:pt x="171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2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4"/>
                  </a:lnTo>
                  <a:lnTo>
                    <a:pt x="173" y="76"/>
                  </a:lnTo>
                  <a:lnTo>
                    <a:pt x="173" y="76"/>
                  </a:lnTo>
                  <a:lnTo>
                    <a:pt x="173" y="76"/>
                  </a:lnTo>
                  <a:lnTo>
                    <a:pt x="173" y="76"/>
                  </a:lnTo>
                  <a:lnTo>
                    <a:pt x="175" y="76"/>
                  </a:lnTo>
                  <a:lnTo>
                    <a:pt x="175" y="76"/>
                  </a:lnTo>
                  <a:lnTo>
                    <a:pt x="175" y="78"/>
                  </a:lnTo>
                  <a:lnTo>
                    <a:pt x="175" y="78"/>
                  </a:lnTo>
                  <a:lnTo>
                    <a:pt x="180" y="81"/>
                  </a:lnTo>
                  <a:lnTo>
                    <a:pt x="180" y="81"/>
                  </a:lnTo>
                  <a:lnTo>
                    <a:pt x="180" y="83"/>
                  </a:lnTo>
                  <a:lnTo>
                    <a:pt x="180" y="83"/>
                  </a:lnTo>
                  <a:lnTo>
                    <a:pt x="182" y="83"/>
                  </a:lnTo>
                  <a:lnTo>
                    <a:pt x="182" y="83"/>
                  </a:lnTo>
                  <a:lnTo>
                    <a:pt x="180" y="85"/>
                  </a:lnTo>
                  <a:lnTo>
                    <a:pt x="180" y="85"/>
                  </a:lnTo>
                  <a:lnTo>
                    <a:pt x="182" y="85"/>
                  </a:lnTo>
                  <a:lnTo>
                    <a:pt x="182" y="87"/>
                  </a:lnTo>
                  <a:lnTo>
                    <a:pt x="180" y="87"/>
                  </a:lnTo>
                  <a:lnTo>
                    <a:pt x="180" y="87"/>
                  </a:lnTo>
                  <a:lnTo>
                    <a:pt x="182" y="87"/>
                  </a:lnTo>
                  <a:lnTo>
                    <a:pt x="182" y="87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4" y="94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9"/>
                  </a:lnTo>
                  <a:lnTo>
                    <a:pt x="184" y="99"/>
                  </a:lnTo>
                  <a:lnTo>
                    <a:pt x="184" y="99"/>
                  </a:lnTo>
                  <a:lnTo>
                    <a:pt x="184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7" y="99"/>
                  </a:lnTo>
                  <a:lnTo>
                    <a:pt x="189" y="99"/>
                  </a:lnTo>
                  <a:lnTo>
                    <a:pt x="189" y="96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89" y="99"/>
                  </a:lnTo>
                  <a:lnTo>
                    <a:pt x="189" y="96"/>
                  </a:lnTo>
                  <a:lnTo>
                    <a:pt x="189" y="96"/>
                  </a:lnTo>
                  <a:lnTo>
                    <a:pt x="191" y="96"/>
                  </a:lnTo>
                  <a:lnTo>
                    <a:pt x="191" y="96"/>
                  </a:lnTo>
                  <a:lnTo>
                    <a:pt x="191" y="96"/>
                  </a:lnTo>
                  <a:lnTo>
                    <a:pt x="191" y="96"/>
                  </a:lnTo>
                  <a:lnTo>
                    <a:pt x="193" y="96"/>
                  </a:lnTo>
                  <a:lnTo>
                    <a:pt x="193" y="96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3" y="99"/>
                  </a:lnTo>
                  <a:lnTo>
                    <a:pt x="196" y="99"/>
                  </a:lnTo>
                  <a:lnTo>
                    <a:pt x="196" y="99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1"/>
                  </a:lnTo>
                  <a:lnTo>
                    <a:pt x="196" y="103"/>
                  </a:lnTo>
                  <a:lnTo>
                    <a:pt x="196" y="103"/>
                  </a:lnTo>
                  <a:lnTo>
                    <a:pt x="198" y="103"/>
                  </a:lnTo>
                  <a:lnTo>
                    <a:pt x="198" y="103"/>
                  </a:lnTo>
                  <a:lnTo>
                    <a:pt x="198" y="103"/>
                  </a:lnTo>
                  <a:lnTo>
                    <a:pt x="198" y="103"/>
                  </a:lnTo>
                  <a:lnTo>
                    <a:pt x="198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0" y="105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205" y="108"/>
                  </a:lnTo>
                  <a:lnTo>
                    <a:pt x="205" y="108"/>
                  </a:lnTo>
                  <a:lnTo>
                    <a:pt x="205" y="108"/>
                  </a:lnTo>
                  <a:lnTo>
                    <a:pt x="205" y="108"/>
                  </a:lnTo>
                  <a:lnTo>
                    <a:pt x="205" y="108"/>
                  </a:lnTo>
                  <a:lnTo>
                    <a:pt x="207" y="105"/>
                  </a:lnTo>
                  <a:lnTo>
                    <a:pt x="207" y="105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4" y="112"/>
                  </a:lnTo>
                  <a:lnTo>
                    <a:pt x="214" y="112"/>
                  </a:lnTo>
                  <a:lnTo>
                    <a:pt x="216" y="112"/>
                  </a:lnTo>
                  <a:lnTo>
                    <a:pt x="216" y="110"/>
                  </a:lnTo>
                  <a:lnTo>
                    <a:pt x="216" y="110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8" y="112"/>
                  </a:lnTo>
                  <a:lnTo>
                    <a:pt x="218" y="112"/>
                  </a:lnTo>
                  <a:lnTo>
                    <a:pt x="218" y="114"/>
                  </a:lnTo>
                  <a:lnTo>
                    <a:pt x="218" y="114"/>
                  </a:lnTo>
                  <a:lnTo>
                    <a:pt x="218" y="114"/>
                  </a:lnTo>
                  <a:lnTo>
                    <a:pt x="218" y="114"/>
                  </a:lnTo>
                  <a:lnTo>
                    <a:pt x="216" y="114"/>
                  </a:lnTo>
                  <a:lnTo>
                    <a:pt x="216" y="114"/>
                  </a:lnTo>
                  <a:lnTo>
                    <a:pt x="216" y="114"/>
                  </a:lnTo>
                  <a:lnTo>
                    <a:pt x="218" y="114"/>
                  </a:lnTo>
                  <a:lnTo>
                    <a:pt x="218" y="114"/>
                  </a:lnTo>
                  <a:lnTo>
                    <a:pt x="218" y="114"/>
                  </a:lnTo>
                  <a:lnTo>
                    <a:pt x="218" y="114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20" y="117"/>
                  </a:lnTo>
                  <a:lnTo>
                    <a:pt x="223" y="119"/>
                  </a:lnTo>
                  <a:lnTo>
                    <a:pt x="225" y="119"/>
                  </a:lnTo>
                  <a:lnTo>
                    <a:pt x="225" y="119"/>
                  </a:lnTo>
                  <a:lnTo>
                    <a:pt x="225" y="119"/>
                  </a:lnTo>
                  <a:lnTo>
                    <a:pt x="225" y="119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9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29" y="121"/>
                  </a:lnTo>
                  <a:lnTo>
                    <a:pt x="229" y="121"/>
                  </a:lnTo>
                  <a:lnTo>
                    <a:pt x="232" y="121"/>
                  </a:lnTo>
                  <a:lnTo>
                    <a:pt x="232" y="121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6" y="123"/>
                  </a:lnTo>
                  <a:lnTo>
                    <a:pt x="236" y="123"/>
                  </a:lnTo>
                  <a:lnTo>
                    <a:pt x="236" y="125"/>
                  </a:lnTo>
                  <a:lnTo>
                    <a:pt x="236" y="125"/>
                  </a:lnTo>
                  <a:lnTo>
                    <a:pt x="236" y="125"/>
                  </a:lnTo>
                  <a:lnTo>
                    <a:pt x="236" y="125"/>
                  </a:lnTo>
                  <a:lnTo>
                    <a:pt x="236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5"/>
                  </a:lnTo>
                  <a:lnTo>
                    <a:pt x="234" y="128"/>
                  </a:lnTo>
                  <a:lnTo>
                    <a:pt x="232" y="128"/>
                  </a:lnTo>
                  <a:lnTo>
                    <a:pt x="232" y="128"/>
                  </a:lnTo>
                  <a:lnTo>
                    <a:pt x="232" y="130"/>
                  </a:lnTo>
                  <a:lnTo>
                    <a:pt x="232" y="130"/>
                  </a:lnTo>
                  <a:lnTo>
                    <a:pt x="232" y="130"/>
                  </a:lnTo>
                  <a:lnTo>
                    <a:pt x="229" y="130"/>
                  </a:lnTo>
                  <a:lnTo>
                    <a:pt x="229" y="130"/>
                  </a:lnTo>
                  <a:lnTo>
                    <a:pt x="229" y="130"/>
                  </a:lnTo>
                  <a:lnTo>
                    <a:pt x="229" y="130"/>
                  </a:lnTo>
                  <a:lnTo>
                    <a:pt x="229" y="130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9" y="132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5" y="134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5" y="137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39"/>
                  </a:lnTo>
                  <a:lnTo>
                    <a:pt x="227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1"/>
                  </a:lnTo>
                  <a:lnTo>
                    <a:pt x="225" y="143"/>
                  </a:lnTo>
                  <a:lnTo>
                    <a:pt x="225" y="143"/>
                  </a:lnTo>
                  <a:lnTo>
                    <a:pt x="225" y="143"/>
                  </a:lnTo>
                  <a:lnTo>
                    <a:pt x="225" y="143"/>
                  </a:lnTo>
                  <a:lnTo>
                    <a:pt x="225" y="143"/>
                  </a:lnTo>
                  <a:lnTo>
                    <a:pt x="225" y="143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5" y="146"/>
                  </a:lnTo>
                  <a:lnTo>
                    <a:pt x="227" y="146"/>
                  </a:lnTo>
                  <a:lnTo>
                    <a:pt x="227" y="148"/>
                  </a:lnTo>
                  <a:lnTo>
                    <a:pt x="227" y="148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5" y="148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5" y="150"/>
                  </a:lnTo>
                  <a:lnTo>
                    <a:pt x="223" y="152"/>
                  </a:lnTo>
                  <a:lnTo>
                    <a:pt x="225" y="152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5" y="155"/>
                  </a:lnTo>
                  <a:lnTo>
                    <a:pt x="223" y="155"/>
                  </a:lnTo>
                  <a:lnTo>
                    <a:pt x="223" y="155"/>
                  </a:lnTo>
                  <a:lnTo>
                    <a:pt x="223" y="155"/>
                  </a:lnTo>
                  <a:lnTo>
                    <a:pt x="223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3" y="157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5" y="157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32" y="161"/>
                  </a:lnTo>
                  <a:lnTo>
                    <a:pt x="232" y="161"/>
                  </a:lnTo>
                  <a:lnTo>
                    <a:pt x="232" y="161"/>
                  </a:lnTo>
                  <a:lnTo>
                    <a:pt x="232" y="161"/>
                  </a:lnTo>
                  <a:lnTo>
                    <a:pt x="232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4" y="161"/>
                  </a:lnTo>
                  <a:lnTo>
                    <a:pt x="236" y="161"/>
                  </a:lnTo>
                  <a:lnTo>
                    <a:pt x="236" y="161"/>
                  </a:lnTo>
                  <a:lnTo>
                    <a:pt x="236" y="161"/>
                  </a:lnTo>
                  <a:lnTo>
                    <a:pt x="236" y="161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38" y="164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1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5" y="166"/>
                  </a:lnTo>
                  <a:lnTo>
                    <a:pt x="245" y="166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45" y="168"/>
                  </a:lnTo>
                  <a:lnTo>
                    <a:pt x="247" y="168"/>
                  </a:lnTo>
                  <a:lnTo>
                    <a:pt x="250" y="168"/>
                  </a:lnTo>
                  <a:lnTo>
                    <a:pt x="250" y="168"/>
                  </a:lnTo>
                  <a:lnTo>
                    <a:pt x="250" y="170"/>
                  </a:lnTo>
                  <a:lnTo>
                    <a:pt x="250" y="170"/>
                  </a:lnTo>
                  <a:lnTo>
                    <a:pt x="252" y="173"/>
                  </a:lnTo>
                  <a:lnTo>
                    <a:pt x="252" y="173"/>
                  </a:lnTo>
                  <a:lnTo>
                    <a:pt x="252" y="173"/>
                  </a:lnTo>
                  <a:lnTo>
                    <a:pt x="252" y="173"/>
                  </a:lnTo>
                  <a:lnTo>
                    <a:pt x="252" y="173"/>
                  </a:lnTo>
                  <a:lnTo>
                    <a:pt x="252" y="175"/>
                  </a:lnTo>
                  <a:lnTo>
                    <a:pt x="252" y="175"/>
                  </a:lnTo>
                  <a:lnTo>
                    <a:pt x="252" y="175"/>
                  </a:lnTo>
                  <a:lnTo>
                    <a:pt x="252" y="175"/>
                  </a:lnTo>
                  <a:lnTo>
                    <a:pt x="254" y="175"/>
                  </a:lnTo>
                  <a:lnTo>
                    <a:pt x="254" y="175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3"/>
                  </a:lnTo>
                  <a:lnTo>
                    <a:pt x="254" y="175"/>
                  </a:lnTo>
                  <a:lnTo>
                    <a:pt x="256" y="175"/>
                  </a:lnTo>
                  <a:lnTo>
                    <a:pt x="256" y="175"/>
                  </a:lnTo>
                  <a:lnTo>
                    <a:pt x="256" y="175"/>
                  </a:lnTo>
                  <a:lnTo>
                    <a:pt x="256" y="175"/>
                  </a:lnTo>
                  <a:lnTo>
                    <a:pt x="256" y="175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59" y="177"/>
                  </a:lnTo>
                  <a:lnTo>
                    <a:pt x="261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2"/>
                  </a:lnTo>
                  <a:lnTo>
                    <a:pt x="265" y="182"/>
                  </a:lnTo>
                  <a:lnTo>
                    <a:pt x="265" y="179"/>
                  </a:lnTo>
                  <a:lnTo>
                    <a:pt x="265" y="179"/>
                  </a:lnTo>
                  <a:lnTo>
                    <a:pt x="268" y="179"/>
                  </a:lnTo>
                  <a:lnTo>
                    <a:pt x="268" y="179"/>
                  </a:lnTo>
                  <a:lnTo>
                    <a:pt x="268" y="179"/>
                  </a:lnTo>
                  <a:lnTo>
                    <a:pt x="270" y="179"/>
                  </a:lnTo>
                  <a:lnTo>
                    <a:pt x="270" y="179"/>
                  </a:lnTo>
                  <a:lnTo>
                    <a:pt x="270" y="179"/>
                  </a:lnTo>
                  <a:lnTo>
                    <a:pt x="270" y="182"/>
                  </a:lnTo>
                  <a:lnTo>
                    <a:pt x="274" y="184"/>
                  </a:lnTo>
                  <a:lnTo>
                    <a:pt x="274" y="184"/>
                  </a:lnTo>
                  <a:lnTo>
                    <a:pt x="277" y="184"/>
                  </a:lnTo>
                  <a:lnTo>
                    <a:pt x="277" y="186"/>
                  </a:lnTo>
                  <a:lnTo>
                    <a:pt x="279" y="184"/>
                  </a:lnTo>
                  <a:lnTo>
                    <a:pt x="281" y="184"/>
                  </a:lnTo>
                  <a:lnTo>
                    <a:pt x="283" y="184"/>
                  </a:lnTo>
                  <a:lnTo>
                    <a:pt x="283" y="186"/>
                  </a:lnTo>
                  <a:lnTo>
                    <a:pt x="283" y="186"/>
                  </a:lnTo>
                  <a:lnTo>
                    <a:pt x="283" y="188"/>
                  </a:lnTo>
                  <a:lnTo>
                    <a:pt x="283" y="188"/>
                  </a:lnTo>
                  <a:lnTo>
                    <a:pt x="286" y="188"/>
                  </a:lnTo>
                  <a:lnTo>
                    <a:pt x="288" y="188"/>
                  </a:lnTo>
                  <a:lnTo>
                    <a:pt x="288" y="191"/>
                  </a:lnTo>
                  <a:lnTo>
                    <a:pt x="288" y="191"/>
                  </a:lnTo>
                  <a:lnTo>
                    <a:pt x="290" y="191"/>
                  </a:lnTo>
                  <a:lnTo>
                    <a:pt x="292" y="191"/>
                  </a:lnTo>
                  <a:lnTo>
                    <a:pt x="295" y="191"/>
                  </a:lnTo>
                  <a:lnTo>
                    <a:pt x="295" y="191"/>
                  </a:lnTo>
                  <a:lnTo>
                    <a:pt x="295" y="193"/>
                  </a:lnTo>
                  <a:lnTo>
                    <a:pt x="295" y="193"/>
                  </a:lnTo>
                  <a:lnTo>
                    <a:pt x="295" y="193"/>
                  </a:lnTo>
                  <a:lnTo>
                    <a:pt x="297" y="193"/>
                  </a:lnTo>
                  <a:lnTo>
                    <a:pt x="297" y="193"/>
                  </a:lnTo>
                  <a:lnTo>
                    <a:pt x="297" y="193"/>
                  </a:lnTo>
                  <a:lnTo>
                    <a:pt x="297" y="193"/>
                  </a:lnTo>
                  <a:lnTo>
                    <a:pt x="297" y="193"/>
                  </a:lnTo>
                  <a:lnTo>
                    <a:pt x="297" y="193"/>
                  </a:lnTo>
                  <a:lnTo>
                    <a:pt x="297" y="191"/>
                  </a:lnTo>
                  <a:lnTo>
                    <a:pt x="297" y="191"/>
                  </a:lnTo>
                  <a:lnTo>
                    <a:pt x="297" y="191"/>
                  </a:lnTo>
                  <a:lnTo>
                    <a:pt x="297" y="191"/>
                  </a:lnTo>
                  <a:lnTo>
                    <a:pt x="297" y="191"/>
                  </a:lnTo>
                  <a:lnTo>
                    <a:pt x="297" y="191"/>
                  </a:lnTo>
                  <a:lnTo>
                    <a:pt x="297" y="191"/>
                  </a:lnTo>
                  <a:lnTo>
                    <a:pt x="299" y="191"/>
                  </a:lnTo>
                  <a:lnTo>
                    <a:pt x="301" y="191"/>
                  </a:lnTo>
                  <a:lnTo>
                    <a:pt x="304" y="191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3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10" y="191"/>
                  </a:lnTo>
                  <a:lnTo>
                    <a:pt x="310" y="191"/>
                  </a:lnTo>
                  <a:lnTo>
                    <a:pt x="310" y="191"/>
                  </a:lnTo>
                  <a:lnTo>
                    <a:pt x="313" y="188"/>
                  </a:lnTo>
                  <a:lnTo>
                    <a:pt x="313" y="188"/>
                  </a:lnTo>
                  <a:lnTo>
                    <a:pt x="313" y="188"/>
                  </a:lnTo>
                  <a:lnTo>
                    <a:pt x="313" y="188"/>
                  </a:lnTo>
                  <a:lnTo>
                    <a:pt x="313" y="188"/>
                  </a:lnTo>
                  <a:lnTo>
                    <a:pt x="313" y="191"/>
                  </a:lnTo>
                  <a:lnTo>
                    <a:pt x="313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5" y="191"/>
                  </a:lnTo>
                  <a:lnTo>
                    <a:pt x="317" y="193"/>
                  </a:lnTo>
                  <a:lnTo>
                    <a:pt x="317" y="193"/>
                  </a:lnTo>
                  <a:lnTo>
                    <a:pt x="322" y="193"/>
                  </a:lnTo>
                  <a:lnTo>
                    <a:pt x="324" y="193"/>
                  </a:lnTo>
                  <a:lnTo>
                    <a:pt x="324" y="195"/>
                  </a:lnTo>
                  <a:lnTo>
                    <a:pt x="324" y="195"/>
                  </a:lnTo>
                  <a:lnTo>
                    <a:pt x="324" y="195"/>
                  </a:lnTo>
                  <a:lnTo>
                    <a:pt x="326" y="197"/>
                  </a:lnTo>
                  <a:lnTo>
                    <a:pt x="326" y="197"/>
                  </a:lnTo>
                  <a:lnTo>
                    <a:pt x="326" y="200"/>
                  </a:lnTo>
                  <a:lnTo>
                    <a:pt x="324" y="200"/>
                  </a:lnTo>
                  <a:lnTo>
                    <a:pt x="324" y="200"/>
                  </a:lnTo>
                  <a:lnTo>
                    <a:pt x="324" y="200"/>
                  </a:lnTo>
                  <a:lnTo>
                    <a:pt x="326" y="200"/>
                  </a:lnTo>
                  <a:lnTo>
                    <a:pt x="328" y="202"/>
                  </a:lnTo>
                  <a:lnTo>
                    <a:pt x="328" y="202"/>
                  </a:lnTo>
                  <a:lnTo>
                    <a:pt x="328" y="202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2"/>
                  </a:lnTo>
                  <a:lnTo>
                    <a:pt x="328" y="202"/>
                  </a:lnTo>
                  <a:lnTo>
                    <a:pt x="330" y="202"/>
                  </a:lnTo>
                  <a:lnTo>
                    <a:pt x="330" y="202"/>
                  </a:lnTo>
                  <a:lnTo>
                    <a:pt x="330" y="202"/>
                  </a:lnTo>
                  <a:lnTo>
                    <a:pt x="333" y="202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3" y="204"/>
                  </a:lnTo>
                  <a:lnTo>
                    <a:pt x="335" y="204"/>
                  </a:lnTo>
                  <a:lnTo>
                    <a:pt x="335" y="204"/>
                  </a:lnTo>
                  <a:lnTo>
                    <a:pt x="335" y="204"/>
                  </a:lnTo>
                  <a:lnTo>
                    <a:pt x="337" y="204"/>
                  </a:lnTo>
                  <a:lnTo>
                    <a:pt x="337" y="206"/>
                  </a:lnTo>
                  <a:lnTo>
                    <a:pt x="337" y="206"/>
                  </a:lnTo>
                  <a:lnTo>
                    <a:pt x="337" y="206"/>
                  </a:lnTo>
                  <a:lnTo>
                    <a:pt x="339" y="206"/>
                  </a:lnTo>
                  <a:lnTo>
                    <a:pt x="339" y="206"/>
                  </a:lnTo>
                  <a:lnTo>
                    <a:pt x="339" y="206"/>
                  </a:lnTo>
                  <a:lnTo>
                    <a:pt x="342" y="206"/>
                  </a:lnTo>
                  <a:lnTo>
                    <a:pt x="342" y="206"/>
                  </a:lnTo>
                  <a:lnTo>
                    <a:pt x="342" y="206"/>
                  </a:lnTo>
                  <a:lnTo>
                    <a:pt x="342" y="206"/>
                  </a:lnTo>
                  <a:lnTo>
                    <a:pt x="342" y="206"/>
                  </a:lnTo>
                  <a:lnTo>
                    <a:pt x="342" y="206"/>
                  </a:lnTo>
                  <a:lnTo>
                    <a:pt x="344" y="206"/>
                  </a:lnTo>
                  <a:lnTo>
                    <a:pt x="344" y="204"/>
                  </a:lnTo>
                  <a:lnTo>
                    <a:pt x="346" y="204"/>
                  </a:lnTo>
                  <a:lnTo>
                    <a:pt x="346" y="204"/>
                  </a:lnTo>
                  <a:lnTo>
                    <a:pt x="348" y="206"/>
                  </a:lnTo>
                  <a:lnTo>
                    <a:pt x="348" y="206"/>
                  </a:lnTo>
                  <a:lnTo>
                    <a:pt x="348" y="206"/>
                  </a:lnTo>
                  <a:lnTo>
                    <a:pt x="348" y="209"/>
                  </a:lnTo>
                  <a:lnTo>
                    <a:pt x="348" y="209"/>
                  </a:lnTo>
                  <a:lnTo>
                    <a:pt x="348" y="209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1" y="211"/>
                  </a:lnTo>
                  <a:lnTo>
                    <a:pt x="353" y="211"/>
                  </a:lnTo>
                  <a:lnTo>
                    <a:pt x="353" y="211"/>
                  </a:lnTo>
                  <a:lnTo>
                    <a:pt x="353" y="209"/>
                  </a:lnTo>
                  <a:lnTo>
                    <a:pt x="353" y="209"/>
                  </a:lnTo>
                  <a:lnTo>
                    <a:pt x="355" y="209"/>
                  </a:lnTo>
                  <a:lnTo>
                    <a:pt x="355" y="209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57" y="211"/>
                  </a:lnTo>
                  <a:lnTo>
                    <a:pt x="360" y="211"/>
                  </a:lnTo>
                  <a:lnTo>
                    <a:pt x="360" y="211"/>
                  </a:lnTo>
                  <a:lnTo>
                    <a:pt x="360" y="211"/>
                  </a:lnTo>
                  <a:lnTo>
                    <a:pt x="360" y="211"/>
                  </a:lnTo>
                  <a:lnTo>
                    <a:pt x="360" y="211"/>
                  </a:lnTo>
                  <a:lnTo>
                    <a:pt x="360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2" y="211"/>
                  </a:lnTo>
                  <a:lnTo>
                    <a:pt x="364" y="213"/>
                  </a:lnTo>
                  <a:lnTo>
                    <a:pt x="364" y="213"/>
                  </a:lnTo>
                  <a:lnTo>
                    <a:pt x="364" y="213"/>
                  </a:lnTo>
                  <a:lnTo>
                    <a:pt x="366" y="213"/>
                  </a:lnTo>
                  <a:lnTo>
                    <a:pt x="366" y="213"/>
                  </a:lnTo>
                  <a:lnTo>
                    <a:pt x="366" y="213"/>
                  </a:lnTo>
                  <a:lnTo>
                    <a:pt x="366" y="213"/>
                  </a:lnTo>
                  <a:lnTo>
                    <a:pt x="366" y="213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1" y="215"/>
                  </a:lnTo>
                  <a:lnTo>
                    <a:pt x="371" y="215"/>
                  </a:lnTo>
                  <a:lnTo>
                    <a:pt x="371" y="215"/>
                  </a:lnTo>
                  <a:lnTo>
                    <a:pt x="371" y="215"/>
                  </a:lnTo>
                  <a:lnTo>
                    <a:pt x="371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3"/>
                  </a:lnTo>
                  <a:lnTo>
                    <a:pt x="373" y="213"/>
                  </a:lnTo>
                  <a:lnTo>
                    <a:pt x="373" y="213"/>
                  </a:lnTo>
                  <a:lnTo>
                    <a:pt x="373" y="213"/>
                  </a:lnTo>
                  <a:lnTo>
                    <a:pt x="375" y="213"/>
                  </a:lnTo>
                  <a:lnTo>
                    <a:pt x="375" y="213"/>
                  </a:lnTo>
                  <a:lnTo>
                    <a:pt x="375" y="211"/>
                  </a:lnTo>
                  <a:lnTo>
                    <a:pt x="375" y="211"/>
                  </a:lnTo>
                  <a:lnTo>
                    <a:pt x="375" y="211"/>
                  </a:lnTo>
                  <a:lnTo>
                    <a:pt x="375" y="211"/>
                  </a:lnTo>
                  <a:lnTo>
                    <a:pt x="375" y="211"/>
                  </a:lnTo>
                  <a:lnTo>
                    <a:pt x="378" y="213"/>
                  </a:lnTo>
                  <a:lnTo>
                    <a:pt x="378" y="213"/>
                  </a:lnTo>
                  <a:lnTo>
                    <a:pt x="378" y="213"/>
                  </a:lnTo>
                  <a:lnTo>
                    <a:pt x="378" y="213"/>
                  </a:lnTo>
                  <a:lnTo>
                    <a:pt x="378" y="215"/>
                  </a:lnTo>
                  <a:lnTo>
                    <a:pt x="378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82" y="215"/>
                  </a:lnTo>
                  <a:lnTo>
                    <a:pt x="382" y="215"/>
                  </a:lnTo>
                  <a:lnTo>
                    <a:pt x="382" y="218"/>
                  </a:lnTo>
                  <a:lnTo>
                    <a:pt x="382" y="218"/>
                  </a:lnTo>
                  <a:lnTo>
                    <a:pt x="382" y="218"/>
                  </a:lnTo>
                  <a:lnTo>
                    <a:pt x="382" y="215"/>
                  </a:lnTo>
                  <a:lnTo>
                    <a:pt x="382" y="215"/>
                  </a:lnTo>
                  <a:lnTo>
                    <a:pt x="384" y="215"/>
                  </a:lnTo>
                  <a:lnTo>
                    <a:pt x="384" y="215"/>
                  </a:lnTo>
                  <a:lnTo>
                    <a:pt x="384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9" y="215"/>
                  </a:lnTo>
                  <a:lnTo>
                    <a:pt x="389" y="215"/>
                  </a:lnTo>
                  <a:lnTo>
                    <a:pt x="389" y="215"/>
                  </a:lnTo>
                  <a:lnTo>
                    <a:pt x="389" y="215"/>
                  </a:lnTo>
                  <a:lnTo>
                    <a:pt x="391" y="215"/>
                  </a:lnTo>
                  <a:lnTo>
                    <a:pt x="391" y="215"/>
                  </a:lnTo>
                  <a:lnTo>
                    <a:pt x="391" y="215"/>
                  </a:lnTo>
                  <a:lnTo>
                    <a:pt x="391" y="215"/>
                  </a:lnTo>
                  <a:lnTo>
                    <a:pt x="391" y="215"/>
                  </a:lnTo>
                  <a:lnTo>
                    <a:pt x="391" y="215"/>
                  </a:lnTo>
                  <a:lnTo>
                    <a:pt x="391" y="213"/>
                  </a:lnTo>
                  <a:lnTo>
                    <a:pt x="391" y="215"/>
                  </a:lnTo>
                  <a:lnTo>
                    <a:pt x="391" y="215"/>
                  </a:lnTo>
                  <a:lnTo>
                    <a:pt x="393" y="215"/>
                  </a:lnTo>
                  <a:lnTo>
                    <a:pt x="393" y="213"/>
                  </a:lnTo>
                  <a:lnTo>
                    <a:pt x="393" y="213"/>
                  </a:lnTo>
                  <a:lnTo>
                    <a:pt x="393" y="213"/>
                  </a:lnTo>
                  <a:lnTo>
                    <a:pt x="393" y="215"/>
                  </a:lnTo>
                  <a:lnTo>
                    <a:pt x="393" y="215"/>
                  </a:lnTo>
                  <a:lnTo>
                    <a:pt x="393" y="215"/>
                  </a:lnTo>
                  <a:lnTo>
                    <a:pt x="393" y="215"/>
                  </a:lnTo>
                  <a:lnTo>
                    <a:pt x="396" y="215"/>
                  </a:lnTo>
                  <a:lnTo>
                    <a:pt x="396" y="215"/>
                  </a:lnTo>
                  <a:lnTo>
                    <a:pt x="396" y="215"/>
                  </a:lnTo>
                  <a:lnTo>
                    <a:pt x="396" y="215"/>
                  </a:lnTo>
                  <a:lnTo>
                    <a:pt x="396" y="215"/>
                  </a:lnTo>
                  <a:lnTo>
                    <a:pt x="398" y="215"/>
                  </a:lnTo>
                  <a:lnTo>
                    <a:pt x="398" y="213"/>
                  </a:lnTo>
                  <a:lnTo>
                    <a:pt x="398" y="213"/>
                  </a:lnTo>
                  <a:lnTo>
                    <a:pt x="398" y="213"/>
                  </a:lnTo>
                  <a:lnTo>
                    <a:pt x="398" y="213"/>
                  </a:lnTo>
                  <a:lnTo>
                    <a:pt x="398" y="213"/>
                  </a:lnTo>
                  <a:lnTo>
                    <a:pt x="398" y="211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8" y="209"/>
                  </a:lnTo>
                  <a:lnTo>
                    <a:pt x="398" y="206"/>
                  </a:lnTo>
                  <a:lnTo>
                    <a:pt x="398" y="206"/>
                  </a:lnTo>
                  <a:lnTo>
                    <a:pt x="398" y="206"/>
                  </a:lnTo>
                  <a:lnTo>
                    <a:pt x="398" y="204"/>
                  </a:lnTo>
                  <a:lnTo>
                    <a:pt x="398" y="204"/>
                  </a:lnTo>
                  <a:lnTo>
                    <a:pt x="398" y="204"/>
                  </a:lnTo>
                  <a:lnTo>
                    <a:pt x="396" y="204"/>
                  </a:lnTo>
                  <a:lnTo>
                    <a:pt x="396" y="202"/>
                  </a:lnTo>
                  <a:lnTo>
                    <a:pt x="396" y="202"/>
                  </a:lnTo>
                  <a:lnTo>
                    <a:pt x="396" y="202"/>
                  </a:lnTo>
                  <a:lnTo>
                    <a:pt x="396" y="200"/>
                  </a:lnTo>
                  <a:lnTo>
                    <a:pt x="393" y="200"/>
                  </a:lnTo>
                  <a:lnTo>
                    <a:pt x="393" y="200"/>
                  </a:lnTo>
                  <a:lnTo>
                    <a:pt x="393" y="200"/>
                  </a:lnTo>
                  <a:lnTo>
                    <a:pt x="393" y="200"/>
                  </a:lnTo>
                  <a:lnTo>
                    <a:pt x="393" y="200"/>
                  </a:lnTo>
                  <a:lnTo>
                    <a:pt x="393" y="200"/>
                  </a:lnTo>
                  <a:lnTo>
                    <a:pt x="393" y="197"/>
                  </a:lnTo>
                  <a:lnTo>
                    <a:pt x="393" y="197"/>
                  </a:lnTo>
                  <a:lnTo>
                    <a:pt x="393" y="197"/>
                  </a:lnTo>
                  <a:lnTo>
                    <a:pt x="393" y="195"/>
                  </a:lnTo>
                  <a:lnTo>
                    <a:pt x="393" y="193"/>
                  </a:lnTo>
                  <a:lnTo>
                    <a:pt x="393" y="193"/>
                  </a:lnTo>
                  <a:lnTo>
                    <a:pt x="393" y="193"/>
                  </a:lnTo>
                  <a:lnTo>
                    <a:pt x="393" y="193"/>
                  </a:lnTo>
                  <a:lnTo>
                    <a:pt x="391" y="193"/>
                  </a:lnTo>
                  <a:lnTo>
                    <a:pt x="391" y="193"/>
                  </a:lnTo>
                  <a:lnTo>
                    <a:pt x="391" y="193"/>
                  </a:lnTo>
                  <a:lnTo>
                    <a:pt x="391" y="191"/>
                  </a:lnTo>
                  <a:lnTo>
                    <a:pt x="391" y="191"/>
                  </a:lnTo>
                  <a:lnTo>
                    <a:pt x="393" y="191"/>
                  </a:lnTo>
                  <a:lnTo>
                    <a:pt x="393" y="191"/>
                  </a:lnTo>
                  <a:lnTo>
                    <a:pt x="393" y="191"/>
                  </a:lnTo>
                  <a:lnTo>
                    <a:pt x="393" y="191"/>
                  </a:lnTo>
                  <a:lnTo>
                    <a:pt x="391" y="191"/>
                  </a:lnTo>
                  <a:lnTo>
                    <a:pt x="391" y="191"/>
                  </a:lnTo>
                  <a:lnTo>
                    <a:pt x="391" y="191"/>
                  </a:lnTo>
                  <a:lnTo>
                    <a:pt x="391" y="191"/>
                  </a:lnTo>
                  <a:lnTo>
                    <a:pt x="391" y="188"/>
                  </a:lnTo>
                  <a:lnTo>
                    <a:pt x="391" y="188"/>
                  </a:lnTo>
                  <a:lnTo>
                    <a:pt x="393" y="186"/>
                  </a:lnTo>
                  <a:lnTo>
                    <a:pt x="393" y="184"/>
                  </a:lnTo>
                  <a:lnTo>
                    <a:pt x="393" y="184"/>
                  </a:lnTo>
                  <a:lnTo>
                    <a:pt x="393" y="182"/>
                  </a:lnTo>
                  <a:lnTo>
                    <a:pt x="393" y="182"/>
                  </a:lnTo>
                  <a:lnTo>
                    <a:pt x="393" y="182"/>
                  </a:lnTo>
                  <a:lnTo>
                    <a:pt x="393" y="182"/>
                  </a:lnTo>
                  <a:lnTo>
                    <a:pt x="393" y="182"/>
                  </a:lnTo>
                  <a:lnTo>
                    <a:pt x="393" y="182"/>
                  </a:lnTo>
                  <a:lnTo>
                    <a:pt x="391" y="182"/>
                  </a:lnTo>
                  <a:lnTo>
                    <a:pt x="391" y="179"/>
                  </a:lnTo>
                  <a:lnTo>
                    <a:pt x="391" y="179"/>
                  </a:lnTo>
                  <a:lnTo>
                    <a:pt x="391" y="179"/>
                  </a:lnTo>
                  <a:lnTo>
                    <a:pt x="391" y="179"/>
                  </a:lnTo>
                  <a:lnTo>
                    <a:pt x="391" y="179"/>
                  </a:lnTo>
                  <a:lnTo>
                    <a:pt x="391" y="179"/>
                  </a:lnTo>
                  <a:lnTo>
                    <a:pt x="393" y="179"/>
                  </a:lnTo>
                  <a:lnTo>
                    <a:pt x="393" y="179"/>
                  </a:lnTo>
                  <a:lnTo>
                    <a:pt x="393" y="179"/>
                  </a:lnTo>
                  <a:lnTo>
                    <a:pt x="396" y="177"/>
                  </a:lnTo>
                  <a:lnTo>
                    <a:pt x="398" y="177"/>
                  </a:lnTo>
                  <a:lnTo>
                    <a:pt x="398" y="177"/>
                  </a:lnTo>
                  <a:lnTo>
                    <a:pt x="398" y="177"/>
                  </a:lnTo>
                  <a:lnTo>
                    <a:pt x="398" y="177"/>
                  </a:lnTo>
                  <a:lnTo>
                    <a:pt x="398" y="177"/>
                  </a:lnTo>
                  <a:lnTo>
                    <a:pt x="398" y="177"/>
                  </a:lnTo>
                  <a:lnTo>
                    <a:pt x="398" y="177"/>
                  </a:lnTo>
                  <a:lnTo>
                    <a:pt x="400" y="177"/>
                  </a:lnTo>
                  <a:lnTo>
                    <a:pt x="400" y="175"/>
                  </a:lnTo>
                  <a:lnTo>
                    <a:pt x="400" y="175"/>
                  </a:lnTo>
                  <a:lnTo>
                    <a:pt x="400" y="175"/>
                  </a:lnTo>
                  <a:lnTo>
                    <a:pt x="400" y="175"/>
                  </a:lnTo>
                  <a:lnTo>
                    <a:pt x="400" y="175"/>
                  </a:lnTo>
                  <a:lnTo>
                    <a:pt x="402" y="175"/>
                  </a:lnTo>
                  <a:lnTo>
                    <a:pt x="402" y="175"/>
                  </a:lnTo>
                  <a:lnTo>
                    <a:pt x="402" y="175"/>
                  </a:lnTo>
                  <a:lnTo>
                    <a:pt x="405" y="177"/>
                  </a:lnTo>
                  <a:lnTo>
                    <a:pt x="405" y="177"/>
                  </a:lnTo>
                  <a:lnTo>
                    <a:pt x="405" y="177"/>
                  </a:lnTo>
                  <a:lnTo>
                    <a:pt x="405" y="177"/>
                  </a:lnTo>
                  <a:lnTo>
                    <a:pt x="405" y="177"/>
                  </a:lnTo>
                  <a:lnTo>
                    <a:pt x="405" y="177"/>
                  </a:lnTo>
                  <a:lnTo>
                    <a:pt x="405" y="179"/>
                  </a:lnTo>
                  <a:lnTo>
                    <a:pt x="405" y="179"/>
                  </a:lnTo>
                  <a:lnTo>
                    <a:pt x="407" y="179"/>
                  </a:lnTo>
                  <a:lnTo>
                    <a:pt x="407" y="179"/>
                  </a:lnTo>
                  <a:lnTo>
                    <a:pt x="407" y="179"/>
                  </a:lnTo>
                  <a:lnTo>
                    <a:pt x="407" y="182"/>
                  </a:lnTo>
                  <a:lnTo>
                    <a:pt x="407" y="182"/>
                  </a:lnTo>
                  <a:lnTo>
                    <a:pt x="407" y="186"/>
                  </a:lnTo>
                  <a:lnTo>
                    <a:pt x="407" y="186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7" y="188"/>
                  </a:lnTo>
                  <a:lnTo>
                    <a:pt x="407" y="188"/>
                  </a:lnTo>
                  <a:lnTo>
                    <a:pt x="407" y="188"/>
                  </a:lnTo>
                  <a:lnTo>
                    <a:pt x="407" y="188"/>
                  </a:lnTo>
                  <a:lnTo>
                    <a:pt x="407" y="191"/>
                  </a:lnTo>
                  <a:lnTo>
                    <a:pt x="407" y="191"/>
                  </a:lnTo>
                  <a:lnTo>
                    <a:pt x="407" y="191"/>
                  </a:lnTo>
                  <a:lnTo>
                    <a:pt x="407" y="193"/>
                  </a:lnTo>
                  <a:lnTo>
                    <a:pt x="409" y="193"/>
                  </a:lnTo>
                  <a:lnTo>
                    <a:pt x="409" y="193"/>
                  </a:lnTo>
                  <a:lnTo>
                    <a:pt x="409" y="193"/>
                  </a:lnTo>
                  <a:lnTo>
                    <a:pt x="409" y="193"/>
                  </a:lnTo>
                  <a:lnTo>
                    <a:pt x="409" y="193"/>
                  </a:lnTo>
                  <a:lnTo>
                    <a:pt x="411" y="193"/>
                  </a:lnTo>
                  <a:lnTo>
                    <a:pt x="411" y="195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09" y="195"/>
                  </a:lnTo>
                  <a:lnTo>
                    <a:pt x="407" y="195"/>
                  </a:lnTo>
                  <a:lnTo>
                    <a:pt x="407" y="197"/>
                  </a:lnTo>
                  <a:lnTo>
                    <a:pt x="407" y="197"/>
                  </a:lnTo>
                  <a:lnTo>
                    <a:pt x="409" y="197"/>
                  </a:lnTo>
                  <a:lnTo>
                    <a:pt x="409" y="197"/>
                  </a:lnTo>
                  <a:lnTo>
                    <a:pt x="409" y="200"/>
                  </a:lnTo>
                  <a:lnTo>
                    <a:pt x="411" y="200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11" y="202"/>
                  </a:lnTo>
                  <a:lnTo>
                    <a:pt x="414" y="202"/>
                  </a:lnTo>
                  <a:lnTo>
                    <a:pt x="414" y="202"/>
                  </a:lnTo>
                  <a:lnTo>
                    <a:pt x="414" y="202"/>
                  </a:lnTo>
                  <a:lnTo>
                    <a:pt x="414" y="202"/>
                  </a:lnTo>
                  <a:lnTo>
                    <a:pt x="414" y="204"/>
                  </a:lnTo>
                  <a:lnTo>
                    <a:pt x="414" y="204"/>
                  </a:lnTo>
                  <a:lnTo>
                    <a:pt x="414" y="204"/>
                  </a:lnTo>
                  <a:lnTo>
                    <a:pt x="414" y="204"/>
                  </a:lnTo>
                  <a:lnTo>
                    <a:pt x="414" y="202"/>
                  </a:lnTo>
                  <a:lnTo>
                    <a:pt x="414" y="202"/>
                  </a:lnTo>
                  <a:lnTo>
                    <a:pt x="416" y="204"/>
                  </a:lnTo>
                  <a:lnTo>
                    <a:pt x="416" y="204"/>
                  </a:lnTo>
                  <a:lnTo>
                    <a:pt x="416" y="204"/>
                  </a:lnTo>
                  <a:lnTo>
                    <a:pt x="416" y="204"/>
                  </a:lnTo>
                  <a:lnTo>
                    <a:pt x="416" y="204"/>
                  </a:lnTo>
                  <a:lnTo>
                    <a:pt x="416" y="206"/>
                  </a:lnTo>
                  <a:lnTo>
                    <a:pt x="418" y="206"/>
                  </a:lnTo>
                  <a:lnTo>
                    <a:pt x="418" y="206"/>
                  </a:lnTo>
                  <a:lnTo>
                    <a:pt x="418" y="206"/>
                  </a:lnTo>
                  <a:lnTo>
                    <a:pt x="420" y="206"/>
                  </a:lnTo>
                  <a:lnTo>
                    <a:pt x="420" y="204"/>
                  </a:lnTo>
                  <a:lnTo>
                    <a:pt x="420" y="204"/>
                  </a:lnTo>
                  <a:lnTo>
                    <a:pt x="420" y="204"/>
                  </a:lnTo>
                  <a:lnTo>
                    <a:pt x="420" y="204"/>
                  </a:lnTo>
                  <a:lnTo>
                    <a:pt x="420" y="204"/>
                  </a:lnTo>
                  <a:lnTo>
                    <a:pt x="423" y="204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6"/>
                  </a:lnTo>
                  <a:lnTo>
                    <a:pt x="427" y="206"/>
                  </a:lnTo>
                  <a:lnTo>
                    <a:pt x="427" y="206"/>
                  </a:lnTo>
                  <a:lnTo>
                    <a:pt x="427" y="206"/>
                  </a:lnTo>
                  <a:lnTo>
                    <a:pt x="427" y="206"/>
                  </a:lnTo>
                  <a:lnTo>
                    <a:pt x="427" y="209"/>
                  </a:lnTo>
                  <a:lnTo>
                    <a:pt x="427" y="209"/>
                  </a:lnTo>
                  <a:lnTo>
                    <a:pt x="427" y="209"/>
                  </a:lnTo>
                  <a:lnTo>
                    <a:pt x="429" y="209"/>
                  </a:lnTo>
                  <a:lnTo>
                    <a:pt x="429" y="209"/>
                  </a:lnTo>
                  <a:lnTo>
                    <a:pt x="429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2" y="206"/>
                  </a:lnTo>
                  <a:lnTo>
                    <a:pt x="432" y="206"/>
                  </a:lnTo>
                  <a:lnTo>
                    <a:pt x="432" y="209"/>
                  </a:lnTo>
                  <a:lnTo>
                    <a:pt x="432" y="209"/>
                  </a:lnTo>
                  <a:lnTo>
                    <a:pt x="434" y="209"/>
                  </a:lnTo>
                  <a:lnTo>
                    <a:pt x="434" y="209"/>
                  </a:lnTo>
                  <a:lnTo>
                    <a:pt x="434" y="209"/>
                  </a:lnTo>
                  <a:lnTo>
                    <a:pt x="434" y="209"/>
                  </a:lnTo>
                  <a:lnTo>
                    <a:pt x="436" y="206"/>
                  </a:lnTo>
                  <a:lnTo>
                    <a:pt x="438" y="206"/>
                  </a:lnTo>
                  <a:lnTo>
                    <a:pt x="438" y="206"/>
                  </a:lnTo>
                  <a:lnTo>
                    <a:pt x="438" y="206"/>
                  </a:lnTo>
                  <a:lnTo>
                    <a:pt x="438" y="204"/>
                  </a:lnTo>
                  <a:lnTo>
                    <a:pt x="438" y="204"/>
                  </a:lnTo>
                  <a:lnTo>
                    <a:pt x="441" y="204"/>
                  </a:lnTo>
                  <a:lnTo>
                    <a:pt x="441" y="204"/>
                  </a:lnTo>
                  <a:lnTo>
                    <a:pt x="441" y="204"/>
                  </a:lnTo>
                  <a:lnTo>
                    <a:pt x="441" y="204"/>
                  </a:lnTo>
                  <a:lnTo>
                    <a:pt x="441" y="204"/>
                  </a:lnTo>
                  <a:lnTo>
                    <a:pt x="441" y="204"/>
                  </a:lnTo>
                  <a:lnTo>
                    <a:pt x="443" y="204"/>
                  </a:lnTo>
                  <a:lnTo>
                    <a:pt x="443" y="204"/>
                  </a:lnTo>
                  <a:lnTo>
                    <a:pt x="445" y="204"/>
                  </a:lnTo>
                  <a:lnTo>
                    <a:pt x="447" y="206"/>
                  </a:lnTo>
                  <a:lnTo>
                    <a:pt x="450" y="206"/>
                  </a:lnTo>
                  <a:lnTo>
                    <a:pt x="456" y="206"/>
                  </a:lnTo>
                  <a:lnTo>
                    <a:pt x="456" y="206"/>
                  </a:lnTo>
                  <a:lnTo>
                    <a:pt x="459" y="206"/>
                  </a:lnTo>
                  <a:lnTo>
                    <a:pt x="459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6"/>
                  </a:lnTo>
                  <a:lnTo>
                    <a:pt x="461" y="206"/>
                  </a:lnTo>
                  <a:lnTo>
                    <a:pt x="461" y="206"/>
                  </a:lnTo>
                  <a:lnTo>
                    <a:pt x="463" y="206"/>
                  </a:lnTo>
                  <a:lnTo>
                    <a:pt x="463" y="206"/>
                  </a:lnTo>
                  <a:lnTo>
                    <a:pt x="463" y="206"/>
                  </a:lnTo>
                  <a:lnTo>
                    <a:pt x="463" y="206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4"/>
                  </a:lnTo>
                  <a:lnTo>
                    <a:pt x="463" y="204"/>
                  </a:lnTo>
                  <a:lnTo>
                    <a:pt x="463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04"/>
                  </a:lnTo>
                  <a:lnTo>
                    <a:pt x="465" y="206"/>
                  </a:lnTo>
                  <a:lnTo>
                    <a:pt x="465" y="206"/>
                  </a:lnTo>
                  <a:lnTo>
                    <a:pt x="468" y="206"/>
                  </a:lnTo>
                  <a:lnTo>
                    <a:pt x="468" y="206"/>
                  </a:lnTo>
                  <a:lnTo>
                    <a:pt x="468" y="206"/>
                  </a:lnTo>
                  <a:lnTo>
                    <a:pt x="468" y="206"/>
                  </a:lnTo>
                  <a:lnTo>
                    <a:pt x="470" y="206"/>
                  </a:lnTo>
                  <a:lnTo>
                    <a:pt x="470" y="206"/>
                  </a:lnTo>
                  <a:lnTo>
                    <a:pt x="470" y="206"/>
                  </a:lnTo>
                  <a:lnTo>
                    <a:pt x="472" y="204"/>
                  </a:lnTo>
                  <a:lnTo>
                    <a:pt x="472" y="204"/>
                  </a:lnTo>
                  <a:lnTo>
                    <a:pt x="472" y="204"/>
                  </a:lnTo>
                  <a:lnTo>
                    <a:pt x="472" y="204"/>
                  </a:lnTo>
                  <a:lnTo>
                    <a:pt x="472" y="206"/>
                  </a:lnTo>
                  <a:lnTo>
                    <a:pt x="472" y="206"/>
                  </a:lnTo>
                  <a:lnTo>
                    <a:pt x="474" y="206"/>
                  </a:lnTo>
                  <a:lnTo>
                    <a:pt x="474" y="206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4" y="204"/>
                  </a:lnTo>
                  <a:lnTo>
                    <a:pt x="477" y="204"/>
                  </a:lnTo>
                  <a:lnTo>
                    <a:pt x="477" y="204"/>
                  </a:lnTo>
                  <a:lnTo>
                    <a:pt x="477" y="202"/>
                  </a:lnTo>
                  <a:lnTo>
                    <a:pt x="477" y="202"/>
                  </a:lnTo>
                  <a:lnTo>
                    <a:pt x="477" y="202"/>
                  </a:lnTo>
                  <a:lnTo>
                    <a:pt x="477" y="200"/>
                  </a:lnTo>
                  <a:lnTo>
                    <a:pt x="474" y="200"/>
                  </a:lnTo>
                  <a:lnTo>
                    <a:pt x="474" y="200"/>
                  </a:lnTo>
                  <a:lnTo>
                    <a:pt x="474" y="197"/>
                  </a:lnTo>
                  <a:lnTo>
                    <a:pt x="474" y="197"/>
                  </a:lnTo>
                  <a:lnTo>
                    <a:pt x="474" y="197"/>
                  </a:lnTo>
                  <a:lnTo>
                    <a:pt x="474" y="197"/>
                  </a:lnTo>
                  <a:lnTo>
                    <a:pt x="474" y="197"/>
                  </a:lnTo>
                  <a:lnTo>
                    <a:pt x="474" y="197"/>
                  </a:lnTo>
                  <a:lnTo>
                    <a:pt x="474" y="197"/>
                  </a:lnTo>
                  <a:lnTo>
                    <a:pt x="474" y="195"/>
                  </a:lnTo>
                  <a:lnTo>
                    <a:pt x="474" y="195"/>
                  </a:lnTo>
                  <a:lnTo>
                    <a:pt x="474" y="195"/>
                  </a:lnTo>
                  <a:lnTo>
                    <a:pt x="474" y="195"/>
                  </a:lnTo>
                  <a:lnTo>
                    <a:pt x="474" y="195"/>
                  </a:lnTo>
                  <a:lnTo>
                    <a:pt x="474" y="195"/>
                  </a:lnTo>
                  <a:lnTo>
                    <a:pt x="474" y="193"/>
                  </a:lnTo>
                  <a:lnTo>
                    <a:pt x="472" y="191"/>
                  </a:lnTo>
                  <a:lnTo>
                    <a:pt x="472" y="191"/>
                  </a:lnTo>
                  <a:lnTo>
                    <a:pt x="472" y="191"/>
                  </a:lnTo>
                  <a:lnTo>
                    <a:pt x="472" y="191"/>
                  </a:lnTo>
                  <a:lnTo>
                    <a:pt x="472" y="191"/>
                  </a:lnTo>
                  <a:lnTo>
                    <a:pt x="470" y="191"/>
                  </a:lnTo>
                  <a:lnTo>
                    <a:pt x="470" y="191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5" y="191"/>
                  </a:lnTo>
                  <a:lnTo>
                    <a:pt x="465" y="191"/>
                  </a:lnTo>
                  <a:lnTo>
                    <a:pt x="465" y="188"/>
                  </a:lnTo>
                  <a:lnTo>
                    <a:pt x="465" y="188"/>
                  </a:lnTo>
                  <a:lnTo>
                    <a:pt x="465" y="188"/>
                  </a:lnTo>
                  <a:lnTo>
                    <a:pt x="463" y="188"/>
                  </a:lnTo>
                  <a:lnTo>
                    <a:pt x="463" y="186"/>
                  </a:lnTo>
                  <a:lnTo>
                    <a:pt x="463" y="186"/>
                  </a:lnTo>
                  <a:lnTo>
                    <a:pt x="463" y="184"/>
                  </a:lnTo>
                  <a:lnTo>
                    <a:pt x="463" y="184"/>
                  </a:lnTo>
                  <a:lnTo>
                    <a:pt x="468" y="184"/>
                  </a:lnTo>
                  <a:lnTo>
                    <a:pt x="468" y="184"/>
                  </a:lnTo>
                  <a:lnTo>
                    <a:pt x="468" y="184"/>
                  </a:lnTo>
                  <a:lnTo>
                    <a:pt x="468" y="184"/>
                  </a:lnTo>
                  <a:lnTo>
                    <a:pt x="470" y="184"/>
                  </a:lnTo>
                  <a:lnTo>
                    <a:pt x="470" y="184"/>
                  </a:lnTo>
                  <a:lnTo>
                    <a:pt x="470" y="184"/>
                  </a:lnTo>
                  <a:lnTo>
                    <a:pt x="472" y="184"/>
                  </a:lnTo>
                  <a:lnTo>
                    <a:pt x="472" y="182"/>
                  </a:lnTo>
                  <a:lnTo>
                    <a:pt x="472" y="182"/>
                  </a:lnTo>
                  <a:lnTo>
                    <a:pt x="474" y="182"/>
                  </a:lnTo>
                  <a:lnTo>
                    <a:pt x="474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4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7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79" y="182"/>
                  </a:lnTo>
                  <a:lnTo>
                    <a:pt x="481" y="182"/>
                  </a:lnTo>
                  <a:lnTo>
                    <a:pt x="481" y="182"/>
                  </a:lnTo>
                  <a:lnTo>
                    <a:pt x="481" y="179"/>
                  </a:lnTo>
                  <a:lnTo>
                    <a:pt x="481" y="179"/>
                  </a:lnTo>
                  <a:lnTo>
                    <a:pt x="481" y="179"/>
                  </a:lnTo>
                  <a:lnTo>
                    <a:pt x="483" y="179"/>
                  </a:lnTo>
                  <a:lnTo>
                    <a:pt x="483" y="179"/>
                  </a:lnTo>
                  <a:lnTo>
                    <a:pt x="483" y="179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7"/>
                  </a:lnTo>
                  <a:lnTo>
                    <a:pt x="483" y="175"/>
                  </a:lnTo>
                  <a:lnTo>
                    <a:pt x="483" y="175"/>
                  </a:lnTo>
                  <a:lnTo>
                    <a:pt x="483" y="175"/>
                  </a:lnTo>
                  <a:lnTo>
                    <a:pt x="483" y="175"/>
                  </a:lnTo>
                  <a:lnTo>
                    <a:pt x="483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6" y="173"/>
                  </a:lnTo>
                  <a:lnTo>
                    <a:pt x="488" y="173"/>
                  </a:lnTo>
                  <a:lnTo>
                    <a:pt x="488" y="170"/>
                  </a:lnTo>
                  <a:lnTo>
                    <a:pt x="488" y="170"/>
                  </a:lnTo>
                  <a:lnTo>
                    <a:pt x="488" y="170"/>
                  </a:lnTo>
                  <a:lnTo>
                    <a:pt x="488" y="170"/>
                  </a:lnTo>
                  <a:lnTo>
                    <a:pt x="488" y="170"/>
                  </a:lnTo>
                  <a:lnTo>
                    <a:pt x="490" y="168"/>
                  </a:lnTo>
                  <a:lnTo>
                    <a:pt x="490" y="168"/>
                  </a:lnTo>
                  <a:lnTo>
                    <a:pt x="490" y="168"/>
                  </a:lnTo>
                  <a:lnTo>
                    <a:pt x="490" y="166"/>
                  </a:lnTo>
                  <a:lnTo>
                    <a:pt x="490" y="166"/>
                  </a:lnTo>
                  <a:lnTo>
                    <a:pt x="490" y="166"/>
                  </a:lnTo>
                  <a:lnTo>
                    <a:pt x="490" y="164"/>
                  </a:lnTo>
                  <a:lnTo>
                    <a:pt x="490" y="164"/>
                  </a:lnTo>
                  <a:lnTo>
                    <a:pt x="490" y="164"/>
                  </a:lnTo>
                  <a:lnTo>
                    <a:pt x="490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2" y="161"/>
                  </a:lnTo>
                  <a:lnTo>
                    <a:pt x="494" y="161"/>
                  </a:lnTo>
                  <a:lnTo>
                    <a:pt x="494" y="161"/>
                  </a:lnTo>
                  <a:lnTo>
                    <a:pt x="494" y="161"/>
                  </a:lnTo>
                  <a:lnTo>
                    <a:pt x="497" y="161"/>
                  </a:lnTo>
                  <a:lnTo>
                    <a:pt x="497" y="161"/>
                  </a:lnTo>
                  <a:lnTo>
                    <a:pt x="499" y="161"/>
                  </a:lnTo>
                  <a:lnTo>
                    <a:pt x="499" y="161"/>
                  </a:lnTo>
                  <a:lnTo>
                    <a:pt x="499" y="161"/>
                  </a:lnTo>
                  <a:lnTo>
                    <a:pt x="499" y="161"/>
                  </a:lnTo>
                  <a:lnTo>
                    <a:pt x="499" y="161"/>
                  </a:lnTo>
                  <a:lnTo>
                    <a:pt x="501" y="161"/>
                  </a:lnTo>
                  <a:lnTo>
                    <a:pt x="501" y="161"/>
                  </a:lnTo>
                  <a:lnTo>
                    <a:pt x="501" y="161"/>
                  </a:lnTo>
                  <a:lnTo>
                    <a:pt x="501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9"/>
                  </a:lnTo>
                  <a:lnTo>
                    <a:pt x="503" y="157"/>
                  </a:lnTo>
                  <a:lnTo>
                    <a:pt x="503" y="157"/>
                  </a:lnTo>
                  <a:lnTo>
                    <a:pt x="503" y="157"/>
                  </a:lnTo>
                  <a:lnTo>
                    <a:pt x="503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7"/>
                  </a:lnTo>
                  <a:lnTo>
                    <a:pt x="506" y="155"/>
                  </a:lnTo>
                  <a:lnTo>
                    <a:pt x="506" y="155"/>
                  </a:lnTo>
                  <a:lnTo>
                    <a:pt x="506" y="155"/>
                  </a:lnTo>
                  <a:lnTo>
                    <a:pt x="506" y="155"/>
                  </a:lnTo>
                  <a:lnTo>
                    <a:pt x="506" y="155"/>
                  </a:lnTo>
                  <a:lnTo>
                    <a:pt x="508" y="155"/>
                  </a:lnTo>
                  <a:lnTo>
                    <a:pt x="508" y="155"/>
                  </a:lnTo>
                  <a:lnTo>
                    <a:pt x="508" y="155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0" y="150"/>
                  </a:lnTo>
                  <a:lnTo>
                    <a:pt x="512" y="148"/>
                  </a:lnTo>
                  <a:lnTo>
                    <a:pt x="512" y="148"/>
                  </a:lnTo>
                  <a:lnTo>
                    <a:pt x="512" y="148"/>
                  </a:lnTo>
                  <a:lnTo>
                    <a:pt x="512" y="148"/>
                  </a:lnTo>
                  <a:lnTo>
                    <a:pt x="515" y="148"/>
                  </a:lnTo>
                  <a:lnTo>
                    <a:pt x="515" y="148"/>
                  </a:lnTo>
                  <a:lnTo>
                    <a:pt x="515" y="148"/>
                  </a:lnTo>
                  <a:lnTo>
                    <a:pt x="515" y="146"/>
                  </a:lnTo>
                  <a:lnTo>
                    <a:pt x="515" y="146"/>
                  </a:lnTo>
                  <a:lnTo>
                    <a:pt x="517" y="146"/>
                  </a:lnTo>
                  <a:lnTo>
                    <a:pt x="517" y="146"/>
                  </a:lnTo>
                  <a:lnTo>
                    <a:pt x="517" y="146"/>
                  </a:lnTo>
                  <a:lnTo>
                    <a:pt x="519" y="148"/>
                  </a:lnTo>
                  <a:lnTo>
                    <a:pt x="519" y="148"/>
                  </a:lnTo>
                  <a:lnTo>
                    <a:pt x="519" y="150"/>
                  </a:lnTo>
                  <a:lnTo>
                    <a:pt x="519" y="150"/>
                  </a:lnTo>
                  <a:lnTo>
                    <a:pt x="519" y="150"/>
                  </a:lnTo>
                  <a:lnTo>
                    <a:pt x="521" y="150"/>
                  </a:lnTo>
                  <a:lnTo>
                    <a:pt x="521" y="150"/>
                  </a:lnTo>
                  <a:lnTo>
                    <a:pt x="521" y="150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4" y="150"/>
                  </a:lnTo>
                  <a:lnTo>
                    <a:pt x="526" y="150"/>
                  </a:lnTo>
                  <a:lnTo>
                    <a:pt x="526" y="150"/>
                  </a:lnTo>
                  <a:lnTo>
                    <a:pt x="526" y="150"/>
                  </a:lnTo>
                  <a:lnTo>
                    <a:pt x="528" y="150"/>
                  </a:lnTo>
                  <a:lnTo>
                    <a:pt x="528" y="152"/>
                  </a:lnTo>
                  <a:lnTo>
                    <a:pt x="528" y="152"/>
                  </a:lnTo>
                  <a:lnTo>
                    <a:pt x="528" y="152"/>
                  </a:lnTo>
                  <a:lnTo>
                    <a:pt x="528" y="152"/>
                  </a:lnTo>
                  <a:lnTo>
                    <a:pt x="528" y="152"/>
                  </a:lnTo>
                  <a:lnTo>
                    <a:pt x="530" y="152"/>
                  </a:lnTo>
                  <a:lnTo>
                    <a:pt x="530" y="152"/>
                  </a:lnTo>
                  <a:lnTo>
                    <a:pt x="530" y="152"/>
                  </a:lnTo>
                  <a:lnTo>
                    <a:pt x="533" y="152"/>
                  </a:lnTo>
                  <a:lnTo>
                    <a:pt x="533" y="152"/>
                  </a:lnTo>
                  <a:lnTo>
                    <a:pt x="533" y="152"/>
                  </a:lnTo>
                  <a:lnTo>
                    <a:pt x="533" y="152"/>
                  </a:lnTo>
                  <a:lnTo>
                    <a:pt x="535" y="152"/>
                  </a:lnTo>
                  <a:lnTo>
                    <a:pt x="535" y="152"/>
                  </a:lnTo>
                  <a:lnTo>
                    <a:pt x="535" y="152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5" y="148"/>
                  </a:lnTo>
                  <a:lnTo>
                    <a:pt x="537" y="148"/>
                  </a:lnTo>
                  <a:lnTo>
                    <a:pt x="537" y="148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3"/>
                  </a:lnTo>
                  <a:lnTo>
                    <a:pt x="542" y="143"/>
                  </a:lnTo>
                  <a:lnTo>
                    <a:pt x="542" y="143"/>
                  </a:lnTo>
                  <a:lnTo>
                    <a:pt x="542" y="143"/>
                  </a:lnTo>
                  <a:lnTo>
                    <a:pt x="542" y="143"/>
                  </a:lnTo>
                  <a:lnTo>
                    <a:pt x="544" y="143"/>
                  </a:lnTo>
                  <a:lnTo>
                    <a:pt x="544" y="143"/>
                  </a:lnTo>
                  <a:lnTo>
                    <a:pt x="544" y="143"/>
                  </a:lnTo>
                  <a:lnTo>
                    <a:pt x="544" y="143"/>
                  </a:lnTo>
                  <a:lnTo>
                    <a:pt x="544" y="143"/>
                  </a:lnTo>
                  <a:lnTo>
                    <a:pt x="546" y="143"/>
                  </a:lnTo>
                  <a:lnTo>
                    <a:pt x="546" y="143"/>
                  </a:lnTo>
                  <a:lnTo>
                    <a:pt x="546" y="146"/>
                  </a:lnTo>
                  <a:lnTo>
                    <a:pt x="546" y="146"/>
                  </a:lnTo>
                  <a:lnTo>
                    <a:pt x="546" y="146"/>
                  </a:lnTo>
                  <a:lnTo>
                    <a:pt x="548" y="146"/>
                  </a:lnTo>
                  <a:lnTo>
                    <a:pt x="548" y="148"/>
                  </a:lnTo>
                  <a:lnTo>
                    <a:pt x="548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48"/>
                  </a:lnTo>
                  <a:lnTo>
                    <a:pt x="551" y="150"/>
                  </a:lnTo>
                  <a:lnTo>
                    <a:pt x="551" y="150"/>
                  </a:lnTo>
                  <a:lnTo>
                    <a:pt x="548" y="150"/>
                  </a:lnTo>
                  <a:lnTo>
                    <a:pt x="548" y="150"/>
                  </a:lnTo>
                  <a:lnTo>
                    <a:pt x="548" y="150"/>
                  </a:lnTo>
                  <a:lnTo>
                    <a:pt x="548" y="150"/>
                  </a:lnTo>
                  <a:lnTo>
                    <a:pt x="548" y="150"/>
                  </a:lnTo>
                  <a:lnTo>
                    <a:pt x="548" y="152"/>
                  </a:lnTo>
                  <a:lnTo>
                    <a:pt x="546" y="152"/>
                  </a:lnTo>
                  <a:lnTo>
                    <a:pt x="548" y="152"/>
                  </a:lnTo>
                  <a:lnTo>
                    <a:pt x="548" y="152"/>
                  </a:lnTo>
                  <a:lnTo>
                    <a:pt x="548" y="152"/>
                  </a:lnTo>
                  <a:lnTo>
                    <a:pt x="548" y="155"/>
                  </a:lnTo>
                  <a:lnTo>
                    <a:pt x="548" y="155"/>
                  </a:lnTo>
                  <a:lnTo>
                    <a:pt x="548" y="155"/>
                  </a:lnTo>
                  <a:lnTo>
                    <a:pt x="548" y="157"/>
                  </a:lnTo>
                  <a:lnTo>
                    <a:pt x="551" y="155"/>
                  </a:lnTo>
                  <a:lnTo>
                    <a:pt x="551" y="155"/>
                  </a:lnTo>
                  <a:lnTo>
                    <a:pt x="551" y="155"/>
                  </a:lnTo>
                  <a:lnTo>
                    <a:pt x="551" y="155"/>
                  </a:lnTo>
                  <a:lnTo>
                    <a:pt x="551" y="155"/>
                  </a:lnTo>
                  <a:lnTo>
                    <a:pt x="553" y="152"/>
                  </a:lnTo>
                  <a:lnTo>
                    <a:pt x="555" y="152"/>
                  </a:lnTo>
                  <a:lnTo>
                    <a:pt x="555" y="152"/>
                  </a:lnTo>
                  <a:lnTo>
                    <a:pt x="555" y="152"/>
                  </a:lnTo>
                  <a:lnTo>
                    <a:pt x="555" y="152"/>
                  </a:lnTo>
                  <a:lnTo>
                    <a:pt x="555" y="152"/>
                  </a:lnTo>
                  <a:lnTo>
                    <a:pt x="555" y="152"/>
                  </a:lnTo>
                  <a:lnTo>
                    <a:pt x="555" y="152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7" y="157"/>
                  </a:lnTo>
                  <a:lnTo>
                    <a:pt x="557" y="157"/>
                  </a:lnTo>
                  <a:lnTo>
                    <a:pt x="557" y="159"/>
                  </a:lnTo>
                  <a:lnTo>
                    <a:pt x="560" y="159"/>
                  </a:lnTo>
                  <a:lnTo>
                    <a:pt x="557" y="159"/>
                  </a:lnTo>
                  <a:lnTo>
                    <a:pt x="557" y="161"/>
                  </a:lnTo>
                  <a:lnTo>
                    <a:pt x="557" y="161"/>
                  </a:lnTo>
                  <a:lnTo>
                    <a:pt x="557" y="161"/>
                  </a:lnTo>
                  <a:lnTo>
                    <a:pt x="557" y="161"/>
                  </a:lnTo>
                  <a:lnTo>
                    <a:pt x="557" y="164"/>
                  </a:lnTo>
                  <a:lnTo>
                    <a:pt x="555" y="164"/>
                  </a:lnTo>
                  <a:lnTo>
                    <a:pt x="555" y="164"/>
                  </a:lnTo>
                  <a:lnTo>
                    <a:pt x="555" y="164"/>
                  </a:lnTo>
                  <a:lnTo>
                    <a:pt x="555" y="164"/>
                  </a:lnTo>
                  <a:lnTo>
                    <a:pt x="555" y="164"/>
                  </a:lnTo>
                  <a:lnTo>
                    <a:pt x="555" y="164"/>
                  </a:lnTo>
                  <a:lnTo>
                    <a:pt x="555" y="166"/>
                  </a:lnTo>
                  <a:lnTo>
                    <a:pt x="555" y="166"/>
                  </a:lnTo>
                  <a:lnTo>
                    <a:pt x="555" y="166"/>
                  </a:lnTo>
                  <a:lnTo>
                    <a:pt x="555" y="166"/>
                  </a:lnTo>
                  <a:lnTo>
                    <a:pt x="555" y="168"/>
                  </a:lnTo>
                  <a:lnTo>
                    <a:pt x="553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5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6"/>
                  </a:lnTo>
                  <a:lnTo>
                    <a:pt x="560" y="166"/>
                  </a:lnTo>
                  <a:lnTo>
                    <a:pt x="560" y="166"/>
                  </a:lnTo>
                  <a:lnTo>
                    <a:pt x="562" y="166"/>
                  </a:lnTo>
                  <a:lnTo>
                    <a:pt x="562" y="166"/>
                  </a:lnTo>
                  <a:lnTo>
                    <a:pt x="564" y="168"/>
                  </a:lnTo>
                  <a:lnTo>
                    <a:pt x="564" y="168"/>
                  </a:lnTo>
                  <a:lnTo>
                    <a:pt x="564" y="168"/>
                  </a:lnTo>
                  <a:lnTo>
                    <a:pt x="566" y="168"/>
                  </a:lnTo>
                  <a:lnTo>
                    <a:pt x="566" y="168"/>
                  </a:lnTo>
                  <a:lnTo>
                    <a:pt x="569" y="170"/>
                  </a:lnTo>
                  <a:lnTo>
                    <a:pt x="569" y="170"/>
                  </a:lnTo>
                  <a:lnTo>
                    <a:pt x="569" y="168"/>
                  </a:lnTo>
                  <a:lnTo>
                    <a:pt x="571" y="168"/>
                  </a:lnTo>
                  <a:lnTo>
                    <a:pt x="571" y="168"/>
                  </a:lnTo>
                  <a:lnTo>
                    <a:pt x="571" y="168"/>
                  </a:lnTo>
                  <a:lnTo>
                    <a:pt x="573" y="170"/>
                  </a:lnTo>
                  <a:lnTo>
                    <a:pt x="573" y="170"/>
                  </a:lnTo>
                  <a:lnTo>
                    <a:pt x="573" y="170"/>
                  </a:lnTo>
                  <a:lnTo>
                    <a:pt x="573" y="170"/>
                  </a:lnTo>
                  <a:lnTo>
                    <a:pt x="575" y="170"/>
                  </a:lnTo>
                  <a:lnTo>
                    <a:pt x="575" y="170"/>
                  </a:lnTo>
                  <a:lnTo>
                    <a:pt x="575" y="173"/>
                  </a:lnTo>
                  <a:lnTo>
                    <a:pt x="578" y="173"/>
                  </a:lnTo>
                  <a:lnTo>
                    <a:pt x="578" y="173"/>
                  </a:lnTo>
                  <a:lnTo>
                    <a:pt x="578" y="175"/>
                  </a:lnTo>
                  <a:lnTo>
                    <a:pt x="578" y="175"/>
                  </a:lnTo>
                  <a:lnTo>
                    <a:pt x="578" y="175"/>
                  </a:lnTo>
                  <a:lnTo>
                    <a:pt x="578" y="177"/>
                  </a:lnTo>
                  <a:lnTo>
                    <a:pt x="578" y="177"/>
                  </a:lnTo>
                  <a:lnTo>
                    <a:pt x="578" y="177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80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8" y="179"/>
                  </a:lnTo>
                  <a:lnTo>
                    <a:pt x="575" y="179"/>
                  </a:lnTo>
                  <a:lnTo>
                    <a:pt x="575" y="179"/>
                  </a:lnTo>
                  <a:lnTo>
                    <a:pt x="575" y="179"/>
                  </a:lnTo>
                  <a:lnTo>
                    <a:pt x="575" y="182"/>
                  </a:lnTo>
                  <a:lnTo>
                    <a:pt x="575" y="182"/>
                  </a:lnTo>
                  <a:lnTo>
                    <a:pt x="575" y="182"/>
                  </a:lnTo>
                  <a:lnTo>
                    <a:pt x="575" y="182"/>
                  </a:lnTo>
                  <a:lnTo>
                    <a:pt x="575" y="182"/>
                  </a:lnTo>
                  <a:lnTo>
                    <a:pt x="575" y="182"/>
                  </a:lnTo>
                  <a:lnTo>
                    <a:pt x="575" y="182"/>
                  </a:lnTo>
                  <a:lnTo>
                    <a:pt x="573" y="182"/>
                  </a:lnTo>
                  <a:lnTo>
                    <a:pt x="573" y="182"/>
                  </a:lnTo>
                  <a:lnTo>
                    <a:pt x="573" y="184"/>
                  </a:lnTo>
                  <a:lnTo>
                    <a:pt x="573" y="184"/>
                  </a:lnTo>
                  <a:lnTo>
                    <a:pt x="573" y="184"/>
                  </a:lnTo>
                  <a:lnTo>
                    <a:pt x="573" y="184"/>
                  </a:lnTo>
                  <a:lnTo>
                    <a:pt x="573" y="184"/>
                  </a:lnTo>
                  <a:lnTo>
                    <a:pt x="573" y="184"/>
                  </a:lnTo>
                  <a:lnTo>
                    <a:pt x="573" y="184"/>
                  </a:lnTo>
                  <a:lnTo>
                    <a:pt x="571" y="186"/>
                  </a:lnTo>
                  <a:lnTo>
                    <a:pt x="571" y="186"/>
                  </a:lnTo>
                  <a:lnTo>
                    <a:pt x="571" y="186"/>
                  </a:lnTo>
                  <a:lnTo>
                    <a:pt x="571" y="186"/>
                  </a:lnTo>
                  <a:lnTo>
                    <a:pt x="571" y="186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88"/>
                  </a:lnTo>
                  <a:lnTo>
                    <a:pt x="571" y="191"/>
                  </a:lnTo>
                  <a:lnTo>
                    <a:pt x="571" y="191"/>
                  </a:lnTo>
                  <a:lnTo>
                    <a:pt x="573" y="191"/>
                  </a:lnTo>
                  <a:lnTo>
                    <a:pt x="578" y="195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197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8" y="200"/>
                  </a:lnTo>
                  <a:lnTo>
                    <a:pt x="575" y="200"/>
                  </a:lnTo>
                  <a:lnTo>
                    <a:pt x="575" y="197"/>
                  </a:lnTo>
                  <a:lnTo>
                    <a:pt x="573" y="197"/>
                  </a:lnTo>
                  <a:lnTo>
                    <a:pt x="573" y="197"/>
                  </a:lnTo>
                  <a:lnTo>
                    <a:pt x="573" y="195"/>
                  </a:lnTo>
                  <a:lnTo>
                    <a:pt x="573" y="195"/>
                  </a:lnTo>
                  <a:lnTo>
                    <a:pt x="573" y="195"/>
                  </a:lnTo>
                  <a:lnTo>
                    <a:pt x="573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71" y="193"/>
                  </a:lnTo>
                  <a:lnTo>
                    <a:pt x="571" y="193"/>
                  </a:lnTo>
                  <a:lnTo>
                    <a:pt x="571" y="193"/>
                  </a:lnTo>
                  <a:lnTo>
                    <a:pt x="569" y="193"/>
                  </a:lnTo>
                  <a:lnTo>
                    <a:pt x="569" y="193"/>
                  </a:lnTo>
                  <a:lnTo>
                    <a:pt x="569" y="193"/>
                  </a:lnTo>
                  <a:lnTo>
                    <a:pt x="569" y="193"/>
                  </a:lnTo>
                  <a:lnTo>
                    <a:pt x="569" y="193"/>
                  </a:lnTo>
                  <a:lnTo>
                    <a:pt x="569" y="193"/>
                  </a:lnTo>
                  <a:lnTo>
                    <a:pt x="569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6" y="193"/>
                  </a:lnTo>
                  <a:lnTo>
                    <a:pt x="564" y="195"/>
                  </a:lnTo>
                  <a:lnTo>
                    <a:pt x="564" y="195"/>
                  </a:lnTo>
                  <a:lnTo>
                    <a:pt x="564" y="195"/>
                  </a:lnTo>
                  <a:lnTo>
                    <a:pt x="564" y="195"/>
                  </a:lnTo>
                  <a:lnTo>
                    <a:pt x="557" y="195"/>
                  </a:lnTo>
                  <a:lnTo>
                    <a:pt x="557" y="195"/>
                  </a:lnTo>
                  <a:lnTo>
                    <a:pt x="555" y="197"/>
                  </a:lnTo>
                  <a:lnTo>
                    <a:pt x="555" y="197"/>
                  </a:lnTo>
                  <a:lnTo>
                    <a:pt x="555" y="200"/>
                  </a:lnTo>
                  <a:lnTo>
                    <a:pt x="555" y="200"/>
                  </a:lnTo>
                  <a:lnTo>
                    <a:pt x="553" y="200"/>
                  </a:lnTo>
                  <a:lnTo>
                    <a:pt x="553" y="202"/>
                  </a:lnTo>
                  <a:lnTo>
                    <a:pt x="553" y="202"/>
                  </a:lnTo>
                  <a:lnTo>
                    <a:pt x="553" y="202"/>
                  </a:lnTo>
                  <a:lnTo>
                    <a:pt x="551" y="202"/>
                  </a:lnTo>
                  <a:lnTo>
                    <a:pt x="551" y="204"/>
                  </a:lnTo>
                  <a:lnTo>
                    <a:pt x="551" y="204"/>
                  </a:lnTo>
                  <a:lnTo>
                    <a:pt x="551" y="204"/>
                  </a:lnTo>
                  <a:lnTo>
                    <a:pt x="551" y="204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48" y="206"/>
                  </a:lnTo>
                  <a:lnTo>
                    <a:pt x="548" y="206"/>
                  </a:lnTo>
                  <a:lnTo>
                    <a:pt x="548" y="206"/>
                  </a:lnTo>
                  <a:lnTo>
                    <a:pt x="548" y="206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9"/>
                  </a:lnTo>
                  <a:lnTo>
                    <a:pt x="546" y="209"/>
                  </a:lnTo>
                  <a:lnTo>
                    <a:pt x="544" y="209"/>
                  </a:lnTo>
                  <a:lnTo>
                    <a:pt x="544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2" y="209"/>
                  </a:lnTo>
                  <a:lnTo>
                    <a:pt x="542" y="209"/>
                  </a:lnTo>
                  <a:lnTo>
                    <a:pt x="542" y="209"/>
                  </a:lnTo>
                  <a:lnTo>
                    <a:pt x="542" y="209"/>
                  </a:lnTo>
                  <a:lnTo>
                    <a:pt x="542" y="211"/>
                  </a:lnTo>
                  <a:lnTo>
                    <a:pt x="542" y="211"/>
                  </a:lnTo>
                  <a:lnTo>
                    <a:pt x="542" y="211"/>
                  </a:lnTo>
                  <a:lnTo>
                    <a:pt x="539" y="211"/>
                  </a:lnTo>
                  <a:lnTo>
                    <a:pt x="539" y="211"/>
                  </a:lnTo>
                  <a:lnTo>
                    <a:pt x="539" y="211"/>
                  </a:lnTo>
                  <a:lnTo>
                    <a:pt x="539" y="211"/>
                  </a:lnTo>
                  <a:lnTo>
                    <a:pt x="539" y="211"/>
                  </a:lnTo>
                  <a:lnTo>
                    <a:pt x="539" y="211"/>
                  </a:lnTo>
                  <a:lnTo>
                    <a:pt x="539" y="211"/>
                  </a:lnTo>
                  <a:lnTo>
                    <a:pt x="539" y="213"/>
                  </a:lnTo>
                  <a:lnTo>
                    <a:pt x="539" y="213"/>
                  </a:lnTo>
                  <a:lnTo>
                    <a:pt x="539" y="213"/>
                  </a:lnTo>
                  <a:lnTo>
                    <a:pt x="539" y="213"/>
                  </a:lnTo>
                  <a:lnTo>
                    <a:pt x="539" y="213"/>
                  </a:lnTo>
                  <a:lnTo>
                    <a:pt x="539" y="213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8"/>
                  </a:lnTo>
                  <a:lnTo>
                    <a:pt x="539" y="218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0"/>
                  </a:lnTo>
                  <a:lnTo>
                    <a:pt x="542" y="222"/>
                  </a:lnTo>
                  <a:lnTo>
                    <a:pt x="542" y="222"/>
                  </a:lnTo>
                  <a:lnTo>
                    <a:pt x="544" y="222"/>
                  </a:lnTo>
                  <a:lnTo>
                    <a:pt x="544" y="222"/>
                  </a:lnTo>
                  <a:lnTo>
                    <a:pt x="544" y="224"/>
                  </a:lnTo>
                  <a:lnTo>
                    <a:pt x="544" y="224"/>
                  </a:lnTo>
                  <a:lnTo>
                    <a:pt x="544" y="224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7"/>
                  </a:lnTo>
                  <a:lnTo>
                    <a:pt x="542" y="229"/>
                  </a:lnTo>
                  <a:lnTo>
                    <a:pt x="542" y="231"/>
                  </a:lnTo>
                  <a:lnTo>
                    <a:pt x="542" y="231"/>
                  </a:lnTo>
                  <a:lnTo>
                    <a:pt x="542" y="231"/>
                  </a:lnTo>
                  <a:lnTo>
                    <a:pt x="542" y="231"/>
                  </a:lnTo>
                  <a:lnTo>
                    <a:pt x="542" y="231"/>
                  </a:lnTo>
                  <a:lnTo>
                    <a:pt x="542" y="231"/>
                  </a:lnTo>
                  <a:lnTo>
                    <a:pt x="542" y="231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8"/>
                  </a:lnTo>
                  <a:lnTo>
                    <a:pt x="537" y="238"/>
                  </a:lnTo>
                  <a:lnTo>
                    <a:pt x="537" y="238"/>
                  </a:lnTo>
                  <a:lnTo>
                    <a:pt x="537" y="238"/>
                  </a:lnTo>
                  <a:lnTo>
                    <a:pt x="537" y="238"/>
                  </a:lnTo>
                  <a:lnTo>
                    <a:pt x="535" y="238"/>
                  </a:lnTo>
                  <a:lnTo>
                    <a:pt x="535" y="240"/>
                  </a:lnTo>
                  <a:lnTo>
                    <a:pt x="535" y="242"/>
                  </a:lnTo>
                  <a:lnTo>
                    <a:pt x="535" y="245"/>
                  </a:lnTo>
                  <a:lnTo>
                    <a:pt x="535" y="245"/>
                  </a:lnTo>
                  <a:lnTo>
                    <a:pt x="537" y="245"/>
                  </a:lnTo>
                  <a:lnTo>
                    <a:pt x="537" y="245"/>
                  </a:lnTo>
                  <a:lnTo>
                    <a:pt x="539" y="245"/>
                  </a:lnTo>
                  <a:lnTo>
                    <a:pt x="539" y="247"/>
                  </a:lnTo>
                  <a:lnTo>
                    <a:pt x="539" y="247"/>
                  </a:lnTo>
                  <a:lnTo>
                    <a:pt x="539" y="249"/>
                  </a:lnTo>
                  <a:lnTo>
                    <a:pt x="539" y="249"/>
                  </a:lnTo>
                  <a:lnTo>
                    <a:pt x="539" y="249"/>
                  </a:lnTo>
                  <a:lnTo>
                    <a:pt x="539" y="251"/>
                  </a:lnTo>
                  <a:lnTo>
                    <a:pt x="539" y="251"/>
                  </a:lnTo>
                  <a:lnTo>
                    <a:pt x="537" y="254"/>
                  </a:lnTo>
                  <a:lnTo>
                    <a:pt x="537" y="254"/>
                  </a:lnTo>
                  <a:lnTo>
                    <a:pt x="537" y="254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6"/>
                  </a:lnTo>
                  <a:lnTo>
                    <a:pt x="537" y="258"/>
                  </a:lnTo>
                  <a:lnTo>
                    <a:pt x="537" y="258"/>
                  </a:lnTo>
                  <a:lnTo>
                    <a:pt x="535" y="258"/>
                  </a:lnTo>
                  <a:lnTo>
                    <a:pt x="535" y="260"/>
                  </a:lnTo>
                  <a:lnTo>
                    <a:pt x="535" y="260"/>
                  </a:lnTo>
                  <a:lnTo>
                    <a:pt x="535" y="260"/>
                  </a:lnTo>
                  <a:lnTo>
                    <a:pt x="535" y="260"/>
                  </a:lnTo>
                  <a:lnTo>
                    <a:pt x="535" y="260"/>
                  </a:lnTo>
                  <a:lnTo>
                    <a:pt x="535" y="263"/>
                  </a:lnTo>
                  <a:lnTo>
                    <a:pt x="535" y="263"/>
                  </a:lnTo>
                  <a:lnTo>
                    <a:pt x="535" y="263"/>
                  </a:lnTo>
                  <a:lnTo>
                    <a:pt x="535" y="263"/>
                  </a:lnTo>
                  <a:lnTo>
                    <a:pt x="535" y="263"/>
                  </a:lnTo>
                  <a:lnTo>
                    <a:pt x="535" y="263"/>
                  </a:lnTo>
                  <a:lnTo>
                    <a:pt x="535" y="265"/>
                  </a:lnTo>
                  <a:lnTo>
                    <a:pt x="535" y="265"/>
                  </a:lnTo>
                  <a:lnTo>
                    <a:pt x="535" y="265"/>
                  </a:lnTo>
                  <a:lnTo>
                    <a:pt x="533" y="265"/>
                  </a:lnTo>
                  <a:lnTo>
                    <a:pt x="533" y="265"/>
                  </a:lnTo>
                  <a:lnTo>
                    <a:pt x="533" y="265"/>
                  </a:lnTo>
                  <a:lnTo>
                    <a:pt x="533" y="265"/>
                  </a:lnTo>
                  <a:lnTo>
                    <a:pt x="533" y="267"/>
                  </a:lnTo>
                  <a:lnTo>
                    <a:pt x="533" y="269"/>
                  </a:lnTo>
                  <a:lnTo>
                    <a:pt x="533" y="269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4"/>
                  </a:lnTo>
                  <a:lnTo>
                    <a:pt x="533" y="274"/>
                  </a:lnTo>
                  <a:lnTo>
                    <a:pt x="533" y="274"/>
                  </a:lnTo>
                  <a:lnTo>
                    <a:pt x="533" y="276"/>
                  </a:lnTo>
                  <a:lnTo>
                    <a:pt x="533" y="276"/>
                  </a:lnTo>
                  <a:lnTo>
                    <a:pt x="533" y="276"/>
                  </a:lnTo>
                  <a:lnTo>
                    <a:pt x="530" y="276"/>
                  </a:lnTo>
                  <a:lnTo>
                    <a:pt x="530" y="276"/>
                  </a:lnTo>
                  <a:lnTo>
                    <a:pt x="530" y="276"/>
                  </a:lnTo>
                  <a:lnTo>
                    <a:pt x="530" y="276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4" y="274"/>
                  </a:lnTo>
                  <a:lnTo>
                    <a:pt x="524" y="272"/>
                  </a:lnTo>
                  <a:lnTo>
                    <a:pt x="524" y="272"/>
                  </a:lnTo>
                  <a:lnTo>
                    <a:pt x="521" y="272"/>
                  </a:lnTo>
                  <a:lnTo>
                    <a:pt x="521" y="272"/>
                  </a:lnTo>
                  <a:lnTo>
                    <a:pt x="521" y="272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7" y="274"/>
                  </a:lnTo>
                  <a:lnTo>
                    <a:pt x="517" y="274"/>
                  </a:lnTo>
                  <a:lnTo>
                    <a:pt x="517" y="274"/>
                  </a:lnTo>
                  <a:lnTo>
                    <a:pt x="517" y="272"/>
                  </a:lnTo>
                  <a:lnTo>
                    <a:pt x="517" y="272"/>
                  </a:lnTo>
                  <a:lnTo>
                    <a:pt x="517" y="272"/>
                  </a:lnTo>
                  <a:lnTo>
                    <a:pt x="515" y="272"/>
                  </a:lnTo>
                  <a:lnTo>
                    <a:pt x="515" y="269"/>
                  </a:lnTo>
                  <a:lnTo>
                    <a:pt x="515" y="272"/>
                  </a:lnTo>
                  <a:lnTo>
                    <a:pt x="515" y="272"/>
                  </a:lnTo>
                  <a:lnTo>
                    <a:pt x="515" y="272"/>
                  </a:lnTo>
                  <a:lnTo>
                    <a:pt x="515" y="272"/>
                  </a:lnTo>
                  <a:lnTo>
                    <a:pt x="515" y="272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7" y="274"/>
                  </a:lnTo>
                  <a:lnTo>
                    <a:pt x="517" y="274"/>
                  </a:lnTo>
                  <a:lnTo>
                    <a:pt x="517" y="276"/>
                  </a:lnTo>
                  <a:lnTo>
                    <a:pt x="517" y="276"/>
                  </a:lnTo>
                  <a:lnTo>
                    <a:pt x="517" y="278"/>
                  </a:lnTo>
                  <a:lnTo>
                    <a:pt x="517" y="278"/>
                  </a:lnTo>
                  <a:lnTo>
                    <a:pt x="517" y="281"/>
                  </a:lnTo>
                  <a:lnTo>
                    <a:pt x="519" y="281"/>
                  </a:lnTo>
                  <a:lnTo>
                    <a:pt x="519" y="281"/>
                  </a:lnTo>
                  <a:lnTo>
                    <a:pt x="519" y="281"/>
                  </a:lnTo>
                  <a:lnTo>
                    <a:pt x="519" y="285"/>
                  </a:lnTo>
                  <a:lnTo>
                    <a:pt x="519" y="287"/>
                  </a:lnTo>
                  <a:lnTo>
                    <a:pt x="519" y="287"/>
                  </a:lnTo>
                  <a:lnTo>
                    <a:pt x="519" y="287"/>
                  </a:lnTo>
                  <a:lnTo>
                    <a:pt x="519" y="287"/>
                  </a:lnTo>
                  <a:lnTo>
                    <a:pt x="519" y="287"/>
                  </a:lnTo>
                  <a:lnTo>
                    <a:pt x="519" y="290"/>
                  </a:lnTo>
                  <a:lnTo>
                    <a:pt x="519" y="290"/>
                  </a:lnTo>
                  <a:lnTo>
                    <a:pt x="519" y="290"/>
                  </a:lnTo>
                  <a:lnTo>
                    <a:pt x="519" y="292"/>
                  </a:lnTo>
                  <a:lnTo>
                    <a:pt x="519" y="292"/>
                  </a:lnTo>
                  <a:lnTo>
                    <a:pt x="519" y="292"/>
                  </a:lnTo>
                  <a:lnTo>
                    <a:pt x="519" y="294"/>
                  </a:lnTo>
                  <a:lnTo>
                    <a:pt x="519" y="294"/>
                  </a:lnTo>
                  <a:lnTo>
                    <a:pt x="519" y="294"/>
                  </a:lnTo>
                  <a:lnTo>
                    <a:pt x="519" y="296"/>
                  </a:lnTo>
                  <a:lnTo>
                    <a:pt x="519" y="296"/>
                  </a:lnTo>
                  <a:lnTo>
                    <a:pt x="517" y="296"/>
                  </a:lnTo>
                  <a:lnTo>
                    <a:pt x="517" y="296"/>
                  </a:lnTo>
                  <a:lnTo>
                    <a:pt x="517" y="296"/>
                  </a:lnTo>
                  <a:lnTo>
                    <a:pt x="517" y="296"/>
                  </a:lnTo>
                  <a:lnTo>
                    <a:pt x="517" y="294"/>
                  </a:lnTo>
                  <a:lnTo>
                    <a:pt x="515" y="294"/>
                  </a:lnTo>
                  <a:lnTo>
                    <a:pt x="515" y="294"/>
                  </a:lnTo>
                  <a:lnTo>
                    <a:pt x="515" y="296"/>
                  </a:lnTo>
                  <a:lnTo>
                    <a:pt x="515" y="296"/>
                  </a:lnTo>
                  <a:lnTo>
                    <a:pt x="515" y="296"/>
                  </a:lnTo>
                  <a:lnTo>
                    <a:pt x="515" y="296"/>
                  </a:lnTo>
                  <a:lnTo>
                    <a:pt x="517" y="299"/>
                  </a:lnTo>
                  <a:lnTo>
                    <a:pt x="517" y="299"/>
                  </a:lnTo>
                  <a:lnTo>
                    <a:pt x="517" y="299"/>
                  </a:lnTo>
                  <a:lnTo>
                    <a:pt x="517" y="299"/>
                  </a:lnTo>
                  <a:lnTo>
                    <a:pt x="515" y="301"/>
                  </a:lnTo>
                  <a:lnTo>
                    <a:pt x="515" y="301"/>
                  </a:lnTo>
                  <a:lnTo>
                    <a:pt x="515" y="301"/>
                  </a:lnTo>
                  <a:lnTo>
                    <a:pt x="515" y="301"/>
                  </a:lnTo>
                  <a:lnTo>
                    <a:pt x="515" y="303"/>
                  </a:lnTo>
                  <a:lnTo>
                    <a:pt x="515" y="303"/>
                  </a:lnTo>
                  <a:lnTo>
                    <a:pt x="515" y="305"/>
                  </a:lnTo>
                  <a:lnTo>
                    <a:pt x="515" y="305"/>
                  </a:lnTo>
                  <a:lnTo>
                    <a:pt x="515" y="305"/>
                  </a:lnTo>
                  <a:lnTo>
                    <a:pt x="517" y="308"/>
                  </a:lnTo>
                  <a:lnTo>
                    <a:pt x="515" y="308"/>
                  </a:lnTo>
                  <a:lnTo>
                    <a:pt x="517" y="308"/>
                  </a:lnTo>
                  <a:lnTo>
                    <a:pt x="517" y="310"/>
                  </a:lnTo>
                  <a:lnTo>
                    <a:pt x="517" y="310"/>
                  </a:lnTo>
                  <a:lnTo>
                    <a:pt x="517" y="310"/>
                  </a:lnTo>
                  <a:lnTo>
                    <a:pt x="517" y="312"/>
                  </a:lnTo>
                  <a:lnTo>
                    <a:pt x="519" y="314"/>
                  </a:lnTo>
                  <a:lnTo>
                    <a:pt x="519" y="314"/>
                  </a:lnTo>
                  <a:lnTo>
                    <a:pt x="519" y="314"/>
                  </a:lnTo>
                  <a:lnTo>
                    <a:pt x="519" y="314"/>
                  </a:lnTo>
                  <a:lnTo>
                    <a:pt x="517" y="314"/>
                  </a:lnTo>
                  <a:lnTo>
                    <a:pt x="517" y="314"/>
                  </a:lnTo>
                  <a:lnTo>
                    <a:pt x="517" y="314"/>
                  </a:lnTo>
                  <a:lnTo>
                    <a:pt x="517" y="314"/>
                  </a:lnTo>
                  <a:lnTo>
                    <a:pt x="517" y="314"/>
                  </a:lnTo>
                  <a:lnTo>
                    <a:pt x="517" y="317"/>
                  </a:lnTo>
                  <a:lnTo>
                    <a:pt x="517" y="317"/>
                  </a:lnTo>
                  <a:lnTo>
                    <a:pt x="517" y="317"/>
                  </a:lnTo>
                  <a:lnTo>
                    <a:pt x="517" y="317"/>
                  </a:lnTo>
                  <a:lnTo>
                    <a:pt x="517" y="314"/>
                  </a:lnTo>
                  <a:lnTo>
                    <a:pt x="517" y="314"/>
                  </a:lnTo>
                  <a:lnTo>
                    <a:pt x="515" y="314"/>
                  </a:lnTo>
                  <a:lnTo>
                    <a:pt x="515" y="314"/>
                  </a:lnTo>
                  <a:lnTo>
                    <a:pt x="515" y="317"/>
                  </a:lnTo>
                  <a:lnTo>
                    <a:pt x="515" y="317"/>
                  </a:lnTo>
                  <a:lnTo>
                    <a:pt x="515" y="317"/>
                  </a:lnTo>
                  <a:lnTo>
                    <a:pt x="515" y="317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2" y="321"/>
                  </a:lnTo>
                  <a:lnTo>
                    <a:pt x="512" y="321"/>
                  </a:lnTo>
                  <a:lnTo>
                    <a:pt x="512" y="321"/>
                  </a:lnTo>
                  <a:lnTo>
                    <a:pt x="512" y="321"/>
                  </a:lnTo>
                  <a:lnTo>
                    <a:pt x="512" y="319"/>
                  </a:lnTo>
                  <a:lnTo>
                    <a:pt x="512" y="319"/>
                  </a:lnTo>
                  <a:lnTo>
                    <a:pt x="510" y="319"/>
                  </a:lnTo>
                  <a:lnTo>
                    <a:pt x="510" y="317"/>
                  </a:lnTo>
                  <a:lnTo>
                    <a:pt x="508" y="317"/>
                  </a:lnTo>
                  <a:lnTo>
                    <a:pt x="508" y="317"/>
                  </a:lnTo>
                  <a:lnTo>
                    <a:pt x="508" y="317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19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8" y="321"/>
                  </a:lnTo>
                  <a:lnTo>
                    <a:pt x="506" y="319"/>
                  </a:lnTo>
                  <a:lnTo>
                    <a:pt x="506" y="317"/>
                  </a:lnTo>
                  <a:lnTo>
                    <a:pt x="506" y="317"/>
                  </a:lnTo>
                  <a:lnTo>
                    <a:pt x="506" y="317"/>
                  </a:lnTo>
                  <a:lnTo>
                    <a:pt x="506" y="317"/>
                  </a:lnTo>
                  <a:lnTo>
                    <a:pt x="506" y="317"/>
                  </a:lnTo>
                  <a:lnTo>
                    <a:pt x="503" y="308"/>
                  </a:lnTo>
                  <a:lnTo>
                    <a:pt x="503" y="308"/>
                  </a:lnTo>
                  <a:lnTo>
                    <a:pt x="503" y="308"/>
                  </a:lnTo>
                  <a:lnTo>
                    <a:pt x="503" y="308"/>
                  </a:lnTo>
                  <a:lnTo>
                    <a:pt x="503" y="305"/>
                  </a:lnTo>
                  <a:lnTo>
                    <a:pt x="503" y="303"/>
                  </a:lnTo>
                  <a:lnTo>
                    <a:pt x="503" y="303"/>
                  </a:lnTo>
                  <a:lnTo>
                    <a:pt x="503" y="303"/>
                  </a:lnTo>
                  <a:lnTo>
                    <a:pt x="501" y="303"/>
                  </a:lnTo>
                  <a:lnTo>
                    <a:pt x="501" y="303"/>
                  </a:lnTo>
                  <a:lnTo>
                    <a:pt x="501" y="301"/>
                  </a:lnTo>
                  <a:lnTo>
                    <a:pt x="501" y="299"/>
                  </a:lnTo>
                  <a:lnTo>
                    <a:pt x="501" y="299"/>
                  </a:lnTo>
                  <a:lnTo>
                    <a:pt x="499" y="299"/>
                  </a:lnTo>
                  <a:lnTo>
                    <a:pt x="499" y="299"/>
                  </a:lnTo>
                  <a:lnTo>
                    <a:pt x="499" y="296"/>
                  </a:lnTo>
                  <a:lnTo>
                    <a:pt x="499" y="296"/>
                  </a:lnTo>
                  <a:lnTo>
                    <a:pt x="497" y="292"/>
                  </a:lnTo>
                  <a:lnTo>
                    <a:pt x="497" y="292"/>
                  </a:lnTo>
                  <a:lnTo>
                    <a:pt x="497" y="292"/>
                  </a:lnTo>
                  <a:lnTo>
                    <a:pt x="497" y="290"/>
                  </a:lnTo>
                  <a:lnTo>
                    <a:pt x="497" y="290"/>
                  </a:lnTo>
                  <a:lnTo>
                    <a:pt x="497" y="290"/>
                  </a:lnTo>
                  <a:lnTo>
                    <a:pt x="497" y="290"/>
                  </a:lnTo>
                  <a:lnTo>
                    <a:pt x="497" y="290"/>
                  </a:lnTo>
                  <a:lnTo>
                    <a:pt x="497" y="290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7"/>
                  </a:lnTo>
                  <a:lnTo>
                    <a:pt x="497" y="285"/>
                  </a:lnTo>
                  <a:lnTo>
                    <a:pt x="497" y="285"/>
                  </a:lnTo>
                  <a:lnTo>
                    <a:pt x="497" y="285"/>
                  </a:lnTo>
                  <a:lnTo>
                    <a:pt x="494" y="283"/>
                  </a:lnTo>
                  <a:lnTo>
                    <a:pt x="494" y="281"/>
                  </a:lnTo>
                  <a:lnTo>
                    <a:pt x="494" y="281"/>
                  </a:lnTo>
                  <a:lnTo>
                    <a:pt x="494" y="281"/>
                  </a:lnTo>
                  <a:lnTo>
                    <a:pt x="494" y="278"/>
                  </a:lnTo>
                  <a:lnTo>
                    <a:pt x="494" y="281"/>
                  </a:lnTo>
                  <a:lnTo>
                    <a:pt x="494" y="281"/>
                  </a:lnTo>
                  <a:lnTo>
                    <a:pt x="492" y="281"/>
                  </a:lnTo>
                  <a:lnTo>
                    <a:pt x="492" y="281"/>
                  </a:lnTo>
                  <a:lnTo>
                    <a:pt x="492" y="281"/>
                  </a:lnTo>
                  <a:lnTo>
                    <a:pt x="492" y="278"/>
                  </a:lnTo>
                  <a:lnTo>
                    <a:pt x="490" y="278"/>
                  </a:lnTo>
                  <a:lnTo>
                    <a:pt x="490" y="281"/>
                  </a:lnTo>
                  <a:lnTo>
                    <a:pt x="490" y="281"/>
                  </a:lnTo>
                  <a:lnTo>
                    <a:pt x="490" y="281"/>
                  </a:lnTo>
                  <a:lnTo>
                    <a:pt x="490" y="281"/>
                  </a:lnTo>
                  <a:lnTo>
                    <a:pt x="490" y="281"/>
                  </a:lnTo>
                  <a:lnTo>
                    <a:pt x="488" y="281"/>
                  </a:lnTo>
                  <a:lnTo>
                    <a:pt x="488" y="281"/>
                  </a:lnTo>
                  <a:lnTo>
                    <a:pt x="488" y="278"/>
                  </a:lnTo>
                  <a:lnTo>
                    <a:pt x="488" y="278"/>
                  </a:lnTo>
                  <a:lnTo>
                    <a:pt x="488" y="281"/>
                  </a:lnTo>
                  <a:lnTo>
                    <a:pt x="488" y="281"/>
                  </a:lnTo>
                  <a:lnTo>
                    <a:pt x="488" y="281"/>
                  </a:lnTo>
                  <a:lnTo>
                    <a:pt x="488" y="283"/>
                  </a:lnTo>
                  <a:lnTo>
                    <a:pt x="488" y="285"/>
                  </a:lnTo>
                  <a:lnTo>
                    <a:pt x="488" y="285"/>
                  </a:lnTo>
                  <a:lnTo>
                    <a:pt x="488" y="285"/>
                  </a:lnTo>
                  <a:lnTo>
                    <a:pt x="488" y="285"/>
                  </a:lnTo>
                  <a:lnTo>
                    <a:pt x="486" y="287"/>
                  </a:lnTo>
                  <a:lnTo>
                    <a:pt x="486" y="287"/>
                  </a:lnTo>
                  <a:lnTo>
                    <a:pt x="486" y="287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86" y="292"/>
                  </a:lnTo>
                  <a:lnTo>
                    <a:pt x="486" y="292"/>
                  </a:lnTo>
                  <a:lnTo>
                    <a:pt x="486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6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9"/>
                  </a:lnTo>
                  <a:lnTo>
                    <a:pt x="483" y="299"/>
                  </a:lnTo>
                  <a:lnTo>
                    <a:pt x="483" y="299"/>
                  </a:lnTo>
                  <a:lnTo>
                    <a:pt x="483" y="299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3" y="296"/>
                  </a:lnTo>
                  <a:lnTo>
                    <a:pt x="481" y="296"/>
                  </a:lnTo>
                  <a:lnTo>
                    <a:pt x="481" y="296"/>
                  </a:lnTo>
                  <a:lnTo>
                    <a:pt x="481" y="296"/>
                  </a:lnTo>
                  <a:lnTo>
                    <a:pt x="481" y="296"/>
                  </a:lnTo>
                  <a:lnTo>
                    <a:pt x="481" y="296"/>
                  </a:lnTo>
                  <a:lnTo>
                    <a:pt x="481" y="296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1" y="294"/>
                  </a:lnTo>
                  <a:lnTo>
                    <a:pt x="481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0"/>
                  </a:lnTo>
                  <a:lnTo>
                    <a:pt x="479" y="290"/>
                  </a:lnTo>
                  <a:lnTo>
                    <a:pt x="477" y="290"/>
                  </a:lnTo>
                  <a:lnTo>
                    <a:pt x="477" y="292"/>
                  </a:lnTo>
                  <a:lnTo>
                    <a:pt x="477" y="292"/>
                  </a:lnTo>
                  <a:lnTo>
                    <a:pt x="479" y="294"/>
                  </a:lnTo>
                  <a:lnTo>
                    <a:pt x="479" y="294"/>
                  </a:lnTo>
                  <a:lnTo>
                    <a:pt x="477" y="294"/>
                  </a:lnTo>
                  <a:lnTo>
                    <a:pt x="477" y="294"/>
                  </a:lnTo>
                  <a:lnTo>
                    <a:pt x="477" y="294"/>
                  </a:lnTo>
                  <a:lnTo>
                    <a:pt x="477" y="290"/>
                  </a:lnTo>
                  <a:lnTo>
                    <a:pt x="477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87"/>
                  </a:lnTo>
                  <a:lnTo>
                    <a:pt x="477" y="287"/>
                  </a:lnTo>
                  <a:lnTo>
                    <a:pt x="477" y="287"/>
                  </a:lnTo>
                  <a:lnTo>
                    <a:pt x="477" y="287"/>
                  </a:lnTo>
                  <a:lnTo>
                    <a:pt x="474" y="287"/>
                  </a:lnTo>
                  <a:lnTo>
                    <a:pt x="474" y="287"/>
                  </a:lnTo>
                  <a:lnTo>
                    <a:pt x="474" y="287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2" y="285"/>
                  </a:lnTo>
                  <a:lnTo>
                    <a:pt x="472" y="283"/>
                  </a:lnTo>
                  <a:lnTo>
                    <a:pt x="472" y="283"/>
                  </a:lnTo>
                  <a:lnTo>
                    <a:pt x="472" y="283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81"/>
                  </a:lnTo>
                  <a:lnTo>
                    <a:pt x="472" y="278"/>
                  </a:lnTo>
                  <a:lnTo>
                    <a:pt x="472" y="278"/>
                  </a:lnTo>
                  <a:lnTo>
                    <a:pt x="472" y="278"/>
                  </a:lnTo>
                  <a:lnTo>
                    <a:pt x="472" y="278"/>
                  </a:lnTo>
                  <a:lnTo>
                    <a:pt x="472" y="278"/>
                  </a:lnTo>
                  <a:lnTo>
                    <a:pt x="472" y="278"/>
                  </a:lnTo>
                  <a:lnTo>
                    <a:pt x="472" y="276"/>
                  </a:lnTo>
                  <a:lnTo>
                    <a:pt x="472" y="276"/>
                  </a:lnTo>
                  <a:lnTo>
                    <a:pt x="472" y="276"/>
                  </a:lnTo>
                  <a:lnTo>
                    <a:pt x="472" y="276"/>
                  </a:lnTo>
                  <a:lnTo>
                    <a:pt x="472" y="276"/>
                  </a:lnTo>
                  <a:lnTo>
                    <a:pt x="472" y="274"/>
                  </a:lnTo>
                  <a:lnTo>
                    <a:pt x="472" y="274"/>
                  </a:lnTo>
                  <a:lnTo>
                    <a:pt x="472" y="274"/>
                  </a:lnTo>
                  <a:lnTo>
                    <a:pt x="472" y="274"/>
                  </a:lnTo>
                  <a:lnTo>
                    <a:pt x="474" y="274"/>
                  </a:lnTo>
                  <a:lnTo>
                    <a:pt x="474" y="274"/>
                  </a:lnTo>
                  <a:lnTo>
                    <a:pt x="474" y="274"/>
                  </a:lnTo>
                  <a:lnTo>
                    <a:pt x="474" y="274"/>
                  </a:lnTo>
                  <a:lnTo>
                    <a:pt x="474" y="274"/>
                  </a:lnTo>
                  <a:lnTo>
                    <a:pt x="474" y="272"/>
                  </a:lnTo>
                  <a:lnTo>
                    <a:pt x="474" y="272"/>
                  </a:lnTo>
                  <a:lnTo>
                    <a:pt x="474" y="269"/>
                  </a:lnTo>
                  <a:lnTo>
                    <a:pt x="474" y="269"/>
                  </a:lnTo>
                  <a:lnTo>
                    <a:pt x="477" y="272"/>
                  </a:lnTo>
                  <a:lnTo>
                    <a:pt x="477" y="272"/>
                  </a:lnTo>
                  <a:lnTo>
                    <a:pt x="479" y="272"/>
                  </a:lnTo>
                  <a:lnTo>
                    <a:pt x="479" y="269"/>
                  </a:lnTo>
                  <a:lnTo>
                    <a:pt x="479" y="269"/>
                  </a:lnTo>
                  <a:lnTo>
                    <a:pt x="479" y="269"/>
                  </a:lnTo>
                  <a:lnTo>
                    <a:pt x="479" y="269"/>
                  </a:lnTo>
                  <a:lnTo>
                    <a:pt x="479" y="267"/>
                  </a:lnTo>
                  <a:lnTo>
                    <a:pt x="479" y="267"/>
                  </a:lnTo>
                  <a:lnTo>
                    <a:pt x="479" y="267"/>
                  </a:lnTo>
                  <a:lnTo>
                    <a:pt x="481" y="269"/>
                  </a:lnTo>
                  <a:lnTo>
                    <a:pt x="481" y="269"/>
                  </a:lnTo>
                  <a:lnTo>
                    <a:pt x="481" y="269"/>
                  </a:lnTo>
                  <a:lnTo>
                    <a:pt x="481" y="269"/>
                  </a:lnTo>
                  <a:lnTo>
                    <a:pt x="481" y="269"/>
                  </a:lnTo>
                  <a:lnTo>
                    <a:pt x="481" y="269"/>
                  </a:lnTo>
                  <a:lnTo>
                    <a:pt x="481" y="269"/>
                  </a:lnTo>
                  <a:lnTo>
                    <a:pt x="481" y="267"/>
                  </a:lnTo>
                  <a:lnTo>
                    <a:pt x="481" y="267"/>
                  </a:lnTo>
                  <a:lnTo>
                    <a:pt x="481" y="267"/>
                  </a:lnTo>
                  <a:lnTo>
                    <a:pt x="483" y="267"/>
                  </a:lnTo>
                  <a:lnTo>
                    <a:pt x="483" y="267"/>
                  </a:lnTo>
                  <a:lnTo>
                    <a:pt x="483" y="267"/>
                  </a:lnTo>
                  <a:lnTo>
                    <a:pt x="483" y="267"/>
                  </a:lnTo>
                  <a:lnTo>
                    <a:pt x="483" y="269"/>
                  </a:lnTo>
                  <a:lnTo>
                    <a:pt x="483" y="269"/>
                  </a:lnTo>
                  <a:lnTo>
                    <a:pt x="486" y="269"/>
                  </a:lnTo>
                  <a:lnTo>
                    <a:pt x="486" y="269"/>
                  </a:lnTo>
                  <a:lnTo>
                    <a:pt x="486" y="269"/>
                  </a:lnTo>
                  <a:lnTo>
                    <a:pt x="486" y="267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5"/>
                  </a:lnTo>
                  <a:lnTo>
                    <a:pt x="486" y="263"/>
                  </a:lnTo>
                  <a:lnTo>
                    <a:pt x="488" y="265"/>
                  </a:lnTo>
                  <a:lnTo>
                    <a:pt x="488" y="265"/>
                  </a:lnTo>
                  <a:lnTo>
                    <a:pt x="488" y="263"/>
                  </a:lnTo>
                  <a:lnTo>
                    <a:pt x="488" y="263"/>
                  </a:lnTo>
                  <a:lnTo>
                    <a:pt x="488" y="263"/>
                  </a:lnTo>
                  <a:lnTo>
                    <a:pt x="488" y="260"/>
                  </a:lnTo>
                  <a:lnTo>
                    <a:pt x="488" y="260"/>
                  </a:lnTo>
                  <a:lnTo>
                    <a:pt x="488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0" y="260"/>
                  </a:lnTo>
                  <a:lnTo>
                    <a:pt x="490" y="258"/>
                  </a:lnTo>
                  <a:lnTo>
                    <a:pt x="490" y="258"/>
                  </a:lnTo>
                  <a:lnTo>
                    <a:pt x="490" y="258"/>
                  </a:lnTo>
                  <a:lnTo>
                    <a:pt x="490" y="254"/>
                  </a:lnTo>
                  <a:lnTo>
                    <a:pt x="490" y="254"/>
                  </a:lnTo>
                  <a:lnTo>
                    <a:pt x="490" y="254"/>
                  </a:lnTo>
                  <a:lnTo>
                    <a:pt x="490" y="254"/>
                  </a:lnTo>
                  <a:lnTo>
                    <a:pt x="490" y="251"/>
                  </a:lnTo>
                  <a:lnTo>
                    <a:pt x="490" y="251"/>
                  </a:lnTo>
                  <a:lnTo>
                    <a:pt x="490" y="251"/>
                  </a:lnTo>
                  <a:lnTo>
                    <a:pt x="490" y="251"/>
                  </a:lnTo>
                  <a:lnTo>
                    <a:pt x="490" y="251"/>
                  </a:lnTo>
                  <a:lnTo>
                    <a:pt x="492" y="251"/>
                  </a:lnTo>
                  <a:lnTo>
                    <a:pt x="492" y="254"/>
                  </a:lnTo>
                  <a:lnTo>
                    <a:pt x="492" y="254"/>
                  </a:lnTo>
                  <a:lnTo>
                    <a:pt x="492" y="254"/>
                  </a:lnTo>
                  <a:lnTo>
                    <a:pt x="492" y="254"/>
                  </a:lnTo>
                  <a:lnTo>
                    <a:pt x="494" y="251"/>
                  </a:lnTo>
                  <a:lnTo>
                    <a:pt x="494" y="251"/>
                  </a:lnTo>
                  <a:lnTo>
                    <a:pt x="494" y="251"/>
                  </a:lnTo>
                  <a:lnTo>
                    <a:pt x="494" y="251"/>
                  </a:lnTo>
                  <a:lnTo>
                    <a:pt x="494" y="251"/>
                  </a:lnTo>
                  <a:lnTo>
                    <a:pt x="494" y="251"/>
                  </a:lnTo>
                  <a:lnTo>
                    <a:pt x="494" y="251"/>
                  </a:lnTo>
                  <a:lnTo>
                    <a:pt x="494" y="249"/>
                  </a:lnTo>
                  <a:lnTo>
                    <a:pt x="494" y="249"/>
                  </a:lnTo>
                  <a:lnTo>
                    <a:pt x="494" y="249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9"/>
                  </a:lnTo>
                  <a:lnTo>
                    <a:pt x="492" y="247"/>
                  </a:lnTo>
                  <a:lnTo>
                    <a:pt x="490" y="247"/>
                  </a:lnTo>
                  <a:lnTo>
                    <a:pt x="490" y="247"/>
                  </a:lnTo>
                  <a:lnTo>
                    <a:pt x="490" y="247"/>
                  </a:lnTo>
                  <a:lnTo>
                    <a:pt x="490" y="247"/>
                  </a:lnTo>
                  <a:lnTo>
                    <a:pt x="488" y="247"/>
                  </a:lnTo>
                  <a:lnTo>
                    <a:pt x="488" y="247"/>
                  </a:lnTo>
                  <a:lnTo>
                    <a:pt x="488" y="247"/>
                  </a:lnTo>
                  <a:lnTo>
                    <a:pt x="488" y="247"/>
                  </a:lnTo>
                  <a:lnTo>
                    <a:pt x="488" y="247"/>
                  </a:lnTo>
                  <a:lnTo>
                    <a:pt x="488" y="245"/>
                  </a:lnTo>
                  <a:lnTo>
                    <a:pt x="488" y="245"/>
                  </a:lnTo>
                  <a:lnTo>
                    <a:pt x="488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6" y="245"/>
                  </a:lnTo>
                  <a:lnTo>
                    <a:pt x="483" y="245"/>
                  </a:lnTo>
                  <a:lnTo>
                    <a:pt x="483" y="245"/>
                  </a:lnTo>
                  <a:lnTo>
                    <a:pt x="483" y="245"/>
                  </a:lnTo>
                  <a:lnTo>
                    <a:pt x="483" y="245"/>
                  </a:lnTo>
                  <a:lnTo>
                    <a:pt x="481" y="245"/>
                  </a:lnTo>
                  <a:lnTo>
                    <a:pt x="479" y="245"/>
                  </a:lnTo>
                  <a:lnTo>
                    <a:pt x="479" y="245"/>
                  </a:lnTo>
                  <a:lnTo>
                    <a:pt x="479" y="245"/>
                  </a:lnTo>
                  <a:lnTo>
                    <a:pt x="479" y="245"/>
                  </a:lnTo>
                  <a:lnTo>
                    <a:pt x="479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7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4" y="245"/>
                  </a:lnTo>
                  <a:lnTo>
                    <a:pt x="472" y="245"/>
                  </a:lnTo>
                  <a:lnTo>
                    <a:pt x="472" y="245"/>
                  </a:lnTo>
                  <a:lnTo>
                    <a:pt x="472" y="245"/>
                  </a:lnTo>
                  <a:lnTo>
                    <a:pt x="470" y="245"/>
                  </a:lnTo>
                  <a:lnTo>
                    <a:pt x="468" y="245"/>
                  </a:lnTo>
                  <a:lnTo>
                    <a:pt x="468" y="245"/>
                  </a:lnTo>
                  <a:lnTo>
                    <a:pt x="468" y="245"/>
                  </a:lnTo>
                  <a:lnTo>
                    <a:pt x="468" y="245"/>
                  </a:lnTo>
                  <a:lnTo>
                    <a:pt x="465" y="245"/>
                  </a:lnTo>
                  <a:lnTo>
                    <a:pt x="463" y="245"/>
                  </a:lnTo>
                  <a:lnTo>
                    <a:pt x="461" y="245"/>
                  </a:lnTo>
                  <a:lnTo>
                    <a:pt x="459" y="245"/>
                  </a:lnTo>
                  <a:lnTo>
                    <a:pt x="459" y="245"/>
                  </a:lnTo>
                  <a:lnTo>
                    <a:pt x="459" y="245"/>
                  </a:lnTo>
                  <a:lnTo>
                    <a:pt x="459" y="245"/>
                  </a:lnTo>
                  <a:lnTo>
                    <a:pt x="459" y="245"/>
                  </a:lnTo>
                  <a:lnTo>
                    <a:pt x="459" y="245"/>
                  </a:lnTo>
                  <a:lnTo>
                    <a:pt x="459" y="245"/>
                  </a:lnTo>
                  <a:lnTo>
                    <a:pt x="456" y="245"/>
                  </a:lnTo>
                  <a:lnTo>
                    <a:pt x="456" y="245"/>
                  </a:lnTo>
                  <a:lnTo>
                    <a:pt x="456" y="245"/>
                  </a:lnTo>
                  <a:lnTo>
                    <a:pt x="456" y="245"/>
                  </a:lnTo>
                  <a:lnTo>
                    <a:pt x="456" y="245"/>
                  </a:lnTo>
                  <a:lnTo>
                    <a:pt x="456" y="245"/>
                  </a:lnTo>
                  <a:lnTo>
                    <a:pt x="456" y="245"/>
                  </a:lnTo>
                  <a:lnTo>
                    <a:pt x="454" y="245"/>
                  </a:lnTo>
                  <a:lnTo>
                    <a:pt x="452" y="245"/>
                  </a:lnTo>
                  <a:lnTo>
                    <a:pt x="452" y="245"/>
                  </a:lnTo>
                  <a:lnTo>
                    <a:pt x="450" y="245"/>
                  </a:lnTo>
                  <a:lnTo>
                    <a:pt x="447" y="245"/>
                  </a:lnTo>
                  <a:lnTo>
                    <a:pt x="445" y="245"/>
                  </a:lnTo>
                  <a:lnTo>
                    <a:pt x="441" y="242"/>
                  </a:lnTo>
                  <a:lnTo>
                    <a:pt x="438" y="242"/>
                  </a:lnTo>
                  <a:lnTo>
                    <a:pt x="438" y="242"/>
                  </a:lnTo>
                  <a:lnTo>
                    <a:pt x="438" y="242"/>
                  </a:lnTo>
                  <a:lnTo>
                    <a:pt x="438" y="242"/>
                  </a:lnTo>
                  <a:lnTo>
                    <a:pt x="438" y="240"/>
                  </a:lnTo>
                  <a:lnTo>
                    <a:pt x="438" y="240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36"/>
                  </a:lnTo>
                  <a:lnTo>
                    <a:pt x="436" y="233"/>
                  </a:lnTo>
                  <a:lnTo>
                    <a:pt x="436" y="233"/>
                  </a:lnTo>
                  <a:lnTo>
                    <a:pt x="436" y="231"/>
                  </a:lnTo>
                  <a:lnTo>
                    <a:pt x="436" y="229"/>
                  </a:lnTo>
                  <a:lnTo>
                    <a:pt x="436" y="229"/>
                  </a:lnTo>
                  <a:lnTo>
                    <a:pt x="436" y="227"/>
                  </a:lnTo>
                  <a:lnTo>
                    <a:pt x="436" y="227"/>
                  </a:lnTo>
                  <a:lnTo>
                    <a:pt x="436" y="227"/>
                  </a:lnTo>
                  <a:lnTo>
                    <a:pt x="436" y="227"/>
                  </a:lnTo>
                  <a:lnTo>
                    <a:pt x="434" y="227"/>
                  </a:lnTo>
                  <a:lnTo>
                    <a:pt x="436" y="227"/>
                  </a:lnTo>
                  <a:lnTo>
                    <a:pt x="436" y="227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6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34" y="222"/>
                  </a:lnTo>
                  <a:lnTo>
                    <a:pt x="434" y="222"/>
                  </a:lnTo>
                  <a:lnTo>
                    <a:pt x="434" y="222"/>
                  </a:lnTo>
                  <a:lnTo>
                    <a:pt x="434" y="222"/>
                  </a:lnTo>
                  <a:lnTo>
                    <a:pt x="432" y="222"/>
                  </a:lnTo>
                  <a:lnTo>
                    <a:pt x="432" y="222"/>
                  </a:lnTo>
                  <a:lnTo>
                    <a:pt x="432" y="222"/>
                  </a:lnTo>
                  <a:lnTo>
                    <a:pt x="432" y="222"/>
                  </a:lnTo>
                  <a:lnTo>
                    <a:pt x="432" y="222"/>
                  </a:lnTo>
                  <a:lnTo>
                    <a:pt x="432" y="222"/>
                  </a:lnTo>
                  <a:lnTo>
                    <a:pt x="432" y="222"/>
                  </a:lnTo>
                  <a:lnTo>
                    <a:pt x="432" y="220"/>
                  </a:lnTo>
                  <a:lnTo>
                    <a:pt x="432" y="220"/>
                  </a:lnTo>
                  <a:lnTo>
                    <a:pt x="432" y="220"/>
                  </a:lnTo>
                  <a:lnTo>
                    <a:pt x="432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0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29" y="222"/>
                  </a:lnTo>
                  <a:lnTo>
                    <a:pt x="432" y="222"/>
                  </a:lnTo>
                  <a:lnTo>
                    <a:pt x="432" y="224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7"/>
                  </a:lnTo>
                  <a:lnTo>
                    <a:pt x="429" y="227"/>
                  </a:lnTo>
                  <a:lnTo>
                    <a:pt x="429" y="227"/>
                  </a:lnTo>
                  <a:lnTo>
                    <a:pt x="429" y="227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9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7" y="224"/>
                  </a:lnTo>
                  <a:lnTo>
                    <a:pt x="425" y="224"/>
                  </a:lnTo>
                  <a:lnTo>
                    <a:pt x="425" y="224"/>
                  </a:lnTo>
                  <a:lnTo>
                    <a:pt x="425" y="224"/>
                  </a:lnTo>
                  <a:lnTo>
                    <a:pt x="425" y="224"/>
                  </a:lnTo>
                  <a:lnTo>
                    <a:pt x="425" y="224"/>
                  </a:lnTo>
                  <a:lnTo>
                    <a:pt x="425" y="224"/>
                  </a:lnTo>
                  <a:lnTo>
                    <a:pt x="423" y="224"/>
                  </a:lnTo>
                  <a:lnTo>
                    <a:pt x="423" y="222"/>
                  </a:lnTo>
                  <a:lnTo>
                    <a:pt x="423" y="222"/>
                  </a:lnTo>
                  <a:lnTo>
                    <a:pt x="423" y="222"/>
                  </a:lnTo>
                  <a:lnTo>
                    <a:pt x="423" y="222"/>
                  </a:lnTo>
                  <a:lnTo>
                    <a:pt x="420" y="222"/>
                  </a:lnTo>
                  <a:lnTo>
                    <a:pt x="420" y="222"/>
                  </a:lnTo>
                  <a:lnTo>
                    <a:pt x="420" y="220"/>
                  </a:lnTo>
                  <a:lnTo>
                    <a:pt x="420" y="220"/>
                  </a:lnTo>
                  <a:lnTo>
                    <a:pt x="420" y="220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5"/>
                  </a:lnTo>
                  <a:lnTo>
                    <a:pt x="418" y="215"/>
                  </a:lnTo>
                  <a:lnTo>
                    <a:pt x="418" y="215"/>
                  </a:lnTo>
                  <a:lnTo>
                    <a:pt x="418" y="215"/>
                  </a:lnTo>
                  <a:lnTo>
                    <a:pt x="418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6" y="215"/>
                  </a:lnTo>
                  <a:lnTo>
                    <a:pt x="414" y="215"/>
                  </a:lnTo>
                  <a:lnTo>
                    <a:pt x="414" y="215"/>
                  </a:lnTo>
                  <a:lnTo>
                    <a:pt x="414" y="215"/>
                  </a:lnTo>
                  <a:lnTo>
                    <a:pt x="416" y="218"/>
                  </a:lnTo>
                  <a:lnTo>
                    <a:pt x="416" y="218"/>
                  </a:lnTo>
                  <a:lnTo>
                    <a:pt x="416" y="218"/>
                  </a:lnTo>
                  <a:lnTo>
                    <a:pt x="416" y="218"/>
                  </a:lnTo>
                  <a:lnTo>
                    <a:pt x="416" y="218"/>
                  </a:lnTo>
                  <a:lnTo>
                    <a:pt x="416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220"/>
                  </a:lnTo>
                  <a:lnTo>
                    <a:pt x="418" y="220"/>
                  </a:lnTo>
                  <a:lnTo>
                    <a:pt x="416" y="220"/>
                  </a:lnTo>
                  <a:lnTo>
                    <a:pt x="416" y="218"/>
                  </a:lnTo>
                  <a:lnTo>
                    <a:pt x="414" y="218"/>
                  </a:lnTo>
                  <a:lnTo>
                    <a:pt x="414" y="218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20"/>
                  </a:lnTo>
                  <a:lnTo>
                    <a:pt x="414" y="218"/>
                  </a:lnTo>
                  <a:lnTo>
                    <a:pt x="414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09" y="218"/>
                  </a:lnTo>
                  <a:lnTo>
                    <a:pt x="409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8"/>
                  </a:lnTo>
                  <a:lnTo>
                    <a:pt x="411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5"/>
                  </a:lnTo>
                  <a:lnTo>
                    <a:pt x="409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3"/>
                  </a:lnTo>
                  <a:lnTo>
                    <a:pt x="407" y="213"/>
                  </a:lnTo>
                  <a:lnTo>
                    <a:pt x="407" y="213"/>
                  </a:lnTo>
                  <a:lnTo>
                    <a:pt x="407" y="213"/>
                  </a:lnTo>
                  <a:lnTo>
                    <a:pt x="407" y="213"/>
                  </a:lnTo>
                  <a:lnTo>
                    <a:pt x="407" y="213"/>
                  </a:lnTo>
                  <a:lnTo>
                    <a:pt x="405" y="213"/>
                  </a:lnTo>
                  <a:lnTo>
                    <a:pt x="405" y="213"/>
                  </a:lnTo>
                  <a:lnTo>
                    <a:pt x="405" y="213"/>
                  </a:lnTo>
                  <a:lnTo>
                    <a:pt x="405" y="211"/>
                  </a:lnTo>
                  <a:lnTo>
                    <a:pt x="405" y="211"/>
                  </a:lnTo>
                  <a:lnTo>
                    <a:pt x="405" y="211"/>
                  </a:lnTo>
                  <a:lnTo>
                    <a:pt x="402" y="211"/>
                  </a:lnTo>
                  <a:lnTo>
                    <a:pt x="402" y="211"/>
                  </a:lnTo>
                  <a:lnTo>
                    <a:pt x="402" y="211"/>
                  </a:lnTo>
                  <a:lnTo>
                    <a:pt x="402" y="211"/>
                  </a:lnTo>
                  <a:lnTo>
                    <a:pt x="402" y="211"/>
                  </a:lnTo>
                  <a:lnTo>
                    <a:pt x="402" y="211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2" y="213"/>
                  </a:lnTo>
                  <a:lnTo>
                    <a:pt x="405" y="213"/>
                  </a:lnTo>
                  <a:lnTo>
                    <a:pt x="405" y="213"/>
                  </a:lnTo>
                  <a:lnTo>
                    <a:pt x="405" y="213"/>
                  </a:lnTo>
                  <a:lnTo>
                    <a:pt x="407" y="215"/>
                  </a:lnTo>
                  <a:lnTo>
                    <a:pt x="407" y="215"/>
                  </a:lnTo>
                  <a:lnTo>
                    <a:pt x="407" y="215"/>
                  </a:lnTo>
                  <a:lnTo>
                    <a:pt x="407" y="215"/>
                  </a:lnTo>
                  <a:lnTo>
                    <a:pt x="407" y="215"/>
                  </a:lnTo>
                  <a:lnTo>
                    <a:pt x="407" y="215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5" y="215"/>
                  </a:lnTo>
                  <a:lnTo>
                    <a:pt x="405" y="218"/>
                  </a:lnTo>
                  <a:lnTo>
                    <a:pt x="405" y="218"/>
                  </a:lnTo>
                  <a:lnTo>
                    <a:pt x="405" y="218"/>
                  </a:lnTo>
                  <a:lnTo>
                    <a:pt x="405" y="218"/>
                  </a:lnTo>
                  <a:lnTo>
                    <a:pt x="405" y="218"/>
                  </a:lnTo>
                  <a:lnTo>
                    <a:pt x="405" y="220"/>
                  </a:lnTo>
                  <a:lnTo>
                    <a:pt x="405" y="220"/>
                  </a:lnTo>
                  <a:lnTo>
                    <a:pt x="402" y="220"/>
                  </a:lnTo>
                  <a:lnTo>
                    <a:pt x="402" y="220"/>
                  </a:lnTo>
                  <a:lnTo>
                    <a:pt x="402" y="220"/>
                  </a:lnTo>
                  <a:lnTo>
                    <a:pt x="402" y="220"/>
                  </a:lnTo>
                  <a:lnTo>
                    <a:pt x="402" y="220"/>
                  </a:lnTo>
                  <a:lnTo>
                    <a:pt x="402" y="220"/>
                  </a:lnTo>
                  <a:lnTo>
                    <a:pt x="402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2"/>
                  </a:lnTo>
                  <a:lnTo>
                    <a:pt x="400" y="224"/>
                  </a:lnTo>
                  <a:lnTo>
                    <a:pt x="400" y="224"/>
                  </a:lnTo>
                  <a:lnTo>
                    <a:pt x="400" y="224"/>
                  </a:lnTo>
                  <a:lnTo>
                    <a:pt x="400" y="224"/>
                  </a:lnTo>
                  <a:lnTo>
                    <a:pt x="400" y="224"/>
                  </a:lnTo>
                  <a:lnTo>
                    <a:pt x="400" y="224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0" y="227"/>
                  </a:lnTo>
                  <a:lnTo>
                    <a:pt x="400" y="229"/>
                  </a:lnTo>
                  <a:lnTo>
                    <a:pt x="400" y="229"/>
                  </a:lnTo>
                  <a:lnTo>
                    <a:pt x="400" y="229"/>
                  </a:lnTo>
                  <a:lnTo>
                    <a:pt x="400" y="229"/>
                  </a:lnTo>
                  <a:lnTo>
                    <a:pt x="400" y="229"/>
                  </a:lnTo>
                  <a:lnTo>
                    <a:pt x="400" y="229"/>
                  </a:lnTo>
                  <a:lnTo>
                    <a:pt x="402" y="229"/>
                  </a:lnTo>
                  <a:lnTo>
                    <a:pt x="402" y="231"/>
                  </a:lnTo>
                  <a:lnTo>
                    <a:pt x="402" y="231"/>
                  </a:lnTo>
                  <a:lnTo>
                    <a:pt x="402" y="231"/>
                  </a:lnTo>
                  <a:lnTo>
                    <a:pt x="402" y="229"/>
                  </a:lnTo>
                  <a:lnTo>
                    <a:pt x="405" y="229"/>
                  </a:lnTo>
                  <a:lnTo>
                    <a:pt x="405" y="229"/>
                  </a:lnTo>
                  <a:lnTo>
                    <a:pt x="407" y="231"/>
                  </a:lnTo>
                  <a:lnTo>
                    <a:pt x="407" y="233"/>
                  </a:lnTo>
                  <a:lnTo>
                    <a:pt x="409" y="233"/>
                  </a:lnTo>
                  <a:lnTo>
                    <a:pt x="409" y="236"/>
                  </a:lnTo>
                  <a:lnTo>
                    <a:pt x="409" y="236"/>
                  </a:lnTo>
                  <a:lnTo>
                    <a:pt x="409" y="236"/>
                  </a:lnTo>
                  <a:lnTo>
                    <a:pt x="409" y="236"/>
                  </a:lnTo>
                  <a:lnTo>
                    <a:pt x="411" y="236"/>
                  </a:lnTo>
                  <a:lnTo>
                    <a:pt x="411" y="236"/>
                  </a:lnTo>
                  <a:lnTo>
                    <a:pt x="411" y="236"/>
                  </a:lnTo>
                  <a:lnTo>
                    <a:pt x="411" y="238"/>
                  </a:lnTo>
                  <a:lnTo>
                    <a:pt x="411" y="238"/>
                  </a:lnTo>
                  <a:lnTo>
                    <a:pt x="414" y="238"/>
                  </a:lnTo>
                  <a:lnTo>
                    <a:pt x="414" y="238"/>
                  </a:lnTo>
                  <a:lnTo>
                    <a:pt x="414" y="238"/>
                  </a:lnTo>
                  <a:lnTo>
                    <a:pt x="414" y="238"/>
                  </a:lnTo>
                  <a:lnTo>
                    <a:pt x="414" y="238"/>
                  </a:lnTo>
                  <a:lnTo>
                    <a:pt x="414" y="238"/>
                  </a:lnTo>
                  <a:lnTo>
                    <a:pt x="414" y="238"/>
                  </a:lnTo>
                  <a:lnTo>
                    <a:pt x="416" y="238"/>
                  </a:lnTo>
                  <a:lnTo>
                    <a:pt x="416" y="238"/>
                  </a:lnTo>
                  <a:lnTo>
                    <a:pt x="416" y="238"/>
                  </a:lnTo>
                  <a:lnTo>
                    <a:pt x="416" y="238"/>
                  </a:lnTo>
                  <a:lnTo>
                    <a:pt x="416" y="236"/>
                  </a:lnTo>
                  <a:lnTo>
                    <a:pt x="416" y="236"/>
                  </a:lnTo>
                  <a:lnTo>
                    <a:pt x="416" y="238"/>
                  </a:lnTo>
                  <a:lnTo>
                    <a:pt x="416" y="238"/>
                  </a:lnTo>
                  <a:lnTo>
                    <a:pt x="416" y="238"/>
                  </a:lnTo>
                  <a:lnTo>
                    <a:pt x="418" y="238"/>
                  </a:lnTo>
                  <a:lnTo>
                    <a:pt x="418" y="238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18" y="240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2"/>
                  </a:lnTo>
                  <a:lnTo>
                    <a:pt x="420" y="245"/>
                  </a:lnTo>
                  <a:lnTo>
                    <a:pt x="420" y="245"/>
                  </a:lnTo>
                  <a:lnTo>
                    <a:pt x="420" y="245"/>
                  </a:lnTo>
                  <a:lnTo>
                    <a:pt x="420" y="245"/>
                  </a:lnTo>
                  <a:lnTo>
                    <a:pt x="420" y="245"/>
                  </a:lnTo>
                  <a:lnTo>
                    <a:pt x="420" y="245"/>
                  </a:lnTo>
                  <a:lnTo>
                    <a:pt x="418" y="245"/>
                  </a:lnTo>
                  <a:lnTo>
                    <a:pt x="418" y="245"/>
                  </a:lnTo>
                  <a:lnTo>
                    <a:pt x="418" y="245"/>
                  </a:lnTo>
                  <a:lnTo>
                    <a:pt x="418" y="245"/>
                  </a:lnTo>
                  <a:lnTo>
                    <a:pt x="418" y="245"/>
                  </a:lnTo>
                  <a:lnTo>
                    <a:pt x="418" y="245"/>
                  </a:lnTo>
                  <a:lnTo>
                    <a:pt x="418" y="245"/>
                  </a:lnTo>
                  <a:lnTo>
                    <a:pt x="416" y="245"/>
                  </a:lnTo>
                  <a:lnTo>
                    <a:pt x="416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4" y="245"/>
                  </a:lnTo>
                  <a:lnTo>
                    <a:pt x="411" y="245"/>
                  </a:lnTo>
                  <a:lnTo>
                    <a:pt x="411" y="245"/>
                  </a:lnTo>
                  <a:lnTo>
                    <a:pt x="411" y="245"/>
                  </a:lnTo>
                  <a:lnTo>
                    <a:pt x="411" y="245"/>
                  </a:lnTo>
                  <a:lnTo>
                    <a:pt x="411" y="245"/>
                  </a:lnTo>
                  <a:lnTo>
                    <a:pt x="411" y="247"/>
                  </a:lnTo>
                  <a:lnTo>
                    <a:pt x="411" y="247"/>
                  </a:lnTo>
                  <a:lnTo>
                    <a:pt x="411" y="249"/>
                  </a:lnTo>
                  <a:lnTo>
                    <a:pt x="411" y="249"/>
                  </a:lnTo>
                  <a:lnTo>
                    <a:pt x="411" y="249"/>
                  </a:lnTo>
                  <a:lnTo>
                    <a:pt x="409" y="249"/>
                  </a:lnTo>
                  <a:lnTo>
                    <a:pt x="409" y="251"/>
                  </a:lnTo>
                  <a:lnTo>
                    <a:pt x="409" y="251"/>
                  </a:lnTo>
                  <a:lnTo>
                    <a:pt x="409" y="251"/>
                  </a:lnTo>
                  <a:lnTo>
                    <a:pt x="409" y="251"/>
                  </a:lnTo>
                  <a:lnTo>
                    <a:pt x="407" y="251"/>
                  </a:lnTo>
                  <a:lnTo>
                    <a:pt x="407" y="251"/>
                  </a:lnTo>
                  <a:lnTo>
                    <a:pt x="407" y="251"/>
                  </a:lnTo>
                  <a:lnTo>
                    <a:pt x="407" y="251"/>
                  </a:lnTo>
                  <a:lnTo>
                    <a:pt x="407" y="249"/>
                  </a:lnTo>
                  <a:lnTo>
                    <a:pt x="407" y="249"/>
                  </a:lnTo>
                  <a:lnTo>
                    <a:pt x="407" y="249"/>
                  </a:lnTo>
                  <a:lnTo>
                    <a:pt x="407" y="249"/>
                  </a:lnTo>
                  <a:lnTo>
                    <a:pt x="405" y="251"/>
                  </a:lnTo>
                  <a:lnTo>
                    <a:pt x="405" y="251"/>
                  </a:lnTo>
                  <a:lnTo>
                    <a:pt x="405" y="251"/>
                  </a:lnTo>
                  <a:lnTo>
                    <a:pt x="405" y="251"/>
                  </a:lnTo>
                  <a:lnTo>
                    <a:pt x="405" y="251"/>
                  </a:lnTo>
                  <a:lnTo>
                    <a:pt x="407" y="251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4"/>
                  </a:lnTo>
                  <a:lnTo>
                    <a:pt x="405" y="256"/>
                  </a:lnTo>
                  <a:lnTo>
                    <a:pt x="405" y="256"/>
                  </a:lnTo>
                  <a:lnTo>
                    <a:pt x="405" y="256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05" y="258"/>
                  </a:lnTo>
                  <a:lnTo>
                    <a:pt x="407" y="260"/>
                  </a:lnTo>
                  <a:lnTo>
                    <a:pt x="407" y="260"/>
                  </a:lnTo>
                  <a:lnTo>
                    <a:pt x="407" y="260"/>
                  </a:lnTo>
                  <a:lnTo>
                    <a:pt x="407" y="260"/>
                  </a:lnTo>
                  <a:lnTo>
                    <a:pt x="407" y="260"/>
                  </a:lnTo>
                  <a:lnTo>
                    <a:pt x="407" y="260"/>
                  </a:lnTo>
                  <a:lnTo>
                    <a:pt x="407" y="260"/>
                  </a:lnTo>
                  <a:lnTo>
                    <a:pt x="414" y="263"/>
                  </a:lnTo>
                  <a:lnTo>
                    <a:pt x="414" y="265"/>
                  </a:lnTo>
                  <a:lnTo>
                    <a:pt x="416" y="265"/>
                  </a:lnTo>
                  <a:lnTo>
                    <a:pt x="416" y="265"/>
                  </a:lnTo>
                  <a:lnTo>
                    <a:pt x="418" y="265"/>
                  </a:lnTo>
                  <a:lnTo>
                    <a:pt x="418" y="265"/>
                  </a:lnTo>
                  <a:lnTo>
                    <a:pt x="418" y="265"/>
                  </a:lnTo>
                  <a:lnTo>
                    <a:pt x="418" y="265"/>
                  </a:lnTo>
                  <a:lnTo>
                    <a:pt x="418" y="265"/>
                  </a:lnTo>
                  <a:lnTo>
                    <a:pt x="420" y="265"/>
                  </a:lnTo>
                  <a:lnTo>
                    <a:pt x="420" y="265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7"/>
                  </a:lnTo>
                  <a:lnTo>
                    <a:pt x="420" y="269"/>
                  </a:lnTo>
                  <a:lnTo>
                    <a:pt x="420" y="269"/>
                  </a:lnTo>
                  <a:lnTo>
                    <a:pt x="420" y="269"/>
                  </a:lnTo>
                  <a:lnTo>
                    <a:pt x="420" y="269"/>
                  </a:lnTo>
                  <a:lnTo>
                    <a:pt x="420" y="269"/>
                  </a:lnTo>
                  <a:lnTo>
                    <a:pt x="420" y="269"/>
                  </a:lnTo>
                  <a:lnTo>
                    <a:pt x="420" y="269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2"/>
                  </a:lnTo>
                  <a:lnTo>
                    <a:pt x="420" y="274"/>
                  </a:lnTo>
                  <a:lnTo>
                    <a:pt x="420" y="274"/>
                  </a:lnTo>
                  <a:lnTo>
                    <a:pt x="420" y="274"/>
                  </a:lnTo>
                  <a:lnTo>
                    <a:pt x="420" y="274"/>
                  </a:lnTo>
                  <a:lnTo>
                    <a:pt x="420" y="274"/>
                  </a:lnTo>
                  <a:lnTo>
                    <a:pt x="420" y="276"/>
                  </a:lnTo>
                  <a:lnTo>
                    <a:pt x="420" y="276"/>
                  </a:lnTo>
                  <a:lnTo>
                    <a:pt x="420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6"/>
                  </a:lnTo>
                  <a:lnTo>
                    <a:pt x="418" y="278"/>
                  </a:lnTo>
                  <a:lnTo>
                    <a:pt x="418" y="278"/>
                  </a:lnTo>
                  <a:lnTo>
                    <a:pt x="418" y="278"/>
                  </a:lnTo>
                  <a:lnTo>
                    <a:pt x="418" y="278"/>
                  </a:lnTo>
                  <a:lnTo>
                    <a:pt x="418" y="278"/>
                  </a:lnTo>
                  <a:lnTo>
                    <a:pt x="418" y="281"/>
                  </a:lnTo>
                  <a:lnTo>
                    <a:pt x="418" y="281"/>
                  </a:lnTo>
                  <a:lnTo>
                    <a:pt x="418" y="281"/>
                  </a:lnTo>
                  <a:lnTo>
                    <a:pt x="418" y="281"/>
                  </a:lnTo>
                  <a:lnTo>
                    <a:pt x="418" y="281"/>
                  </a:lnTo>
                  <a:lnTo>
                    <a:pt x="418" y="281"/>
                  </a:lnTo>
                  <a:lnTo>
                    <a:pt x="418" y="283"/>
                  </a:lnTo>
                  <a:lnTo>
                    <a:pt x="418" y="283"/>
                  </a:lnTo>
                  <a:lnTo>
                    <a:pt x="418" y="283"/>
                  </a:lnTo>
                  <a:lnTo>
                    <a:pt x="420" y="283"/>
                  </a:lnTo>
                  <a:lnTo>
                    <a:pt x="420" y="283"/>
                  </a:lnTo>
                  <a:lnTo>
                    <a:pt x="420" y="283"/>
                  </a:lnTo>
                  <a:lnTo>
                    <a:pt x="420" y="283"/>
                  </a:lnTo>
                  <a:lnTo>
                    <a:pt x="420" y="283"/>
                  </a:lnTo>
                  <a:lnTo>
                    <a:pt x="420" y="283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5"/>
                  </a:lnTo>
                  <a:lnTo>
                    <a:pt x="423" y="287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25" y="292"/>
                  </a:lnTo>
                  <a:lnTo>
                    <a:pt x="425" y="292"/>
                  </a:lnTo>
                  <a:lnTo>
                    <a:pt x="425" y="292"/>
                  </a:lnTo>
                  <a:lnTo>
                    <a:pt x="425" y="292"/>
                  </a:lnTo>
                  <a:lnTo>
                    <a:pt x="425" y="290"/>
                  </a:lnTo>
                  <a:lnTo>
                    <a:pt x="425" y="290"/>
                  </a:lnTo>
                  <a:lnTo>
                    <a:pt x="425" y="290"/>
                  </a:lnTo>
                  <a:lnTo>
                    <a:pt x="427" y="292"/>
                  </a:lnTo>
                  <a:lnTo>
                    <a:pt x="427" y="292"/>
                  </a:lnTo>
                  <a:lnTo>
                    <a:pt x="427" y="292"/>
                  </a:lnTo>
                  <a:lnTo>
                    <a:pt x="429" y="292"/>
                  </a:lnTo>
                  <a:lnTo>
                    <a:pt x="429" y="292"/>
                  </a:lnTo>
                  <a:lnTo>
                    <a:pt x="429" y="292"/>
                  </a:lnTo>
                  <a:lnTo>
                    <a:pt x="429" y="292"/>
                  </a:lnTo>
                  <a:lnTo>
                    <a:pt x="429" y="292"/>
                  </a:lnTo>
                  <a:lnTo>
                    <a:pt x="427" y="292"/>
                  </a:lnTo>
                  <a:lnTo>
                    <a:pt x="427" y="294"/>
                  </a:lnTo>
                  <a:lnTo>
                    <a:pt x="427" y="294"/>
                  </a:lnTo>
                  <a:lnTo>
                    <a:pt x="427" y="296"/>
                  </a:lnTo>
                  <a:lnTo>
                    <a:pt x="427" y="296"/>
                  </a:lnTo>
                  <a:lnTo>
                    <a:pt x="427" y="296"/>
                  </a:lnTo>
                  <a:lnTo>
                    <a:pt x="427" y="296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7" y="299"/>
                  </a:lnTo>
                  <a:lnTo>
                    <a:pt x="429" y="299"/>
                  </a:lnTo>
                  <a:lnTo>
                    <a:pt x="429" y="299"/>
                  </a:lnTo>
                  <a:lnTo>
                    <a:pt x="429" y="301"/>
                  </a:lnTo>
                  <a:lnTo>
                    <a:pt x="429" y="301"/>
                  </a:lnTo>
                  <a:lnTo>
                    <a:pt x="429" y="301"/>
                  </a:lnTo>
                  <a:lnTo>
                    <a:pt x="429" y="301"/>
                  </a:lnTo>
                  <a:lnTo>
                    <a:pt x="429" y="301"/>
                  </a:lnTo>
                  <a:lnTo>
                    <a:pt x="429" y="301"/>
                  </a:lnTo>
                  <a:lnTo>
                    <a:pt x="429" y="303"/>
                  </a:lnTo>
                  <a:lnTo>
                    <a:pt x="429" y="303"/>
                  </a:lnTo>
                  <a:lnTo>
                    <a:pt x="429" y="303"/>
                  </a:lnTo>
                  <a:lnTo>
                    <a:pt x="429" y="303"/>
                  </a:lnTo>
                  <a:lnTo>
                    <a:pt x="429" y="303"/>
                  </a:lnTo>
                  <a:lnTo>
                    <a:pt x="429" y="305"/>
                  </a:lnTo>
                  <a:lnTo>
                    <a:pt x="429" y="305"/>
                  </a:lnTo>
                  <a:lnTo>
                    <a:pt x="429" y="305"/>
                  </a:lnTo>
                  <a:lnTo>
                    <a:pt x="432" y="305"/>
                  </a:lnTo>
                  <a:lnTo>
                    <a:pt x="429" y="308"/>
                  </a:lnTo>
                  <a:lnTo>
                    <a:pt x="429" y="308"/>
                  </a:lnTo>
                  <a:lnTo>
                    <a:pt x="432" y="308"/>
                  </a:lnTo>
                  <a:lnTo>
                    <a:pt x="432" y="308"/>
                  </a:lnTo>
                  <a:lnTo>
                    <a:pt x="432" y="308"/>
                  </a:lnTo>
                  <a:lnTo>
                    <a:pt x="432" y="310"/>
                  </a:lnTo>
                  <a:lnTo>
                    <a:pt x="432" y="310"/>
                  </a:lnTo>
                  <a:lnTo>
                    <a:pt x="432" y="310"/>
                  </a:lnTo>
                  <a:lnTo>
                    <a:pt x="432" y="310"/>
                  </a:lnTo>
                  <a:lnTo>
                    <a:pt x="432" y="310"/>
                  </a:lnTo>
                  <a:lnTo>
                    <a:pt x="432" y="310"/>
                  </a:lnTo>
                  <a:lnTo>
                    <a:pt x="432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2" y="314"/>
                  </a:lnTo>
                  <a:lnTo>
                    <a:pt x="434" y="314"/>
                  </a:lnTo>
                  <a:lnTo>
                    <a:pt x="434" y="314"/>
                  </a:lnTo>
                  <a:lnTo>
                    <a:pt x="434" y="314"/>
                  </a:lnTo>
                  <a:lnTo>
                    <a:pt x="434" y="317"/>
                  </a:lnTo>
                  <a:lnTo>
                    <a:pt x="434" y="317"/>
                  </a:lnTo>
                  <a:lnTo>
                    <a:pt x="434" y="317"/>
                  </a:lnTo>
                  <a:lnTo>
                    <a:pt x="434" y="317"/>
                  </a:lnTo>
                  <a:lnTo>
                    <a:pt x="434" y="317"/>
                  </a:lnTo>
                  <a:lnTo>
                    <a:pt x="434" y="317"/>
                  </a:lnTo>
                  <a:lnTo>
                    <a:pt x="434" y="317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4" y="323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4" y="321"/>
                  </a:lnTo>
                  <a:lnTo>
                    <a:pt x="434" y="323"/>
                  </a:lnTo>
                  <a:lnTo>
                    <a:pt x="434" y="323"/>
                  </a:lnTo>
                  <a:lnTo>
                    <a:pt x="434" y="323"/>
                  </a:lnTo>
                  <a:lnTo>
                    <a:pt x="434" y="326"/>
                  </a:lnTo>
                  <a:lnTo>
                    <a:pt x="436" y="326"/>
                  </a:lnTo>
                  <a:lnTo>
                    <a:pt x="436" y="326"/>
                  </a:lnTo>
                  <a:lnTo>
                    <a:pt x="436" y="328"/>
                  </a:lnTo>
                  <a:lnTo>
                    <a:pt x="436" y="328"/>
                  </a:lnTo>
                  <a:lnTo>
                    <a:pt x="436" y="328"/>
                  </a:lnTo>
                  <a:lnTo>
                    <a:pt x="436" y="328"/>
                  </a:lnTo>
                  <a:lnTo>
                    <a:pt x="436" y="330"/>
                  </a:lnTo>
                  <a:lnTo>
                    <a:pt x="436" y="330"/>
                  </a:lnTo>
                  <a:lnTo>
                    <a:pt x="436" y="330"/>
                  </a:lnTo>
                  <a:lnTo>
                    <a:pt x="436" y="330"/>
                  </a:lnTo>
                  <a:lnTo>
                    <a:pt x="436" y="330"/>
                  </a:lnTo>
                  <a:lnTo>
                    <a:pt x="436" y="328"/>
                  </a:lnTo>
                  <a:lnTo>
                    <a:pt x="436" y="328"/>
                  </a:lnTo>
                  <a:lnTo>
                    <a:pt x="436" y="330"/>
                  </a:lnTo>
                  <a:lnTo>
                    <a:pt x="436" y="330"/>
                  </a:lnTo>
                  <a:lnTo>
                    <a:pt x="436" y="330"/>
                  </a:lnTo>
                  <a:lnTo>
                    <a:pt x="434" y="330"/>
                  </a:lnTo>
                  <a:lnTo>
                    <a:pt x="434" y="330"/>
                  </a:lnTo>
                  <a:lnTo>
                    <a:pt x="434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6"/>
                  </a:lnTo>
                  <a:lnTo>
                    <a:pt x="432" y="326"/>
                  </a:lnTo>
                  <a:lnTo>
                    <a:pt x="432" y="326"/>
                  </a:lnTo>
                  <a:lnTo>
                    <a:pt x="432" y="326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29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32" y="328"/>
                  </a:lnTo>
                  <a:lnTo>
                    <a:pt x="429" y="328"/>
                  </a:lnTo>
                  <a:lnTo>
                    <a:pt x="429" y="328"/>
                  </a:lnTo>
                  <a:lnTo>
                    <a:pt x="429" y="328"/>
                  </a:lnTo>
                  <a:lnTo>
                    <a:pt x="429" y="328"/>
                  </a:lnTo>
                  <a:lnTo>
                    <a:pt x="429" y="328"/>
                  </a:lnTo>
                  <a:lnTo>
                    <a:pt x="429" y="328"/>
                  </a:lnTo>
                  <a:lnTo>
                    <a:pt x="429" y="330"/>
                  </a:lnTo>
                  <a:lnTo>
                    <a:pt x="429" y="330"/>
                  </a:lnTo>
                  <a:lnTo>
                    <a:pt x="432" y="330"/>
                  </a:lnTo>
                  <a:lnTo>
                    <a:pt x="432" y="330"/>
                  </a:lnTo>
                  <a:lnTo>
                    <a:pt x="429" y="330"/>
                  </a:lnTo>
                  <a:lnTo>
                    <a:pt x="429" y="330"/>
                  </a:lnTo>
                  <a:lnTo>
                    <a:pt x="429" y="330"/>
                  </a:lnTo>
                  <a:lnTo>
                    <a:pt x="429" y="330"/>
                  </a:lnTo>
                  <a:lnTo>
                    <a:pt x="427" y="328"/>
                  </a:lnTo>
                  <a:lnTo>
                    <a:pt x="427" y="328"/>
                  </a:lnTo>
                  <a:lnTo>
                    <a:pt x="427" y="326"/>
                  </a:lnTo>
                  <a:lnTo>
                    <a:pt x="427" y="323"/>
                  </a:lnTo>
                  <a:lnTo>
                    <a:pt x="427" y="323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9" y="321"/>
                  </a:lnTo>
                  <a:lnTo>
                    <a:pt x="429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7" y="321"/>
                  </a:lnTo>
                  <a:lnTo>
                    <a:pt x="427" y="319"/>
                  </a:lnTo>
                  <a:lnTo>
                    <a:pt x="427" y="319"/>
                  </a:lnTo>
                  <a:lnTo>
                    <a:pt x="425" y="319"/>
                  </a:lnTo>
                  <a:lnTo>
                    <a:pt x="425" y="319"/>
                  </a:lnTo>
                  <a:lnTo>
                    <a:pt x="425" y="319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4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9"/>
                  </a:lnTo>
                  <a:lnTo>
                    <a:pt x="425" y="319"/>
                  </a:lnTo>
                  <a:lnTo>
                    <a:pt x="425" y="319"/>
                  </a:lnTo>
                  <a:lnTo>
                    <a:pt x="425" y="319"/>
                  </a:lnTo>
                  <a:lnTo>
                    <a:pt x="425" y="319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5" y="323"/>
                  </a:lnTo>
                  <a:lnTo>
                    <a:pt x="425" y="323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7" y="326"/>
                  </a:lnTo>
                  <a:lnTo>
                    <a:pt x="427" y="326"/>
                  </a:lnTo>
                  <a:lnTo>
                    <a:pt x="427" y="326"/>
                  </a:lnTo>
                  <a:lnTo>
                    <a:pt x="427" y="328"/>
                  </a:lnTo>
                  <a:lnTo>
                    <a:pt x="427" y="328"/>
                  </a:lnTo>
                  <a:lnTo>
                    <a:pt x="427" y="328"/>
                  </a:lnTo>
                  <a:lnTo>
                    <a:pt x="425" y="328"/>
                  </a:lnTo>
                  <a:lnTo>
                    <a:pt x="427" y="328"/>
                  </a:lnTo>
                  <a:lnTo>
                    <a:pt x="427" y="330"/>
                  </a:lnTo>
                  <a:lnTo>
                    <a:pt x="425" y="330"/>
                  </a:lnTo>
                  <a:lnTo>
                    <a:pt x="427" y="330"/>
                  </a:lnTo>
                  <a:lnTo>
                    <a:pt x="427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2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30"/>
                  </a:lnTo>
                  <a:lnTo>
                    <a:pt x="425" y="328"/>
                  </a:lnTo>
                  <a:lnTo>
                    <a:pt x="425" y="328"/>
                  </a:lnTo>
                  <a:lnTo>
                    <a:pt x="425" y="328"/>
                  </a:lnTo>
                  <a:lnTo>
                    <a:pt x="425" y="328"/>
                  </a:lnTo>
                  <a:lnTo>
                    <a:pt x="425" y="328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5" y="326"/>
                  </a:lnTo>
                  <a:lnTo>
                    <a:pt x="425" y="323"/>
                  </a:lnTo>
                  <a:lnTo>
                    <a:pt x="425" y="323"/>
                  </a:lnTo>
                  <a:lnTo>
                    <a:pt x="423" y="323"/>
                  </a:lnTo>
                  <a:lnTo>
                    <a:pt x="423" y="321"/>
                  </a:lnTo>
                  <a:lnTo>
                    <a:pt x="423" y="321"/>
                  </a:lnTo>
                  <a:lnTo>
                    <a:pt x="423" y="321"/>
                  </a:lnTo>
                  <a:lnTo>
                    <a:pt x="423" y="321"/>
                  </a:lnTo>
                  <a:lnTo>
                    <a:pt x="423" y="321"/>
                  </a:lnTo>
                  <a:lnTo>
                    <a:pt x="423" y="321"/>
                  </a:lnTo>
                  <a:lnTo>
                    <a:pt x="423" y="323"/>
                  </a:lnTo>
                  <a:lnTo>
                    <a:pt x="423" y="323"/>
                  </a:lnTo>
                  <a:lnTo>
                    <a:pt x="423" y="323"/>
                  </a:lnTo>
                  <a:lnTo>
                    <a:pt x="423" y="323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6"/>
                  </a:lnTo>
                  <a:lnTo>
                    <a:pt x="423" y="328"/>
                  </a:lnTo>
                  <a:lnTo>
                    <a:pt x="423" y="328"/>
                  </a:lnTo>
                  <a:lnTo>
                    <a:pt x="423" y="328"/>
                  </a:lnTo>
                  <a:lnTo>
                    <a:pt x="423" y="328"/>
                  </a:lnTo>
                  <a:lnTo>
                    <a:pt x="423" y="330"/>
                  </a:lnTo>
                  <a:lnTo>
                    <a:pt x="423" y="330"/>
                  </a:lnTo>
                  <a:lnTo>
                    <a:pt x="423" y="330"/>
                  </a:lnTo>
                  <a:lnTo>
                    <a:pt x="423" y="330"/>
                  </a:lnTo>
                  <a:lnTo>
                    <a:pt x="423" y="330"/>
                  </a:lnTo>
                  <a:lnTo>
                    <a:pt x="423" y="328"/>
                  </a:lnTo>
                  <a:lnTo>
                    <a:pt x="423" y="328"/>
                  </a:lnTo>
                  <a:lnTo>
                    <a:pt x="423" y="328"/>
                  </a:lnTo>
                  <a:lnTo>
                    <a:pt x="423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28"/>
                  </a:lnTo>
                  <a:lnTo>
                    <a:pt x="420" y="326"/>
                  </a:lnTo>
                  <a:lnTo>
                    <a:pt x="420" y="326"/>
                  </a:lnTo>
                  <a:lnTo>
                    <a:pt x="420" y="326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28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20" y="330"/>
                  </a:lnTo>
                  <a:lnTo>
                    <a:pt x="418" y="330"/>
                  </a:lnTo>
                  <a:lnTo>
                    <a:pt x="418" y="330"/>
                  </a:lnTo>
                  <a:lnTo>
                    <a:pt x="418" y="330"/>
                  </a:lnTo>
                  <a:lnTo>
                    <a:pt x="418" y="328"/>
                  </a:lnTo>
                  <a:lnTo>
                    <a:pt x="418" y="328"/>
                  </a:lnTo>
                  <a:lnTo>
                    <a:pt x="418" y="328"/>
                  </a:lnTo>
                  <a:lnTo>
                    <a:pt x="418" y="328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8" y="319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1" y="314"/>
                  </a:lnTo>
                  <a:lnTo>
                    <a:pt x="411" y="314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11" y="312"/>
                  </a:lnTo>
                  <a:lnTo>
                    <a:pt x="411" y="312"/>
                  </a:lnTo>
                  <a:lnTo>
                    <a:pt x="411" y="312"/>
                  </a:lnTo>
                  <a:lnTo>
                    <a:pt x="411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09" y="310"/>
                  </a:lnTo>
                  <a:lnTo>
                    <a:pt x="411" y="312"/>
                  </a:lnTo>
                  <a:lnTo>
                    <a:pt x="411" y="314"/>
                  </a:lnTo>
                  <a:lnTo>
                    <a:pt x="411" y="314"/>
                  </a:lnTo>
                  <a:lnTo>
                    <a:pt x="411" y="314"/>
                  </a:lnTo>
                  <a:lnTo>
                    <a:pt x="411" y="314"/>
                  </a:lnTo>
                  <a:lnTo>
                    <a:pt x="411" y="314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4" y="314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4" y="319"/>
                  </a:lnTo>
                  <a:lnTo>
                    <a:pt x="414" y="319"/>
                  </a:lnTo>
                  <a:lnTo>
                    <a:pt x="414" y="319"/>
                  </a:lnTo>
                  <a:lnTo>
                    <a:pt x="414" y="319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4" y="321"/>
                  </a:lnTo>
                  <a:lnTo>
                    <a:pt x="414" y="323"/>
                  </a:lnTo>
                  <a:lnTo>
                    <a:pt x="414" y="323"/>
                  </a:lnTo>
                  <a:lnTo>
                    <a:pt x="414" y="323"/>
                  </a:lnTo>
                  <a:lnTo>
                    <a:pt x="411" y="323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09" y="328"/>
                  </a:lnTo>
                  <a:lnTo>
                    <a:pt x="407" y="328"/>
                  </a:lnTo>
                  <a:lnTo>
                    <a:pt x="407" y="328"/>
                  </a:lnTo>
                  <a:lnTo>
                    <a:pt x="407" y="328"/>
                  </a:lnTo>
                  <a:lnTo>
                    <a:pt x="407" y="328"/>
                  </a:lnTo>
                  <a:lnTo>
                    <a:pt x="402" y="330"/>
                  </a:lnTo>
                  <a:lnTo>
                    <a:pt x="402" y="330"/>
                  </a:lnTo>
                  <a:lnTo>
                    <a:pt x="400" y="330"/>
                  </a:lnTo>
                  <a:lnTo>
                    <a:pt x="400" y="330"/>
                  </a:lnTo>
                  <a:lnTo>
                    <a:pt x="398" y="330"/>
                  </a:lnTo>
                  <a:lnTo>
                    <a:pt x="398" y="330"/>
                  </a:lnTo>
                  <a:lnTo>
                    <a:pt x="398" y="330"/>
                  </a:lnTo>
                  <a:lnTo>
                    <a:pt x="398" y="330"/>
                  </a:lnTo>
                  <a:lnTo>
                    <a:pt x="398" y="330"/>
                  </a:lnTo>
                  <a:lnTo>
                    <a:pt x="396" y="332"/>
                  </a:lnTo>
                  <a:lnTo>
                    <a:pt x="396" y="332"/>
                  </a:lnTo>
                  <a:lnTo>
                    <a:pt x="393" y="337"/>
                  </a:lnTo>
                  <a:lnTo>
                    <a:pt x="391" y="337"/>
                  </a:lnTo>
                  <a:lnTo>
                    <a:pt x="391" y="339"/>
                  </a:lnTo>
                  <a:lnTo>
                    <a:pt x="391" y="341"/>
                  </a:lnTo>
                  <a:lnTo>
                    <a:pt x="396" y="348"/>
                  </a:lnTo>
                  <a:lnTo>
                    <a:pt x="396" y="348"/>
                  </a:lnTo>
                  <a:lnTo>
                    <a:pt x="396" y="348"/>
                  </a:lnTo>
                  <a:lnTo>
                    <a:pt x="396" y="348"/>
                  </a:lnTo>
                  <a:lnTo>
                    <a:pt x="393" y="348"/>
                  </a:lnTo>
                  <a:lnTo>
                    <a:pt x="393" y="348"/>
                  </a:lnTo>
                  <a:lnTo>
                    <a:pt x="393" y="350"/>
                  </a:lnTo>
                  <a:lnTo>
                    <a:pt x="393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0"/>
                  </a:lnTo>
                  <a:lnTo>
                    <a:pt x="396" y="353"/>
                  </a:lnTo>
                  <a:lnTo>
                    <a:pt x="398" y="350"/>
                  </a:lnTo>
                  <a:lnTo>
                    <a:pt x="398" y="350"/>
                  </a:lnTo>
                  <a:lnTo>
                    <a:pt x="398" y="350"/>
                  </a:lnTo>
                  <a:lnTo>
                    <a:pt x="398" y="350"/>
                  </a:lnTo>
                  <a:lnTo>
                    <a:pt x="396" y="353"/>
                  </a:lnTo>
                  <a:lnTo>
                    <a:pt x="396" y="353"/>
                  </a:lnTo>
                  <a:lnTo>
                    <a:pt x="396" y="353"/>
                  </a:lnTo>
                  <a:lnTo>
                    <a:pt x="393" y="355"/>
                  </a:lnTo>
                  <a:lnTo>
                    <a:pt x="391" y="357"/>
                  </a:lnTo>
                  <a:lnTo>
                    <a:pt x="391" y="357"/>
                  </a:lnTo>
                  <a:lnTo>
                    <a:pt x="391" y="357"/>
                  </a:lnTo>
                  <a:lnTo>
                    <a:pt x="391" y="359"/>
                  </a:lnTo>
                  <a:lnTo>
                    <a:pt x="391" y="359"/>
                  </a:lnTo>
                  <a:lnTo>
                    <a:pt x="393" y="359"/>
                  </a:lnTo>
                  <a:lnTo>
                    <a:pt x="393" y="357"/>
                  </a:lnTo>
                  <a:lnTo>
                    <a:pt x="393" y="359"/>
                  </a:lnTo>
                  <a:lnTo>
                    <a:pt x="393" y="357"/>
                  </a:lnTo>
                  <a:lnTo>
                    <a:pt x="393" y="357"/>
                  </a:lnTo>
                  <a:lnTo>
                    <a:pt x="393" y="357"/>
                  </a:lnTo>
                  <a:lnTo>
                    <a:pt x="393" y="357"/>
                  </a:lnTo>
                  <a:lnTo>
                    <a:pt x="393" y="359"/>
                  </a:lnTo>
                  <a:lnTo>
                    <a:pt x="393" y="359"/>
                  </a:lnTo>
                  <a:lnTo>
                    <a:pt x="393" y="359"/>
                  </a:lnTo>
                  <a:lnTo>
                    <a:pt x="391" y="359"/>
                  </a:lnTo>
                  <a:lnTo>
                    <a:pt x="391" y="359"/>
                  </a:lnTo>
                  <a:lnTo>
                    <a:pt x="391" y="359"/>
                  </a:lnTo>
                  <a:lnTo>
                    <a:pt x="391" y="362"/>
                  </a:lnTo>
                  <a:lnTo>
                    <a:pt x="391" y="362"/>
                  </a:lnTo>
                  <a:lnTo>
                    <a:pt x="391" y="362"/>
                  </a:lnTo>
                  <a:lnTo>
                    <a:pt x="393" y="359"/>
                  </a:lnTo>
                  <a:lnTo>
                    <a:pt x="391" y="362"/>
                  </a:lnTo>
                  <a:lnTo>
                    <a:pt x="391" y="362"/>
                  </a:lnTo>
                  <a:lnTo>
                    <a:pt x="389" y="362"/>
                  </a:lnTo>
                  <a:lnTo>
                    <a:pt x="389" y="364"/>
                  </a:lnTo>
                  <a:lnTo>
                    <a:pt x="389" y="364"/>
                  </a:lnTo>
                  <a:lnTo>
                    <a:pt x="387" y="364"/>
                  </a:lnTo>
                  <a:lnTo>
                    <a:pt x="387" y="364"/>
                  </a:lnTo>
                  <a:lnTo>
                    <a:pt x="387" y="364"/>
                  </a:lnTo>
                  <a:lnTo>
                    <a:pt x="387" y="366"/>
                  </a:lnTo>
                  <a:lnTo>
                    <a:pt x="387" y="366"/>
                  </a:lnTo>
                  <a:lnTo>
                    <a:pt x="387" y="366"/>
                  </a:lnTo>
                  <a:lnTo>
                    <a:pt x="387" y="366"/>
                  </a:lnTo>
                  <a:lnTo>
                    <a:pt x="387" y="368"/>
                  </a:lnTo>
                  <a:lnTo>
                    <a:pt x="387" y="368"/>
                  </a:lnTo>
                  <a:lnTo>
                    <a:pt x="387" y="368"/>
                  </a:lnTo>
                  <a:lnTo>
                    <a:pt x="387" y="368"/>
                  </a:lnTo>
                  <a:lnTo>
                    <a:pt x="387" y="368"/>
                  </a:lnTo>
                  <a:lnTo>
                    <a:pt x="384" y="368"/>
                  </a:lnTo>
                  <a:lnTo>
                    <a:pt x="384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2" y="364"/>
                  </a:lnTo>
                  <a:lnTo>
                    <a:pt x="380" y="364"/>
                  </a:lnTo>
                  <a:lnTo>
                    <a:pt x="380" y="364"/>
                  </a:lnTo>
                  <a:lnTo>
                    <a:pt x="380" y="364"/>
                  </a:lnTo>
                  <a:lnTo>
                    <a:pt x="380" y="364"/>
                  </a:lnTo>
                  <a:lnTo>
                    <a:pt x="380" y="366"/>
                  </a:lnTo>
                  <a:lnTo>
                    <a:pt x="380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2" y="366"/>
                  </a:lnTo>
                  <a:lnTo>
                    <a:pt x="384" y="366"/>
                  </a:lnTo>
                  <a:lnTo>
                    <a:pt x="384" y="366"/>
                  </a:lnTo>
                  <a:lnTo>
                    <a:pt x="384" y="366"/>
                  </a:lnTo>
                  <a:lnTo>
                    <a:pt x="384" y="366"/>
                  </a:lnTo>
                  <a:lnTo>
                    <a:pt x="384" y="366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4" y="368"/>
                  </a:lnTo>
                  <a:lnTo>
                    <a:pt x="387" y="368"/>
                  </a:lnTo>
                  <a:lnTo>
                    <a:pt x="384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80" y="371"/>
                  </a:lnTo>
                  <a:lnTo>
                    <a:pt x="378" y="371"/>
                  </a:lnTo>
                  <a:lnTo>
                    <a:pt x="375" y="373"/>
                  </a:lnTo>
                  <a:lnTo>
                    <a:pt x="375" y="373"/>
                  </a:lnTo>
                  <a:lnTo>
                    <a:pt x="375" y="373"/>
                  </a:lnTo>
                  <a:lnTo>
                    <a:pt x="375" y="373"/>
                  </a:lnTo>
                  <a:lnTo>
                    <a:pt x="373" y="373"/>
                  </a:lnTo>
                  <a:lnTo>
                    <a:pt x="373" y="373"/>
                  </a:lnTo>
                  <a:lnTo>
                    <a:pt x="373" y="373"/>
                  </a:lnTo>
                  <a:lnTo>
                    <a:pt x="373" y="373"/>
                  </a:lnTo>
                  <a:lnTo>
                    <a:pt x="373" y="373"/>
                  </a:lnTo>
                  <a:lnTo>
                    <a:pt x="371" y="375"/>
                  </a:lnTo>
                  <a:lnTo>
                    <a:pt x="371" y="375"/>
                  </a:lnTo>
                  <a:lnTo>
                    <a:pt x="371" y="375"/>
                  </a:lnTo>
                  <a:lnTo>
                    <a:pt x="371" y="375"/>
                  </a:lnTo>
                  <a:lnTo>
                    <a:pt x="371" y="375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9" y="375"/>
                  </a:lnTo>
                  <a:lnTo>
                    <a:pt x="369" y="373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9" y="375"/>
                  </a:lnTo>
                  <a:lnTo>
                    <a:pt x="369" y="373"/>
                  </a:lnTo>
                  <a:lnTo>
                    <a:pt x="371" y="373"/>
                  </a:lnTo>
                  <a:lnTo>
                    <a:pt x="371" y="373"/>
                  </a:lnTo>
                  <a:lnTo>
                    <a:pt x="369" y="373"/>
                  </a:lnTo>
                  <a:lnTo>
                    <a:pt x="369" y="373"/>
                  </a:lnTo>
                  <a:lnTo>
                    <a:pt x="371" y="373"/>
                  </a:lnTo>
                  <a:lnTo>
                    <a:pt x="369" y="373"/>
                  </a:lnTo>
                  <a:lnTo>
                    <a:pt x="369" y="371"/>
                  </a:lnTo>
                  <a:lnTo>
                    <a:pt x="369" y="371"/>
                  </a:lnTo>
                  <a:lnTo>
                    <a:pt x="369" y="371"/>
                  </a:lnTo>
                  <a:lnTo>
                    <a:pt x="366" y="371"/>
                  </a:lnTo>
                  <a:lnTo>
                    <a:pt x="366" y="371"/>
                  </a:lnTo>
                  <a:lnTo>
                    <a:pt x="366" y="371"/>
                  </a:lnTo>
                  <a:lnTo>
                    <a:pt x="366" y="371"/>
                  </a:lnTo>
                  <a:lnTo>
                    <a:pt x="366" y="371"/>
                  </a:lnTo>
                  <a:lnTo>
                    <a:pt x="364" y="373"/>
                  </a:lnTo>
                  <a:lnTo>
                    <a:pt x="364" y="373"/>
                  </a:lnTo>
                  <a:lnTo>
                    <a:pt x="364" y="373"/>
                  </a:lnTo>
                  <a:lnTo>
                    <a:pt x="364" y="373"/>
                  </a:lnTo>
                  <a:lnTo>
                    <a:pt x="364" y="373"/>
                  </a:lnTo>
                  <a:lnTo>
                    <a:pt x="364" y="373"/>
                  </a:lnTo>
                  <a:lnTo>
                    <a:pt x="362" y="373"/>
                  </a:lnTo>
                  <a:lnTo>
                    <a:pt x="362" y="375"/>
                  </a:lnTo>
                  <a:lnTo>
                    <a:pt x="362" y="375"/>
                  </a:lnTo>
                  <a:lnTo>
                    <a:pt x="362" y="375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2" y="380"/>
                  </a:lnTo>
                  <a:lnTo>
                    <a:pt x="362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2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5"/>
                  </a:lnTo>
                  <a:lnTo>
                    <a:pt x="364" y="375"/>
                  </a:lnTo>
                  <a:lnTo>
                    <a:pt x="364" y="375"/>
                  </a:lnTo>
                  <a:lnTo>
                    <a:pt x="364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5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4" y="377"/>
                  </a:lnTo>
                  <a:lnTo>
                    <a:pt x="366" y="377"/>
                  </a:lnTo>
                  <a:lnTo>
                    <a:pt x="371" y="375"/>
                  </a:lnTo>
                  <a:lnTo>
                    <a:pt x="369" y="375"/>
                  </a:lnTo>
                  <a:lnTo>
                    <a:pt x="369" y="377"/>
                  </a:lnTo>
                  <a:lnTo>
                    <a:pt x="366" y="377"/>
                  </a:lnTo>
                  <a:lnTo>
                    <a:pt x="366" y="377"/>
                  </a:lnTo>
                  <a:lnTo>
                    <a:pt x="364" y="380"/>
                  </a:lnTo>
                  <a:lnTo>
                    <a:pt x="364" y="380"/>
                  </a:lnTo>
                  <a:lnTo>
                    <a:pt x="362" y="380"/>
                  </a:lnTo>
                  <a:lnTo>
                    <a:pt x="360" y="382"/>
                  </a:lnTo>
                  <a:lnTo>
                    <a:pt x="360" y="384"/>
                  </a:lnTo>
                  <a:lnTo>
                    <a:pt x="357" y="386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89"/>
                  </a:lnTo>
                  <a:lnTo>
                    <a:pt x="355" y="391"/>
                  </a:lnTo>
                  <a:lnTo>
                    <a:pt x="355" y="391"/>
                  </a:lnTo>
                  <a:lnTo>
                    <a:pt x="355" y="391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3" y="393"/>
                  </a:lnTo>
                  <a:lnTo>
                    <a:pt x="351" y="395"/>
                  </a:lnTo>
                  <a:lnTo>
                    <a:pt x="351" y="398"/>
                  </a:lnTo>
                  <a:lnTo>
                    <a:pt x="351" y="400"/>
                  </a:lnTo>
                  <a:lnTo>
                    <a:pt x="351" y="400"/>
                  </a:lnTo>
                  <a:lnTo>
                    <a:pt x="351" y="400"/>
                  </a:lnTo>
                  <a:lnTo>
                    <a:pt x="351" y="400"/>
                  </a:lnTo>
                  <a:lnTo>
                    <a:pt x="348" y="400"/>
                  </a:lnTo>
                  <a:lnTo>
                    <a:pt x="348" y="402"/>
                  </a:lnTo>
                  <a:lnTo>
                    <a:pt x="348" y="402"/>
                  </a:lnTo>
                  <a:lnTo>
                    <a:pt x="348" y="402"/>
                  </a:lnTo>
                  <a:lnTo>
                    <a:pt x="348" y="402"/>
                  </a:lnTo>
                  <a:lnTo>
                    <a:pt x="346" y="402"/>
                  </a:lnTo>
                  <a:lnTo>
                    <a:pt x="346" y="402"/>
                  </a:lnTo>
                  <a:lnTo>
                    <a:pt x="346" y="402"/>
                  </a:lnTo>
                  <a:lnTo>
                    <a:pt x="346" y="402"/>
                  </a:lnTo>
                  <a:lnTo>
                    <a:pt x="346" y="402"/>
                  </a:lnTo>
                  <a:lnTo>
                    <a:pt x="346" y="402"/>
                  </a:lnTo>
                  <a:lnTo>
                    <a:pt x="346" y="404"/>
                  </a:lnTo>
                  <a:lnTo>
                    <a:pt x="346" y="404"/>
                  </a:lnTo>
                  <a:lnTo>
                    <a:pt x="348" y="402"/>
                  </a:lnTo>
                  <a:lnTo>
                    <a:pt x="348" y="402"/>
                  </a:lnTo>
                  <a:lnTo>
                    <a:pt x="348" y="402"/>
                  </a:lnTo>
                  <a:lnTo>
                    <a:pt x="348" y="402"/>
                  </a:lnTo>
                  <a:lnTo>
                    <a:pt x="346" y="402"/>
                  </a:lnTo>
                  <a:lnTo>
                    <a:pt x="346" y="404"/>
                  </a:lnTo>
                  <a:lnTo>
                    <a:pt x="346" y="404"/>
                  </a:lnTo>
                  <a:lnTo>
                    <a:pt x="346" y="404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4" y="407"/>
                  </a:lnTo>
                  <a:lnTo>
                    <a:pt x="344" y="407"/>
                  </a:lnTo>
                  <a:lnTo>
                    <a:pt x="344" y="407"/>
                  </a:lnTo>
                  <a:lnTo>
                    <a:pt x="344" y="407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9"/>
                  </a:lnTo>
                  <a:lnTo>
                    <a:pt x="337" y="411"/>
                  </a:lnTo>
                  <a:lnTo>
                    <a:pt x="335" y="413"/>
                  </a:lnTo>
                  <a:lnTo>
                    <a:pt x="335" y="416"/>
                  </a:lnTo>
                  <a:lnTo>
                    <a:pt x="335" y="416"/>
                  </a:lnTo>
                  <a:lnTo>
                    <a:pt x="333" y="416"/>
                  </a:lnTo>
                  <a:lnTo>
                    <a:pt x="333" y="416"/>
                  </a:lnTo>
                  <a:lnTo>
                    <a:pt x="333" y="416"/>
                  </a:lnTo>
                  <a:lnTo>
                    <a:pt x="333" y="416"/>
                  </a:lnTo>
                  <a:lnTo>
                    <a:pt x="333" y="416"/>
                  </a:lnTo>
                  <a:lnTo>
                    <a:pt x="333" y="416"/>
                  </a:lnTo>
                  <a:lnTo>
                    <a:pt x="333" y="418"/>
                  </a:lnTo>
                  <a:lnTo>
                    <a:pt x="333" y="418"/>
                  </a:lnTo>
                  <a:lnTo>
                    <a:pt x="333" y="418"/>
                  </a:lnTo>
                  <a:lnTo>
                    <a:pt x="333" y="418"/>
                  </a:lnTo>
                  <a:lnTo>
                    <a:pt x="330" y="418"/>
                  </a:lnTo>
                  <a:lnTo>
                    <a:pt x="330" y="418"/>
                  </a:lnTo>
                  <a:lnTo>
                    <a:pt x="333" y="418"/>
                  </a:lnTo>
                  <a:lnTo>
                    <a:pt x="333" y="418"/>
                  </a:lnTo>
                  <a:lnTo>
                    <a:pt x="330" y="418"/>
                  </a:lnTo>
                  <a:lnTo>
                    <a:pt x="330" y="420"/>
                  </a:lnTo>
                  <a:lnTo>
                    <a:pt x="330" y="420"/>
                  </a:lnTo>
                  <a:lnTo>
                    <a:pt x="330" y="420"/>
                  </a:lnTo>
                  <a:lnTo>
                    <a:pt x="330" y="422"/>
                  </a:lnTo>
                  <a:lnTo>
                    <a:pt x="330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2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8" y="425"/>
                  </a:lnTo>
                  <a:lnTo>
                    <a:pt x="326" y="425"/>
                  </a:lnTo>
                  <a:lnTo>
                    <a:pt x="326" y="427"/>
                  </a:lnTo>
                  <a:lnTo>
                    <a:pt x="324" y="427"/>
                  </a:lnTo>
                  <a:lnTo>
                    <a:pt x="324" y="427"/>
                  </a:lnTo>
                  <a:lnTo>
                    <a:pt x="324" y="427"/>
                  </a:lnTo>
                  <a:lnTo>
                    <a:pt x="324" y="429"/>
                  </a:lnTo>
                  <a:lnTo>
                    <a:pt x="324" y="429"/>
                  </a:lnTo>
                  <a:lnTo>
                    <a:pt x="322" y="429"/>
                  </a:lnTo>
                  <a:lnTo>
                    <a:pt x="322" y="429"/>
                  </a:lnTo>
                  <a:lnTo>
                    <a:pt x="322" y="429"/>
                  </a:lnTo>
                  <a:lnTo>
                    <a:pt x="322" y="429"/>
                  </a:lnTo>
                  <a:lnTo>
                    <a:pt x="322" y="429"/>
                  </a:lnTo>
                  <a:lnTo>
                    <a:pt x="322" y="429"/>
                  </a:lnTo>
                  <a:lnTo>
                    <a:pt x="322" y="429"/>
                  </a:lnTo>
                  <a:lnTo>
                    <a:pt x="319" y="429"/>
                  </a:lnTo>
                  <a:lnTo>
                    <a:pt x="319" y="429"/>
                  </a:lnTo>
                  <a:lnTo>
                    <a:pt x="319" y="431"/>
                  </a:lnTo>
                  <a:lnTo>
                    <a:pt x="317" y="431"/>
                  </a:lnTo>
                  <a:lnTo>
                    <a:pt x="313" y="434"/>
                  </a:lnTo>
                  <a:lnTo>
                    <a:pt x="313" y="434"/>
                  </a:lnTo>
                  <a:lnTo>
                    <a:pt x="313" y="436"/>
                  </a:lnTo>
                  <a:lnTo>
                    <a:pt x="313" y="436"/>
                  </a:lnTo>
                  <a:lnTo>
                    <a:pt x="313" y="436"/>
                  </a:lnTo>
                  <a:lnTo>
                    <a:pt x="310" y="436"/>
                  </a:lnTo>
                  <a:lnTo>
                    <a:pt x="310" y="438"/>
                  </a:lnTo>
                  <a:lnTo>
                    <a:pt x="310" y="438"/>
                  </a:lnTo>
                  <a:lnTo>
                    <a:pt x="310" y="438"/>
                  </a:lnTo>
                  <a:lnTo>
                    <a:pt x="310" y="438"/>
                  </a:lnTo>
                  <a:lnTo>
                    <a:pt x="310" y="440"/>
                  </a:lnTo>
                  <a:lnTo>
                    <a:pt x="310" y="440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0" y="443"/>
                  </a:lnTo>
                  <a:lnTo>
                    <a:pt x="313" y="443"/>
                  </a:lnTo>
                  <a:lnTo>
                    <a:pt x="313" y="443"/>
                  </a:lnTo>
                  <a:lnTo>
                    <a:pt x="313" y="443"/>
                  </a:lnTo>
                  <a:lnTo>
                    <a:pt x="313" y="440"/>
                  </a:lnTo>
                  <a:lnTo>
                    <a:pt x="310" y="440"/>
                  </a:lnTo>
                  <a:lnTo>
                    <a:pt x="313" y="440"/>
                  </a:lnTo>
                  <a:lnTo>
                    <a:pt x="313" y="440"/>
                  </a:lnTo>
                  <a:lnTo>
                    <a:pt x="313" y="443"/>
                  </a:lnTo>
                  <a:lnTo>
                    <a:pt x="313" y="443"/>
                  </a:lnTo>
                  <a:lnTo>
                    <a:pt x="313" y="445"/>
                  </a:lnTo>
                  <a:lnTo>
                    <a:pt x="313" y="447"/>
                  </a:lnTo>
                  <a:lnTo>
                    <a:pt x="313" y="447"/>
                  </a:lnTo>
                  <a:lnTo>
                    <a:pt x="313" y="447"/>
                  </a:lnTo>
                  <a:lnTo>
                    <a:pt x="313" y="447"/>
                  </a:lnTo>
                  <a:lnTo>
                    <a:pt x="313" y="449"/>
                  </a:lnTo>
                  <a:lnTo>
                    <a:pt x="313" y="449"/>
                  </a:lnTo>
                  <a:lnTo>
                    <a:pt x="310" y="449"/>
                  </a:lnTo>
                  <a:lnTo>
                    <a:pt x="310" y="449"/>
                  </a:lnTo>
                  <a:lnTo>
                    <a:pt x="310" y="447"/>
                  </a:lnTo>
                  <a:lnTo>
                    <a:pt x="310" y="447"/>
                  </a:lnTo>
                  <a:lnTo>
                    <a:pt x="310" y="447"/>
                  </a:lnTo>
                  <a:lnTo>
                    <a:pt x="310" y="449"/>
                  </a:lnTo>
                  <a:lnTo>
                    <a:pt x="310" y="449"/>
                  </a:lnTo>
                  <a:lnTo>
                    <a:pt x="313" y="449"/>
                  </a:lnTo>
                  <a:lnTo>
                    <a:pt x="310" y="449"/>
                  </a:lnTo>
                  <a:lnTo>
                    <a:pt x="310" y="452"/>
                  </a:lnTo>
                  <a:lnTo>
                    <a:pt x="310" y="452"/>
                  </a:lnTo>
                  <a:lnTo>
                    <a:pt x="308" y="452"/>
                  </a:lnTo>
                  <a:lnTo>
                    <a:pt x="308" y="452"/>
                  </a:lnTo>
                  <a:lnTo>
                    <a:pt x="308" y="452"/>
                  </a:lnTo>
                  <a:lnTo>
                    <a:pt x="306" y="452"/>
                  </a:lnTo>
                  <a:lnTo>
                    <a:pt x="306" y="452"/>
                  </a:lnTo>
                  <a:lnTo>
                    <a:pt x="306" y="452"/>
                  </a:lnTo>
                  <a:lnTo>
                    <a:pt x="306" y="454"/>
                  </a:lnTo>
                  <a:lnTo>
                    <a:pt x="306" y="454"/>
                  </a:lnTo>
                  <a:lnTo>
                    <a:pt x="306" y="454"/>
                  </a:lnTo>
                  <a:lnTo>
                    <a:pt x="306" y="454"/>
                  </a:lnTo>
                  <a:lnTo>
                    <a:pt x="304" y="454"/>
                  </a:lnTo>
                  <a:lnTo>
                    <a:pt x="304" y="454"/>
                  </a:lnTo>
                  <a:lnTo>
                    <a:pt x="304" y="454"/>
                  </a:lnTo>
                  <a:lnTo>
                    <a:pt x="304" y="454"/>
                  </a:lnTo>
                  <a:lnTo>
                    <a:pt x="304" y="454"/>
                  </a:lnTo>
                  <a:lnTo>
                    <a:pt x="304" y="454"/>
                  </a:lnTo>
                  <a:lnTo>
                    <a:pt x="301" y="454"/>
                  </a:lnTo>
                  <a:lnTo>
                    <a:pt x="301" y="456"/>
                  </a:lnTo>
                  <a:lnTo>
                    <a:pt x="299" y="456"/>
                  </a:lnTo>
                  <a:lnTo>
                    <a:pt x="299" y="456"/>
                  </a:lnTo>
                  <a:lnTo>
                    <a:pt x="299" y="456"/>
                  </a:lnTo>
                  <a:lnTo>
                    <a:pt x="299" y="456"/>
                  </a:lnTo>
                  <a:lnTo>
                    <a:pt x="299" y="454"/>
                  </a:lnTo>
                  <a:lnTo>
                    <a:pt x="299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7" y="454"/>
                  </a:lnTo>
                  <a:lnTo>
                    <a:pt x="295" y="454"/>
                  </a:lnTo>
                  <a:lnTo>
                    <a:pt x="295" y="454"/>
                  </a:lnTo>
                  <a:lnTo>
                    <a:pt x="295" y="454"/>
                  </a:lnTo>
                  <a:lnTo>
                    <a:pt x="295" y="454"/>
                  </a:lnTo>
                  <a:lnTo>
                    <a:pt x="295" y="454"/>
                  </a:lnTo>
                  <a:lnTo>
                    <a:pt x="295" y="454"/>
                  </a:lnTo>
                  <a:lnTo>
                    <a:pt x="295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2" y="454"/>
                  </a:lnTo>
                  <a:lnTo>
                    <a:pt x="290" y="454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6"/>
                  </a:lnTo>
                  <a:lnTo>
                    <a:pt x="290" y="458"/>
                  </a:lnTo>
                  <a:lnTo>
                    <a:pt x="290" y="461"/>
                  </a:lnTo>
                  <a:lnTo>
                    <a:pt x="290" y="461"/>
                  </a:lnTo>
                  <a:lnTo>
                    <a:pt x="290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5"/>
                  </a:lnTo>
                  <a:lnTo>
                    <a:pt x="286" y="465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8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6" y="467"/>
                  </a:lnTo>
                  <a:lnTo>
                    <a:pt x="283" y="467"/>
                  </a:lnTo>
                  <a:lnTo>
                    <a:pt x="283" y="465"/>
                  </a:lnTo>
                  <a:lnTo>
                    <a:pt x="283" y="465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3"/>
                  </a:lnTo>
                  <a:lnTo>
                    <a:pt x="283" y="465"/>
                  </a:lnTo>
                  <a:lnTo>
                    <a:pt x="283" y="465"/>
                  </a:lnTo>
                  <a:lnTo>
                    <a:pt x="283" y="467"/>
                  </a:lnTo>
                  <a:lnTo>
                    <a:pt x="283" y="470"/>
                  </a:lnTo>
                  <a:lnTo>
                    <a:pt x="283" y="470"/>
                  </a:lnTo>
                  <a:lnTo>
                    <a:pt x="283" y="470"/>
                  </a:lnTo>
                  <a:lnTo>
                    <a:pt x="283" y="467"/>
                  </a:lnTo>
                  <a:lnTo>
                    <a:pt x="281" y="467"/>
                  </a:lnTo>
                  <a:lnTo>
                    <a:pt x="281" y="465"/>
                  </a:lnTo>
                  <a:lnTo>
                    <a:pt x="281" y="465"/>
                  </a:lnTo>
                  <a:lnTo>
                    <a:pt x="281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9" y="465"/>
                  </a:lnTo>
                  <a:lnTo>
                    <a:pt x="277" y="465"/>
                  </a:lnTo>
                  <a:lnTo>
                    <a:pt x="277" y="465"/>
                  </a:lnTo>
                  <a:lnTo>
                    <a:pt x="277" y="465"/>
                  </a:lnTo>
                  <a:lnTo>
                    <a:pt x="277" y="465"/>
                  </a:lnTo>
                  <a:lnTo>
                    <a:pt x="277" y="465"/>
                  </a:lnTo>
                  <a:lnTo>
                    <a:pt x="277" y="467"/>
                  </a:lnTo>
                  <a:lnTo>
                    <a:pt x="277" y="467"/>
                  </a:lnTo>
                  <a:lnTo>
                    <a:pt x="274" y="467"/>
                  </a:lnTo>
                  <a:lnTo>
                    <a:pt x="274" y="467"/>
                  </a:lnTo>
                  <a:lnTo>
                    <a:pt x="274" y="467"/>
                  </a:lnTo>
                  <a:lnTo>
                    <a:pt x="274" y="467"/>
                  </a:lnTo>
                  <a:lnTo>
                    <a:pt x="274" y="467"/>
                  </a:lnTo>
                  <a:lnTo>
                    <a:pt x="274" y="467"/>
                  </a:lnTo>
                  <a:lnTo>
                    <a:pt x="274" y="467"/>
                  </a:lnTo>
                  <a:lnTo>
                    <a:pt x="272" y="467"/>
                  </a:lnTo>
                  <a:lnTo>
                    <a:pt x="272" y="470"/>
                  </a:lnTo>
                  <a:lnTo>
                    <a:pt x="272" y="470"/>
                  </a:lnTo>
                  <a:lnTo>
                    <a:pt x="270" y="474"/>
                  </a:lnTo>
                  <a:lnTo>
                    <a:pt x="270" y="474"/>
                  </a:lnTo>
                  <a:lnTo>
                    <a:pt x="270" y="474"/>
                  </a:lnTo>
                  <a:lnTo>
                    <a:pt x="270" y="474"/>
                  </a:lnTo>
                  <a:lnTo>
                    <a:pt x="270" y="474"/>
                  </a:lnTo>
                  <a:lnTo>
                    <a:pt x="270" y="474"/>
                  </a:lnTo>
                  <a:lnTo>
                    <a:pt x="270" y="476"/>
                  </a:lnTo>
                  <a:lnTo>
                    <a:pt x="270" y="476"/>
                  </a:lnTo>
                  <a:lnTo>
                    <a:pt x="270" y="476"/>
                  </a:lnTo>
                  <a:lnTo>
                    <a:pt x="270" y="476"/>
                  </a:lnTo>
                  <a:lnTo>
                    <a:pt x="270" y="479"/>
                  </a:lnTo>
                  <a:lnTo>
                    <a:pt x="268" y="479"/>
                  </a:lnTo>
                  <a:lnTo>
                    <a:pt x="268" y="479"/>
                  </a:lnTo>
                  <a:lnTo>
                    <a:pt x="268" y="481"/>
                  </a:lnTo>
                  <a:lnTo>
                    <a:pt x="268" y="485"/>
                  </a:lnTo>
                  <a:lnTo>
                    <a:pt x="268" y="485"/>
                  </a:lnTo>
                  <a:lnTo>
                    <a:pt x="268" y="488"/>
                  </a:lnTo>
                  <a:lnTo>
                    <a:pt x="270" y="488"/>
                  </a:lnTo>
                  <a:lnTo>
                    <a:pt x="270" y="488"/>
                  </a:lnTo>
                  <a:lnTo>
                    <a:pt x="270" y="492"/>
                  </a:lnTo>
                  <a:lnTo>
                    <a:pt x="270" y="494"/>
                  </a:lnTo>
                  <a:lnTo>
                    <a:pt x="270" y="494"/>
                  </a:lnTo>
                  <a:lnTo>
                    <a:pt x="270" y="494"/>
                  </a:lnTo>
                  <a:lnTo>
                    <a:pt x="270" y="494"/>
                  </a:lnTo>
                  <a:lnTo>
                    <a:pt x="272" y="494"/>
                  </a:lnTo>
                  <a:lnTo>
                    <a:pt x="272" y="494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7"/>
                  </a:lnTo>
                  <a:lnTo>
                    <a:pt x="272" y="499"/>
                  </a:lnTo>
                  <a:lnTo>
                    <a:pt x="272" y="499"/>
                  </a:lnTo>
                  <a:lnTo>
                    <a:pt x="272" y="501"/>
                  </a:lnTo>
                  <a:lnTo>
                    <a:pt x="272" y="503"/>
                  </a:lnTo>
                  <a:lnTo>
                    <a:pt x="272" y="503"/>
                  </a:lnTo>
                  <a:lnTo>
                    <a:pt x="272" y="503"/>
                  </a:lnTo>
                  <a:lnTo>
                    <a:pt x="272" y="503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0" y="505"/>
                  </a:lnTo>
                  <a:lnTo>
                    <a:pt x="272" y="505"/>
                  </a:lnTo>
                  <a:lnTo>
                    <a:pt x="272" y="505"/>
                  </a:lnTo>
                  <a:lnTo>
                    <a:pt x="272" y="505"/>
                  </a:lnTo>
                  <a:lnTo>
                    <a:pt x="272" y="505"/>
                  </a:lnTo>
                  <a:lnTo>
                    <a:pt x="272" y="508"/>
                  </a:lnTo>
                  <a:lnTo>
                    <a:pt x="272" y="510"/>
                  </a:lnTo>
                  <a:lnTo>
                    <a:pt x="272" y="510"/>
                  </a:lnTo>
                  <a:lnTo>
                    <a:pt x="274" y="514"/>
                  </a:lnTo>
                  <a:lnTo>
                    <a:pt x="274" y="514"/>
                  </a:lnTo>
                  <a:lnTo>
                    <a:pt x="274" y="517"/>
                  </a:lnTo>
                  <a:lnTo>
                    <a:pt x="274" y="517"/>
                  </a:lnTo>
                  <a:lnTo>
                    <a:pt x="274" y="517"/>
                  </a:lnTo>
                  <a:lnTo>
                    <a:pt x="274" y="519"/>
                  </a:lnTo>
                  <a:lnTo>
                    <a:pt x="274" y="519"/>
                  </a:lnTo>
                  <a:lnTo>
                    <a:pt x="277" y="521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4" y="521"/>
                  </a:lnTo>
                  <a:lnTo>
                    <a:pt x="274" y="519"/>
                  </a:lnTo>
                  <a:lnTo>
                    <a:pt x="274" y="519"/>
                  </a:lnTo>
                  <a:lnTo>
                    <a:pt x="272" y="517"/>
                  </a:lnTo>
                  <a:lnTo>
                    <a:pt x="272" y="517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7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19"/>
                  </a:lnTo>
                  <a:lnTo>
                    <a:pt x="272" y="521"/>
                  </a:lnTo>
                  <a:lnTo>
                    <a:pt x="272" y="521"/>
                  </a:lnTo>
                  <a:lnTo>
                    <a:pt x="272" y="521"/>
                  </a:lnTo>
                  <a:lnTo>
                    <a:pt x="272" y="521"/>
                  </a:lnTo>
                  <a:lnTo>
                    <a:pt x="272" y="523"/>
                  </a:lnTo>
                  <a:lnTo>
                    <a:pt x="274" y="523"/>
                  </a:lnTo>
                  <a:lnTo>
                    <a:pt x="274" y="523"/>
                  </a:lnTo>
                  <a:lnTo>
                    <a:pt x="274" y="523"/>
                  </a:lnTo>
                  <a:lnTo>
                    <a:pt x="274" y="523"/>
                  </a:lnTo>
                  <a:lnTo>
                    <a:pt x="274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7" y="523"/>
                  </a:lnTo>
                  <a:lnTo>
                    <a:pt x="279" y="526"/>
                  </a:lnTo>
                  <a:lnTo>
                    <a:pt x="279" y="526"/>
                  </a:lnTo>
                  <a:lnTo>
                    <a:pt x="279" y="526"/>
                  </a:lnTo>
                  <a:lnTo>
                    <a:pt x="279" y="528"/>
                  </a:lnTo>
                  <a:lnTo>
                    <a:pt x="279" y="528"/>
                  </a:lnTo>
                  <a:lnTo>
                    <a:pt x="277" y="528"/>
                  </a:lnTo>
                  <a:lnTo>
                    <a:pt x="277" y="528"/>
                  </a:lnTo>
                  <a:lnTo>
                    <a:pt x="277" y="528"/>
                  </a:lnTo>
                  <a:lnTo>
                    <a:pt x="277" y="530"/>
                  </a:lnTo>
                  <a:lnTo>
                    <a:pt x="277" y="530"/>
                  </a:lnTo>
                  <a:lnTo>
                    <a:pt x="279" y="528"/>
                  </a:lnTo>
                  <a:lnTo>
                    <a:pt x="279" y="530"/>
                  </a:lnTo>
                  <a:lnTo>
                    <a:pt x="279" y="530"/>
                  </a:lnTo>
                  <a:lnTo>
                    <a:pt x="277" y="530"/>
                  </a:lnTo>
                  <a:lnTo>
                    <a:pt x="277" y="530"/>
                  </a:lnTo>
                  <a:lnTo>
                    <a:pt x="277" y="530"/>
                  </a:lnTo>
                  <a:lnTo>
                    <a:pt x="277" y="532"/>
                  </a:lnTo>
                  <a:lnTo>
                    <a:pt x="277" y="532"/>
                  </a:lnTo>
                  <a:lnTo>
                    <a:pt x="277" y="532"/>
                  </a:lnTo>
                  <a:lnTo>
                    <a:pt x="277" y="532"/>
                  </a:lnTo>
                  <a:lnTo>
                    <a:pt x="277" y="532"/>
                  </a:lnTo>
                  <a:lnTo>
                    <a:pt x="277" y="535"/>
                  </a:lnTo>
                  <a:lnTo>
                    <a:pt x="277" y="539"/>
                  </a:lnTo>
                  <a:lnTo>
                    <a:pt x="277" y="539"/>
                  </a:lnTo>
                  <a:lnTo>
                    <a:pt x="277" y="541"/>
                  </a:lnTo>
                  <a:lnTo>
                    <a:pt x="277" y="541"/>
                  </a:lnTo>
                  <a:lnTo>
                    <a:pt x="277" y="541"/>
                  </a:lnTo>
                  <a:lnTo>
                    <a:pt x="277" y="544"/>
                  </a:lnTo>
                  <a:lnTo>
                    <a:pt x="277" y="544"/>
                  </a:lnTo>
                  <a:lnTo>
                    <a:pt x="277" y="544"/>
                  </a:lnTo>
                  <a:lnTo>
                    <a:pt x="277" y="546"/>
                  </a:lnTo>
                  <a:lnTo>
                    <a:pt x="277" y="546"/>
                  </a:lnTo>
                  <a:lnTo>
                    <a:pt x="277" y="546"/>
                  </a:lnTo>
                  <a:lnTo>
                    <a:pt x="274" y="548"/>
                  </a:lnTo>
                  <a:lnTo>
                    <a:pt x="274" y="548"/>
                  </a:lnTo>
                  <a:lnTo>
                    <a:pt x="274" y="550"/>
                  </a:lnTo>
                  <a:lnTo>
                    <a:pt x="274" y="550"/>
                  </a:lnTo>
                  <a:lnTo>
                    <a:pt x="274" y="550"/>
                  </a:lnTo>
                  <a:lnTo>
                    <a:pt x="274" y="550"/>
                  </a:lnTo>
                  <a:lnTo>
                    <a:pt x="274" y="550"/>
                  </a:lnTo>
                  <a:lnTo>
                    <a:pt x="272" y="550"/>
                  </a:lnTo>
                  <a:lnTo>
                    <a:pt x="272" y="553"/>
                  </a:lnTo>
                  <a:lnTo>
                    <a:pt x="272" y="553"/>
                  </a:lnTo>
                  <a:lnTo>
                    <a:pt x="272" y="553"/>
                  </a:lnTo>
                  <a:lnTo>
                    <a:pt x="272" y="553"/>
                  </a:lnTo>
                  <a:lnTo>
                    <a:pt x="272" y="553"/>
                  </a:lnTo>
                  <a:lnTo>
                    <a:pt x="272" y="553"/>
                  </a:lnTo>
                  <a:lnTo>
                    <a:pt x="272" y="555"/>
                  </a:lnTo>
                  <a:lnTo>
                    <a:pt x="272" y="555"/>
                  </a:lnTo>
                  <a:lnTo>
                    <a:pt x="272" y="555"/>
                  </a:lnTo>
                  <a:lnTo>
                    <a:pt x="270" y="557"/>
                  </a:lnTo>
                  <a:lnTo>
                    <a:pt x="270" y="557"/>
                  </a:lnTo>
                  <a:lnTo>
                    <a:pt x="270" y="557"/>
                  </a:lnTo>
                  <a:lnTo>
                    <a:pt x="270" y="557"/>
                  </a:lnTo>
                  <a:lnTo>
                    <a:pt x="270" y="559"/>
                  </a:lnTo>
                  <a:lnTo>
                    <a:pt x="270" y="559"/>
                  </a:lnTo>
                  <a:lnTo>
                    <a:pt x="270" y="559"/>
                  </a:lnTo>
                  <a:lnTo>
                    <a:pt x="270" y="559"/>
                  </a:lnTo>
                  <a:lnTo>
                    <a:pt x="270" y="562"/>
                  </a:lnTo>
                  <a:lnTo>
                    <a:pt x="270" y="564"/>
                  </a:lnTo>
                  <a:lnTo>
                    <a:pt x="270" y="564"/>
                  </a:lnTo>
                  <a:lnTo>
                    <a:pt x="270" y="564"/>
                  </a:lnTo>
                  <a:lnTo>
                    <a:pt x="270" y="566"/>
                  </a:lnTo>
                  <a:lnTo>
                    <a:pt x="270" y="566"/>
                  </a:lnTo>
                  <a:lnTo>
                    <a:pt x="268" y="568"/>
                  </a:lnTo>
                  <a:lnTo>
                    <a:pt x="268" y="568"/>
                  </a:lnTo>
                  <a:lnTo>
                    <a:pt x="270" y="568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1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68" y="575"/>
                  </a:lnTo>
                  <a:lnTo>
                    <a:pt x="268" y="575"/>
                  </a:lnTo>
                  <a:lnTo>
                    <a:pt x="268" y="575"/>
                  </a:lnTo>
                  <a:lnTo>
                    <a:pt x="268" y="575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3"/>
                  </a:lnTo>
                  <a:lnTo>
                    <a:pt x="270" y="575"/>
                  </a:lnTo>
                  <a:lnTo>
                    <a:pt x="272" y="577"/>
                  </a:lnTo>
                  <a:lnTo>
                    <a:pt x="272" y="582"/>
                  </a:lnTo>
                  <a:lnTo>
                    <a:pt x="272" y="582"/>
                  </a:lnTo>
                  <a:lnTo>
                    <a:pt x="272" y="589"/>
                  </a:lnTo>
                  <a:lnTo>
                    <a:pt x="272" y="591"/>
                  </a:lnTo>
                  <a:lnTo>
                    <a:pt x="272" y="593"/>
                  </a:lnTo>
                  <a:lnTo>
                    <a:pt x="272" y="598"/>
                  </a:lnTo>
                  <a:lnTo>
                    <a:pt x="272" y="598"/>
                  </a:lnTo>
                  <a:lnTo>
                    <a:pt x="272" y="600"/>
                  </a:lnTo>
                  <a:lnTo>
                    <a:pt x="272" y="600"/>
                  </a:lnTo>
                  <a:lnTo>
                    <a:pt x="272" y="600"/>
                  </a:lnTo>
                  <a:lnTo>
                    <a:pt x="272" y="600"/>
                  </a:lnTo>
                  <a:lnTo>
                    <a:pt x="272" y="600"/>
                  </a:lnTo>
                  <a:lnTo>
                    <a:pt x="272" y="598"/>
                  </a:lnTo>
                  <a:lnTo>
                    <a:pt x="270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70" y="598"/>
                  </a:lnTo>
                  <a:lnTo>
                    <a:pt x="270" y="598"/>
                  </a:lnTo>
                  <a:lnTo>
                    <a:pt x="270" y="598"/>
                  </a:lnTo>
                  <a:lnTo>
                    <a:pt x="270" y="598"/>
                  </a:lnTo>
                  <a:lnTo>
                    <a:pt x="270" y="600"/>
                  </a:lnTo>
                  <a:lnTo>
                    <a:pt x="270" y="600"/>
                  </a:lnTo>
                  <a:lnTo>
                    <a:pt x="270" y="600"/>
                  </a:lnTo>
                  <a:lnTo>
                    <a:pt x="272" y="600"/>
                  </a:lnTo>
                  <a:lnTo>
                    <a:pt x="272" y="600"/>
                  </a:lnTo>
                  <a:lnTo>
                    <a:pt x="270" y="600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5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8" y="598"/>
                  </a:lnTo>
                  <a:lnTo>
                    <a:pt x="265" y="598"/>
                  </a:lnTo>
                  <a:lnTo>
                    <a:pt x="265" y="598"/>
                  </a:lnTo>
                  <a:lnTo>
                    <a:pt x="265" y="598"/>
                  </a:lnTo>
                  <a:lnTo>
                    <a:pt x="265" y="598"/>
                  </a:lnTo>
                  <a:lnTo>
                    <a:pt x="265" y="598"/>
                  </a:lnTo>
                  <a:lnTo>
                    <a:pt x="263" y="598"/>
                  </a:lnTo>
                  <a:lnTo>
                    <a:pt x="263" y="598"/>
                  </a:lnTo>
                  <a:lnTo>
                    <a:pt x="263" y="598"/>
                  </a:lnTo>
                  <a:lnTo>
                    <a:pt x="263" y="598"/>
                  </a:lnTo>
                  <a:lnTo>
                    <a:pt x="263" y="598"/>
                  </a:lnTo>
                  <a:lnTo>
                    <a:pt x="261" y="600"/>
                  </a:lnTo>
                  <a:lnTo>
                    <a:pt x="261" y="600"/>
                  </a:lnTo>
                  <a:lnTo>
                    <a:pt x="261" y="600"/>
                  </a:lnTo>
                  <a:lnTo>
                    <a:pt x="261" y="600"/>
                  </a:lnTo>
                  <a:lnTo>
                    <a:pt x="261" y="600"/>
                  </a:lnTo>
                  <a:lnTo>
                    <a:pt x="261" y="600"/>
                  </a:lnTo>
                  <a:lnTo>
                    <a:pt x="261" y="602"/>
                  </a:lnTo>
                  <a:lnTo>
                    <a:pt x="261" y="602"/>
                  </a:lnTo>
                  <a:lnTo>
                    <a:pt x="261" y="602"/>
                  </a:lnTo>
                  <a:lnTo>
                    <a:pt x="261" y="602"/>
                  </a:lnTo>
                  <a:lnTo>
                    <a:pt x="261" y="602"/>
                  </a:lnTo>
                  <a:lnTo>
                    <a:pt x="261" y="604"/>
                  </a:lnTo>
                  <a:lnTo>
                    <a:pt x="261" y="604"/>
                  </a:lnTo>
                  <a:lnTo>
                    <a:pt x="261" y="604"/>
                  </a:lnTo>
                  <a:lnTo>
                    <a:pt x="261" y="604"/>
                  </a:lnTo>
                  <a:lnTo>
                    <a:pt x="259" y="607"/>
                  </a:lnTo>
                  <a:lnTo>
                    <a:pt x="259" y="609"/>
                  </a:lnTo>
                  <a:lnTo>
                    <a:pt x="259" y="609"/>
                  </a:lnTo>
                  <a:lnTo>
                    <a:pt x="259" y="609"/>
                  </a:lnTo>
                  <a:lnTo>
                    <a:pt x="259" y="609"/>
                  </a:lnTo>
                  <a:lnTo>
                    <a:pt x="259" y="611"/>
                  </a:lnTo>
                  <a:lnTo>
                    <a:pt x="256" y="611"/>
                  </a:lnTo>
                  <a:lnTo>
                    <a:pt x="256" y="611"/>
                  </a:lnTo>
                  <a:lnTo>
                    <a:pt x="256" y="613"/>
                  </a:lnTo>
                  <a:lnTo>
                    <a:pt x="256" y="613"/>
                  </a:lnTo>
                  <a:lnTo>
                    <a:pt x="256" y="613"/>
                  </a:lnTo>
                  <a:lnTo>
                    <a:pt x="256" y="613"/>
                  </a:lnTo>
                  <a:lnTo>
                    <a:pt x="256" y="613"/>
                  </a:lnTo>
                  <a:lnTo>
                    <a:pt x="254" y="616"/>
                  </a:lnTo>
                  <a:lnTo>
                    <a:pt x="254" y="616"/>
                  </a:lnTo>
                  <a:lnTo>
                    <a:pt x="254" y="616"/>
                  </a:lnTo>
                  <a:lnTo>
                    <a:pt x="254" y="616"/>
                  </a:lnTo>
                  <a:lnTo>
                    <a:pt x="254" y="616"/>
                  </a:lnTo>
                  <a:lnTo>
                    <a:pt x="254" y="618"/>
                  </a:lnTo>
                  <a:lnTo>
                    <a:pt x="254" y="618"/>
                  </a:lnTo>
                  <a:lnTo>
                    <a:pt x="254" y="618"/>
                  </a:lnTo>
                  <a:lnTo>
                    <a:pt x="254" y="620"/>
                  </a:lnTo>
                  <a:lnTo>
                    <a:pt x="256" y="620"/>
                  </a:lnTo>
                  <a:lnTo>
                    <a:pt x="256" y="622"/>
                  </a:lnTo>
                  <a:lnTo>
                    <a:pt x="259" y="622"/>
                  </a:lnTo>
                  <a:lnTo>
                    <a:pt x="259" y="622"/>
                  </a:lnTo>
                  <a:lnTo>
                    <a:pt x="261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2"/>
                  </a:lnTo>
                  <a:lnTo>
                    <a:pt x="263" y="625"/>
                  </a:lnTo>
                  <a:lnTo>
                    <a:pt x="263" y="625"/>
                  </a:lnTo>
                  <a:lnTo>
                    <a:pt x="263" y="625"/>
                  </a:lnTo>
                  <a:lnTo>
                    <a:pt x="265" y="625"/>
                  </a:lnTo>
                  <a:lnTo>
                    <a:pt x="265" y="625"/>
                  </a:lnTo>
                  <a:lnTo>
                    <a:pt x="265" y="627"/>
                  </a:lnTo>
                  <a:lnTo>
                    <a:pt x="265" y="625"/>
                  </a:lnTo>
                  <a:lnTo>
                    <a:pt x="263" y="625"/>
                  </a:lnTo>
                  <a:lnTo>
                    <a:pt x="263" y="622"/>
                  </a:lnTo>
                  <a:lnTo>
                    <a:pt x="261" y="622"/>
                  </a:lnTo>
                  <a:lnTo>
                    <a:pt x="261" y="622"/>
                  </a:lnTo>
                  <a:lnTo>
                    <a:pt x="261" y="622"/>
                  </a:lnTo>
                  <a:lnTo>
                    <a:pt x="261" y="622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22"/>
                  </a:lnTo>
                  <a:lnTo>
                    <a:pt x="259" y="622"/>
                  </a:lnTo>
                  <a:lnTo>
                    <a:pt x="259" y="622"/>
                  </a:lnTo>
                  <a:lnTo>
                    <a:pt x="256" y="622"/>
                  </a:lnTo>
                  <a:lnTo>
                    <a:pt x="256" y="622"/>
                  </a:lnTo>
                  <a:lnTo>
                    <a:pt x="256" y="622"/>
                  </a:lnTo>
                  <a:lnTo>
                    <a:pt x="256" y="622"/>
                  </a:lnTo>
                  <a:lnTo>
                    <a:pt x="254" y="622"/>
                  </a:lnTo>
                  <a:lnTo>
                    <a:pt x="254" y="622"/>
                  </a:lnTo>
                  <a:lnTo>
                    <a:pt x="254" y="622"/>
                  </a:lnTo>
                  <a:lnTo>
                    <a:pt x="254" y="622"/>
                  </a:lnTo>
                  <a:lnTo>
                    <a:pt x="254" y="622"/>
                  </a:lnTo>
                  <a:lnTo>
                    <a:pt x="254" y="625"/>
                  </a:lnTo>
                  <a:lnTo>
                    <a:pt x="254" y="625"/>
                  </a:lnTo>
                  <a:lnTo>
                    <a:pt x="252" y="625"/>
                  </a:lnTo>
                  <a:lnTo>
                    <a:pt x="252" y="625"/>
                  </a:lnTo>
                  <a:lnTo>
                    <a:pt x="252" y="625"/>
                  </a:lnTo>
                  <a:lnTo>
                    <a:pt x="252" y="625"/>
                  </a:lnTo>
                  <a:lnTo>
                    <a:pt x="252" y="625"/>
                  </a:lnTo>
                  <a:lnTo>
                    <a:pt x="252" y="625"/>
                  </a:lnTo>
                  <a:lnTo>
                    <a:pt x="250" y="625"/>
                  </a:lnTo>
                  <a:lnTo>
                    <a:pt x="250" y="625"/>
                  </a:lnTo>
                  <a:lnTo>
                    <a:pt x="250" y="625"/>
                  </a:lnTo>
                  <a:lnTo>
                    <a:pt x="250" y="627"/>
                  </a:lnTo>
                  <a:lnTo>
                    <a:pt x="250" y="627"/>
                  </a:lnTo>
                  <a:lnTo>
                    <a:pt x="250" y="627"/>
                  </a:lnTo>
                  <a:lnTo>
                    <a:pt x="245" y="627"/>
                  </a:lnTo>
                  <a:lnTo>
                    <a:pt x="245" y="627"/>
                  </a:lnTo>
                  <a:lnTo>
                    <a:pt x="245" y="627"/>
                  </a:lnTo>
                  <a:lnTo>
                    <a:pt x="243" y="627"/>
                  </a:lnTo>
                  <a:lnTo>
                    <a:pt x="241" y="631"/>
                  </a:lnTo>
                  <a:lnTo>
                    <a:pt x="241" y="631"/>
                  </a:lnTo>
                  <a:lnTo>
                    <a:pt x="241" y="631"/>
                  </a:lnTo>
                  <a:lnTo>
                    <a:pt x="241" y="634"/>
                  </a:lnTo>
                  <a:lnTo>
                    <a:pt x="241" y="634"/>
                  </a:lnTo>
                  <a:lnTo>
                    <a:pt x="241" y="636"/>
                  </a:lnTo>
                  <a:lnTo>
                    <a:pt x="238" y="636"/>
                  </a:lnTo>
                  <a:lnTo>
                    <a:pt x="241" y="636"/>
                  </a:lnTo>
                  <a:lnTo>
                    <a:pt x="241" y="636"/>
                  </a:lnTo>
                  <a:lnTo>
                    <a:pt x="241" y="636"/>
                  </a:lnTo>
                  <a:lnTo>
                    <a:pt x="241" y="634"/>
                  </a:lnTo>
                  <a:lnTo>
                    <a:pt x="241" y="636"/>
                  </a:lnTo>
                  <a:lnTo>
                    <a:pt x="241" y="636"/>
                  </a:lnTo>
                  <a:lnTo>
                    <a:pt x="241" y="636"/>
                  </a:lnTo>
                  <a:lnTo>
                    <a:pt x="241" y="636"/>
                  </a:lnTo>
                  <a:lnTo>
                    <a:pt x="241" y="636"/>
                  </a:lnTo>
                  <a:lnTo>
                    <a:pt x="238" y="636"/>
                  </a:lnTo>
                  <a:lnTo>
                    <a:pt x="238" y="638"/>
                  </a:lnTo>
                  <a:lnTo>
                    <a:pt x="238" y="638"/>
                  </a:lnTo>
                  <a:lnTo>
                    <a:pt x="238" y="638"/>
                  </a:lnTo>
                  <a:lnTo>
                    <a:pt x="238" y="638"/>
                  </a:lnTo>
                  <a:lnTo>
                    <a:pt x="238" y="638"/>
                  </a:lnTo>
                  <a:lnTo>
                    <a:pt x="238" y="638"/>
                  </a:lnTo>
                  <a:lnTo>
                    <a:pt x="238" y="643"/>
                  </a:lnTo>
                  <a:lnTo>
                    <a:pt x="238" y="643"/>
                  </a:lnTo>
                  <a:lnTo>
                    <a:pt x="238" y="643"/>
                  </a:lnTo>
                  <a:lnTo>
                    <a:pt x="238" y="643"/>
                  </a:lnTo>
                  <a:lnTo>
                    <a:pt x="238" y="643"/>
                  </a:lnTo>
                  <a:lnTo>
                    <a:pt x="238" y="645"/>
                  </a:lnTo>
                  <a:lnTo>
                    <a:pt x="238" y="645"/>
                  </a:lnTo>
                  <a:lnTo>
                    <a:pt x="238" y="645"/>
                  </a:lnTo>
                  <a:lnTo>
                    <a:pt x="236" y="645"/>
                  </a:lnTo>
                  <a:lnTo>
                    <a:pt x="232" y="647"/>
                  </a:lnTo>
                  <a:lnTo>
                    <a:pt x="232" y="647"/>
                  </a:lnTo>
                  <a:lnTo>
                    <a:pt x="232" y="649"/>
                  </a:lnTo>
                  <a:lnTo>
                    <a:pt x="232" y="649"/>
                  </a:lnTo>
                  <a:lnTo>
                    <a:pt x="229" y="649"/>
                  </a:lnTo>
                  <a:lnTo>
                    <a:pt x="229" y="649"/>
                  </a:lnTo>
                  <a:lnTo>
                    <a:pt x="227" y="652"/>
                  </a:lnTo>
                  <a:lnTo>
                    <a:pt x="227" y="652"/>
                  </a:lnTo>
                  <a:lnTo>
                    <a:pt x="227" y="652"/>
                  </a:lnTo>
                  <a:lnTo>
                    <a:pt x="225" y="652"/>
                  </a:lnTo>
                  <a:lnTo>
                    <a:pt x="223" y="649"/>
                  </a:lnTo>
                  <a:lnTo>
                    <a:pt x="223" y="649"/>
                  </a:lnTo>
                  <a:lnTo>
                    <a:pt x="223" y="649"/>
                  </a:lnTo>
                  <a:lnTo>
                    <a:pt x="223" y="649"/>
                  </a:lnTo>
                  <a:lnTo>
                    <a:pt x="220" y="649"/>
                  </a:lnTo>
                  <a:lnTo>
                    <a:pt x="220" y="649"/>
                  </a:lnTo>
                  <a:lnTo>
                    <a:pt x="220" y="649"/>
                  </a:lnTo>
                  <a:lnTo>
                    <a:pt x="218" y="647"/>
                  </a:lnTo>
                  <a:lnTo>
                    <a:pt x="216" y="645"/>
                  </a:lnTo>
                  <a:lnTo>
                    <a:pt x="214" y="643"/>
                  </a:lnTo>
                  <a:lnTo>
                    <a:pt x="214" y="640"/>
                  </a:lnTo>
                  <a:lnTo>
                    <a:pt x="211" y="640"/>
                  </a:lnTo>
                  <a:lnTo>
                    <a:pt x="211" y="638"/>
                  </a:lnTo>
                  <a:lnTo>
                    <a:pt x="209" y="636"/>
                  </a:lnTo>
                  <a:lnTo>
                    <a:pt x="209" y="636"/>
                  </a:lnTo>
                  <a:lnTo>
                    <a:pt x="209" y="636"/>
                  </a:lnTo>
                  <a:lnTo>
                    <a:pt x="207" y="634"/>
                  </a:lnTo>
                  <a:lnTo>
                    <a:pt x="207" y="634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31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31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7" y="629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31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5" y="629"/>
                  </a:lnTo>
                  <a:lnTo>
                    <a:pt x="202" y="627"/>
                  </a:lnTo>
                  <a:lnTo>
                    <a:pt x="202" y="627"/>
                  </a:lnTo>
                  <a:lnTo>
                    <a:pt x="202" y="627"/>
                  </a:lnTo>
                  <a:lnTo>
                    <a:pt x="202" y="627"/>
                  </a:lnTo>
                  <a:lnTo>
                    <a:pt x="202" y="627"/>
                  </a:lnTo>
                  <a:lnTo>
                    <a:pt x="205" y="627"/>
                  </a:lnTo>
                  <a:lnTo>
                    <a:pt x="205" y="627"/>
                  </a:lnTo>
                  <a:lnTo>
                    <a:pt x="205" y="627"/>
                  </a:lnTo>
                  <a:lnTo>
                    <a:pt x="205" y="625"/>
                  </a:lnTo>
                  <a:lnTo>
                    <a:pt x="205" y="625"/>
                  </a:lnTo>
                  <a:lnTo>
                    <a:pt x="205" y="625"/>
                  </a:lnTo>
                  <a:lnTo>
                    <a:pt x="202" y="627"/>
                  </a:lnTo>
                  <a:lnTo>
                    <a:pt x="202" y="627"/>
                  </a:lnTo>
                  <a:lnTo>
                    <a:pt x="202" y="625"/>
                  </a:lnTo>
                  <a:lnTo>
                    <a:pt x="202" y="625"/>
                  </a:lnTo>
                  <a:lnTo>
                    <a:pt x="202" y="625"/>
                  </a:lnTo>
                  <a:lnTo>
                    <a:pt x="202" y="625"/>
                  </a:lnTo>
                  <a:lnTo>
                    <a:pt x="202" y="625"/>
                  </a:lnTo>
                  <a:lnTo>
                    <a:pt x="202" y="627"/>
                  </a:lnTo>
                  <a:lnTo>
                    <a:pt x="202" y="627"/>
                  </a:lnTo>
                  <a:lnTo>
                    <a:pt x="200" y="622"/>
                  </a:lnTo>
                  <a:lnTo>
                    <a:pt x="200" y="618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198" y="611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198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198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6"/>
                  </a:lnTo>
                  <a:lnTo>
                    <a:pt x="200" y="616"/>
                  </a:lnTo>
                  <a:lnTo>
                    <a:pt x="200" y="618"/>
                  </a:lnTo>
                  <a:lnTo>
                    <a:pt x="200" y="618"/>
                  </a:lnTo>
                  <a:lnTo>
                    <a:pt x="202" y="618"/>
                  </a:lnTo>
                  <a:lnTo>
                    <a:pt x="202" y="618"/>
                  </a:lnTo>
                  <a:lnTo>
                    <a:pt x="202" y="618"/>
                  </a:lnTo>
                  <a:lnTo>
                    <a:pt x="202" y="618"/>
                  </a:lnTo>
                  <a:lnTo>
                    <a:pt x="205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6"/>
                  </a:lnTo>
                  <a:lnTo>
                    <a:pt x="202" y="613"/>
                  </a:lnTo>
                  <a:lnTo>
                    <a:pt x="202" y="613"/>
                  </a:lnTo>
                  <a:lnTo>
                    <a:pt x="202" y="613"/>
                  </a:lnTo>
                  <a:lnTo>
                    <a:pt x="202" y="613"/>
                  </a:lnTo>
                  <a:lnTo>
                    <a:pt x="200" y="613"/>
                  </a:lnTo>
                  <a:lnTo>
                    <a:pt x="200" y="613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11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09"/>
                  </a:lnTo>
                  <a:lnTo>
                    <a:pt x="200" y="607"/>
                  </a:lnTo>
                  <a:lnTo>
                    <a:pt x="200" y="607"/>
                  </a:lnTo>
                  <a:lnTo>
                    <a:pt x="200" y="607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4"/>
                  </a:lnTo>
                  <a:lnTo>
                    <a:pt x="198" y="604"/>
                  </a:lnTo>
                  <a:lnTo>
                    <a:pt x="198" y="604"/>
                  </a:lnTo>
                  <a:lnTo>
                    <a:pt x="198" y="602"/>
                  </a:lnTo>
                  <a:lnTo>
                    <a:pt x="198" y="602"/>
                  </a:lnTo>
                  <a:lnTo>
                    <a:pt x="198" y="602"/>
                  </a:lnTo>
                  <a:lnTo>
                    <a:pt x="198" y="602"/>
                  </a:lnTo>
                  <a:lnTo>
                    <a:pt x="198" y="602"/>
                  </a:lnTo>
                  <a:lnTo>
                    <a:pt x="196" y="602"/>
                  </a:lnTo>
                  <a:lnTo>
                    <a:pt x="198" y="604"/>
                  </a:lnTo>
                  <a:lnTo>
                    <a:pt x="198" y="604"/>
                  </a:lnTo>
                  <a:lnTo>
                    <a:pt x="198" y="604"/>
                  </a:lnTo>
                  <a:lnTo>
                    <a:pt x="198" y="604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7"/>
                  </a:lnTo>
                  <a:lnTo>
                    <a:pt x="198" y="604"/>
                  </a:lnTo>
                  <a:lnTo>
                    <a:pt x="196" y="602"/>
                  </a:lnTo>
                  <a:lnTo>
                    <a:pt x="196" y="602"/>
                  </a:lnTo>
                  <a:lnTo>
                    <a:pt x="196" y="602"/>
                  </a:lnTo>
                  <a:lnTo>
                    <a:pt x="196" y="602"/>
                  </a:lnTo>
                  <a:lnTo>
                    <a:pt x="196" y="602"/>
                  </a:lnTo>
                  <a:lnTo>
                    <a:pt x="196" y="602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8" y="600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602"/>
                  </a:lnTo>
                  <a:lnTo>
                    <a:pt x="196" y="602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600"/>
                  </a:lnTo>
                  <a:lnTo>
                    <a:pt x="196" y="598"/>
                  </a:lnTo>
                  <a:lnTo>
                    <a:pt x="193" y="595"/>
                  </a:lnTo>
                  <a:lnTo>
                    <a:pt x="193" y="595"/>
                  </a:lnTo>
                  <a:lnTo>
                    <a:pt x="193" y="595"/>
                  </a:lnTo>
                  <a:lnTo>
                    <a:pt x="193" y="595"/>
                  </a:lnTo>
                  <a:lnTo>
                    <a:pt x="193" y="593"/>
                  </a:lnTo>
                  <a:lnTo>
                    <a:pt x="193" y="593"/>
                  </a:lnTo>
                  <a:lnTo>
                    <a:pt x="191" y="593"/>
                  </a:lnTo>
                  <a:lnTo>
                    <a:pt x="191" y="593"/>
                  </a:lnTo>
                  <a:lnTo>
                    <a:pt x="191" y="591"/>
                  </a:lnTo>
                  <a:lnTo>
                    <a:pt x="191" y="589"/>
                  </a:lnTo>
                  <a:lnTo>
                    <a:pt x="191" y="589"/>
                  </a:lnTo>
                  <a:lnTo>
                    <a:pt x="191" y="589"/>
                  </a:lnTo>
                  <a:lnTo>
                    <a:pt x="189" y="589"/>
                  </a:lnTo>
                  <a:lnTo>
                    <a:pt x="189" y="586"/>
                  </a:lnTo>
                  <a:lnTo>
                    <a:pt x="189" y="586"/>
                  </a:lnTo>
                  <a:lnTo>
                    <a:pt x="189" y="586"/>
                  </a:lnTo>
                  <a:lnTo>
                    <a:pt x="191" y="586"/>
                  </a:lnTo>
                  <a:lnTo>
                    <a:pt x="191" y="586"/>
                  </a:lnTo>
                  <a:lnTo>
                    <a:pt x="189" y="586"/>
                  </a:lnTo>
                  <a:lnTo>
                    <a:pt x="189" y="586"/>
                  </a:lnTo>
                  <a:lnTo>
                    <a:pt x="189" y="584"/>
                  </a:lnTo>
                  <a:lnTo>
                    <a:pt x="187" y="580"/>
                  </a:lnTo>
                  <a:lnTo>
                    <a:pt x="184" y="575"/>
                  </a:lnTo>
                  <a:lnTo>
                    <a:pt x="184" y="575"/>
                  </a:lnTo>
                  <a:lnTo>
                    <a:pt x="184" y="575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3"/>
                  </a:lnTo>
                  <a:lnTo>
                    <a:pt x="184" y="571"/>
                  </a:lnTo>
                  <a:lnTo>
                    <a:pt x="184" y="571"/>
                  </a:lnTo>
                  <a:lnTo>
                    <a:pt x="182" y="571"/>
                  </a:lnTo>
                  <a:lnTo>
                    <a:pt x="182" y="571"/>
                  </a:lnTo>
                  <a:lnTo>
                    <a:pt x="182" y="571"/>
                  </a:lnTo>
                  <a:lnTo>
                    <a:pt x="182" y="571"/>
                  </a:lnTo>
                  <a:lnTo>
                    <a:pt x="182" y="571"/>
                  </a:lnTo>
                  <a:lnTo>
                    <a:pt x="182" y="568"/>
                  </a:lnTo>
                  <a:lnTo>
                    <a:pt x="182" y="568"/>
                  </a:lnTo>
                  <a:lnTo>
                    <a:pt x="182" y="568"/>
                  </a:lnTo>
                  <a:lnTo>
                    <a:pt x="180" y="566"/>
                  </a:lnTo>
                  <a:lnTo>
                    <a:pt x="180" y="564"/>
                  </a:lnTo>
                  <a:lnTo>
                    <a:pt x="178" y="562"/>
                  </a:lnTo>
                  <a:lnTo>
                    <a:pt x="178" y="562"/>
                  </a:lnTo>
                  <a:lnTo>
                    <a:pt x="175" y="562"/>
                  </a:lnTo>
                  <a:lnTo>
                    <a:pt x="175" y="562"/>
                  </a:lnTo>
                  <a:lnTo>
                    <a:pt x="175" y="562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8" y="559"/>
                  </a:lnTo>
                  <a:lnTo>
                    <a:pt x="178" y="559"/>
                  </a:lnTo>
                  <a:lnTo>
                    <a:pt x="178" y="559"/>
                  </a:lnTo>
                  <a:lnTo>
                    <a:pt x="178" y="559"/>
                  </a:lnTo>
                  <a:lnTo>
                    <a:pt x="178" y="559"/>
                  </a:lnTo>
                  <a:lnTo>
                    <a:pt x="178" y="559"/>
                  </a:lnTo>
                  <a:lnTo>
                    <a:pt x="178" y="559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5" y="559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5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5" y="559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3" y="557"/>
                  </a:lnTo>
                  <a:lnTo>
                    <a:pt x="171" y="555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3"/>
                  </a:lnTo>
                  <a:lnTo>
                    <a:pt x="171" y="550"/>
                  </a:lnTo>
                  <a:lnTo>
                    <a:pt x="169" y="548"/>
                  </a:lnTo>
                  <a:lnTo>
                    <a:pt x="169" y="548"/>
                  </a:lnTo>
                  <a:lnTo>
                    <a:pt x="169" y="548"/>
                  </a:lnTo>
                  <a:lnTo>
                    <a:pt x="169" y="548"/>
                  </a:lnTo>
                  <a:lnTo>
                    <a:pt x="169" y="548"/>
                  </a:lnTo>
                  <a:lnTo>
                    <a:pt x="169" y="546"/>
                  </a:lnTo>
                  <a:lnTo>
                    <a:pt x="169" y="546"/>
                  </a:lnTo>
                  <a:lnTo>
                    <a:pt x="166" y="546"/>
                  </a:lnTo>
                  <a:lnTo>
                    <a:pt x="166" y="546"/>
                  </a:lnTo>
                  <a:lnTo>
                    <a:pt x="166" y="546"/>
                  </a:lnTo>
                  <a:lnTo>
                    <a:pt x="164" y="541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7"/>
                  </a:lnTo>
                  <a:lnTo>
                    <a:pt x="166" y="537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4" y="537"/>
                  </a:lnTo>
                  <a:lnTo>
                    <a:pt x="162" y="532"/>
                  </a:lnTo>
                  <a:lnTo>
                    <a:pt x="162" y="532"/>
                  </a:lnTo>
                  <a:lnTo>
                    <a:pt x="162" y="532"/>
                  </a:lnTo>
                  <a:lnTo>
                    <a:pt x="162" y="532"/>
                  </a:lnTo>
                  <a:lnTo>
                    <a:pt x="162" y="532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2" y="530"/>
                  </a:lnTo>
                  <a:lnTo>
                    <a:pt x="162" y="528"/>
                  </a:lnTo>
                  <a:lnTo>
                    <a:pt x="162" y="528"/>
                  </a:lnTo>
                  <a:lnTo>
                    <a:pt x="160" y="526"/>
                  </a:lnTo>
                  <a:lnTo>
                    <a:pt x="160" y="526"/>
                  </a:lnTo>
                  <a:lnTo>
                    <a:pt x="160" y="526"/>
                  </a:lnTo>
                  <a:lnTo>
                    <a:pt x="160" y="526"/>
                  </a:lnTo>
                  <a:lnTo>
                    <a:pt x="160" y="526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3"/>
                  </a:lnTo>
                  <a:lnTo>
                    <a:pt x="160" y="521"/>
                  </a:lnTo>
                  <a:lnTo>
                    <a:pt x="160" y="521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9"/>
                  </a:lnTo>
                  <a:lnTo>
                    <a:pt x="160" y="517"/>
                  </a:lnTo>
                  <a:lnTo>
                    <a:pt x="160" y="517"/>
                  </a:lnTo>
                  <a:lnTo>
                    <a:pt x="160" y="517"/>
                  </a:lnTo>
                  <a:lnTo>
                    <a:pt x="160" y="517"/>
                  </a:lnTo>
                  <a:lnTo>
                    <a:pt x="160" y="519"/>
                  </a:lnTo>
                  <a:lnTo>
                    <a:pt x="158" y="517"/>
                  </a:lnTo>
                  <a:lnTo>
                    <a:pt x="158" y="517"/>
                  </a:lnTo>
                  <a:lnTo>
                    <a:pt x="158" y="514"/>
                  </a:lnTo>
                  <a:lnTo>
                    <a:pt x="158" y="514"/>
                  </a:lnTo>
                  <a:lnTo>
                    <a:pt x="158" y="512"/>
                  </a:lnTo>
                  <a:lnTo>
                    <a:pt x="155" y="512"/>
                  </a:lnTo>
                  <a:lnTo>
                    <a:pt x="155" y="510"/>
                  </a:lnTo>
                  <a:lnTo>
                    <a:pt x="155" y="510"/>
                  </a:lnTo>
                  <a:lnTo>
                    <a:pt x="155" y="510"/>
                  </a:lnTo>
                  <a:lnTo>
                    <a:pt x="155" y="510"/>
                  </a:lnTo>
                  <a:lnTo>
                    <a:pt x="155" y="510"/>
                  </a:lnTo>
                  <a:lnTo>
                    <a:pt x="155" y="508"/>
                  </a:lnTo>
                  <a:lnTo>
                    <a:pt x="155" y="508"/>
                  </a:lnTo>
                  <a:lnTo>
                    <a:pt x="153" y="508"/>
                  </a:lnTo>
                  <a:lnTo>
                    <a:pt x="153" y="508"/>
                  </a:lnTo>
                  <a:lnTo>
                    <a:pt x="153" y="505"/>
                  </a:lnTo>
                  <a:lnTo>
                    <a:pt x="153" y="505"/>
                  </a:lnTo>
                  <a:lnTo>
                    <a:pt x="153" y="505"/>
                  </a:lnTo>
                  <a:lnTo>
                    <a:pt x="153" y="505"/>
                  </a:lnTo>
                  <a:lnTo>
                    <a:pt x="153" y="503"/>
                  </a:lnTo>
                  <a:lnTo>
                    <a:pt x="153" y="503"/>
                  </a:lnTo>
                  <a:lnTo>
                    <a:pt x="153" y="505"/>
                  </a:lnTo>
                  <a:lnTo>
                    <a:pt x="153" y="505"/>
                  </a:lnTo>
                  <a:lnTo>
                    <a:pt x="155" y="505"/>
                  </a:lnTo>
                  <a:lnTo>
                    <a:pt x="155" y="503"/>
                  </a:lnTo>
                  <a:lnTo>
                    <a:pt x="153" y="503"/>
                  </a:lnTo>
                  <a:lnTo>
                    <a:pt x="153" y="503"/>
                  </a:lnTo>
                  <a:lnTo>
                    <a:pt x="153" y="503"/>
                  </a:lnTo>
                  <a:lnTo>
                    <a:pt x="153" y="503"/>
                  </a:lnTo>
                  <a:lnTo>
                    <a:pt x="153" y="501"/>
                  </a:lnTo>
                  <a:lnTo>
                    <a:pt x="151" y="501"/>
                  </a:lnTo>
                  <a:lnTo>
                    <a:pt x="151" y="501"/>
                  </a:lnTo>
                  <a:lnTo>
                    <a:pt x="151" y="501"/>
                  </a:lnTo>
                  <a:lnTo>
                    <a:pt x="151" y="501"/>
                  </a:lnTo>
                  <a:lnTo>
                    <a:pt x="151" y="501"/>
                  </a:lnTo>
                  <a:lnTo>
                    <a:pt x="151" y="501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3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51" y="499"/>
                  </a:lnTo>
                  <a:lnTo>
                    <a:pt x="149" y="499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51" y="497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49" y="497"/>
                  </a:lnTo>
                  <a:lnTo>
                    <a:pt x="149" y="494"/>
                  </a:lnTo>
                  <a:lnTo>
                    <a:pt x="149" y="494"/>
                  </a:lnTo>
                  <a:lnTo>
                    <a:pt x="149" y="494"/>
                  </a:lnTo>
                  <a:lnTo>
                    <a:pt x="149" y="494"/>
                  </a:lnTo>
                  <a:lnTo>
                    <a:pt x="149" y="494"/>
                  </a:lnTo>
                  <a:lnTo>
                    <a:pt x="149" y="492"/>
                  </a:lnTo>
                  <a:lnTo>
                    <a:pt x="149" y="492"/>
                  </a:lnTo>
                  <a:lnTo>
                    <a:pt x="146" y="492"/>
                  </a:lnTo>
                  <a:lnTo>
                    <a:pt x="146" y="494"/>
                  </a:lnTo>
                  <a:lnTo>
                    <a:pt x="146" y="492"/>
                  </a:lnTo>
                  <a:lnTo>
                    <a:pt x="146" y="492"/>
                  </a:lnTo>
                  <a:lnTo>
                    <a:pt x="146" y="492"/>
                  </a:lnTo>
                  <a:lnTo>
                    <a:pt x="146" y="492"/>
                  </a:lnTo>
                  <a:lnTo>
                    <a:pt x="146" y="492"/>
                  </a:lnTo>
                  <a:lnTo>
                    <a:pt x="146" y="492"/>
                  </a:lnTo>
                  <a:lnTo>
                    <a:pt x="146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9" y="490"/>
                  </a:lnTo>
                  <a:lnTo>
                    <a:pt x="149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6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90"/>
                  </a:lnTo>
                  <a:lnTo>
                    <a:pt x="144" y="488"/>
                  </a:lnTo>
                  <a:lnTo>
                    <a:pt x="144" y="488"/>
                  </a:lnTo>
                  <a:lnTo>
                    <a:pt x="144" y="488"/>
                  </a:lnTo>
                  <a:lnTo>
                    <a:pt x="144" y="488"/>
                  </a:lnTo>
                  <a:lnTo>
                    <a:pt x="144" y="488"/>
                  </a:lnTo>
                  <a:lnTo>
                    <a:pt x="142" y="488"/>
                  </a:lnTo>
                  <a:lnTo>
                    <a:pt x="142" y="488"/>
                  </a:lnTo>
                  <a:lnTo>
                    <a:pt x="142" y="485"/>
                  </a:lnTo>
                  <a:lnTo>
                    <a:pt x="142" y="485"/>
                  </a:lnTo>
                  <a:lnTo>
                    <a:pt x="142" y="485"/>
                  </a:lnTo>
                  <a:lnTo>
                    <a:pt x="140" y="485"/>
                  </a:lnTo>
                  <a:lnTo>
                    <a:pt x="140" y="483"/>
                  </a:lnTo>
                  <a:lnTo>
                    <a:pt x="140" y="483"/>
                  </a:lnTo>
                  <a:lnTo>
                    <a:pt x="142" y="483"/>
                  </a:lnTo>
                  <a:lnTo>
                    <a:pt x="142" y="483"/>
                  </a:lnTo>
                  <a:lnTo>
                    <a:pt x="142" y="483"/>
                  </a:lnTo>
                  <a:lnTo>
                    <a:pt x="142" y="483"/>
                  </a:lnTo>
                  <a:lnTo>
                    <a:pt x="142" y="483"/>
                  </a:lnTo>
                  <a:lnTo>
                    <a:pt x="140" y="479"/>
                  </a:lnTo>
                  <a:lnTo>
                    <a:pt x="140" y="479"/>
                  </a:lnTo>
                  <a:lnTo>
                    <a:pt x="140" y="479"/>
                  </a:lnTo>
                  <a:lnTo>
                    <a:pt x="140" y="479"/>
                  </a:lnTo>
                  <a:lnTo>
                    <a:pt x="137" y="479"/>
                  </a:lnTo>
                  <a:lnTo>
                    <a:pt x="137" y="479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2" y="479"/>
                  </a:lnTo>
                  <a:lnTo>
                    <a:pt x="142" y="479"/>
                  </a:lnTo>
                  <a:lnTo>
                    <a:pt x="142" y="479"/>
                  </a:lnTo>
                  <a:lnTo>
                    <a:pt x="142" y="479"/>
                  </a:lnTo>
                  <a:lnTo>
                    <a:pt x="142" y="479"/>
                  </a:lnTo>
                  <a:lnTo>
                    <a:pt x="142" y="479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40" y="476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37" y="476"/>
                  </a:lnTo>
                  <a:lnTo>
                    <a:pt x="137" y="474"/>
                  </a:lnTo>
                  <a:lnTo>
                    <a:pt x="137" y="474"/>
                  </a:lnTo>
                  <a:lnTo>
                    <a:pt x="137" y="474"/>
                  </a:lnTo>
                  <a:lnTo>
                    <a:pt x="140" y="474"/>
                  </a:lnTo>
                  <a:lnTo>
                    <a:pt x="140" y="474"/>
                  </a:lnTo>
                  <a:lnTo>
                    <a:pt x="137" y="474"/>
                  </a:lnTo>
                  <a:lnTo>
                    <a:pt x="137" y="474"/>
                  </a:lnTo>
                  <a:lnTo>
                    <a:pt x="140" y="474"/>
                  </a:lnTo>
                  <a:lnTo>
                    <a:pt x="140" y="474"/>
                  </a:lnTo>
                  <a:lnTo>
                    <a:pt x="137" y="474"/>
                  </a:lnTo>
                  <a:lnTo>
                    <a:pt x="137" y="474"/>
                  </a:lnTo>
                  <a:lnTo>
                    <a:pt x="137" y="474"/>
                  </a:lnTo>
                  <a:lnTo>
                    <a:pt x="135" y="474"/>
                  </a:lnTo>
                  <a:lnTo>
                    <a:pt x="137" y="474"/>
                  </a:lnTo>
                  <a:lnTo>
                    <a:pt x="135" y="474"/>
                  </a:lnTo>
                  <a:lnTo>
                    <a:pt x="135" y="474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7" y="472"/>
                  </a:lnTo>
                  <a:lnTo>
                    <a:pt x="137" y="472"/>
                  </a:lnTo>
                  <a:lnTo>
                    <a:pt x="137" y="472"/>
                  </a:lnTo>
                  <a:lnTo>
                    <a:pt x="137" y="472"/>
                  </a:lnTo>
                  <a:lnTo>
                    <a:pt x="137" y="472"/>
                  </a:lnTo>
                  <a:lnTo>
                    <a:pt x="137" y="472"/>
                  </a:lnTo>
                  <a:lnTo>
                    <a:pt x="137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2"/>
                  </a:lnTo>
                  <a:lnTo>
                    <a:pt x="135" y="470"/>
                  </a:lnTo>
                  <a:lnTo>
                    <a:pt x="135" y="470"/>
                  </a:lnTo>
                  <a:lnTo>
                    <a:pt x="135" y="470"/>
                  </a:lnTo>
                  <a:lnTo>
                    <a:pt x="135" y="470"/>
                  </a:lnTo>
                  <a:lnTo>
                    <a:pt x="135" y="470"/>
                  </a:lnTo>
                  <a:lnTo>
                    <a:pt x="133" y="470"/>
                  </a:lnTo>
                  <a:lnTo>
                    <a:pt x="133" y="470"/>
                  </a:lnTo>
                  <a:lnTo>
                    <a:pt x="133" y="470"/>
                  </a:lnTo>
                  <a:lnTo>
                    <a:pt x="133" y="467"/>
                  </a:lnTo>
                  <a:lnTo>
                    <a:pt x="133" y="467"/>
                  </a:lnTo>
                  <a:lnTo>
                    <a:pt x="133" y="465"/>
                  </a:lnTo>
                  <a:lnTo>
                    <a:pt x="133" y="465"/>
                  </a:lnTo>
                  <a:lnTo>
                    <a:pt x="131" y="465"/>
                  </a:lnTo>
                  <a:lnTo>
                    <a:pt x="131" y="463"/>
                  </a:lnTo>
                  <a:lnTo>
                    <a:pt x="131" y="463"/>
                  </a:lnTo>
                  <a:lnTo>
                    <a:pt x="131" y="463"/>
                  </a:lnTo>
                  <a:lnTo>
                    <a:pt x="131" y="463"/>
                  </a:lnTo>
                  <a:lnTo>
                    <a:pt x="131" y="463"/>
                  </a:lnTo>
                  <a:lnTo>
                    <a:pt x="131" y="463"/>
                  </a:lnTo>
                  <a:lnTo>
                    <a:pt x="131" y="463"/>
                  </a:lnTo>
                  <a:lnTo>
                    <a:pt x="128" y="463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61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61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8"/>
                  </a:lnTo>
                  <a:lnTo>
                    <a:pt x="128" y="456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4"/>
                  </a:lnTo>
                  <a:lnTo>
                    <a:pt x="126" y="452"/>
                  </a:lnTo>
                  <a:lnTo>
                    <a:pt x="126" y="452"/>
                  </a:lnTo>
                  <a:lnTo>
                    <a:pt x="126" y="452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4" y="449"/>
                  </a:lnTo>
                  <a:lnTo>
                    <a:pt x="126" y="447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9"/>
                  </a:lnTo>
                  <a:lnTo>
                    <a:pt x="126" y="447"/>
                  </a:lnTo>
                  <a:lnTo>
                    <a:pt x="126" y="447"/>
                  </a:lnTo>
                  <a:lnTo>
                    <a:pt x="126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7"/>
                  </a:lnTo>
                  <a:lnTo>
                    <a:pt x="124" y="445"/>
                  </a:lnTo>
                  <a:lnTo>
                    <a:pt x="124" y="445"/>
                  </a:lnTo>
                  <a:lnTo>
                    <a:pt x="124" y="445"/>
                  </a:lnTo>
                  <a:lnTo>
                    <a:pt x="124" y="445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3"/>
                  </a:lnTo>
                  <a:lnTo>
                    <a:pt x="124" y="440"/>
                  </a:lnTo>
                  <a:lnTo>
                    <a:pt x="124" y="440"/>
                  </a:lnTo>
                  <a:lnTo>
                    <a:pt x="124" y="440"/>
                  </a:lnTo>
                  <a:lnTo>
                    <a:pt x="124" y="440"/>
                  </a:lnTo>
                  <a:lnTo>
                    <a:pt x="124" y="438"/>
                  </a:lnTo>
                  <a:lnTo>
                    <a:pt x="122" y="438"/>
                  </a:lnTo>
                  <a:lnTo>
                    <a:pt x="122" y="438"/>
                  </a:lnTo>
                  <a:lnTo>
                    <a:pt x="122" y="438"/>
                  </a:lnTo>
                  <a:lnTo>
                    <a:pt x="122" y="438"/>
                  </a:lnTo>
                  <a:lnTo>
                    <a:pt x="122" y="438"/>
                  </a:lnTo>
                  <a:lnTo>
                    <a:pt x="124" y="438"/>
                  </a:lnTo>
                  <a:lnTo>
                    <a:pt x="124" y="438"/>
                  </a:lnTo>
                  <a:lnTo>
                    <a:pt x="124" y="438"/>
                  </a:lnTo>
                  <a:lnTo>
                    <a:pt x="122" y="436"/>
                  </a:lnTo>
                  <a:lnTo>
                    <a:pt x="122" y="436"/>
                  </a:lnTo>
                  <a:lnTo>
                    <a:pt x="122" y="436"/>
                  </a:lnTo>
                  <a:lnTo>
                    <a:pt x="122" y="436"/>
                  </a:lnTo>
                  <a:lnTo>
                    <a:pt x="122" y="436"/>
                  </a:lnTo>
                  <a:lnTo>
                    <a:pt x="122" y="434"/>
                  </a:lnTo>
                  <a:lnTo>
                    <a:pt x="122" y="434"/>
                  </a:lnTo>
                  <a:lnTo>
                    <a:pt x="122" y="434"/>
                  </a:lnTo>
                  <a:lnTo>
                    <a:pt x="122" y="434"/>
                  </a:lnTo>
                  <a:lnTo>
                    <a:pt x="122" y="431"/>
                  </a:lnTo>
                  <a:lnTo>
                    <a:pt x="122" y="431"/>
                  </a:lnTo>
                  <a:lnTo>
                    <a:pt x="119" y="431"/>
                  </a:lnTo>
                  <a:lnTo>
                    <a:pt x="122" y="431"/>
                  </a:lnTo>
                  <a:lnTo>
                    <a:pt x="122" y="431"/>
                  </a:lnTo>
                  <a:lnTo>
                    <a:pt x="122" y="431"/>
                  </a:lnTo>
                  <a:lnTo>
                    <a:pt x="122" y="431"/>
                  </a:lnTo>
                  <a:lnTo>
                    <a:pt x="122" y="431"/>
                  </a:lnTo>
                  <a:lnTo>
                    <a:pt x="122" y="431"/>
                  </a:lnTo>
                  <a:lnTo>
                    <a:pt x="122" y="429"/>
                  </a:lnTo>
                  <a:lnTo>
                    <a:pt x="119" y="429"/>
                  </a:lnTo>
                  <a:lnTo>
                    <a:pt x="119" y="429"/>
                  </a:lnTo>
                  <a:lnTo>
                    <a:pt x="119" y="429"/>
                  </a:lnTo>
                  <a:lnTo>
                    <a:pt x="119" y="429"/>
                  </a:lnTo>
                  <a:lnTo>
                    <a:pt x="119" y="429"/>
                  </a:lnTo>
                  <a:lnTo>
                    <a:pt x="119" y="429"/>
                  </a:lnTo>
                  <a:lnTo>
                    <a:pt x="119" y="427"/>
                  </a:lnTo>
                  <a:lnTo>
                    <a:pt x="119" y="427"/>
                  </a:lnTo>
                  <a:lnTo>
                    <a:pt x="119" y="427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5"/>
                  </a:lnTo>
                  <a:lnTo>
                    <a:pt x="119" y="422"/>
                  </a:lnTo>
                  <a:lnTo>
                    <a:pt x="117" y="422"/>
                  </a:lnTo>
                  <a:lnTo>
                    <a:pt x="117" y="422"/>
                  </a:lnTo>
                  <a:lnTo>
                    <a:pt x="117" y="422"/>
                  </a:lnTo>
                  <a:lnTo>
                    <a:pt x="117" y="422"/>
                  </a:lnTo>
                  <a:lnTo>
                    <a:pt x="117" y="422"/>
                  </a:lnTo>
                  <a:lnTo>
                    <a:pt x="117" y="422"/>
                  </a:lnTo>
                  <a:lnTo>
                    <a:pt x="117" y="422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17" y="420"/>
                  </a:lnTo>
                  <a:lnTo>
                    <a:pt x="117" y="418"/>
                  </a:lnTo>
                  <a:lnTo>
                    <a:pt x="117" y="418"/>
                  </a:lnTo>
                  <a:lnTo>
                    <a:pt x="115" y="416"/>
                  </a:lnTo>
                  <a:lnTo>
                    <a:pt x="115" y="416"/>
                  </a:lnTo>
                  <a:lnTo>
                    <a:pt x="115" y="416"/>
                  </a:lnTo>
                  <a:lnTo>
                    <a:pt x="115" y="416"/>
                  </a:lnTo>
                  <a:lnTo>
                    <a:pt x="115" y="416"/>
                  </a:lnTo>
                  <a:lnTo>
                    <a:pt x="115" y="416"/>
                  </a:lnTo>
                  <a:lnTo>
                    <a:pt x="115" y="416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5" y="413"/>
                  </a:lnTo>
                  <a:lnTo>
                    <a:pt x="113" y="411"/>
                  </a:lnTo>
                  <a:lnTo>
                    <a:pt x="113" y="411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11"/>
                  </a:lnTo>
                  <a:lnTo>
                    <a:pt x="115" y="411"/>
                  </a:lnTo>
                  <a:lnTo>
                    <a:pt x="115" y="411"/>
                  </a:lnTo>
                  <a:lnTo>
                    <a:pt x="115" y="411"/>
                  </a:lnTo>
                  <a:lnTo>
                    <a:pt x="115" y="411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5" y="409"/>
                  </a:lnTo>
                  <a:lnTo>
                    <a:pt x="113" y="409"/>
                  </a:lnTo>
                  <a:lnTo>
                    <a:pt x="113" y="409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7"/>
                  </a:lnTo>
                  <a:lnTo>
                    <a:pt x="113" y="404"/>
                  </a:lnTo>
                  <a:lnTo>
                    <a:pt x="113" y="404"/>
                  </a:lnTo>
                  <a:lnTo>
                    <a:pt x="113" y="404"/>
                  </a:lnTo>
                  <a:lnTo>
                    <a:pt x="110" y="404"/>
                  </a:lnTo>
                  <a:lnTo>
                    <a:pt x="110" y="404"/>
                  </a:lnTo>
                  <a:lnTo>
                    <a:pt x="110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4"/>
                  </a:lnTo>
                  <a:lnTo>
                    <a:pt x="115" y="404"/>
                  </a:lnTo>
                  <a:lnTo>
                    <a:pt x="115" y="404"/>
                  </a:lnTo>
                  <a:lnTo>
                    <a:pt x="115" y="404"/>
                  </a:lnTo>
                  <a:lnTo>
                    <a:pt x="113" y="404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3" y="402"/>
                  </a:lnTo>
                  <a:lnTo>
                    <a:pt x="110" y="402"/>
                  </a:lnTo>
                  <a:lnTo>
                    <a:pt x="110" y="400"/>
                  </a:lnTo>
                  <a:lnTo>
                    <a:pt x="110" y="400"/>
                  </a:lnTo>
                  <a:lnTo>
                    <a:pt x="110" y="400"/>
                  </a:lnTo>
                  <a:lnTo>
                    <a:pt x="110" y="398"/>
                  </a:lnTo>
                  <a:lnTo>
                    <a:pt x="110" y="398"/>
                  </a:lnTo>
                  <a:lnTo>
                    <a:pt x="110" y="395"/>
                  </a:lnTo>
                  <a:lnTo>
                    <a:pt x="110" y="395"/>
                  </a:lnTo>
                  <a:lnTo>
                    <a:pt x="110" y="395"/>
                  </a:lnTo>
                  <a:lnTo>
                    <a:pt x="110" y="395"/>
                  </a:lnTo>
                  <a:lnTo>
                    <a:pt x="110" y="395"/>
                  </a:lnTo>
                  <a:lnTo>
                    <a:pt x="110" y="395"/>
                  </a:lnTo>
                  <a:lnTo>
                    <a:pt x="110" y="395"/>
                  </a:lnTo>
                  <a:lnTo>
                    <a:pt x="113" y="395"/>
                  </a:lnTo>
                  <a:lnTo>
                    <a:pt x="113" y="398"/>
                  </a:lnTo>
                  <a:lnTo>
                    <a:pt x="113" y="398"/>
                  </a:lnTo>
                  <a:lnTo>
                    <a:pt x="113" y="398"/>
                  </a:lnTo>
                  <a:lnTo>
                    <a:pt x="113" y="398"/>
                  </a:lnTo>
                  <a:lnTo>
                    <a:pt x="113" y="398"/>
                  </a:lnTo>
                  <a:lnTo>
                    <a:pt x="113" y="398"/>
                  </a:lnTo>
                  <a:lnTo>
                    <a:pt x="113" y="398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3" y="395"/>
                  </a:lnTo>
                  <a:lnTo>
                    <a:pt x="110" y="395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0" y="393"/>
                  </a:lnTo>
                  <a:lnTo>
                    <a:pt x="110" y="393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3" y="389"/>
                  </a:lnTo>
                  <a:lnTo>
                    <a:pt x="110" y="389"/>
                  </a:lnTo>
                  <a:lnTo>
                    <a:pt x="110" y="386"/>
                  </a:lnTo>
                  <a:lnTo>
                    <a:pt x="110" y="386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10" y="389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10" y="391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3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91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9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8" y="386"/>
                  </a:lnTo>
                  <a:lnTo>
                    <a:pt x="106" y="384"/>
                  </a:lnTo>
                  <a:lnTo>
                    <a:pt x="106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3" y="386"/>
                  </a:lnTo>
                  <a:lnTo>
                    <a:pt x="113" y="386"/>
                  </a:lnTo>
                  <a:lnTo>
                    <a:pt x="113" y="386"/>
                  </a:lnTo>
                  <a:lnTo>
                    <a:pt x="113" y="386"/>
                  </a:lnTo>
                  <a:lnTo>
                    <a:pt x="113" y="386"/>
                  </a:lnTo>
                  <a:lnTo>
                    <a:pt x="113" y="386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10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08" y="384"/>
                  </a:lnTo>
                  <a:lnTo>
                    <a:pt x="106" y="384"/>
                  </a:lnTo>
                  <a:lnTo>
                    <a:pt x="106" y="382"/>
                  </a:lnTo>
                  <a:lnTo>
                    <a:pt x="106" y="382"/>
                  </a:lnTo>
                  <a:lnTo>
                    <a:pt x="106" y="382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8" y="380"/>
                  </a:lnTo>
                  <a:lnTo>
                    <a:pt x="108" y="380"/>
                  </a:lnTo>
                  <a:lnTo>
                    <a:pt x="108" y="380"/>
                  </a:lnTo>
                  <a:lnTo>
                    <a:pt x="108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77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6" y="380"/>
                  </a:lnTo>
                  <a:lnTo>
                    <a:pt x="104" y="377"/>
                  </a:lnTo>
                  <a:lnTo>
                    <a:pt x="106" y="377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6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3"/>
                  </a:lnTo>
                  <a:lnTo>
                    <a:pt x="104" y="371"/>
                  </a:lnTo>
                  <a:lnTo>
                    <a:pt x="104" y="371"/>
                  </a:lnTo>
                  <a:lnTo>
                    <a:pt x="104" y="371"/>
                  </a:lnTo>
                  <a:lnTo>
                    <a:pt x="104" y="371"/>
                  </a:lnTo>
                  <a:lnTo>
                    <a:pt x="104" y="371"/>
                  </a:lnTo>
                  <a:lnTo>
                    <a:pt x="104" y="368"/>
                  </a:lnTo>
                  <a:lnTo>
                    <a:pt x="104" y="368"/>
                  </a:lnTo>
                  <a:lnTo>
                    <a:pt x="104" y="368"/>
                  </a:lnTo>
                  <a:lnTo>
                    <a:pt x="104" y="368"/>
                  </a:lnTo>
                  <a:lnTo>
                    <a:pt x="104" y="368"/>
                  </a:lnTo>
                  <a:lnTo>
                    <a:pt x="104" y="368"/>
                  </a:lnTo>
                  <a:lnTo>
                    <a:pt x="104" y="368"/>
                  </a:lnTo>
                  <a:lnTo>
                    <a:pt x="104" y="366"/>
                  </a:lnTo>
                  <a:lnTo>
                    <a:pt x="104" y="366"/>
                  </a:lnTo>
                  <a:lnTo>
                    <a:pt x="104" y="364"/>
                  </a:lnTo>
                  <a:lnTo>
                    <a:pt x="104" y="364"/>
                  </a:lnTo>
                  <a:lnTo>
                    <a:pt x="104" y="364"/>
                  </a:lnTo>
                  <a:lnTo>
                    <a:pt x="104" y="364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04" y="359"/>
                  </a:lnTo>
                  <a:lnTo>
                    <a:pt x="104" y="359"/>
                  </a:lnTo>
                  <a:lnTo>
                    <a:pt x="104" y="359"/>
                  </a:lnTo>
                  <a:lnTo>
                    <a:pt x="104" y="359"/>
                  </a:lnTo>
                  <a:lnTo>
                    <a:pt x="104" y="359"/>
                  </a:lnTo>
                  <a:lnTo>
                    <a:pt x="106" y="359"/>
                  </a:lnTo>
                  <a:lnTo>
                    <a:pt x="106" y="359"/>
                  </a:lnTo>
                  <a:lnTo>
                    <a:pt x="106" y="359"/>
                  </a:lnTo>
                  <a:lnTo>
                    <a:pt x="106" y="357"/>
                  </a:lnTo>
                  <a:lnTo>
                    <a:pt x="106" y="357"/>
                  </a:lnTo>
                  <a:lnTo>
                    <a:pt x="106" y="357"/>
                  </a:lnTo>
                  <a:lnTo>
                    <a:pt x="106" y="355"/>
                  </a:lnTo>
                  <a:lnTo>
                    <a:pt x="106" y="355"/>
                  </a:lnTo>
                  <a:lnTo>
                    <a:pt x="106" y="355"/>
                  </a:lnTo>
                  <a:lnTo>
                    <a:pt x="106" y="355"/>
                  </a:lnTo>
                  <a:lnTo>
                    <a:pt x="106" y="355"/>
                  </a:lnTo>
                  <a:lnTo>
                    <a:pt x="106" y="353"/>
                  </a:lnTo>
                  <a:lnTo>
                    <a:pt x="106" y="353"/>
                  </a:lnTo>
                  <a:lnTo>
                    <a:pt x="106" y="353"/>
                  </a:lnTo>
                  <a:lnTo>
                    <a:pt x="106" y="353"/>
                  </a:lnTo>
                  <a:lnTo>
                    <a:pt x="106" y="353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50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6" y="348"/>
                  </a:lnTo>
                  <a:lnTo>
                    <a:pt x="104" y="348"/>
                  </a:lnTo>
                  <a:lnTo>
                    <a:pt x="104" y="348"/>
                  </a:lnTo>
                  <a:lnTo>
                    <a:pt x="104" y="346"/>
                  </a:lnTo>
                  <a:lnTo>
                    <a:pt x="104" y="346"/>
                  </a:lnTo>
                  <a:lnTo>
                    <a:pt x="104" y="346"/>
                  </a:lnTo>
                  <a:lnTo>
                    <a:pt x="104" y="346"/>
                  </a:lnTo>
                  <a:lnTo>
                    <a:pt x="106" y="346"/>
                  </a:lnTo>
                  <a:lnTo>
                    <a:pt x="106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1" y="344"/>
                  </a:lnTo>
                  <a:lnTo>
                    <a:pt x="101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4"/>
                  </a:lnTo>
                  <a:lnTo>
                    <a:pt x="104" y="341"/>
                  </a:lnTo>
                  <a:lnTo>
                    <a:pt x="104" y="341"/>
                  </a:lnTo>
                  <a:lnTo>
                    <a:pt x="104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99" y="339"/>
                  </a:lnTo>
                  <a:lnTo>
                    <a:pt x="99" y="339"/>
                  </a:lnTo>
                  <a:lnTo>
                    <a:pt x="99" y="339"/>
                  </a:lnTo>
                  <a:lnTo>
                    <a:pt x="99" y="339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9" y="337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7" y="335"/>
                  </a:lnTo>
                  <a:lnTo>
                    <a:pt x="97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7" y="335"/>
                  </a:lnTo>
                  <a:lnTo>
                    <a:pt x="97" y="335"/>
                  </a:lnTo>
                  <a:lnTo>
                    <a:pt x="97" y="335"/>
                  </a:lnTo>
                  <a:lnTo>
                    <a:pt x="97" y="335"/>
                  </a:lnTo>
                  <a:lnTo>
                    <a:pt x="97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99" y="335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101" y="332"/>
                  </a:lnTo>
                  <a:lnTo>
                    <a:pt x="99" y="332"/>
                  </a:lnTo>
                  <a:lnTo>
                    <a:pt x="99" y="332"/>
                  </a:lnTo>
                  <a:lnTo>
                    <a:pt x="99" y="335"/>
                  </a:lnTo>
                  <a:lnTo>
                    <a:pt x="97" y="335"/>
                  </a:lnTo>
                  <a:lnTo>
                    <a:pt x="97" y="335"/>
                  </a:lnTo>
                  <a:lnTo>
                    <a:pt x="97" y="332"/>
                  </a:lnTo>
                  <a:lnTo>
                    <a:pt x="99" y="332"/>
                  </a:lnTo>
                  <a:lnTo>
                    <a:pt x="99" y="332"/>
                  </a:lnTo>
                  <a:lnTo>
                    <a:pt x="99" y="330"/>
                  </a:lnTo>
                  <a:lnTo>
                    <a:pt x="99" y="330"/>
                  </a:lnTo>
                  <a:lnTo>
                    <a:pt x="99" y="330"/>
                  </a:lnTo>
                  <a:lnTo>
                    <a:pt x="101" y="330"/>
                  </a:lnTo>
                  <a:lnTo>
                    <a:pt x="101" y="330"/>
                  </a:lnTo>
                  <a:lnTo>
                    <a:pt x="101" y="330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4" y="328"/>
                  </a:lnTo>
                  <a:lnTo>
                    <a:pt x="104" y="328"/>
                  </a:lnTo>
                  <a:lnTo>
                    <a:pt x="104" y="328"/>
                  </a:lnTo>
                  <a:lnTo>
                    <a:pt x="104" y="328"/>
                  </a:lnTo>
                  <a:lnTo>
                    <a:pt x="106" y="328"/>
                  </a:lnTo>
                  <a:lnTo>
                    <a:pt x="106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8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8"/>
                  </a:lnTo>
                  <a:lnTo>
                    <a:pt x="106" y="328"/>
                  </a:lnTo>
                  <a:lnTo>
                    <a:pt x="106" y="328"/>
                  </a:lnTo>
                  <a:lnTo>
                    <a:pt x="104" y="328"/>
                  </a:lnTo>
                  <a:lnTo>
                    <a:pt x="104" y="328"/>
                  </a:lnTo>
                  <a:lnTo>
                    <a:pt x="104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101" y="328"/>
                  </a:lnTo>
                  <a:lnTo>
                    <a:pt x="99" y="328"/>
                  </a:lnTo>
                  <a:lnTo>
                    <a:pt x="99" y="328"/>
                  </a:lnTo>
                  <a:lnTo>
                    <a:pt x="99" y="328"/>
                  </a:lnTo>
                  <a:lnTo>
                    <a:pt x="99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7" y="326"/>
                  </a:lnTo>
                  <a:lnTo>
                    <a:pt x="97" y="326"/>
                  </a:lnTo>
                  <a:lnTo>
                    <a:pt x="97" y="323"/>
                  </a:lnTo>
                  <a:lnTo>
                    <a:pt x="97" y="323"/>
                  </a:lnTo>
                  <a:lnTo>
                    <a:pt x="97" y="323"/>
                  </a:lnTo>
                  <a:lnTo>
                    <a:pt x="97" y="323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7" y="321"/>
                  </a:lnTo>
                  <a:lnTo>
                    <a:pt x="95" y="321"/>
                  </a:lnTo>
                  <a:lnTo>
                    <a:pt x="95" y="323"/>
                  </a:lnTo>
                  <a:lnTo>
                    <a:pt x="95" y="321"/>
                  </a:lnTo>
                  <a:lnTo>
                    <a:pt x="95" y="321"/>
                  </a:lnTo>
                  <a:lnTo>
                    <a:pt x="95" y="321"/>
                  </a:lnTo>
                  <a:lnTo>
                    <a:pt x="95" y="321"/>
                  </a:lnTo>
                  <a:lnTo>
                    <a:pt x="95" y="319"/>
                  </a:lnTo>
                  <a:lnTo>
                    <a:pt x="95" y="319"/>
                  </a:lnTo>
                  <a:lnTo>
                    <a:pt x="95" y="319"/>
                  </a:lnTo>
                  <a:lnTo>
                    <a:pt x="95" y="319"/>
                  </a:lnTo>
                  <a:lnTo>
                    <a:pt x="95" y="319"/>
                  </a:lnTo>
                  <a:lnTo>
                    <a:pt x="95" y="317"/>
                  </a:lnTo>
                  <a:lnTo>
                    <a:pt x="95" y="317"/>
                  </a:lnTo>
                  <a:lnTo>
                    <a:pt x="95" y="317"/>
                  </a:lnTo>
                  <a:lnTo>
                    <a:pt x="95" y="317"/>
                  </a:lnTo>
                  <a:lnTo>
                    <a:pt x="95" y="317"/>
                  </a:lnTo>
                  <a:lnTo>
                    <a:pt x="95" y="317"/>
                  </a:lnTo>
                  <a:lnTo>
                    <a:pt x="95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9" y="314"/>
                  </a:lnTo>
                  <a:lnTo>
                    <a:pt x="99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101" y="314"/>
                  </a:lnTo>
                  <a:lnTo>
                    <a:pt x="99" y="314"/>
                  </a:lnTo>
                  <a:lnTo>
                    <a:pt x="99" y="314"/>
                  </a:lnTo>
                  <a:lnTo>
                    <a:pt x="99" y="314"/>
                  </a:lnTo>
                  <a:lnTo>
                    <a:pt x="99" y="314"/>
                  </a:lnTo>
                  <a:lnTo>
                    <a:pt x="99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5" y="314"/>
                  </a:lnTo>
                  <a:lnTo>
                    <a:pt x="95" y="314"/>
                  </a:lnTo>
                  <a:lnTo>
                    <a:pt x="95" y="314"/>
                  </a:lnTo>
                  <a:lnTo>
                    <a:pt x="95" y="314"/>
                  </a:lnTo>
                  <a:lnTo>
                    <a:pt x="95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2" y="314"/>
                  </a:lnTo>
                  <a:lnTo>
                    <a:pt x="90" y="314"/>
                  </a:lnTo>
                  <a:lnTo>
                    <a:pt x="90" y="314"/>
                  </a:lnTo>
                  <a:lnTo>
                    <a:pt x="90" y="314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2"/>
                  </a:lnTo>
                  <a:lnTo>
                    <a:pt x="90" y="314"/>
                  </a:lnTo>
                  <a:lnTo>
                    <a:pt x="90" y="314"/>
                  </a:lnTo>
                  <a:lnTo>
                    <a:pt x="90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88" y="312"/>
                  </a:lnTo>
                  <a:lnTo>
                    <a:pt x="88" y="314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7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90" y="319"/>
                  </a:lnTo>
                  <a:lnTo>
                    <a:pt x="88" y="319"/>
                  </a:lnTo>
                  <a:lnTo>
                    <a:pt x="88" y="319"/>
                  </a:lnTo>
                  <a:lnTo>
                    <a:pt x="88" y="319"/>
                  </a:lnTo>
                  <a:lnTo>
                    <a:pt x="88" y="319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19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6" y="319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6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1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8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6" y="323"/>
                  </a:lnTo>
                  <a:lnTo>
                    <a:pt x="83" y="323"/>
                  </a:lnTo>
                  <a:lnTo>
                    <a:pt x="83" y="323"/>
                  </a:lnTo>
                  <a:lnTo>
                    <a:pt x="83" y="323"/>
                  </a:lnTo>
                  <a:lnTo>
                    <a:pt x="83" y="326"/>
                  </a:lnTo>
                  <a:lnTo>
                    <a:pt x="83" y="326"/>
                  </a:lnTo>
                  <a:lnTo>
                    <a:pt x="83" y="326"/>
                  </a:lnTo>
                  <a:lnTo>
                    <a:pt x="83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6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6"/>
                  </a:lnTo>
                  <a:lnTo>
                    <a:pt x="88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28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0"/>
                  </a:lnTo>
                  <a:lnTo>
                    <a:pt x="90" y="332"/>
                  </a:lnTo>
                  <a:lnTo>
                    <a:pt x="90" y="332"/>
                  </a:lnTo>
                  <a:lnTo>
                    <a:pt x="88" y="335"/>
                  </a:lnTo>
                  <a:lnTo>
                    <a:pt x="88" y="335"/>
                  </a:lnTo>
                  <a:lnTo>
                    <a:pt x="88" y="335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7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8" y="339"/>
                  </a:lnTo>
                  <a:lnTo>
                    <a:pt x="86" y="341"/>
                  </a:lnTo>
                  <a:lnTo>
                    <a:pt x="86" y="341"/>
                  </a:lnTo>
                  <a:lnTo>
                    <a:pt x="86" y="341"/>
                  </a:lnTo>
                  <a:lnTo>
                    <a:pt x="83" y="344"/>
                  </a:lnTo>
                  <a:lnTo>
                    <a:pt x="81" y="344"/>
                  </a:lnTo>
                  <a:lnTo>
                    <a:pt x="81" y="344"/>
                  </a:lnTo>
                  <a:lnTo>
                    <a:pt x="81" y="344"/>
                  </a:lnTo>
                  <a:lnTo>
                    <a:pt x="81" y="344"/>
                  </a:lnTo>
                  <a:lnTo>
                    <a:pt x="81" y="344"/>
                  </a:lnTo>
                  <a:lnTo>
                    <a:pt x="79" y="344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7" y="346"/>
                  </a:lnTo>
                  <a:lnTo>
                    <a:pt x="77" y="346"/>
                  </a:lnTo>
                  <a:lnTo>
                    <a:pt x="77" y="346"/>
                  </a:lnTo>
                  <a:lnTo>
                    <a:pt x="77" y="346"/>
                  </a:lnTo>
                  <a:lnTo>
                    <a:pt x="74" y="348"/>
                  </a:lnTo>
                  <a:lnTo>
                    <a:pt x="72" y="348"/>
                  </a:lnTo>
                  <a:lnTo>
                    <a:pt x="70" y="350"/>
                  </a:lnTo>
                  <a:lnTo>
                    <a:pt x="70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8" y="350"/>
                  </a:lnTo>
                  <a:lnTo>
                    <a:pt x="65" y="350"/>
                  </a:lnTo>
                  <a:lnTo>
                    <a:pt x="63" y="350"/>
                  </a:lnTo>
                  <a:lnTo>
                    <a:pt x="63" y="350"/>
                  </a:lnTo>
                  <a:lnTo>
                    <a:pt x="63" y="350"/>
                  </a:lnTo>
                  <a:lnTo>
                    <a:pt x="63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61" y="350"/>
                  </a:lnTo>
                  <a:lnTo>
                    <a:pt x="56" y="348"/>
                  </a:lnTo>
                  <a:lnTo>
                    <a:pt x="56" y="348"/>
                  </a:lnTo>
                  <a:lnTo>
                    <a:pt x="54" y="348"/>
                  </a:lnTo>
                  <a:lnTo>
                    <a:pt x="54" y="348"/>
                  </a:lnTo>
                  <a:lnTo>
                    <a:pt x="54" y="346"/>
                  </a:lnTo>
                  <a:lnTo>
                    <a:pt x="54" y="346"/>
                  </a:lnTo>
                  <a:lnTo>
                    <a:pt x="52" y="346"/>
                  </a:lnTo>
                  <a:lnTo>
                    <a:pt x="52" y="346"/>
                  </a:lnTo>
                  <a:lnTo>
                    <a:pt x="50" y="344"/>
                  </a:lnTo>
                  <a:lnTo>
                    <a:pt x="47" y="341"/>
                  </a:lnTo>
                  <a:lnTo>
                    <a:pt x="45" y="341"/>
                  </a:lnTo>
                  <a:lnTo>
                    <a:pt x="43" y="337"/>
                  </a:lnTo>
                  <a:lnTo>
                    <a:pt x="43" y="337"/>
                  </a:lnTo>
                  <a:lnTo>
                    <a:pt x="43" y="337"/>
                  </a:lnTo>
                  <a:lnTo>
                    <a:pt x="43" y="337"/>
                  </a:lnTo>
                  <a:lnTo>
                    <a:pt x="41" y="335"/>
                  </a:lnTo>
                  <a:lnTo>
                    <a:pt x="41" y="335"/>
                  </a:lnTo>
                  <a:lnTo>
                    <a:pt x="41" y="332"/>
                  </a:lnTo>
                  <a:lnTo>
                    <a:pt x="41" y="332"/>
                  </a:lnTo>
                  <a:lnTo>
                    <a:pt x="38" y="332"/>
                  </a:lnTo>
                  <a:lnTo>
                    <a:pt x="38" y="332"/>
                  </a:lnTo>
                  <a:lnTo>
                    <a:pt x="36" y="330"/>
                  </a:lnTo>
                  <a:lnTo>
                    <a:pt x="34" y="328"/>
                  </a:lnTo>
                  <a:lnTo>
                    <a:pt x="34" y="328"/>
                  </a:lnTo>
                  <a:lnTo>
                    <a:pt x="34" y="328"/>
                  </a:lnTo>
                  <a:lnTo>
                    <a:pt x="34" y="328"/>
                  </a:lnTo>
                  <a:lnTo>
                    <a:pt x="32" y="326"/>
                  </a:lnTo>
                  <a:lnTo>
                    <a:pt x="32" y="326"/>
                  </a:lnTo>
                  <a:lnTo>
                    <a:pt x="32" y="326"/>
                  </a:lnTo>
                  <a:lnTo>
                    <a:pt x="32" y="326"/>
                  </a:lnTo>
                  <a:lnTo>
                    <a:pt x="32" y="323"/>
                  </a:lnTo>
                  <a:lnTo>
                    <a:pt x="32" y="323"/>
                  </a:lnTo>
                  <a:lnTo>
                    <a:pt x="29" y="323"/>
                  </a:lnTo>
                  <a:lnTo>
                    <a:pt x="29" y="323"/>
                  </a:lnTo>
                  <a:lnTo>
                    <a:pt x="29" y="323"/>
                  </a:lnTo>
                  <a:lnTo>
                    <a:pt x="29" y="323"/>
                  </a:lnTo>
                  <a:lnTo>
                    <a:pt x="27" y="321"/>
                  </a:lnTo>
                  <a:lnTo>
                    <a:pt x="27" y="321"/>
                  </a:lnTo>
                  <a:lnTo>
                    <a:pt x="27" y="321"/>
                  </a:lnTo>
                  <a:lnTo>
                    <a:pt x="25" y="319"/>
                  </a:lnTo>
                  <a:lnTo>
                    <a:pt x="25" y="319"/>
                  </a:lnTo>
                  <a:lnTo>
                    <a:pt x="25" y="319"/>
                  </a:lnTo>
                  <a:lnTo>
                    <a:pt x="23" y="319"/>
                  </a:lnTo>
                  <a:lnTo>
                    <a:pt x="23" y="317"/>
                  </a:lnTo>
                  <a:lnTo>
                    <a:pt x="23" y="317"/>
                  </a:lnTo>
                  <a:lnTo>
                    <a:pt x="20" y="314"/>
                  </a:lnTo>
                  <a:lnTo>
                    <a:pt x="20" y="314"/>
                  </a:lnTo>
                  <a:lnTo>
                    <a:pt x="20" y="314"/>
                  </a:lnTo>
                  <a:lnTo>
                    <a:pt x="20" y="312"/>
                  </a:lnTo>
                  <a:lnTo>
                    <a:pt x="20" y="312"/>
                  </a:lnTo>
                  <a:lnTo>
                    <a:pt x="20" y="312"/>
                  </a:lnTo>
                  <a:lnTo>
                    <a:pt x="20" y="312"/>
                  </a:lnTo>
                  <a:lnTo>
                    <a:pt x="20" y="312"/>
                  </a:lnTo>
                  <a:lnTo>
                    <a:pt x="20" y="310"/>
                  </a:lnTo>
                  <a:lnTo>
                    <a:pt x="20" y="310"/>
                  </a:lnTo>
                  <a:lnTo>
                    <a:pt x="20" y="310"/>
                  </a:lnTo>
                  <a:lnTo>
                    <a:pt x="20" y="310"/>
                  </a:lnTo>
                  <a:lnTo>
                    <a:pt x="20" y="310"/>
                  </a:lnTo>
                  <a:lnTo>
                    <a:pt x="23" y="310"/>
                  </a:lnTo>
                  <a:lnTo>
                    <a:pt x="23" y="308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3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2"/>
                  </a:lnTo>
                  <a:lnTo>
                    <a:pt x="25" y="312"/>
                  </a:lnTo>
                  <a:lnTo>
                    <a:pt x="25" y="312"/>
                  </a:lnTo>
                  <a:lnTo>
                    <a:pt x="25" y="312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7" y="314"/>
                  </a:lnTo>
                  <a:lnTo>
                    <a:pt x="27" y="312"/>
                  </a:lnTo>
                  <a:lnTo>
                    <a:pt x="29" y="312"/>
                  </a:lnTo>
                  <a:lnTo>
                    <a:pt x="29" y="312"/>
                  </a:lnTo>
                  <a:lnTo>
                    <a:pt x="29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2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0"/>
                  </a:lnTo>
                  <a:lnTo>
                    <a:pt x="32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4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08"/>
                  </a:lnTo>
                  <a:lnTo>
                    <a:pt x="41" y="308"/>
                  </a:lnTo>
                  <a:lnTo>
                    <a:pt x="41" y="308"/>
                  </a:lnTo>
                  <a:lnTo>
                    <a:pt x="41" y="308"/>
                  </a:lnTo>
                  <a:lnTo>
                    <a:pt x="41" y="308"/>
                  </a:lnTo>
                  <a:lnTo>
                    <a:pt x="41" y="308"/>
                  </a:lnTo>
                  <a:lnTo>
                    <a:pt x="41" y="308"/>
                  </a:lnTo>
                  <a:lnTo>
                    <a:pt x="43" y="308"/>
                  </a:lnTo>
                  <a:lnTo>
                    <a:pt x="45" y="308"/>
                  </a:lnTo>
                  <a:lnTo>
                    <a:pt x="45" y="308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3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50" y="294"/>
                  </a:lnTo>
                  <a:lnTo>
                    <a:pt x="47" y="294"/>
                  </a:lnTo>
                  <a:lnTo>
                    <a:pt x="47" y="294"/>
                  </a:lnTo>
                  <a:lnTo>
                    <a:pt x="47" y="294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6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5" y="299"/>
                  </a:lnTo>
                  <a:lnTo>
                    <a:pt x="45" y="299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6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3" y="299"/>
                  </a:lnTo>
                  <a:lnTo>
                    <a:pt x="41" y="299"/>
                  </a:lnTo>
                  <a:lnTo>
                    <a:pt x="41" y="299"/>
                  </a:lnTo>
                  <a:lnTo>
                    <a:pt x="38" y="299"/>
                  </a:lnTo>
                  <a:lnTo>
                    <a:pt x="38" y="299"/>
                  </a:lnTo>
                  <a:lnTo>
                    <a:pt x="38" y="299"/>
                  </a:lnTo>
                  <a:lnTo>
                    <a:pt x="36" y="299"/>
                  </a:lnTo>
                  <a:lnTo>
                    <a:pt x="36" y="301"/>
                  </a:lnTo>
                  <a:lnTo>
                    <a:pt x="36" y="301"/>
                  </a:lnTo>
                  <a:lnTo>
                    <a:pt x="36" y="301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4" y="303"/>
                  </a:lnTo>
                  <a:lnTo>
                    <a:pt x="32" y="303"/>
                  </a:lnTo>
                  <a:lnTo>
                    <a:pt x="32" y="301"/>
                  </a:lnTo>
                  <a:lnTo>
                    <a:pt x="32" y="301"/>
                  </a:lnTo>
                  <a:lnTo>
                    <a:pt x="32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29" y="301"/>
                  </a:lnTo>
                  <a:lnTo>
                    <a:pt x="27" y="301"/>
                  </a:lnTo>
                  <a:lnTo>
                    <a:pt x="27" y="301"/>
                  </a:lnTo>
                  <a:lnTo>
                    <a:pt x="27" y="301"/>
                  </a:lnTo>
                  <a:lnTo>
                    <a:pt x="25" y="301"/>
                  </a:lnTo>
                  <a:lnTo>
                    <a:pt x="25" y="301"/>
                  </a:lnTo>
                  <a:lnTo>
                    <a:pt x="23" y="299"/>
                  </a:lnTo>
                  <a:lnTo>
                    <a:pt x="20" y="299"/>
                  </a:lnTo>
                  <a:lnTo>
                    <a:pt x="16" y="296"/>
                  </a:lnTo>
                  <a:lnTo>
                    <a:pt x="14" y="294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11" y="290"/>
                  </a:lnTo>
                  <a:lnTo>
                    <a:pt x="11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5"/>
                  </a:lnTo>
                  <a:lnTo>
                    <a:pt x="9" y="285"/>
                  </a:lnTo>
                  <a:lnTo>
                    <a:pt x="9" y="287"/>
                  </a:lnTo>
                  <a:lnTo>
                    <a:pt x="7" y="285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3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4" y="276"/>
                  </a:lnTo>
                  <a:lnTo>
                    <a:pt x="14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11" y="276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7" y="278"/>
                  </a:lnTo>
                  <a:lnTo>
                    <a:pt x="7" y="278"/>
                  </a:lnTo>
                  <a:lnTo>
                    <a:pt x="7" y="278"/>
                  </a:lnTo>
                  <a:lnTo>
                    <a:pt x="7" y="278"/>
                  </a:lnTo>
                  <a:lnTo>
                    <a:pt x="7" y="278"/>
                  </a:lnTo>
                  <a:lnTo>
                    <a:pt x="5" y="278"/>
                  </a:lnTo>
                  <a:lnTo>
                    <a:pt x="5" y="281"/>
                  </a:lnTo>
                  <a:lnTo>
                    <a:pt x="5" y="281"/>
                  </a:lnTo>
                  <a:lnTo>
                    <a:pt x="5" y="281"/>
                  </a:lnTo>
                  <a:lnTo>
                    <a:pt x="5" y="281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0" y="283"/>
                  </a:lnTo>
                  <a:lnTo>
                    <a:pt x="0" y="283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0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2" y="281"/>
                  </a:lnTo>
                  <a:lnTo>
                    <a:pt x="0" y="281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8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76"/>
                  </a:lnTo>
                  <a:lnTo>
                    <a:pt x="0" y="274"/>
                  </a:lnTo>
                  <a:lnTo>
                    <a:pt x="2" y="274"/>
                  </a:lnTo>
                  <a:lnTo>
                    <a:pt x="2" y="276"/>
                  </a:lnTo>
                  <a:lnTo>
                    <a:pt x="2" y="276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2" y="274"/>
                  </a:lnTo>
                  <a:lnTo>
                    <a:pt x="5" y="274"/>
                  </a:lnTo>
                  <a:lnTo>
                    <a:pt x="5" y="274"/>
                  </a:lnTo>
                  <a:lnTo>
                    <a:pt x="7" y="274"/>
                  </a:lnTo>
                  <a:lnTo>
                    <a:pt x="9" y="274"/>
                  </a:lnTo>
                  <a:lnTo>
                    <a:pt x="11" y="274"/>
                  </a:lnTo>
                  <a:lnTo>
                    <a:pt x="11" y="269"/>
                  </a:lnTo>
                  <a:lnTo>
                    <a:pt x="11" y="267"/>
                  </a:lnTo>
                  <a:lnTo>
                    <a:pt x="9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7"/>
                  </a:lnTo>
                  <a:lnTo>
                    <a:pt x="14" y="267"/>
                  </a:lnTo>
                  <a:lnTo>
                    <a:pt x="14" y="267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4" y="265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5"/>
                  </a:lnTo>
                  <a:lnTo>
                    <a:pt x="18" y="265"/>
                  </a:lnTo>
                  <a:lnTo>
                    <a:pt x="18" y="265"/>
                  </a:lnTo>
                  <a:lnTo>
                    <a:pt x="18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3" y="265"/>
                  </a:lnTo>
                  <a:lnTo>
                    <a:pt x="27" y="265"/>
                  </a:lnTo>
                  <a:lnTo>
                    <a:pt x="27" y="267"/>
                  </a:lnTo>
                  <a:lnTo>
                    <a:pt x="29" y="267"/>
                  </a:lnTo>
                  <a:lnTo>
                    <a:pt x="32" y="269"/>
                  </a:lnTo>
                  <a:lnTo>
                    <a:pt x="32" y="269"/>
                  </a:lnTo>
                  <a:lnTo>
                    <a:pt x="36" y="269"/>
                  </a:lnTo>
                  <a:lnTo>
                    <a:pt x="36" y="269"/>
                  </a:lnTo>
                  <a:lnTo>
                    <a:pt x="38" y="267"/>
                  </a:lnTo>
                  <a:lnTo>
                    <a:pt x="38" y="267"/>
                  </a:lnTo>
                  <a:lnTo>
                    <a:pt x="38" y="265"/>
                  </a:lnTo>
                  <a:lnTo>
                    <a:pt x="38" y="265"/>
                  </a:lnTo>
                  <a:lnTo>
                    <a:pt x="38" y="265"/>
                  </a:lnTo>
                  <a:lnTo>
                    <a:pt x="38" y="265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1" y="265"/>
                  </a:lnTo>
                  <a:lnTo>
                    <a:pt x="43" y="265"/>
                  </a:lnTo>
                  <a:lnTo>
                    <a:pt x="43" y="265"/>
                  </a:lnTo>
                  <a:lnTo>
                    <a:pt x="43" y="263"/>
                  </a:lnTo>
                  <a:lnTo>
                    <a:pt x="43" y="263"/>
                  </a:lnTo>
                  <a:lnTo>
                    <a:pt x="45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5"/>
                  </a:lnTo>
                  <a:lnTo>
                    <a:pt x="47" y="267"/>
                  </a:lnTo>
                  <a:lnTo>
                    <a:pt x="50" y="267"/>
                  </a:lnTo>
                  <a:lnTo>
                    <a:pt x="52" y="267"/>
                  </a:lnTo>
                  <a:lnTo>
                    <a:pt x="52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7"/>
                  </a:lnTo>
                  <a:lnTo>
                    <a:pt x="54" y="265"/>
                  </a:lnTo>
                  <a:lnTo>
                    <a:pt x="54" y="265"/>
                  </a:lnTo>
                  <a:lnTo>
                    <a:pt x="54" y="265"/>
                  </a:lnTo>
                  <a:lnTo>
                    <a:pt x="54" y="265"/>
                  </a:lnTo>
                  <a:lnTo>
                    <a:pt x="54" y="265"/>
                  </a:lnTo>
                  <a:lnTo>
                    <a:pt x="54" y="263"/>
                  </a:lnTo>
                  <a:lnTo>
                    <a:pt x="56" y="263"/>
                  </a:lnTo>
                  <a:lnTo>
                    <a:pt x="56" y="265"/>
                  </a:lnTo>
                  <a:lnTo>
                    <a:pt x="56" y="265"/>
                  </a:lnTo>
                  <a:lnTo>
                    <a:pt x="56" y="263"/>
                  </a:lnTo>
                  <a:lnTo>
                    <a:pt x="56" y="263"/>
                  </a:lnTo>
                  <a:lnTo>
                    <a:pt x="56" y="263"/>
                  </a:lnTo>
                  <a:lnTo>
                    <a:pt x="59" y="263"/>
                  </a:lnTo>
                  <a:lnTo>
                    <a:pt x="59" y="263"/>
                  </a:lnTo>
                  <a:lnTo>
                    <a:pt x="59" y="263"/>
                  </a:lnTo>
                  <a:lnTo>
                    <a:pt x="56" y="263"/>
                  </a:lnTo>
                  <a:lnTo>
                    <a:pt x="56" y="263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6" y="260"/>
                  </a:lnTo>
                  <a:lnTo>
                    <a:pt x="54" y="258"/>
                  </a:lnTo>
                  <a:lnTo>
                    <a:pt x="54" y="258"/>
                  </a:lnTo>
                  <a:lnTo>
                    <a:pt x="54" y="258"/>
                  </a:lnTo>
                  <a:lnTo>
                    <a:pt x="54" y="258"/>
                  </a:lnTo>
                  <a:lnTo>
                    <a:pt x="56" y="256"/>
                  </a:lnTo>
                  <a:lnTo>
                    <a:pt x="56" y="256"/>
                  </a:lnTo>
                  <a:lnTo>
                    <a:pt x="56" y="256"/>
                  </a:lnTo>
                  <a:lnTo>
                    <a:pt x="56" y="254"/>
                  </a:lnTo>
                  <a:lnTo>
                    <a:pt x="54" y="251"/>
                  </a:lnTo>
                  <a:lnTo>
                    <a:pt x="54" y="249"/>
                  </a:lnTo>
                  <a:lnTo>
                    <a:pt x="52" y="249"/>
                  </a:lnTo>
                  <a:lnTo>
                    <a:pt x="52" y="245"/>
                  </a:lnTo>
                  <a:lnTo>
                    <a:pt x="52" y="245"/>
                  </a:lnTo>
                  <a:lnTo>
                    <a:pt x="50" y="245"/>
                  </a:lnTo>
                  <a:lnTo>
                    <a:pt x="50" y="242"/>
                  </a:lnTo>
                  <a:lnTo>
                    <a:pt x="47" y="242"/>
                  </a:lnTo>
                  <a:lnTo>
                    <a:pt x="47" y="242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5" y="240"/>
                  </a:lnTo>
                  <a:lnTo>
                    <a:pt x="45" y="238"/>
                  </a:lnTo>
                  <a:lnTo>
                    <a:pt x="45" y="236"/>
                  </a:lnTo>
                  <a:lnTo>
                    <a:pt x="45" y="233"/>
                  </a:lnTo>
                  <a:lnTo>
                    <a:pt x="45" y="233"/>
                  </a:lnTo>
                  <a:lnTo>
                    <a:pt x="45" y="231"/>
                  </a:lnTo>
                  <a:lnTo>
                    <a:pt x="43" y="231"/>
                  </a:lnTo>
                  <a:lnTo>
                    <a:pt x="43" y="231"/>
                  </a:lnTo>
                  <a:lnTo>
                    <a:pt x="43" y="233"/>
                  </a:lnTo>
                  <a:lnTo>
                    <a:pt x="41" y="233"/>
                  </a:lnTo>
                  <a:lnTo>
                    <a:pt x="38" y="233"/>
                  </a:lnTo>
                  <a:lnTo>
                    <a:pt x="38" y="233"/>
                  </a:lnTo>
                  <a:lnTo>
                    <a:pt x="38" y="231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29"/>
                  </a:lnTo>
                  <a:lnTo>
                    <a:pt x="36" y="229"/>
                  </a:lnTo>
                  <a:lnTo>
                    <a:pt x="34" y="229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2" y="224"/>
                  </a:lnTo>
                  <a:lnTo>
                    <a:pt x="32" y="224"/>
                  </a:lnTo>
                  <a:lnTo>
                    <a:pt x="32" y="224"/>
                  </a:lnTo>
                  <a:lnTo>
                    <a:pt x="32" y="222"/>
                  </a:lnTo>
                  <a:lnTo>
                    <a:pt x="32" y="222"/>
                  </a:lnTo>
                  <a:lnTo>
                    <a:pt x="34" y="220"/>
                  </a:lnTo>
                  <a:lnTo>
                    <a:pt x="34" y="220"/>
                  </a:lnTo>
                  <a:lnTo>
                    <a:pt x="34" y="218"/>
                  </a:lnTo>
                  <a:lnTo>
                    <a:pt x="32" y="218"/>
                  </a:lnTo>
                  <a:lnTo>
                    <a:pt x="32" y="218"/>
                  </a:lnTo>
                  <a:lnTo>
                    <a:pt x="32" y="218"/>
                  </a:lnTo>
                  <a:lnTo>
                    <a:pt x="34" y="215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2" y="213"/>
                  </a:lnTo>
                  <a:lnTo>
                    <a:pt x="32" y="213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29" y="211"/>
                  </a:lnTo>
                  <a:lnTo>
                    <a:pt x="25" y="211"/>
                  </a:lnTo>
                  <a:lnTo>
                    <a:pt x="25" y="211"/>
                  </a:lnTo>
                  <a:lnTo>
                    <a:pt x="23" y="209"/>
                  </a:lnTo>
                  <a:lnTo>
                    <a:pt x="20" y="209"/>
                  </a:lnTo>
                  <a:lnTo>
                    <a:pt x="18" y="206"/>
                  </a:lnTo>
                  <a:lnTo>
                    <a:pt x="18" y="206"/>
                  </a:lnTo>
                  <a:lnTo>
                    <a:pt x="18" y="206"/>
                  </a:lnTo>
                  <a:lnTo>
                    <a:pt x="16" y="202"/>
                  </a:lnTo>
                  <a:lnTo>
                    <a:pt x="16" y="200"/>
                  </a:lnTo>
                  <a:lnTo>
                    <a:pt x="18" y="197"/>
                  </a:lnTo>
                  <a:lnTo>
                    <a:pt x="18" y="197"/>
                  </a:lnTo>
                  <a:lnTo>
                    <a:pt x="20" y="195"/>
                  </a:lnTo>
                  <a:lnTo>
                    <a:pt x="20" y="193"/>
                  </a:lnTo>
                  <a:lnTo>
                    <a:pt x="23" y="191"/>
                  </a:lnTo>
                  <a:lnTo>
                    <a:pt x="23" y="188"/>
                  </a:lnTo>
                  <a:lnTo>
                    <a:pt x="25" y="188"/>
                  </a:lnTo>
                  <a:lnTo>
                    <a:pt x="25" y="186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79"/>
                  </a:lnTo>
                  <a:lnTo>
                    <a:pt x="29" y="179"/>
                  </a:lnTo>
                  <a:lnTo>
                    <a:pt x="29" y="177"/>
                  </a:lnTo>
                  <a:lnTo>
                    <a:pt x="29" y="177"/>
                  </a:lnTo>
                  <a:lnTo>
                    <a:pt x="32" y="177"/>
                  </a:lnTo>
                  <a:lnTo>
                    <a:pt x="32" y="177"/>
                  </a:lnTo>
                  <a:lnTo>
                    <a:pt x="32" y="177"/>
                  </a:lnTo>
                  <a:lnTo>
                    <a:pt x="32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4" y="177"/>
                  </a:lnTo>
                  <a:lnTo>
                    <a:pt x="36" y="177"/>
                  </a:lnTo>
                  <a:lnTo>
                    <a:pt x="36" y="179"/>
                  </a:lnTo>
                  <a:lnTo>
                    <a:pt x="36" y="179"/>
                  </a:lnTo>
                  <a:lnTo>
                    <a:pt x="36" y="179"/>
                  </a:lnTo>
                  <a:lnTo>
                    <a:pt x="36" y="179"/>
                  </a:lnTo>
                  <a:lnTo>
                    <a:pt x="36" y="182"/>
                  </a:lnTo>
                  <a:lnTo>
                    <a:pt x="38" y="182"/>
                  </a:lnTo>
                  <a:lnTo>
                    <a:pt x="38" y="184"/>
                  </a:lnTo>
                  <a:lnTo>
                    <a:pt x="41" y="184"/>
                  </a:lnTo>
                  <a:lnTo>
                    <a:pt x="41" y="184"/>
                  </a:lnTo>
                  <a:lnTo>
                    <a:pt x="43" y="184"/>
                  </a:lnTo>
                  <a:lnTo>
                    <a:pt x="45" y="182"/>
                  </a:lnTo>
                  <a:lnTo>
                    <a:pt x="47" y="182"/>
                  </a:lnTo>
                  <a:lnTo>
                    <a:pt x="50" y="182"/>
                  </a:lnTo>
                  <a:lnTo>
                    <a:pt x="50" y="179"/>
                  </a:lnTo>
                  <a:lnTo>
                    <a:pt x="52" y="179"/>
                  </a:lnTo>
                  <a:lnTo>
                    <a:pt x="54" y="179"/>
                  </a:lnTo>
                  <a:lnTo>
                    <a:pt x="56" y="179"/>
                  </a:lnTo>
                  <a:lnTo>
                    <a:pt x="59" y="179"/>
                  </a:lnTo>
                  <a:lnTo>
                    <a:pt x="61" y="179"/>
                  </a:lnTo>
                  <a:lnTo>
                    <a:pt x="61" y="177"/>
                  </a:lnTo>
                  <a:lnTo>
                    <a:pt x="61" y="177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3" y="173"/>
                  </a:lnTo>
                  <a:lnTo>
                    <a:pt x="65" y="170"/>
                  </a:lnTo>
                  <a:lnTo>
                    <a:pt x="65" y="168"/>
                  </a:lnTo>
                  <a:lnTo>
                    <a:pt x="65" y="168"/>
                  </a:lnTo>
                  <a:lnTo>
                    <a:pt x="65" y="166"/>
                  </a:lnTo>
                  <a:lnTo>
                    <a:pt x="68" y="161"/>
                  </a:lnTo>
                  <a:lnTo>
                    <a:pt x="68" y="161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72" y="157"/>
                  </a:lnTo>
                  <a:lnTo>
                    <a:pt x="74" y="155"/>
                  </a:lnTo>
                  <a:lnTo>
                    <a:pt x="77" y="155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9" y="150"/>
                  </a:lnTo>
                  <a:lnTo>
                    <a:pt x="79" y="150"/>
                  </a:lnTo>
                  <a:lnTo>
                    <a:pt x="81" y="148"/>
                  </a:lnTo>
                  <a:lnTo>
                    <a:pt x="81" y="146"/>
                  </a:lnTo>
                  <a:lnTo>
                    <a:pt x="81" y="143"/>
                  </a:lnTo>
                  <a:lnTo>
                    <a:pt x="83" y="141"/>
                  </a:lnTo>
                  <a:lnTo>
                    <a:pt x="83" y="137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3" y="130"/>
                  </a:lnTo>
                  <a:lnTo>
                    <a:pt x="88" y="130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5" y="125"/>
                  </a:lnTo>
                  <a:lnTo>
                    <a:pt x="95" y="123"/>
                  </a:lnTo>
                  <a:lnTo>
                    <a:pt x="92" y="123"/>
                  </a:lnTo>
                  <a:lnTo>
                    <a:pt x="92" y="123"/>
                  </a:lnTo>
                  <a:lnTo>
                    <a:pt x="92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7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7" y="114"/>
                  </a:lnTo>
                  <a:lnTo>
                    <a:pt x="97" y="114"/>
                  </a:lnTo>
                  <a:lnTo>
                    <a:pt x="97" y="114"/>
                  </a:lnTo>
                  <a:lnTo>
                    <a:pt x="97" y="114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2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7" y="110"/>
                  </a:lnTo>
                  <a:lnTo>
                    <a:pt x="99" y="110"/>
                  </a:lnTo>
                  <a:lnTo>
                    <a:pt x="97" y="110"/>
                  </a:lnTo>
                  <a:lnTo>
                    <a:pt x="97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101" y="96"/>
                  </a:lnTo>
                  <a:lnTo>
                    <a:pt x="101" y="96"/>
                  </a:lnTo>
                  <a:lnTo>
                    <a:pt x="101" y="96"/>
                  </a:lnTo>
                  <a:lnTo>
                    <a:pt x="101" y="96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99" y="94"/>
                  </a:lnTo>
                  <a:lnTo>
                    <a:pt x="99" y="92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3"/>
                  </a:lnTo>
                  <a:lnTo>
                    <a:pt x="101" y="81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8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8"/>
                  </a:lnTo>
                  <a:lnTo>
                    <a:pt x="110" y="76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0" y="74"/>
                  </a:lnTo>
                  <a:lnTo>
                    <a:pt x="108" y="74"/>
                  </a:lnTo>
                  <a:lnTo>
                    <a:pt x="108" y="72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1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7" y="72"/>
                  </a:lnTo>
                  <a:lnTo>
                    <a:pt x="97" y="69"/>
                  </a:lnTo>
                  <a:lnTo>
                    <a:pt x="95" y="69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6" y="58"/>
                  </a:lnTo>
                  <a:lnTo>
                    <a:pt x="83" y="58"/>
                  </a:lnTo>
                  <a:lnTo>
                    <a:pt x="83" y="58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79" y="45"/>
                  </a:lnTo>
                  <a:lnTo>
                    <a:pt x="77" y="45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38"/>
                  </a:lnTo>
                  <a:lnTo>
                    <a:pt x="77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81" y="38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2" y="29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2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83" y="18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9" y="22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6" y="11"/>
                  </a:lnTo>
                  <a:lnTo>
                    <a:pt x="126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C90068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3" name="Freeform 580"/>
            <p:cNvSpPr>
              <a:spLocks noEditPoints="1"/>
            </p:cNvSpPr>
            <p:nvPr/>
          </p:nvSpPr>
          <p:spPr bwMode="auto">
            <a:xfrm>
              <a:off x="4994053" y="1376715"/>
              <a:ext cx="289157" cy="111985"/>
            </a:xfrm>
            <a:custGeom>
              <a:avLst/>
              <a:gdLst>
                <a:gd name="T0" fmla="*/ 99 w 173"/>
                <a:gd name="T1" fmla="*/ 11 h 67"/>
                <a:gd name="T2" fmla="*/ 157 w 173"/>
                <a:gd name="T3" fmla="*/ 11 h 67"/>
                <a:gd name="T4" fmla="*/ 157 w 173"/>
                <a:gd name="T5" fmla="*/ 22 h 67"/>
                <a:gd name="T6" fmla="*/ 171 w 173"/>
                <a:gd name="T7" fmla="*/ 22 h 67"/>
                <a:gd name="T8" fmla="*/ 171 w 173"/>
                <a:gd name="T9" fmla="*/ 29 h 67"/>
                <a:gd name="T10" fmla="*/ 166 w 173"/>
                <a:gd name="T11" fmla="*/ 31 h 67"/>
                <a:gd name="T12" fmla="*/ 164 w 173"/>
                <a:gd name="T13" fmla="*/ 38 h 67"/>
                <a:gd name="T14" fmla="*/ 157 w 173"/>
                <a:gd name="T15" fmla="*/ 42 h 67"/>
                <a:gd name="T16" fmla="*/ 148 w 173"/>
                <a:gd name="T17" fmla="*/ 47 h 67"/>
                <a:gd name="T18" fmla="*/ 142 w 173"/>
                <a:gd name="T19" fmla="*/ 47 h 67"/>
                <a:gd name="T20" fmla="*/ 131 w 173"/>
                <a:gd name="T21" fmla="*/ 51 h 67"/>
                <a:gd name="T22" fmla="*/ 117 w 173"/>
                <a:gd name="T23" fmla="*/ 58 h 67"/>
                <a:gd name="T24" fmla="*/ 115 w 173"/>
                <a:gd name="T25" fmla="*/ 58 h 67"/>
                <a:gd name="T26" fmla="*/ 99 w 173"/>
                <a:gd name="T27" fmla="*/ 60 h 67"/>
                <a:gd name="T28" fmla="*/ 95 w 173"/>
                <a:gd name="T29" fmla="*/ 62 h 67"/>
                <a:gd name="T30" fmla="*/ 63 w 173"/>
                <a:gd name="T31" fmla="*/ 62 h 67"/>
                <a:gd name="T32" fmla="*/ 59 w 173"/>
                <a:gd name="T33" fmla="*/ 58 h 67"/>
                <a:gd name="T34" fmla="*/ 54 w 173"/>
                <a:gd name="T35" fmla="*/ 56 h 67"/>
                <a:gd name="T36" fmla="*/ 38 w 173"/>
                <a:gd name="T37" fmla="*/ 56 h 67"/>
                <a:gd name="T38" fmla="*/ 23 w 173"/>
                <a:gd name="T39" fmla="*/ 54 h 67"/>
                <a:gd name="T40" fmla="*/ 34 w 173"/>
                <a:gd name="T41" fmla="*/ 51 h 67"/>
                <a:gd name="T42" fmla="*/ 36 w 173"/>
                <a:gd name="T43" fmla="*/ 49 h 67"/>
                <a:gd name="T44" fmla="*/ 34 w 173"/>
                <a:gd name="T45" fmla="*/ 47 h 67"/>
                <a:gd name="T46" fmla="*/ 43 w 173"/>
                <a:gd name="T47" fmla="*/ 42 h 67"/>
                <a:gd name="T48" fmla="*/ 34 w 173"/>
                <a:gd name="T49" fmla="*/ 42 h 67"/>
                <a:gd name="T50" fmla="*/ 32 w 173"/>
                <a:gd name="T51" fmla="*/ 40 h 67"/>
                <a:gd name="T52" fmla="*/ 27 w 173"/>
                <a:gd name="T53" fmla="*/ 38 h 67"/>
                <a:gd name="T54" fmla="*/ 5 w 173"/>
                <a:gd name="T55" fmla="*/ 38 h 67"/>
                <a:gd name="T56" fmla="*/ 20 w 173"/>
                <a:gd name="T57" fmla="*/ 31 h 67"/>
                <a:gd name="T58" fmla="*/ 27 w 173"/>
                <a:gd name="T59" fmla="*/ 31 h 67"/>
                <a:gd name="T60" fmla="*/ 32 w 173"/>
                <a:gd name="T61" fmla="*/ 29 h 67"/>
                <a:gd name="T62" fmla="*/ 41 w 173"/>
                <a:gd name="T63" fmla="*/ 24 h 67"/>
                <a:gd name="T64" fmla="*/ 36 w 173"/>
                <a:gd name="T65" fmla="*/ 22 h 67"/>
                <a:gd name="T66" fmla="*/ 29 w 173"/>
                <a:gd name="T67" fmla="*/ 20 h 67"/>
                <a:gd name="T68" fmla="*/ 20 w 173"/>
                <a:gd name="T69" fmla="*/ 20 h 67"/>
                <a:gd name="T70" fmla="*/ 5 w 173"/>
                <a:gd name="T71" fmla="*/ 22 h 67"/>
                <a:gd name="T72" fmla="*/ 7 w 173"/>
                <a:gd name="T73" fmla="*/ 18 h 67"/>
                <a:gd name="T74" fmla="*/ 20 w 173"/>
                <a:gd name="T75" fmla="*/ 18 h 67"/>
                <a:gd name="T76" fmla="*/ 14 w 173"/>
                <a:gd name="T77" fmla="*/ 11 h 67"/>
                <a:gd name="T78" fmla="*/ 25 w 173"/>
                <a:gd name="T79" fmla="*/ 11 h 67"/>
                <a:gd name="T80" fmla="*/ 29 w 173"/>
                <a:gd name="T81" fmla="*/ 11 h 67"/>
                <a:gd name="T82" fmla="*/ 34 w 173"/>
                <a:gd name="T83" fmla="*/ 15 h 67"/>
                <a:gd name="T84" fmla="*/ 36 w 173"/>
                <a:gd name="T85" fmla="*/ 6 h 67"/>
                <a:gd name="T86" fmla="*/ 25 w 173"/>
                <a:gd name="T87" fmla="*/ 4 h 67"/>
                <a:gd name="T88" fmla="*/ 36 w 173"/>
                <a:gd name="T89" fmla="*/ 4 h 67"/>
                <a:gd name="T90" fmla="*/ 45 w 173"/>
                <a:gd name="T91" fmla="*/ 9 h 67"/>
                <a:gd name="T92" fmla="*/ 52 w 173"/>
                <a:gd name="T93" fmla="*/ 11 h 67"/>
                <a:gd name="T94" fmla="*/ 45 w 173"/>
                <a:gd name="T95" fmla="*/ 18 h 67"/>
                <a:gd name="T96" fmla="*/ 52 w 173"/>
                <a:gd name="T97" fmla="*/ 27 h 67"/>
                <a:gd name="T98" fmla="*/ 56 w 173"/>
                <a:gd name="T99" fmla="*/ 20 h 67"/>
                <a:gd name="T100" fmla="*/ 65 w 173"/>
                <a:gd name="T101" fmla="*/ 22 h 67"/>
                <a:gd name="T102" fmla="*/ 68 w 173"/>
                <a:gd name="T103" fmla="*/ 11 h 67"/>
                <a:gd name="T104" fmla="*/ 77 w 173"/>
                <a:gd name="T105" fmla="*/ 15 h 67"/>
                <a:gd name="T106" fmla="*/ 81 w 173"/>
                <a:gd name="T107" fmla="*/ 11 h 67"/>
                <a:gd name="T108" fmla="*/ 92 w 173"/>
                <a:gd name="T109" fmla="*/ 9 h 67"/>
                <a:gd name="T110" fmla="*/ 101 w 173"/>
                <a:gd name="T111" fmla="*/ 18 h 67"/>
                <a:gd name="T112" fmla="*/ 99 w 173"/>
                <a:gd name="T113" fmla="*/ 11 h 67"/>
                <a:gd name="T114" fmla="*/ 110 w 173"/>
                <a:gd name="T115" fmla="*/ 11 h 67"/>
                <a:gd name="T116" fmla="*/ 122 w 173"/>
                <a:gd name="T117" fmla="*/ 9 h 67"/>
                <a:gd name="T118" fmla="*/ 131 w 173"/>
                <a:gd name="T119" fmla="*/ 6 h 67"/>
                <a:gd name="T120" fmla="*/ 131 w 173"/>
                <a:gd name="T121" fmla="*/ 2 h 67"/>
                <a:gd name="T122" fmla="*/ 139 w 173"/>
                <a:gd name="T123" fmla="*/ 2 h 67"/>
                <a:gd name="T124" fmla="*/ 148 w 173"/>
                <a:gd name="T125" fmla="*/ 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3" h="67">
                  <a:moveTo>
                    <a:pt x="61" y="67"/>
                  </a:moveTo>
                  <a:lnTo>
                    <a:pt x="61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7"/>
                  </a:lnTo>
                  <a:close/>
                  <a:moveTo>
                    <a:pt x="101" y="60"/>
                  </a:move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close/>
                  <a:moveTo>
                    <a:pt x="34" y="56"/>
                  </a:move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close/>
                  <a:moveTo>
                    <a:pt x="99" y="13"/>
                  </a:move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3"/>
                  </a:lnTo>
                  <a:close/>
                  <a:moveTo>
                    <a:pt x="160" y="4"/>
                  </a:moveTo>
                  <a:lnTo>
                    <a:pt x="160" y="4"/>
                  </a:lnTo>
                  <a:lnTo>
                    <a:pt x="160" y="4"/>
                  </a:lnTo>
                  <a:lnTo>
                    <a:pt x="160" y="4"/>
                  </a:lnTo>
                  <a:close/>
                  <a:moveTo>
                    <a:pt x="160" y="4"/>
                  </a:moveTo>
                  <a:lnTo>
                    <a:pt x="160" y="4"/>
                  </a:lnTo>
                  <a:lnTo>
                    <a:pt x="155" y="4"/>
                  </a:lnTo>
                  <a:lnTo>
                    <a:pt x="155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6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48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7" y="13"/>
                  </a:lnTo>
                  <a:lnTo>
                    <a:pt x="155" y="15"/>
                  </a:lnTo>
                  <a:lnTo>
                    <a:pt x="155" y="15"/>
                  </a:lnTo>
                  <a:lnTo>
                    <a:pt x="155" y="15"/>
                  </a:lnTo>
                  <a:lnTo>
                    <a:pt x="155" y="15"/>
                  </a:lnTo>
                  <a:lnTo>
                    <a:pt x="153" y="15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5"/>
                  </a:lnTo>
                  <a:lnTo>
                    <a:pt x="155" y="15"/>
                  </a:lnTo>
                  <a:lnTo>
                    <a:pt x="155" y="15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60" y="15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57" y="22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2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2" y="18"/>
                  </a:lnTo>
                  <a:lnTo>
                    <a:pt x="166" y="20"/>
                  </a:lnTo>
                  <a:lnTo>
                    <a:pt x="166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0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69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0"/>
                  </a:lnTo>
                  <a:lnTo>
                    <a:pt x="171" y="20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1" y="22"/>
                  </a:lnTo>
                  <a:lnTo>
                    <a:pt x="173" y="22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3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69" y="24"/>
                  </a:lnTo>
                  <a:lnTo>
                    <a:pt x="171" y="24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66" y="27"/>
                  </a:lnTo>
                  <a:lnTo>
                    <a:pt x="166" y="27"/>
                  </a:lnTo>
                  <a:lnTo>
                    <a:pt x="166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69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6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69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29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1" y="31"/>
                  </a:lnTo>
                  <a:lnTo>
                    <a:pt x="171" y="31"/>
                  </a:lnTo>
                  <a:lnTo>
                    <a:pt x="173" y="33"/>
                  </a:lnTo>
                  <a:lnTo>
                    <a:pt x="173" y="33"/>
                  </a:lnTo>
                  <a:lnTo>
                    <a:pt x="171" y="33"/>
                  </a:lnTo>
                  <a:lnTo>
                    <a:pt x="171" y="33"/>
                  </a:lnTo>
                  <a:lnTo>
                    <a:pt x="171" y="33"/>
                  </a:lnTo>
                  <a:lnTo>
                    <a:pt x="171" y="33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69" y="31"/>
                  </a:lnTo>
                  <a:lnTo>
                    <a:pt x="169" y="31"/>
                  </a:lnTo>
                  <a:lnTo>
                    <a:pt x="169" y="31"/>
                  </a:lnTo>
                  <a:lnTo>
                    <a:pt x="169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4" y="31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6" y="31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1" y="33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66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3"/>
                  </a:lnTo>
                  <a:lnTo>
                    <a:pt x="164" y="33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9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4" y="38"/>
                  </a:lnTo>
                  <a:lnTo>
                    <a:pt x="164" y="36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4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6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3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51" y="47"/>
                  </a:lnTo>
                  <a:lnTo>
                    <a:pt x="148" y="47"/>
                  </a:lnTo>
                  <a:lnTo>
                    <a:pt x="148" y="49"/>
                  </a:lnTo>
                  <a:lnTo>
                    <a:pt x="148" y="49"/>
                  </a:lnTo>
                  <a:lnTo>
                    <a:pt x="148" y="49"/>
                  </a:lnTo>
                  <a:lnTo>
                    <a:pt x="148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7" y="49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7" y="49"/>
                  </a:lnTo>
                  <a:lnTo>
                    <a:pt x="135" y="49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8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6" y="54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2" y="56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2" y="56"/>
                  </a:lnTo>
                  <a:lnTo>
                    <a:pt x="119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6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60"/>
                  </a:lnTo>
                  <a:lnTo>
                    <a:pt x="99" y="58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99" y="60"/>
                  </a:lnTo>
                  <a:lnTo>
                    <a:pt x="99" y="62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9" y="62"/>
                  </a:lnTo>
                  <a:lnTo>
                    <a:pt x="97" y="62"/>
                  </a:lnTo>
                  <a:lnTo>
                    <a:pt x="97" y="65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2" y="65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6" y="67"/>
                  </a:lnTo>
                  <a:lnTo>
                    <a:pt x="83" y="67"/>
                  </a:lnTo>
                  <a:lnTo>
                    <a:pt x="81" y="65"/>
                  </a:lnTo>
                  <a:lnTo>
                    <a:pt x="79" y="67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2" y="65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5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1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59" y="62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0" y="58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7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38" y="58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6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2" y="58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6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4" y="51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3" y="45"/>
                  </a:lnTo>
                  <a:lnTo>
                    <a:pt x="43" y="47"/>
                  </a:lnTo>
                  <a:lnTo>
                    <a:pt x="45" y="47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38" y="45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4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8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2"/>
                  </a:lnTo>
                  <a:lnTo>
                    <a:pt x="45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38" y="40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2" y="45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5" y="36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3" y="36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2" y="31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5" y="22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1" y="22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1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5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8"/>
                  </a:lnTo>
                  <a:lnTo>
                    <a:pt x="16" y="18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5"/>
                  </a:lnTo>
                  <a:lnTo>
                    <a:pt x="16" y="13"/>
                  </a:lnTo>
                  <a:lnTo>
                    <a:pt x="18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3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6" y="11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20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5" y="6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3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9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22" y="6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7" y="2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6"/>
                  </a:lnTo>
                  <a:lnTo>
                    <a:pt x="139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2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6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51" y="6"/>
                  </a:lnTo>
                  <a:lnTo>
                    <a:pt x="151" y="6"/>
                  </a:lnTo>
                  <a:lnTo>
                    <a:pt x="151" y="6"/>
                  </a:lnTo>
                  <a:lnTo>
                    <a:pt x="151" y="6"/>
                  </a:lnTo>
                  <a:lnTo>
                    <a:pt x="151" y="6"/>
                  </a:lnTo>
                  <a:lnTo>
                    <a:pt x="153" y="4"/>
                  </a:lnTo>
                  <a:lnTo>
                    <a:pt x="153" y="4"/>
                  </a:lnTo>
                  <a:lnTo>
                    <a:pt x="153" y="4"/>
                  </a:lnTo>
                  <a:lnTo>
                    <a:pt x="153" y="4"/>
                  </a:lnTo>
                  <a:lnTo>
                    <a:pt x="153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60" y="4"/>
                  </a:lnTo>
                  <a:close/>
                  <a:moveTo>
                    <a:pt x="106" y="0"/>
                  </a:move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4" name="Freeform 581"/>
            <p:cNvSpPr>
              <a:spLocks/>
            </p:cNvSpPr>
            <p:nvPr/>
          </p:nvSpPr>
          <p:spPr bwMode="auto">
            <a:xfrm>
              <a:off x="6143994" y="2041942"/>
              <a:ext cx="205586" cy="108642"/>
            </a:xfrm>
            <a:custGeom>
              <a:avLst/>
              <a:gdLst>
                <a:gd name="T0" fmla="*/ 94 w 123"/>
                <a:gd name="T1" fmla="*/ 0 h 65"/>
                <a:gd name="T2" fmla="*/ 96 w 123"/>
                <a:gd name="T3" fmla="*/ 0 h 65"/>
                <a:gd name="T4" fmla="*/ 103 w 123"/>
                <a:gd name="T5" fmla="*/ 4 h 65"/>
                <a:gd name="T6" fmla="*/ 110 w 123"/>
                <a:gd name="T7" fmla="*/ 2 h 65"/>
                <a:gd name="T8" fmla="*/ 114 w 123"/>
                <a:gd name="T9" fmla="*/ 6 h 65"/>
                <a:gd name="T10" fmla="*/ 116 w 123"/>
                <a:gd name="T11" fmla="*/ 6 h 65"/>
                <a:gd name="T12" fmla="*/ 121 w 123"/>
                <a:gd name="T13" fmla="*/ 11 h 65"/>
                <a:gd name="T14" fmla="*/ 123 w 123"/>
                <a:gd name="T15" fmla="*/ 13 h 65"/>
                <a:gd name="T16" fmla="*/ 121 w 123"/>
                <a:gd name="T17" fmla="*/ 18 h 65"/>
                <a:gd name="T18" fmla="*/ 114 w 123"/>
                <a:gd name="T19" fmla="*/ 18 h 65"/>
                <a:gd name="T20" fmla="*/ 112 w 123"/>
                <a:gd name="T21" fmla="*/ 22 h 65"/>
                <a:gd name="T22" fmla="*/ 107 w 123"/>
                <a:gd name="T23" fmla="*/ 27 h 65"/>
                <a:gd name="T24" fmla="*/ 105 w 123"/>
                <a:gd name="T25" fmla="*/ 31 h 65"/>
                <a:gd name="T26" fmla="*/ 103 w 123"/>
                <a:gd name="T27" fmla="*/ 36 h 65"/>
                <a:gd name="T28" fmla="*/ 103 w 123"/>
                <a:gd name="T29" fmla="*/ 40 h 65"/>
                <a:gd name="T30" fmla="*/ 101 w 123"/>
                <a:gd name="T31" fmla="*/ 42 h 65"/>
                <a:gd name="T32" fmla="*/ 99 w 123"/>
                <a:gd name="T33" fmla="*/ 47 h 65"/>
                <a:gd name="T34" fmla="*/ 96 w 123"/>
                <a:gd name="T35" fmla="*/ 51 h 65"/>
                <a:gd name="T36" fmla="*/ 92 w 123"/>
                <a:gd name="T37" fmla="*/ 53 h 65"/>
                <a:gd name="T38" fmla="*/ 90 w 123"/>
                <a:gd name="T39" fmla="*/ 53 h 65"/>
                <a:gd name="T40" fmla="*/ 85 w 123"/>
                <a:gd name="T41" fmla="*/ 56 h 65"/>
                <a:gd name="T42" fmla="*/ 78 w 123"/>
                <a:gd name="T43" fmla="*/ 56 h 65"/>
                <a:gd name="T44" fmla="*/ 69 w 123"/>
                <a:gd name="T45" fmla="*/ 56 h 65"/>
                <a:gd name="T46" fmla="*/ 65 w 123"/>
                <a:gd name="T47" fmla="*/ 58 h 65"/>
                <a:gd name="T48" fmla="*/ 63 w 123"/>
                <a:gd name="T49" fmla="*/ 58 h 65"/>
                <a:gd name="T50" fmla="*/ 56 w 123"/>
                <a:gd name="T51" fmla="*/ 60 h 65"/>
                <a:gd name="T52" fmla="*/ 54 w 123"/>
                <a:gd name="T53" fmla="*/ 60 h 65"/>
                <a:gd name="T54" fmla="*/ 49 w 123"/>
                <a:gd name="T55" fmla="*/ 62 h 65"/>
                <a:gd name="T56" fmla="*/ 47 w 123"/>
                <a:gd name="T57" fmla="*/ 65 h 65"/>
                <a:gd name="T58" fmla="*/ 42 w 123"/>
                <a:gd name="T59" fmla="*/ 65 h 65"/>
                <a:gd name="T60" fmla="*/ 36 w 123"/>
                <a:gd name="T61" fmla="*/ 62 h 65"/>
                <a:gd name="T62" fmla="*/ 27 w 123"/>
                <a:gd name="T63" fmla="*/ 60 h 65"/>
                <a:gd name="T64" fmla="*/ 24 w 123"/>
                <a:gd name="T65" fmla="*/ 60 h 65"/>
                <a:gd name="T66" fmla="*/ 24 w 123"/>
                <a:gd name="T67" fmla="*/ 58 h 65"/>
                <a:gd name="T68" fmla="*/ 18 w 123"/>
                <a:gd name="T69" fmla="*/ 51 h 65"/>
                <a:gd name="T70" fmla="*/ 15 w 123"/>
                <a:gd name="T71" fmla="*/ 49 h 65"/>
                <a:gd name="T72" fmla="*/ 11 w 123"/>
                <a:gd name="T73" fmla="*/ 47 h 65"/>
                <a:gd name="T74" fmla="*/ 6 w 123"/>
                <a:gd name="T75" fmla="*/ 44 h 65"/>
                <a:gd name="T76" fmla="*/ 4 w 123"/>
                <a:gd name="T77" fmla="*/ 40 h 65"/>
                <a:gd name="T78" fmla="*/ 0 w 123"/>
                <a:gd name="T79" fmla="*/ 38 h 65"/>
                <a:gd name="T80" fmla="*/ 4 w 123"/>
                <a:gd name="T81" fmla="*/ 36 h 65"/>
                <a:gd name="T82" fmla="*/ 6 w 123"/>
                <a:gd name="T83" fmla="*/ 36 h 65"/>
                <a:gd name="T84" fmla="*/ 6 w 123"/>
                <a:gd name="T85" fmla="*/ 33 h 65"/>
                <a:gd name="T86" fmla="*/ 6 w 123"/>
                <a:gd name="T87" fmla="*/ 31 h 65"/>
                <a:gd name="T88" fmla="*/ 6 w 123"/>
                <a:gd name="T89" fmla="*/ 29 h 65"/>
                <a:gd name="T90" fmla="*/ 6 w 123"/>
                <a:gd name="T91" fmla="*/ 27 h 65"/>
                <a:gd name="T92" fmla="*/ 9 w 123"/>
                <a:gd name="T93" fmla="*/ 22 h 65"/>
                <a:gd name="T94" fmla="*/ 6 w 123"/>
                <a:gd name="T95" fmla="*/ 20 h 65"/>
                <a:gd name="T96" fmla="*/ 11 w 123"/>
                <a:gd name="T97" fmla="*/ 20 h 65"/>
                <a:gd name="T98" fmla="*/ 18 w 123"/>
                <a:gd name="T99" fmla="*/ 20 h 65"/>
                <a:gd name="T100" fmla="*/ 15 w 123"/>
                <a:gd name="T101" fmla="*/ 15 h 65"/>
                <a:gd name="T102" fmla="*/ 18 w 123"/>
                <a:gd name="T103" fmla="*/ 13 h 65"/>
                <a:gd name="T104" fmla="*/ 24 w 123"/>
                <a:gd name="T105" fmla="*/ 15 h 65"/>
                <a:gd name="T106" fmla="*/ 29 w 123"/>
                <a:gd name="T107" fmla="*/ 18 h 65"/>
                <a:gd name="T108" fmla="*/ 49 w 123"/>
                <a:gd name="T109" fmla="*/ 18 h 65"/>
                <a:gd name="T110" fmla="*/ 49 w 123"/>
                <a:gd name="T111" fmla="*/ 13 h 65"/>
                <a:gd name="T112" fmla="*/ 60 w 123"/>
                <a:gd name="T113" fmla="*/ 9 h 65"/>
                <a:gd name="T114" fmla="*/ 63 w 123"/>
                <a:gd name="T115" fmla="*/ 6 h 65"/>
                <a:gd name="T116" fmla="*/ 67 w 123"/>
                <a:gd name="T117" fmla="*/ 9 h 65"/>
                <a:gd name="T118" fmla="*/ 72 w 123"/>
                <a:gd name="T119" fmla="*/ 6 h 65"/>
                <a:gd name="T120" fmla="*/ 76 w 123"/>
                <a:gd name="T121" fmla="*/ 6 h 65"/>
                <a:gd name="T122" fmla="*/ 78 w 123"/>
                <a:gd name="T12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" h="65">
                  <a:moveTo>
                    <a:pt x="87" y="0"/>
                  </a:moveTo>
                  <a:lnTo>
                    <a:pt x="87" y="0"/>
                  </a:lnTo>
                  <a:lnTo>
                    <a:pt x="87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1" y="9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0" y="22"/>
                  </a:lnTo>
                  <a:lnTo>
                    <a:pt x="110" y="22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3" y="33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1" y="62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51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6" y="31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5" y="18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1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31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9" y="18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4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7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5" name="Freeform 582"/>
            <p:cNvSpPr>
              <a:spLocks noEditPoints="1"/>
            </p:cNvSpPr>
            <p:nvPr/>
          </p:nvSpPr>
          <p:spPr bwMode="auto">
            <a:xfrm>
              <a:off x="9557044" y="3071540"/>
              <a:ext cx="18386" cy="15042"/>
            </a:xfrm>
            <a:custGeom>
              <a:avLst/>
              <a:gdLst>
                <a:gd name="T0" fmla="*/ 4 w 11"/>
                <a:gd name="T1" fmla="*/ 6 h 9"/>
                <a:gd name="T2" fmla="*/ 7 w 11"/>
                <a:gd name="T3" fmla="*/ 9 h 9"/>
                <a:gd name="T4" fmla="*/ 4 w 11"/>
                <a:gd name="T5" fmla="*/ 6 h 9"/>
                <a:gd name="T6" fmla="*/ 7 w 11"/>
                <a:gd name="T7" fmla="*/ 6 h 9"/>
                <a:gd name="T8" fmla="*/ 9 w 11"/>
                <a:gd name="T9" fmla="*/ 6 h 9"/>
                <a:gd name="T10" fmla="*/ 7 w 11"/>
                <a:gd name="T11" fmla="*/ 6 h 9"/>
                <a:gd name="T12" fmla="*/ 7 w 11"/>
                <a:gd name="T13" fmla="*/ 6 h 9"/>
                <a:gd name="T14" fmla="*/ 7 w 11"/>
                <a:gd name="T15" fmla="*/ 6 h 9"/>
                <a:gd name="T16" fmla="*/ 7 w 11"/>
                <a:gd name="T17" fmla="*/ 6 h 9"/>
                <a:gd name="T18" fmla="*/ 7 w 11"/>
                <a:gd name="T19" fmla="*/ 6 h 9"/>
                <a:gd name="T20" fmla="*/ 4 w 11"/>
                <a:gd name="T21" fmla="*/ 6 h 9"/>
                <a:gd name="T22" fmla="*/ 7 w 11"/>
                <a:gd name="T23" fmla="*/ 6 h 9"/>
                <a:gd name="T24" fmla="*/ 7 w 11"/>
                <a:gd name="T25" fmla="*/ 6 h 9"/>
                <a:gd name="T26" fmla="*/ 0 w 11"/>
                <a:gd name="T27" fmla="*/ 6 h 9"/>
                <a:gd name="T28" fmla="*/ 0 w 11"/>
                <a:gd name="T29" fmla="*/ 6 h 9"/>
                <a:gd name="T30" fmla="*/ 0 w 11"/>
                <a:gd name="T31" fmla="*/ 6 h 9"/>
                <a:gd name="T32" fmla="*/ 2 w 11"/>
                <a:gd name="T33" fmla="*/ 4 h 9"/>
                <a:gd name="T34" fmla="*/ 2 w 11"/>
                <a:gd name="T35" fmla="*/ 4 h 9"/>
                <a:gd name="T36" fmla="*/ 2 w 11"/>
                <a:gd name="T37" fmla="*/ 4 h 9"/>
                <a:gd name="T38" fmla="*/ 2 w 11"/>
                <a:gd name="T39" fmla="*/ 6 h 9"/>
                <a:gd name="T40" fmla="*/ 2 w 11"/>
                <a:gd name="T41" fmla="*/ 6 h 9"/>
                <a:gd name="T42" fmla="*/ 0 w 11"/>
                <a:gd name="T43" fmla="*/ 6 h 9"/>
                <a:gd name="T44" fmla="*/ 4 w 11"/>
                <a:gd name="T45" fmla="*/ 0 h 9"/>
                <a:gd name="T46" fmla="*/ 7 w 11"/>
                <a:gd name="T47" fmla="*/ 0 h 9"/>
                <a:gd name="T48" fmla="*/ 7 w 11"/>
                <a:gd name="T49" fmla="*/ 0 h 9"/>
                <a:gd name="T50" fmla="*/ 7 w 11"/>
                <a:gd name="T51" fmla="*/ 0 h 9"/>
                <a:gd name="T52" fmla="*/ 7 w 11"/>
                <a:gd name="T53" fmla="*/ 0 h 9"/>
                <a:gd name="T54" fmla="*/ 9 w 11"/>
                <a:gd name="T55" fmla="*/ 0 h 9"/>
                <a:gd name="T56" fmla="*/ 7 w 11"/>
                <a:gd name="T57" fmla="*/ 2 h 9"/>
                <a:gd name="T58" fmla="*/ 7 w 11"/>
                <a:gd name="T59" fmla="*/ 2 h 9"/>
                <a:gd name="T60" fmla="*/ 4 w 11"/>
                <a:gd name="T61" fmla="*/ 2 h 9"/>
                <a:gd name="T62" fmla="*/ 7 w 11"/>
                <a:gd name="T63" fmla="*/ 2 h 9"/>
                <a:gd name="T64" fmla="*/ 7 w 11"/>
                <a:gd name="T65" fmla="*/ 2 h 9"/>
                <a:gd name="T66" fmla="*/ 7 w 11"/>
                <a:gd name="T67" fmla="*/ 2 h 9"/>
                <a:gd name="T68" fmla="*/ 9 w 11"/>
                <a:gd name="T69" fmla="*/ 2 h 9"/>
                <a:gd name="T70" fmla="*/ 9 w 11"/>
                <a:gd name="T71" fmla="*/ 2 h 9"/>
                <a:gd name="T72" fmla="*/ 9 w 11"/>
                <a:gd name="T73" fmla="*/ 2 h 9"/>
                <a:gd name="T74" fmla="*/ 11 w 11"/>
                <a:gd name="T75" fmla="*/ 2 h 9"/>
                <a:gd name="T76" fmla="*/ 11 w 11"/>
                <a:gd name="T77" fmla="*/ 4 h 9"/>
                <a:gd name="T78" fmla="*/ 9 w 11"/>
                <a:gd name="T79" fmla="*/ 4 h 9"/>
                <a:gd name="T80" fmla="*/ 9 w 11"/>
                <a:gd name="T81" fmla="*/ 4 h 9"/>
                <a:gd name="T82" fmla="*/ 7 w 11"/>
                <a:gd name="T83" fmla="*/ 2 h 9"/>
                <a:gd name="T84" fmla="*/ 7 w 11"/>
                <a:gd name="T85" fmla="*/ 4 h 9"/>
                <a:gd name="T86" fmla="*/ 9 w 11"/>
                <a:gd name="T87" fmla="*/ 4 h 9"/>
                <a:gd name="T88" fmla="*/ 9 w 11"/>
                <a:gd name="T89" fmla="*/ 6 h 9"/>
                <a:gd name="T90" fmla="*/ 9 w 11"/>
                <a:gd name="T91" fmla="*/ 6 h 9"/>
                <a:gd name="T92" fmla="*/ 9 w 11"/>
                <a:gd name="T93" fmla="*/ 4 h 9"/>
                <a:gd name="T94" fmla="*/ 7 w 11"/>
                <a:gd name="T95" fmla="*/ 4 h 9"/>
                <a:gd name="T96" fmla="*/ 7 w 11"/>
                <a:gd name="T97" fmla="*/ 4 h 9"/>
                <a:gd name="T98" fmla="*/ 7 w 11"/>
                <a:gd name="T99" fmla="*/ 4 h 9"/>
                <a:gd name="T100" fmla="*/ 4 w 11"/>
                <a:gd name="T101" fmla="*/ 4 h 9"/>
                <a:gd name="T102" fmla="*/ 4 w 11"/>
                <a:gd name="T103" fmla="*/ 4 h 9"/>
                <a:gd name="T104" fmla="*/ 2 w 11"/>
                <a:gd name="T105" fmla="*/ 4 h 9"/>
                <a:gd name="T106" fmla="*/ 2 w 11"/>
                <a:gd name="T107" fmla="*/ 4 h 9"/>
                <a:gd name="T108" fmla="*/ 0 w 11"/>
                <a:gd name="T109" fmla="*/ 4 h 9"/>
                <a:gd name="T110" fmla="*/ 0 w 11"/>
                <a:gd name="T111" fmla="*/ 2 h 9"/>
                <a:gd name="T112" fmla="*/ 2 w 11"/>
                <a:gd name="T113" fmla="*/ 2 h 9"/>
                <a:gd name="T114" fmla="*/ 2 w 11"/>
                <a:gd name="T115" fmla="*/ 0 h 9"/>
                <a:gd name="T116" fmla="*/ 2 w 11"/>
                <a:gd name="T117" fmla="*/ 0 h 9"/>
                <a:gd name="T118" fmla="*/ 4 w 11"/>
                <a:gd name="T1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9"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6"/>
                  </a:moveTo>
                  <a:lnTo>
                    <a:pt x="7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close/>
                  <a:moveTo>
                    <a:pt x="7" y="6"/>
                  </a:move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9" y="6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6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6" name="Freeform 583"/>
            <p:cNvSpPr>
              <a:spLocks noEditPoints="1"/>
            </p:cNvSpPr>
            <p:nvPr/>
          </p:nvSpPr>
          <p:spPr bwMode="auto">
            <a:xfrm>
              <a:off x="2535387" y="3330610"/>
              <a:ext cx="217285" cy="120343"/>
            </a:xfrm>
            <a:custGeom>
              <a:avLst/>
              <a:gdLst>
                <a:gd name="T0" fmla="*/ 33 w 130"/>
                <a:gd name="T1" fmla="*/ 63 h 72"/>
                <a:gd name="T2" fmla="*/ 76 w 130"/>
                <a:gd name="T3" fmla="*/ 0 h 72"/>
                <a:gd name="T4" fmla="*/ 81 w 130"/>
                <a:gd name="T5" fmla="*/ 2 h 72"/>
                <a:gd name="T6" fmla="*/ 101 w 130"/>
                <a:gd name="T7" fmla="*/ 4 h 72"/>
                <a:gd name="T8" fmla="*/ 103 w 130"/>
                <a:gd name="T9" fmla="*/ 2 h 72"/>
                <a:gd name="T10" fmla="*/ 119 w 130"/>
                <a:gd name="T11" fmla="*/ 16 h 72"/>
                <a:gd name="T12" fmla="*/ 114 w 130"/>
                <a:gd name="T13" fmla="*/ 11 h 72"/>
                <a:gd name="T14" fmla="*/ 112 w 130"/>
                <a:gd name="T15" fmla="*/ 11 h 72"/>
                <a:gd name="T16" fmla="*/ 110 w 130"/>
                <a:gd name="T17" fmla="*/ 11 h 72"/>
                <a:gd name="T18" fmla="*/ 112 w 130"/>
                <a:gd name="T19" fmla="*/ 16 h 72"/>
                <a:gd name="T20" fmla="*/ 114 w 130"/>
                <a:gd name="T21" fmla="*/ 18 h 72"/>
                <a:gd name="T22" fmla="*/ 114 w 130"/>
                <a:gd name="T23" fmla="*/ 13 h 72"/>
                <a:gd name="T24" fmla="*/ 119 w 130"/>
                <a:gd name="T25" fmla="*/ 18 h 72"/>
                <a:gd name="T26" fmla="*/ 121 w 130"/>
                <a:gd name="T27" fmla="*/ 18 h 72"/>
                <a:gd name="T28" fmla="*/ 121 w 130"/>
                <a:gd name="T29" fmla="*/ 18 h 72"/>
                <a:gd name="T30" fmla="*/ 121 w 130"/>
                <a:gd name="T31" fmla="*/ 20 h 72"/>
                <a:gd name="T32" fmla="*/ 121 w 130"/>
                <a:gd name="T33" fmla="*/ 16 h 72"/>
                <a:gd name="T34" fmla="*/ 125 w 130"/>
                <a:gd name="T35" fmla="*/ 18 h 72"/>
                <a:gd name="T36" fmla="*/ 125 w 130"/>
                <a:gd name="T37" fmla="*/ 25 h 72"/>
                <a:gd name="T38" fmla="*/ 123 w 130"/>
                <a:gd name="T39" fmla="*/ 25 h 72"/>
                <a:gd name="T40" fmla="*/ 119 w 130"/>
                <a:gd name="T41" fmla="*/ 27 h 72"/>
                <a:gd name="T42" fmla="*/ 117 w 130"/>
                <a:gd name="T43" fmla="*/ 29 h 72"/>
                <a:gd name="T44" fmla="*/ 112 w 130"/>
                <a:gd name="T45" fmla="*/ 29 h 72"/>
                <a:gd name="T46" fmla="*/ 110 w 130"/>
                <a:gd name="T47" fmla="*/ 31 h 72"/>
                <a:gd name="T48" fmla="*/ 105 w 130"/>
                <a:gd name="T49" fmla="*/ 31 h 72"/>
                <a:gd name="T50" fmla="*/ 99 w 130"/>
                <a:gd name="T51" fmla="*/ 31 h 72"/>
                <a:gd name="T52" fmla="*/ 92 w 130"/>
                <a:gd name="T53" fmla="*/ 29 h 72"/>
                <a:gd name="T54" fmla="*/ 87 w 130"/>
                <a:gd name="T55" fmla="*/ 34 h 72"/>
                <a:gd name="T56" fmla="*/ 85 w 130"/>
                <a:gd name="T57" fmla="*/ 40 h 72"/>
                <a:gd name="T58" fmla="*/ 81 w 130"/>
                <a:gd name="T59" fmla="*/ 45 h 72"/>
                <a:gd name="T60" fmla="*/ 76 w 130"/>
                <a:gd name="T61" fmla="*/ 47 h 72"/>
                <a:gd name="T62" fmla="*/ 74 w 130"/>
                <a:gd name="T63" fmla="*/ 51 h 72"/>
                <a:gd name="T64" fmla="*/ 67 w 130"/>
                <a:gd name="T65" fmla="*/ 47 h 72"/>
                <a:gd name="T66" fmla="*/ 60 w 130"/>
                <a:gd name="T67" fmla="*/ 54 h 72"/>
                <a:gd name="T68" fmla="*/ 51 w 130"/>
                <a:gd name="T69" fmla="*/ 56 h 72"/>
                <a:gd name="T70" fmla="*/ 51 w 130"/>
                <a:gd name="T71" fmla="*/ 65 h 72"/>
                <a:gd name="T72" fmla="*/ 47 w 130"/>
                <a:gd name="T73" fmla="*/ 67 h 72"/>
                <a:gd name="T74" fmla="*/ 40 w 130"/>
                <a:gd name="T75" fmla="*/ 72 h 72"/>
                <a:gd name="T76" fmla="*/ 38 w 130"/>
                <a:gd name="T77" fmla="*/ 69 h 72"/>
                <a:gd name="T78" fmla="*/ 36 w 130"/>
                <a:gd name="T79" fmla="*/ 63 h 72"/>
                <a:gd name="T80" fmla="*/ 36 w 130"/>
                <a:gd name="T81" fmla="*/ 63 h 72"/>
                <a:gd name="T82" fmla="*/ 33 w 130"/>
                <a:gd name="T83" fmla="*/ 63 h 72"/>
                <a:gd name="T84" fmla="*/ 29 w 130"/>
                <a:gd name="T85" fmla="*/ 63 h 72"/>
                <a:gd name="T86" fmla="*/ 31 w 130"/>
                <a:gd name="T87" fmla="*/ 54 h 72"/>
                <a:gd name="T88" fmla="*/ 29 w 130"/>
                <a:gd name="T89" fmla="*/ 49 h 72"/>
                <a:gd name="T90" fmla="*/ 24 w 130"/>
                <a:gd name="T91" fmla="*/ 47 h 72"/>
                <a:gd name="T92" fmla="*/ 20 w 130"/>
                <a:gd name="T93" fmla="*/ 49 h 72"/>
                <a:gd name="T94" fmla="*/ 15 w 130"/>
                <a:gd name="T95" fmla="*/ 51 h 72"/>
                <a:gd name="T96" fmla="*/ 13 w 130"/>
                <a:gd name="T97" fmla="*/ 47 h 72"/>
                <a:gd name="T98" fmla="*/ 9 w 130"/>
                <a:gd name="T99" fmla="*/ 45 h 72"/>
                <a:gd name="T100" fmla="*/ 6 w 130"/>
                <a:gd name="T101" fmla="*/ 40 h 72"/>
                <a:gd name="T102" fmla="*/ 0 w 130"/>
                <a:gd name="T103" fmla="*/ 38 h 72"/>
                <a:gd name="T104" fmla="*/ 4 w 130"/>
                <a:gd name="T105" fmla="*/ 34 h 72"/>
                <a:gd name="T106" fmla="*/ 4 w 130"/>
                <a:gd name="T107" fmla="*/ 25 h 72"/>
                <a:gd name="T108" fmla="*/ 24 w 130"/>
                <a:gd name="T109" fmla="*/ 9 h 72"/>
                <a:gd name="T110" fmla="*/ 31 w 130"/>
                <a:gd name="T111" fmla="*/ 4 h 72"/>
                <a:gd name="T112" fmla="*/ 38 w 130"/>
                <a:gd name="T113" fmla="*/ 2 h 72"/>
                <a:gd name="T114" fmla="*/ 45 w 130"/>
                <a:gd name="T115" fmla="*/ 4 h 72"/>
                <a:gd name="T116" fmla="*/ 58 w 130"/>
                <a:gd name="T117" fmla="*/ 4 h 72"/>
                <a:gd name="T118" fmla="*/ 74 w 130"/>
                <a:gd name="T119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0" h="72">
                  <a:moveTo>
                    <a:pt x="33" y="65"/>
                  </a:moveTo>
                  <a:lnTo>
                    <a:pt x="33" y="65"/>
                  </a:lnTo>
                  <a:lnTo>
                    <a:pt x="33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close/>
                  <a:moveTo>
                    <a:pt x="33" y="63"/>
                  </a:move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5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close/>
                  <a:moveTo>
                    <a:pt x="74" y="0"/>
                  </a:move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5" y="2"/>
                  </a:lnTo>
                  <a:lnTo>
                    <a:pt x="87" y="2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5" y="4"/>
                  </a:lnTo>
                  <a:lnTo>
                    <a:pt x="108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7"/>
                  </a:lnTo>
                  <a:lnTo>
                    <a:pt x="112" y="9"/>
                  </a:lnTo>
                  <a:lnTo>
                    <a:pt x="114" y="11"/>
                  </a:lnTo>
                  <a:lnTo>
                    <a:pt x="117" y="11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7" y="13"/>
                  </a:lnTo>
                  <a:lnTo>
                    <a:pt x="114" y="13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2" y="16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4" y="13"/>
                  </a:lnTo>
                  <a:lnTo>
                    <a:pt x="114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20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6"/>
                  </a:lnTo>
                  <a:lnTo>
                    <a:pt x="123" y="18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3" y="16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8" y="20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1"/>
                  </a:lnTo>
                  <a:lnTo>
                    <a:pt x="101" y="34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38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6" y="60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51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40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3" y="18"/>
                  </a:lnTo>
                  <a:lnTo>
                    <a:pt x="15" y="16"/>
                  </a:lnTo>
                  <a:lnTo>
                    <a:pt x="18" y="13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1" y="7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1" y="4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7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7" name="Freeform 584"/>
            <p:cNvSpPr>
              <a:spLocks noEditPoints="1"/>
            </p:cNvSpPr>
            <p:nvPr/>
          </p:nvSpPr>
          <p:spPr bwMode="auto">
            <a:xfrm>
              <a:off x="3068571" y="3168483"/>
              <a:ext cx="100286" cy="83571"/>
            </a:xfrm>
            <a:custGeom>
              <a:avLst/>
              <a:gdLst>
                <a:gd name="T0" fmla="*/ 31 w 60"/>
                <a:gd name="T1" fmla="*/ 32 h 50"/>
                <a:gd name="T2" fmla="*/ 24 w 60"/>
                <a:gd name="T3" fmla="*/ 27 h 50"/>
                <a:gd name="T4" fmla="*/ 36 w 60"/>
                <a:gd name="T5" fmla="*/ 32 h 50"/>
                <a:gd name="T6" fmla="*/ 42 w 60"/>
                <a:gd name="T7" fmla="*/ 5 h 50"/>
                <a:gd name="T8" fmla="*/ 47 w 60"/>
                <a:gd name="T9" fmla="*/ 7 h 50"/>
                <a:gd name="T10" fmla="*/ 47 w 60"/>
                <a:gd name="T11" fmla="*/ 9 h 50"/>
                <a:gd name="T12" fmla="*/ 49 w 60"/>
                <a:gd name="T13" fmla="*/ 7 h 50"/>
                <a:gd name="T14" fmla="*/ 51 w 60"/>
                <a:gd name="T15" fmla="*/ 7 h 50"/>
                <a:gd name="T16" fmla="*/ 54 w 60"/>
                <a:gd name="T17" fmla="*/ 9 h 50"/>
                <a:gd name="T18" fmla="*/ 56 w 60"/>
                <a:gd name="T19" fmla="*/ 9 h 50"/>
                <a:gd name="T20" fmla="*/ 58 w 60"/>
                <a:gd name="T21" fmla="*/ 9 h 50"/>
                <a:gd name="T22" fmla="*/ 58 w 60"/>
                <a:gd name="T23" fmla="*/ 9 h 50"/>
                <a:gd name="T24" fmla="*/ 60 w 60"/>
                <a:gd name="T25" fmla="*/ 16 h 50"/>
                <a:gd name="T26" fmla="*/ 60 w 60"/>
                <a:gd name="T27" fmla="*/ 20 h 50"/>
                <a:gd name="T28" fmla="*/ 56 w 60"/>
                <a:gd name="T29" fmla="*/ 27 h 50"/>
                <a:gd name="T30" fmla="*/ 58 w 60"/>
                <a:gd name="T31" fmla="*/ 29 h 50"/>
                <a:gd name="T32" fmla="*/ 56 w 60"/>
                <a:gd name="T33" fmla="*/ 34 h 50"/>
                <a:gd name="T34" fmla="*/ 54 w 60"/>
                <a:gd name="T35" fmla="*/ 38 h 50"/>
                <a:gd name="T36" fmla="*/ 56 w 60"/>
                <a:gd name="T37" fmla="*/ 41 h 50"/>
                <a:gd name="T38" fmla="*/ 56 w 60"/>
                <a:gd name="T39" fmla="*/ 47 h 50"/>
                <a:gd name="T40" fmla="*/ 49 w 60"/>
                <a:gd name="T41" fmla="*/ 43 h 50"/>
                <a:gd name="T42" fmla="*/ 38 w 60"/>
                <a:gd name="T43" fmla="*/ 45 h 50"/>
                <a:gd name="T44" fmla="*/ 33 w 60"/>
                <a:gd name="T45" fmla="*/ 45 h 50"/>
                <a:gd name="T46" fmla="*/ 27 w 60"/>
                <a:gd name="T47" fmla="*/ 45 h 50"/>
                <a:gd name="T48" fmla="*/ 22 w 60"/>
                <a:gd name="T49" fmla="*/ 43 h 50"/>
                <a:gd name="T50" fmla="*/ 18 w 60"/>
                <a:gd name="T51" fmla="*/ 45 h 50"/>
                <a:gd name="T52" fmla="*/ 15 w 60"/>
                <a:gd name="T53" fmla="*/ 45 h 50"/>
                <a:gd name="T54" fmla="*/ 15 w 60"/>
                <a:gd name="T55" fmla="*/ 43 h 50"/>
                <a:gd name="T56" fmla="*/ 13 w 60"/>
                <a:gd name="T57" fmla="*/ 50 h 50"/>
                <a:gd name="T58" fmla="*/ 9 w 60"/>
                <a:gd name="T59" fmla="*/ 45 h 50"/>
                <a:gd name="T60" fmla="*/ 4 w 60"/>
                <a:gd name="T61" fmla="*/ 43 h 50"/>
                <a:gd name="T62" fmla="*/ 2 w 60"/>
                <a:gd name="T63" fmla="*/ 43 h 50"/>
                <a:gd name="T64" fmla="*/ 0 w 60"/>
                <a:gd name="T65" fmla="*/ 41 h 50"/>
                <a:gd name="T66" fmla="*/ 2 w 60"/>
                <a:gd name="T67" fmla="*/ 36 h 50"/>
                <a:gd name="T68" fmla="*/ 4 w 60"/>
                <a:gd name="T69" fmla="*/ 34 h 50"/>
                <a:gd name="T70" fmla="*/ 11 w 60"/>
                <a:gd name="T71" fmla="*/ 36 h 50"/>
                <a:gd name="T72" fmla="*/ 13 w 60"/>
                <a:gd name="T73" fmla="*/ 36 h 50"/>
                <a:gd name="T74" fmla="*/ 15 w 60"/>
                <a:gd name="T75" fmla="*/ 36 h 50"/>
                <a:gd name="T76" fmla="*/ 18 w 60"/>
                <a:gd name="T77" fmla="*/ 36 h 50"/>
                <a:gd name="T78" fmla="*/ 15 w 60"/>
                <a:gd name="T79" fmla="*/ 36 h 50"/>
                <a:gd name="T80" fmla="*/ 22 w 60"/>
                <a:gd name="T81" fmla="*/ 38 h 50"/>
                <a:gd name="T82" fmla="*/ 31 w 60"/>
                <a:gd name="T83" fmla="*/ 38 h 50"/>
                <a:gd name="T84" fmla="*/ 38 w 60"/>
                <a:gd name="T85" fmla="*/ 38 h 50"/>
                <a:gd name="T86" fmla="*/ 42 w 60"/>
                <a:gd name="T87" fmla="*/ 36 h 50"/>
                <a:gd name="T88" fmla="*/ 45 w 60"/>
                <a:gd name="T89" fmla="*/ 34 h 50"/>
                <a:gd name="T90" fmla="*/ 42 w 60"/>
                <a:gd name="T91" fmla="*/ 32 h 50"/>
                <a:gd name="T92" fmla="*/ 38 w 60"/>
                <a:gd name="T93" fmla="*/ 27 h 50"/>
                <a:gd name="T94" fmla="*/ 38 w 60"/>
                <a:gd name="T95" fmla="*/ 23 h 50"/>
                <a:gd name="T96" fmla="*/ 38 w 60"/>
                <a:gd name="T97" fmla="*/ 18 h 50"/>
                <a:gd name="T98" fmla="*/ 38 w 60"/>
                <a:gd name="T99" fmla="*/ 18 h 50"/>
                <a:gd name="T100" fmla="*/ 38 w 60"/>
                <a:gd name="T101" fmla="*/ 16 h 50"/>
                <a:gd name="T102" fmla="*/ 38 w 60"/>
                <a:gd name="T103" fmla="*/ 16 h 50"/>
                <a:gd name="T104" fmla="*/ 33 w 60"/>
                <a:gd name="T105" fmla="*/ 11 h 50"/>
                <a:gd name="T106" fmla="*/ 29 w 60"/>
                <a:gd name="T107" fmla="*/ 11 h 50"/>
                <a:gd name="T108" fmla="*/ 24 w 60"/>
                <a:gd name="T109" fmla="*/ 9 h 50"/>
                <a:gd name="T110" fmla="*/ 27 w 60"/>
                <a:gd name="T111" fmla="*/ 7 h 50"/>
                <a:gd name="T112" fmla="*/ 31 w 60"/>
                <a:gd name="T113" fmla="*/ 5 h 50"/>
                <a:gd name="T114" fmla="*/ 33 w 60"/>
                <a:gd name="T115" fmla="*/ 5 h 50"/>
                <a:gd name="T116" fmla="*/ 40 w 60"/>
                <a:gd name="T117" fmla="*/ 0 h 50"/>
                <a:gd name="T118" fmla="*/ 38 w 60"/>
                <a:gd name="T119" fmla="*/ 0 h 50"/>
                <a:gd name="T120" fmla="*/ 38 w 60"/>
                <a:gd name="T1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0" h="50">
                  <a:moveTo>
                    <a:pt x="33" y="34"/>
                  </a:moveTo>
                  <a:lnTo>
                    <a:pt x="33" y="34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3" y="34"/>
                  </a:lnTo>
                  <a:close/>
                  <a:moveTo>
                    <a:pt x="38" y="2"/>
                  </a:moveTo>
                  <a:lnTo>
                    <a:pt x="40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7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60" y="20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6" y="32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4" y="34"/>
                  </a:lnTo>
                  <a:lnTo>
                    <a:pt x="54" y="36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1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6" y="45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4" y="47"/>
                  </a:lnTo>
                  <a:lnTo>
                    <a:pt x="54" y="50"/>
                  </a:lnTo>
                  <a:lnTo>
                    <a:pt x="54" y="47"/>
                  </a:lnTo>
                  <a:lnTo>
                    <a:pt x="54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3"/>
                  </a:lnTo>
                  <a:lnTo>
                    <a:pt x="47" y="43"/>
                  </a:lnTo>
                  <a:lnTo>
                    <a:pt x="47" y="45"/>
                  </a:lnTo>
                  <a:lnTo>
                    <a:pt x="45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6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29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4" y="43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5" y="43"/>
                  </a:lnTo>
                  <a:lnTo>
                    <a:pt x="18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1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47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31" y="2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2"/>
                  </a:lnTo>
                  <a:lnTo>
                    <a:pt x="36" y="5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8" name="Freeform 585"/>
            <p:cNvSpPr>
              <a:spLocks noEditPoints="1"/>
            </p:cNvSpPr>
            <p:nvPr/>
          </p:nvSpPr>
          <p:spPr bwMode="auto">
            <a:xfrm>
              <a:off x="3493113" y="3626453"/>
              <a:ext cx="168814" cy="294171"/>
            </a:xfrm>
            <a:custGeom>
              <a:avLst/>
              <a:gdLst>
                <a:gd name="T0" fmla="*/ 40 w 101"/>
                <a:gd name="T1" fmla="*/ 7 h 176"/>
                <a:gd name="T2" fmla="*/ 38 w 101"/>
                <a:gd name="T3" fmla="*/ 5 h 176"/>
                <a:gd name="T4" fmla="*/ 56 w 101"/>
                <a:gd name="T5" fmla="*/ 23 h 176"/>
                <a:gd name="T6" fmla="*/ 60 w 101"/>
                <a:gd name="T7" fmla="*/ 36 h 176"/>
                <a:gd name="T8" fmla="*/ 58 w 101"/>
                <a:gd name="T9" fmla="*/ 52 h 176"/>
                <a:gd name="T10" fmla="*/ 67 w 101"/>
                <a:gd name="T11" fmla="*/ 41 h 176"/>
                <a:gd name="T12" fmla="*/ 78 w 101"/>
                <a:gd name="T13" fmla="*/ 50 h 176"/>
                <a:gd name="T14" fmla="*/ 85 w 101"/>
                <a:gd name="T15" fmla="*/ 54 h 176"/>
                <a:gd name="T16" fmla="*/ 87 w 101"/>
                <a:gd name="T17" fmla="*/ 66 h 176"/>
                <a:gd name="T18" fmla="*/ 85 w 101"/>
                <a:gd name="T19" fmla="*/ 77 h 176"/>
                <a:gd name="T20" fmla="*/ 85 w 101"/>
                <a:gd name="T21" fmla="*/ 79 h 176"/>
                <a:gd name="T22" fmla="*/ 85 w 101"/>
                <a:gd name="T23" fmla="*/ 84 h 176"/>
                <a:gd name="T24" fmla="*/ 80 w 101"/>
                <a:gd name="T25" fmla="*/ 84 h 176"/>
                <a:gd name="T26" fmla="*/ 71 w 101"/>
                <a:gd name="T27" fmla="*/ 88 h 176"/>
                <a:gd name="T28" fmla="*/ 69 w 101"/>
                <a:gd name="T29" fmla="*/ 99 h 176"/>
                <a:gd name="T30" fmla="*/ 71 w 101"/>
                <a:gd name="T31" fmla="*/ 115 h 176"/>
                <a:gd name="T32" fmla="*/ 76 w 101"/>
                <a:gd name="T33" fmla="*/ 120 h 176"/>
                <a:gd name="T34" fmla="*/ 78 w 101"/>
                <a:gd name="T35" fmla="*/ 124 h 176"/>
                <a:gd name="T36" fmla="*/ 85 w 101"/>
                <a:gd name="T37" fmla="*/ 124 h 176"/>
                <a:gd name="T38" fmla="*/ 85 w 101"/>
                <a:gd name="T39" fmla="*/ 129 h 176"/>
                <a:gd name="T40" fmla="*/ 85 w 101"/>
                <a:gd name="T41" fmla="*/ 133 h 176"/>
                <a:gd name="T42" fmla="*/ 87 w 101"/>
                <a:gd name="T43" fmla="*/ 138 h 176"/>
                <a:gd name="T44" fmla="*/ 89 w 101"/>
                <a:gd name="T45" fmla="*/ 142 h 176"/>
                <a:gd name="T46" fmla="*/ 92 w 101"/>
                <a:gd name="T47" fmla="*/ 147 h 176"/>
                <a:gd name="T48" fmla="*/ 98 w 101"/>
                <a:gd name="T49" fmla="*/ 158 h 176"/>
                <a:gd name="T50" fmla="*/ 94 w 101"/>
                <a:gd name="T51" fmla="*/ 158 h 176"/>
                <a:gd name="T52" fmla="*/ 87 w 101"/>
                <a:gd name="T53" fmla="*/ 156 h 176"/>
                <a:gd name="T54" fmla="*/ 74 w 101"/>
                <a:gd name="T55" fmla="*/ 162 h 176"/>
                <a:gd name="T56" fmla="*/ 65 w 101"/>
                <a:gd name="T57" fmla="*/ 167 h 176"/>
                <a:gd name="T58" fmla="*/ 60 w 101"/>
                <a:gd name="T59" fmla="*/ 167 h 176"/>
                <a:gd name="T60" fmla="*/ 56 w 101"/>
                <a:gd name="T61" fmla="*/ 174 h 176"/>
                <a:gd name="T62" fmla="*/ 49 w 101"/>
                <a:gd name="T63" fmla="*/ 176 h 176"/>
                <a:gd name="T64" fmla="*/ 40 w 101"/>
                <a:gd name="T65" fmla="*/ 167 h 176"/>
                <a:gd name="T66" fmla="*/ 36 w 101"/>
                <a:gd name="T67" fmla="*/ 162 h 176"/>
                <a:gd name="T68" fmla="*/ 31 w 101"/>
                <a:gd name="T69" fmla="*/ 160 h 176"/>
                <a:gd name="T70" fmla="*/ 31 w 101"/>
                <a:gd name="T71" fmla="*/ 153 h 176"/>
                <a:gd name="T72" fmla="*/ 29 w 101"/>
                <a:gd name="T73" fmla="*/ 144 h 176"/>
                <a:gd name="T74" fmla="*/ 27 w 101"/>
                <a:gd name="T75" fmla="*/ 131 h 176"/>
                <a:gd name="T76" fmla="*/ 29 w 101"/>
                <a:gd name="T77" fmla="*/ 129 h 176"/>
                <a:gd name="T78" fmla="*/ 31 w 101"/>
                <a:gd name="T79" fmla="*/ 120 h 176"/>
                <a:gd name="T80" fmla="*/ 36 w 101"/>
                <a:gd name="T81" fmla="*/ 113 h 176"/>
                <a:gd name="T82" fmla="*/ 36 w 101"/>
                <a:gd name="T83" fmla="*/ 106 h 176"/>
                <a:gd name="T84" fmla="*/ 33 w 101"/>
                <a:gd name="T85" fmla="*/ 102 h 176"/>
                <a:gd name="T86" fmla="*/ 31 w 101"/>
                <a:gd name="T87" fmla="*/ 97 h 176"/>
                <a:gd name="T88" fmla="*/ 27 w 101"/>
                <a:gd name="T89" fmla="*/ 97 h 176"/>
                <a:gd name="T90" fmla="*/ 27 w 101"/>
                <a:gd name="T91" fmla="*/ 95 h 176"/>
                <a:gd name="T92" fmla="*/ 27 w 101"/>
                <a:gd name="T93" fmla="*/ 84 h 176"/>
                <a:gd name="T94" fmla="*/ 20 w 101"/>
                <a:gd name="T95" fmla="*/ 81 h 176"/>
                <a:gd name="T96" fmla="*/ 9 w 101"/>
                <a:gd name="T97" fmla="*/ 75 h 176"/>
                <a:gd name="T98" fmla="*/ 4 w 101"/>
                <a:gd name="T99" fmla="*/ 57 h 176"/>
                <a:gd name="T100" fmla="*/ 4 w 101"/>
                <a:gd name="T101" fmla="*/ 52 h 176"/>
                <a:gd name="T102" fmla="*/ 6 w 101"/>
                <a:gd name="T103" fmla="*/ 43 h 176"/>
                <a:gd name="T104" fmla="*/ 11 w 101"/>
                <a:gd name="T105" fmla="*/ 41 h 176"/>
                <a:gd name="T106" fmla="*/ 20 w 101"/>
                <a:gd name="T107" fmla="*/ 39 h 176"/>
                <a:gd name="T108" fmla="*/ 20 w 101"/>
                <a:gd name="T109" fmla="*/ 34 h 176"/>
                <a:gd name="T110" fmla="*/ 18 w 101"/>
                <a:gd name="T111" fmla="*/ 30 h 176"/>
                <a:gd name="T112" fmla="*/ 15 w 101"/>
                <a:gd name="T113" fmla="*/ 25 h 176"/>
                <a:gd name="T114" fmla="*/ 20 w 101"/>
                <a:gd name="T115" fmla="*/ 18 h 176"/>
                <a:gd name="T116" fmla="*/ 29 w 101"/>
                <a:gd name="T117" fmla="*/ 12 h 176"/>
                <a:gd name="T118" fmla="*/ 31 w 101"/>
                <a:gd name="T119" fmla="*/ 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1" h="176">
                  <a:moveTo>
                    <a:pt x="62" y="39"/>
                  </a:moveTo>
                  <a:lnTo>
                    <a:pt x="62" y="41"/>
                  </a:lnTo>
                  <a:lnTo>
                    <a:pt x="60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2" y="39"/>
                  </a:lnTo>
                  <a:lnTo>
                    <a:pt x="62" y="39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7"/>
                  </a:lnTo>
                  <a:lnTo>
                    <a:pt x="42" y="7"/>
                  </a:lnTo>
                  <a:lnTo>
                    <a:pt x="44" y="9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51" y="16"/>
                  </a:lnTo>
                  <a:lnTo>
                    <a:pt x="53" y="18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5"/>
                  </a:lnTo>
                  <a:lnTo>
                    <a:pt x="60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9" y="41"/>
                  </a:lnTo>
                  <a:lnTo>
                    <a:pt x="71" y="41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4" y="45"/>
                  </a:lnTo>
                  <a:lnTo>
                    <a:pt x="76" y="48"/>
                  </a:lnTo>
                  <a:lnTo>
                    <a:pt x="76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80" y="52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3" y="52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7" y="57"/>
                  </a:lnTo>
                  <a:lnTo>
                    <a:pt x="87" y="59"/>
                  </a:lnTo>
                  <a:lnTo>
                    <a:pt x="87" y="59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87" y="63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8"/>
                  </a:lnTo>
                  <a:lnTo>
                    <a:pt x="87" y="68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87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5"/>
                  </a:lnTo>
                  <a:lnTo>
                    <a:pt x="85" y="75"/>
                  </a:lnTo>
                  <a:lnTo>
                    <a:pt x="85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7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4"/>
                  </a:lnTo>
                  <a:lnTo>
                    <a:pt x="83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6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8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4" y="93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69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69" y="102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67" y="104"/>
                  </a:lnTo>
                  <a:lnTo>
                    <a:pt x="67" y="106"/>
                  </a:lnTo>
                  <a:lnTo>
                    <a:pt x="69" y="106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3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0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3" y="124"/>
                  </a:lnTo>
                  <a:lnTo>
                    <a:pt x="85" y="124"/>
                  </a:lnTo>
                  <a:lnTo>
                    <a:pt x="85" y="124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3" y="126"/>
                  </a:lnTo>
                  <a:lnTo>
                    <a:pt x="83" y="126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3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29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5" y="131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5" y="135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5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38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2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92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2" y="149"/>
                  </a:lnTo>
                  <a:lnTo>
                    <a:pt x="94" y="149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4" y="151"/>
                  </a:lnTo>
                  <a:lnTo>
                    <a:pt x="94" y="153"/>
                  </a:lnTo>
                  <a:lnTo>
                    <a:pt x="96" y="156"/>
                  </a:lnTo>
                  <a:lnTo>
                    <a:pt x="96" y="156"/>
                  </a:lnTo>
                  <a:lnTo>
                    <a:pt x="98" y="156"/>
                  </a:lnTo>
                  <a:lnTo>
                    <a:pt x="98" y="156"/>
                  </a:lnTo>
                  <a:lnTo>
                    <a:pt x="98" y="156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101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6" y="158"/>
                  </a:lnTo>
                  <a:lnTo>
                    <a:pt x="94" y="158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4" y="160"/>
                  </a:lnTo>
                  <a:lnTo>
                    <a:pt x="92" y="160"/>
                  </a:lnTo>
                  <a:lnTo>
                    <a:pt x="92" y="160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92" y="158"/>
                  </a:lnTo>
                  <a:lnTo>
                    <a:pt x="89" y="158"/>
                  </a:lnTo>
                  <a:lnTo>
                    <a:pt x="89" y="158"/>
                  </a:lnTo>
                  <a:lnTo>
                    <a:pt x="89" y="158"/>
                  </a:lnTo>
                  <a:lnTo>
                    <a:pt x="89" y="158"/>
                  </a:lnTo>
                  <a:lnTo>
                    <a:pt x="87" y="158"/>
                  </a:lnTo>
                  <a:lnTo>
                    <a:pt x="87" y="158"/>
                  </a:lnTo>
                  <a:lnTo>
                    <a:pt x="87" y="156"/>
                  </a:lnTo>
                  <a:lnTo>
                    <a:pt x="87" y="156"/>
                  </a:lnTo>
                  <a:lnTo>
                    <a:pt x="87" y="156"/>
                  </a:lnTo>
                  <a:lnTo>
                    <a:pt x="85" y="158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58"/>
                  </a:lnTo>
                  <a:lnTo>
                    <a:pt x="83" y="158"/>
                  </a:lnTo>
                  <a:lnTo>
                    <a:pt x="83" y="158"/>
                  </a:lnTo>
                  <a:lnTo>
                    <a:pt x="83" y="158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0" y="158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6" y="165"/>
                  </a:lnTo>
                  <a:lnTo>
                    <a:pt x="76" y="165"/>
                  </a:lnTo>
                  <a:lnTo>
                    <a:pt x="74" y="162"/>
                  </a:lnTo>
                  <a:lnTo>
                    <a:pt x="74" y="162"/>
                  </a:lnTo>
                  <a:lnTo>
                    <a:pt x="74" y="165"/>
                  </a:lnTo>
                  <a:lnTo>
                    <a:pt x="71" y="165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5"/>
                  </a:lnTo>
                  <a:lnTo>
                    <a:pt x="69" y="167"/>
                  </a:lnTo>
                  <a:lnTo>
                    <a:pt x="69" y="167"/>
                  </a:lnTo>
                  <a:lnTo>
                    <a:pt x="69" y="167"/>
                  </a:lnTo>
                  <a:lnTo>
                    <a:pt x="67" y="167"/>
                  </a:lnTo>
                  <a:lnTo>
                    <a:pt x="67" y="169"/>
                  </a:lnTo>
                  <a:lnTo>
                    <a:pt x="67" y="169"/>
                  </a:lnTo>
                  <a:lnTo>
                    <a:pt x="65" y="169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2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7"/>
                  </a:lnTo>
                  <a:lnTo>
                    <a:pt x="60" y="169"/>
                  </a:lnTo>
                  <a:lnTo>
                    <a:pt x="60" y="169"/>
                  </a:lnTo>
                  <a:lnTo>
                    <a:pt x="60" y="169"/>
                  </a:lnTo>
                  <a:lnTo>
                    <a:pt x="58" y="169"/>
                  </a:lnTo>
                  <a:lnTo>
                    <a:pt x="58" y="169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1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58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51" y="176"/>
                  </a:lnTo>
                  <a:lnTo>
                    <a:pt x="49" y="176"/>
                  </a:lnTo>
                  <a:lnTo>
                    <a:pt x="49" y="176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49" y="174"/>
                  </a:lnTo>
                  <a:lnTo>
                    <a:pt x="47" y="171"/>
                  </a:lnTo>
                  <a:lnTo>
                    <a:pt x="44" y="171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2" y="171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38" y="167"/>
                  </a:lnTo>
                  <a:lnTo>
                    <a:pt x="38" y="167"/>
                  </a:lnTo>
                  <a:lnTo>
                    <a:pt x="38" y="167"/>
                  </a:lnTo>
                  <a:lnTo>
                    <a:pt x="38" y="167"/>
                  </a:lnTo>
                  <a:lnTo>
                    <a:pt x="38" y="167"/>
                  </a:lnTo>
                  <a:lnTo>
                    <a:pt x="38" y="165"/>
                  </a:lnTo>
                  <a:lnTo>
                    <a:pt x="38" y="165"/>
                  </a:lnTo>
                  <a:lnTo>
                    <a:pt x="38" y="165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60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1" y="158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3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29" y="149"/>
                  </a:lnTo>
                  <a:lnTo>
                    <a:pt x="29" y="149"/>
                  </a:lnTo>
                  <a:lnTo>
                    <a:pt x="29" y="149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29" y="147"/>
                  </a:lnTo>
                  <a:lnTo>
                    <a:pt x="29" y="144"/>
                  </a:lnTo>
                  <a:lnTo>
                    <a:pt x="29" y="144"/>
                  </a:lnTo>
                  <a:lnTo>
                    <a:pt x="29" y="144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0"/>
                  </a:lnTo>
                  <a:lnTo>
                    <a:pt x="27" y="140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1" y="120"/>
                  </a:lnTo>
                  <a:lnTo>
                    <a:pt x="31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31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3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6"/>
                  </a:lnTo>
                  <a:lnTo>
                    <a:pt x="33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3" y="106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79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6" y="72"/>
                  </a:lnTo>
                  <a:lnTo>
                    <a:pt x="4" y="70"/>
                  </a:lnTo>
                  <a:lnTo>
                    <a:pt x="4" y="68"/>
                  </a:lnTo>
                  <a:lnTo>
                    <a:pt x="2" y="66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8" y="41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1" y="3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3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9" name="Freeform 586"/>
            <p:cNvSpPr>
              <a:spLocks noEditPoints="1"/>
            </p:cNvSpPr>
            <p:nvPr/>
          </p:nvSpPr>
          <p:spPr bwMode="auto">
            <a:xfrm>
              <a:off x="5062582" y="3460982"/>
              <a:ext cx="105300" cy="71871"/>
            </a:xfrm>
            <a:custGeom>
              <a:avLst/>
              <a:gdLst>
                <a:gd name="T0" fmla="*/ 13 w 63"/>
                <a:gd name="T1" fmla="*/ 23 h 43"/>
                <a:gd name="T2" fmla="*/ 13 w 63"/>
                <a:gd name="T3" fmla="*/ 21 h 43"/>
                <a:gd name="T4" fmla="*/ 20 w 63"/>
                <a:gd name="T5" fmla="*/ 21 h 43"/>
                <a:gd name="T6" fmla="*/ 15 w 63"/>
                <a:gd name="T7" fmla="*/ 23 h 43"/>
                <a:gd name="T8" fmla="*/ 15 w 63"/>
                <a:gd name="T9" fmla="*/ 18 h 43"/>
                <a:gd name="T10" fmla="*/ 20 w 63"/>
                <a:gd name="T11" fmla="*/ 18 h 43"/>
                <a:gd name="T12" fmla="*/ 18 w 63"/>
                <a:gd name="T13" fmla="*/ 16 h 43"/>
                <a:gd name="T14" fmla="*/ 15 w 63"/>
                <a:gd name="T15" fmla="*/ 18 h 43"/>
                <a:gd name="T16" fmla="*/ 11 w 63"/>
                <a:gd name="T17" fmla="*/ 21 h 43"/>
                <a:gd name="T18" fmla="*/ 6 w 63"/>
                <a:gd name="T19" fmla="*/ 16 h 43"/>
                <a:gd name="T20" fmla="*/ 9 w 63"/>
                <a:gd name="T21" fmla="*/ 12 h 43"/>
                <a:gd name="T22" fmla="*/ 11 w 63"/>
                <a:gd name="T23" fmla="*/ 9 h 43"/>
                <a:gd name="T24" fmla="*/ 6 w 63"/>
                <a:gd name="T25" fmla="*/ 12 h 43"/>
                <a:gd name="T26" fmla="*/ 4 w 63"/>
                <a:gd name="T27" fmla="*/ 12 h 43"/>
                <a:gd name="T28" fmla="*/ 2 w 63"/>
                <a:gd name="T29" fmla="*/ 9 h 43"/>
                <a:gd name="T30" fmla="*/ 6 w 63"/>
                <a:gd name="T31" fmla="*/ 9 h 43"/>
                <a:gd name="T32" fmla="*/ 20 w 63"/>
                <a:gd name="T33" fmla="*/ 7 h 43"/>
                <a:gd name="T34" fmla="*/ 63 w 63"/>
                <a:gd name="T35" fmla="*/ 5 h 43"/>
                <a:gd name="T36" fmla="*/ 60 w 63"/>
                <a:gd name="T37" fmla="*/ 12 h 43"/>
                <a:gd name="T38" fmla="*/ 58 w 63"/>
                <a:gd name="T39" fmla="*/ 14 h 43"/>
                <a:gd name="T40" fmla="*/ 63 w 63"/>
                <a:gd name="T41" fmla="*/ 23 h 43"/>
                <a:gd name="T42" fmla="*/ 58 w 63"/>
                <a:gd name="T43" fmla="*/ 23 h 43"/>
                <a:gd name="T44" fmla="*/ 54 w 63"/>
                <a:gd name="T45" fmla="*/ 25 h 43"/>
                <a:gd name="T46" fmla="*/ 45 w 63"/>
                <a:gd name="T47" fmla="*/ 30 h 43"/>
                <a:gd name="T48" fmla="*/ 33 w 63"/>
                <a:gd name="T49" fmla="*/ 43 h 43"/>
                <a:gd name="T50" fmla="*/ 31 w 63"/>
                <a:gd name="T51" fmla="*/ 41 h 43"/>
                <a:gd name="T52" fmla="*/ 33 w 63"/>
                <a:gd name="T53" fmla="*/ 36 h 43"/>
                <a:gd name="T54" fmla="*/ 33 w 63"/>
                <a:gd name="T55" fmla="*/ 39 h 43"/>
                <a:gd name="T56" fmla="*/ 29 w 63"/>
                <a:gd name="T57" fmla="*/ 41 h 43"/>
                <a:gd name="T58" fmla="*/ 29 w 63"/>
                <a:gd name="T59" fmla="*/ 36 h 43"/>
                <a:gd name="T60" fmla="*/ 27 w 63"/>
                <a:gd name="T61" fmla="*/ 36 h 43"/>
                <a:gd name="T62" fmla="*/ 27 w 63"/>
                <a:gd name="T63" fmla="*/ 32 h 43"/>
                <a:gd name="T64" fmla="*/ 27 w 63"/>
                <a:gd name="T65" fmla="*/ 32 h 43"/>
                <a:gd name="T66" fmla="*/ 24 w 63"/>
                <a:gd name="T67" fmla="*/ 32 h 43"/>
                <a:gd name="T68" fmla="*/ 24 w 63"/>
                <a:gd name="T69" fmla="*/ 30 h 43"/>
                <a:gd name="T70" fmla="*/ 27 w 63"/>
                <a:gd name="T71" fmla="*/ 27 h 43"/>
                <a:gd name="T72" fmla="*/ 29 w 63"/>
                <a:gd name="T73" fmla="*/ 27 h 43"/>
                <a:gd name="T74" fmla="*/ 29 w 63"/>
                <a:gd name="T75" fmla="*/ 27 h 43"/>
                <a:gd name="T76" fmla="*/ 29 w 63"/>
                <a:gd name="T77" fmla="*/ 27 h 43"/>
                <a:gd name="T78" fmla="*/ 31 w 63"/>
                <a:gd name="T79" fmla="*/ 25 h 43"/>
                <a:gd name="T80" fmla="*/ 31 w 63"/>
                <a:gd name="T81" fmla="*/ 27 h 43"/>
                <a:gd name="T82" fmla="*/ 33 w 63"/>
                <a:gd name="T83" fmla="*/ 27 h 43"/>
                <a:gd name="T84" fmla="*/ 33 w 63"/>
                <a:gd name="T85" fmla="*/ 25 h 43"/>
                <a:gd name="T86" fmla="*/ 31 w 63"/>
                <a:gd name="T87" fmla="*/ 25 h 43"/>
                <a:gd name="T88" fmla="*/ 31 w 63"/>
                <a:gd name="T89" fmla="*/ 25 h 43"/>
                <a:gd name="T90" fmla="*/ 31 w 63"/>
                <a:gd name="T91" fmla="*/ 23 h 43"/>
                <a:gd name="T92" fmla="*/ 29 w 63"/>
                <a:gd name="T93" fmla="*/ 25 h 43"/>
                <a:gd name="T94" fmla="*/ 29 w 63"/>
                <a:gd name="T95" fmla="*/ 25 h 43"/>
                <a:gd name="T96" fmla="*/ 27 w 63"/>
                <a:gd name="T97" fmla="*/ 25 h 43"/>
                <a:gd name="T98" fmla="*/ 27 w 63"/>
                <a:gd name="T99" fmla="*/ 27 h 43"/>
                <a:gd name="T100" fmla="*/ 24 w 63"/>
                <a:gd name="T101" fmla="*/ 25 h 43"/>
                <a:gd name="T102" fmla="*/ 24 w 63"/>
                <a:gd name="T103" fmla="*/ 25 h 43"/>
                <a:gd name="T104" fmla="*/ 24 w 63"/>
                <a:gd name="T105" fmla="*/ 21 h 43"/>
                <a:gd name="T106" fmla="*/ 31 w 63"/>
                <a:gd name="T107" fmla="*/ 21 h 43"/>
                <a:gd name="T108" fmla="*/ 33 w 63"/>
                <a:gd name="T109" fmla="*/ 23 h 43"/>
                <a:gd name="T110" fmla="*/ 33 w 63"/>
                <a:gd name="T111" fmla="*/ 21 h 43"/>
                <a:gd name="T112" fmla="*/ 36 w 63"/>
                <a:gd name="T113" fmla="*/ 18 h 43"/>
                <a:gd name="T114" fmla="*/ 29 w 63"/>
                <a:gd name="T115" fmla="*/ 18 h 43"/>
                <a:gd name="T116" fmla="*/ 24 w 63"/>
                <a:gd name="T117" fmla="*/ 18 h 43"/>
                <a:gd name="T118" fmla="*/ 18 w 63"/>
                <a:gd name="T119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" h="43">
                  <a:moveTo>
                    <a:pt x="18" y="21"/>
                  </a:moveTo>
                  <a:lnTo>
                    <a:pt x="18" y="21"/>
                  </a:lnTo>
                  <a:lnTo>
                    <a:pt x="20" y="21"/>
                  </a:lnTo>
                  <a:lnTo>
                    <a:pt x="18" y="21"/>
                  </a:lnTo>
                  <a:close/>
                  <a:moveTo>
                    <a:pt x="13" y="21"/>
                  </a:move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close/>
                  <a:moveTo>
                    <a:pt x="18" y="21"/>
                  </a:move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47" y="0"/>
                  </a:lnTo>
                  <a:lnTo>
                    <a:pt x="54" y="0"/>
                  </a:lnTo>
                  <a:lnTo>
                    <a:pt x="63" y="0"/>
                  </a:lnTo>
                  <a:lnTo>
                    <a:pt x="60" y="3"/>
                  </a:lnTo>
                  <a:lnTo>
                    <a:pt x="63" y="3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9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3" y="16"/>
                  </a:lnTo>
                  <a:lnTo>
                    <a:pt x="63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0" y="23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7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2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8" y="32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3" y="41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6" y="39"/>
                  </a:lnTo>
                  <a:lnTo>
                    <a:pt x="36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6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6"/>
                  </a:lnTo>
                  <a:lnTo>
                    <a:pt x="27" y="39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0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6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0" y="21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0" name="Freeform 587"/>
            <p:cNvSpPr>
              <a:spLocks/>
            </p:cNvSpPr>
            <p:nvPr/>
          </p:nvSpPr>
          <p:spPr bwMode="auto">
            <a:xfrm>
              <a:off x="5117739" y="3460982"/>
              <a:ext cx="259071" cy="218956"/>
            </a:xfrm>
            <a:custGeom>
              <a:avLst/>
              <a:gdLst>
                <a:gd name="T0" fmla="*/ 41 w 155"/>
                <a:gd name="T1" fmla="*/ 3 h 131"/>
                <a:gd name="T2" fmla="*/ 48 w 155"/>
                <a:gd name="T3" fmla="*/ 7 h 131"/>
                <a:gd name="T4" fmla="*/ 61 w 155"/>
                <a:gd name="T5" fmla="*/ 9 h 131"/>
                <a:gd name="T6" fmla="*/ 77 w 155"/>
                <a:gd name="T7" fmla="*/ 7 h 131"/>
                <a:gd name="T8" fmla="*/ 83 w 155"/>
                <a:gd name="T9" fmla="*/ 14 h 131"/>
                <a:gd name="T10" fmla="*/ 92 w 155"/>
                <a:gd name="T11" fmla="*/ 18 h 131"/>
                <a:gd name="T12" fmla="*/ 99 w 155"/>
                <a:gd name="T13" fmla="*/ 14 h 131"/>
                <a:gd name="T14" fmla="*/ 106 w 155"/>
                <a:gd name="T15" fmla="*/ 14 h 131"/>
                <a:gd name="T16" fmla="*/ 117 w 155"/>
                <a:gd name="T17" fmla="*/ 12 h 131"/>
                <a:gd name="T18" fmla="*/ 119 w 155"/>
                <a:gd name="T19" fmla="*/ 5 h 131"/>
                <a:gd name="T20" fmla="*/ 128 w 155"/>
                <a:gd name="T21" fmla="*/ 14 h 131"/>
                <a:gd name="T22" fmla="*/ 133 w 155"/>
                <a:gd name="T23" fmla="*/ 27 h 131"/>
                <a:gd name="T24" fmla="*/ 137 w 155"/>
                <a:gd name="T25" fmla="*/ 34 h 131"/>
                <a:gd name="T26" fmla="*/ 133 w 155"/>
                <a:gd name="T27" fmla="*/ 41 h 131"/>
                <a:gd name="T28" fmla="*/ 142 w 155"/>
                <a:gd name="T29" fmla="*/ 41 h 131"/>
                <a:gd name="T30" fmla="*/ 146 w 155"/>
                <a:gd name="T31" fmla="*/ 57 h 131"/>
                <a:gd name="T32" fmla="*/ 144 w 155"/>
                <a:gd name="T33" fmla="*/ 68 h 131"/>
                <a:gd name="T34" fmla="*/ 149 w 155"/>
                <a:gd name="T35" fmla="*/ 79 h 131"/>
                <a:gd name="T36" fmla="*/ 149 w 155"/>
                <a:gd name="T37" fmla="*/ 90 h 131"/>
                <a:gd name="T38" fmla="*/ 153 w 155"/>
                <a:gd name="T39" fmla="*/ 102 h 131"/>
                <a:gd name="T40" fmla="*/ 146 w 155"/>
                <a:gd name="T41" fmla="*/ 102 h 131"/>
                <a:gd name="T42" fmla="*/ 146 w 155"/>
                <a:gd name="T43" fmla="*/ 108 h 131"/>
                <a:gd name="T44" fmla="*/ 144 w 155"/>
                <a:gd name="T45" fmla="*/ 117 h 131"/>
                <a:gd name="T46" fmla="*/ 137 w 155"/>
                <a:gd name="T47" fmla="*/ 122 h 131"/>
                <a:gd name="T48" fmla="*/ 131 w 155"/>
                <a:gd name="T49" fmla="*/ 126 h 131"/>
                <a:gd name="T50" fmla="*/ 124 w 155"/>
                <a:gd name="T51" fmla="*/ 131 h 131"/>
                <a:gd name="T52" fmla="*/ 119 w 155"/>
                <a:gd name="T53" fmla="*/ 126 h 131"/>
                <a:gd name="T54" fmla="*/ 119 w 155"/>
                <a:gd name="T55" fmla="*/ 122 h 131"/>
                <a:gd name="T56" fmla="*/ 117 w 155"/>
                <a:gd name="T57" fmla="*/ 108 h 131"/>
                <a:gd name="T58" fmla="*/ 113 w 155"/>
                <a:gd name="T59" fmla="*/ 104 h 131"/>
                <a:gd name="T60" fmla="*/ 110 w 155"/>
                <a:gd name="T61" fmla="*/ 99 h 131"/>
                <a:gd name="T62" fmla="*/ 104 w 155"/>
                <a:gd name="T63" fmla="*/ 102 h 131"/>
                <a:gd name="T64" fmla="*/ 92 w 155"/>
                <a:gd name="T65" fmla="*/ 106 h 131"/>
                <a:gd name="T66" fmla="*/ 95 w 155"/>
                <a:gd name="T67" fmla="*/ 97 h 131"/>
                <a:gd name="T68" fmla="*/ 90 w 155"/>
                <a:gd name="T69" fmla="*/ 84 h 131"/>
                <a:gd name="T70" fmla="*/ 88 w 155"/>
                <a:gd name="T71" fmla="*/ 77 h 131"/>
                <a:gd name="T72" fmla="*/ 81 w 155"/>
                <a:gd name="T73" fmla="*/ 66 h 131"/>
                <a:gd name="T74" fmla="*/ 52 w 155"/>
                <a:gd name="T75" fmla="*/ 70 h 131"/>
                <a:gd name="T76" fmla="*/ 50 w 155"/>
                <a:gd name="T77" fmla="*/ 79 h 131"/>
                <a:gd name="T78" fmla="*/ 43 w 155"/>
                <a:gd name="T79" fmla="*/ 84 h 131"/>
                <a:gd name="T80" fmla="*/ 36 w 155"/>
                <a:gd name="T81" fmla="*/ 86 h 131"/>
                <a:gd name="T82" fmla="*/ 36 w 155"/>
                <a:gd name="T83" fmla="*/ 84 h 131"/>
                <a:gd name="T84" fmla="*/ 36 w 155"/>
                <a:gd name="T85" fmla="*/ 81 h 131"/>
                <a:gd name="T86" fmla="*/ 32 w 155"/>
                <a:gd name="T87" fmla="*/ 75 h 131"/>
                <a:gd name="T88" fmla="*/ 30 w 155"/>
                <a:gd name="T89" fmla="*/ 70 h 131"/>
                <a:gd name="T90" fmla="*/ 30 w 155"/>
                <a:gd name="T91" fmla="*/ 66 h 131"/>
                <a:gd name="T92" fmla="*/ 23 w 155"/>
                <a:gd name="T93" fmla="*/ 66 h 131"/>
                <a:gd name="T94" fmla="*/ 21 w 155"/>
                <a:gd name="T95" fmla="*/ 61 h 131"/>
                <a:gd name="T96" fmla="*/ 16 w 155"/>
                <a:gd name="T97" fmla="*/ 61 h 131"/>
                <a:gd name="T98" fmla="*/ 12 w 155"/>
                <a:gd name="T99" fmla="*/ 54 h 131"/>
                <a:gd name="T100" fmla="*/ 9 w 155"/>
                <a:gd name="T101" fmla="*/ 50 h 131"/>
                <a:gd name="T102" fmla="*/ 9 w 155"/>
                <a:gd name="T103" fmla="*/ 45 h 131"/>
                <a:gd name="T104" fmla="*/ 9 w 155"/>
                <a:gd name="T105" fmla="*/ 45 h 131"/>
                <a:gd name="T106" fmla="*/ 5 w 155"/>
                <a:gd name="T107" fmla="*/ 45 h 131"/>
                <a:gd name="T108" fmla="*/ 9 w 155"/>
                <a:gd name="T109" fmla="*/ 41 h 131"/>
                <a:gd name="T110" fmla="*/ 3 w 155"/>
                <a:gd name="T111" fmla="*/ 41 h 131"/>
                <a:gd name="T112" fmla="*/ 3 w 155"/>
                <a:gd name="T113" fmla="*/ 48 h 131"/>
                <a:gd name="T114" fmla="*/ 5 w 155"/>
                <a:gd name="T115" fmla="*/ 34 h 131"/>
                <a:gd name="T116" fmla="*/ 23 w 155"/>
                <a:gd name="T117" fmla="*/ 25 h 131"/>
                <a:gd name="T118" fmla="*/ 30 w 155"/>
                <a:gd name="T119" fmla="*/ 23 h 131"/>
                <a:gd name="T120" fmla="*/ 25 w 155"/>
                <a:gd name="T121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5" h="131">
                  <a:moveTo>
                    <a:pt x="36" y="3"/>
                  </a:move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8"/>
                  </a:lnTo>
                  <a:lnTo>
                    <a:pt x="90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8" y="14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5" y="14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4" y="5"/>
                  </a:lnTo>
                  <a:lnTo>
                    <a:pt x="124" y="7"/>
                  </a:lnTo>
                  <a:lnTo>
                    <a:pt x="126" y="7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3"/>
                  </a:lnTo>
                  <a:lnTo>
                    <a:pt x="133" y="43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39"/>
                  </a:lnTo>
                  <a:lnTo>
                    <a:pt x="137" y="39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0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3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52"/>
                  </a:lnTo>
                  <a:lnTo>
                    <a:pt x="142" y="52"/>
                  </a:lnTo>
                  <a:lnTo>
                    <a:pt x="142" y="54"/>
                  </a:lnTo>
                  <a:lnTo>
                    <a:pt x="142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4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6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49" y="61"/>
                  </a:lnTo>
                  <a:lnTo>
                    <a:pt x="149" y="61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61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44" y="63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6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75"/>
                  </a:lnTo>
                  <a:lnTo>
                    <a:pt x="144" y="75"/>
                  </a:lnTo>
                  <a:lnTo>
                    <a:pt x="144" y="77"/>
                  </a:lnTo>
                  <a:lnTo>
                    <a:pt x="144" y="77"/>
                  </a:lnTo>
                  <a:lnTo>
                    <a:pt x="144" y="77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1" y="81"/>
                  </a:lnTo>
                  <a:lnTo>
                    <a:pt x="149" y="81"/>
                  </a:lnTo>
                  <a:lnTo>
                    <a:pt x="149" y="84"/>
                  </a:lnTo>
                  <a:lnTo>
                    <a:pt x="149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3" y="86"/>
                  </a:lnTo>
                  <a:lnTo>
                    <a:pt x="153" y="86"/>
                  </a:lnTo>
                  <a:lnTo>
                    <a:pt x="153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9" y="90"/>
                  </a:lnTo>
                  <a:lnTo>
                    <a:pt x="149" y="93"/>
                  </a:lnTo>
                  <a:lnTo>
                    <a:pt x="149" y="95"/>
                  </a:lnTo>
                  <a:lnTo>
                    <a:pt x="149" y="95"/>
                  </a:lnTo>
                  <a:lnTo>
                    <a:pt x="149" y="95"/>
                  </a:lnTo>
                  <a:lnTo>
                    <a:pt x="151" y="95"/>
                  </a:lnTo>
                  <a:lnTo>
                    <a:pt x="151" y="95"/>
                  </a:lnTo>
                  <a:lnTo>
                    <a:pt x="151" y="95"/>
                  </a:lnTo>
                  <a:lnTo>
                    <a:pt x="151" y="95"/>
                  </a:lnTo>
                  <a:lnTo>
                    <a:pt x="151" y="95"/>
                  </a:lnTo>
                  <a:lnTo>
                    <a:pt x="151" y="95"/>
                  </a:lnTo>
                  <a:lnTo>
                    <a:pt x="151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53" y="97"/>
                  </a:lnTo>
                  <a:lnTo>
                    <a:pt x="153" y="99"/>
                  </a:lnTo>
                  <a:lnTo>
                    <a:pt x="153" y="99"/>
                  </a:lnTo>
                  <a:lnTo>
                    <a:pt x="153" y="99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3" y="102"/>
                  </a:lnTo>
                  <a:lnTo>
                    <a:pt x="155" y="104"/>
                  </a:lnTo>
                  <a:lnTo>
                    <a:pt x="153" y="104"/>
                  </a:lnTo>
                  <a:lnTo>
                    <a:pt x="153" y="104"/>
                  </a:lnTo>
                  <a:lnTo>
                    <a:pt x="153" y="104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51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9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102"/>
                  </a:lnTo>
                  <a:lnTo>
                    <a:pt x="146" y="99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2"/>
                  </a:lnTo>
                  <a:lnTo>
                    <a:pt x="144" y="102"/>
                  </a:lnTo>
                  <a:lnTo>
                    <a:pt x="144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2" y="104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4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49" y="113"/>
                  </a:lnTo>
                  <a:lnTo>
                    <a:pt x="149" y="113"/>
                  </a:lnTo>
                  <a:lnTo>
                    <a:pt x="149" y="113"/>
                  </a:lnTo>
                  <a:lnTo>
                    <a:pt x="146" y="111"/>
                  </a:lnTo>
                  <a:lnTo>
                    <a:pt x="146" y="111"/>
                  </a:lnTo>
                  <a:lnTo>
                    <a:pt x="146" y="113"/>
                  </a:lnTo>
                  <a:lnTo>
                    <a:pt x="146" y="113"/>
                  </a:lnTo>
                  <a:lnTo>
                    <a:pt x="146" y="113"/>
                  </a:lnTo>
                  <a:lnTo>
                    <a:pt x="146" y="113"/>
                  </a:lnTo>
                  <a:lnTo>
                    <a:pt x="146" y="113"/>
                  </a:lnTo>
                  <a:lnTo>
                    <a:pt x="144" y="115"/>
                  </a:lnTo>
                  <a:lnTo>
                    <a:pt x="144" y="115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6" y="117"/>
                  </a:lnTo>
                  <a:lnTo>
                    <a:pt x="146" y="117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4" y="117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4" y="122"/>
                  </a:lnTo>
                  <a:lnTo>
                    <a:pt x="142" y="124"/>
                  </a:lnTo>
                  <a:lnTo>
                    <a:pt x="142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5" y="122"/>
                  </a:lnTo>
                  <a:lnTo>
                    <a:pt x="135" y="120"/>
                  </a:lnTo>
                  <a:lnTo>
                    <a:pt x="133" y="120"/>
                  </a:lnTo>
                  <a:lnTo>
                    <a:pt x="133" y="120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2"/>
                  </a:lnTo>
                  <a:lnTo>
                    <a:pt x="133" y="124"/>
                  </a:lnTo>
                  <a:lnTo>
                    <a:pt x="133" y="124"/>
                  </a:lnTo>
                  <a:lnTo>
                    <a:pt x="133" y="124"/>
                  </a:lnTo>
                  <a:lnTo>
                    <a:pt x="133" y="124"/>
                  </a:lnTo>
                  <a:lnTo>
                    <a:pt x="133" y="124"/>
                  </a:lnTo>
                  <a:lnTo>
                    <a:pt x="131" y="124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28" y="126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8" y="129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31"/>
                  </a:lnTo>
                  <a:lnTo>
                    <a:pt x="128" y="129"/>
                  </a:lnTo>
                  <a:lnTo>
                    <a:pt x="126" y="129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31"/>
                  </a:lnTo>
                  <a:lnTo>
                    <a:pt x="124" y="129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2" y="129"/>
                  </a:lnTo>
                  <a:lnTo>
                    <a:pt x="122" y="126"/>
                  </a:lnTo>
                  <a:lnTo>
                    <a:pt x="122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9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5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6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19" y="117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7" y="111"/>
                  </a:lnTo>
                  <a:lnTo>
                    <a:pt x="117" y="111"/>
                  </a:lnTo>
                  <a:lnTo>
                    <a:pt x="117" y="111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7" y="111"/>
                  </a:lnTo>
                  <a:lnTo>
                    <a:pt x="117" y="111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6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4"/>
                  </a:lnTo>
                  <a:lnTo>
                    <a:pt x="115" y="102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4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3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102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4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9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7" y="104"/>
                  </a:lnTo>
                  <a:lnTo>
                    <a:pt x="95" y="104"/>
                  </a:lnTo>
                  <a:lnTo>
                    <a:pt x="95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0" y="104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2" y="102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5" y="95"/>
                  </a:lnTo>
                  <a:lnTo>
                    <a:pt x="95" y="95"/>
                  </a:lnTo>
                  <a:lnTo>
                    <a:pt x="95" y="95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3"/>
                  </a:lnTo>
                  <a:lnTo>
                    <a:pt x="92" y="90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6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1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9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8" y="75"/>
                  </a:lnTo>
                  <a:lnTo>
                    <a:pt x="86" y="75"/>
                  </a:lnTo>
                  <a:lnTo>
                    <a:pt x="86" y="75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8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3" y="81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1" y="86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39" y="88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6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1"/>
                  </a:lnTo>
                  <a:lnTo>
                    <a:pt x="39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2" y="79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30" y="68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3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7" y="45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7" y="48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3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7" y="43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8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5" y="36"/>
                  </a:lnTo>
                  <a:lnTo>
                    <a:pt x="5" y="34"/>
                  </a:lnTo>
                  <a:lnTo>
                    <a:pt x="5" y="32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6" y="27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30" y="18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7" y="9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0" y="12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1" name="Freeform 588"/>
            <p:cNvSpPr>
              <a:spLocks/>
            </p:cNvSpPr>
            <p:nvPr/>
          </p:nvSpPr>
          <p:spPr bwMode="auto">
            <a:xfrm>
              <a:off x="2433430" y="3258740"/>
              <a:ext cx="147085" cy="162128"/>
            </a:xfrm>
            <a:custGeom>
              <a:avLst/>
              <a:gdLst>
                <a:gd name="T0" fmla="*/ 67 w 88"/>
                <a:gd name="T1" fmla="*/ 45 h 97"/>
                <a:gd name="T2" fmla="*/ 67 w 88"/>
                <a:gd name="T3" fmla="*/ 45 h 97"/>
                <a:gd name="T4" fmla="*/ 74 w 88"/>
                <a:gd name="T5" fmla="*/ 47 h 97"/>
                <a:gd name="T6" fmla="*/ 79 w 88"/>
                <a:gd name="T7" fmla="*/ 50 h 97"/>
                <a:gd name="T8" fmla="*/ 79 w 88"/>
                <a:gd name="T9" fmla="*/ 50 h 97"/>
                <a:gd name="T10" fmla="*/ 81 w 88"/>
                <a:gd name="T11" fmla="*/ 50 h 97"/>
                <a:gd name="T12" fmla="*/ 81 w 88"/>
                <a:gd name="T13" fmla="*/ 47 h 97"/>
                <a:gd name="T14" fmla="*/ 83 w 88"/>
                <a:gd name="T15" fmla="*/ 47 h 97"/>
                <a:gd name="T16" fmla="*/ 81 w 88"/>
                <a:gd name="T17" fmla="*/ 45 h 97"/>
                <a:gd name="T18" fmla="*/ 81 w 88"/>
                <a:gd name="T19" fmla="*/ 45 h 97"/>
                <a:gd name="T20" fmla="*/ 88 w 88"/>
                <a:gd name="T21" fmla="*/ 50 h 97"/>
                <a:gd name="T22" fmla="*/ 85 w 88"/>
                <a:gd name="T23" fmla="*/ 52 h 97"/>
                <a:gd name="T24" fmla="*/ 79 w 88"/>
                <a:gd name="T25" fmla="*/ 56 h 97"/>
                <a:gd name="T26" fmla="*/ 65 w 88"/>
                <a:gd name="T27" fmla="*/ 65 h 97"/>
                <a:gd name="T28" fmla="*/ 65 w 88"/>
                <a:gd name="T29" fmla="*/ 70 h 97"/>
                <a:gd name="T30" fmla="*/ 65 w 88"/>
                <a:gd name="T31" fmla="*/ 72 h 97"/>
                <a:gd name="T32" fmla="*/ 65 w 88"/>
                <a:gd name="T33" fmla="*/ 74 h 97"/>
                <a:gd name="T34" fmla="*/ 63 w 88"/>
                <a:gd name="T35" fmla="*/ 77 h 97"/>
                <a:gd name="T36" fmla="*/ 61 w 88"/>
                <a:gd name="T37" fmla="*/ 79 h 97"/>
                <a:gd name="T38" fmla="*/ 61 w 88"/>
                <a:gd name="T39" fmla="*/ 81 h 97"/>
                <a:gd name="T40" fmla="*/ 58 w 88"/>
                <a:gd name="T41" fmla="*/ 81 h 97"/>
                <a:gd name="T42" fmla="*/ 56 w 88"/>
                <a:gd name="T43" fmla="*/ 81 h 97"/>
                <a:gd name="T44" fmla="*/ 56 w 88"/>
                <a:gd name="T45" fmla="*/ 83 h 97"/>
                <a:gd name="T46" fmla="*/ 56 w 88"/>
                <a:gd name="T47" fmla="*/ 83 h 97"/>
                <a:gd name="T48" fmla="*/ 56 w 88"/>
                <a:gd name="T49" fmla="*/ 85 h 97"/>
                <a:gd name="T50" fmla="*/ 52 w 88"/>
                <a:gd name="T51" fmla="*/ 88 h 97"/>
                <a:gd name="T52" fmla="*/ 49 w 88"/>
                <a:gd name="T53" fmla="*/ 90 h 97"/>
                <a:gd name="T54" fmla="*/ 45 w 88"/>
                <a:gd name="T55" fmla="*/ 92 h 97"/>
                <a:gd name="T56" fmla="*/ 43 w 88"/>
                <a:gd name="T57" fmla="*/ 94 h 97"/>
                <a:gd name="T58" fmla="*/ 36 w 88"/>
                <a:gd name="T59" fmla="*/ 92 h 97"/>
                <a:gd name="T60" fmla="*/ 18 w 88"/>
                <a:gd name="T61" fmla="*/ 92 h 97"/>
                <a:gd name="T62" fmla="*/ 0 w 88"/>
                <a:gd name="T63" fmla="*/ 77 h 97"/>
                <a:gd name="T64" fmla="*/ 2 w 88"/>
                <a:gd name="T65" fmla="*/ 72 h 97"/>
                <a:gd name="T66" fmla="*/ 2 w 88"/>
                <a:gd name="T67" fmla="*/ 70 h 97"/>
                <a:gd name="T68" fmla="*/ 5 w 88"/>
                <a:gd name="T69" fmla="*/ 68 h 97"/>
                <a:gd name="T70" fmla="*/ 2 w 88"/>
                <a:gd name="T71" fmla="*/ 61 h 97"/>
                <a:gd name="T72" fmla="*/ 14 w 88"/>
                <a:gd name="T73" fmla="*/ 43 h 97"/>
                <a:gd name="T74" fmla="*/ 22 w 88"/>
                <a:gd name="T75" fmla="*/ 41 h 97"/>
                <a:gd name="T76" fmla="*/ 40 w 88"/>
                <a:gd name="T77" fmla="*/ 41 h 97"/>
                <a:gd name="T78" fmla="*/ 43 w 88"/>
                <a:gd name="T79" fmla="*/ 41 h 97"/>
                <a:gd name="T80" fmla="*/ 43 w 88"/>
                <a:gd name="T81" fmla="*/ 38 h 97"/>
                <a:gd name="T82" fmla="*/ 43 w 88"/>
                <a:gd name="T83" fmla="*/ 38 h 97"/>
                <a:gd name="T84" fmla="*/ 43 w 88"/>
                <a:gd name="T85" fmla="*/ 36 h 97"/>
                <a:gd name="T86" fmla="*/ 43 w 88"/>
                <a:gd name="T87" fmla="*/ 36 h 97"/>
                <a:gd name="T88" fmla="*/ 43 w 88"/>
                <a:gd name="T89" fmla="*/ 36 h 97"/>
                <a:gd name="T90" fmla="*/ 43 w 88"/>
                <a:gd name="T91" fmla="*/ 34 h 97"/>
                <a:gd name="T92" fmla="*/ 45 w 88"/>
                <a:gd name="T93" fmla="*/ 34 h 97"/>
                <a:gd name="T94" fmla="*/ 43 w 88"/>
                <a:gd name="T95" fmla="*/ 34 h 97"/>
                <a:gd name="T96" fmla="*/ 43 w 88"/>
                <a:gd name="T97" fmla="*/ 32 h 97"/>
                <a:gd name="T98" fmla="*/ 40 w 88"/>
                <a:gd name="T99" fmla="*/ 32 h 97"/>
                <a:gd name="T100" fmla="*/ 40 w 88"/>
                <a:gd name="T101" fmla="*/ 32 h 97"/>
                <a:gd name="T102" fmla="*/ 40 w 88"/>
                <a:gd name="T103" fmla="*/ 29 h 97"/>
                <a:gd name="T104" fmla="*/ 38 w 88"/>
                <a:gd name="T105" fmla="*/ 29 h 97"/>
                <a:gd name="T106" fmla="*/ 36 w 88"/>
                <a:gd name="T107" fmla="*/ 25 h 97"/>
                <a:gd name="T108" fmla="*/ 34 w 88"/>
                <a:gd name="T109" fmla="*/ 23 h 97"/>
                <a:gd name="T110" fmla="*/ 34 w 88"/>
                <a:gd name="T111" fmla="*/ 23 h 97"/>
                <a:gd name="T112" fmla="*/ 31 w 88"/>
                <a:gd name="T113" fmla="*/ 20 h 97"/>
                <a:gd name="T114" fmla="*/ 29 w 88"/>
                <a:gd name="T115" fmla="*/ 18 h 97"/>
                <a:gd name="T116" fmla="*/ 29 w 88"/>
                <a:gd name="T117" fmla="*/ 16 h 97"/>
                <a:gd name="T118" fmla="*/ 27 w 88"/>
                <a:gd name="T119" fmla="*/ 16 h 97"/>
                <a:gd name="T120" fmla="*/ 25 w 88"/>
                <a:gd name="T121" fmla="*/ 14 h 97"/>
                <a:gd name="T122" fmla="*/ 38 w 88"/>
                <a:gd name="T123" fmla="*/ 0 h 97"/>
                <a:gd name="T124" fmla="*/ 70 w 88"/>
                <a:gd name="T125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" h="97">
                  <a:moveTo>
                    <a:pt x="72" y="11"/>
                  </a:moveTo>
                  <a:lnTo>
                    <a:pt x="72" y="16"/>
                  </a:lnTo>
                  <a:lnTo>
                    <a:pt x="70" y="23"/>
                  </a:lnTo>
                  <a:lnTo>
                    <a:pt x="70" y="27"/>
                  </a:lnTo>
                  <a:lnTo>
                    <a:pt x="67" y="34"/>
                  </a:lnTo>
                  <a:lnTo>
                    <a:pt x="67" y="38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2" y="45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7"/>
                  </a:lnTo>
                  <a:lnTo>
                    <a:pt x="74" y="45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79" y="45"/>
                  </a:lnTo>
                  <a:lnTo>
                    <a:pt x="81" y="43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3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6" y="59"/>
                  </a:lnTo>
                  <a:lnTo>
                    <a:pt x="74" y="61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7" y="90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38" y="94"/>
                  </a:lnTo>
                  <a:lnTo>
                    <a:pt x="36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29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18" y="92"/>
                  </a:lnTo>
                  <a:lnTo>
                    <a:pt x="14" y="90"/>
                  </a:lnTo>
                  <a:lnTo>
                    <a:pt x="14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7" y="83"/>
                  </a:lnTo>
                  <a:lnTo>
                    <a:pt x="5" y="81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5" y="70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5" y="59"/>
                  </a:lnTo>
                  <a:lnTo>
                    <a:pt x="5" y="56"/>
                  </a:lnTo>
                  <a:lnTo>
                    <a:pt x="7" y="54"/>
                  </a:lnTo>
                  <a:lnTo>
                    <a:pt x="9" y="52"/>
                  </a:lnTo>
                  <a:lnTo>
                    <a:pt x="11" y="47"/>
                  </a:lnTo>
                  <a:lnTo>
                    <a:pt x="14" y="45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6" y="43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20" y="41"/>
                  </a:lnTo>
                  <a:lnTo>
                    <a:pt x="22" y="41"/>
                  </a:lnTo>
                  <a:lnTo>
                    <a:pt x="25" y="41"/>
                  </a:lnTo>
                  <a:lnTo>
                    <a:pt x="27" y="41"/>
                  </a:lnTo>
                  <a:lnTo>
                    <a:pt x="31" y="41"/>
                  </a:lnTo>
                  <a:lnTo>
                    <a:pt x="34" y="41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40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8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8" y="32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7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34" y="1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1" y="0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72" y="5"/>
                  </a:lnTo>
                  <a:lnTo>
                    <a:pt x="72" y="11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2" name="Freeform 589"/>
            <p:cNvSpPr>
              <a:spLocks/>
            </p:cNvSpPr>
            <p:nvPr/>
          </p:nvSpPr>
          <p:spPr bwMode="auto">
            <a:xfrm>
              <a:off x="3488100" y="3481039"/>
              <a:ext cx="8358" cy="6686"/>
            </a:xfrm>
            <a:custGeom>
              <a:avLst/>
              <a:gdLst>
                <a:gd name="T0" fmla="*/ 3 w 5"/>
                <a:gd name="T1" fmla="*/ 4 h 4"/>
                <a:gd name="T2" fmla="*/ 3 w 5"/>
                <a:gd name="T3" fmla="*/ 4 h 4"/>
                <a:gd name="T4" fmla="*/ 3 w 5"/>
                <a:gd name="T5" fmla="*/ 4 h 4"/>
                <a:gd name="T6" fmla="*/ 3 w 5"/>
                <a:gd name="T7" fmla="*/ 4 h 4"/>
                <a:gd name="T8" fmla="*/ 3 w 5"/>
                <a:gd name="T9" fmla="*/ 4 h 4"/>
                <a:gd name="T10" fmla="*/ 3 w 5"/>
                <a:gd name="T11" fmla="*/ 4 h 4"/>
                <a:gd name="T12" fmla="*/ 3 w 5"/>
                <a:gd name="T13" fmla="*/ 4 h 4"/>
                <a:gd name="T14" fmla="*/ 3 w 5"/>
                <a:gd name="T15" fmla="*/ 4 h 4"/>
                <a:gd name="T16" fmla="*/ 3 w 5"/>
                <a:gd name="T17" fmla="*/ 4 h 4"/>
                <a:gd name="T18" fmla="*/ 0 w 5"/>
                <a:gd name="T19" fmla="*/ 4 h 4"/>
                <a:gd name="T20" fmla="*/ 0 w 5"/>
                <a:gd name="T21" fmla="*/ 4 h 4"/>
                <a:gd name="T22" fmla="*/ 0 w 5"/>
                <a:gd name="T23" fmla="*/ 4 h 4"/>
                <a:gd name="T24" fmla="*/ 0 w 5"/>
                <a:gd name="T25" fmla="*/ 4 h 4"/>
                <a:gd name="T26" fmla="*/ 0 w 5"/>
                <a:gd name="T27" fmla="*/ 4 h 4"/>
                <a:gd name="T28" fmla="*/ 0 w 5"/>
                <a:gd name="T29" fmla="*/ 4 h 4"/>
                <a:gd name="T30" fmla="*/ 0 w 5"/>
                <a:gd name="T31" fmla="*/ 4 h 4"/>
                <a:gd name="T32" fmla="*/ 0 w 5"/>
                <a:gd name="T33" fmla="*/ 4 h 4"/>
                <a:gd name="T34" fmla="*/ 0 w 5"/>
                <a:gd name="T35" fmla="*/ 4 h 4"/>
                <a:gd name="T36" fmla="*/ 0 w 5"/>
                <a:gd name="T37" fmla="*/ 4 h 4"/>
                <a:gd name="T38" fmla="*/ 0 w 5"/>
                <a:gd name="T39" fmla="*/ 4 h 4"/>
                <a:gd name="T40" fmla="*/ 0 w 5"/>
                <a:gd name="T41" fmla="*/ 4 h 4"/>
                <a:gd name="T42" fmla="*/ 0 w 5"/>
                <a:gd name="T43" fmla="*/ 2 h 4"/>
                <a:gd name="T44" fmla="*/ 0 w 5"/>
                <a:gd name="T45" fmla="*/ 2 h 4"/>
                <a:gd name="T46" fmla="*/ 0 w 5"/>
                <a:gd name="T47" fmla="*/ 2 h 4"/>
                <a:gd name="T48" fmla="*/ 3 w 5"/>
                <a:gd name="T49" fmla="*/ 0 h 4"/>
                <a:gd name="T50" fmla="*/ 3 w 5"/>
                <a:gd name="T51" fmla="*/ 0 h 4"/>
                <a:gd name="T52" fmla="*/ 3 w 5"/>
                <a:gd name="T53" fmla="*/ 0 h 4"/>
                <a:gd name="T54" fmla="*/ 5 w 5"/>
                <a:gd name="T55" fmla="*/ 0 h 4"/>
                <a:gd name="T56" fmla="*/ 5 w 5"/>
                <a:gd name="T57" fmla="*/ 0 h 4"/>
                <a:gd name="T58" fmla="*/ 5 w 5"/>
                <a:gd name="T59" fmla="*/ 0 h 4"/>
                <a:gd name="T60" fmla="*/ 5 w 5"/>
                <a:gd name="T61" fmla="*/ 0 h 4"/>
                <a:gd name="T62" fmla="*/ 5 w 5"/>
                <a:gd name="T63" fmla="*/ 2 h 4"/>
                <a:gd name="T64" fmla="*/ 5 w 5"/>
                <a:gd name="T65" fmla="*/ 2 h 4"/>
                <a:gd name="T66" fmla="*/ 5 w 5"/>
                <a:gd name="T67" fmla="*/ 2 h 4"/>
                <a:gd name="T68" fmla="*/ 3 w 5"/>
                <a:gd name="T69" fmla="*/ 2 h 4"/>
                <a:gd name="T70" fmla="*/ 3 w 5"/>
                <a:gd name="T71" fmla="*/ 2 h 4"/>
                <a:gd name="T72" fmla="*/ 3 w 5"/>
                <a:gd name="T73" fmla="*/ 2 h 4"/>
                <a:gd name="T74" fmla="*/ 3 w 5"/>
                <a:gd name="T75" fmla="*/ 4 h 4"/>
                <a:gd name="T76" fmla="*/ 3 w 5"/>
                <a:gd name="T77" fmla="*/ 4 h 4"/>
                <a:gd name="T78" fmla="*/ 3 w 5"/>
                <a:gd name="T79" fmla="*/ 4 h 4"/>
                <a:gd name="T80" fmla="*/ 3 w 5"/>
                <a:gd name="T81" fmla="*/ 4 h 4"/>
                <a:gd name="T82" fmla="*/ 3 w 5"/>
                <a:gd name="T83" fmla="*/ 4 h 4"/>
                <a:gd name="T84" fmla="*/ 3 w 5"/>
                <a:gd name="T85" fmla="*/ 4 h 4"/>
                <a:gd name="T86" fmla="*/ 3 w 5"/>
                <a:gd name="T8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3" name="Freeform 590"/>
            <p:cNvSpPr>
              <a:spLocks noEditPoints="1"/>
            </p:cNvSpPr>
            <p:nvPr/>
          </p:nvSpPr>
          <p:spPr bwMode="auto">
            <a:xfrm>
              <a:off x="3987855" y="865259"/>
              <a:ext cx="1415698" cy="750469"/>
            </a:xfrm>
            <a:custGeom>
              <a:avLst/>
              <a:gdLst>
                <a:gd name="T0" fmla="*/ 258 w 847"/>
                <a:gd name="T1" fmla="*/ 447 h 449"/>
                <a:gd name="T2" fmla="*/ 189 w 847"/>
                <a:gd name="T3" fmla="*/ 429 h 449"/>
                <a:gd name="T4" fmla="*/ 299 w 847"/>
                <a:gd name="T5" fmla="*/ 386 h 449"/>
                <a:gd name="T6" fmla="*/ 169 w 847"/>
                <a:gd name="T7" fmla="*/ 353 h 449"/>
                <a:gd name="T8" fmla="*/ 407 w 847"/>
                <a:gd name="T9" fmla="*/ 324 h 449"/>
                <a:gd name="T10" fmla="*/ 175 w 847"/>
                <a:gd name="T11" fmla="*/ 267 h 449"/>
                <a:gd name="T12" fmla="*/ 205 w 847"/>
                <a:gd name="T13" fmla="*/ 240 h 449"/>
                <a:gd name="T14" fmla="*/ 609 w 847"/>
                <a:gd name="T15" fmla="*/ 216 h 449"/>
                <a:gd name="T16" fmla="*/ 180 w 847"/>
                <a:gd name="T17" fmla="*/ 186 h 449"/>
                <a:gd name="T18" fmla="*/ 670 w 847"/>
                <a:gd name="T19" fmla="*/ 182 h 449"/>
                <a:gd name="T20" fmla="*/ 679 w 847"/>
                <a:gd name="T21" fmla="*/ 153 h 449"/>
                <a:gd name="T22" fmla="*/ 733 w 847"/>
                <a:gd name="T23" fmla="*/ 112 h 449"/>
                <a:gd name="T24" fmla="*/ 730 w 847"/>
                <a:gd name="T25" fmla="*/ 83 h 449"/>
                <a:gd name="T26" fmla="*/ 319 w 847"/>
                <a:gd name="T27" fmla="*/ 20 h 449"/>
                <a:gd name="T28" fmla="*/ 652 w 847"/>
                <a:gd name="T29" fmla="*/ 225 h 449"/>
                <a:gd name="T30" fmla="*/ 577 w 847"/>
                <a:gd name="T31" fmla="*/ 216 h 449"/>
                <a:gd name="T32" fmla="*/ 647 w 847"/>
                <a:gd name="T33" fmla="*/ 238 h 449"/>
                <a:gd name="T34" fmla="*/ 575 w 847"/>
                <a:gd name="T35" fmla="*/ 265 h 449"/>
                <a:gd name="T36" fmla="*/ 503 w 847"/>
                <a:gd name="T37" fmla="*/ 272 h 449"/>
                <a:gd name="T38" fmla="*/ 458 w 847"/>
                <a:gd name="T39" fmla="*/ 301 h 449"/>
                <a:gd name="T40" fmla="*/ 418 w 847"/>
                <a:gd name="T41" fmla="*/ 319 h 449"/>
                <a:gd name="T42" fmla="*/ 389 w 847"/>
                <a:gd name="T43" fmla="*/ 319 h 449"/>
                <a:gd name="T44" fmla="*/ 355 w 847"/>
                <a:gd name="T45" fmla="*/ 333 h 449"/>
                <a:gd name="T46" fmla="*/ 335 w 847"/>
                <a:gd name="T47" fmla="*/ 364 h 449"/>
                <a:gd name="T48" fmla="*/ 312 w 847"/>
                <a:gd name="T49" fmla="*/ 382 h 449"/>
                <a:gd name="T50" fmla="*/ 294 w 847"/>
                <a:gd name="T51" fmla="*/ 404 h 449"/>
                <a:gd name="T52" fmla="*/ 276 w 847"/>
                <a:gd name="T53" fmla="*/ 431 h 449"/>
                <a:gd name="T54" fmla="*/ 241 w 847"/>
                <a:gd name="T55" fmla="*/ 445 h 449"/>
                <a:gd name="T56" fmla="*/ 227 w 847"/>
                <a:gd name="T57" fmla="*/ 431 h 449"/>
                <a:gd name="T58" fmla="*/ 227 w 847"/>
                <a:gd name="T59" fmla="*/ 418 h 449"/>
                <a:gd name="T60" fmla="*/ 196 w 847"/>
                <a:gd name="T61" fmla="*/ 422 h 449"/>
                <a:gd name="T62" fmla="*/ 187 w 847"/>
                <a:gd name="T63" fmla="*/ 402 h 449"/>
                <a:gd name="T64" fmla="*/ 175 w 847"/>
                <a:gd name="T65" fmla="*/ 384 h 449"/>
                <a:gd name="T66" fmla="*/ 164 w 847"/>
                <a:gd name="T67" fmla="*/ 366 h 449"/>
                <a:gd name="T68" fmla="*/ 182 w 847"/>
                <a:gd name="T69" fmla="*/ 348 h 449"/>
                <a:gd name="T70" fmla="*/ 155 w 847"/>
                <a:gd name="T71" fmla="*/ 355 h 449"/>
                <a:gd name="T72" fmla="*/ 155 w 847"/>
                <a:gd name="T73" fmla="*/ 333 h 449"/>
                <a:gd name="T74" fmla="*/ 148 w 847"/>
                <a:gd name="T75" fmla="*/ 321 h 449"/>
                <a:gd name="T76" fmla="*/ 160 w 847"/>
                <a:gd name="T77" fmla="*/ 301 h 449"/>
                <a:gd name="T78" fmla="*/ 169 w 847"/>
                <a:gd name="T79" fmla="*/ 283 h 449"/>
                <a:gd name="T80" fmla="*/ 182 w 847"/>
                <a:gd name="T81" fmla="*/ 279 h 449"/>
                <a:gd name="T82" fmla="*/ 209 w 847"/>
                <a:gd name="T83" fmla="*/ 279 h 449"/>
                <a:gd name="T84" fmla="*/ 200 w 847"/>
                <a:gd name="T85" fmla="*/ 265 h 449"/>
                <a:gd name="T86" fmla="*/ 216 w 847"/>
                <a:gd name="T87" fmla="*/ 249 h 449"/>
                <a:gd name="T88" fmla="*/ 227 w 847"/>
                <a:gd name="T89" fmla="*/ 227 h 449"/>
                <a:gd name="T90" fmla="*/ 205 w 847"/>
                <a:gd name="T91" fmla="*/ 195 h 449"/>
                <a:gd name="T92" fmla="*/ 189 w 847"/>
                <a:gd name="T93" fmla="*/ 186 h 449"/>
                <a:gd name="T94" fmla="*/ 180 w 847"/>
                <a:gd name="T95" fmla="*/ 155 h 449"/>
                <a:gd name="T96" fmla="*/ 144 w 847"/>
                <a:gd name="T97" fmla="*/ 119 h 449"/>
                <a:gd name="T98" fmla="*/ 52 w 847"/>
                <a:gd name="T99" fmla="*/ 110 h 449"/>
                <a:gd name="T100" fmla="*/ 16 w 847"/>
                <a:gd name="T101" fmla="*/ 78 h 449"/>
                <a:gd name="T102" fmla="*/ 124 w 847"/>
                <a:gd name="T103" fmla="*/ 45 h 449"/>
                <a:gd name="T104" fmla="*/ 315 w 847"/>
                <a:gd name="T105" fmla="*/ 20 h 449"/>
                <a:gd name="T106" fmla="*/ 488 w 847"/>
                <a:gd name="T107" fmla="*/ 13 h 449"/>
                <a:gd name="T108" fmla="*/ 539 w 847"/>
                <a:gd name="T109" fmla="*/ 0 h 449"/>
                <a:gd name="T110" fmla="*/ 595 w 847"/>
                <a:gd name="T111" fmla="*/ 22 h 449"/>
                <a:gd name="T112" fmla="*/ 757 w 847"/>
                <a:gd name="T113" fmla="*/ 29 h 449"/>
                <a:gd name="T114" fmla="*/ 737 w 847"/>
                <a:gd name="T115" fmla="*/ 63 h 449"/>
                <a:gd name="T116" fmla="*/ 724 w 847"/>
                <a:gd name="T117" fmla="*/ 108 h 449"/>
                <a:gd name="T118" fmla="*/ 719 w 847"/>
                <a:gd name="T119" fmla="*/ 132 h 449"/>
                <a:gd name="T120" fmla="*/ 670 w 847"/>
                <a:gd name="T121" fmla="*/ 157 h 449"/>
                <a:gd name="T122" fmla="*/ 595 w 847"/>
                <a:gd name="T123" fmla="*/ 168 h 449"/>
                <a:gd name="T124" fmla="*/ 656 w 847"/>
                <a:gd name="T125" fmla="*/ 20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47" h="449">
                  <a:moveTo>
                    <a:pt x="249" y="447"/>
                  </a:move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close/>
                  <a:moveTo>
                    <a:pt x="256" y="447"/>
                  </a:moveTo>
                  <a:lnTo>
                    <a:pt x="258" y="447"/>
                  </a:lnTo>
                  <a:lnTo>
                    <a:pt x="258" y="447"/>
                  </a:lnTo>
                  <a:lnTo>
                    <a:pt x="258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6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6" y="449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4" y="447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4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4" y="447"/>
                  </a:lnTo>
                  <a:lnTo>
                    <a:pt x="252" y="447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52" y="449"/>
                  </a:lnTo>
                  <a:lnTo>
                    <a:pt x="249" y="449"/>
                  </a:lnTo>
                  <a:lnTo>
                    <a:pt x="249" y="449"/>
                  </a:lnTo>
                  <a:lnTo>
                    <a:pt x="249" y="449"/>
                  </a:lnTo>
                  <a:lnTo>
                    <a:pt x="249" y="449"/>
                  </a:lnTo>
                  <a:lnTo>
                    <a:pt x="249" y="449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52" y="447"/>
                  </a:lnTo>
                  <a:lnTo>
                    <a:pt x="252" y="447"/>
                  </a:lnTo>
                  <a:lnTo>
                    <a:pt x="252" y="447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7"/>
                  </a:lnTo>
                  <a:close/>
                  <a:moveTo>
                    <a:pt x="243" y="447"/>
                  </a:move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5"/>
                  </a:lnTo>
                  <a:lnTo>
                    <a:pt x="243" y="445"/>
                  </a:lnTo>
                  <a:lnTo>
                    <a:pt x="243" y="445"/>
                  </a:lnTo>
                  <a:lnTo>
                    <a:pt x="243" y="445"/>
                  </a:lnTo>
                  <a:lnTo>
                    <a:pt x="243" y="447"/>
                  </a:lnTo>
                  <a:close/>
                  <a:moveTo>
                    <a:pt x="265" y="445"/>
                  </a:move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7"/>
                  </a:lnTo>
                  <a:lnTo>
                    <a:pt x="265" y="447"/>
                  </a:lnTo>
                  <a:lnTo>
                    <a:pt x="265" y="447"/>
                  </a:lnTo>
                  <a:lnTo>
                    <a:pt x="265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7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close/>
                  <a:moveTo>
                    <a:pt x="249" y="447"/>
                  </a:move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7" y="447"/>
                  </a:lnTo>
                  <a:lnTo>
                    <a:pt x="247" y="447"/>
                  </a:lnTo>
                  <a:lnTo>
                    <a:pt x="247" y="447"/>
                  </a:lnTo>
                  <a:lnTo>
                    <a:pt x="247" y="447"/>
                  </a:lnTo>
                  <a:lnTo>
                    <a:pt x="245" y="447"/>
                  </a:lnTo>
                  <a:lnTo>
                    <a:pt x="245" y="447"/>
                  </a:lnTo>
                  <a:lnTo>
                    <a:pt x="245" y="447"/>
                  </a:lnTo>
                  <a:lnTo>
                    <a:pt x="245" y="447"/>
                  </a:lnTo>
                  <a:lnTo>
                    <a:pt x="247" y="447"/>
                  </a:lnTo>
                  <a:lnTo>
                    <a:pt x="247" y="447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52" y="445"/>
                  </a:lnTo>
                  <a:lnTo>
                    <a:pt x="252" y="445"/>
                  </a:lnTo>
                  <a:lnTo>
                    <a:pt x="252" y="445"/>
                  </a:lnTo>
                  <a:lnTo>
                    <a:pt x="252" y="447"/>
                  </a:lnTo>
                  <a:lnTo>
                    <a:pt x="252" y="447"/>
                  </a:lnTo>
                  <a:lnTo>
                    <a:pt x="249" y="447"/>
                  </a:lnTo>
                  <a:lnTo>
                    <a:pt x="249" y="447"/>
                  </a:lnTo>
                  <a:lnTo>
                    <a:pt x="249" y="447"/>
                  </a:lnTo>
                  <a:close/>
                  <a:moveTo>
                    <a:pt x="263" y="447"/>
                  </a:moveTo>
                  <a:lnTo>
                    <a:pt x="263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7"/>
                  </a:lnTo>
                  <a:close/>
                  <a:moveTo>
                    <a:pt x="249" y="443"/>
                  </a:move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7" y="445"/>
                  </a:lnTo>
                  <a:lnTo>
                    <a:pt x="245" y="447"/>
                  </a:lnTo>
                  <a:lnTo>
                    <a:pt x="245" y="447"/>
                  </a:lnTo>
                  <a:lnTo>
                    <a:pt x="245" y="447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7" y="445"/>
                  </a:lnTo>
                  <a:lnTo>
                    <a:pt x="247" y="443"/>
                  </a:lnTo>
                  <a:lnTo>
                    <a:pt x="247" y="443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5" y="443"/>
                  </a:lnTo>
                  <a:lnTo>
                    <a:pt x="245" y="443"/>
                  </a:lnTo>
                  <a:lnTo>
                    <a:pt x="245" y="443"/>
                  </a:lnTo>
                  <a:lnTo>
                    <a:pt x="245" y="443"/>
                  </a:lnTo>
                  <a:lnTo>
                    <a:pt x="247" y="443"/>
                  </a:lnTo>
                  <a:lnTo>
                    <a:pt x="247" y="443"/>
                  </a:lnTo>
                  <a:lnTo>
                    <a:pt x="247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close/>
                  <a:moveTo>
                    <a:pt x="252" y="445"/>
                  </a:moveTo>
                  <a:lnTo>
                    <a:pt x="252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5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9" y="440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5"/>
                  </a:lnTo>
                  <a:lnTo>
                    <a:pt x="252" y="445"/>
                  </a:lnTo>
                  <a:lnTo>
                    <a:pt x="252" y="445"/>
                  </a:lnTo>
                  <a:close/>
                  <a:moveTo>
                    <a:pt x="252" y="440"/>
                  </a:moveTo>
                  <a:lnTo>
                    <a:pt x="267" y="443"/>
                  </a:lnTo>
                  <a:lnTo>
                    <a:pt x="267" y="443"/>
                  </a:lnTo>
                  <a:lnTo>
                    <a:pt x="267" y="445"/>
                  </a:lnTo>
                  <a:lnTo>
                    <a:pt x="267" y="445"/>
                  </a:lnTo>
                  <a:lnTo>
                    <a:pt x="267" y="445"/>
                  </a:lnTo>
                  <a:lnTo>
                    <a:pt x="267" y="445"/>
                  </a:lnTo>
                  <a:lnTo>
                    <a:pt x="267" y="445"/>
                  </a:lnTo>
                  <a:lnTo>
                    <a:pt x="267" y="445"/>
                  </a:lnTo>
                  <a:lnTo>
                    <a:pt x="267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5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3" y="445"/>
                  </a:lnTo>
                  <a:lnTo>
                    <a:pt x="261" y="443"/>
                  </a:lnTo>
                  <a:lnTo>
                    <a:pt x="261" y="443"/>
                  </a:lnTo>
                  <a:lnTo>
                    <a:pt x="261" y="443"/>
                  </a:lnTo>
                  <a:lnTo>
                    <a:pt x="261" y="443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5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61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5"/>
                  </a:lnTo>
                  <a:lnTo>
                    <a:pt x="258" y="447"/>
                  </a:lnTo>
                  <a:lnTo>
                    <a:pt x="258" y="44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7"/>
                  </a:lnTo>
                  <a:lnTo>
                    <a:pt x="256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6" y="445"/>
                  </a:lnTo>
                  <a:lnTo>
                    <a:pt x="256" y="445"/>
                  </a:lnTo>
                  <a:lnTo>
                    <a:pt x="258" y="445"/>
                  </a:lnTo>
                  <a:lnTo>
                    <a:pt x="256" y="445"/>
                  </a:lnTo>
                  <a:lnTo>
                    <a:pt x="256" y="445"/>
                  </a:lnTo>
                  <a:lnTo>
                    <a:pt x="256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5"/>
                  </a:lnTo>
                  <a:lnTo>
                    <a:pt x="254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3"/>
                  </a:lnTo>
                  <a:lnTo>
                    <a:pt x="252" y="440"/>
                  </a:lnTo>
                  <a:close/>
                  <a:moveTo>
                    <a:pt x="232" y="443"/>
                  </a:moveTo>
                  <a:lnTo>
                    <a:pt x="232" y="443"/>
                  </a:lnTo>
                  <a:lnTo>
                    <a:pt x="232" y="443"/>
                  </a:lnTo>
                  <a:lnTo>
                    <a:pt x="232" y="443"/>
                  </a:lnTo>
                  <a:lnTo>
                    <a:pt x="232" y="440"/>
                  </a:lnTo>
                  <a:lnTo>
                    <a:pt x="234" y="440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2" y="443"/>
                  </a:lnTo>
                  <a:close/>
                  <a:moveTo>
                    <a:pt x="234" y="436"/>
                  </a:moveTo>
                  <a:lnTo>
                    <a:pt x="234" y="438"/>
                  </a:lnTo>
                  <a:lnTo>
                    <a:pt x="234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4" y="438"/>
                  </a:lnTo>
                  <a:lnTo>
                    <a:pt x="234" y="440"/>
                  </a:lnTo>
                  <a:lnTo>
                    <a:pt x="234" y="440"/>
                  </a:lnTo>
                  <a:lnTo>
                    <a:pt x="234" y="440"/>
                  </a:lnTo>
                  <a:lnTo>
                    <a:pt x="234" y="440"/>
                  </a:lnTo>
                  <a:lnTo>
                    <a:pt x="232" y="440"/>
                  </a:lnTo>
                  <a:lnTo>
                    <a:pt x="232" y="440"/>
                  </a:lnTo>
                  <a:lnTo>
                    <a:pt x="229" y="440"/>
                  </a:lnTo>
                  <a:lnTo>
                    <a:pt x="229" y="440"/>
                  </a:lnTo>
                  <a:lnTo>
                    <a:pt x="232" y="440"/>
                  </a:lnTo>
                  <a:lnTo>
                    <a:pt x="232" y="440"/>
                  </a:lnTo>
                  <a:lnTo>
                    <a:pt x="232" y="440"/>
                  </a:lnTo>
                  <a:lnTo>
                    <a:pt x="232" y="438"/>
                  </a:lnTo>
                  <a:lnTo>
                    <a:pt x="232" y="438"/>
                  </a:lnTo>
                  <a:lnTo>
                    <a:pt x="232" y="438"/>
                  </a:lnTo>
                  <a:lnTo>
                    <a:pt x="232" y="438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4" y="436"/>
                  </a:lnTo>
                  <a:close/>
                  <a:moveTo>
                    <a:pt x="238" y="436"/>
                  </a:moveTo>
                  <a:lnTo>
                    <a:pt x="238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38" y="436"/>
                  </a:lnTo>
                  <a:close/>
                  <a:moveTo>
                    <a:pt x="236" y="438"/>
                  </a:moveTo>
                  <a:lnTo>
                    <a:pt x="236" y="438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8" y="438"/>
                  </a:lnTo>
                  <a:lnTo>
                    <a:pt x="238" y="438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38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38" y="436"/>
                  </a:lnTo>
                  <a:lnTo>
                    <a:pt x="238" y="438"/>
                  </a:lnTo>
                  <a:lnTo>
                    <a:pt x="238" y="438"/>
                  </a:lnTo>
                  <a:lnTo>
                    <a:pt x="236" y="438"/>
                  </a:lnTo>
                  <a:close/>
                  <a:moveTo>
                    <a:pt x="232" y="436"/>
                  </a:moveTo>
                  <a:lnTo>
                    <a:pt x="232" y="436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2" y="436"/>
                  </a:lnTo>
                  <a:lnTo>
                    <a:pt x="232" y="436"/>
                  </a:lnTo>
                  <a:lnTo>
                    <a:pt x="232" y="436"/>
                  </a:lnTo>
                  <a:close/>
                  <a:moveTo>
                    <a:pt x="227" y="431"/>
                  </a:move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close/>
                  <a:moveTo>
                    <a:pt x="223" y="431"/>
                  </a:moveTo>
                  <a:lnTo>
                    <a:pt x="223" y="431"/>
                  </a:lnTo>
                  <a:lnTo>
                    <a:pt x="223" y="431"/>
                  </a:lnTo>
                  <a:lnTo>
                    <a:pt x="223" y="431"/>
                  </a:lnTo>
                  <a:lnTo>
                    <a:pt x="223" y="431"/>
                  </a:lnTo>
                  <a:lnTo>
                    <a:pt x="223" y="431"/>
                  </a:lnTo>
                  <a:lnTo>
                    <a:pt x="223" y="431"/>
                  </a:lnTo>
                  <a:lnTo>
                    <a:pt x="223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5" y="431"/>
                  </a:lnTo>
                  <a:lnTo>
                    <a:pt x="223" y="431"/>
                  </a:lnTo>
                  <a:close/>
                  <a:moveTo>
                    <a:pt x="216" y="429"/>
                  </a:move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close/>
                  <a:moveTo>
                    <a:pt x="218" y="429"/>
                  </a:moveTo>
                  <a:lnTo>
                    <a:pt x="218" y="429"/>
                  </a:lnTo>
                  <a:lnTo>
                    <a:pt x="218" y="429"/>
                  </a:lnTo>
                  <a:lnTo>
                    <a:pt x="218" y="429"/>
                  </a:lnTo>
                  <a:lnTo>
                    <a:pt x="218" y="429"/>
                  </a:lnTo>
                  <a:lnTo>
                    <a:pt x="218" y="431"/>
                  </a:lnTo>
                  <a:lnTo>
                    <a:pt x="218" y="431"/>
                  </a:lnTo>
                  <a:lnTo>
                    <a:pt x="216" y="431"/>
                  </a:lnTo>
                  <a:lnTo>
                    <a:pt x="216" y="431"/>
                  </a:lnTo>
                  <a:lnTo>
                    <a:pt x="216" y="431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8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18" y="429"/>
                  </a:lnTo>
                  <a:close/>
                  <a:moveTo>
                    <a:pt x="202" y="427"/>
                  </a:moveTo>
                  <a:lnTo>
                    <a:pt x="202" y="427"/>
                  </a:lnTo>
                  <a:lnTo>
                    <a:pt x="202" y="427"/>
                  </a:lnTo>
                  <a:lnTo>
                    <a:pt x="205" y="427"/>
                  </a:lnTo>
                  <a:lnTo>
                    <a:pt x="205" y="429"/>
                  </a:lnTo>
                  <a:lnTo>
                    <a:pt x="205" y="429"/>
                  </a:lnTo>
                  <a:lnTo>
                    <a:pt x="202" y="429"/>
                  </a:lnTo>
                  <a:lnTo>
                    <a:pt x="202" y="429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2" y="427"/>
                  </a:lnTo>
                  <a:close/>
                  <a:moveTo>
                    <a:pt x="209" y="429"/>
                  </a:moveTo>
                  <a:lnTo>
                    <a:pt x="207" y="429"/>
                  </a:lnTo>
                  <a:lnTo>
                    <a:pt x="207" y="429"/>
                  </a:lnTo>
                  <a:lnTo>
                    <a:pt x="207" y="429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9"/>
                  </a:lnTo>
                  <a:lnTo>
                    <a:pt x="209" y="429"/>
                  </a:lnTo>
                  <a:close/>
                  <a:moveTo>
                    <a:pt x="205" y="427"/>
                  </a:move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7" y="427"/>
                  </a:lnTo>
                  <a:lnTo>
                    <a:pt x="205" y="427"/>
                  </a:lnTo>
                  <a:close/>
                  <a:moveTo>
                    <a:pt x="218" y="429"/>
                  </a:moveTo>
                  <a:lnTo>
                    <a:pt x="218" y="429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18" y="429"/>
                  </a:lnTo>
                  <a:close/>
                  <a:moveTo>
                    <a:pt x="279" y="427"/>
                  </a:moveTo>
                  <a:lnTo>
                    <a:pt x="279" y="427"/>
                  </a:lnTo>
                  <a:lnTo>
                    <a:pt x="279" y="427"/>
                  </a:lnTo>
                  <a:lnTo>
                    <a:pt x="279" y="427"/>
                  </a:lnTo>
                  <a:close/>
                  <a:moveTo>
                    <a:pt x="193" y="427"/>
                  </a:move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8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6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31"/>
                  </a:lnTo>
                  <a:lnTo>
                    <a:pt x="193" y="431"/>
                  </a:lnTo>
                  <a:lnTo>
                    <a:pt x="191" y="431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3" y="429"/>
                  </a:lnTo>
                  <a:lnTo>
                    <a:pt x="191" y="429"/>
                  </a:lnTo>
                  <a:lnTo>
                    <a:pt x="191" y="429"/>
                  </a:lnTo>
                  <a:lnTo>
                    <a:pt x="191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9" y="429"/>
                  </a:lnTo>
                  <a:lnTo>
                    <a:pt x="187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1" y="427"/>
                  </a:lnTo>
                  <a:lnTo>
                    <a:pt x="191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close/>
                  <a:moveTo>
                    <a:pt x="207" y="427"/>
                  </a:moveTo>
                  <a:lnTo>
                    <a:pt x="207" y="427"/>
                  </a:lnTo>
                  <a:lnTo>
                    <a:pt x="207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close/>
                  <a:moveTo>
                    <a:pt x="205" y="427"/>
                  </a:move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7" y="427"/>
                  </a:lnTo>
                  <a:lnTo>
                    <a:pt x="205" y="427"/>
                  </a:lnTo>
                  <a:lnTo>
                    <a:pt x="205" y="427"/>
                  </a:lnTo>
                  <a:close/>
                  <a:moveTo>
                    <a:pt x="281" y="427"/>
                  </a:moveTo>
                  <a:lnTo>
                    <a:pt x="281" y="427"/>
                  </a:lnTo>
                  <a:lnTo>
                    <a:pt x="279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81" y="427"/>
                  </a:lnTo>
                  <a:lnTo>
                    <a:pt x="281" y="427"/>
                  </a:lnTo>
                  <a:close/>
                  <a:moveTo>
                    <a:pt x="207" y="427"/>
                  </a:moveTo>
                  <a:lnTo>
                    <a:pt x="207" y="427"/>
                  </a:lnTo>
                  <a:lnTo>
                    <a:pt x="207" y="427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9" y="425"/>
                  </a:lnTo>
                  <a:lnTo>
                    <a:pt x="207" y="425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close/>
                  <a:moveTo>
                    <a:pt x="209" y="425"/>
                  </a:moveTo>
                  <a:lnTo>
                    <a:pt x="209" y="427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close/>
                  <a:moveTo>
                    <a:pt x="223" y="425"/>
                  </a:moveTo>
                  <a:lnTo>
                    <a:pt x="220" y="427"/>
                  </a:lnTo>
                  <a:lnTo>
                    <a:pt x="220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8" y="427"/>
                  </a:lnTo>
                  <a:lnTo>
                    <a:pt x="216" y="427"/>
                  </a:lnTo>
                  <a:lnTo>
                    <a:pt x="216" y="427"/>
                  </a:lnTo>
                  <a:lnTo>
                    <a:pt x="216" y="427"/>
                  </a:lnTo>
                  <a:lnTo>
                    <a:pt x="216" y="427"/>
                  </a:lnTo>
                  <a:lnTo>
                    <a:pt x="216" y="429"/>
                  </a:lnTo>
                  <a:lnTo>
                    <a:pt x="216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4" y="429"/>
                  </a:lnTo>
                  <a:lnTo>
                    <a:pt x="211" y="429"/>
                  </a:lnTo>
                  <a:lnTo>
                    <a:pt x="211" y="429"/>
                  </a:lnTo>
                  <a:lnTo>
                    <a:pt x="211" y="429"/>
                  </a:lnTo>
                  <a:lnTo>
                    <a:pt x="214" y="427"/>
                  </a:lnTo>
                  <a:lnTo>
                    <a:pt x="216" y="427"/>
                  </a:lnTo>
                  <a:lnTo>
                    <a:pt x="218" y="427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close/>
                  <a:moveTo>
                    <a:pt x="218" y="425"/>
                  </a:move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close/>
                  <a:moveTo>
                    <a:pt x="191" y="422"/>
                  </a:moveTo>
                  <a:lnTo>
                    <a:pt x="193" y="422"/>
                  </a:lnTo>
                  <a:lnTo>
                    <a:pt x="193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89" y="422"/>
                  </a:lnTo>
                  <a:lnTo>
                    <a:pt x="189" y="422"/>
                  </a:lnTo>
                  <a:lnTo>
                    <a:pt x="189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9" y="422"/>
                  </a:lnTo>
                  <a:lnTo>
                    <a:pt x="189" y="422"/>
                  </a:lnTo>
                  <a:lnTo>
                    <a:pt x="189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close/>
                  <a:moveTo>
                    <a:pt x="180" y="418"/>
                  </a:moveTo>
                  <a:lnTo>
                    <a:pt x="180" y="418"/>
                  </a:lnTo>
                  <a:lnTo>
                    <a:pt x="180" y="418"/>
                  </a:lnTo>
                  <a:lnTo>
                    <a:pt x="180" y="418"/>
                  </a:lnTo>
                  <a:lnTo>
                    <a:pt x="180" y="418"/>
                  </a:lnTo>
                  <a:lnTo>
                    <a:pt x="180" y="418"/>
                  </a:lnTo>
                  <a:lnTo>
                    <a:pt x="180" y="418"/>
                  </a:lnTo>
                  <a:lnTo>
                    <a:pt x="182" y="418"/>
                  </a:lnTo>
                  <a:lnTo>
                    <a:pt x="182" y="418"/>
                  </a:lnTo>
                  <a:lnTo>
                    <a:pt x="184" y="418"/>
                  </a:lnTo>
                  <a:lnTo>
                    <a:pt x="182" y="418"/>
                  </a:lnTo>
                  <a:lnTo>
                    <a:pt x="182" y="418"/>
                  </a:lnTo>
                  <a:lnTo>
                    <a:pt x="182" y="418"/>
                  </a:lnTo>
                  <a:lnTo>
                    <a:pt x="180" y="418"/>
                  </a:lnTo>
                  <a:lnTo>
                    <a:pt x="180" y="418"/>
                  </a:lnTo>
                  <a:close/>
                  <a:moveTo>
                    <a:pt x="187" y="416"/>
                  </a:moveTo>
                  <a:lnTo>
                    <a:pt x="187" y="416"/>
                  </a:lnTo>
                  <a:lnTo>
                    <a:pt x="187" y="418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4" y="416"/>
                  </a:lnTo>
                  <a:lnTo>
                    <a:pt x="184" y="418"/>
                  </a:lnTo>
                  <a:lnTo>
                    <a:pt x="184" y="418"/>
                  </a:lnTo>
                  <a:lnTo>
                    <a:pt x="184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4" y="416"/>
                  </a:lnTo>
                  <a:lnTo>
                    <a:pt x="184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close/>
                  <a:moveTo>
                    <a:pt x="288" y="413"/>
                  </a:move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90" y="413"/>
                  </a:lnTo>
                  <a:lnTo>
                    <a:pt x="290" y="413"/>
                  </a:lnTo>
                  <a:lnTo>
                    <a:pt x="290" y="413"/>
                  </a:lnTo>
                  <a:lnTo>
                    <a:pt x="288" y="413"/>
                  </a:lnTo>
                  <a:close/>
                  <a:moveTo>
                    <a:pt x="180" y="409"/>
                  </a:moveTo>
                  <a:lnTo>
                    <a:pt x="180" y="411"/>
                  </a:lnTo>
                  <a:lnTo>
                    <a:pt x="180" y="409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close/>
                  <a:moveTo>
                    <a:pt x="294" y="407"/>
                  </a:moveTo>
                  <a:lnTo>
                    <a:pt x="297" y="407"/>
                  </a:lnTo>
                  <a:lnTo>
                    <a:pt x="297" y="407"/>
                  </a:lnTo>
                  <a:lnTo>
                    <a:pt x="297" y="407"/>
                  </a:lnTo>
                  <a:lnTo>
                    <a:pt x="297" y="407"/>
                  </a:lnTo>
                  <a:lnTo>
                    <a:pt x="297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2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7" y="407"/>
                  </a:lnTo>
                  <a:lnTo>
                    <a:pt x="297" y="407"/>
                  </a:lnTo>
                  <a:lnTo>
                    <a:pt x="297" y="407"/>
                  </a:lnTo>
                  <a:lnTo>
                    <a:pt x="294" y="407"/>
                  </a:lnTo>
                  <a:lnTo>
                    <a:pt x="294" y="407"/>
                  </a:lnTo>
                  <a:close/>
                  <a:moveTo>
                    <a:pt x="299" y="391"/>
                  </a:moveTo>
                  <a:lnTo>
                    <a:pt x="299" y="391"/>
                  </a:lnTo>
                  <a:lnTo>
                    <a:pt x="301" y="389"/>
                  </a:lnTo>
                  <a:lnTo>
                    <a:pt x="301" y="391"/>
                  </a:lnTo>
                  <a:lnTo>
                    <a:pt x="301" y="391"/>
                  </a:lnTo>
                  <a:lnTo>
                    <a:pt x="301" y="391"/>
                  </a:lnTo>
                  <a:lnTo>
                    <a:pt x="301" y="391"/>
                  </a:lnTo>
                  <a:lnTo>
                    <a:pt x="301" y="391"/>
                  </a:lnTo>
                  <a:lnTo>
                    <a:pt x="301" y="391"/>
                  </a:lnTo>
                  <a:lnTo>
                    <a:pt x="301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89"/>
                  </a:lnTo>
                  <a:lnTo>
                    <a:pt x="299" y="389"/>
                  </a:lnTo>
                  <a:lnTo>
                    <a:pt x="299" y="389"/>
                  </a:lnTo>
                  <a:lnTo>
                    <a:pt x="299" y="389"/>
                  </a:lnTo>
                  <a:lnTo>
                    <a:pt x="299" y="391"/>
                  </a:lnTo>
                  <a:lnTo>
                    <a:pt x="299" y="391"/>
                  </a:lnTo>
                  <a:lnTo>
                    <a:pt x="299" y="391"/>
                  </a:lnTo>
                  <a:close/>
                  <a:moveTo>
                    <a:pt x="299" y="384"/>
                  </a:moveTo>
                  <a:lnTo>
                    <a:pt x="301" y="384"/>
                  </a:lnTo>
                  <a:lnTo>
                    <a:pt x="301" y="384"/>
                  </a:lnTo>
                  <a:lnTo>
                    <a:pt x="306" y="384"/>
                  </a:lnTo>
                  <a:lnTo>
                    <a:pt x="306" y="386"/>
                  </a:lnTo>
                  <a:lnTo>
                    <a:pt x="303" y="386"/>
                  </a:lnTo>
                  <a:lnTo>
                    <a:pt x="306" y="386"/>
                  </a:lnTo>
                  <a:lnTo>
                    <a:pt x="308" y="386"/>
                  </a:lnTo>
                  <a:lnTo>
                    <a:pt x="308" y="386"/>
                  </a:lnTo>
                  <a:lnTo>
                    <a:pt x="306" y="386"/>
                  </a:lnTo>
                  <a:lnTo>
                    <a:pt x="306" y="386"/>
                  </a:lnTo>
                  <a:lnTo>
                    <a:pt x="306" y="386"/>
                  </a:lnTo>
                  <a:lnTo>
                    <a:pt x="306" y="386"/>
                  </a:lnTo>
                  <a:lnTo>
                    <a:pt x="306" y="386"/>
                  </a:lnTo>
                  <a:lnTo>
                    <a:pt x="303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3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301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9" y="386"/>
                  </a:lnTo>
                  <a:lnTo>
                    <a:pt x="299" y="386"/>
                  </a:lnTo>
                  <a:lnTo>
                    <a:pt x="297" y="386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close/>
                  <a:moveTo>
                    <a:pt x="308" y="384"/>
                  </a:moveTo>
                  <a:lnTo>
                    <a:pt x="308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6" y="386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4"/>
                  </a:lnTo>
                  <a:close/>
                  <a:moveTo>
                    <a:pt x="315" y="382"/>
                  </a:moveTo>
                  <a:lnTo>
                    <a:pt x="315" y="382"/>
                  </a:lnTo>
                  <a:lnTo>
                    <a:pt x="312" y="382"/>
                  </a:lnTo>
                  <a:lnTo>
                    <a:pt x="312" y="384"/>
                  </a:lnTo>
                  <a:lnTo>
                    <a:pt x="312" y="384"/>
                  </a:lnTo>
                  <a:lnTo>
                    <a:pt x="312" y="384"/>
                  </a:lnTo>
                  <a:lnTo>
                    <a:pt x="312" y="384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5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0"/>
                  </a:lnTo>
                  <a:lnTo>
                    <a:pt x="312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82"/>
                  </a:lnTo>
                  <a:lnTo>
                    <a:pt x="315" y="382"/>
                  </a:lnTo>
                  <a:lnTo>
                    <a:pt x="315" y="382"/>
                  </a:lnTo>
                  <a:lnTo>
                    <a:pt x="315" y="382"/>
                  </a:lnTo>
                  <a:close/>
                  <a:moveTo>
                    <a:pt x="166" y="380"/>
                  </a:moveTo>
                  <a:lnTo>
                    <a:pt x="164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6" y="380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close/>
                  <a:moveTo>
                    <a:pt x="317" y="380"/>
                  </a:moveTo>
                  <a:lnTo>
                    <a:pt x="317" y="380"/>
                  </a:lnTo>
                  <a:lnTo>
                    <a:pt x="317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80"/>
                  </a:lnTo>
                  <a:lnTo>
                    <a:pt x="319" y="380"/>
                  </a:lnTo>
                  <a:lnTo>
                    <a:pt x="317" y="380"/>
                  </a:lnTo>
                  <a:close/>
                  <a:moveTo>
                    <a:pt x="166" y="377"/>
                  </a:moveTo>
                  <a:lnTo>
                    <a:pt x="166" y="377"/>
                  </a:lnTo>
                  <a:lnTo>
                    <a:pt x="166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close/>
                  <a:moveTo>
                    <a:pt x="166" y="377"/>
                  </a:move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6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6" y="377"/>
                  </a:lnTo>
                  <a:close/>
                  <a:moveTo>
                    <a:pt x="321" y="377"/>
                  </a:moveTo>
                  <a:lnTo>
                    <a:pt x="321" y="377"/>
                  </a:lnTo>
                  <a:lnTo>
                    <a:pt x="319" y="377"/>
                  </a:lnTo>
                  <a:lnTo>
                    <a:pt x="319" y="377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9" y="377"/>
                  </a:lnTo>
                  <a:lnTo>
                    <a:pt x="321" y="377"/>
                  </a:lnTo>
                  <a:close/>
                  <a:moveTo>
                    <a:pt x="317" y="373"/>
                  </a:moveTo>
                  <a:lnTo>
                    <a:pt x="317" y="373"/>
                  </a:lnTo>
                  <a:lnTo>
                    <a:pt x="317" y="371"/>
                  </a:lnTo>
                  <a:lnTo>
                    <a:pt x="317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7" y="373"/>
                  </a:lnTo>
                  <a:lnTo>
                    <a:pt x="321" y="373"/>
                  </a:lnTo>
                  <a:lnTo>
                    <a:pt x="321" y="373"/>
                  </a:lnTo>
                  <a:lnTo>
                    <a:pt x="321" y="373"/>
                  </a:lnTo>
                  <a:lnTo>
                    <a:pt x="321" y="373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24" y="375"/>
                  </a:lnTo>
                  <a:lnTo>
                    <a:pt x="324" y="375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21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9" y="375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7" y="373"/>
                  </a:lnTo>
                  <a:lnTo>
                    <a:pt x="315" y="373"/>
                  </a:lnTo>
                  <a:lnTo>
                    <a:pt x="315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1"/>
                  </a:lnTo>
                  <a:lnTo>
                    <a:pt x="312" y="371"/>
                  </a:lnTo>
                  <a:lnTo>
                    <a:pt x="312" y="371"/>
                  </a:lnTo>
                  <a:lnTo>
                    <a:pt x="312" y="371"/>
                  </a:lnTo>
                  <a:lnTo>
                    <a:pt x="312" y="371"/>
                  </a:lnTo>
                  <a:lnTo>
                    <a:pt x="315" y="371"/>
                  </a:lnTo>
                  <a:lnTo>
                    <a:pt x="315" y="371"/>
                  </a:lnTo>
                  <a:lnTo>
                    <a:pt x="315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3"/>
                  </a:lnTo>
                  <a:close/>
                  <a:moveTo>
                    <a:pt x="160" y="371"/>
                  </a:moveTo>
                  <a:lnTo>
                    <a:pt x="157" y="371"/>
                  </a:lnTo>
                  <a:lnTo>
                    <a:pt x="157" y="371"/>
                  </a:lnTo>
                  <a:lnTo>
                    <a:pt x="157" y="371"/>
                  </a:lnTo>
                  <a:lnTo>
                    <a:pt x="157" y="371"/>
                  </a:lnTo>
                  <a:lnTo>
                    <a:pt x="157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0" y="368"/>
                  </a:lnTo>
                  <a:lnTo>
                    <a:pt x="160" y="368"/>
                  </a:lnTo>
                  <a:lnTo>
                    <a:pt x="160" y="368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0" y="371"/>
                  </a:lnTo>
                  <a:close/>
                  <a:moveTo>
                    <a:pt x="333" y="366"/>
                  </a:moveTo>
                  <a:lnTo>
                    <a:pt x="333" y="368"/>
                  </a:lnTo>
                  <a:lnTo>
                    <a:pt x="333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6"/>
                  </a:lnTo>
                  <a:lnTo>
                    <a:pt x="330" y="366"/>
                  </a:lnTo>
                  <a:lnTo>
                    <a:pt x="330" y="366"/>
                  </a:lnTo>
                  <a:lnTo>
                    <a:pt x="330" y="366"/>
                  </a:lnTo>
                  <a:lnTo>
                    <a:pt x="333" y="366"/>
                  </a:lnTo>
                  <a:lnTo>
                    <a:pt x="333" y="366"/>
                  </a:lnTo>
                  <a:close/>
                  <a:moveTo>
                    <a:pt x="155" y="355"/>
                  </a:move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close/>
                  <a:moveTo>
                    <a:pt x="335" y="355"/>
                  </a:moveTo>
                  <a:lnTo>
                    <a:pt x="335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5" y="355"/>
                  </a:lnTo>
                  <a:lnTo>
                    <a:pt x="333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0" y="355"/>
                  </a:lnTo>
                  <a:lnTo>
                    <a:pt x="333" y="353"/>
                  </a:lnTo>
                  <a:lnTo>
                    <a:pt x="333" y="353"/>
                  </a:lnTo>
                  <a:lnTo>
                    <a:pt x="333" y="353"/>
                  </a:lnTo>
                  <a:lnTo>
                    <a:pt x="333" y="353"/>
                  </a:lnTo>
                  <a:lnTo>
                    <a:pt x="335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7" y="353"/>
                  </a:lnTo>
                  <a:lnTo>
                    <a:pt x="335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7" y="355"/>
                  </a:lnTo>
                  <a:lnTo>
                    <a:pt x="335" y="355"/>
                  </a:lnTo>
                  <a:lnTo>
                    <a:pt x="335" y="355"/>
                  </a:lnTo>
                  <a:lnTo>
                    <a:pt x="335" y="355"/>
                  </a:lnTo>
                  <a:close/>
                  <a:moveTo>
                    <a:pt x="169" y="353"/>
                  </a:moveTo>
                  <a:lnTo>
                    <a:pt x="169" y="355"/>
                  </a:lnTo>
                  <a:lnTo>
                    <a:pt x="169" y="355"/>
                  </a:lnTo>
                  <a:lnTo>
                    <a:pt x="166" y="355"/>
                  </a:lnTo>
                  <a:lnTo>
                    <a:pt x="166" y="355"/>
                  </a:lnTo>
                  <a:lnTo>
                    <a:pt x="166" y="355"/>
                  </a:lnTo>
                  <a:lnTo>
                    <a:pt x="166" y="355"/>
                  </a:lnTo>
                  <a:lnTo>
                    <a:pt x="164" y="355"/>
                  </a:lnTo>
                  <a:lnTo>
                    <a:pt x="164" y="355"/>
                  </a:lnTo>
                  <a:lnTo>
                    <a:pt x="164" y="355"/>
                  </a:lnTo>
                  <a:lnTo>
                    <a:pt x="166" y="353"/>
                  </a:lnTo>
                  <a:lnTo>
                    <a:pt x="166" y="355"/>
                  </a:lnTo>
                  <a:lnTo>
                    <a:pt x="166" y="355"/>
                  </a:lnTo>
                  <a:lnTo>
                    <a:pt x="166" y="353"/>
                  </a:lnTo>
                  <a:lnTo>
                    <a:pt x="166" y="353"/>
                  </a:lnTo>
                  <a:lnTo>
                    <a:pt x="166" y="353"/>
                  </a:lnTo>
                  <a:lnTo>
                    <a:pt x="166" y="353"/>
                  </a:lnTo>
                  <a:lnTo>
                    <a:pt x="166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71" y="351"/>
                  </a:lnTo>
                  <a:lnTo>
                    <a:pt x="171" y="351"/>
                  </a:lnTo>
                  <a:lnTo>
                    <a:pt x="171" y="351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3" y="348"/>
                  </a:lnTo>
                  <a:lnTo>
                    <a:pt x="173" y="348"/>
                  </a:lnTo>
                  <a:lnTo>
                    <a:pt x="173" y="348"/>
                  </a:lnTo>
                  <a:lnTo>
                    <a:pt x="173" y="348"/>
                  </a:lnTo>
                  <a:lnTo>
                    <a:pt x="173" y="348"/>
                  </a:lnTo>
                  <a:lnTo>
                    <a:pt x="175" y="348"/>
                  </a:lnTo>
                  <a:lnTo>
                    <a:pt x="175" y="348"/>
                  </a:lnTo>
                  <a:lnTo>
                    <a:pt x="175" y="348"/>
                  </a:lnTo>
                  <a:lnTo>
                    <a:pt x="175" y="348"/>
                  </a:lnTo>
                  <a:lnTo>
                    <a:pt x="175" y="351"/>
                  </a:lnTo>
                  <a:lnTo>
                    <a:pt x="173" y="351"/>
                  </a:lnTo>
                  <a:lnTo>
                    <a:pt x="171" y="351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3"/>
                  </a:lnTo>
                  <a:close/>
                  <a:moveTo>
                    <a:pt x="166" y="351"/>
                  </a:moveTo>
                  <a:lnTo>
                    <a:pt x="166" y="351"/>
                  </a:lnTo>
                  <a:lnTo>
                    <a:pt x="166" y="351"/>
                  </a:lnTo>
                  <a:lnTo>
                    <a:pt x="166" y="351"/>
                  </a:lnTo>
                  <a:lnTo>
                    <a:pt x="166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6" y="351"/>
                  </a:lnTo>
                  <a:lnTo>
                    <a:pt x="166" y="351"/>
                  </a:lnTo>
                  <a:lnTo>
                    <a:pt x="166" y="348"/>
                  </a:lnTo>
                  <a:lnTo>
                    <a:pt x="169" y="348"/>
                  </a:lnTo>
                  <a:lnTo>
                    <a:pt x="169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71" y="348"/>
                  </a:lnTo>
                  <a:lnTo>
                    <a:pt x="169" y="348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9" y="351"/>
                  </a:lnTo>
                  <a:lnTo>
                    <a:pt x="166" y="351"/>
                  </a:lnTo>
                  <a:close/>
                  <a:moveTo>
                    <a:pt x="344" y="344"/>
                  </a:moveTo>
                  <a:lnTo>
                    <a:pt x="344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8"/>
                  </a:lnTo>
                  <a:lnTo>
                    <a:pt x="346" y="348"/>
                  </a:lnTo>
                  <a:lnTo>
                    <a:pt x="346" y="348"/>
                  </a:lnTo>
                  <a:lnTo>
                    <a:pt x="346" y="348"/>
                  </a:lnTo>
                  <a:lnTo>
                    <a:pt x="346" y="351"/>
                  </a:lnTo>
                  <a:lnTo>
                    <a:pt x="346" y="351"/>
                  </a:lnTo>
                  <a:lnTo>
                    <a:pt x="346" y="351"/>
                  </a:lnTo>
                  <a:lnTo>
                    <a:pt x="346" y="351"/>
                  </a:lnTo>
                  <a:lnTo>
                    <a:pt x="346" y="351"/>
                  </a:lnTo>
                  <a:lnTo>
                    <a:pt x="346" y="351"/>
                  </a:lnTo>
                  <a:lnTo>
                    <a:pt x="346" y="351"/>
                  </a:lnTo>
                  <a:lnTo>
                    <a:pt x="344" y="351"/>
                  </a:lnTo>
                  <a:lnTo>
                    <a:pt x="342" y="351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8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42" y="344"/>
                  </a:lnTo>
                  <a:lnTo>
                    <a:pt x="339" y="344"/>
                  </a:lnTo>
                  <a:lnTo>
                    <a:pt x="339" y="344"/>
                  </a:lnTo>
                  <a:lnTo>
                    <a:pt x="339" y="342"/>
                  </a:lnTo>
                  <a:lnTo>
                    <a:pt x="339" y="342"/>
                  </a:lnTo>
                  <a:lnTo>
                    <a:pt x="337" y="342"/>
                  </a:lnTo>
                  <a:lnTo>
                    <a:pt x="339" y="342"/>
                  </a:lnTo>
                  <a:lnTo>
                    <a:pt x="339" y="342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9" y="339"/>
                  </a:lnTo>
                  <a:lnTo>
                    <a:pt x="339" y="339"/>
                  </a:lnTo>
                  <a:lnTo>
                    <a:pt x="339" y="339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44" y="342"/>
                  </a:lnTo>
                  <a:lnTo>
                    <a:pt x="344" y="342"/>
                  </a:lnTo>
                  <a:lnTo>
                    <a:pt x="344" y="342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42" y="342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44" y="344"/>
                  </a:lnTo>
                  <a:close/>
                  <a:moveTo>
                    <a:pt x="360" y="330"/>
                  </a:moveTo>
                  <a:lnTo>
                    <a:pt x="360" y="330"/>
                  </a:lnTo>
                  <a:lnTo>
                    <a:pt x="362" y="330"/>
                  </a:lnTo>
                  <a:lnTo>
                    <a:pt x="362" y="330"/>
                  </a:lnTo>
                  <a:lnTo>
                    <a:pt x="362" y="330"/>
                  </a:lnTo>
                  <a:lnTo>
                    <a:pt x="362" y="330"/>
                  </a:lnTo>
                  <a:lnTo>
                    <a:pt x="362" y="330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2" y="333"/>
                  </a:lnTo>
                  <a:lnTo>
                    <a:pt x="360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60" y="330"/>
                  </a:lnTo>
                  <a:lnTo>
                    <a:pt x="360" y="330"/>
                  </a:lnTo>
                  <a:lnTo>
                    <a:pt x="360" y="330"/>
                  </a:lnTo>
                  <a:close/>
                  <a:moveTo>
                    <a:pt x="402" y="326"/>
                  </a:moveTo>
                  <a:lnTo>
                    <a:pt x="402" y="326"/>
                  </a:lnTo>
                  <a:lnTo>
                    <a:pt x="402" y="328"/>
                  </a:lnTo>
                  <a:lnTo>
                    <a:pt x="402" y="328"/>
                  </a:lnTo>
                  <a:lnTo>
                    <a:pt x="402" y="328"/>
                  </a:lnTo>
                  <a:lnTo>
                    <a:pt x="402" y="326"/>
                  </a:lnTo>
                  <a:lnTo>
                    <a:pt x="402" y="328"/>
                  </a:lnTo>
                  <a:lnTo>
                    <a:pt x="400" y="328"/>
                  </a:lnTo>
                  <a:lnTo>
                    <a:pt x="400" y="328"/>
                  </a:lnTo>
                  <a:lnTo>
                    <a:pt x="400" y="328"/>
                  </a:lnTo>
                  <a:lnTo>
                    <a:pt x="400" y="328"/>
                  </a:lnTo>
                  <a:lnTo>
                    <a:pt x="400" y="328"/>
                  </a:lnTo>
                  <a:lnTo>
                    <a:pt x="400" y="326"/>
                  </a:lnTo>
                  <a:lnTo>
                    <a:pt x="400" y="326"/>
                  </a:lnTo>
                  <a:lnTo>
                    <a:pt x="400" y="326"/>
                  </a:lnTo>
                  <a:lnTo>
                    <a:pt x="400" y="326"/>
                  </a:lnTo>
                  <a:lnTo>
                    <a:pt x="400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close/>
                  <a:moveTo>
                    <a:pt x="151" y="326"/>
                  </a:moveTo>
                  <a:lnTo>
                    <a:pt x="148" y="328"/>
                  </a:lnTo>
                  <a:lnTo>
                    <a:pt x="148" y="328"/>
                  </a:lnTo>
                  <a:lnTo>
                    <a:pt x="148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8" y="326"/>
                  </a:lnTo>
                  <a:lnTo>
                    <a:pt x="151" y="326"/>
                  </a:lnTo>
                  <a:lnTo>
                    <a:pt x="153" y="324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1" y="326"/>
                  </a:lnTo>
                  <a:lnTo>
                    <a:pt x="151" y="326"/>
                  </a:lnTo>
                  <a:close/>
                  <a:moveTo>
                    <a:pt x="405" y="326"/>
                  </a:moveTo>
                  <a:lnTo>
                    <a:pt x="405" y="326"/>
                  </a:lnTo>
                  <a:lnTo>
                    <a:pt x="405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6"/>
                  </a:lnTo>
                  <a:lnTo>
                    <a:pt x="402" y="324"/>
                  </a:lnTo>
                  <a:lnTo>
                    <a:pt x="402" y="324"/>
                  </a:lnTo>
                  <a:lnTo>
                    <a:pt x="402" y="324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402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5" y="324"/>
                  </a:lnTo>
                  <a:lnTo>
                    <a:pt x="407" y="326"/>
                  </a:lnTo>
                  <a:lnTo>
                    <a:pt x="405" y="326"/>
                  </a:lnTo>
                  <a:lnTo>
                    <a:pt x="405" y="326"/>
                  </a:lnTo>
                  <a:lnTo>
                    <a:pt x="405" y="326"/>
                  </a:lnTo>
                  <a:lnTo>
                    <a:pt x="405" y="326"/>
                  </a:lnTo>
                  <a:lnTo>
                    <a:pt x="405" y="326"/>
                  </a:lnTo>
                  <a:close/>
                  <a:moveTo>
                    <a:pt x="407" y="324"/>
                  </a:moveTo>
                  <a:lnTo>
                    <a:pt x="407" y="324"/>
                  </a:lnTo>
                  <a:lnTo>
                    <a:pt x="407" y="324"/>
                  </a:lnTo>
                  <a:lnTo>
                    <a:pt x="407" y="324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5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9" y="321"/>
                  </a:lnTo>
                  <a:lnTo>
                    <a:pt x="409" y="319"/>
                  </a:lnTo>
                  <a:lnTo>
                    <a:pt x="409" y="321"/>
                  </a:lnTo>
                  <a:lnTo>
                    <a:pt x="409" y="321"/>
                  </a:lnTo>
                  <a:lnTo>
                    <a:pt x="409" y="321"/>
                  </a:lnTo>
                  <a:lnTo>
                    <a:pt x="409" y="321"/>
                  </a:lnTo>
                  <a:lnTo>
                    <a:pt x="409" y="321"/>
                  </a:lnTo>
                  <a:lnTo>
                    <a:pt x="409" y="321"/>
                  </a:lnTo>
                  <a:lnTo>
                    <a:pt x="409" y="324"/>
                  </a:lnTo>
                  <a:lnTo>
                    <a:pt x="407" y="324"/>
                  </a:lnTo>
                  <a:close/>
                  <a:moveTo>
                    <a:pt x="400" y="321"/>
                  </a:moveTo>
                  <a:lnTo>
                    <a:pt x="400" y="321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398" y="324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400" y="324"/>
                  </a:lnTo>
                  <a:lnTo>
                    <a:pt x="398" y="324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8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3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6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3" y="326"/>
                  </a:lnTo>
                  <a:lnTo>
                    <a:pt x="391" y="326"/>
                  </a:lnTo>
                  <a:lnTo>
                    <a:pt x="391" y="326"/>
                  </a:lnTo>
                  <a:lnTo>
                    <a:pt x="391" y="326"/>
                  </a:lnTo>
                  <a:lnTo>
                    <a:pt x="391" y="326"/>
                  </a:lnTo>
                  <a:lnTo>
                    <a:pt x="391" y="326"/>
                  </a:lnTo>
                  <a:lnTo>
                    <a:pt x="391" y="326"/>
                  </a:lnTo>
                  <a:lnTo>
                    <a:pt x="391" y="326"/>
                  </a:lnTo>
                  <a:lnTo>
                    <a:pt x="389" y="326"/>
                  </a:lnTo>
                  <a:lnTo>
                    <a:pt x="389" y="326"/>
                  </a:lnTo>
                  <a:lnTo>
                    <a:pt x="389" y="326"/>
                  </a:lnTo>
                  <a:lnTo>
                    <a:pt x="389" y="326"/>
                  </a:lnTo>
                  <a:lnTo>
                    <a:pt x="389" y="326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4"/>
                  </a:lnTo>
                  <a:lnTo>
                    <a:pt x="389" y="321"/>
                  </a:lnTo>
                  <a:lnTo>
                    <a:pt x="391" y="321"/>
                  </a:lnTo>
                  <a:lnTo>
                    <a:pt x="391" y="321"/>
                  </a:lnTo>
                  <a:lnTo>
                    <a:pt x="391" y="321"/>
                  </a:lnTo>
                  <a:lnTo>
                    <a:pt x="391" y="321"/>
                  </a:lnTo>
                  <a:lnTo>
                    <a:pt x="391" y="321"/>
                  </a:lnTo>
                  <a:lnTo>
                    <a:pt x="393" y="321"/>
                  </a:lnTo>
                  <a:lnTo>
                    <a:pt x="393" y="321"/>
                  </a:lnTo>
                  <a:lnTo>
                    <a:pt x="393" y="321"/>
                  </a:lnTo>
                  <a:lnTo>
                    <a:pt x="393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398" y="321"/>
                  </a:lnTo>
                  <a:lnTo>
                    <a:pt x="400" y="321"/>
                  </a:lnTo>
                  <a:close/>
                  <a:moveTo>
                    <a:pt x="418" y="321"/>
                  </a:moveTo>
                  <a:lnTo>
                    <a:pt x="418" y="321"/>
                  </a:lnTo>
                  <a:lnTo>
                    <a:pt x="418" y="321"/>
                  </a:lnTo>
                  <a:lnTo>
                    <a:pt x="418" y="321"/>
                  </a:lnTo>
                  <a:lnTo>
                    <a:pt x="418" y="321"/>
                  </a:lnTo>
                  <a:lnTo>
                    <a:pt x="418" y="321"/>
                  </a:lnTo>
                  <a:lnTo>
                    <a:pt x="418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21"/>
                  </a:lnTo>
                  <a:close/>
                  <a:moveTo>
                    <a:pt x="413" y="319"/>
                  </a:moveTo>
                  <a:lnTo>
                    <a:pt x="413" y="319"/>
                  </a:lnTo>
                  <a:lnTo>
                    <a:pt x="413" y="319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09" y="321"/>
                  </a:lnTo>
                  <a:lnTo>
                    <a:pt x="409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21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09" y="319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13" y="319"/>
                  </a:lnTo>
                  <a:lnTo>
                    <a:pt x="413" y="319"/>
                  </a:lnTo>
                  <a:lnTo>
                    <a:pt x="413" y="319"/>
                  </a:lnTo>
                  <a:lnTo>
                    <a:pt x="413" y="319"/>
                  </a:lnTo>
                  <a:close/>
                  <a:moveTo>
                    <a:pt x="431" y="315"/>
                  </a:moveTo>
                  <a:lnTo>
                    <a:pt x="431" y="315"/>
                  </a:lnTo>
                  <a:lnTo>
                    <a:pt x="431" y="315"/>
                  </a:lnTo>
                  <a:lnTo>
                    <a:pt x="431" y="315"/>
                  </a:lnTo>
                  <a:lnTo>
                    <a:pt x="431" y="315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1" y="315"/>
                  </a:lnTo>
                  <a:lnTo>
                    <a:pt x="431" y="315"/>
                  </a:lnTo>
                  <a:close/>
                  <a:moveTo>
                    <a:pt x="400" y="310"/>
                  </a:moveTo>
                  <a:lnTo>
                    <a:pt x="400" y="310"/>
                  </a:lnTo>
                  <a:lnTo>
                    <a:pt x="400" y="310"/>
                  </a:lnTo>
                  <a:lnTo>
                    <a:pt x="400" y="310"/>
                  </a:lnTo>
                  <a:close/>
                  <a:moveTo>
                    <a:pt x="461" y="301"/>
                  </a:move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301"/>
                  </a:lnTo>
                  <a:lnTo>
                    <a:pt x="461" y="301"/>
                  </a:lnTo>
                  <a:lnTo>
                    <a:pt x="461" y="301"/>
                  </a:lnTo>
                  <a:close/>
                  <a:moveTo>
                    <a:pt x="470" y="294"/>
                  </a:moveTo>
                  <a:lnTo>
                    <a:pt x="470" y="294"/>
                  </a:lnTo>
                  <a:lnTo>
                    <a:pt x="470" y="294"/>
                  </a:lnTo>
                  <a:lnTo>
                    <a:pt x="470" y="294"/>
                  </a:lnTo>
                  <a:lnTo>
                    <a:pt x="470" y="294"/>
                  </a:lnTo>
                  <a:lnTo>
                    <a:pt x="470" y="294"/>
                  </a:lnTo>
                  <a:lnTo>
                    <a:pt x="470" y="292"/>
                  </a:lnTo>
                  <a:lnTo>
                    <a:pt x="470" y="292"/>
                  </a:lnTo>
                  <a:lnTo>
                    <a:pt x="470" y="292"/>
                  </a:lnTo>
                  <a:lnTo>
                    <a:pt x="472" y="292"/>
                  </a:lnTo>
                  <a:lnTo>
                    <a:pt x="470" y="294"/>
                  </a:lnTo>
                  <a:lnTo>
                    <a:pt x="470" y="294"/>
                  </a:lnTo>
                  <a:close/>
                  <a:moveTo>
                    <a:pt x="474" y="290"/>
                  </a:move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2" y="290"/>
                  </a:lnTo>
                  <a:lnTo>
                    <a:pt x="474" y="290"/>
                  </a:lnTo>
                  <a:lnTo>
                    <a:pt x="474" y="290"/>
                  </a:lnTo>
                  <a:close/>
                  <a:moveTo>
                    <a:pt x="524" y="274"/>
                  </a:moveTo>
                  <a:lnTo>
                    <a:pt x="524" y="274"/>
                  </a:lnTo>
                  <a:lnTo>
                    <a:pt x="524" y="274"/>
                  </a:lnTo>
                  <a:lnTo>
                    <a:pt x="524" y="274"/>
                  </a:lnTo>
                  <a:close/>
                  <a:moveTo>
                    <a:pt x="530" y="274"/>
                  </a:moveTo>
                  <a:lnTo>
                    <a:pt x="530" y="274"/>
                  </a:lnTo>
                  <a:lnTo>
                    <a:pt x="530" y="274"/>
                  </a:lnTo>
                  <a:lnTo>
                    <a:pt x="530" y="274"/>
                  </a:lnTo>
                  <a:lnTo>
                    <a:pt x="528" y="274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30" y="272"/>
                  </a:lnTo>
                  <a:lnTo>
                    <a:pt x="530" y="272"/>
                  </a:lnTo>
                  <a:lnTo>
                    <a:pt x="530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2"/>
                  </a:lnTo>
                  <a:lnTo>
                    <a:pt x="533" y="274"/>
                  </a:lnTo>
                  <a:lnTo>
                    <a:pt x="533" y="274"/>
                  </a:lnTo>
                  <a:lnTo>
                    <a:pt x="533" y="274"/>
                  </a:lnTo>
                  <a:lnTo>
                    <a:pt x="530" y="274"/>
                  </a:lnTo>
                  <a:close/>
                  <a:moveTo>
                    <a:pt x="178" y="267"/>
                  </a:move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70"/>
                  </a:lnTo>
                  <a:lnTo>
                    <a:pt x="175" y="270"/>
                  </a:lnTo>
                  <a:lnTo>
                    <a:pt x="175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3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5" y="267"/>
                  </a:lnTo>
                  <a:lnTo>
                    <a:pt x="178" y="267"/>
                  </a:lnTo>
                  <a:lnTo>
                    <a:pt x="178" y="267"/>
                  </a:lnTo>
                  <a:lnTo>
                    <a:pt x="178" y="267"/>
                  </a:lnTo>
                  <a:close/>
                  <a:moveTo>
                    <a:pt x="575" y="265"/>
                  </a:moveTo>
                  <a:lnTo>
                    <a:pt x="575" y="265"/>
                  </a:lnTo>
                  <a:lnTo>
                    <a:pt x="575" y="265"/>
                  </a:lnTo>
                  <a:lnTo>
                    <a:pt x="575" y="265"/>
                  </a:lnTo>
                  <a:close/>
                  <a:moveTo>
                    <a:pt x="196" y="265"/>
                  </a:move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close/>
                  <a:moveTo>
                    <a:pt x="193" y="265"/>
                  </a:move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89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7" y="265"/>
                  </a:lnTo>
                  <a:lnTo>
                    <a:pt x="189" y="265"/>
                  </a:lnTo>
                  <a:lnTo>
                    <a:pt x="189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3" y="263"/>
                  </a:lnTo>
                  <a:lnTo>
                    <a:pt x="193" y="263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3"/>
                  </a:lnTo>
                  <a:lnTo>
                    <a:pt x="193" y="263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6" y="263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close/>
                  <a:moveTo>
                    <a:pt x="191" y="263"/>
                  </a:move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9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4" y="263"/>
                  </a:lnTo>
                  <a:lnTo>
                    <a:pt x="182" y="263"/>
                  </a:lnTo>
                  <a:lnTo>
                    <a:pt x="182" y="265"/>
                  </a:lnTo>
                  <a:lnTo>
                    <a:pt x="182" y="263"/>
                  </a:lnTo>
                  <a:lnTo>
                    <a:pt x="178" y="265"/>
                  </a:lnTo>
                  <a:lnTo>
                    <a:pt x="175" y="265"/>
                  </a:lnTo>
                  <a:lnTo>
                    <a:pt x="175" y="265"/>
                  </a:lnTo>
                  <a:lnTo>
                    <a:pt x="175" y="265"/>
                  </a:lnTo>
                  <a:lnTo>
                    <a:pt x="178" y="263"/>
                  </a:lnTo>
                  <a:lnTo>
                    <a:pt x="178" y="263"/>
                  </a:lnTo>
                  <a:lnTo>
                    <a:pt x="180" y="263"/>
                  </a:lnTo>
                  <a:lnTo>
                    <a:pt x="182" y="263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80" y="263"/>
                  </a:lnTo>
                  <a:lnTo>
                    <a:pt x="184" y="263"/>
                  </a:lnTo>
                  <a:lnTo>
                    <a:pt x="184" y="263"/>
                  </a:lnTo>
                  <a:lnTo>
                    <a:pt x="184" y="263"/>
                  </a:lnTo>
                  <a:lnTo>
                    <a:pt x="184" y="263"/>
                  </a:lnTo>
                  <a:lnTo>
                    <a:pt x="184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7" y="263"/>
                  </a:lnTo>
                  <a:lnTo>
                    <a:pt x="189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lnTo>
                    <a:pt x="191" y="263"/>
                  </a:lnTo>
                  <a:close/>
                  <a:moveTo>
                    <a:pt x="171" y="245"/>
                  </a:move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close/>
                  <a:moveTo>
                    <a:pt x="638" y="243"/>
                  </a:moveTo>
                  <a:lnTo>
                    <a:pt x="638" y="243"/>
                  </a:lnTo>
                  <a:lnTo>
                    <a:pt x="636" y="243"/>
                  </a:lnTo>
                  <a:lnTo>
                    <a:pt x="634" y="243"/>
                  </a:lnTo>
                  <a:lnTo>
                    <a:pt x="634" y="243"/>
                  </a:lnTo>
                  <a:lnTo>
                    <a:pt x="634" y="243"/>
                  </a:lnTo>
                  <a:lnTo>
                    <a:pt x="634" y="243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3"/>
                  </a:lnTo>
                  <a:lnTo>
                    <a:pt x="638" y="243"/>
                  </a:lnTo>
                  <a:lnTo>
                    <a:pt x="638" y="243"/>
                  </a:lnTo>
                  <a:lnTo>
                    <a:pt x="638" y="243"/>
                  </a:lnTo>
                  <a:close/>
                  <a:moveTo>
                    <a:pt x="220" y="238"/>
                  </a:moveTo>
                  <a:lnTo>
                    <a:pt x="220" y="238"/>
                  </a:lnTo>
                  <a:lnTo>
                    <a:pt x="220" y="238"/>
                  </a:lnTo>
                  <a:lnTo>
                    <a:pt x="223" y="238"/>
                  </a:lnTo>
                  <a:lnTo>
                    <a:pt x="223" y="238"/>
                  </a:lnTo>
                  <a:lnTo>
                    <a:pt x="223" y="238"/>
                  </a:lnTo>
                  <a:lnTo>
                    <a:pt x="223" y="238"/>
                  </a:lnTo>
                  <a:lnTo>
                    <a:pt x="223" y="238"/>
                  </a:lnTo>
                  <a:lnTo>
                    <a:pt x="225" y="238"/>
                  </a:lnTo>
                  <a:lnTo>
                    <a:pt x="225" y="238"/>
                  </a:lnTo>
                  <a:lnTo>
                    <a:pt x="225" y="240"/>
                  </a:lnTo>
                  <a:lnTo>
                    <a:pt x="225" y="240"/>
                  </a:lnTo>
                  <a:lnTo>
                    <a:pt x="225" y="240"/>
                  </a:lnTo>
                  <a:lnTo>
                    <a:pt x="223" y="240"/>
                  </a:lnTo>
                  <a:lnTo>
                    <a:pt x="223" y="240"/>
                  </a:lnTo>
                  <a:lnTo>
                    <a:pt x="223" y="240"/>
                  </a:lnTo>
                  <a:lnTo>
                    <a:pt x="220" y="240"/>
                  </a:lnTo>
                  <a:lnTo>
                    <a:pt x="220" y="240"/>
                  </a:lnTo>
                  <a:lnTo>
                    <a:pt x="220" y="240"/>
                  </a:lnTo>
                  <a:lnTo>
                    <a:pt x="220" y="240"/>
                  </a:lnTo>
                  <a:lnTo>
                    <a:pt x="220" y="240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3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16" y="245"/>
                  </a:lnTo>
                  <a:lnTo>
                    <a:pt x="216" y="245"/>
                  </a:lnTo>
                  <a:lnTo>
                    <a:pt x="214" y="247"/>
                  </a:lnTo>
                  <a:lnTo>
                    <a:pt x="214" y="247"/>
                  </a:lnTo>
                  <a:lnTo>
                    <a:pt x="214" y="247"/>
                  </a:lnTo>
                  <a:lnTo>
                    <a:pt x="214" y="245"/>
                  </a:lnTo>
                  <a:lnTo>
                    <a:pt x="214" y="245"/>
                  </a:lnTo>
                  <a:lnTo>
                    <a:pt x="214" y="245"/>
                  </a:lnTo>
                  <a:lnTo>
                    <a:pt x="214" y="245"/>
                  </a:lnTo>
                  <a:lnTo>
                    <a:pt x="214" y="245"/>
                  </a:lnTo>
                  <a:lnTo>
                    <a:pt x="214" y="245"/>
                  </a:lnTo>
                  <a:lnTo>
                    <a:pt x="214" y="243"/>
                  </a:lnTo>
                  <a:lnTo>
                    <a:pt x="214" y="243"/>
                  </a:lnTo>
                  <a:lnTo>
                    <a:pt x="211" y="243"/>
                  </a:lnTo>
                  <a:lnTo>
                    <a:pt x="211" y="243"/>
                  </a:lnTo>
                  <a:lnTo>
                    <a:pt x="211" y="243"/>
                  </a:lnTo>
                  <a:lnTo>
                    <a:pt x="214" y="243"/>
                  </a:lnTo>
                  <a:lnTo>
                    <a:pt x="214" y="243"/>
                  </a:lnTo>
                  <a:lnTo>
                    <a:pt x="214" y="240"/>
                  </a:lnTo>
                  <a:lnTo>
                    <a:pt x="214" y="240"/>
                  </a:lnTo>
                  <a:lnTo>
                    <a:pt x="214" y="240"/>
                  </a:lnTo>
                  <a:lnTo>
                    <a:pt x="214" y="240"/>
                  </a:lnTo>
                  <a:lnTo>
                    <a:pt x="216" y="240"/>
                  </a:lnTo>
                  <a:lnTo>
                    <a:pt x="216" y="240"/>
                  </a:lnTo>
                  <a:lnTo>
                    <a:pt x="218" y="240"/>
                  </a:lnTo>
                  <a:lnTo>
                    <a:pt x="218" y="238"/>
                  </a:lnTo>
                  <a:lnTo>
                    <a:pt x="220" y="238"/>
                  </a:lnTo>
                  <a:lnTo>
                    <a:pt x="218" y="238"/>
                  </a:lnTo>
                  <a:lnTo>
                    <a:pt x="218" y="238"/>
                  </a:lnTo>
                  <a:lnTo>
                    <a:pt x="218" y="238"/>
                  </a:lnTo>
                  <a:lnTo>
                    <a:pt x="216" y="240"/>
                  </a:lnTo>
                  <a:lnTo>
                    <a:pt x="214" y="238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8" y="238"/>
                  </a:lnTo>
                  <a:lnTo>
                    <a:pt x="218" y="238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6" y="238"/>
                  </a:lnTo>
                  <a:lnTo>
                    <a:pt x="218" y="238"/>
                  </a:lnTo>
                  <a:lnTo>
                    <a:pt x="218" y="238"/>
                  </a:lnTo>
                  <a:lnTo>
                    <a:pt x="218" y="238"/>
                  </a:lnTo>
                  <a:lnTo>
                    <a:pt x="220" y="238"/>
                  </a:lnTo>
                  <a:lnTo>
                    <a:pt x="220" y="238"/>
                  </a:lnTo>
                  <a:close/>
                  <a:moveTo>
                    <a:pt x="171" y="245"/>
                  </a:moveTo>
                  <a:lnTo>
                    <a:pt x="169" y="245"/>
                  </a:lnTo>
                  <a:lnTo>
                    <a:pt x="169" y="245"/>
                  </a:lnTo>
                  <a:lnTo>
                    <a:pt x="166" y="245"/>
                  </a:lnTo>
                  <a:lnTo>
                    <a:pt x="166" y="245"/>
                  </a:lnTo>
                  <a:lnTo>
                    <a:pt x="160" y="245"/>
                  </a:lnTo>
                  <a:lnTo>
                    <a:pt x="160" y="245"/>
                  </a:lnTo>
                  <a:lnTo>
                    <a:pt x="160" y="245"/>
                  </a:lnTo>
                  <a:lnTo>
                    <a:pt x="160" y="245"/>
                  </a:lnTo>
                  <a:lnTo>
                    <a:pt x="160" y="243"/>
                  </a:lnTo>
                  <a:lnTo>
                    <a:pt x="160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0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2" y="240"/>
                  </a:lnTo>
                  <a:lnTo>
                    <a:pt x="164" y="240"/>
                  </a:lnTo>
                  <a:lnTo>
                    <a:pt x="164" y="240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4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6" y="243"/>
                  </a:lnTo>
                  <a:lnTo>
                    <a:pt x="164" y="243"/>
                  </a:lnTo>
                  <a:lnTo>
                    <a:pt x="164" y="240"/>
                  </a:lnTo>
                  <a:lnTo>
                    <a:pt x="164" y="240"/>
                  </a:lnTo>
                  <a:lnTo>
                    <a:pt x="164" y="240"/>
                  </a:lnTo>
                  <a:lnTo>
                    <a:pt x="164" y="240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2" y="238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6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71" y="238"/>
                  </a:lnTo>
                  <a:lnTo>
                    <a:pt x="166" y="236"/>
                  </a:lnTo>
                  <a:lnTo>
                    <a:pt x="164" y="236"/>
                  </a:lnTo>
                  <a:lnTo>
                    <a:pt x="164" y="236"/>
                  </a:lnTo>
                  <a:lnTo>
                    <a:pt x="164" y="234"/>
                  </a:lnTo>
                  <a:lnTo>
                    <a:pt x="164" y="234"/>
                  </a:lnTo>
                  <a:lnTo>
                    <a:pt x="164" y="234"/>
                  </a:lnTo>
                  <a:lnTo>
                    <a:pt x="164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6" y="231"/>
                  </a:lnTo>
                  <a:lnTo>
                    <a:pt x="169" y="231"/>
                  </a:lnTo>
                  <a:lnTo>
                    <a:pt x="171" y="229"/>
                  </a:lnTo>
                  <a:lnTo>
                    <a:pt x="173" y="229"/>
                  </a:lnTo>
                  <a:lnTo>
                    <a:pt x="173" y="229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89" y="231"/>
                  </a:lnTo>
                  <a:lnTo>
                    <a:pt x="189" y="234"/>
                  </a:lnTo>
                  <a:lnTo>
                    <a:pt x="191" y="234"/>
                  </a:lnTo>
                  <a:lnTo>
                    <a:pt x="191" y="234"/>
                  </a:lnTo>
                  <a:lnTo>
                    <a:pt x="191" y="234"/>
                  </a:lnTo>
                  <a:lnTo>
                    <a:pt x="191" y="234"/>
                  </a:lnTo>
                  <a:lnTo>
                    <a:pt x="191" y="236"/>
                  </a:lnTo>
                  <a:lnTo>
                    <a:pt x="191" y="236"/>
                  </a:lnTo>
                  <a:lnTo>
                    <a:pt x="193" y="236"/>
                  </a:lnTo>
                  <a:lnTo>
                    <a:pt x="193" y="238"/>
                  </a:lnTo>
                  <a:lnTo>
                    <a:pt x="193" y="238"/>
                  </a:lnTo>
                  <a:lnTo>
                    <a:pt x="196" y="238"/>
                  </a:lnTo>
                  <a:lnTo>
                    <a:pt x="198" y="238"/>
                  </a:lnTo>
                  <a:lnTo>
                    <a:pt x="198" y="238"/>
                  </a:lnTo>
                  <a:lnTo>
                    <a:pt x="200" y="240"/>
                  </a:lnTo>
                  <a:lnTo>
                    <a:pt x="200" y="240"/>
                  </a:lnTo>
                  <a:lnTo>
                    <a:pt x="200" y="240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5" y="240"/>
                  </a:lnTo>
                  <a:lnTo>
                    <a:pt x="205" y="243"/>
                  </a:lnTo>
                  <a:lnTo>
                    <a:pt x="202" y="243"/>
                  </a:lnTo>
                  <a:lnTo>
                    <a:pt x="202" y="243"/>
                  </a:lnTo>
                  <a:lnTo>
                    <a:pt x="202" y="243"/>
                  </a:lnTo>
                  <a:lnTo>
                    <a:pt x="202" y="243"/>
                  </a:lnTo>
                  <a:lnTo>
                    <a:pt x="202" y="243"/>
                  </a:lnTo>
                  <a:lnTo>
                    <a:pt x="205" y="243"/>
                  </a:lnTo>
                  <a:lnTo>
                    <a:pt x="205" y="243"/>
                  </a:lnTo>
                  <a:lnTo>
                    <a:pt x="205" y="243"/>
                  </a:lnTo>
                  <a:lnTo>
                    <a:pt x="205" y="243"/>
                  </a:lnTo>
                  <a:lnTo>
                    <a:pt x="205" y="243"/>
                  </a:lnTo>
                  <a:lnTo>
                    <a:pt x="205" y="245"/>
                  </a:lnTo>
                  <a:lnTo>
                    <a:pt x="205" y="245"/>
                  </a:lnTo>
                  <a:lnTo>
                    <a:pt x="202" y="245"/>
                  </a:lnTo>
                  <a:lnTo>
                    <a:pt x="200" y="245"/>
                  </a:lnTo>
                  <a:lnTo>
                    <a:pt x="200" y="245"/>
                  </a:lnTo>
                  <a:lnTo>
                    <a:pt x="200" y="247"/>
                  </a:lnTo>
                  <a:lnTo>
                    <a:pt x="198" y="247"/>
                  </a:lnTo>
                  <a:lnTo>
                    <a:pt x="196" y="247"/>
                  </a:lnTo>
                  <a:lnTo>
                    <a:pt x="196" y="247"/>
                  </a:lnTo>
                  <a:lnTo>
                    <a:pt x="187" y="249"/>
                  </a:lnTo>
                  <a:lnTo>
                    <a:pt x="187" y="249"/>
                  </a:lnTo>
                  <a:lnTo>
                    <a:pt x="187" y="249"/>
                  </a:lnTo>
                  <a:lnTo>
                    <a:pt x="187" y="249"/>
                  </a:lnTo>
                  <a:lnTo>
                    <a:pt x="182" y="249"/>
                  </a:lnTo>
                  <a:lnTo>
                    <a:pt x="180" y="252"/>
                  </a:lnTo>
                  <a:lnTo>
                    <a:pt x="175" y="252"/>
                  </a:lnTo>
                  <a:lnTo>
                    <a:pt x="175" y="252"/>
                  </a:lnTo>
                  <a:lnTo>
                    <a:pt x="175" y="252"/>
                  </a:lnTo>
                  <a:lnTo>
                    <a:pt x="175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3" y="252"/>
                  </a:lnTo>
                  <a:lnTo>
                    <a:pt x="171" y="252"/>
                  </a:lnTo>
                  <a:lnTo>
                    <a:pt x="171" y="252"/>
                  </a:lnTo>
                  <a:lnTo>
                    <a:pt x="171" y="249"/>
                  </a:lnTo>
                  <a:lnTo>
                    <a:pt x="171" y="249"/>
                  </a:lnTo>
                  <a:lnTo>
                    <a:pt x="166" y="249"/>
                  </a:lnTo>
                  <a:lnTo>
                    <a:pt x="166" y="249"/>
                  </a:lnTo>
                  <a:lnTo>
                    <a:pt x="166" y="249"/>
                  </a:lnTo>
                  <a:lnTo>
                    <a:pt x="166" y="249"/>
                  </a:lnTo>
                  <a:lnTo>
                    <a:pt x="166" y="249"/>
                  </a:lnTo>
                  <a:lnTo>
                    <a:pt x="166" y="249"/>
                  </a:lnTo>
                  <a:lnTo>
                    <a:pt x="166" y="249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9" y="247"/>
                  </a:lnTo>
                  <a:lnTo>
                    <a:pt x="169" y="247"/>
                  </a:lnTo>
                  <a:lnTo>
                    <a:pt x="171" y="247"/>
                  </a:lnTo>
                  <a:lnTo>
                    <a:pt x="173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80" y="247"/>
                  </a:lnTo>
                  <a:lnTo>
                    <a:pt x="180" y="247"/>
                  </a:lnTo>
                  <a:lnTo>
                    <a:pt x="178" y="247"/>
                  </a:lnTo>
                  <a:lnTo>
                    <a:pt x="178" y="247"/>
                  </a:lnTo>
                  <a:lnTo>
                    <a:pt x="178" y="247"/>
                  </a:lnTo>
                  <a:lnTo>
                    <a:pt x="178" y="247"/>
                  </a:lnTo>
                  <a:lnTo>
                    <a:pt x="178" y="247"/>
                  </a:lnTo>
                  <a:lnTo>
                    <a:pt x="178" y="245"/>
                  </a:lnTo>
                  <a:lnTo>
                    <a:pt x="178" y="245"/>
                  </a:lnTo>
                  <a:lnTo>
                    <a:pt x="180" y="245"/>
                  </a:lnTo>
                  <a:lnTo>
                    <a:pt x="180" y="245"/>
                  </a:lnTo>
                  <a:lnTo>
                    <a:pt x="182" y="245"/>
                  </a:lnTo>
                  <a:lnTo>
                    <a:pt x="182" y="245"/>
                  </a:lnTo>
                  <a:lnTo>
                    <a:pt x="180" y="245"/>
                  </a:lnTo>
                  <a:lnTo>
                    <a:pt x="178" y="245"/>
                  </a:lnTo>
                  <a:lnTo>
                    <a:pt x="178" y="245"/>
                  </a:lnTo>
                  <a:lnTo>
                    <a:pt x="178" y="245"/>
                  </a:lnTo>
                  <a:lnTo>
                    <a:pt x="178" y="245"/>
                  </a:lnTo>
                  <a:lnTo>
                    <a:pt x="178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3" y="247"/>
                  </a:lnTo>
                  <a:lnTo>
                    <a:pt x="173" y="247"/>
                  </a:lnTo>
                  <a:lnTo>
                    <a:pt x="173" y="247"/>
                  </a:lnTo>
                  <a:lnTo>
                    <a:pt x="175" y="247"/>
                  </a:lnTo>
                  <a:lnTo>
                    <a:pt x="175" y="245"/>
                  </a:lnTo>
                  <a:lnTo>
                    <a:pt x="175" y="245"/>
                  </a:lnTo>
                  <a:lnTo>
                    <a:pt x="171" y="247"/>
                  </a:lnTo>
                  <a:lnTo>
                    <a:pt x="171" y="247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3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lnTo>
                    <a:pt x="171" y="245"/>
                  </a:lnTo>
                  <a:close/>
                  <a:moveTo>
                    <a:pt x="169" y="229"/>
                  </a:moveTo>
                  <a:lnTo>
                    <a:pt x="169" y="229"/>
                  </a:lnTo>
                  <a:lnTo>
                    <a:pt x="169" y="229"/>
                  </a:lnTo>
                  <a:lnTo>
                    <a:pt x="166" y="229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29"/>
                  </a:lnTo>
                  <a:lnTo>
                    <a:pt x="164" y="227"/>
                  </a:lnTo>
                  <a:lnTo>
                    <a:pt x="164" y="227"/>
                  </a:lnTo>
                  <a:lnTo>
                    <a:pt x="164" y="227"/>
                  </a:lnTo>
                  <a:lnTo>
                    <a:pt x="164" y="227"/>
                  </a:lnTo>
                  <a:lnTo>
                    <a:pt x="164" y="227"/>
                  </a:lnTo>
                  <a:lnTo>
                    <a:pt x="169" y="227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9" y="229"/>
                  </a:lnTo>
                  <a:close/>
                  <a:moveTo>
                    <a:pt x="598" y="227"/>
                  </a:moveTo>
                  <a:lnTo>
                    <a:pt x="600" y="227"/>
                  </a:lnTo>
                  <a:lnTo>
                    <a:pt x="600" y="227"/>
                  </a:lnTo>
                  <a:lnTo>
                    <a:pt x="600" y="227"/>
                  </a:lnTo>
                  <a:lnTo>
                    <a:pt x="600" y="227"/>
                  </a:lnTo>
                  <a:lnTo>
                    <a:pt x="600" y="227"/>
                  </a:lnTo>
                  <a:lnTo>
                    <a:pt x="600" y="227"/>
                  </a:lnTo>
                  <a:lnTo>
                    <a:pt x="598" y="227"/>
                  </a:lnTo>
                  <a:lnTo>
                    <a:pt x="598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7"/>
                  </a:lnTo>
                  <a:lnTo>
                    <a:pt x="595" y="225"/>
                  </a:lnTo>
                  <a:lnTo>
                    <a:pt x="595" y="225"/>
                  </a:lnTo>
                  <a:lnTo>
                    <a:pt x="595" y="225"/>
                  </a:lnTo>
                  <a:lnTo>
                    <a:pt x="598" y="227"/>
                  </a:lnTo>
                  <a:lnTo>
                    <a:pt x="598" y="227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7"/>
                  </a:lnTo>
                  <a:close/>
                  <a:moveTo>
                    <a:pt x="220" y="222"/>
                  </a:moveTo>
                  <a:lnTo>
                    <a:pt x="218" y="222"/>
                  </a:lnTo>
                  <a:lnTo>
                    <a:pt x="218" y="222"/>
                  </a:lnTo>
                  <a:lnTo>
                    <a:pt x="214" y="222"/>
                  </a:lnTo>
                  <a:lnTo>
                    <a:pt x="216" y="222"/>
                  </a:lnTo>
                  <a:lnTo>
                    <a:pt x="216" y="222"/>
                  </a:lnTo>
                  <a:lnTo>
                    <a:pt x="216" y="222"/>
                  </a:lnTo>
                  <a:lnTo>
                    <a:pt x="216" y="222"/>
                  </a:lnTo>
                  <a:lnTo>
                    <a:pt x="218" y="222"/>
                  </a:lnTo>
                  <a:lnTo>
                    <a:pt x="218" y="222"/>
                  </a:lnTo>
                  <a:lnTo>
                    <a:pt x="218" y="222"/>
                  </a:lnTo>
                  <a:lnTo>
                    <a:pt x="218" y="222"/>
                  </a:lnTo>
                  <a:lnTo>
                    <a:pt x="220" y="222"/>
                  </a:lnTo>
                  <a:close/>
                  <a:moveTo>
                    <a:pt x="665" y="220"/>
                  </a:moveTo>
                  <a:lnTo>
                    <a:pt x="665" y="220"/>
                  </a:lnTo>
                  <a:lnTo>
                    <a:pt x="665" y="220"/>
                  </a:lnTo>
                  <a:lnTo>
                    <a:pt x="665" y="220"/>
                  </a:lnTo>
                  <a:close/>
                  <a:moveTo>
                    <a:pt x="580" y="218"/>
                  </a:moveTo>
                  <a:lnTo>
                    <a:pt x="580" y="218"/>
                  </a:lnTo>
                  <a:lnTo>
                    <a:pt x="584" y="218"/>
                  </a:lnTo>
                  <a:lnTo>
                    <a:pt x="584" y="218"/>
                  </a:lnTo>
                  <a:lnTo>
                    <a:pt x="584" y="218"/>
                  </a:lnTo>
                  <a:lnTo>
                    <a:pt x="584" y="218"/>
                  </a:lnTo>
                  <a:lnTo>
                    <a:pt x="584" y="218"/>
                  </a:lnTo>
                  <a:lnTo>
                    <a:pt x="584" y="220"/>
                  </a:lnTo>
                  <a:lnTo>
                    <a:pt x="582" y="220"/>
                  </a:lnTo>
                  <a:lnTo>
                    <a:pt x="582" y="220"/>
                  </a:lnTo>
                  <a:lnTo>
                    <a:pt x="582" y="220"/>
                  </a:lnTo>
                  <a:lnTo>
                    <a:pt x="582" y="220"/>
                  </a:lnTo>
                  <a:lnTo>
                    <a:pt x="580" y="220"/>
                  </a:lnTo>
                  <a:lnTo>
                    <a:pt x="577" y="220"/>
                  </a:lnTo>
                  <a:lnTo>
                    <a:pt x="577" y="222"/>
                  </a:lnTo>
                  <a:lnTo>
                    <a:pt x="577" y="222"/>
                  </a:lnTo>
                  <a:lnTo>
                    <a:pt x="575" y="222"/>
                  </a:lnTo>
                  <a:lnTo>
                    <a:pt x="575" y="222"/>
                  </a:lnTo>
                  <a:lnTo>
                    <a:pt x="575" y="220"/>
                  </a:lnTo>
                  <a:lnTo>
                    <a:pt x="575" y="220"/>
                  </a:lnTo>
                  <a:lnTo>
                    <a:pt x="575" y="220"/>
                  </a:lnTo>
                  <a:lnTo>
                    <a:pt x="575" y="220"/>
                  </a:lnTo>
                  <a:lnTo>
                    <a:pt x="575" y="220"/>
                  </a:lnTo>
                  <a:lnTo>
                    <a:pt x="575" y="220"/>
                  </a:lnTo>
                  <a:lnTo>
                    <a:pt x="575" y="220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80" y="218"/>
                  </a:lnTo>
                  <a:lnTo>
                    <a:pt x="580" y="218"/>
                  </a:lnTo>
                  <a:lnTo>
                    <a:pt x="580" y="218"/>
                  </a:lnTo>
                  <a:close/>
                  <a:moveTo>
                    <a:pt x="220" y="218"/>
                  </a:moveTo>
                  <a:lnTo>
                    <a:pt x="220" y="220"/>
                  </a:lnTo>
                  <a:lnTo>
                    <a:pt x="220" y="220"/>
                  </a:lnTo>
                  <a:lnTo>
                    <a:pt x="218" y="220"/>
                  </a:lnTo>
                  <a:lnTo>
                    <a:pt x="216" y="220"/>
                  </a:lnTo>
                  <a:lnTo>
                    <a:pt x="216" y="220"/>
                  </a:lnTo>
                  <a:lnTo>
                    <a:pt x="214" y="220"/>
                  </a:lnTo>
                  <a:lnTo>
                    <a:pt x="211" y="220"/>
                  </a:lnTo>
                  <a:lnTo>
                    <a:pt x="211" y="218"/>
                  </a:lnTo>
                  <a:lnTo>
                    <a:pt x="211" y="218"/>
                  </a:lnTo>
                  <a:lnTo>
                    <a:pt x="211" y="218"/>
                  </a:lnTo>
                  <a:lnTo>
                    <a:pt x="214" y="218"/>
                  </a:lnTo>
                  <a:lnTo>
                    <a:pt x="214" y="218"/>
                  </a:lnTo>
                  <a:lnTo>
                    <a:pt x="214" y="218"/>
                  </a:lnTo>
                  <a:lnTo>
                    <a:pt x="216" y="218"/>
                  </a:lnTo>
                  <a:lnTo>
                    <a:pt x="216" y="218"/>
                  </a:lnTo>
                  <a:lnTo>
                    <a:pt x="216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18" y="218"/>
                  </a:lnTo>
                  <a:lnTo>
                    <a:pt x="220" y="218"/>
                  </a:lnTo>
                  <a:lnTo>
                    <a:pt x="220" y="218"/>
                  </a:lnTo>
                  <a:close/>
                  <a:moveTo>
                    <a:pt x="609" y="220"/>
                  </a:moveTo>
                  <a:lnTo>
                    <a:pt x="609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3" y="222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1" y="225"/>
                  </a:lnTo>
                  <a:lnTo>
                    <a:pt x="607" y="225"/>
                  </a:lnTo>
                  <a:lnTo>
                    <a:pt x="607" y="225"/>
                  </a:lnTo>
                  <a:lnTo>
                    <a:pt x="607" y="225"/>
                  </a:lnTo>
                  <a:lnTo>
                    <a:pt x="604" y="225"/>
                  </a:lnTo>
                  <a:lnTo>
                    <a:pt x="604" y="225"/>
                  </a:lnTo>
                  <a:lnTo>
                    <a:pt x="602" y="225"/>
                  </a:lnTo>
                  <a:lnTo>
                    <a:pt x="600" y="225"/>
                  </a:lnTo>
                  <a:lnTo>
                    <a:pt x="600" y="227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600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8" y="225"/>
                  </a:lnTo>
                  <a:lnTo>
                    <a:pt x="595" y="225"/>
                  </a:lnTo>
                  <a:lnTo>
                    <a:pt x="593" y="225"/>
                  </a:lnTo>
                  <a:lnTo>
                    <a:pt x="593" y="227"/>
                  </a:lnTo>
                  <a:lnTo>
                    <a:pt x="593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86" y="227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69" y="227"/>
                  </a:lnTo>
                  <a:lnTo>
                    <a:pt x="571" y="227"/>
                  </a:lnTo>
                  <a:lnTo>
                    <a:pt x="571" y="227"/>
                  </a:lnTo>
                  <a:lnTo>
                    <a:pt x="571" y="227"/>
                  </a:lnTo>
                  <a:lnTo>
                    <a:pt x="571" y="225"/>
                  </a:lnTo>
                  <a:lnTo>
                    <a:pt x="571" y="225"/>
                  </a:lnTo>
                  <a:lnTo>
                    <a:pt x="571" y="225"/>
                  </a:lnTo>
                  <a:lnTo>
                    <a:pt x="571" y="225"/>
                  </a:lnTo>
                  <a:lnTo>
                    <a:pt x="571" y="225"/>
                  </a:lnTo>
                  <a:lnTo>
                    <a:pt x="573" y="225"/>
                  </a:lnTo>
                  <a:lnTo>
                    <a:pt x="573" y="225"/>
                  </a:lnTo>
                  <a:lnTo>
                    <a:pt x="575" y="222"/>
                  </a:lnTo>
                  <a:lnTo>
                    <a:pt x="577" y="222"/>
                  </a:lnTo>
                  <a:lnTo>
                    <a:pt x="577" y="222"/>
                  </a:lnTo>
                  <a:lnTo>
                    <a:pt x="577" y="222"/>
                  </a:lnTo>
                  <a:lnTo>
                    <a:pt x="580" y="222"/>
                  </a:lnTo>
                  <a:lnTo>
                    <a:pt x="580" y="222"/>
                  </a:lnTo>
                  <a:lnTo>
                    <a:pt x="580" y="220"/>
                  </a:lnTo>
                  <a:lnTo>
                    <a:pt x="580" y="220"/>
                  </a:lnTo>
                  <a:lnTo>
                    <a:pt x="582" y="220"/>
                  </a:lnTo>
                  <a:lnTo>
                    <a:pt x="582" y="220"/>
                  </a:lnTo>
                  <a:lnTo>
                    <a:pt x="584" y="220"/>
                  </a:lnTo>
                  <a:lnTo>
                    <a:pt x="584" y="220"/>
                  </a:lnTo>
                  <a:lnTo>
                    <a:pt x="584" y="218"/>
                  </a:lnTo>
                  <a:lnTo>
                    <a:pt x="586" y="218"/>
                  </a:lnTo>
                  <a:lnTo>
                    <a:pt x="593" y="218"/>
                  </a:lnTo>
                  <a:lnTo>
                    <a:pt x="598" y="218"/>
                  </a:lnTo>
                  <a:lnTo>
                    <a:pt x="598" y="218"/>
                  </a:lnTo>
                  <a:lnTo>
                    <a:pt x="600" y="218"/>
                  </a:lnTo>
                  <a:lnTo>
                    <a:pt x="600" y="218"/>
                  </a:lnTo>
                  <a:lnTo>
                    <a:pt x="602" y="216"/>
                  </a:lnTo>
                  <a:lnTo>
                    <a:pt x="602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9" y="216"/>
                  </a:lnTo>
                  <a:lnTo>
                    <a:pt x="607" y="216"/>
                  </a:lnTo>
                  <a:lnTo>
                    <a:pt x="607" y="216"/>
                  </a:lnTo>
                  <a:lnTo>
                    <a:pt x="607" y="216"/>
                  </a:lnTo>
                  <a:lnTo>
                    <a:pt x="607" y="218"/>
                  </a:lnTo>
                  <a:lnTo>
                    <a:pt x="607" y="218"/>
                  </a:lnTo>
                  <a:lnTo>
                    <a:pt x="611" y="218"/>
                  </a:lnTo>
                  <a:lnTo>
                    <a:pt x="611" y="218"/>
                  </a:lnTo>
                  <a:lnTo>
                    <a:pt x="611" y="218"/>
                  </a:lnTo>
                  <a:lnTo>
                    <a:pt x="611" y="218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11" y="220"/>
                  </a:lnTo>
                  <a:lnTo>
                    <a:pt x="609" y="220"/>
                  </a:lnTo>
                  <a:lnTo>
                    <a:pt x="609" y="220"/>
                  </a:lnTo>
                  <a:lnTo>
                    <a:pt x="609" y="220"/>
                  </a:lnTo>
                  <a:close/>
                  <a:moveTo>
                    <a:pt x="611" y="213"/>
                  </a:moveTo>
                  <a:lnTo>
                    <a:pt x="611" y="213"/>
                  </a:lnTo>
                  <a:lnTo>
                    <a:pt x="611" y="213"/>
                  </a:lnTo>
                  <a:lnTo>
                    <a:pt x="611" y="213"/>
                  </a:lnTo>
                  <a:lnTo>
                    <a:pt x="611" y="213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3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11" y="216"/>
                  </a:lnTo>
                  <a:lnTo>
                    <a:pt x="609" y="216"/>
                  </a:lnTo>
                  <a:lnTo>
                    <a:pt x="609" y="213"/>
                  </a:lnTo>
                  <a:lnTo>
                    <a:pt x="609" y="213"/>
                  </a:lnTo>
                  <a:lnTo>
                    <a:pt x="609" y="213"/>
                  </a:lnTo>
                  <a:lnTo>
                    <a:pt x="609" y="213"/>
                  </a:lnTo>
                  <a:lnTo>
                    <a:pt x="611" y="213"/>
                  </a:lnTo>
                  <a:close/>
                  <a:moveTo>
                    <a:pt x="193" y="216"/>
                  </a:moveTo>
                  <a:lnTo>
                    <a:pt x="191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7" y="216"/>
                  </a:lnTo>
                  <a:lnTo>
                    <a:pt x="187" y="213"/>
                  </a:lnTo>
                  <a:lnTo>
                    <a:pt x="187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91" y="211"/>
                  </a:lnTo>
                  <a:lnTo>
                    <a:pt x="191" y="211"/>
                  </a:lnTo>
                  <a:lnTo>
                    <a:pt x="191" y="211"/>
                  </a:lnTo>
                  <a:lnTo>
                    <a:pt x="193" y="211"/>
                  </a:lnTo>
                  <a:lnTo>
                    <a:pt x="193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6" y="213"/>
                  </a:lnTo>
                  <a:lnTo>
                    <a:pt x="196" y="213"/>
                  </a:lnTo>
                  <a:lnTo>
                    <a:pt x="196" y="213"/>
                  </a:lnTo>
                  <a:lnTo>
                    <a:pt x="196" y="213"/>
                  </a:lnTo>
                  <a:lnTo>
                    <a:pt x="196" y="216"/>
                  </a:lnTo>
                  <a:lnTo>
                    <a:pt x="196" y="216"/>
                  </a:lnTo>
                  <a:lnTo>
                    <a:pt x="193" y="216"/>
                  </a:lnTo>
                  <a:lnTo>
                    <a:pt x="193" y="216"/>
                  </a:lnTo>
                  <a:lnTo>
                    <a:pt x="193" y="216"/>
                  </a:lnTo>
                  <a:close/>
                  <a:moveTo>
                    <a:pt x="207" y="213"/>
                  </a:moveTo>
                  <a:lnTo>
                    <a:pt x="202" y="213"/>
                  </a:lnTo>
                  <a:lnTo>
                    <a:pt x="202" y="213"/>
                  </a:lnTo>
                  <a:lnTo>
                    <a:pt x="200" y="213"/>
                  </a:lnTo>
                  <a:lnTo>
                    <a:pt x="200" y="213"/>
                  </a:lnTo>
                  <a:lnTo>
                    <a:pt x="200" y="213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0" y="211"/>
                  </a:lnTo>
                  <a:lnTo>
                    <a:pt x="202" y="209"/>
                  </a:lnTo>
                  <a:lnTo>
                    <a:pt x="202" y="209"/>
                  </a:lnTo>
                  <a:lnTo>
                    <a:pt x="202" y="209"/>
                  </a:lnTo>
                  <a:lnTo>
                    <a:pt x="205" y="209"/>
                  </a:lnTo>
                  <a:lnTo>
                    <a:pt x="214" y="209"/>
                  </a:lnTo>
                  <a:lnTo>
                    <a:pt x="214" y="209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1" y="211"/>
                  </a:lnTo>
                  <a:lnTo>
                    <a:pt x="211" y="211"/>
                  </a:lnTo>
                  <a:lnTo>
                    <a:pt x="209" y="211"/>
                  </a:lnTo>
                  <a:lnTo>
                    <a:pt x="209" y="211"/>
                  </a:lnTo>
                  <a:lnTo>
                    <a:pt x="209" y="211"/>
                  </a:lnTo>
                  <a:lnTo>
                    <a:pt x="209" y="211"/>
                  </a:lnTo>
                  <a:lnTo>
                    <a:pt x="207" y="213"/>
                  </a:lnTo>
                  <a:lnTo>
                    <a:pt x="207" y="213"/>
                  </a:lnTo>
                  <a:lnTo>
                    <a:pt x="207" y="213"/>
                  </a:lnTo>
                  <a:lnTo>
                    <a:pt x="207" y="213"/>
                  </a:lnTo>
                  <a:lnTo>
                    <a:pt x="207" y="213"/>
                  </a:lnTo>
                  <a:close/>
                  <a:moveTo>
                    <a:pt x="207" y="204"/>
                  </a:moveTo>
                  <a:lnTo>
                    <a:pt x="207" y="204"/>
                  </a:lnTo>
                  <a:lnTo>
                    <a:pt x="207" y="204"/>
                  </a:lnTo>
                  <a:lnTo>
                    <a:pt x="209" y="204"/>
                  </a:lnTo>
                  <a:lnTo>
                    <a:pt x="211" y="204"/>
                  </a:lnTo>
                  <a:lnTo>
                    <a:pt x="209" y="204"/>
                  </a:lnTo>
                  <a:lnTo>
                    <a:pt x="207" y="204"/>
                  </a:lnTo>
                  <a:lnTo>
                    <a:pt x="205" y="204"/>
                  </a:lnTo>
                  <a:lnTo>
                    <a:pt x="205" y="204"/>
                  </a:lnTo>
                  <a:lnTo>
                    <a:pt x="205" y="204"/>
                  </a:lnTo>
                  <a:lnTo>
                    <a:pt x="205" y="207"/>
                  </a:lnTo>
                  <a:lnTo>
                    <a:pt x="205" y="207"/>
                  </a:lnTo>
                  <a:lnTo>
                    <a:pt x="205" y="207"/>
                  </a:lnTo>
                  <a:lnTo>
                    <a:pt x="205" y="207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202" y="207"/>
                  </a:lnTo>
                  <a:lnTo>
                    <a:pt x="200" y="207"/>
                  </a:lnTo>
                  <a:lnTo>
                    <a:pt x="200" y="207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0" y="204"/>
                  </a:lnTo>
                  <a:lnTo>
                    <a:pt x="205" y="204"/>
                  </a:lnTo>
                  <a:lnTo>
                    <a:pt x="207" y="204"/>
                  </a:lnTo>
                  <a:close/>
                  <a:moveTo>
                    <a:pt x="171" y="200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69" y="200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200"/>
                  </a:lnTo>
                  <a:close/>
                  <a:moveTo>
                    <a:pt x="184" y="191"/>
                  </a:move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0" y="193"/>
                  </a:lnTo>
                  <a:lnTo>
                    <a:pt x="180" y="193"/>
                  </a:lnTo>
                  <a:lnTo>
                    <a:pt x="180" y="193"/>
                  </a:lnTo>
                  <a:lnTo>
                    <a:pt x="180" y="193"/>
                  </a:lnTo>
                  <a:lnTo>
                    <a:pt x="180" y="193"/>
                  </a:lnTo>
                  <a:lnTo>
                    <a:pt x="178" y="193"/>
                  </a:lnTo>
                  <a:lnTo>
                    <a:pt x="178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3" y="193"/>
                  </a:lnTo>
                  <a:lnTo>
                    <a:pt x="178" y="193"/>
                  </a:lnTo>
                  <a:lnTo>
                    <a:pt x="178" y="191"/>
                  </a:lnTo>
                  <a:lnTo>
                    <a:pt x="178" y="191"/>
                  </a:lnTo>
                  <a:lnTo>
                    <a:pt x="178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78" y="191"/>
                  </a:lnTo>
                  <a:lnTo>
                    <a:pt x="178" y="191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close/>
                  <a:moveTo>
                    <a:pt x="180" y="182"/>
                  </a:moveTo>
                  <a:lnTo>
                    <a:pt x="178" y="182"/>
                  </a:lnTo>
                  <a:lnTo>
                    <a:pt x="178" y="182"/>
                  </a:lnTo>
                  <a:lnTo>
                    <a:pt x="178" y="182"/>
                  </a:lnTo>
                  <a:lnTo>
                    <a:pt x="178" y="182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3" y="184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8" y="182"/>
                  </a:lnTo>
                  <a:lnTo>
                    <a:pt x="178" y="182"/>
                  </a:lnTo>
                  <a:lnTo>
                    <a:pt x="178" y="182"/>
                  </a:lnTo>
                  <a:lnTo>
                    <a:pt x="178" y="182"/>
                  </a:lnTo>
                  <a:lnTo>
                    <a:pt x="178" y="182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0" y="182"/>
                  </a:lnTo>
                  <a:close/>
                  <a:moveTo>
                    <a:pt x="189" y="182"/>
                  </a:moveTo>
                  <a:lnTo>
                    <a:pt x="189" y="182"/>
                  </a:lnTo>
                  <a:lnTo>
                    <a:pt x="189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4"/>
                  </a:lnTo>
                  <a:lnTo>
                    <a:pt x="187" y="184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4" y="184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0" y="184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78" y="186"/>
                  </a:lnTo>
                  <a:lnTo>
                    <a:pt x="178" y="186"/>
                  </a:lnTo>
                  <a:lnTo>
                    <a:pt x="178" y="186"/>
                  </a:lnTo>
                  <a:lnTo>
                    <a:pt x="178" y="186"/>
                  </a:lnTo>
                  <a:lnTo>
                    <a:pt x="178" y="186"/>
                  </a:lnTo>
                  <a:lnTo>
                    <a:pt x="180" y="184"/>
                  </a:lnTo>
                  <a:lnTo>
                    <a:pt x="180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78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8" y="184"/>
                  </a:lnTo>
                  <a:lnTo>
                    <a:pt x="178" y="184"/>
                  </a:lnTo>
                  <a:lnTo>
                    <a:pt x="180" y="184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0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84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7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close/>
                  <a:moveTo>
                    <a:pt x="643" y="180"/>
                  </a:moveTo>
                  <a:lnTo>
                    <a:pt x="645" y="180"/>
                  </a:lnTo>
                  <a:lnTo>
                    <a:pt x="645" y="180"/>
                  </a:lnTo>
                  <a:lnTo>
                    <a:pt x="647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4" y="182"/>
                  </a:lnTo>
                  <a:lnTo>
                    <a:pt x="656" y="182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4"/>
                  </a:lnTo>
                  <a:lnTo>
                    <a:pt x="656" y="184"/>
                  </a:lnTo>
                  <a:lnTo>
                    <a:pt x="658" y="184"/>
                  </a:lnTo>
                  <a:lnTo>
                    <a:pt x="658" y="184"/>
                  </a:lnTo>
                  <a:lnTo>
                    <a:pt x="658" y="184"/>
                  </a:lnTo>
                  <a:lnTo>
                    <a:pt x="658" y="184"/>
                  </a:lnTo>
                  <a:lnTo>
                    <a:pt x="658" y="184"/>
                  </a:lnTo>
                  <a:lnTo>
                    <a:pt x="658" y="184"/>
                  </a:lnTo>
                  <a:lnTo>
                    <a:pt x="658" y="184"/>
                  </a:lnTo>
                  <a:lnTo>
                    <a:pt x="661" y="186"/>
                  </a:lnTo>
                  <a:lnTo>
                    <a:pt x="661" y="186"/>
                  </a:lnTo>
                  <a:lnTo>
                    <a:pt x="663" y="184"/>
                  </a:lnTo>
                  <a:lnTo>
                    <a:pt x="663" y="184"/>
                  </a:lnTo>
                  <a:lnTo>
                    <a:pt x="663" y="184"/>
                  </a:lnTo>
                  <a:lnTo>
                    <a:pt x="663" y="184"/>
                  </a:lnTo>
                  <a:lnTo>
                    <a:pt x="663" y="186"/>
                  </a:lnTo>
                  <a:lnTo>
                    <a:pt x="663" y="186"/>
                  </a:lnTo>
                  <a:lnTo>
                    <a:pt x="663" y="186"/>
                  </a:lnTo>
                  <a:lnTo>
                    <a:pt x="663" y="186"/>
                  </a:lnTo>
                  <a:lnTo>
                    <a:pt x="665" y="186"/>
                  </a:lnTo>
                  <a:lnTo>
                    <a:pt x="667" y="186"/>
                  </a:lnTo>
                  <a:lnTo>
                    <a:pt x="667" y="186"/>
                  </a:lnTo>
                  <a:lnTo>
                    <a:pt x="667" y="186"/>
                  </a:lnTo>
                  <a:lnTo>
                    <a:pt x="667" y="186"/>
                  </a:lnTo>
                  <a:lnTo>
                    <a:pt x="667" y="186"/>
                  </a:lnTo>
                  <a:lnTo>
                    <a:pt x="667" y="186"/>
                  </a:lnTo>
                  <a:lnTo>
                    <a:pt x="667" y="186"/>
                  </a:lnTo>
                  <a:lnTo>
                    <a:pt x="665" y="186"/>
                  </a:lnTo>
                  <a:lnTo>
                    <a:pt x="665" y="189"/>
                  </a:lnTo>
                  <a:lnTo>
                    <a:pt x="670" y="186"/>
                  </a:lnTo>
                  <a:lnTo>
                    <a:pt x="670" y="186"/>
                  </a:lnTo>
                  <a:lnTo>
                    <a:pt x="670" y="189"/>
                  </a:lnTo>
                  <a:lnTo>
                    <a:pt x="670" y="189"/>
                  </a:lnTo>
                  <a:lnTo>
                    <a:pt x="670" y="189"/>
                  </a:lnTo>
                  <a:lnTo>
                    <a:pt x="670" y="189"/>
                  </a:lnTo>
                  <a:lnTo>
                    <a:pt x="670" y="189"/>
                  </a:lnTo>
                  <a:lnTo>
                    <a:pt x="670" y="189"/>
                  </a:lnTo>
                  <a:lnTo>
                    <a:pt x="670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3" y="189"/>
                  </a:lnTo>
                  <a:lnTo>
                    <a:pt x="663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91"/>
                  </a:lnTo>
                  <a:lnTo>
                    <a:pt x="663" y="191"/>
                  </a:lnTo>
                  <a:lnTo>
                    <a:pt x="663" y="191"/>
                  </a:lnTo>
                  <a:lnTo>
                    <a:pt x="663" y="191"/>
                  </a:lnTo>
                  <a:lnTo>
                    <a:pt x="663" y="193"/>
                  </a:lnTo>
                  <a:lnTo>
                    <a:pt x="663" y="193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3"/>
                  </a:lnTo>
                  <a:lnTo>
                    <a:pt x="665" y="195"/>
                  </a:lnTo>
                  <a:lnTo>
                    <a:pt x="665" y="195"/>
                  </a:lnTo>
                  <a:lnTo>
                    <a:pt x="663" y="195"/>
                  </a:lnTo>
                  <a:lnTo>
                    <a:pt x="661" y="195"/>
                  </a:lnTo>
                  <a:lnTo>
                    <a:pt x="658" y="193"/>
                  </a:lnTo>
                  <a:lnTo>
                    <a:pt x="658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61" y="193"/>
                  </a:lnTo>
                  <a:lnTo>
                    <a:pt x="658" y="193"/>
                  </a:lnTo>
                  <a:lnTo>
                    <a:pt x="658" y="193"/>
                  </a:lnTo>
                  <a:lnTo>
                    <a:pt x="658" y="193"/>
                  </a:lnTo>
                  <a:lnTo>
                    <a:pt x="658" y="193"/>
                  </a:lnTo>
                  <a:lnTo>
                    <a:pt x="656" y="193"/>
                  </a:lnTo>
                  <a:lnTo>
                    <a:pt x="656" y="193"/>
                  </a:lnTo>
                  <a:lnTo>
                    <a:pt x="654" y="193"/>
                  </a:lnTo>
                  <a:lnTo>
                    <a:pt x="654" y="193"/>
                  </a:lnTo>
                  <a:lnTo>
                    <a:pt x="654" y="191"/>
                  </a:lnTo>
                  <a:lnTo>
                    <a:pt x="654" y="191"/>
                  </a:lnTo>
                  <a:lnTo>
                    <a:pt x="652" y="191"/>
                  </a:lnTo>
                  <a:lnTo>
                    <a:pt x="645" y="189"/>
                  </a:lnTo>
                  <a:lnTo>
                    <a:pt x="643" y="189"/>
                  </a:lnTo>
                  <a:lnTo>
                    <a:pt x="640" y="189"/>
                  </a:lnTo>
                  <a:lnTo>
                    <a:pt x="640" y="189"/>
                  </a:lnTo>
                  <a:lnTo>
                    <a:pt x="640" y="189"/>
                  </a:lnTo>
                  <a:lnTo>
                    <a:pt x="640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40" y="189"/>
                  </a:lnTo>
                  <a:lnTo>
                    <a:pt x="640" y="186"/>
                  </a:lnTo>
                  <a:lnTo>
                    <a:pt x="640" y="186"/>
                  </a:lnTo>
                  <a:lnTo>
                    <a:pt x="638" y="186"/>
                  </a:lnTo>
                  <a:lnTo>
                    <a:pt x="638" y="186"/>
                  </a:lnTo>
                  <a:lnTo>
                    <a:pt x="638" y="186"/>
                  </a:lnTo>
                  <a:lnTo>
                    <a:pt x="638" y="186"/>
                  </a:lnTo>
                  <a:lnTo>
                    <a:pt x="638" y="186"/>
                  </a:lnTo>
                  <a:lnTo>
                    <a:pt x="636" y="186"/>
                  </a:lnTo>
                  <a:lnTo>
                    <a:pt x="636" y="186"/>
                  </a:lnTo>
                  <a:lnTo>
                    <a:pt x="636" y="186"/>
                  </a:lnTo>
                  <a:lnTo>
                    <a:pt x="636" y="186"/>
                  </a:lnTo>
                  <a:lnTo>
                    <a:pt x="634" y="186"/>
                  </a:lnTo>
                  <a:lnTo>
                    <a:pt x="634" y="184"/>
                  </a:lnTo>
                  <a:lnTo>
                    <a:pt x="634" y="184"/>
                  </a:lnTo>
                  <a:lnTo>
                    <a:pt x="634" y="184"/>
                  </a:lnTo>
                  <a:lnTo>
                    <a:pt x="634" y="184"/>
                  </a:lnTo>
                  <a:lnTo>
                    <a:pt x="634" y="184"/>
                  </a:lnTo>
                  <a:lnTo>
                    <a:pt x="634" y="184"/>
                  </a:lnTo>
                  <a:lnTo>
                    <a:pt x="634" y="184"/>
                  </a:lnTo>
                  <a:lnTo>
                    <a:pt x="636" y="184"/>
                  </a:lnTo>
                  <a:lnTo>
                    <a:pt x="636" y="182"/>
                  </a:lnTo>
                  <a:lnTo>
                    <a:pt x="634" y="182"/>
                  </a:lnTo>
                  <a:lnTo>
                    <a:pt x="634" y="182"/>
                  </a:lnTo>
                  <a:lnTo>
                    <a:pt x="634" y="182"/>
                  </a:lnTo>
                  <a:lnTo>
                    <a:pt x="634" y="182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43" y="180"/>
                  </a:lnTo>
                  <a:close/>
                  <a:moveTo>
                    <a:pt x="629" y="180"/>
                  </a:moveTo>
                  <a:lnTo>
                    <a:pt x="629" y="180"/>
                  </a:lnTo>
                  <a:lnTo>
                    <a:pt x="629" y="180"/>
                  </a:lnTo>
                  <a:lnTo>
                    <a:pt x="629" y="180"/>
                  </a:lnTo>
                  <a:lnTo>
                    <a:pt x="629" y="182"/>
                  </a:lnTo>
                  <a:lnTo>
                    <a:pt x="629" y="182"/>
                  </a:lnTo>
                  <a:lnTo>
                    <a:pt x="629" y="182"/>
                  </a:lnTo>
                  <a:lnTo>
                    <a:pt x="627" y="182"/>
                  </a:lnTo>
                  <a:lnTo>
                    <a:pt x="627" y="182"/>
                  </a:lnTo>
                  <a:lnTo>
                    <a:pt x="627" y="182"/>
                  </a:lnTo>
                  <a:lnTo>
                    <a:pt x="625" y="182"/>
                  </a:lnTo>
                  <a:lnTo>
                    <a:pt x="622" y="182"/>
                  </a:lnTo>
                  <a:lnTo>
                    <a:pt x="622" y="180"/>
                  </a:lnTo>
                  <a:lnTo>
                    <a:pt x="622" y="182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7" y="180"/>
                  </a:lnTo>
                  <a:lnTo>
                    <a:pt x="627" y="180"/>
                  </a:lnTo>
                  <a:lnTo>
                    <a:pt x="627" y="180"/>
                  </a:lnTo>
                  <a:lnTo>
                    <a:pt x="627" y="180"/>
                  </a:lnTo>
                  <a:lnTo>
                    <a:pt x="629" y="180"/>
                  </a:lnTo>
                  <a:lnTo>
                    <a:pt x="629" y="180"/>
                  </a:lnTo>
                  <a:lnTo>
                    <a:pt x="631" y="180"/>
                  </a:lnTo>
                  <a:lnTo>
                    <a:pt x="631" y="180"/>
                  </a:lnTo>
                  <a:lnTo>
                    <a:pt x="629" y="180"/>
                  </a:lnTo>
                  <a:close/>
                  <a:moveTo>
                    <a:pt x="184" y="177"/>
                  </a:moveTo>
                  <a:lnTo>
                    <a:pt x="189" y="177"/>
                  </a:lnTo>
                  <a:lnTo>
                    <a:pt x="189" y="177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7" y="180"/>
                  </a:lnTo>
                  <a:lnTo>
                    <a:pt x="187" y="180"/>
                  </a:lnTo>
                  <a:lnTo>
                    <a:pt x="187" y="180"/>
                  </a:lnTo>
                  <a:lnTo>
                    <a:pt x="187" y="180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4" y="177"/>
                  </a:lnTo>
                  <a:lnTo>
                    <a:pt x="184" y="180"/>
                  </a:lnTo>
                  <a:lnTo>
                    <a:pt x="184" y="180"/>
                  </a:lnTo>
                  <a:lnTo>
                    <a:pt x="182" y="180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4" y="177"/>
                  </a:lnTo>
                  <a:close/>
                  <a:moveTo>
                    <a:pt x="654" y="177"/>
                  </a:moveTo>
                  <a:lnTo>
                    <a:pt x="658" y="177"/>
                  </a:lnTo>
                  <a:lnTo>
                    <a:pt x="658" y="177"/>
                  </a:lnTo>
                  <a:lnTo>
                    <a:pt x="661" y="177"/>
                  </a:lnTo>
                  <a:lnTo>
                    <a:pt x="661" y="177"/>
                  </a:lnTo>
                  <a:lnTo>
                    <a:pt x="667" y="177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2" y="180"/>
                  </a:lnTo>
                  <a:lnTo>
                    <a:pt x="670" y="180"/>
                  </a:lnTo>
                  <a:lnTo>
                    <a:pt x="670" y="180"/>
                  </a:lnTo>
                  <a:lnTo>
                    <a:pt x="672" y="180"/>
                  </a:lnTo>
                  <a:lnTo>
                    <a:pt x="670" y="182"/>
                  </a:lnTo>
                  <a:lnTo>
                    <a:pt x="670" y="180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67" y="182"/>
                  </a:lnTo>
                  <a:lnTo>
                    <a:pt x="667" y="182"/>
                  </a:lnTo>
                  <a:lnTo>
                    <a:pt x="667" y="182"/>
                  </a:lnTo>
                  <a:lnTo>
                    <a:pt x="667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0" y="182"/>
                  </a:lnTo>
                  <a:lnTo>
                    <a:pt x="672" y="182"/>
                  </a:lnTo>
                  <a:lnTo>
                    <a:pt x="672" y="182"/>
                  </a:lnTo>
                  <a:lnTo>
                    <a:pt x="672" y="182"/>
                  </a:lnTo>
                  <a:lnTo>
                    <a:pt x="672" y="182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2" y="184"/>
                  </a:lnTo>
                  <a:lnTo>
                    <a:pt x="670" y="184"/>
                  </a:lnTo>
                  <a:lnTo>
                    <a:pt x="670" y="184"/>
                  </a:lnTo>
                  <a:lnTo>
                    <a:pt x="670" y="184"/>
                  </a:lnTo>
                  <a:lnTo>
                    <a:pt x="670" y="184"/>
                  </a:lnTo>
                  <a:lnTo>
                    <a:pt x="670" y="184"/>
                  </a:lnTo>
                  <a:lnTo>
                    <a:pt x="670" y="184"/>
                  </a:lnTo>
                  <a:lnTo>
                    <a:pt x="670" y="184"/>
                  </a:lnTo>
                  <a:lnTo>
                    <a:pt x="667" y="184"/>
                  </a:lnTo>
                  <a:lnTo>
                    <a:pt x="667" y="184"/>
                  </a:lnTo>
                  <a:lnTo>
                    <a:pt x="667" y="184"/>
                  </a:lnTo>
                  <a:lnTo>
                    <a:pt x="667" y="184"/>
                  </a:lnTo>
                  <a:lnTo>
                    <a:pt x="665" y="184"/>
                  </a:lnTo>
                  <a:lnTo>
                    <a:pt x="661" y="184"/>
                  </a:lnTo>
                  <a:lnTo>
                    <a:pt x="661" y="184"/>
                  </a:lnTo>
                  <a:lnTo>
                    <a:pt x="658" y="184"/>
                  </a:lnTo>
                  <a:lnTo>
                    <a:pt x="661" y="184"/>
                  </a:lnTo>
                  <a:lnTo>
                    <a:pt x="661" y="182"/>
                  </a:lnTo>
                  <a:lnTo>
                    <a:pt x="661" y="182"/>
                  </a:lnTo>
                  <a:lnTo>
                    <a:pt x="661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8" y="182"/>
                  </a:lnTo>
                  <a:lnTo>
                    <a:pt x="654" y="180"/>
                  </a:lnTo>
                  <a:lnTo>
                    <a:pt x="652" y="180"/>
                  </a:lnTo>
                  <a:lnTo>
                    <a:pt x="652" y="180"/>
                  </a:lnTo>
                  <a:lnTo>
                    <a:pt x="649" y="180"/>
                  </a:lnTo>
                  <a:lnTo>
                    <a:pt x="649" y="180"/>
                  </a:lnTo>
                  <a:lnTo>
                    <a:pt x="647" y="180"/>
                  </a:lnTo>
                  <a:lnTo>
                    <a:pt x="645" y="180"/>
                  </a:lnTo>
                  <a:lnTo>
                    <a:pt x="645" y="180"/>
                  </a:lnTo>
                  <a:lnTo>
                    <a:pt x="634" y="180"/>
                  </a:lnTo>
                  <a:lnTo>
                    <a:pt x="634" y="180"/>
                  </a:lnTo>
                  <a:lnTo>
                    <a:pt x="634" y="180"/>
                  </a:lnTo>
                  <a:lnTo>
                    <a:pt x="634" y="180"/>
                  </a:lnTo>
                  <a:lnTo>
                    <a:pt x="634" y="177"/>
                  </a:lnTo>
                  <a:lnTo>
                    <a:pt x="634" y="177"/>
                  </a:lnTo>
                  <a:lnTo>
                    <a:pt x="645" y="177"/>
                  </a:lnTo>
                  <a:lnTo>
                    <a:pt x="647" y="177"/>
                  </a:lnTo>
                  <a:lnTo>
                    <a:pt x="649" y="177"/>
                  </a:lnTo>
                  <a:lnTo>
                    <a:pt x="654" y="177"/>
                  </a:lnTo>
                  <a:close/>
                  <a:moveTo>
                    <a:pt x="681" y="175"/>
                  </a:moveTo>
                  <a:lnTo>
                    <a:pt x="681" y="175"/>
                  </a:lnTo>
                  <a:lnTo>
                    <a:pt x="679" y="175"/>
                  </a:lnTo>
                  <a:lnTo>
                    <a:pt x="681" y="175"/>
                  </a:lnTo>
                  <a:lnTo>
                    <a:pt x="681" y="175"/>
                  </a:lnTo>
                  <a:lnTo>
                    <a:pt x="683" y="175"/>
                  </a:lnTo>
                  <a:lnTo>
                    <a:pt x="683" y="175"/>
                  </a:lnTo>
                  <a:lnTo>
                    <a:pt x="683" y="175"/>
                  </a:lnTo>
                  <a:lnTo>
                    <a:pt x="683" y="175"/>
                  </a:lnTo>
                  <a:lnTo>
                    <a:pt x="683" y="175"/>
                  </a:lnTo>
                  <a:lnTo>
                    <a:pt x="683" y="175"/>
                  </a:lnTo>
                  <a:lnTo>
                    <a:pt x="681" y="175"/>
                  </a:lnTo>
                  <a:close/>
                  <a:moveTo>
                    <a:pt x="638" y="171"/>
                  </a:moveTo>
                  <a:lnTo>
                    <a:pt x="654" y="173"/>
                  </a:lnTo>
                  <a:lnTo>
                    <a:pt x="654" y="173"/>
                  </a:lnTo>
                  <a:lnTo>
                    <a:pt x="654" y="173"/>
                  </a:lnTo>
                  <a:lnTo>
                    <a:pt x="629" y="171"/>
                  </a:lnTo>
                  <a:lnTo>
                    <a:pt x="629" y="171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29" y="173"/>
                  </a:lnTo>
                  <a:lnTo>
                    <a:pt x="631" y="173"/>
                  </a:lnTo>
                  <a:lnTo>
                    <a:pt x="631" y="173"/>
                  </a:lnTo>
                  <a:lnTo>
                    <a:pt x="631" y="173"/>
                  </a:lnTo>
                  <a:lnTo>
                    <a:pt x="636" y="173"/>
                  </a:lnTo>
                  <a:lnTo>
                    <a:pt x="638" y="173"/>
                  </a:lnTo>
                  <a:lnTo>
                    <a:pt x="638" y="173"/>
                  </a:lnTo>
                  <a:lnTo>
                    <a:pt x="645" y="173"/>
                  </a:lnTo>
                  <a:lnTo>
                    <a:pt x="647" y="173"/>
                  </a:lnTo>
                  <a:lnTo>
                    <a:pt x="647" y="175"/>
                  </a:lnTo>
                  <a:lnTo>
                    <a:pt x="656" y="175"/>
                  </a:lnTo>
                  <a:lnTo>
                    <a:pt x="658" y="175"/>
                  </a:lnTo>
                  <a:lnTo>
                    <a:pt x="658" y="175"/>
                  </a:lnTo>
                  <a:lnTo>
                    <a:pt x="658" y="175"/>
                  </a:lnTo>
                  <a:lnTo>
                    <a:pt x="658" y="175"/>
                  </a:lnTo>
                  <a:lnTo>
                    <a:pt x="658" y="175"/>
                  </a:lnTo>
                  <a:lnTo>
                    <a:pt x="658" y="175"/>
                  </a:lnTo>
                  <a:lnTo>
                    <a:pt x="636" y="177"/>
                  </a:lnTo>
                  <a:lnTo>
                    <a:pt x="634" y="177"/>
                  </a:lnTo>
                  <a:lnTo>
                    <a:pt x="634" y="177"/>
                  </a:lnTo>
                  <a:lnTo>
                    <a:pt x="634" y="177"/>
                  </a:lnTo>
                  <a:lnTo>
                    <a:pt x="631" y="177"/>
                  </a:lnTo>
                  <a:lnTo>
                    <a:pt x="631" y="177"/>
                  </a:lnTo>
                  <a:lnTo>
                    <a:pt x="629" y="177"/>
                  </a:lnTo>
                  <a:lnTo>
                    <a:pt x="627" y="175"/>
                  </a:lnTo>
                  <a:lnTo>
                    <a:pt x="622" y="175"/>
                  </a:lnTo>
                  <a:lnTo>
                    <a:pt x="620" y="175"/>
                  </a:lnTo>
                  <a:lnTo>
                    <a:pt x="618" y="175"/>
                  </a:lnTo>
                  <a:lnTo>
                    <a:pt x="618" y="175"/>
                  </a:lnTo>
                  <a:lnTo>
                    <a:pt x="618" y="175"/>
                  </a:lnTo>
                  <a:lnTo>
                    <a:pt x="618" y="175"/>
                  </a:lnTo>
                  <a:lnTo>
                    <a:pt x="618" y="175"/>
                  </a:lnTo>
                  <a:lnTo>
                    <a:pt x="618" y="173"/>
                  </a:lnTo>
                  <a:lnTo>
                    <a:pt x="618" y="173"/>
                  </a:lnTo>
                  <a:lnTo>
                    <a:pt x="618" y="173"/>
                  </a:lnTo>
                  <a:lnTo>
                    <a:pt x="620" y="173"/>
                  </a:lnTo>
                  <a:lnTo>
                    <a:pt x="620" y="173"/>
                  </a:lnTo>
                  <a:lnTo>
                    <a:pt x="620" y="173"/>
                  </a:lnTo>
                  <a:lnTo>
                    <a:pt x="620" y="173"/>
                  </a:lnTo>
                  <a:lnTo>
                    <a:pt x="620" y="173"/>
                  </a:lnTo>
                  <a:lnTo>
                    <a:pt x="622" y="173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7" y="171"/>
                  </a:lnTo>
                  <a:lnTo>
                    <a:pt x="638" y="171"/>
                  </a:lnTo>
                  <a:lnTo>
                    <a:pt x="638" y="171"/>
                  </a:lnTo>
                  <a:close/>
                  <a:moveTo>
                    <a:pt x="184" y="166"/>
                  </a:moveTo>
                  <a:lnTo>
                    <a:pt x="184" y="166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4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71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7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2" y="168"/>
                  </a:lnTo>
                  <a:lnTo>
                    <a:pt x="182" y="168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close/>
                  <a:moveTo>
                    <a:pt x="187" y="164"/>
                  </a:move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close/>
                  <a:moveTo>
                    <a:pt x="178" y="159"/>
                  </a:move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2"/>
                  </a:lnTo>
                  <a:lnTo>
                    <a:pt x="180" y="162"/>
                  </a:lnTo>
                  <a:lnTo>
                    <a:pt x="180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78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8" y="162"/>
                  </a:lnTo>
                  <a:lnTo>
                    <a:pt x="178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8" y="159"/>
                  </a:lnTo>
                  <a:lnTo>
                    <a:pt x="178" y="159"/>
                  </a:lnTo>
                  <a:close/>
                  <a:moveTo>
                    <a:pt x="692" y="150"/>
                  </a:moveTo>
                  <a:lnTo>
                    <a:pt x="692" y="150"/>
                  </a:lnTo>
                  <a:lnTo>
                    <a:pt x="694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699" y="153"/>
                  </a:lnTo>
                  <a:lnTo>
                    <a:pt x="701" y="155"/>
                  </a:lnTo>
                  <a:lnTo>
                    <a:pt x="701" y="155"/>
                  </a:lnTo>
                  <a:lnTo>
                    <a:pt x="701" y="155"/>
                  </a:lnTo>
                  <a:lnTo>
                    <a:pt x="701" y="155"/>
                  </a:lnTo>
                  <a:lnTo>
                    <a:pt x="701" y="155"/>
                  </a:lnTo>
                  <a:lnTo>
                    <a:pt x="703" y="155"/>
                  </a:lnTo>
                  <a:lnTo>
                    <a:pt x="703" y="155"/>
                  </a:lnTo>
                  <a:lnTo>
                    <a:pt x="703" y="155"/>
                  </a:lnTo>
                  <a:lnTo>
                    <a:pt x="703" y="155"/>
                  </a:lnTo>
                  <a:lnTo>
                    <a:pt x="694" y="157"/>
                  </a:lnTo>
                  <a:lnTo>
                    <a:pt x="692" y="157"/>
                  </a:lnTo>
                  <a:lnTo>
                    <a:pt x="690" y="157"/>
                  </a:lnTo>
                  <a:lnTo>
                    <a:pt x="685" y="157"/>
                  </a:lnTo>
                  <a:lnTo>
                    <a:pt x="685" y="157"/>
                  </a:lnTo>
                  <a:lnTo>
                    <a:pt x="685" y="157"/>
                  </a:lnTo>
                  <a:lnTo>
                    <a:pt x="676" y="155"/>
                  </a:lnTo>
                  <a:lnTo>
                    <a:pt x="676" y="155"/>
                  </a:lnTo>
                  <a:lnTo>
                    <a:pt x="676" y="155"/>
                  </a:lnTo>
                  <a:lnTo>
                    <a:pt x="676" y="153"/>
                  </a:lnTo>
                  <a:lnTo>
                    <a:pt x="676" y="153"/>
                  </a:lnTo>
                  <a:lnTo>
                    <a:pt x="676" y="153"/>
                  </a:lnTo>
                  <a:lnTo>
                    <a:pt x="676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88" y="150"/>
                  </a:lnTo>
                  <a:lnTo>
                    <a:pt x="692" y="150"/>
                  </a:lnTo>
                  <a:lnTo>
                    <a:pt x="692" y="150"/>
                  </a:lnTo>
                  <a:lnTo>
                    <a:pt x="692" y="150"/>
                  </a:lnTo>
                  <a:lnTo>
                    <a:pt x="692" y="150"/>
                  </a:lnTo>
                  <a:lnTo>
                    <a:pt x="692" y="150"/>
                  </a:lnTo>
                  <a:close/>
                  <a:moveTo>
                    <a:pt x="719" y="148"/>
                  </a:moveTo>
                  <a:lnTo>
                    <a:pt x="717" y="148"/>
                  </a:lnTo>
                  <a:lnTo>
                    <a:pt x="717" y="148"/>
                  </a:lnTo>
                  <a:lnTo>
                    <a:pt x="719" y="148"/>
                  </a:lnTo>
                  <a:close/>
                  <a:moveTo>
                    <a:pt x="187" y="150"/>
                  </a:moveTo>
                  <a:lnTo>
                    <a:pt x="187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78" y="150"/>
                  </a:lnTo>
                  <a:lnTo>
                    <a:pt x="175" y="150"/>
                  </a:lnTo>
                  <a:lnTo>
                    <a:pt x="171" y="150"/>
                  </a:lnTo>
                  <a:lnTo>
                    <a:pt x="171" y="150"/>
                  </a:lnTo>
                  <a:lnTo>
                    <a:pt x="171" y="150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50"/>
                  </a:lnTo>
                  <a:close/>
                  <a:moveTo>
                    <a:pt x="719" y="148"/>
                  </a:moveTo>
                  <a:lnTo>
                    <a:pt x="719" y="148"/>
                  </a:lnTo>
                  <a:lnTo>
                    <a:pt x="719" y="148"/>
                  </a:lnTo>
                  <a:lnTo>
                    <a:pt x="719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46"/>
                  </a:lnTo>
                  <a:lnTo>
                    <a:pt x="721" y="146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24" y="146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6"/>
                  </a:lnTo>
                  <a:lnTo>
                    <a:pt x="726" y="146"/>
                  </a:lnTo>
                  <a:lnTo>
                    <a:pt x="726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24" y="148"/>
                  </a:lnTo>
                  <a:lnTo>
                    <a:pt x="719" y="148"/>
                  </a:lnTo>
                  <a:lnTo>
                    <a:pt x="719" y="148"/>
                  </a:lnTo>
                  <a:close/>
                  <a:moveTo>
                    <a:pt x="728" y="146"/>
                  </a:moveTo>
                  <a:lnTo>
                    <a:pt x="728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30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lnTo>
                    <a:pt x="728" y="146"/>
                  </a:lnTo>
                  <a:close/>
                  <a:moveTo>
                    <a:pt x="706" y="141"/>
                  </a:move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10" y="141"/>
                  </a:lnTo>
                  <a:lnTo>
                    <a:pt x="710" y="141"/>
                  </a:lnTo>
                  <a:lnTo>
                    <a:pt x="712" y="141"/>
                  </a:lnTo>
                  <a:lnTo>
                    <a:pt x="712" y="141"/>
                  </a:lnTo>
                  <a:lnTo>
                    <a:pt x="712" y="144"/>
                  </a:lnTo>
                  <a:lnTo>
                    <a:pt x="710" y="144"/>
                  </a:lnTo>
                  <a:lnTo>
                    <a:pt x="710" y="144"/>
                  </a:lnTo>
                  <a:lnTo>
                    <a:pt x="708" y="144"/>
                  </a:lnTo>
                  <a:lnTo>
                    <a:pt x="708" y="144"/>
                  </a:lnTo>
                  <a:lnTo>
                    <a:pt x="706" y="146"/>
                  </a:lnTo>
                  <a:lnTo>
                    <a:pt x="706" y="146"/>
                  </a:lnTo>
                  <a:lnTo>
                    <a:pt x="706" y="146"/>
                  </a:lnTo>
                  <a:lnTo>
                    <a:pt x="703" y="146"/>
                  </a:lnTo>
                  <a:lnTo>
                    <a:pt x="703" y="146"/>
                  </a:lnTo>
                  <a:lnTo>
                    <a:pt x="701" y="146"/>
                  </a:lnTo>
                  <a:lnTo>
                    <a:pt x="699" y="144"/>
                  </a:lnTo>
                  <a:lnTo>
                    <a:pt x="697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1"/>
                  </a:lnTo>
                  <a:lnTo>
                    <a:pt x="699" y="141"/>
                  </a:lnTo>
                  <a:lnTo>
                    <a:pt x="699" y="141"/>
                  </a:lnTo>
                  <a:lnTo>
                    <a:pt x="701" y="141"/>
                  </a:lnTo>
                  <a:lnTo>
                    <a:pt x="701" y="141"/>
                  </a:lnTo>
                  <a:lnTo>
                    <a:pt x="699" y="141"/>
                  </a:lnTo>
                  <a:lnTo>
                    <a:pt x="699" y="141"/>
                  </a:lnTo>
                  <a:lnTo>
                    <a:pt x="699" y="139"/>
                  </a:lnTo>
                  <a:lnTo>
                    <a:pt x="701" y="139"/>
                  </a:lnTo>
                  <a:lnTo>
                    <a:pt x="701" y="139"/>
                  </a:lnTo>
                  <a:lnTo>
                    <a:pt x="703" y="139"/>
                  </a:lnTo>
                  <a:lnTo>
                    <a:pt x="706" y="139"/>
                  </a:lnTo>
                  <a:lnTo>
                    <a:pt x="708" y="139"/>
                  </a:lnTo>
                  <a:lnTo>
                    <a:pt x="708" y="139"/>
                  </a:lnTo>
                  <a:lnTo>
                    <a:pt x="708" y="139"/>
                  </a:lnTo>
                  <a:lnTo>
                    <a:pt x="708" y="139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1"/>
                  </a:lnTo>
                  <a:close/>
                  <a:moveTo>
                    <a:pt x="739" y="135"/>
                  </a:moveTo>
                  <a:lnTo>
                    <a:pt x="739" y="135"/>
                  </a:lnTo>
                  <a:lnTo>
                    <a:pt x="737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7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7"/>
                  </a:lnTo>
                  <a:lnTo>
                    <a:pt x="735" y="137"/>
                  </a:lnTo>
                  <a:lnTo>
                    <a:pt x="735" y="137"/>
                  </a:lnTo>
                  <a:lnTo>
                    <a:pt x="737" y="135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7" y="137"/>
                  </a:lnTo>
                  <a:lnTo>
                    <a:pt x="739" y="137"/>
                  </a:lnTo>
                  <a:lnTo>
                    <a:pt x="739" y="139"/>
                  </a:lnTo>
                  <a:lnTo>
                    <a:pt x="739" y="139"/>
                  </a:lnTo>
                  <a:lnTo>
                    <a:pt x="741" y="139"/>
                  </a:lnTo>
                  <a:lnTo>
                    <a:pt x="741" y="139"/>
                  </a:lnTo>
                  <a:lnTo>
                    <a:pt x="741" y="139"/>
                  </a:lnTo>
                  <a:lnTo>
                    <a:pt x="741" y="139"/>
                  </a:lnTo>
                  <a:lnTo>
                    <a:pt x="741" y="137"/>
                  </a:lnTo>
                  <a:lnTo>
                    <a:pt x="741" y="137"/>
                  </a:lnTo>
                  <a:lnTo>
                    <a:pt x="741" y="137"/>
                  </a:lnTo>
                  <a:lnTo>
                    <a:pt x="741" y="137"/>
                  </a:lnTo>
                  <a:lnTo>
                    <a:pt x="744" y="137"/>
                  </a:lnTo>
                  <a:lnTo>
                    <a:pt x="744" y="137"/>
                  </a:lnTo>
                  <a:lnTo>
                    <a:pt x="744" y="137"/>
                  </a:lnTo>
                  <a:lnTo>
                    <a:pt x="744" y="137"/>
                  </a:lnTo>
                  <a:lnTo>
                    <a:pt x="744" y="137"/>
                  </a:lnTo>
                  <a:lnTo>
                    <a:pt x="746" y="137"/>
                  </a:lnTo>
                  <a:lnTo>
                    <a:pt x="746" y="137"/>
                  </a:lnTo>
                  <a:lnTo>
                    <a:pt x="746" y="137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6" y="139"/>
                  </a:lnTo>
                  <a:lnTo>
                    <a:pt x="744" y="139"/>
                  </a:lnTo>
                  <a:lnTo>
                    <a:pt x="744" y="139"/>
                  </a:lnTo>
                  <a:lnTo>
                    <a:pt x="744" y="139"/>
                  </a:lnTo>
                  <a:lnTo>
                    <a:pt x="744" y="141"/>
                  </a:lnTo>
                  <a:lnTo>
                    <a:pt x="744" y="141"/>
                  </a:lnTo>
                  <a:lnTo>
                    <a:pt x="744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41"/>
                  </a:lnTo>
                  <a:lnTo>
                    <a:pt x="741" y="139"/>
                  </a:lnTo>
                  <a:lnTo>
                    <a:pt x="741" y="139"/>
                  </a:lnTo>
                  <a:lnTo>
                    <a:pt x="741" y="139"/>
                  </a:lnTo>
                  <a:lnTo>
                    <a:pt x="739" y="139"/>
                  </a:lnTo>
                  <a:lnTo>
                    <a:pt x="739" y="139"/>
                  </a:lnTo>
                  <a:lnTo>
                    <a:pt x="739" y="139"/>
                  </a:lnTo>
                  <a:lnTo>
                    <a:pt x="739" y="139"/>
                  </a:lnTo>
                  <a:lnTo>
                    <a:pt x="739" y="139"/>
                  </a:lnTo>
                  <a:lnTo>
                    <a:pt x="737" y="139"/>
                  </a:lnTo>
                  <a:lnTo>
                    <a:pt x="735" y="139"/>
                  </a:lnTo>
                  <a:lnTo>
                    <a:pt x="735" y="139"/>
                  </a:lnTo>
                  <a:lnTo>
                    <a:pt x="730" y="141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4" y="139"/>
                  </a:lnTo>
                  <a:lnTo>
                    <a:pt x="726" y="137"/>
                  </a:lnTo>
                  <a:lnTo>
                    <a:pt x="726" y="137"/>
                  </a:lnTo>
                  <a:lnTo>
                    <a:pt x="726" y="137"/>
                  </a:lnTo>
                  <a:lnTo>
                    <a:pt x="724" y="137"/>
                  </a:lnTo>
                  <a:lnTo>
                    <a:pt x="726" y="137"/>
                  </a:lnTo>
                  <a:lnTo>
                    <a:pt x="726" y="137"/>
                  </a:lnTo>
                  <a:lnTo>
                    <a:pt x="726" y="135"/>
                  </a:lnTo>
                  <a:lnTo>
                    <a:pt x="726" y="135"/>
                  </a:lnTo>
                  <a:lnTo>
                    <a:pt x="726" y="135"/>
                  </a:lnTo>
                  <a:lnTo>
                    <a:pt x="724" y="135"/>
                  </a:lnTo>
                  <a:lnTo>
                    <a:pt x="724" y="135"/>
                  </a:lnTo>
                  <a:lnTo>
                    <a:pt x="726" y="135"/>
                  </a:lnTo>
                  <a:lnTo>
                    <a:pt x="726" y="135"/>
                  </a:lnTo>
                  <a:lnTo>
                    <a:pt x="728" y="132"/>
                  </a:lnTo>
                  <a:lnTo>
                    <a:pt x="728" y="132"/>
                  </a:lnTo>
                  <a:lnTo>
                    <a:pt x="728" y="132"/>
                  </a:lnTo>
                  <a:lnTo>
                    <a:pt x="728" y="132"/>
                  </a:lnTo>
                  <a:lnTo>
                    <a:pt x="730" y="132"/>
                  </a:lnTo>
                  <a:lnTo>
                    <a:pt x="730" y="132"/>
                  </a:lnTo>
                  <a:lnTo>
                    <a:pt x="733" y="135"/>
                  </a:lnTo>
                  <a:lnTo>
                    <a:pt x="733" y="135"/>
                  </a:lnTo>
                  <a:lnTo>
                    <a:pt x="733" y="135"/>
                  </a:lnTo>
                  <a:lnTo>
                    <a:pt x="733" y="135"/>
                  </a:lnTo>
                  <a:lnTo>
                    <a:pt x="733" y="135"/>
                  </a:lnTo>
                  <a:lnTo>
                    <a:pt x="733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2"/>
                  </a:lnTo>
                  <a:lnTo>
                    <a:pt x="735" y="132"/>
                  </a:lnTo>
                  <a:lnTo>
                    <a:pt x="735" y="132"/>
                  </a:lnTo>
                  <a:lnTo>
                    <a:pt x="735" y="132"/>
                  </a:lnTo>
                  <a:lnTo>
                    <a:pt x="737" y="132"/>
                  </a:lnTo>
                  <a:lnTo>
                    <a:pt x="737" y="132"/>
                  </a:lnTo>
                  <a:lnTo>
                    <a:pt x="737" y="132"/>
                  </a:lnTo>
                  <a:lnTo>
                    <a:pt x="737" y="132"/>
                  </a:lnTo>
                  <a:lnTo>
                    <a:pt x="737" y="132"/>
                  </a:lnTo>
                  <a:lnTo>
                    <a:pt x="737" y="132"/>
                  </a:lnTo>
                  <a:lnTo>
                    <a:pt x="739" y="132"/>
                  </a:lnTo>
                  <a:lnTo>
                    <a:pt x="739" y="132"/>
                  </a:lnTo>
                  <a:lnTo>
                    <a:pt x="739" y="132"/>
                  </a:lnTo>
                  <a:lnTo>
                    <a:pt x="739" y="132"/>
                  </a:lnTo>
                  <a:lnTo>
                    <a:pt x="739" y="132"/>
                  </a:lnTo>
                  <a:lnTo>
                    <a:pt x="739" y="135"/>
                  </a:lnTo>
                  <a:lnTo>
                    <a:pt x="739" y="135"/>
                  </a:lnTo>
                  <a:lnTo>
                    <a:pt x="739" y="135"/>
                  </a:lnTo>
                  <a:lnTo>
                    <a:pt x="739" y="135"/>
                  </a:lnTo>
                  <a:close/>
                  <a:moveTo>
                    <a:pt x="29" y="112"/>
                  </a:moveTo>
                  <a:lnTo>
                    <a:pt x="27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5" y="112"/>
                  </a:lnTo>
                  <a:lnTo>
                    <a:pt x="29" y="110"/>
                  </a:lnTo>
                  <a:lnTo>
                    <a:pt x="32" y="110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9" y="112"/>
                  </a:lnTo>
                  <a:close/>
                  <a:moveTo>
                    <a:pt x="733" y="110"/>
                  </a:moveTo>
                  <a:lnTo>
                    <a:pt x="733" y="110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4"/>
                  </a:lnTo>
                  <a:lnTo>
                    <a:pt x="733" y="114"/>
                  </a:lnTo>
                  <a:lnTo>
                    <a:pt x="733" y="114"/>
                  </a:lnTo>
                  <a:lnTo>
                    <a:pt x="733" y="114"/>
                  </a:lnTo>
                  <a:lnTo>
                    <a:pt x="733" y="114"/>
                  </a:lnTo>
                  <a:lnTo>
                    <a:pt x="733" y="117"/>
                  </a:lnTo>
                  <a:lnTo>
                    <a:pt x="733" y="117"/>
                  </a:lnTo>
                  <a:lnTo>
                    <a:pt x="733" y="117"/>
                  </a:lnTo>
                  <a:lnTo>
                    <a:pt x="733" y="117"/>
                  </a:lnTo>
                  <a:lnTo>
                    <a:pt x="733" y="117"/>
                  </a:lnTo>
                  <a:lnTo>
                    <a:pt x="733" y="117"/>
                  </a:lnTo>
                  <a:lnTo>
                    <a:pt x="733" y="119"/>
                  </a:lnTo>
                  <a:lnTo>
                    <a:pt x="733" y="119"/>
                  </a:lnTo>
                  <a:lnTo>
                    <a:pt x="733" y="119"/>
                  </a:lnTo>
                  <a:lnTo>
                    <a:pt x="733" y="119"/>
                  </a:lnTo>
                  <a:lnTo>
                    <a:pt x="733" y="119"/>
                  </a:lnTo>
                  <a:lnTo>
                    <a:pt x="733" y="119"/>
                  </a:lnTo>
                  <a:lnTo>
                    <a:pt x="733" y="119"/>
                  </a:lnTo>
                  <a:lnTo>
                    <a:pt x="733" y="121"/>
                  </a:lnTo>
                  <a:lnTo>
                    <a:pt x="733" y="121"/>
                  </a:lnTo>
                  <a:lnTo>
                    <a:pt x="733" y="121"/>
                  </a:lnTo>
                  <a:lnTo>
                    <a:pt x="733" y="121"/>
                  </a:lnTo>
                  <a:lnTo>
                    <a:pt x="733" y="121"/>
                  </a:lnTo>
                  <a:lnTo>
                    <a:pt x="733" y="121"/>
                  </a:lnTo>
                  <a:lnTo>
                    <a:pt x="733" y="121"/>
                  </a:lnTo>
                  <a:lnTo>
                    <a:pt x="733" y="123"/>
                  </a:lnTo>
                  <a:lnTo>
                    <a:pt x="733" y="123"/>
                  </a:lnTo>
                  <a:lnTo>
                    <a:pt x="733" y="123"/>
                  </a:lnTo>
                  <a:lnTo>
                    <a:pt x="733" y="123"/>
                  </a:lnTo>
                  <a:lnTo>
                    <a:pt x="730" y="123"/>
                  </a:lnTo>
                  <a:lnTo>
                    <a:pt x="730" y="123"/>
                  </a:lnTo>
                  <a:lnTo>
                    <a:pt x="730" y="123"/>
                  </a:lnTo>
                  <a:lnTo>
                    <a:pt x="730" y="123"/>
                  </a:lnTo>
                  <a:lnTo>
                    <a:pt x="730" y="123"/>
                  </a:lnTo>
                  <a:lnTo>
                    <a:pt x="730" y="123"/>
                  </a:lnTo>
                  <a:lnTo>
                    <a:pt x="730" y="121"/>
                  </a:lnTo>
                  <a:lnTo>
                    <a:pt x="728" y="119"/>
                  </a:lnTo>
                  <a:lnTo>
                    <a:pt x="728" y="117"/>
                  </a:lnTo>
                  <a:lnTo>
                    <a:pt x="728" y="117"/>
                  </a:lnTo>
                  <a:lnTo>
                    <a:pt x="728" y="117"/>
                  </a:lnTo>
                  <a:lnTo>
                    <a:pt x="728" y="117"/>
                  </a:lnTo>
                  <a:lnTo>
                    <a:pt x="728" y="117"/>
                  </a:lnTo>
                  <a:lnTo>
                    <a:pt x="726" y="112"/>
                  </a:lnTo>
                  <a:lnTo>
                    <a:pt x="726" y="112"/>
                  </a:lnTo>
                  <a:lnTo>
                    <a:pt x="726" y="112"/>
                  </a:lnTo>
                  <a:lnTo>
                    <a:pt x="728" y="112"/>
                  </a:lnTo>
                  <a:lnTo>
                    <a:pt x="728" y="112"/>
                  </a:lnTo>
                  <a:lnTo>
                    <a:pt x="728" y="112"/>
                  </a:lnTo>
                  <a:lnTo>
                    <a:pt x="730" y="112"/>
                  </a:lnTo>
                  <a:lnTo>
                    <a:pt x="733" y="112"/>
                  </a:lnTo>
                  <a:lnTo>
                    <a:pt x="733" y="112"/>
                  </a:lnTo>
                  <a:lnTo>
                    <a:pt x="733" y="110"/>
                  </a:lnTo>
                  <a:lnTo>
                    <a:pt x="733" y="110"/>
                  </a:lnTo>
                  <a:lnTo>
                    <a:pt x="730" y="110"/>
                  </a:lnTo>
                  <a:lnTo>
                    <a:pt x="733" y="110"/>
                  </a:lnTo>
                  <a:lnTo>
                    <a:pt x="733" y="110"/>
                  </a:lnTo>
                  <a:lnTo>
                    <a:pt x="733" y="110"/>
                  </a:lnTo>
                  <a:lnTo>
                    <a:pt x="730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10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3" y="110"/>
                  </a:lnTo>
                  <a:lnTo>
                    <a:pt x="733" y="110"/>
                  </a:lnTo>
                  <a:lnTo>
                    <a:pt x="733" y="110"/>
                  </a:lnTo>
                  <a:lnTo>
                    <a:pt x="733" y="110"/>
                  </a:lnTo>
                  <a:close/>
                  <a:moveTo>
                    <a:pt x="18" y="105"/>
                  </a:moveTo>
                  <a:lnTo>
                    <a:pt x="18" y="105"/>
                  </a:lnTo>
                  <a:lnTo>
                    <a:pt x="18" y="105"/>
                  </a:lnTo>
                  <a:lnTo>
                    <a:pt x="18" y="105"/>
                  </a:lnTo>
                  <a:close/>
                  <a:moveTo>
                    <a:pt x="59" y="101"/>
                  </a:moveTo>
                  <a:lnTo>
                    <a:pt x="59" y="101"/>
                  </a:lnTo>
                  <a:lnTo>
                    <a:pt x="59" y="101"/>
                  </a:lnTo>
                  <a:lnTo>
                    <a:pt x="59" y="101"/>
                  </a:lnTo>
                  <a:close/>
                  <a:moveTo>
                    <a:pt x="38" y="101"/>
                  </a:move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close/>
                  <a:moveTo>
                    <a:pt x="70" y="96"/>
                  </a:moveTo>
                  <a:lnTo>
                    <a:pt x="70" y="96"/>
                  </a:lnTo>
                  <a:lnTo>
                    <a:pt x="72" y="96"/>
                  </a:lnTo>
                  <a:lnTo>
                    <a:pt x="70" y="96"/>
                  </a:lnTo>
                  <a:close/>
                  <a:moveTo>
                    <a:pt x="47" y="96"/>
                  </a:moveTo>
                  <a:lnTo>
                    <a:pt x="47" y="96"/>
                  </a:lnTo>
                  <a:lnTo>
                    <a:pt x="47" y="96"/>
                  </a:lnTo>
                  <a:lnTo>
                    <a:pt x="47" y="96"/>
                  </a:lnTo>
                  <a:close/>
                  <a:moveTo>
                    <a:pt x="7" y="96"/>
                  </a:moveTo>
                  <a:lnTo>
                    <a:pt x="7" y="96"/>
                  </a:lnTo>
                  <a:lnTo>
                    <a:pt x="7" y="96"/>
                  </a:lnTo>
                  <a:lnTo>
                    <a:pt x="11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5" y="96"/>
                  </a:lnTo>
                  <a:lnTo>
                    <a:pt x="5" y="99"/>
                  </a:lnTo>
                  <a:lnTo>
                    <a:pt x="2" y="96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5" y="96"/>
                  </a:lnTo>
                  <a:lnTo>
                    <a:pt x="5" y="96"/>
                  </a:lnTo>
                  <a:lnTo>
                    <a:pt x="5" y="96"/>
                  </a:lnTo>
                  <a:lnTo>
                    <a:pt x="5" y="96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7" y="96"/>
                  </a:lnTo>
                  <a:close/>
                  <a:moveTo>
                    <a:pt x="25" y="96"/>
                  </a:moveTo>
                  <a:lnTo>
                    <a:pt x="32" y="96"/>
                  </a:lnTo>
                  <a:lnTo>
                    <a:pt x="34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8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5" y="96"/>
                  </a:lnTo>
                  <a:close/>
                  <a:moveTo>
                    <a:pt x="748" y="92"/>
                  </a:moveTo>
                  <a:lnTo>
                    <a:pt x="746" y="92"/>
                  </a:lnTo>
                  <a:lnTo>
                    <a:pt x="744" y="92"/>
                  </a:lnTo>
                  <a:lnTo>
                    <a:pt x="744" y="92"/>
                  </a:lnTo>
                  <a:lnTo>
                    <a:pt x="744" y="92"/>
                  </a:lnTo>
                  <a:lnTo>
                    <a:pt x="744" y="92"/>
                  </a:lnTo>
                  <a:lnTo>
                    <a:pt x="746" y="90"/>
                  </a:lnTo>
                  <a:lnTo>
                    <a:pt x="748" y="90"/>
                  </a:lnTo>
                  <a:lnTo>
                    <a:pt x="748" y="90"/>
                  </a:lnTo>
                  <a:lnTo>
                    <a:pt x="748" y="90"/>
                  </a:lnTo>
                  <a:lnTo>
                    <a:pt x="748" y="90"/>
                  </a:lnTo>
                  <a:lnTo>
                    <a:pt x="748" y="90"/>
                  </a:lnTo>
                  <a:lnTo>
                    <a:pt x="748" y="87"/>
                  </a:lnTo>
                  <a:lnTo>
                    <a:pt x="750" y="87"/>
                  </a:lnTo>
                  <a:lnTo>
                    <a:pt x="750" y="87"/>
                  </a:lnTo>
                  <a:lnTo>
                    <a:pt x="750" y="87"/>
                  </a:lnTo>
                  <a:lnTo>
                    <a:pt x="753" y="90"/>
                  </a:lnTo>
                  <a:lnTo>
                    <a:pt x="753" y="90"/>
                  </a:lnTo>
                  <a:lnTo>
                    <a:pt x="753" y="90"/>
                  </a:lnTo>
                  <a:lnTo>
                    <a:pt x="750" y="90"/>
                  </a:lnTo>
                  <a:lnTo>
                    <a:pt x="750" y="92"/>
                  </a:lnTo>
                  <a:lnTo>
                    <a:pt x="750" y="92"/>
                  </a:lnTo>
                  <a:lnTo>
                    <a:pt x="750" y="92"/>
                  </a:lnTo>
                  <a:lnTo>
                    <a:pt x="748" y="92"/>
                  </a:lnTo>
                  <a:lnTo>
                    <a:pt x="748" y="92"/>
                  </a:lnTo>
                  <a:close/>
                  <a:moveTo>
                    <a:pt x="703" y="87"/>
                  </a:moveTo>
                  <a:lnTo>
                    <a:pt x="701" y="90"/>
                  </a:lnTo>
                  <a:lnTo>
                    <a:pt x="701" y="90"/>
                  </a:lnTo>
                  <a:lnTo>
                    <a:pt x="701" y="90"/>
                  </a:lnTo>
                  <a:lnTo>
                    <a:pt x="701" y="87"/>
                  </a:lnTo>
                  <a:lnTo>
                    <a:pt x="701" y="87"/>
                  </a:lnTo>
                  <a:lnTo>
                    <a:pt x="701" y="87"/>
                  </a:lnTo>
                  <a:lnTo>
                    <a:pt x="701" y="87"/>
                  </a:lnTo>
                  <a:lnTo>
                    <a:pt x="701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6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3" y="87"/>
                  </a:lnTo>
                  <a:lnTo>
                    <a:pt x="703" y="87"/>
                  </a:lnTo>
                  <a:close/>
                  <a:moveTo>
                    <a:pt x="721" y="87"/>
                  </a:moveTo>
                  <a:lnTo>
                    <a:pt x="721" y="87"/>
                  </a:lnTo>
                  <a:lnTo>
                    <a:pt x="721" y="87"/>
                  </a:lnTo>
                  <a:lnTo>
                    <a:pt x="721" y="87"/>
                  </a:lnTo>
                  <a:lnTo>
                    <a:pt x="724" y="87"/>
                  </a:lnTo>
                  <a:lnTo>
                    <a:pt x="728" y="87"/>
                  </a:lnTo>
                  <a:lnTo>
                    <a:pt x="730" y="87"/>
                  </a:lnTo>
                  <a:lnTo>
                    <a:pt x="730" y="87"/>
                  </a:lnTo>
                  <a:lnTo>
                    <a:pt x="730" y="90"/>
                  </a:lnTo>
                  <a:lnTo>
                    <a:pt x="730" y="90"/>
                  </a:lnTo>
                  <a:lnTo>
                    <a:pt x="730" y="90"/>
                  </a:lnTo>
                  <a:lnTo>
                    <a:pt x="730" y="90"/>
                  </a:lnTo>
                  <a:lnTo>
                    <a:pt x="730" y="90"/>
                  </a:lnTo>
                  <a:lnTo>
                    <a:pt x="715" y="87"/>
                  </a:lnTo>
                  <a:lnTo>
                    <a:pt x="715" y="87"/>
                  </a:lnTo>
                  <a:lnTo>
                    <a:pt x="715" y="87"/>
                  </a:lnTo>
                  <a:lnTo>
                    <a:pt x="715" y="87"/>
                  </a:lnTo>
                  <a:lnTo>
                    <a:pt x="717" y="87"/>
                  </a:lnTo>
                  <a:lnTo>
                    <a:pt x="719" y="87"/>
                  </a:lnTo>
                  <a:lnTo>
                    <a:pt x="719" y="87"/>
                  </a:lnTo>
                  <a:lnTo>
                    <a:pt x="719" y="87"/>
                  </a:lnTo>
                  <a:lnTo>
                    <a:pt x="721" y="87"/>
                  </a:lnTo>
                  <a:lnTo>
                    <a:pt x="721" y="85"/>
                  </a:lnTo>
                  <a:lnTo>
                    <a:pt x="721" y="87"/>
                  </a:lnTo>
                  <a:lnTo>
                    <a:pt x="721" y="87"/>
                  </a:lnTo>
                  <a:close/>
                  <a:moveTo>
                    <a:pt x="737" y="85"/>
                  </a:moveTo>
                  <a:lnTo>
                    <a:pt x="737" y="85"/>
                  </a:lnTo>
                  <a:lnTo>
                    <a:pt x="735" y="85"/>
                  </a:lnTo>
                  <a:lnTo>
                    <a:pt x="735" y="85"/>
                  </a:lnTo>
                  <a:lnTo>
                    <a:pt x="735" y="85"/>
                  </a:lnTo>
                  <a:lnTo>
                    <a:pt x="735" y="85"/>
                  </a:lnTo>
                  <a:lnTo>
                    <a:pt x="735" y="85"/>
                  </a:lnTo>
                  <a:lnTo>
                    <a:pt x="733" y="87"/>
                  </a:lnTo>
                  <a:lnTo>
                    <a:pt x="733" y="87"/>
                  </a:lnTo>
                  <a:lnTo>
                    <a:pt x="733" y="87"/>
                  </a:lnTo>
                  <a:lnTo>
                    <a:pt x="730" y="87"/>
                  </a:lnTo>
                  <a:lnTo>
                    <a:pt x="730" y="87"/>
                  </a:lnTo>
                  <a:lnTo>
                    <a:pt x="730" y="87"/>
                  </a:lnTo>
                  <a:lnTo>
                    <a:pt x="730" y="87"/>
                  </a:lnTo>
                  <a:lnTo>
                    <a:pt x="733" y="87"/>
                  </a:lnTo>
                  <a:lnTo>
                    <a:pt x="733" y="87"/>
                  </a:lnTo>
                  <a:lnTo>
                    <a:pt x="733" y="87"/>
                  </a:lnTo>
                  <a:lnTo>
                    <a:pt x="733" y="85"/>
                  </a:lnTo>
                  <a:lnTo>
                    <a:pt x="733" y="85"/>
                  </a:lnTo>
                  <a:lnTo>
                    <a:pt x="733" y="85"/>
                  </a:lnTo>
                  <a:lnTo>
                    <a:pt x="733" y="85"/>
                  </a:lnTo>
                  <a:lnTo>
                    <a:pt x="733" y="85"/>
                  </a:lnTo>
                  <a:lnTo>
                    <a:pt x="730" y="85"/>
                  </a:lnTo>
                  <a:lnTo>
                    <a:pt x="730" y="83"/>
                  </a:lnTo>
                  <a:lnTo>
                    <a:pt x="730" y="83"/>
                  </a:lnTo>
                  <a:lnTo>
                    <a:pt x="733" y="85"/>
                  </a:lnTo>
                  <a:lnTo>
                    <a:pt x="733" y="85"/>
                  </a:lnTo>
                  <a:lnTo>
                    <a:pt x="733" y="85"/>
                  </a:lnTo>
                  <a:lnTo>
                    <a:pt x="735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5"/>
                  </a:lnTo>
                  <a:close/>
                  <a:moveTo>
                    <a:pt x="717" y="83"/>
                  </a:moveTo>
                  <a:lnTo>
                    <a:pt x="715" y="85"/>
                  </a:lnTo>
                  <a:lnTo>
                    <a:pt x="712" y="83"/>
                  </a:lnTo>
                  <a:lnTo>
                    <a:pt x="710" y="83"/>
                  </a:lnTo>
                  <a:lnTo>
                    <a:pt x="710" y="83"/>
                  </a:lnTo>
                  <a:lnTo>
                    <a:pt x="712" y="83"/>
                  </a:lnTo>
                  <a:lnTo>
                    <a:pt x="712" y="83"/>
                  </a:lnTo>
                  <a:lnTo>
                    <a:pt x="715" y="83"/>
                  </a:lnTo>
                  <a:lnTo>
                    <a:pt x="715" y="83"/>
                  </a:lnTo>
                  <a:lnTo>
                    <a:pt x="715" y="83"/>
                  </a:lnTo>
                  <a:lnTo>
                    <a:pt x="717" y="83"/>
                  </a:lnTo>
                  <a:lnTo>
                    <a:pt x="717" y="83"/>
                  </a:lnTo>
                  <a:lnTo>
                    <a:pt x="717" y="83"/>
                  </a:lnTo>
                  <a:lnTo>
                    <a:pt x="717" y="83"/>
                  </a:lnTo>
                  <a:lnTo>
                    <a:pt x="717" y="83"/>
                  </a:lnTo>
                  <a:lnTo>
                    <a:pt x="717" y="83"/>
                  </a:lnTo>
                  <a:lnTo>
                    <a:pt x="717" y="83"/>
                  </a:lnTo>
                  <a:close/>
                  <a:moveTo>
                    <a:pt x="730" y="83"/>
                  </a:moveTo>
                  <a:lnTo>
                    <a:pt x="728" y="83"/>
                  </a:lnTo>
                  <a:lnTo>
                    <a:pt x="728" y="83"/>
                  </a:lnTo>
                  <a:lnTo>
                    <a:pt x="728" y="83"/>
                  </a:lnTo>
                  <a:lnTo>
                    <a:pt x="728" y="83"/>
                  </a:lnTo>
                  <a:lnTo>
                    <a:pt x="728" y="83"/>
                  </a:lnTo>
                  <a:lnTo>
                    <a:pt x="726" y="83"/>
                  </a:lnTo>
                  <a:lnTo>
                    <a:pt x="726" y="81"/>
                  </a:lnTo>
                  <a:lnTo>
                    <a:pt x="726" y="81"/>
                  </a:lnTo>
                  <a:lnTo>
                    <a:pt x="726" y="81"/>
                  </a:lnTo>
                  <a:lnTo>
                    <a:pt x="726" y="81"/>
                  </a:lnTo>
                  <a:lnTo>
                    <a:pt x="728" y="81"/>
                  </a:lnTo>
                  <a:lnTo>
                    <a:pt x="728" y="81"/>
                  </a:lnTo>
                  <a:lnTo>
                    <a:pt x="728" y="81"/>
                  </a:lnTo>
                  <a:lnTo>
                    <a:pt x="728" y="81"/>
                  </a:lnTo>
                  <a:lnTo>
                    <a:pt x="730" y="81"/>
                  </a:lnTo>
                  <a:lnTo>
                    <a:pt x="730" y="81"/>
                  </a:lnTo>
                  <a:lnTo>
                    <a:pt x="730" y="81"/>
                  </a:lnTo>
                  <a:lnTo>
                    <a:pt x="730" y="83"/>
                  </a:lnTo>
                  <a:lnTo>
                    <a:pt x="730" y="83"/>
                  </a:lnTo>
                  <a:lnTo>
                    <a:pt x="730" y="83"/>
                  </a:lnTo>
                  <a:lnTo>
                    <a:pt x="730" y="83"/>
                  </a:lnTo>
                  <a:lnTo>
                    <a:pt x="730" y="83"/>
                  </a:lnTo>
                  <a:close/>
                  <a:moveTo>
                    <a:pt x="737" y="81"/>
                  </a:moveTo>
                  <a:lnTo>
                    <a:pt x="737" y="81"/>
                  </a:lnTo>
                  <a:lnTo>
                    <a:pt x="735" y="81"/>
                  </a:lnTo>
                  <a:lnTo>
                    <a:pt x="735" y="81"/>
                  </a:lnTo>
                  <a:lnTo>
                    <a:pt x="735" y="81"/>
                  </a:lnTo>
                  <a:lnTo>
                    <a:pt x="735" y="81"/>
                  </a:lnTo>
                  <a:lnTo>
                    <a:pt x="735" y="81"/>
                  </a:lnTo>
                  <a:lnTo>
                    <a:pt x="735" y="81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5" y="83"/>
                  </a:lnTo>
                  <a:lnTo>
                    <a:pt x="735" y="83"/>
                  </a:lnTo>
                  <a:lnTo>
                    <a:pt x="735" y="83"/>
                  </a:lnTo>
                  <a:lnTo>
                    <a:pt x="735" y="83"/>
                  </a:lnTo>
                  <a:lnTo>
                    <a:pt x="733" y="83"/>
                  </a:lnTo>
                  <a:lnTo>
                    <a:pt x="733" y="83"/>
                  </a:lnTo>
                  <a:lnTo>
                    <a:pt x="733" y="83"/>
                  </a:lnTo>
                  <a:lnTo>
                    <a:pt x="733" y="81"/>
                  </a:lnTo>
                  <a:lnTo>
                    <a:pt x="733" y="81"/>
                  </a:lnTo>
                  <a:lnTo>
                    <a:pt x="733" y="81"/>
                  </a:lnTo>
                  <a:lnTo>
                    <a:pt x="733" y="81"/>
                  </a:lnTo>
                  <a:lnTo>
                    <a:pt x="733" y="81"/>
                  </a:lnTo>
                  <a:lnTo>
                    <a:pt x="733" y="81"/>
                  </a:lnTo>
                  <a:lnTo>
                    <a:pt x="733" y="81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lnTo>
                    <a:pt x="737" y="81"/>
                  </a:lnTo>
                  <a:close/>
                  <a:moveTo>
                    <a:pt x="744" y="76"/>
                  </a:moveTo>
                  <a:lnTo>
                    <a:pt x="741" y="76"/>
                  </a:lnTo>
                  <a:lnTo>
                    <a:pt x="741" y="76"/>
                  </a:lnTo>
                  <a:lnTo>
                    <a:pt x="741" y="76"/>
                  </a:lnTo>
                  <a:lnTo>
                    <a:pt x="741" y="76"/>
                  </a:lnTo>
                  <a:lnTo>
                    <a:pt x="741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6" y="76"/>
                  </a:lnTo>
                  <a:lnTo>
                    <a:pt x="746" y="76"/>
                  </a:lnTo>
                  <a:lnTo>
                    <a:pt x="748" y="76"/>
                  </a:lnTo>
                  <a:lnTo>
                    <a:pt x="748" y="76"/>
                  </a:lnTo>
                  <a:lnTo>
                    <a:pt x="746" y="76"/>
                  </a:lnTo>
                  <a:lnTo>
                    <a:pt x="746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close/>
                  <a:moveTo>
                    <a:pt x="748" y="74"/>
                  </a:moveTo>
                  <a:lnTo>
                    <a:pt x="748" y="74"/>
                  </a:lnTo>
                  <a:lnTo>
                    <a:pt x="748" y="74"/>
                  </a:lnTo>
                  <a:lnTo>
                    <a:pt x="748" y="74"/>
                  </a:lnTo>
                  <a:lnTo>
                    <a:pt x="748" y="74"/>
                  </a:lnTo>
                  <a:lnTo>
                    <a:pt x="748" y="74"/>
                  </a:lnTo>
                  <a:lnTo>
                    <a:pt x="748" y="74"/>
                  </a:lnTo>
                  <a:lnTo>
                    <a:pt x="748" y="74"/>
                  </a:lnTo>
                  <a:lnTo>
                    <a:pt x="748" y="74"/>
                  </a:lnTo>
                  <a:lnTo>
                    <a:pt x="748" y="72"/>
                  </a:lnTo>
                  <a:lnTo>
                    <a:pt x="748" y="72"/>
                  </a:lnTo>
                  <a:lnTo>
                    <a:pt x="748" y="72"/>
                  </a:lnTo>
                  <a:lnTo>
                    <a:pt x="750" y="72"/>
                  </a:lnTo>
                  <a:lnTo>
                    <a:pt x="750" y="72"/>
                  </a:lnTo>
                  <a:lnTo>
                    <a:pt x="750" y="72"/>
                  </a:lnTo>
                  <a:lnTo>
                    <a:pt x="750" y="72"/>
                  </a:lnTo>
                  <a:lnTo>
                    <a:pt x="750" y="74"/>
                  </a:lnTo>
                  <a:lnTo>
                    <a:pt x="750" y="74"/>
                  </a:lnTo>
                  <a:lnTo>
                    <a:pt x="748" y="74"/>
                  </a:lnTo>
                  <a:close/>
                  <a:moveTo>
                    <a:pt x="737" y="72"/>
                  </a:move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5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7" y="74"/>
                  </a:lnTo>
                  <a:lnTo>
                    <a:pt x="737" y="74"/>
                  </a:lnTo>
                  <a:lnTo>
                    <a:pt x="737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5" y="74"/>
                  </a:lnTo>
                  <a:lnTo>
                    <a:pt x="733" y="74"/>
                  </a:lnTo>
                  <a:lnTo>
                    <a:pt x="733" y="74"/>
                  </a:lnTo>
                  <a:lnTo>
                    <a:pt x="730" y="74"/>
                  </a:lnTo>
                  <a:lnTo>
                    <a:pt x="730" y="74"/>
                  </a:lnTo>
                  <a:lnTo>
                    <a:pt x="730" y="74"/>
                  </a:lnTo>
                  <a:lnTo>
                    <a:pt x="730" y="74"/>
                  </a:lnTo>
                  <a:lnTo>
                    <a:pt x="730" y="72"/>
                  </a:lnTo>
                  <a:lnTo>
                    <a:pt x="737" y="69"/>
                  </a:lnTo>
                  <a:lnTo>
                    <a:pt x="737" y="69"/>
                  </a:lnTo>
                  <a:lnTo>
                    <a:pt x="737" y="69"/>
                  </a:lnTo>
                  <a:lnTo>
                    <a:pt x="737" y="69"/>
                  </a:lnTo>
                  <a:lnTo>
                    <a:pt x="737" y="69"/>
                  </a:lnTo>
                  <a:lnTo>
                    <a:pt x="737" y="69"/>
                  </a:lnTo>
                  <a:lnTo>
                    <a:pt x="737" y="69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lnTo>
                    <a:pt x="737" y="72"/>
                  </a:lnTo>
                  <a:close/>
                  <a:moveTo>
                    <a:pt x="759" y="67"/>
                  </a:moveTo>
                  <a:lnTo>
                    <a:pt x="759" y="67"/>
                  </a:lnTo>
                  <a:lnTo>
                    <a:pt x="759" y="67"/>
                  </a:lnTo>
                  <a:lnTo>
                    <a:pt x="759" y="67"/>
                  </a:lnTo>
                  <a:lnTo>
                    <a:pt x="757" y="69"/>
                  </a:lnTo>
                  <a:lnTo>
                    <a:pt x="757" y="69"/>
                  </a:lnTo>
                  <a:lnTo>
                    <a:pt x="757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5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9"/>
                  </a:lnTo>
                  <a:lnTo>
                    <a:pt x="753" y="67"/>
                  </a:lnTo>
                  <a:lnTo>
                    <a:pt x="755" y="67"/>
                  </a:lnTo>
                  <a:lnTo>
                    <a:pt x="755" y="67"/>
                  </a:lnTo>
                  <a:lnTo>
                    <a:pt x="755" y="67"/>
                  </a:lnTo>
                  <a:lnTo>
                    <a:pt x="757" y="67"/>
                  </a:lnTo>
                  <a:lnTo>
                    <a:pt x="757" y="65"/>
                  </a:lnTo>
                  <a:lnTo>
                    <a:pt x="757" y="65"/>
                  </a:lnTo>
                  <a:lnTo>
                    <a:pt x="757" y="65"/>
                  </a:lnTo>
                  <a:lnTo>
                    <a:pt x="759" y="65"/>
                  </a:lnTo>
                  <a:lnTo>
                    <a:pt x="759" y="67"/>
                  </a:lnTo>
                  <a:lnTo>
                    <a:pt x="759" y="67"/>
                  </a:lnTo>
                  <a:lnTo>
                    <a:pt x="759" y="67"/>
                  </a:lnTo>
                  <a:lnTo>
                    <a:pt x="759" y="67"/>
                  </a:lnTo>
                  <a:lnTo>
                    <a:pt x="759" y="67"/>
                  </a:lnTo>
                  <a:close/>
                  <a:moveTo>
                    <a:pt x="764" y="51"/>
                  </a:moveTo>
                  <a:lnTo>
                    <a:pt x="764" y="54"/>
                  </a:lnTo>
                  <a:lnTo>
                    <a:pt x="764" y="54"/>
                  </a:lnTo>
                  <a:lnTo>
                    <a:pt x="757" y="56"/>
                  </a:lnTo>
                  <a:lnTo>
                    <a:pt x="753" y="58"/>
                  </a:lnTo>
                  <a:lnTo>
                    <a:pt x="748" y="58"/>
                  </a:lnTo>
                  <a:lnTo>
                    <a:pt x="748" y="56"/>
                  </a:lnTo>
                  <a:lnTo>
                    <a:pt x="741" y="56"/>
                  </a:lnTo>
                  <a:lnTo>
                    <a:pt x="739" y="56"/>
                  </a:lnTo>
                  <a:lnTo>
                    <a:pt x="739" y="56"/>
                  </a:lnTo>
                  <a:lnTo>
                    <a:pt x="737" y="54"/>
                  </a:lnTo>
                  <a:lnTo>
                    <a:pt x="737" y="54"/>
                  </a:lnTo>
                  <a:lnTo>
                    <a:pt x="737" y="54"/>
                  </a:lnTo>
                  <a:lnTo>
                    <a:pt x="741" y="54"/>
                  </a:lnTo>
                  <a:lnTo>
                    <a:pt x="741" y="54"/>
                  </a:lnTo>
                  <a:lnTo>
                    <a:pt x="741" y="54"/>
                  </a:lnTo>
                  <a:lnTo>
                    <a:pt x="744" y="54"/>
                  </a:lnTo>
                  <a:lnTo>
                    <a:pt x="744" y="54"/>
                  </a:lnTo>
                  <a:lnTo>
                    <a:pt x="744" y="54"/>
                  </a:lnTo>
                  <a:lnTo>
                    <a:pt x="744" y="54"/>
                  </a:lnTo>
                  <a:lnTo>
                    <a:pt x="744" y="51"/>
                  </a:lnTo>
                  <a:lnTo>
                    <a:pt x="744" y="51"/>
                  </a:lnTo>
                  <a:lnTo>
                    <a:pt x="744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6" y="51"/>
                  </a:lnTo>
                  <a:lnTo>
                    <a:pt x="748" y="51"/>
                  </a:lnTo>
                  <a:lnTo>
                    <a:pt x="748" y="51"/>
                  </a:lnTo>
                  <a:lnTo>
                    <a:pt x="759" y="51"/>
                  </a:lnTo>
                  <a:lnTo>
                    <a:pt x="762" y="51"/>
                  </a:lnTo>
                  <a:lnTo>
                    <a:pt x="766" y="51"/>
                  </a:lnTo>
                  <a:lnTo>
                    <a:pt x="766" y="51"/>
                  </a:lnTo>
                  <a:lnTo>
                    <a:pt x="766" y="51"/>
                  </a:lnTo>
                  <a:lnTo>
                    <a:pt x="764" y="51"/>
                  </a:lnTo>
                  <a:close/>
                  <a:moveTo>
                    <a:pt x="746" y="49"/>
                  </a:moveTo>
                  <a:lnTo>
                    <a:pt x="748" y="49"/>
                  </a:lnTo>
                  <a:lnTo>
                    <a:pt x="746" y="49"/>
                  </a:lnTo>
                  <a:lnTo>
                    <a:pt x="746" y="49"/>
                  </a:lnTo>
                  <a:lnTo>
                    <a:pt x="746" y="49"/>
                  </a:lnTo>
                  <a:lnTo>
                    <a:pt x="737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51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7" y="49"/>
                  </a:lnTo>
                  <a:lnTo>
                    <a:pt x="737" y="49"/>
                  </a:lnTo>
                  <a:lnTo>
                    <a:pt x="739" y="49"/>
                  </a:lnTo>
                  <a:lnTo>
                    <a:pt x="741" y="49"/>
                  </a:lnTo>
                  <a:lnTo>
                    <a:pt x="746" y="49"/>
                  </a:lnTo>
                  <a:close/>
                  <a:moveTo>
                    <a:pt x="771" y="27"/>
                  </a:moveTo>
                  <a:lnTo>
                    <a:pt x="771" y="27"/>
                  </a:lnTo>
                  <a:lnTo>
                    <a:pt x="766" y="27"/>
                  </a:lnTo>
                  <a:lnTo>
                    <a:pt x="764" y="27"/>
                  </a:lnTo>
                  <a:lnTo>
                    <a:pt x="759" y="27"/>
                  </a:lnTo>
                  <a:lnTo>
                    <a:pt x="759" y="27"/>
                  </a:lnTo>
                  <a:lnTo>
                    <a:pt x="759" y="27"/>
                  </a:lnTo>
                  <a:lnTo>
                    <a:pt x="759" y="27"/>
                  </a:lnTo>
                  <a:lnTo>
                    <a:pt x="766" y="24"/>
                  </a:lnTo>
                  <a:lnTo>
                    <a:pt x="766" y="27"/>
                  </a:lnTo>
                  <a:lnTo>
                    <a:pt x="766" y="27"/>
                  </a:lnTo>
                  <a:lnTo>
                    <a:pt x="766" y="27"/>
                  </a:lnTo>
                  <a:lnTo>
                    <a:pt x="766" y="27"/>
                  </a:lnTo>
                  <a:lnTo>
                    <a:pt x="768" y="27"/>
                  </a:lnTo>
                  <a:lnTo>
                    <a:pt x="768" y="27"/>
                  </a:lnTo>
                  <a:lnTo>
                    <a:pt x="768" y="27"/>
                  </a:lnTo>
                  <a:lnTo>
                    <a:pt x="768" y="27"/>
                  </a:lnTo>
                  <a:lnTo>
                    <a:pt x="771" y="27"/>
                  </a:lnTo>
                  <a:lnTo>
                    <a:pt x="771" y="27"/>
                  </a:lnTo>
                  <a:lnTo>
                    <a:pt x="771" y="27"/>
                  </a:lnTo>
                  <a:close/>
                  <a:moveTo>
                    <a:pt x="232" y="22"/>
                  </a:moveTo>
                  <a:lnTo>
                    <a:pt x="232" y="22"/>
                  </a:lnTo>
                  <a:lnTo>
                    <a:pt x="232" y="22"/>
                  </a:lnTo>
                  <a:lnTo>
                    <a:pt x="232" y="22"/>
                  </a:lnTo>
                  <a:close/>
                  <a:moveTo>
                    <a:pt x="755" y="24"/>
                  </a:moveTo>
                  <a:lnTo>
                    <a:pt x="755" y="24"/>
                  </a:lnTo>
                  <a:lnTo>
                    <a:pt x="750" y="24"/>
                  </a:lnTo>
                  <a:lnTo>
                    <a:pt x="744" y="22"/>
                  </a:lnTo>
                  <a:lnTo>
                    <a:pt x="744" y="22"/>
                  </a:lnTo>
                  <a:lnTo>
                    <a:pt x="744" y="22"/>
                  </a:lnTo>
                  <a:lnTo>
                    <a:pt x="744" y="22"/>
                  </a:lnTo>
                  <a:lnTo>
                    <a:pt x="744" y="20"/>
                  </a:lnTo>
                  <a:lnTo>
                    <a:pt x="744" y="20"/>
                  </a:lnTo>
                  <a:lnTo>
                    <a:pt x="744" y="20"/>
                  </a:lnTo>
                  <a:lnTo>
                    <a:pt x="744" y="20"/>
                  </a:lnTo>
                  <a:lnTo>
                    <a:pt x="744" y="20"/>
                  </a:lnTo>
                  <a:lnTo>
                    <a:pt x="746" y="20"/>
                  </a:lnTo>
                  <a:lnTo>
                    <a:pt x="746" y="20"/>
                  </a:lnTo>
                  <a:lnTo>
                    <a:pt x="748" y="20"/>
                  </a:lnTo>
                  <a:lnTo>
                    <a:pt x="748" y="20"/>
                  </a:lnTo>
                  <a:lnTo>
                    <a:pt x="750" y="22"/>
                  </a:lnTo>
                  <a:lnTo>
                    <a:pt x="750" y="22"/>
                  </a:lnTo>
                  <a:lnTo>
                    <a:pt x="750" y="22"/>
                  </a:lnTo>
                  <a:lnTo>
                    <a:pt x="750" y="22"/>
                  </a:lnTo>
                  <a:lnTo>
                    <a:pt x="753" y="22"/>
                  </a:lnTo>
                  <a:lnTo>
                    <a:pt x="755" y="24"/>
                  </a:lnTo>
                  <a:lnTo>
                    <a:pt x="755" y="24"/>
                  </a:lnTo>
                  <a:lnTo>
                    <a:pt x="755" y="24"/>
                  </a:lnTo>
                  <a:close/>
                  <a:moveTo>
                    <a:pt x="344" y="22"/>
                  </a:moveTo>
                  <a:lnTo>
                    <a:pt x="342" y="22"/>
                  </a:lnTo>
                  <a:lnTo>
                    <a:pt x="333" y="22"/>
                  </a:lnTo>
                  <a:lnTo>
                    <a:pt x="330" y="22"/>
                  </a:lnTo>
                  <a:lnTo>
                    <a:pt x="328" y="22"/>
                  </a:lnTo>
                  <a:lnTo>
                    <a:pt x="326" y="20"/>
                  </a:lnTo>
                  <a:lnTo>
                    <a:pt x="321" y="20"/>
                  </a:lnTo>
                  <a:lnTo>
                    <a:pt x="321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20"/>
                  </a:lnTo>
                  <a:lnTo>
                    <a:pt x="319" y="18"/>
                  </a:lnTo>
                  <a:lnTo>
                    <a:pt x="321" y="18"/>
                  </a:lnTo>
                  <a:lnTo>
                    <a:pt x="324" y="18"/>
                  </a:lnTo>
                  <a:lnTo>
                    <a:pt x="328" y="18"/>
                  </a:lnTo>
                  <a:lnTo>
                    <a:pt x="330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20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close/>
                  <a:moveTo>
                    <a:pt x="411" y="13"/>
                  </a:moveTo>
                  <a:lnTo>
                    <a:pt x="422" y="13"/>
                  </a:lnTo>
                  <a:lnTo>
                    <a:pt x="422" y="13"/>
                  </a:lnTo>
                  <a:lnTo>
                    <a:pt x="422" y="13"/>
                  </a:lnTo>
                  <a:lnTo>
                    <a:pt x="422" y="13"/>
                  </a:lnTo>
                  <a:lnTo>
                    <a:pt x="425" y="13"/>
                  </a:lnTo>
                  <a:lnTo>
                    <a:pt x="429" y="15"/>
                  </a:lnTo>
                  <a:lnTo>
                    <a:pt x="429" y="15"/>
                  </a:lnTo>
                  <a:lnTo>
                    <a:pt x="431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8"/>
                  </a:lnTo>
                  <a:lnTo>
                    <a:pt x="434" y="18"/>
                  </a:lnTo>
                  <a:lnTo>
                    <a:pt x="431" y="18"/>
                  </a:lnTo>
                  <a:lnTo>
                    <a:pt x="429" y="18"/>
                  </a:lnTo>
                  <a:lnTo>
                    <a:pt x="422" y="18"/>
                  </a:lnTo>
                  <a:lnTo>
                    <a:pt x="425" y="20"/>
                  </a:lnTo>
                  <a:lnTo>
                    <a:pt x="425" y="20"/>
                  </a:lnTo>
                  <a:lnTo>
                    <a:pt x="427" y="20"/>
                  </a:lnTo>
                  <a:lnTo>
                    <a:pt x="427" y="20"/>
                  </a:lnTo>
                  <a:lnTo>
                    <a:pt x="425" y="20"/>
                  </a:lnTo>
                  <a:lnTo>
                    <a:pt x="422" y="20"/>
                  </a:lnTo>
                  <a:lnTo>
                    <a:pt x="422" y="20"/>
                  </a:lnTo>
                  <a:lnTo>
                    <a:pt x="420" y="20"/>
                  </a:lnTo>
                  <a:lnTo>
                    <a:pt x="420" y="20"/>
                  </a:lnTo>
                  <a:lnTo>
                    <a:pt x="418" y="20"/>
                  </a:lnTo>
                  <a:lnTo>
                    <a:pt x="402" y="18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400" y="15"/>
                  </a:lnTo>
                  <a:lnTo>
                    <a:pt x="398" y="13"/>
                  </a:lnTo>
                  <a:lnTo>
                    <a:pt x="396" y="13"/>
                  </a:lnTo>
                  <a:lnTo>
                    <a:pt x="393" y="13"/>
                  </a:lnTo>
                  <a:lnTo>
                    <a:pt x="393" y="13"/>
                  </a:lnTo>
                  <a:lnTo>
                    <a:pt x="396" y="13"/>
                  </a:lnTo>
                  <a:lnTo>
                    <a:pt x="405" y="13"/>
                  </a:lnTo>
                  <a:lnTo>
                    <a:pt x="405" y="13"/>
                  </a:lnTo>
                  <a:lnTo>
                    <a:pt x="407" y="13"/>
                  </a:lnTo>
                  <a:lnTo>
                    <a:pt x="407" y="13"/>
                  </a:lnTo>
                  <a:lnTo>
                    <a:pt x="407" y="13"/>
                  </a:lnTo>
                  <a:lnTo>
                    <a:pt x="405" y="13"/>
                  </a:lnTo>
                  <a:lnTo>
                    <a:pt x="411" y="13"/>
                  </a:lnTo>
                  <a:close/>
                  <a:moveTo>
                    <a:pt x="398" y="11"/>
                  </a:moveTo>
                  <a:lnTo>
                    <a:pt x="393" y="11"/>
                  </a:lnTo>
                  <a:lnTo>
                    <a:pt x="389" y="11"/>
                  </a:lnTo>
                  <a:lnTo>
                    <a:pt x="389" y="11"/>
                  </a:lnTo>
                  <a:lnTo>
                    <a:pt x="387" y="11"/>
                  </a:lnTo>
                  <a:lnTo>
                    <a:pt x="387" y="11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389" y="9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398" y="11"/>
                  </a:lnTo>
                  <a:lnTo>
                    <a:pt x="398" y="11"/>
                  </a:lnTo>
                  <a:close/>
                  <a:moveTo>
                    <a:pt x="449" y="9"/>
                  </a:moveTo>
                  <a:lnTo>
                    <a:pt x="449" y="9"/>
                  </a:lnTo>
                  <a:lnTo>
                    <a:pt x="449" y="9"/>
                  </a:lnTo>
                  <a:lnTo>
                    <a:pt x="449" y="9"/>
                  </a:lnTo>
                  <a:close/>
                  <a:moveTo>
                    <a:pt x="449" y="9"/>
                  </a:moveTo>
                  <a:lnTo>
                    <a:pt x="449" y="9"/>
                  </a:lnTo>
                  <a:lnTo>
                    <a:pt x="449" y="9"/>
                  </a:lnTo>
                  <a:lnTo>
                    <a:pt x="449" y="9"/>
                  </a:lnTo>
                  <a:close/>
                  <a:moveTo>
                    <a:pt x="499" y="9"/>
                  </a:moveTo>
                  <a:lnTo>
                    <a:pt x="499" y="9"/>
                  </a:lnTo>
                  <a:lnTo>
                    <a:pt x="497" y="9"/>
                  </a:lnTo>
                  <a:lnTo>
                    <a:pt x="497" y="6"/>
                  </a:lnTo>
                  <a:lnTo>
                    <a:pt x="497" y="6"/>
                  </a:lnTo>
                  <a:lnTo>
                    <a:pt x="494" y="6"/>
                  </a:lnTo>
                  <a:lnTo>
                    <a:pt x="494" y="6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90" y="6"/>
                  </a:lnTo>
                  <a:lnTo>
                    <a:pt x="488" y="6"/>
                  </a:lnTo>
                  <a:lnTo>
                    <a:pt x="488" y="6"/>
                  </a:lnTo>
                  <a:lnTo>
                    <a:pt x="488" y="6"/>
                  </a:lnTo>
                  <a:lnTo>
                    <a:pt x="488" y="6"/>
                  </a:lnTo>
                  <a:lnTo>
                    <a:pt x="488" y="6"/>
                  </a:lnTo>
                  <a:lnTo>
                    <a:pt x="494" y="6"/>
                  </a:lnTo>
                  <a:lnTo>
                    <a:pt x="497" y="6"/>
                  </a:lnTo>
                  <a:lnTo>
                    <a:pt x="501" y="6"/>
                  </a:lnTo>
                  <a:lnTo>
                    <a:pt x="503" y="6"/>
                  </a:lnTo>
                  <a:lnTo>
                    <a:pt x="503" y="6"/>
                  </a:lnTo>
                  <a:lnTo>
                    <a:pt x="503" y="6"/>
                  </a:lnTo>
                  <a:lnTo>
                    <a:pt x="503" y="6"/>
                  </a:lnTo>
                  <a:lnTo>
                    <a:pt x="503" y="6"/>
                  </a:lnTo>
                  <a:lnTo>
                    <a:pt x="499" y="9"/>
                  </a:lnTo>
                  <a:close/>
                  <a:moveTo>
                    <a:pt x="485" y="4"/>
                  </a:moveTo>
                  <a:lnTo>
                    <a:pt x="485" y="6"/>
                  </a:lnTo>
                  <a:lnTo>
                    <a:pt x="485" y="6"/>
                  </a:lnTo>
                  <a:lnTo>
                    <a:pt x="485" y="6"/>
                  </a:lnTo>
                  <a:lnTo>
                    <a:pt x="488" y="6"/>
                  </a:lnTo>
                  <a:lnTo>
                    <a:pt x="488" y="6"/>
                  </a:lnTo>
                  <a:lnTo>
                    <a:pt x="492" y="6"/>
                  </a:lnTo>
                  <a:lnTo>
                    <a:pt x="492" y="6"/>
                  </a:lnTo>
                  <a:lnTo>
                    <a:pt x="492" y="6"/>
                  </a:lnTo>
                  <a:lnTo>
                    <a:pt x="492" y="6"/>
                  </a:lnTo>
                  <a:lnTo>
                    <a:pt x="494" y="6"/>
                  </a:lnTo>
                  <a:lnTo>
                    <a:pt x="494" y="6"/>
                  </a:lnTo>
                  <a:lnTo>
                    <a:pt x="494" y="6"/>
                  </a:lnTo>
                  <a:lnTo>
                    <a:pt x="494" y="6"/>
                  </a:lnTo>
                  <a:lnTo>
                    <a:pt x="494" y="9"/>
                  </a:lnTo>
                  <a:lnTo>
                    <a:pt x="485" y="6"/>
                  </a:lnTo>
                  <a:lnTo>
                    <a:pt x="483" y="6"/>
                  </a:lnTo>
                  <a:lnTo>
                    <a:pt x="481" y="6"/>
                  </a:lnTo>
                  <a:lnTo>
                    <a:pt x="481" y="6"/>
                  </a:lnTo>
                  <a:lnTo>
                    <a:pt x="481" y="6"/>
                  </a:lnTo>
                  <a:lnTo>
                    <a:pt x="476" y="6"/>
                  </a:lnTo>
                  <a:lnTo>
                    <a:pt x="476" y="6"/>
                  </a:lnTo>
                  <a:lnTo>
                    <a:pt x="476" y="6"/>
                  </a:lnTo>
                  <a:lnTo>
                    <a:pt x="476" y="6"/>
                  </a:lnTo>
                  <a:lnTo>
                    <a:pt x="476" y="4"/>
                  </a:lnTo>
                  <a:lnTo>
                    <a:pt x="485" y="4"/>
                  </a:lnTo>
                  <a:close/>
                  <a:moveTo>
                    <a:pt x="492" y="2"/>
                  </a:moveTo>
                  <a:lnTo>
                    <a:pt x="494" y="4"/>
                  </a:lnTo>
                  <a:lnTo>
                    <a:pt x="497" y="4"/>
                  </a:lnTo>
                  <a:lnTo>
                    <a:pt x="499" y="4"/>
                  </a:lnTo>
                  <a:lnTo>
                    <a:pt x="501" y="4"/>
                  </a:lnTo>
                  <a:lnTo>
                    <a:pt x="501" y="4"/>
                  </a:lnTo>
                  <a:lnTo>
                    <a:pt x="501" y="4"/>
                  </a:lnTo>
                  <a:lnTo>
                    <a:pt x="510" y="4"/>
                  </a:lnTo>
                  <a:lnTo>
                    <a:pt x="510" y="6"/>
                  </a:lnTo>
                  <a:lnTo>
                    <a:pt x="512" y="6"/>
                  </a:lnTo>
                  <a:lnTo>
                    <a:pt x="512" y="6"/>
                  </a:lnTo>
                  <a:lnTo>
                    <a:pt x="508" y="6"/>
                  </a:lnTo>
                  <a:lnTo>
                    <a:pt x="508" y="6"/>
                  </a:lnTo>
                  <a:lnTo>
                    <a:pt x="508" y="6"/>
                  </a:lnTo>
                  <a:lnTo>
                    <a:pt x="497" y="4"/>
                  </a:lnTo>
                  <a:lnTo>
                    <a:pt x="497" y="4"/>
                  </a:lnTo>
                  <a:lnTo>
                    <a:pt x="497" y="4"/>
                  </a:lnTo>
                  <a:lnTo>
                    <a:pt x="494" y="4"/>
                  </a:lnTo>
                  <a:lnTo>
                    <a:pt x="488" y="4"/>
                  </a:lnTo>
                  <a:lnTo>
                    <a:pt x="488" y="4"/>
                  </a:lnTo>
                  <a:lnTo>
                    <a:pt x="488" y="4"/>
                  </a:lnTo>
                  <a:lnTo>
                    <a:pt x="488" y="4"/>
                  </a:lnTo>
                  <a:lnTo>
                    <a:pt x="490" y="2"/>
                  </a:lnTo>
                  <a:lnTo>
                    <a:pt x="490" y="2"/>
                  </a:lnTo>
                  <a:lnTo>
                    <a:pt x="492" y="2"/>
                  </a:lnTo>
                  <a:lnTo>
                    <a:pt x="492" y="2"/>
                  </a:lnTo>
                  <a:lnTo>
                    <a:pt x="490" y="2"/>
                  </a:lnTo>
                  <a:lnTo>
                    <a:pt x="490" y="2"/>
                  </a:lnTo>
                  <a:lnTo>
                    <a:pt x="490" y="2"/>
                  </a:lnTo>
                  <a:lnTo>
                    <a:pt x="492" y="2"/>
                  </a:lnTo>
                  <a:close/>
                  <a:moveTo>
                    <a:pt x="665" y="220"/>
                  </a:moveTo>
                  <a:lnTo>
                    <a:pt x="665" y="220"/>
                  </a:lnTo>
                  <a:lnTo>
                    <a:pt x="663" y="220"/>
                  </a:lnTo>
                  <a:lnTo>
                    <a:pt x="663" y="220"/>
                  </a:lnTo>
                  <a:lnTo>
                    <a:pt x="663" y="220"/>
                  </a:lnTo>
                  <a:lnTo>
                    <a:pt x="663" y="220"/>
                  </a:lnTo>
                  <a:lnTo>
                    <a:pt x="663" y="220"/>
                  </a:lnTo>
                  <a:lnTo>
                    <a:pt x="663" y="220"/>
                  </a:lnTo>
                  <a:lnTo>
                    <a:pt x="663" y="220"/>
                  </a:lnTo>
                  <a:lnTo>
                    <a:pt x="665" y="220"/>
                  </a:lnTo>
                  <a:lnTo>
                    <a:pt x="665" y="220"/>
                  </a:lnTo>
                  <a:lnTo>
                    <a:pt x="665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5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2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67" y="225"/>
                  </a:lnTo>
                  <a:lnTo>
                    <a:pt x="670" y="225"/>
                  </a:lnTo>
                  <a:lnTo>
                    <a:pt x="670" y="225"/>
                  </a:lnTo>
                  <a:lnTo>
                    <a:pt x="667" y="227"/>
                  </a:lnTo>
                  <a:lnTo>
                    <a:pt x="667" y="227"/>
                  </a:lnTo>
                  <a:lnTo>
                    <a:pt x="667" y="227"/>
                  </a:lnTo>
                  <a:lnTo>
                    <a:pt x="665" y="227"/>
                  </a:lnTo>
                  <a:lnTo>
                    <a:pt x="665" y="227"/>
                  </a:lnTo>
                  <a:lnTo>
                    <a:pt x="665" y="227"/>
                  </a:lnTo>
                  <a:lnTo>
                    <a:pt x="665" y="227"/>
                  </a:lnTo>
                  <a:lnTo>
                    <a:pt x="663" y="227"/>
                  </a:lnTo>
                  <a:lnTo>
                    <a:pt x="663" y="227"/>
                  </a:lnTo>
                  <a:lnTo>
                    <a:pt x="663" y="227"/>
                  </a:lnTo>
                  <a:lnTo>
                    <a:pt x="663" y="227"/>
                  </a:lnTo>
                  <a:lnTo>
                    <a:pt x="661" y="229"/>
                  </a:lnTo>
                  <a:lnTo>
                    <a:pt x="661" y="229"/>
                  </a:lnTo>
                  <a:lnTo>
                    <a:pt x="661" y="229"/>
                  </a:lnTo>
                  <a:lnTo>
                    <a:pt x="661" y="227"/>
                  </a:lnTo>
                  <a:lnTo>
                    <a:pt x="661" y="227"/>
                  </a:lnTo>
                  <a:lnTo>
                    <a:pt x="661" y="227"/>
                  </a:lnTo>
                  <a:lnTo>
                    <a:pt x="661" y="227"/>
                  </a:lnTo>
                  <a:lnTo>
                    <a:pt x="661" y="227"/>
                  </a:lnTo>
                  <a:lnTo>
                    <a:pt x="661" y="227"/>
                  </a:lnTo>
                  <a:lnTo>
                    <a:pt x="661" y="227"/>
                  </a:lnTo>
                  <a:lnTo>
                    <a:pt x="658" y="227"/>
                  </a:lnTo>
                  <a:lnTo>
                    <a:pt x="656" y="227"/>
                  </a:lnTo>
                  <a:lnTo>
                    <a:pt x="656" y="227"/>
                  </a:lnTo>
                  <a:lnTo>
                    <a:pt x="654" y="227"/>
                  </a:lnTo>
                  <a:lnTo>
                    <a:pt x="654" y="227"/>
                  </a:lnTo>
                  <a:lnTo>
                    <a:pt x="654" y="227"/>
                  </a:lnTo>
                  <a:lnTo>
                    <a:pt x="654" y="225"/>
                  </a:lnTo>
                  <a:lnTo>
                    <a:pt x="654" y="225"/>
                  </a:lnTo>
                  <a:lnTo>
                    <a:pt x="654" y="225"/>
                  </a:lnTo>
                  <a:lnTo>
                    <a:pt x="654" y="225"/>
                  </a:lnTo>
                  <a:lnTo>
                    <a:pt x="654" y="225"/>
                  </a:lnTo>
                  <a:lnTo>
                    <a:pt x="654" y="225"/>
                  </a:lnTo>
                  <a:lnTo>
                    <a:pt x="654" y="222"/>
                  </a:lnTo>
                  <a:lnTo>
                    <a:pt x="654" y="222"/>
                  </a:lnTo>
                  <a:lnTo>
                    <a:pt x="654" y="222"/>
                  </a:lnTo>
                  <a:lnTo>
                    <a:pt x="654" y="222"/>
                  </a:lnTo>
                  <a:lnTo>
                    <a:pt x="654" y="222"/>
                  </a:lnTo>
                  <a:lnTo>
                    <a:pt x="656" y="220"/>
                  </a:lnTo>
                  <a:lnTo>
                    <a:pt x="656" y="220"/>
                  </a:lnTo>
                  <a:lnTo>
                    <a:pt x="656" y="220"/>
                  </a:lnTo>
                  <a:lnTo>
                    <a:pt x="656" y="220"/>
                  </a:lnTo>
                  <a:lnTo>
                    <a:pt x="656" y="220"/>
                  </a:lnTo>
                  <a:lnTo>
                    <a:pt x="656" y="220"/>
                  </a:lnTo>
                  <a:lnTo>
                    <a:pt x="656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4" y="220"/>
                  </a:lnTo>
                  <a:lnTo>
                    <a:pt x="652" y="220"/>
                  </a:lnTo>
                  <a:lnTo>
                    <a:pt x="652" y="222"/>
                  </a:lnTo>
                  <a:lnTo>
                    <a:pt x="654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2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5"/>
                  </a:lnTo>
                  <a:lnTo>
                    <a:pt x="652" y="227"/>
                  </a:lnTo>
                  <a:lnTo>
                    <a:pt x="652" y="227"/>
                  </a:lnTo>
                  <a:lnTo>
                    <a:pt x="652" y="227"/>
                  </a:lnTo>
                  <a:lnTo>
                    <a:pt x="652" y="227"/>
                  </a:lnTo>
                  <a:lnTo>
                    <a:pt x="652" y="227"/>
                  </a:lnTo>
                  <a:lnTo>
                    <a:pt x="652" y="227"/>
                  </a:lnTo>
                  <a:lnTo>
                    <a:pt x="645" y="227"/>
                  </a:lnTo>
                  <a:lnTo>
                    <a:pt x="645" y="227"/>
                  </a:lnTo>
                  <a:lnTo>
                    <a:pt x="640" y="227"/>
                  </a:lnTo>
                  <a:lnTo>
                    <a:pt x="636" y="225"/>
                  </a:lnTo>
                  <a:lnTo>
                    <a:pt x="634" y="225"/>
                  </a:lnTo>
                  <a:lnTo>
                    <a:pt x="634" y="225"/>
                  </a:lnTo>
                  <a:lnTo>
                    <a:pt x="631" y="225"/>
                  </a:lnTo>
                  <a:lnTo>
                    <a:pt x="631" y="222"/>
                  </a:lnTo>
                  <a:lnTo>
                    <a:pt x="631" y="222"/>
                  </a:lnTo>
                  <a:lnTo>
                    <a:pt x="631" y="222"/>
                  </a:lnTo>
                  <a:lnTo>
                    <a:pt x="631" y="222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0"/>
                  </a:lnTo>
                  <a:lnTo>
                    <a:pt x="629" y="220"/>
                  </a:lnTo>
                  <a:lnTo>
                    <a:pt x="629" y="220"/>
                  </a:lnTo>
                  <a:lnTo>
                    <a:pt x="629" y="218"/>
                  </a:lnTo>
                  <a:lnTo>
                    <a:pt x="629" y="218"/>
                  </a:lnTo>
                  <a:lnTo>
                    <a:pt x="629" y="218"/>
                  </a:lnTo>
                  <a:lnTo>
                    <a:pt x="629" y="218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9" y="216"/>
                  </a:lnTo>
                  <a:lnTo>
                    <a:pt x="627" y="213"/>
                  </a:lnTo>
                  <a:lnTo>
                    <a:pt x="627" y="213"/>
                  </a:lnTo>
                  <a:lnTo>
                    <a:pt x="625" y="213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11"/>
                  </a:lnTo>
                  <a:lnTo>
                    <a:pt x="625" y="209"/>
                  </a:lnTo>
                  <a:lnTo>
                    <a:pt x="625" y="209"/>
                  </a:lnTo>
                  <a:lnTo>
                    <a:pt x="625" y="209"/>
                  </a:lnTo>
                  <a:lnTo>
                    <a:pt x="625" y="209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2" y="211"/>
                  </a:lnTo>
                  <a:lnTo>
                    <a:pt x="620" y="211"/>
                  </a:lnTo>
                  <a:lnTo>
                    <a:pt x="620" y="211"/>
                  </a:lnTo>
                  <a:lnTo>
                    <a:pt x="620" y="211"/>
                  </a:lnTo>
                  <a:lnTo>
                    <a:pt x="620" y="211"/>
                  </a:lnTo>
                  <a:lnTo>
                    <a:pt x="620" y="211"/>
                  </a:lnTo>
                  <a:lnTo>
                    <a:pt x="620" y="211"/>
                  </a:lnTo>
                  <a:lnTo>
                    <a:pt x="620" y="211"/>
                  </a:lnTo>
                  <a:lnTo>
                    <a:pt x="618" y="211"/>
                  </a:lnTo>
                  <a:lnTo>
                    <a:pt x="618" y="211"/>
                  </a:lnTo>
                  <a:lnTo>
                    <a:pt x="618" y="211"/>
                  </a:lnTo>
                  <a:lnTo>
                    <a:pt x="618" y="209"/>
                  </a:lnTo>
                  <a:lnTo>
                    <a:pt x="616" y="209"/>
                  </a:lnTo>
                  <a:lnTo>
                    <a:pt x="616" y="209"/>
                  </a:lnTo>
                  <a:lnTo>
                    <a:pt x="616" y="209"/>
                  </a:lnTo>
                  <a:lnTo>
                    <a:pt x="616" y="209"/>
                  </a:lnTo>
                  <a:lnTo>
                    <a:pt x="616" y="209"/>
                  </a:lnTo>
                  <a:lnTo>
                    <a:pt x="616" y="209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3" y="207"/>
                  </a:lnTo>
                  <a:lnTo>
                    <a:pt x="613" y="207"/>
                  </a:lnTo>
                  <a:lnTo>
                    <a:pt x="613" y="207"/>
                  </a:lnTo>
                  <a:lnTo>
                    <a:pt x="611" y="207"/>
                  </a:lnTo>
                  <a:lnTo>
                    <a:pt x="611" y="207"/>
                  </a:lnTo>
                  <a:lnTo>
                    <a:pt x="611" y="207"/>
                  </a:lnTo>
                  <a:lnTo>
                    <a:pt x="611" y="207"/>
                  </a:lnTo>
                  <a:lnTo>
                    <a:pt x="611" y="207"/>
                  </a:lnTo>
                  <a:lnTo>
                    <a:pt x="611" y="207"/>
                  </a:lnTo>
                  <a:lnTo>
                    <a:pt x="611" y="207"/>
                  </a:lnTo>
                  <a:lnTo>
                    <a:pt x="609" y="207"/>
                  </a:lnTo>
                  <a:lnTo>
                    <a:pt x="609" y="207"/>
                  </a:lnTo>
                  <a:lnTo>
                    <a:pt x="609" y="207"/>
                  </a:lnTo>
                  <a:lnTo>
                    <a:pt x="609" y="207"/>
                  </a:lnTo>
                  <a:lnTo>
                    <a:pt x="609" y="207"/>
                  </a:lnTo>
                  <a:lnTo>
                    <a:pt x="609" y="204"/>
                  </a:lnTo>
                  <a:lnTo>
                    <a:pt x="609" y="204"/>
                  </a:lnTo>
                  <a:lnTo>
                    <a:pt x="607" y="204"/>
                  </a:lnTo>
                  <a:lnTo>
                    <a:pt x="607" y="207"/>
                  </a:lnTo>
                  <a:lnTo>
                    <a:pt x="607" y="204"/>
                  </a:lnTo>
                  <a:lnTo>
                    <a:pt x="604" y="204"/>
                  </a:lnTo>
                  <a:lnTo>
                    <a:pt x="604" y="204"/>
                  </a:lnTo>
                  <a:lnTo>
                    <a:pt x="602" y="204"/>
                  </a:lnTo>
                  <a:lnTo>
                    <a:pt x="602" y="204"/>
                  </a:lnTo>
                  <a:lnTo>
                    <a:pt x="602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600" y="204"/>
                  </a:lnTo>
                  <a:lnTo>
                    <a:pt x="598" y="207"/>
                  </a:lnTo>
                  <a:lnTo>
                    <a:pt x="598" y="207"/>
                  </a:lnTo>
                  <a:lnTo>
                    <a:pt x="593" y="207"/>
                  </a:lnTo>
                  <a:lnTo>
                    <a:pt x="593" y="207"/>
                  </a:lnTo>
                  <a:lnTo>
                    <a:pt x="593" y="207"/>
                  </a:lnTo>
                  <a:lnTo>
                    <a:pt x="591" y="204"/>
                  </a:lnTo>
                  <a:lnTo>
                    <a:pt x="589" y="204"/>
                  </a:lnTo>
                  <a:lnTo>
                    <a:pt x="589" y="204"/>
                  </a:lnTo>
                  <a:lnTo>
                    <a:pt x="589" y="202"/>
                  </a:lnTo>
                  <a:lnTo>
                    <a:pt x="589" y="202"/>
                  </a:lnTo>
                  <a:lnTo>
                    <a:pt x="589" y="202"/>
                  </a:lnTo>
                  <a:lnTo>
                    <a:pt x="589" y="202"/>
                  </a:lnTo>
                  <a:lnTo>
                    <a:pt x="589" y="202"/>
                  </a:lnTo>
                  <a:lnTo>
                    <a:pt x="586" y="202"/>
                  </a:lnTo>
                  <a:lnTo>
                    <a:pt x="586" y="202"/>
                  </a:lnTo>
                  <a:lnTo>
                    <a:pt x="586" y="202"/>
                  </a:lnTo>
                  <a:lnTo>
                    <a:pt x="586" y="200"/>
                  </a:lnTo>
                  <a:lnTo>
                    <a:pt x="586" y="200"/>
                  </a:lnTo>
                  <a:lnTo>
                    <a:pt x="584" y="200"/>
                  </a:lnTo>
                  <a:lnTo>
                    <a:pt x="584" y="200"/>
                  </a:lnTo>
                  <a:lnTo>
                    <a:pt x="584" y="200"/>
                  </a:lnTo>
                  <a:lnTo>
                    <a:pt x="580" y="198"/>
                  </a:lnTo>
                  <a:lnTo>
                    <a:pt x="580" y="198"/>
                  </a:lnTo>
                  <a:lnTo>
                    <a:pt x="580" y="198"/>
                  </a:lnTo>
                  <a:lnTo>
                    <a:pt x="580" y="198"/>
                  </a:lnTo>
                  <a:lnTo>
                    <a:pt x="577" y="198"/>
                  </a:lnTo>
                  <a:lnTo>
                    <a:pt x="577" y="198"/>
                  </a:lnTo>
                  <a:lnTo>
                    <a:pt x="577" y="198"/>
                  </a:lnTo>
                  <a:lnTo>
                    <a:pt x="577" y="198"/>
                  </a:lnTo>
                  <a:lnTo>
                    <a:pt x="575" y="198"/>
                  </a:lnTo>
                  <a:lnTo>
                    <a:pt x="575" y="198"/>
                  </a:lnTo>
                  <a:lnTo>
                    <a:pt x="573" y="195"/>
                  </a:lnTo>
                  <a:lnTo>
                    <a:pt x="573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69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71" y="195"/>
                  </a:lnTo>
                  <a:lnTo>
                    <a:pt x="573" y="195"/>
                  </a:lnTo>
                  <a:lnTo>
                    <a:pt x="573" y="198"/>
                  </a:lnTo>
                  <a:lnTo>
                    <a:pt x="573" y="198"/>
                  </a:lnTo>
                  <a:lnTo>
                    <a:pt x="571" y="198"/>
                  </a:lnTo>
                  <a:lnTo>
                    <a:pt x="571" y="198"/>
                  </a:lnTo>
                  <a:lnTo>
                    <a:pt x="571" y="198"/>
                  </a:lnTo>
                  <a:lnTo>
                    <a:pt x="580" y="200"/>
                  </a:lnTo>
                  <a:lnTo>
                    <a:pt x="580" y="200"/>
                  </a:lnTo>
                  <a:lnTo>
                    <a:pt x="580" y="200"/>
                  </a:lnTo>
                  <a:lnTo>
                    <a:pt x="580" y="200"/>
                  </a:lnTo>
                  <a:lnTo>
                    <a:pt x="580" y="200"/>
                  </a:lnTo>
                  <a:lnTo>
                    <a:pt x="577" y="200"/>
                  </a:lnTo>
                  <a:lnTo>
                    <a:pt x="577" y="200"/>
                  </a:lnTo>
                  <a:lnTo>
                    <a:pt x="577" y="200"/>
                  </a:lnTo>
                  <a:lnTo>
                    <a:pt x="577" y="200"/>
                  </a:lnTo>
                  <a:lnTo>
                    <a:pt x="577" y="200"/>
                  </a:lnTo>
                  <a:lnTo>
                    <a:pt x="577" y="200"/>
                  </a:lnTo>
                  <a:lnTo>
                    <a:pt x="586" y="202"/>
                  </a:lnTo>
                  <a:lnTo>
                    <a:pt x="586" y="202"/>
                  </a:lnTo>
                  <a:lnTo>
                    <a:pt x="586" y="202"/>
                  </a:lnTo>
                  <a:lnTo>
                    <a:pt x="586" y="204"/>
                  </a:lnTo>
                  <a:lnTo>
                    <a:pt x="586" y="204"/>
                  </a:lnTo>
                  <a:lnTo>
                    <a:pt x="586" y="204"/>
                  </a:lnTo>
                  <a:lnTo>
                    <a:pt x="586" y="204"/>
                  </a:lnTo>
                  <a:lnTo>
                    <a:pt x="584" y="204"/>
                  </a:lnTo>
                  <a:lnTo>
                    <a:pt x="584" y="204"/>
                  </a:lnTo>
                  <a:lnTo>
                    <a:pt x="582" y="204"/>
                  </a:lnTo>
                  <a:lnTo>
                    <a:pt x="582" y="204"/>
                  </a:lnTo>
                  <a:lnTo>
                    <a:pt x="580" y="204"/>
                  </a:lnTo>
                  <a:lnTo>
                    <a:pt x="577" y="204"/>
                  </a:lnTo>
                  <a:lnTo>
                    <a:pt x="577" y="204"/>
                  </a:lnTo>
                  <a:lnTo>
                    <a:pt x="577" y="204"/>
                  </a:lnTo>
                  <a:lnTo>
                    <a:pt x="575" y="204"/>
                  </a:lnTo>
                  <a:lnTo>
                    <a:pt x="577" y="204"/>
                  </a:lnTo>
                  <a:lnTo>
                    <a:pt x="577" y="204"/>
                  </a:lnTo>
                  <a:lnTo>
                    <a:pt x="577" y="204"/>
                  </a:lnTo>
                  <a:lnTo>
                    <a:pt x="571" y="204"/>
                  </a:lnTo>
                  <a:lnTo>
                    <a:pt x="569" y="204"/>
                  </a:lnTo>
                  <a:lnTo>
                    <a:pt x="569" y="204"/>
                  </a:lnTo>
                  <a:lnTo>
                    <a:pt x="569" y="204"/>
                  </a:lnTo>
                  <a:lnTo>
                    <a:pt x="569" y="204"/>
                  </a:lnTo>
                  <a:lnTo>
                    <a:pt x="569" y="204"/>
                  </a:lnTo>
                  <a:lnTo>
                    <a:pt x="569" y="207"/>
                  </a:lnTo>
                  <a:lnTo>
                    <a:pt x="571" y="207"/>
                  </a:lnTo>
                  <a:lnTo>
                    <a:pt x="577" y="204"/>
                  </a:lnTo>
                  <a:lnTo>
                    <a:pt x="580" y="204"/>
                  </a:lnTo>
                  <a:lnTo>
                    <a:pt x="580" y="204"/>
                  </a:lnTo>
                  <a:lnTo>
                    <a:pt x="582" y="204"/>
                  </a:lnTo>
                  <a:lnTo>
                    <a:pt x="589" y="204"/>
                  </a:lnTo>
                  <a:lnTo>
                    <a:pt x="589" y="207"/>
                  </a:lnTo>
                  <a:lnTo>
                    <a:pt x="589" y="207"/>
                  </a:lnTo>
                  <a:lnTo>
                    <a:pt x="586" y="207"/>
                  </a:lnTo>
                  <a:lnTo>
                    <a:pt x="586" y="207"/>
                  </a:lnTo>
                  <a:lnTo>
                    <a:pt x="586" y="207"/>
                  </a:lnTo>
                  <a:lnTo>
                    <a:pt x="586" y="207"/>
                  </a:lnTo>
                  <a:lnTo>
                    <a:pt x="586" y="207"/>
                  </a:lnTo>
                  <a:lnTo>
                    <a:pt x="589" y="207"/>
                  </a:lnTo>
                  <a:lnTo>
                    <a:pt x="589" y="207"/>
                  </a:lnTo>
                  <a:lnTo>
                    <a:pt x="589" y="207"/>
                  </a:lnTo>
                  <a:lnTo>
                    <a:pt x="591" y="207"/>
                  </a:lnTo>
                  <a:lnTo>
                    <a:pt x="591" y="207"/>
                  </a:lnTo>
                  <a:lnTo>
                    <a:pt x="593" y="207"/>
                  </a:lnTo>
                  <a:lnTo>
                    <a:pt x="593" y="207"/>
                  </a:lnTo>
                  <a:lnTo>
                    <a:pt x="595" y="207"/>
                  </a:lnTo>
                  <a:lnTo>
                    <a:pt x="595" y="207"/>
                  </a:lnTo>
                  <a:lnTo>
                    <a:pt x="595" y="207"/>
                  </a:lnTo>
                  <a:lnTo>
                    <a:pt x="598" y="207"/>
                  </a:lnTo>
                  <a:lnTo>
                    <a:pt x="600" y="207"/>
                  </a:lnTo>
                  <a:lnTo>
                    <a:pt x="600" y="207"/>
                  </a:lnTo>
                  <a:lnTo>
                    <a:pt x="602" y="207"/>
                  </a:lnTo>
                  <a:lnTo>
                    <a:pt x="602" y="207"/>
                  </a:lnTo>
                  <a:lnTo>
                    <a:pt x="604" y="207"/>
                  </a:lnTo>
                  <a:lnTo>
                    <a:pt x="604" y="207"/>
                  </a:lnTo>
                  <a:lnTo>
                    <a:pt x="609" y="207"/>
                  </a:lnTo>
                  <a:lnTo>
                    <a:pt x="609" y="207"/>
                  </a:lnTo>
                  <a:lnTo>
                    <a:pt x="611" y="209"/>
                  </a:lnTo>
                  <a:lnTo>
                    <a:pt x="611" y="209"/>
                  </a:lnTo>
                  <a:lnTo>
                    <a:pt x="611" y="209"/>
                  </a:lnTo>
                  <a:lnTo>
                    <a:pt x="611" y="209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3" y="209"/>
                  </a:lnTo>
                  <a:lnTo>
                    <a:pt x="613" y="211"/>
                  </a:lnTo>
                  <a:lnTo>
                    <a:pt x="613" y="211"/>
                  </a:lnTo>
                  <a:lnTo>
                    <a:pt x="613" y="211"/>
                  </a:lnTo>
                  <a:lnTo>
                    <a:pt x="611" y="211"/>
                  </a:lnTo>
                  <a:lnTo>
                    <a:pt x="611" y="213"/>
                  </a:lnTo>
                  <a:lnTo>
                    <a:pt x="611" y="213"/>
                  </a:lnTo>
                  <a:lnTo>
                    <a:pt x="609" y="211"/>
                  </a:lnTo>
                  <a:lnTo>
                    <a:pt x="609" y="211"/>
                  </a:lnTo>
                  <a:lnTo>
                    <a:pt x="607" y="211"/>
                  </a:lnTo>
                  <a:lnTo>
                    <a:pt x="609" y="211"/>
                  </a:lnTo>
                  <a:lnTo>
                    <a:pt x="609" y="213"/>
                  </a:lnTo>
                  <a:lnTo>
                    <a:pt x="611" y="213"/>
                  </a:lnTo>
                  <a:lnTo>
                    <a:pt x="609" y="213"/>
                  </a:lnTo>
                  <a:lnTo>
                    <a:pt x="609" y="213"/>
                  </a:lnTo>
                  <a:lnTo>
                    <a:pt x="609" y="213"/>
                  </a:lnTo>
                  <a:lnTo>
                    <a:pt x="607" y="213"/>
                  </a:lnTo>
                  <a:lnTo>
                    <a:pt x="607" y="213"/>
                  </a:lnTo>
                  <a:lnTo>
                    <a:pt x="607" y="216"/>
                  </a:lnTo>
                  <a:lnTo>
                    <a:pt x="604" y="216"/>
                  </a:lnTo>
                  <a:lnTo>
                    <a:pt x="604" y="216"/>
                  </a:lnTo>
                  <a:lnTo>
                    <a:pt x="604" y="216"/>
                  </a:lnTo>
                  <a:lnTo>
                    <a:pt x="604" y="216"/>
                  </a:lnTo>
                  <a:lnTo>
                    <a:pt x="602" y="216"/>
                  </a:lnTo>
                  <a:lnTo>
                    <a:pt x="602" y="216"/>
                  </a:lnTo>
                  <a:lnTo>
                    <a:pt x="602" y="216"/>
                  </a:lnTo>
                  <a:lnTo>
                    <a:pt x="600" y="216"/>
                  </a:lnTo>
                  <a:lnTo>
                    <a:pt x="600" y="216"/>
                  </a:lnTo>
                  <a:lnTo>
                    <a:pt x="600" y="216"/>
                  </a:lnTo>
                  <a:lnTo>
                    <a:pt x="600" y="216"/>
                  </a:lnTo>
                  <a:lnTo>
                    <a:pt x="600" y="216"/>
                  </a:lnTo>
                  <a:lnTo>
                    <a:pt x="598" y="216"/>
                  </a:lnTo>
                  <a:lnTo>
                    <a:pt x="598" y="216"/>
                  </a:lnTo>
                  <a:lnTo>
                    <a:pt x="598" y="216"/>
                  </a:lnTo>
                  <a:lnTo>
                    <a:pt x="598" y="218"/>
                  </a:lnTo>
                  <a:lnTo>
                    <a:pt x="595" y="218"/>
                  </a:lnTo>
                  <a:lnTo>
                    <a:pt x="591" y="218"/>
                  </a:lnTo>
                  <a:lnTo>
                    <a:pt x="586" y="218"/>
                  </a:lnTo>
                  <a:lnTo>
                    <a:pt x="584" y="218"/>
                  </a:lnTo>
                  <a:lnTo>
                    <a:pt x="580" y="218"/>
                  </a:lnTo>
                  <a:lnTo>
                    <a:pt x="580" y="218"/>
                  </a:lnTo>
                  <a:lnTo>
                    <a:pt x="580" y="218"/>
                  </a:lnTo>
                  <a:lnTo>
                    <a:pt x="580" y="216"/>
                  </a:lnTo>
                  <a:lnTo>
                    <a:pt x="577" y="216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7" y="213"/>
                  </a:lnTo>
                  <a:lnTo>
                    <a:pt x="575" y="213"/>
                  </a:lnTo>
                  <a:lnTo>
                    <a:pt x="575" y="213"/>
                  </a:lnTo>
                  <a:lnTo>
                    <a:pt x="575" y="213"/>
                  </a:lnTo>
                  <a:lnTo>
                    <a:pt x="575" y="213"/>
                  </a:lnTo>
                  <a:lnTo>
                    <a:pt x="575" y="216"/>
                  </a:lnTo>
                  <a:lnTo>
                    <a:pt x="575" y="216"/>
                  </a:lnTo>
                  <a:lnTo>
                    <a:pt x="575" y="216"/>
                  </a:lnTo>
                  <a:lnTo>
                    <a:pt x="577" y="216"/>
                  </a:lnTo>
                  <a:lnTo>
                    <a:pt x="577" y="216"/>
                  </a:lnTo>
                  <a:lnTo>
                    <a:pt x="577" y="216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80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7" y="218"/>
                  </a:lnTo>
                  <a:lnTo>
                    <a:pt x="575" y="218"/>
                  </a:lnTo>
                  <a:lnTo>
                    <a:pt x="573" y="218"/>
                  </a:lnTo>
                  <a:lnTo>
                    <a:pt x="573" y="218"/>
                  </a:lnTo>
                  <a:lnTo>
                    <a:pt x="573" y="218"/>
                  </a:lnTo>
                  <a:lnTo>
                    <a:pt x="573" y="216"/>
                  </a:lnTo>
                  <a:lnTo>
                    <a:pt x="573" y="218"/>
                  </a:lnTo>
                  <a:lnTo>
                    <a:pt x="571" y="218"/>
                  </a:lnTo>
                  <a:lnTo>
                    <a:pt x="571" y="218"/>
                  </a:lnTo>
                  <a:lnTo>
                    <a:pt x="569" y="218"/>
                  </a:lnTo>
                  <a:lnTo>
                    <a:pt x="569" y="218"/>
                  </a:lnTo>
                  <a:lnTo>
                    <a:pt x="569" y="216"/>
                  </a:lnTo>
                  <a:lnTo>
                    <a:pt x="569" y="218"/>
                  </a:lnTo>
                  <a:lnTo>
                    <a:pt x="566" y="218"/>
                  </a:lnTo>
                  <a:lnTo>
                    <a:pt x="566" y="218"/>
                  </a:lnTo>
                  <a:lnTo>
                    <a:pt x="571" y="218"/>
                  </a:lnTo>
                  <a:lnTo>
                    <a:pt x="571" y="218"/>
                  </a:lnTo>
                  <a:lnTo>
                    <a:pt x="571" y="218"/>
                  </a:lnTo>
                  <a:lnTo>
                    <a:pt x="573" y="218"/>
                  </a:lnTo>
                  <a:lnTo>
                    <a:pt x="573" y="218"/>
                  </a:lnTo>
                  <a:lnTo>
                    <a:pt x="573" y="218"/>
                  </a:lnTo>
                  <a:lnTo>
                    <a:pt x="573" y="220"/>
                  </a:lnTo>
                  <a:lnTo>
                    <a:pt x="573" y="220"/>
                  </a:lnTo>
                  <a:lnTo>
                    <a:pt x="573" y="220"/>
                  </a:lnTo>
                  <a:lnTo>
                    <a:pt x="573" y="220"/>
                  </a:lnTo>
                  <a:lnTo>
                    <a:pt x="573" y="220"/>
                  </a:lnTo>
                  <a:lnTo>
                    <a:pt x="573" y="222"/>
                  </a:lnTo>
                  <a:lnTo>
                    <a:pt x="571" y="222"/>
                  </a:lnTo>
                  <a:lnTo>
                    <a:pt x="571" y="222"/>
                  </a:lnTo>
                  <a:lnTo>
                    <a:pt x="569" y="225"/>
                  </a:lnTo>
                  <a:lnTo>
                    <a:pt x="569" y="225"/>
                  </a:lnTo>
                  <a:lnTo>
                    <a:pt x="569" y="225"/>
                  </a:lnTo>
                  <a:lnTo>
                    <a:pt x="566" y="225"/>
                  </a:lnTo>
                  <a:lnTo>
                    <a:pt x="566" y="225"/>
                  </a:lnTo>
                  <a:lnTo>
                    <a:pt x="566" y="225"/>
                  </a:lnTo>
                  <a:lnTo>
                    <a:pt x="566" y="225"/>
                  </a:lnTo>
                  <a:lnTo>
                    <a:pt x="569" y="225"/>
                  </a:lnTo>
                  <a:lnTo>
                    <a:pt x="569" y="225"/>
                  </a:lnTo>
                  <a:lnTo>
                    <a:pt x="566" y="225"/>
                  </a:lnTo>
                  <a:lnTo>
                    <a:pt x="566" y="225"/>
                  </a:lnTo>
                  <a:lnTo>
                    <a:pt x="566" y="225"/>
                  </a:lnTo>
                  <a:lnTo>
                    <a:pt x="564" y="225"/>
                  </a:lnTo>
                  <a:lnTo>
                    <a:pt x="564" y="227"/>
                  </a:lnTo>
                  <a:lnTo>
                    <a:pt x="564" y="225"/>
                  </a:lnTo>
                  <a:lnTo>
                    <a:pt x="562" y="227"/>
                  </a:lnTo>
                  <a:lnTo>
                    <a:pt x="562" y="227"/>
                  </a:lnTo>
                  <a:lnTo>
                    <a:pt x="562" y="227"/>
                  </a:lnTo>
                  <a:lnTo>
                    <a:pt x="562" y="227"/>
                  </a:lnTo>
                  <a:lnTo>
                    <a:pt x="560" y="227"/>
                  </a:lnTo>
                  <a:lnTo>
                    <a:pt x="555" y="227"/>
                  </a:lnTo>
                  <a:lnTo>
                    <a:pt x="555" y="227"/>
                  </a:lnTo>
                  <a:lnTo>
                    <a:pt x="555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7"/>
                  </a:lnTo>
                  <a:lnTo>
                    <a:pt x="553" y="229"/>
                  </a:lnTo>
                  <a:lnTo>
                    <a:pt x="553" y="229"/>
                  </a:lnTo>
                  <a:lnTo>
                    <a:pt x="553" y="229"/>
                  </a:lnTo>
                  <a:lnTo>
                    <a:pt x="553" y="229"/>
                  </a:lnTo>
                  <a:lnTo>
                    <a:pt x="553" y="229"/>
                  </a:lnTo>
                  <a:lnTo>
                    <a:pt x="553" y="229"/>
                  </a:lnTo>
                  <a:lnTo>
                    <a:pt x="555" y="229"/>
                  </a:lnTo>
                  <a:lnTo>
                    <a:pt x="555" y="229"/>
                  </a:lnTo>
                  <a:lnTo>
                    <a:pt x="555" y="229"/>
                  </a:lnTo>
                  <a:lnTo>
                    <a:pt x="557" y="227"/>
                  </a:lnTo>
                  <a:lnTo>
                    <a:pt x="557" y="227"/>
                  </a:lnTo>
                  <a:lnTo>
                    <a:pt x="557" y="227"/>
                  </a:lnTo>
                  <a:lnTo>
                    <a:pt x="560" y="227"/>
                  </a:lnTo>
                  <a:lnTo>
                    <a:pt x="562" y="227"/>
                  </a:lnTo>
                  <a:lnTo>
                    <a:pt x="562" y="227"/>
                  </a:lnTo>
                  <a:lnTo>
                    <a:pt x="564" y="227"/>
                  </a:lnTo>
                  <a:lnTo>
                    <a:pt x="564" y="227"/>
                  </a:lnTo>
                  <a:lnTo>
                    <a:pt x="564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6" y="227"/>
                  </a:lnTo>
                  <a:lnTo>
                    <a:pt x="564" y="227"/>
                  </a:lnTo>
                  <a:lnTo>
                    <a:pt x="564" y="229"/>
                  </a:lnTo>
                  <a:lnTo>
                    <a:pt x="566" y="229"/>
                  </a:lnTo>
                  <a:lnTo>
                    <a:pt x="566" y="229"/>
                  </a:lnTo>
                  <a:lnTo>
                    <a:pt x="566" y="229"/>
                  </a:lnTo>
                  <a:lnTo>
                    <a:pt x="569" y="229"/>
                  </a:lnTo>
                  <a:lnTo>
                    <a:pt x="569" y="229"/>
                  </a:lnTo>
                  <a:lnTo>
                    <a:pt x="582" y="227"/>
                  </a:lnTo>
                  <a:lnTo>
                    <a:pt x="584" y="227"/>
                  </a:lnTo>
                  <a:lnTo>
                    <a:pt x="586" y="227"/>
                  </a:lnTo>
                  <a:lnTo>
                    <a:pt x="589" y="227"/>
                  </a:lnTo>
                  <a:lnTo>
                    <a:pt x="589" y="227"/>
                  </a:lnTo>
                  <a:lnTo>
                    <a:pt x="593" y="227"/>
                  </a:lnTo>
                  <a:lnTo>
                    <a:pt x="593" y="227"/>
                  </a:lnTo>
                  <a:lnTo>
                    <a:pt x="595" y="229"/>
                  </a:lnTo>
                  <a:lnTo>
                    <a:pt x="595" y="229"/>
                  </a:lnTo>
                  <a:lnTo>
                    <a:pt x="595" y="229"/>
                  </a:lnTo>
                  <a:lnTo>
                    <a:pt x="593" y="229"/>
                  </a:lnTo>
                  <a:lnTo>
                    <a:pt x="593" y="229"/>
                  </a:lnTo>
                  <a:lnTo>
                    <a:pt x="593" y="229"/>
                  </a:lnTo>
                  <a:lnTo>
                    <a:pt x="593" y="229"/>
                  </a:lnTo>
                  <a:lnTo>
                    <a:pt x="589" y="231"/>
                  </a:lnTo>
                  <a:lnTo>
                    <a:pt x="589" y="231"/>
                  </a:lnTo>
                  <a:lnTo>
                    <a:pt x="586" y="231"/>
                  </a:lnTo>
                  <a:lnTo>
                    <a:pt x="586" y="229"/>
                  </a:lnTo>
                  <a:lnTo>
                    <a:pt x="584" y="229"/>
                  </a:lnTo>
                  <a:lnTo>
                    <a:pt x="584" y="231"/>
                  </a:lnTo>
                  <a:lnTo>
                    <a:pt x="584" y="231"/>
                  </a:lnTo>
                  <a:lnTo>
                    <a:pt x="582" y="231"/>
                  </a:lnTo>
                  <a:lnTo>
                    <a:pt x="582" y="231"/>
                  </a:lnTo>
                  <a:lnTo>
                    <a:pt x="580" y="231"/>
                  </a:lnTo>
                  <a:lnTo>
                    <a:pt x="580" y="231"/>
                  </a:lnTo>
                  <a:lnTo>
                    <a:pt x="577" y="231"/>
                  </a:lnTo>
                  <a:lnTo>
                    <a:pt x="577" y="234"/>
                  </a:lnTo>
                  <a:lnTo>
                    <a:pt x="577" y="234"/>
                  </a:lnTo>
                  <a:lnTo>
                    <a:pt x="573" y="234"/>
                  </a:lnTo>
                  <a:lnTo>
                    <a:pt x="573" y="234"/>
                  </a:lnTo>
                  <a:lnTo>
                    <a:pt x="571" y="234"/>
                  </a:lnTo>
                  <a:lnTo>
                    <a:pt x="571" y="234"/>
                  </a:lnTo>
                  <a:lnTo>
                    <a:pt x="566" y="234"/>
                  </a:lnTo>
                  <a:lnTo>
                    <a:pt x="564" y="234"/>
                  </a:lnTo>
                  <a:lnTo>
                    <a:pt x="564" y="234"/>
                  </a:lnTo>
                  <a:lnTo>
                    <a:pt x="564" y="234"/>
                  </a:lnTo>
                  <a:lnTo>
                    <a:pt x="562" y="234"/>
                  </a:lnTo>
                  <a:lnTo>
                    <a:pt x="562" y="234"/>
                  </a:lnTo>
                  <a:lnTo>
                    <a:pt x="560" y="234"/>
                  </a:lnTo>
                  <a:lnTo>
                    <a:pt x="560" y="234"/>
                  </a:lnTo>
                  <a:lnTo>
                    <a:pt x="560" y="236"/>
                  </a:lnTo>
                  <a:lnTo>
                    <a:pt x="560" y="236"/>
                  </a:lnTo>
                  <a:lnTo>
                    <a:pt x="560" y="236"/>
                  </a:lnTo>
                  <a:lnTo>
                    <a:pt x="560" y="236"/>
                  </a:lnTo>
                  <a:lnTo>
                    <a:pt x="562" y="236"/>
                  </a:lnTo>
                  <a:lnTo>
                    <a:pt x="562" y="236"/>
                  </a:lnTo>
                  <a:lnTo>
                    <a:pt x="564" y="236"/>
                  </a:lnTo>
                  <a:lnTo>
                    <a:pt x="566" y="236"/>
                  </a:lnTo>
                  <a:lnTo>
                    <a:pt x="566" y="236"/>
                  </a:lnTo>
                  <a:lnTo>
                    <a:pt x="569" y="236"/>
                  </a:lnTo>
                  <a:lnTo>
                    <a:pt x="569" y="236"/>
                  </a:lnTo>
                  <a:lnTo>
                    <a:pt x="569" y="236"/>
                  </a:lnTo>
                  <a:lnTo>
                    <a:pt x="569" y="236"/>
                  </a:lnTo>
                  <a:lnTo>
                    <a:pt x="569" y="236"/>
                  </a:lnTo>
                  <a:lnTo>
                    <a:pt x="569" y="236"/>
                  </a:lnTo>
                  <a:lnTo>
                    <a:pt x="571" y="236"/>
                  </a:lnTo>
                  <a:lnTo>
                    <a:pt x="571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6"/>
                  </a:lnTo>
                  <a:lnTo>
                    <a:pt x="575" y="238"/>
                  </a:lnTo>
                  <a:lnTo>
                    <a:pt x="575" y="238"/>
                  </a:lnTo>
                  <a:lnTo>
                    <a:pt x="577" y="238"/>
                  </a:lnTo>
                  <a:lnTo>
                    <a:pt x="577" y="236"/>
                  </a:lnTo>
                  <a:lnTo>
                    <a:pt x="580" y="236"/>
                  </a:lnTo>
                  <a:lnTo>
                    <a:pt x="580" y="234"/>
                  </a:lnTo>
                  <a:lnTo>
                    <a:pt x="582" y="234"/>
                  </a:lnTo>
                  <a:lnTo>
                    <a:pt x="582" y="234"/>
                  </a:lnTo>
                  <a:lnTo>
                    <a:pt x="580" y="234"/>
                  </a:lnTo>
                  <a:lnTo>
                    <a:pt x="580" y="234"/>
                  </a:lnTo>
                  <a:lnTo>
                    <a:pt x="582" y="234"/>
                  </a:lnTo>
                  <a:lnTo>
                    <a:pt x="582" y="234"/>
                  </a:lnTo>
                  <a:lnTo>
                    <a:pt x="582" y="234"/>
                  </a:lnTo>
                  <a:lnTo>
                    <a:pt x="582" y="234"/>
                  </a:lnTo>
                  <a:lnTo>
                    <a:pt x="582" y="231"/>
                  </a:lnTo>
                  <a:lnTo>
                    <a:pt x="582" y="231"/>
                  </a:lnTo>
                  <a:lnTo>
                    <a:pt x="584" y="231"/>
                  </a:lnTo>
                  <a:lnTo>
                    <a:pt x="584" y="231"/>
                  </a:lnTo>
                  <a:lnTo>
                    <a:pt x="584" y="231"/>
                  </a:lnTo>
                  <a:lnTo>
                    <a:pt x="586" y="231"/>
                  </a:lnTo>
                  <a:lnTo>
                    <a:pt x="586" y="231"/>
                  </a:lnTo>
                  <a:lnTo>
                    <a:pt x="586" y="231"/>
                  </a:lnTo>
                  <a:lnTo>
                    <a:pt x="591" y="231"/>
                  </a:lnTo>
                  <a:lnTo>
                    <a:pt x="591" y="231"/>
                  </a:lnTo>
                  <a:lnTo>
                    <a:pt x="591" y="231"/>
                  </a:lnTo>
                  <a:lnTo>
                    <a:pt x="593" y="231"/>
                  </a:lnTo>
                  <a:lnTo>
                    <a:pt x="595" y="231"/>
                  </a:lnTo>
                  <a:lnTo>
                    <a:pt x="595" y="231"/>
                  </a:lnTo>
                  <a:lnTo>
                    <a:pt x="600" y="231"/>
                  </a:lnTo>
                  <a:lnTo>
                    <a:pt x="602" y="231"/>
                  </a:lnTo>
                  <a:lnTo>
                    <a:pt x="609" y="229"/>
                  </a:lnTo>
                  <a:lnTo>
                    <a:pt x="609" y="229"/>
                  </a:lnTo>
                  <a:lnTo>
                    <a:pt x="609" y="229"/>
                  </a:lnTo>
                  <a:lnTo>
                    <a:pt x="611" y="229"/>
                  </a:lnTo>
                  <a:lnTo>
                    <a:pt x="611" y="229"/>
                  </a:lnTo>
                  <a:lnTo>
                    <a:pt x="611" y="229"/>
                  </a:lnTo>
                  <a:lnTo>
                    <a:pt x="611" y="229"/>
                  </a:lnTo>
                  <a:lnTo>
                    <a:pt x="611" y="229"/>
                  </a:lnTo>
                  <a:lnTo>
                    <a:pt x="611" y="229"/>
                  </a:lnTo>
                  <a:lnTo>
                    <a:pt x="609" y="229"/>
                  </a:lnTo>
                  <a:lnTo>
                    <a:pt x="609" y="229"/>
                  </a:lnTo>
                  <a:lnTo>
                    <a:pt x="611" y="229"/>
                  </a:lnTo>
                  <a:lnTo>
                    <a:pt x="611" y="229"/>
                  </a:lnTo>
                  <a:lnTo>
                    <a:pt x="609" y="229"/>
                  </a:lnTo>
                  <a:lnTo>
                    <a:pt x="609" y="229"/>
                  </a:lnTo>
                  <a:lnTo>
                    <a:pt x="609" y="229"/>
                  </a:lnTo>
                  <a:lnTo>
                    <a:pt x="609" y="229"/>
                  </a:lnTo>
                  <a:lnTo>
                    <a:pt x="609" y="231"/>
                  </a:lnTo>
                  <a:lnTo>
                    <a:pt x="609" y="231"/>
                  </a:lnTo>
                  <a:lnTo>
                    <a:pt x="609" y="231"/>
                  </a:lnTo>
                  <a:lnTo>
                    <a:pt x="609" y="231"/>
                  </a:lnTo>
                  <a:lnTo>
                    <a:pt x="609" y="231"/>
                  </a:lnTo>
                  <a:lnTo>
                    <a:pt x="611" y="231"/>
                  </a:lnTo>
                  <a:lnTo>
                    <a:pt x="611" y="231"/>
                  </a:lnTo>
                  <a:lnTo>
                    <a:pt x="611" y="231"/>
                  </a:lnTo>
                  <a:lnTo>
                    <a:pt x="611" y="231"/>
                  </a:lnTo>
                  <a:lnTo>
                    <a:pt x="611" y="231"/>
                  </a:lnTo>
                  <a:lnTo>
                    <a:pt x="611" y="229"/>
                  </a:lnTo>
                  <a:lnTo>
                    <a:pt x="613" y="229"/>
                  </a:lnTo>
                  <a:lnTo>
                    <a:pt x="616" y="229"/>
                  </a:lnTo>
                  <a:lnTo>
                    <a:pt x="616" y="229"/>
                  </a:lnTo>
                  <a:lnTo>
                    <a:pt x="616" y="229"/>
                  </a:lnTo>
                  <a:lnTo>
                    <a:pt x="616" y="229"/>
                  </a:lnTo>
                  <a:lnTo>
                    <a:pt x="616" y="229"/>
                  </a:lnTo>
                  <a:lnTo>
                    <a:pt x="616" y="229"/>
                  </a:lnTo>
                  <a:lnTo>
                    <a:pt x="616" y="231"/>
                  </a:lnTo>
                  <a:lnTo>
                    <a:pt x="616" y="231"/>
                  </a:lnTo>
                  <a:lnTo>
                    <a:pt x="616" y="231"/>
                  </a:lnTo>
                  <a:lnTo>
                    <a:pt x="618" y="231"/>
                  </a:lnTo>
                  <a:lnTo>
                    <a:pt x="618" y="231"/>
                  </a:lnTo>
                  <a:lnTo>
                    <a:pt x="618" y="229"/>
                  </a:lnTo>
                  <a:lnTo>
                    <a:pt x="618" y="229"/>
                  </a:lnTo>
                  <a:lnTo>
                    <a:pt x="618" y="229"/>
                  </a:lnTo>
                  <a:lnTo>
                    <a:pt x="618" y="229"/>
                  </a:lnTo>
                  <a:lnTo>
                    <a:pt x="618" y="231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20" y="231"/>
                  </a:lnTo>
                  <a:lnTo>
                    <a:pt x="622" y="231"/>
                  </a:lnTo>
                  <a:lnTo>
                    <a:pt x="622" y="231"/>
                  </a:lnTo>
                  <a:lnTo>
                    <a:pt x="622" y="231"/>
                  </a:lnTo>
                  <a:lnTo>
                    <a:pt x="622" y="231"/>
                  </a:lnTo>
                  <a:lnTo>
                    <a:pt x="622" y="231"/>
                  </a:lnTo>
                  <a:lnTo>
                    <a:pt x="622" y="231"/>
                  </a:lnTo>
                  <a:lnTo>
                    <a:pt x="622" y="231"/>
                  </a:lnTo>
                  <a:lnTo>
                    <a:pt x="627" y="231"/>
                  </a:lnTo>
                  <a:lnTo>
                    <a:pt x="627" y="234"/>
                  </a:lnTo>
                  <a:lnTo>
                    <a:pt x="629" y="234"/>
                  </a:lnTo>
                  <a:lnTo>
                    <a:pt x="629" y="234"/>
                  </a:lnTo>
                  <a:lnTo>
                    <a:pt x="629" y="234"/>
                  </a:lnTo>
                  <a:lnTo>
                    <a:pt x="629" y="234"/>
                  </a:lnTo>
                  <a:lnTo>
                    <a:pt x="629" y="234"/>
                  </a:lnTo>
                  <a:lnTo>
                    <a:pt x="631" y="234"/>
                  </a:lnTo>
                  <a:lnTo>
                    <a:pt x="631" y="234"/>
                  </a:lnTo>
                  <a:lnTo>
                    <a:pt x="631" y="234"/>
                  </a:lnTo>
                  <a:lnTo>
                    <a:pt x="631" y="234"/>
                  </a:lnTo>
                  <a:lnTo>
                    <a:pt x="631" y="234"/>
                  </a:lnTo>
                  <a:lnTo>
                    <a:pt x="634" y="234"/>
                  </a:lnTo>
                  <a:lnTo>
                    <a:pt x="634" y="234"/>
                  </a:lnTo>
                  <a:lnTo>
                    <a:pt x="634" y="234"/>
                  </a:lnTo>
                  <a:lnTo>
                    <a:pt x="634" y="234"/>
                  </a:lnTo>
                  <a:lnTo>
                    <a:pt x="636" y="234"/>
                  </a:lnTo>
                  <a:lnTo>
                    <a:pt x="636" y="234"/>
                  </a:lnTo>
                  <a:lnTo>
                    <a:pt x="654" y="234"/>
                  </a:lnTo>
                  <a:lnTo>
                    <a:pt x="654" y="234"/>
                  </a:lnTo>
                  <a:lnTo>
                    <a:pt x="654" y="234"/>
                  </a:lnTo>
                  <a:lnTo>
                    <a:pt x="656" y="234"/>
                  </a:lnTo>
                  <a:lnTo>
                    <a:pt x="658" y="234"/>
                  </a:lnTo>
                  <a:lnTo>
                    <a:pt x="658" y="234"/>
                  </a:lnTo>
                  <a:lnTo>
                    <a:pt x="658" y="234"/>
                  </a:lnTo>
                  <a:lnTo>
                    <a:pt x="658" y="234"/>
                  </a:lnTo>
                  <a:lnTo>
                    <a:pt x="658" y="234"/>
                  </a:lnTo>
                  <a:lnTo>
                    <a:pt x="658" y="234"/>
                  </a:lnTo>
                  <a:lnTo>
                    <a:pt x="656" y="236"/>
                  </a:lnTo>
                  <a:lnTo>
                    <a:pt x="656" y="236"/>
                  </a:lnTo>
                  <a:lnTo>
                    <a:pt x="656" y="236"/>
                  </a:lnTo>
                  <a:lnTo>
                    <a:pt x="654" y="236"/>
                  </a:lnTo>
                  <a:lnTo>
                    <a:pt x="654" y="236"/>
                  </a:lnTo>
                  <a:lnTo>
                    <a:pt x="654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49" y="236"/>
                  </a:lnTo>
                  <a:lnTo>
                    <a:pt x="649" y="238"/>
                  </a:lnTo>
                  <a:lnTo>
                    <a:pt x="649" y="238"/>
                  </a:lnTo>
                  <a:lnTo>
                    <a:pt x="649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7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5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3" y="238"/>
                  </a:lnTo>
                  <a:lnTo>
                    <a:pt x="640" y="238"/>
                  </a:lnTo>
                  <a:lnTo>
                    <a:pt x="640" y="238"/>
                  </a:lnTo>
                  <a:lnTo>
                    <a:pt x="638" y="238"/>
                  </a:lnTo>
                  <a:lnTo>
                    <a:pt x="638" y="238"/>
                  </a:lnTo>
                  <a:lnTo>
                    <a:pt x="638" y="240"/>
                  </a:lnTo>
                  <a:lnTo>
                    <a:pt x="643" y="240"/>
                  </a:lnTo>
                  <a:lnTo>
                    <a:pt x="645" y="240"/>
                  </a:lnTo>
                  <a:lnTo>
                    <a:pt x="645" y="240"/>
                  </a:lnTo>
                  <a:lnTo>
                    <a:pt x="645" y="240"/>
                  </a:lnTo>
                  <a:lnTo>
                    <a:pt x="645" y="240"/>
                  </a:lnTo>
                  <a:lnTo>
                    <a:pt x="645" y="240"/>
                  </a:lnTo>
                  <a:lnTo>
                    <a:pt x="643" y="240"/>
                  </a:lnTo>
                  <a:lnTo>
                    <a:pt x="643" y="240"/>
                  </a:lnTo>
                  <a:lnTo>
                    <a:pt x="640" y="240"/>
                  </a:lnTo>
                  <a:lnTo>
                    <a:pt x="640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38"/>
                  </a:lnTo>
                  <a:lnTo>
                    <a:pt x="638" y="238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8" y="240"/>
                  </a:lnTo>
                  <a:lnTo>
                    <a:pt x="636" y="240"/>
                  </a:lnTo>
                  <a:lnTo>
                    <a:pt x="634" y="243"/>
                  </a:lnTo>
                  <a:lnTo>
                    <a:pt x="629" y="240"/>
                  </a:lnTo>
                  <a:lnTo>
                    <a:pt x="629" y="240"/>
                  </a:lnTo>
                  <a:lnTo>
                    <a:pt x="631" y="243"/>
                  </a:lnTo>
                  <a:lnTo>
                    <a:pt x="631" y="243"/>
                  </a:lnTo>
                  <a:lnTo>
                    <a:pt x="631" y="243"/>
                  </a:lnTo>
                  <a:lnTo>
                    <a:pt x="631" y="243"/>
                  </a:lnTo>
                  <a:lnTo>
                    <a:pt x="631" y="243"/>
                  </a:lnTo>
                  <a:lnTo>
                    <a:pt x="634" y="243"/>
                  </a:lnTo>
                  <a:lnTo>
                    <a:pt x="634" y="243"/>
                  </a:lnTo>
                  <a:lnTo>
                    <a:pt x="634" y="245"/>
                  </a:lnTo>
                  <a:lnTo>
                    <a:pt x="634" y="245"/>
                  </a:lnTo>
                  <a:lnTo>
                    <a:pt x="631" y="245"/>
                  </a:lnTo>
                  <a:lnTo>
                    <a:pt x="631" y="245"/>
                  </a:lnTo>
                  <a:lnTo>
                    <a:pt x="631" y="245"/>
                  </a:lnTo>
                  <a:lnTo>
                    <a:pt x="631" y="245"/>
                  </a:lnTo>
                  <a:lnTo>
                    <a:pt x="631" y="245"/>
                  </a:lnTo>
                  <a:lnTo>
                    <a:pt x="631" y="245"/>
                  </a:lnTo>
                  <a:lnTo>
                    <a:pt x="631" y="245"/>
                  </a:lnTo>
                  <a:lnTo>
                    <a:pt x="629" y="247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7" y="245"/>
                  </a:lnTo>
                  <a:lnTo>
                    <a:pt x="625" y="245"/>
                  </a:lnTo>
                  <a:lnTo>
                    <a:pt x="622" y="245"/>
                  </a:lnTo>
                  <a:lnTo>
                    <a:pt x="622" y="245"/>
                  </a:lnTo>
                  <a:lnTo>
                    <a:pt x="622" y="245"/>
                  </a:lnTo>
                  <a:lnTo>
                    <a:pt x="622" y="245"/>
                  </a:lnTo>
                  <a:lnTo>
                    <a:pt x="622" y="245"/>
                  </a:lnTo>
                  <a:lnTo>
                    <a:pt x="625" y="245"/>
                  </a:lnTo>
                  <a:lnTo>
                    <a:pt x="625" y="245"/>
                  </a:lnTo>
                  <a:lnTo>
                    <a:pt x="625" y="245"/>
                  </a:lnTo>
                  <a:lnTo>
                    <a:pt x="625" y="245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5" y="247"/>
                  </a:lnTo>
                  <a:lnTo>
                    <a:pt x="622" y="247"/>
                  </a:lnTo>
                  <a:lnTo>
                    <a:pt x="622" y="247"/>
                  </a:lnTo>
                  <a:lnTo>
                    <a:pt x="620" y="247"/>
                  </a:lnTo>
                  <a:lnTo>
                    <a:pt x="620" y="247"/>
                  </a:lnTo>
                  <a:lnTo>
                    <a:pt x="620" y="247"/>
                  </a:lnTo>
                  <a:lnTo>
                    <a:pt x="620" y="247"/>
                  </a:lnTo>
                  <a:lnTo>
                    <a:pt x="620" y="249"/>
                  </a:lnTo>
                  <a:lnTo>
                    <a:pt x="620" y="249"/>
                  </a:lnTo>
                  <a:lnTo>
                    <a:pt x="618" y="249"/>
                  </a:lnTo>
                  <a:lnTo>
                    <a:pt x="618" y="249"/>
                  </a:lnTo>
                  <a:lnTo>
                    <a:pt x="618" y="249"/>
                  </a:lnTo>
                  <a:lnTo>
                    <a:pt x="618" y="249"/>
                  </a:lnTo>
                  <a:lnTo>
                    <a:pt x="618" y="249"/>
                  </a:lnTo>
                  <a:lnTo>
                    <a:pt x="618" y="249"/>
                  </a:lnTo>
                  <a:lnTo>
                    <a:pt x="618" y="249"/>
                  </a:lnTo>
                  <a:lnTo>
                    <a:pt x="616" y="249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6" y="247"/>
                  </a:lnTo>
                  <a:lnTo>
                    <a:pt x="613" y="247"/>
                  </a:lnTo>
                  <a:lnTo>
                    <a:pt x="613" y="247"/>
                  </a:lnTo>
                  <a:lnTo>
                    <a:pt x="613" y="249"/>
                  </a:lnTo>
                  <a:lnTo>
                    <a:pt x="616" y="249"/>
                  </a:lnTo>
                  <a:lnTo>
                    <a:pt x="616" y="249"/>
                  </a:lnTo>
                  <a:lnTo>
                    <a:pt x="616" y="249"/>
                  </a:lnTo>
                  <a:lnTo>
                    <a:pt x="616" y="249"/>
                  </a:lnTo>
                  <a:lnTo>
                    <a:pt x="616" y="249"/>
                  </a:lnTo>
                  <a:lnTo>
                    <a:pt x="616" y="249"/>
                  </a:lnTo>
                  <a:lnTo>
                    <a:pt x="616" y="249"/>
                  </a:lnTo>
                  <a:lnTo>
                    <a:pt x="613" y="249"/>
                  </a:lnTo>
                  <a:lnTo>
                    <a:pt x="613" y="249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6" y="252"/>
                  </a:lnTo>
                  <a:lnTo>
                    <a:pt x="616" y="252"/>
                  </a:lnTo>
                  <a:lnTo>
                    <a:pt x="616" y="252"/>
                  </a:lnTo>
                  <a:lnTo>
                    <a:pt x="616" y="252"/>
                  </a:lnTo>
                  <a:lnTo>
                    <a:pt x="616" y="252"/>
                  </a:lnTo>
                  <a:lnTo>
                    <a:pt x="616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3" y="252"/>
                  </a:lnTo>
                  <a:lnTo>
                    <a:pt x="611" y="252"/>
                  </a:lnTo>
                  <a:lnTo>
                    <a:pt x="611" y="252"/>
                  </a:lnTo>
                  <a:lnTo>
                    <a:pt x="609" y="249"/>
                  </a:lnTo>
                  <a:lnTo>
                    <a:pt x="609" y="249"/>
                  </a:lnTo>
                  <a:lnTo>
                    <a:pt x="609" y="249"/>
                  </a:lnTo>
                  <a:lnTo>
                    <a:pt x="609" y="249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7" y="252"/>
                  </a:lnTo>
                  <a:lnTo>
                    <a:pt x="609" y="252"/>
                  </a:lnTo>
                  <a:lnTo>
                    <a:pt x="609" y="252"/>
                  </a:lnTo>
                  <a:lnTo>
                    <a:pt x="609" y="252"/>
                  </a:lnTo>
                  <a:lnTo>
                    <a:pt x="609" y="252"/>
                  </a:lnTo>
                  <a:lnTo>
                    <a:pt x="611" y="252"/>
                  </a:lnTo>
                  <a:lnTo>
                    <a:pt x="609" y="252"/>
                  </a:lnTo>
                  <a:lnTo>
                    <a:pt x="609" y="252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9" y="254"/>
                  </a:lnTo>
                  <a:lnTo>
                    <a:pt x="607" y="254"/>
                  </a:lnTo>
                  <a:lnTo>
                    <a:pt x="607" y="254"/>
                  </a:lnTo>
                  <a:lnTo>
                    <a:pt x="607" y="254"/>
                  </a:lnTo>
                  <a:lnTo>
                    <a:pt x="607" y="254"/>
                  </a:lnTo>
                  <a:lnTo>
                    <a:pt x="607" y="254"/>
                  </a:lnTo>
                  <a:lnTo>
                    <a:pt x="604" y="254"/>
                  </a:lnTo>
                  <a:lnTo>
                    <a:pt x="604" y="254"/>
                  </a:lnTo>
                  <a:lnTo>
                    <a:pt x="604" y="254"/>
                  </a:lnTo>
                  <a:lnTo>
                    <a:pt x="607" y="254"/>
                  </a:lnTo>
                  <a:lnTo>
                    <a:pt x="607" y="256"/>
                  </a:lnTo>
                  <a:lnTo>
                    <a:pt x="607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4" y="256"/>
                  </a:lnTo>
                  <a:lnTo>
                    <a:pt x="602" y="256"/>
                  </a:lnTo>
                  <a:lnTo>
                    <a:pt x="600" y="254"/>
                  </a:lnTo>
                  <a:lnTo>
                    <a:pt x="600" y="254"/>
                  </a:lnTo>
                  <a:lnTo>
                    <a:pt x="600" y="254"/>
                  </a:lnTo>
                  <a:lnTo>
                    <a:pt x="600" y="256"/>
                  </a:lnTo>
                  <a:lnTo>
                    <a:pt x="600" y="256"/>
                  </a:lnTo>
                  <a:lnTo>
                    <a:pt x="600" y="256"/>
                  </a:lnTo>
                  <a:lnTo>
                    <a:pt x="600" y="256"/>
                  </a:lnTo>
                  <a:lnTo>
                    <a:pt x="600" y="256"/>
                  </a:lnTo>
                  <a:lnTo>
                    <a:pt x="602" y="256"/>
                  </a:lnTo>
                  <a:lnTo>
                    <a:pt x="602" y="256"/>
                  </a:lnTo>
                  <a:lnTo>
                    <a:pt x="602" y="256"/>
                  </a:lnTo>
                  <a:lnTo>
                    <a:pt x="602" y="256"/>
                  </a:lnTo>
                  <a:lnTo>
                    <a:pt x="602" y="256"/>
                  </a:lnTo>
                  <a:lnTo>
                    <a:pt x="600" y="256"/>
                  </a:lnTo>
                  <a:lnTo>
                    <a:pt x="598" y="256"/>
                  </a:lnTo>
                  <a:lnTo>
                    <a:pt x="598" y="256"/>
                  </a:lnTo>
                  <a:lnTo>
                    <a:pt x="598" y="258"/>
                  </a:lnTo>
                  <a:lnTo>
                    <a:pt x="598" y="258"/>
                  </a:lnTo>
                  <a:lnTo>
                    <a:pt x="598" y="258"/>
                  </a:lnTo>
                  <a:lnTo>
                    <a:pt x="600" y="258"/>
                  </a:lnTo>
                  <a:lnTo>
                    <a:pt x="600" y="258"/>
                  </a:lnTo>
                  <a:lnTo>
                    <a:pt x="600" y="258"/>
                  </a:lnTo>
                  <a:lnTo>
                    <a:pt x="600" y="258"/>
                  </a:lnTo>
                  <a:lnTo>
                    <a:pt x="598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58"/>
                  </a:lnTo>
                  <a:lnTo>
                    <a:pt x="595" y="261"/>
                  </a:lnTo>
                  <a:lnTo>
                    <a:pt x="595" y="261"/>
                  </a:lnTo>
                  <a:lnTo>
                    <a:pt x="593" y="261"/>
                  </a:lnTo>
                  <a:lnTo>
                    <a:pt x="591" y="261"/>
                  </a:lnTo>
                  <a:lnTo>
                    <a:pt x="591" y="261"/>
                  </a:lnTo>
                  <a:lnTo>
                    <a:pt x="591" y="261"/>
                  </a:lnTo>
                  <a:lnTo>
                    <a:pt x="591" y="261"/>
                  </a:lnTo>
                  <a:lnTo>
                    <a:pt x="591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1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9" y="263"/>
                  </a:lnTo>
                  <a:lnTo>
                    <a:pt x="586" y="263"/>
                  </a:lnTo>
                  <a:lnTo>
                    <a:pt x="586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4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2" y="263"/>
                  </a:lnTo>
                  <a:lnTo>
                    <a:pt x="580" y="263"/>
                  </a:lnTo>
                  <a:lnTo>
                    <a:pt x="577" y="263"/>
                  </a:lnTo>
                  <a:lnTo>
                    <a:pt x="577" y="263"/>
                  </a:lnTo>
                  <a:lnTo>
                    <a:pt x="577" y="263"/>
                  </a:lnTo>
                  <a:lnTo>
                    <a:pt x="577" y="263"/>
                  </a:lnTo>
                  <a:lnTo>
                    <a:pt x="577" y="265"/>
                  </a:lnTo>
                  <a:lnTo>
                    <a:pt x="577" y="265"/>
                  </a:lnTo>
                  <a:lnTo>
                    <a:pt x="575" y="265"/>
                  </a:lnTo>
                  <a:lnTo>
                    <a:pt x="575" y="265"/>
                  </a:lnTo>
                  <a:lnTo>
                    <a:pt x="575" y="265"/>
                  </a:lnTo>
                  <a:lnTo>
                    <a:pt x="575" y="265"/>
                  </a:lnTo>
                  <a:lnTo>
                    <a:pt x="575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1" y="265"/>
                  </a:lnTo>
                  <a:lnTo>
                    <a:pt x="571" y="265"/>
                  </a:lnTo>
                  <a:lnTo>
                    <a:pt x="571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3" y="265"/>
                  </a:lnTo>
                  <a:lnTo>
                    <a:pt x="571" y="265"/>
                  </a:lnTo>
                  <a:lnTo>
                    <a:pt x="569" y="265"/>
                  </a:lnTo>
                  <a:lnTo>
                    <a:pt x="569" y="265"/>
                  </a:lnTo>
                  <a:lnTo>
                    <a:pt x="569" y="265"/>
                  </a:lnTo>
                  <a:lnTo>
                    <a:pt x="569" y="265"/>
                  </a:lnTo>
                  <a:lnTo>
                    <a:pt x="569" y="265"/>
                  </a:lnTo>
                  <a:lnTo>
                    <a:pt x="569" y="265"/>
                  </a:lnTo>
                  <a:lnTo>
                    <a:pt x="569" y="265"/>
                  </a:lnTo>
                  <a:lnTo>
                    <a:pt x="566" y="265"/>
                  </a:lnTo>
                  <a:lnTo>
                    <a:pt x="566" y="265"/>
                  </a:lnTo>
                  <a:lnTo>
                    <a:pt x="566" y="265"/>
                  </a:lnTo>
                  <a:lnTo>
                    <a:pt x="566" y="265"/>
                  </a:lnTo>
                  <a:lnTo>
                    <a:pt x="564" y="265"/>
                  </a:lnTo>
                  <a:lnTo>
                    <a:pt x="564" y="265"/>
                  </a:lnTo>
                  <a:lnTo>
                    <a:pt x="566" y="267"/>
                  </a:lnTo>
                  <a:lnTo>
                    <a:pt x="566" y="267"/>
                  </a:lnTo>
                  <a:lnTo>
                    <a:pt x="564" y="267"/>
                  </a:lnTo>
                  <a:lnTo>
                    <a:pt x="564" y="267"/>
                  </a:lnTo>
                  <a:lnTo>
                    <a:pt x="564" y="267"/>
                  </a:lnTo>
                  <a:lnTo>
                    <a:pt x="562" y="267"/>
                  </a:lnTo>
                  <a:lnTo>
                    <a:pt x="562" y="265"/>
                  </a:lnTo>
                  <a:lnTo>
                    <a:pt x="562" y="265"/>
                  </a:lnTo>
                  <a:lnTo>
                    <a:pt x="562" y="265"/>
                  </a:lnTo>
                  <a:lnTo>
                    <a:pt x="562" y="265"/>
                  </a:lnTo>
                  <a:lnTo>
                    <a:pt x="562" y="265"/>
                  </a:lnTo>
                  <a:lnTo>
                    <a:pt x="562" y="265"/>
                  </a:lnTo>
                  <a:lnTo>
                    <a:pt x="560" y="265"/>
                  </a:lnTo>
                  <a:lnTo>
                    <a:pt x="560" y="265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60" y="267"/>
                  </a:lnTo>
                  <a:lnTo>
                    <a:pt x="557" y="267"/>
                  </a:lnTo>
                  <a:lnTo>
                    <a:pt x="557" y="267"/>
                  </a:lnTo>
                  <a:lnTo>
                    <a:pt x="557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7" y="267"/>
                  </a:lnTo>
                  <a:lnTo>
                    <a:pt x="557" y="267"/>
                  </a:lnTo>
                  <a:lnTo>
                    <a:pt x="555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3" y="267"/>
                  </a:lnTo>
                  <a:lnTo>
                    <a:pt x="551" y="267"/>
                  </a:lnTo>
                  <a:lnTo>
                    <a:pt x="551" y="267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51" y="270"/>
                  </a:lnTo>
                  <a:lnTo>
                    <a:pt x="548" y="270"/>
                  </a:lnTo>
                  <a:lnTo>
                    <a:pt x="548" y="270"/>
                  </a:lnTo>
                  <a:lnTo>
                    <a:pt x="546" y="270"/>
                  </a:lnTo>
                  <a:lnTo>
                    <a:pt x="546" y="270"/>
                  </a:lnTo>
                  <a:lnTo>
                    <a:pt x="546" y="270"/>
                  </a:lnTo>
                  <a:lnTo>
                    <a:pt x="546" y="270"/>
                  </a:lnTo>
                  <a:lnTo>
                    <a:pt x="546" y="270"/>
                  </a:lnTo>
                  <a:lnTo>
                    <a:pt x="544" y="270"/>
                  </a:lnTo>
                  <a:lnTo>
                    <a:pt x="544" y="270"/>
                  </a:lnTo>
                  <a:lnTo>
                    <a:pt x="544" y="270"/>
                  </a:lnTo>
                  <a:lnTo>
                    <a:pt x="544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2" y="270"/>
                  </a:lnTo>
                  <a:lnTo>
                    <a:pt x="544" y="270"/>
                  </a:lnTo>
                  <a:lnTo>
                    <a:pt x="544" y="270"/>
                  </a:lnTo>
                  <a:lnTo>
                    <a:pt x="542" y="272"/>
                  </a:lnTo>
                  <a:lnTo>
                    <a:pt x="542" y="272"/>
                  </a:lnTo>
                  <a:lnTo>
                    <a:pt x="542" y="272"/>
                  </a:lnTo>
                  <a:lnTo>
                    <a:pt x="542" y="272"/>
                  </a:lnTo>
                  <a:lnTo>
                    <a:pt x="539" y="270"/>
                  </a:lnTo>
                  <a:lnTo>
                    <a:pt x="539" y="270"/>
                  </a:lnTo>
                  <a:lnTo>
                    <a:pt x="539" y="270"/>
                  </a:lnTo>
                  <a:lnTo>
                    <a:pt x="539" y="270"/>
                  </a:lnTo>
                  <a:lnTo>
                    <a:pt x="539" y="270"/>
                  </a:lnTo>
                  <a:lnTo>
                    <a:pt x="539" y="270"/>
                  </a:lnTo>
                  <a:lnTo>
                    <a:pt x="539" y="272"/>
                  </a:lnTo>
                  <a:lnTo>
                    <a:pt x="539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7" y="272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5" y="272"/>
                  </a:lnTo>
                  <a:lnTo>
                    <a:pt x="535" y="270"/>
                  </a:lnTo>
                  <a:lnTo>
                    <a:pt x="535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70"/>
                  </a:lnTo>
                  <a:lnTo>
                    <a:pt x="533" y="267"/>
                  </a:lnTo>
                  <a:lnTo>
                    <a:pt x="533" y="267"/>
                  </a:lnTo>
                  <a:lnTo>
                    <a:pt x="533" y="267"/>
                  </a:lnTo>
                  <a:lnTo>
                    <a:pt x="530" y="270"/>
                  </a:lnTo>
                  <a:lnTo>
                    <a:pt x="530" y="270"/>
                  </a:lnTo>
                  <a:lnTo>
                    <a:pt x="530" y="270"/>
                  </a:lnTo>
                  <a:lnTo>
                    <a:pt x="530" y="270"/>
                  </a:lnTo>
                  <a:lnTo>
                    <a:pt x="530" y="270"/>
                  </a:lnTo>
                  <a:lnTo>
                    <a:pt x="530" y="270"/>
                  </a:lnTo>
                  <a:lnTo>
                    <a:pt x="528" y="270"/>
                  </a:lnTo>
                  <a:lnTo>
                    <a:pt x="528" y="270"/>
                  </a:lnTo>
                  <a:lnTo>
                    <a:pt x="528" y="270"/>
                  </a:lnTo>
                  <a:lnTo>
                    <a:pt x="528" y="270"/>
                  </a:lnTo>
                  <a:lnTo>
                    <a:pt x="528" y="270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8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4" y="272"/>
                  </a:lnTo>
                  <a:lnTo>
                    <a:pt x="524" y="272"/>
                  </a:lnTo>
                  <a:lnTo>
                    <a:pt x="524" y="272"/>
                  </a:lnTo>
                  <a:lnTo>
                    <a:pt x="524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6" y="272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8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6" y="274"/>
                  </a:lnTo>
                  <a:lnTo>
                    <a:pt x="524" y="274"/>
                  </a:lnTo>
                  <a:lnTo>
                    <a:pt x="524" y="274"/>
                  </a:lnTo>
                  <a:lnTo>
                    <a:pt x="524" y="274"/>
                  </a:lnTo>
                  <a:lnTo>
                    <a:pt x="524" y="274"/>
                  </a:lnTo>
                  <a:lnTo>
                    <a:pt x="524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2"/>
                  </a:lnTo>
                  <a:lnTo>
                    <a:pt x="524" y="272"/>
                  </a:lnTo>
                  <a:lnTo>
                    <a:pt x="521" y="272"/>
                  </a:lnTo>
                  <a:lnTo>
                    <a:pt x="521" y="272"/>
                  </a:lnTo>
                  <a:lnTo>
                    <a:pt x="519" y="272"/>
                  </a:lnTo>
                  <a:lnTo>
                    <a:pt x="517" y="272"/>
                  </a:lnTo>
                  <a:lnTo>
                    <a:pt x="517" y="272"/>
                  </a:lnTo>
                  <a:lnTo>
                    <a:pt x="517" y="272"/>
                  </a:lnTo>
                  <a:lnTo>
                    <a:pt x="521" y="272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4"/>
                  </a:lnTo>
                  <a:lnTo>
                    <a:pt x="521" y="276"/>
                  </a:lnTo>
                  <a:lnTo>
                    <a:pt x="519" y="276"/>
                  </a:lnTo>
                  <a:lnTo>
                    <a:pt x="519" y="276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9" y="274"/>
                  </a:lnTo>
                  <a:lnTo>
                    <a:pt x="517" y="276"/>
                  </a:lnTo>
                  <a:lnTo>
                    <a:pt x="517" y="276"/>
                  </a:lnTo>
                  <a:lnTo>
                    <a:pt x="517" y="276"/>
                  </a:lnTo>
                  <a:lnTo>
                    <a:pt x="517" y="274"/>
                  </a:lnTo>
                  <a:lnTo>
                    <a:pt x="517" y="274"/>
                  </a:lnTo>
                  <a:lnTo>
                    <a:pt x="517" y="274"/>
                  </a:lnTo>
                  <a:lnTo>
                    <a:pt x="517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4"/>
                  </a:lnTo>
                  <a:lnTo>
                    <a:pt x="515" y="276"/>
                  </a:lnTo>
                  <a:lnTo>
                    <a:pt x="515" y="276"/>
                  </a:lnTo>
                  <a:lnTo>
                    <a:pt x="512" y="276"/>
                  </a:lnTo>
                  <a:lnTo>
                    <a:pt x="512" y="276"/>
                  </a:lnTo>
                  <a:lnTo>
                    <a:pt x="512" y="276"/>
                  </a:lnTo>
                  <a:lnTo>
                    <a:pt x="512" y="276"/>
                  </a:lnTo>
                  <a:lnTo>
                    <a:pt x="512" y="276"/>
                  </a:lnTo>
                  <a:lnTo>
                    <a:pt x="510" y="276"/>
                  </a:lnTo>
                  <a:lnTo>
                    <a:pt x="510" y="276"/>
                  </a:lnTo>
                  <a:lnTo>
                    <a:pt x="510" y="276"/>
                  </a:lnTo>
                  <a:lnTo>
                    <a:pt x="510" y="276"/>
                  </a:lnTo>
                  <a:lnTo>
                    <a:pt x="510" y="276"/>
                  </a:lnTo>
                  <a:lnTo>
                    <a:pt x="510" y="276"/>
                  </a:lnTo>
                  <a:lnTo>
                    <a:pt x="510" y="276"/>
                  </a:lnTo>
                  <a:lnTo>
                    <a:pt x="510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8" y="274"/>
                  </a:lnTo>
                  <a:lnTo>
                    <a:pt x="508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6" y="274"/>
                  </a:lnTo>
                  <a:lnTo>
                    <a:pt x="503" y="274"/>
                  </a:lnTo>
                  <a:lnTo>
                    <a:pt x="503" y="274"/>
                  </a:lnTo>
                  <a:lnTo>
                    <a:pt x="503" y="274"/>
                  </a:lnTo>
                  <a:lnTo>
                    <a:pt x="503" y="274"/>
                  </a:lnTo>
                  <a:lnTo>
                    <a:pt x="503" y="274"/>
                  </a:lnTo>
                  <a:lnTo>
                    <a:pt x="503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1" y="274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1" y="272"/>
                  </a:lnTo>
                  <a:lnTo>
                    <a:pt x="501" y="272"/>
                  </a:lnTo>
                  <a:lnTo>
                    <a:pt x="501" y="272"/>
                  </a:lnTo>
                  <a:lnTo>
                    <a:pt x="501" y="272"/>
                  </a:lnTo>
                  <a:lnTo>
                    <a:pt x="501" y="272"/>
                  </a:lnTo>
                  <a:lnTo>
                    <a:pt x="501" y="272"/>
                  </a:lnTo>
                  <a:lnTo>
                    <a:pt x="501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6" y="272"/>
                  </a:lnTo>
                  <a:lnTo>
                    <a:pt x="506" y="272"/>
                  </a:lnTo>
                  <a:lnTo>
                    <a:pt x="506" y="272"/>
                  </a:lnTo>
                  <a:lnTo>
                    <a:pt x="506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503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2"/>
                  </a:lnTo>
                  <a:lnTo>
                    <a:pt x="499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70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497" y="267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4" y="265"/>
                  </a:lnTo>
                  <a:lnTo>
                    <a:pt x="494" y="265"/>
                  </a:lnTo>
                  <a:lnTo>
                    <a:pt x="494" y="265"/>
                  </a:lnTo>
                  <a:lnTo>
                    <a:pt x="494" y="265"/>
                  </a:lnTo>
                  <a:lnTo>
                    <a:pt x="494" y="265"/>
                  </a:lnTo>
                  <a:lnTo>
                    <a:pt x="494" y="265"/>
                  </a:lnTo>
                  <a:lnTo>
                    <a:pt x="494" y="263"/>
                  </a:lnTo>
                  <a:lnTo>
                    <a:pt x="492" y="263"/>
                  </a:lnTo>
                  <a:lnTo>
                    <a:pt x="492" y="263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2" y="267"/>
                  </a:lnTo>
                  <a:lnTo>
                    <a:pt x="492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2" y="267"/>
                  </a:lnTo>
                  <a:lnTo>
                    <a:pt x="492" y="270"/>
                  </a:lnTo>
                  <a:lnTo>
                    <a:pt x="492" y="270"/>
                  </a:lnTo>
                  <a:lnTo>
                    <a:pt x="494" y="270"/>
                  </a:lnTo>
                  <a:lnTo>
                    <a:pt x="494" y="270"/>
                  </a:lnTo>
                  <a:lnTo>
                    <a:pt x="494" y="270"/>
                  </a:lnTo>
                  <a:lnTo>
                    <a:pt x="494" y="270"/>
                  </a:lnTo>
                  <a:lnTo>
                    <a:pt x="494" y="270"/>
                  </a:lnTo>
                  <a:lnTo>
                    <a:pt x="497" y="270"/>
                  </a:lnTo>
                  <a:lnTo>
                    <a:pt x="497" y="272"/>
                  </a:lnTo>
                  <a:lnTo>
                    <a:pt x="497" y="272"/>
                  </a:lnTo>
                  <a:lnTo>
                    <a:pt x="497" y="272"/>
                  </a:lnTo>
                  <a:lnTo>
                    <a:pt x="497" y="272"/>
                  </a:lnTo>
                  <a:lnTo>
                    <a:pt x="494" y="272"/>
                  </a:lnTo>
                  <a:lnTo>
                    <a:pt x="494" y="272"/>
                  </a:lnTo>
                  <a:lnTo>
                    <a:pt x="492" y="272"/>
                  </a:lnTo>
                  <a:lnTo>
                    <a:pt x="492" y="272"/>
                  </a:lnTo>
                  <a:lnTo>
                    <a:pt x="490" y="272"/>
                  </a:lnTo>
                  <a:lnTo>
                    <a:pt x="490" y="272"/>
                  </a:lnTo>
                  <a:lnTo>
                    <a:pt x="490" y="272"/>
                  </a:lnTo>
                  <a:lnTo>
                    <a:pt x="490" y="272"/>
                  </a:lnTo>
                  <a:lnTo>
                    <a:pt x="490" y="272"/>
                  </a:lnTo>
                  <a:lnTo>
                    <a:pt x="492" y="272"/>
                  </a:lnTo>
                  <a:lnTo>
                    <a:pt x="492" y="272"/>
                  </a:lnTo>
                  <a:lnTo>
                    <a:pt x="492" y="272"/>
                  </a:lnTo>
                  <a:lnTo>
                    <a:pt x="492" y="272"/>
                  </a:lnTo>
                  <a:lnTo>
                    <a:pt x="492" y="272"/>
                  </a:lnTo>
                  <a:lnTo>
                    <a:pt x="494" y="274"/>
                  </a:lnTo>
                  <a:lnTo>
                    <a:pt x="494" y="274"/>
                  </a:lnTo>
                  <a:lnTo>
                    <a:pt x="494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4"/>
                  </a:lnTo>
                  <a:lnTo>
                    <a:pt x="497" y="276"/>
                  </a:lnTo>
                  <a:lnTo>
                    <a:pt x="497" y="276"/>
                  </a:lnTo>
                  <a:lnTo>
                    <a:pt x="497" y="276"/>
                  </a:lnTo>
                  <a:lnTo>
                    <a:pt x="497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6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7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2" y="279"/>
                  </a:lnTo>
                  <a:lnTo>
                    <a:pt x="492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4" y="279"/>
                  </a:lnTo>
                  <a:lnTo>
                    <a:pt x="492" y="279"/>
                  </a:lnTo>
                  <a:lnTo>
                    <a:pt x="492" y="279"/>
                  </a:lnTo>
                  <a:lnTo>
                    <a:pt x="490" y="279"/>
                  </a:lnTo>
                  <a:lnTo>
                    <a:pt x="490" y="279"/>
                  </a:lnTo>
                  <a:lnTo>
                    <a:pt x="488" y="279"/>
                  </a:lnTo>
                  <a:lnTo>
                    <a:pt x="488" y="279"/>
                  </a:lnTo>
                  <a:lnTo>
                    <a:pt x="488" y="279"/>
                  </a:lnTo>
                  <a:lnTo>
                    <a:pt x="488" y="281"/>
                  </a:lnTo>
                  <a:lnTo>
                    <a:pt x="488" y="281"/>
                  </a:lnTo>
                  <a:lnTo>
                    <a:pt x="488" y="281"/>
                  </a:lnTo>
                  <a:lnTo>
                    <a:pt x="485" y="281"/>
                  </a:lnTo>
                  <a:lnTo>
                    <a:pt x="485" y="281"/>
                  </a:lnTo>
                  <a:lnTo>
                    <a:pt x="485" y="281"/>
                  </a:lnTo>
                  <a:lnTo>
                    <a:pt x="485" y="281"/>
                  </a:lnTo>
                  <a:lnTo>
                    <a:pt x="485" y="281"/>
                  </a:lnTo>
                  <a:lnTo>
                    <a:pt x="483" y="281"/>
                  </a:lnTo>
                  <a:lnTo>
                    <a:pt x="483" y="281"/>
                  </a:lnTo>
                  <a:lnTo>
                    <a:pt x="483" y="283"/>
                  </a:lnTo>
                  <a:lnTo>
                    <a:pt x="483" y="283"/>
                  </a:lnTo>
                  <a:lnTo>
                    <a:pt x="483" y="283"/>
                  </a:lnTo>
                  <a:lnTo>
                    <a:pt x="481" y="283"/>
                  </a:lnTo>
                  <a:lnTo>
                    <a:pt x="481" y="283"/>
                  </a:lnTo>
                  <a:lnTo>
                    <a:pt x="481" y="283"/>
                  </a:lnTo>
                  <a:lnTo>
                    <a:pt x="479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6" y="283"/>
                  </a:lnTo>
                  <a:lnTo>
                    <a:pt x="479" y="283"/>
                  </a:lnTo>
                  <a:lnTo>
                    <a:pt x="479" y="283"/>
                  </a:lnTo>
                  <a:lnTo>
                    <a:pt x="479" y="283"/>
                  </a:lnTo>
                  <a:lnTo>
                    <a:pt x="476" y="285"/>
                  </a:lnTo>
                  <a:lnTo>
                    <a:pt x="476" y="285"/>
                  </a:lnTo>
                  <a:lnTo>
                    <a:pt x="476" y="285"/>
                  </a:lnTo>
                  <a:lnTo>
                    <a:pt x="476" y="285"/>
                  </a:lnTo>
                  <a:lnTo>
                    <a:pt x="476" y="285"/>
                  </a:lnTo>
                  <a:lnTo>
                    <a:pt x="476" y="285"/>
                  </a:lnTo>
                  <a:lnTo>
                    <a:pt x="476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4" y="285"/>
                  </a:lnTo>
                  <a:lnTo>
                    <a:pt x="472" y="285"/>
                  </a:lnTo>
                  <a:lnTo>
                    <a:pt x="472" y="285"/>
                  </a:lnTo>
                  <a:lnTo>
                    <a:pt x="474" y="285"/>
                  </a:lnTo>
                  <a:lnTo>
                    <a:pt x="474" y="288"/>
                  </a:lnTo>
                  <a:lnTo>
                    <a:pt x="472" y="288"/>
                  </a:lnTo>
                  <a:lnTo>
                    <a:pt x="474" y="288"/>
                  </a:lnTo>
                  <a:lnTo>
                    <a:pt x="474" y="288"/>
                  </a:lnTo>
                  <a:lnTo>
                    <a:pt x="474" y="288"/>
                  </a:lnTo>
                  <a:lnTo>
                    <a:pt x="474" y="288"/>
                  </a:lnTo>
                  <a:lnTo>
                    <a:pt x="474" y="288"/>
                  </a:lnTo>
                  <a:lnTo>
                    <a:pt x="472" y="288"/>
                  </a:lnTo>
                  <a:lnTo>
                    <a:pt x="472" y="288"/>
                  </a:lnTo>
                  <a:lnTo>
                    <a:pt x="474" y="288"/>
                  </a:lnTo>
                  <a:lnTo>
                    <a:pt x="474" y="288"/>
                  </a:lnTo>
                  <a:lnTo>
                    <a:pt x="474" y="290"/>
                  </a:lnTo>
                  <a:lnTo>
                    <a:pt x="474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2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67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67" y="290"/>
                  </a:lnTo>
                  <a:lnTo>
                    <a:pt x="467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0"/>
                  </a:lnTo>
                  <a:lnTo>
                    <a:pt x="470" y="292"/>
                  </a:lnTo>
                  <a:lnTo>
                    <a:pt x="470" y="292"/>
                  </a:lnTo>
                  <a:lnTo>
                    <a:pt x="472" y="292"/>
                  </a:lnTo>
                  <a:lnTo>
                    <a:pt x="472" y="292"/>
                  </a:lnTo>
                  <a:lnTo>
                    <a:pt x="470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5" y="292"/>
                  </a:lnTo>
                  <a:lnTo>
                    <a:pt x="465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2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7" y="294"/>
                  </a:lnTo>
                  <a:lnTo>
                    <a:pt x="465" y="294"/>
                  </a:lnTo>
                  <a:lnTo>
                    <a:pt x="465" y="294"/>
                  </a:lnTo>
                  <a:lnTo>
                    <a:pt x="465" y="294"/>
                  </a:lnTo>
                  <a:lnTo>
                    <a:pt x="465" y="294"/>
                  </a:lnTo>
                  <a:lnTo>
                    <a:pt x="465" y="294"/>
                  </a:lnTo>
                  <a:lnTo>
                    <a:pt x="465" y="297"/>
                  </a:lnTo>
                  <a:lnTo>
                    <a:pt x="465" y="297"/>
                  </a:lnTo>
                  <a:lnTo>
                    <a:pt x="465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1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3" y="297"/>
                  </a:lnTo>
                  <a:lnTo>
                    <a:pt x="461" y="297"/>
                  </a:lnTo>
                  <a:lnTo>
                    <a:pt x="461" y="297"/>
                  </a:lnTo>
                  <a:lnTo>
                    <a:pt x="461" y="297"/>
                  </a:lnTo>
                  <a:lnTo>
                    <a:pt x="461" y="297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58" y="299"/>
                  </a:lnTo>
                  <a:lnTo>
                    <a:pt x="458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61" y="299"/>
                  </a:lnTo>
                  <a:lnTo>
                    <a:pt x="458" y="299"/>
                  </a:lnTo>
                  <a:lnTo>
                    <a:pt x="458" y="299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3"/>
                  </a:lnTo>
                  <a:lnTo>
                    <a:pt x="458" y="303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6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1"/>
                  </a:lnTo>
                  <a:lnTo>
                    <a:pt x="458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6" y="301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6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6"/>
                  </a:lnTo>
                  <a:lnTo>
                    <a:pt x="454" y="306"/>
                  </a:lnTo>
                  <a:lnTo>
                    <a:pt x="454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2" y="306"/>
                  </a:lnTo>
                  <a:lnTo>
                    <a:pt x="452" y="306"/>
                  </a:lnTo>
                  <a:lnTo>
                    <a:pt x="454" y="306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4" y="303"/>
                  </a:lnTo>
                  <a:lnTo>
                    <a:pt x="452" y="306"/>
                  </a:lnTo>
                  <a:lnTo>
                    <a:pt x="452" y="306"/>
                  </a:lnTo>
                  <a:lnTo>
                    <a:pt x="452" y="306"/>
                  </a:lnTo>
                  <a:lnTo>
                    <a:pt x="452" y="306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52" y="301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52" y="303"/>
                  </a:lnTo>
                  <a:lnTo>
                    <a:pt x="449" y="303"/>
                  </a:lnTo>
                  <a:lnTo>
                    <a:pt x="449" y="303"/>
                  </a:lnTo>
                  <a:lnTo>
                    <a:pt x="449" y="303"/>
                  </a:lnTo>
                  <a:lnTo>
                    <a:pt x="449" y="303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49" y="306"/>
                  </a:lnTo>
                  <a:lnTo>
                    <a:pt x="452" y="306"/>
                  </a:lnTo>
                  <a:lnTo>
                    <a:pt x="449" y="308"/>
                  </a:lnTo>
                  <a:lnTo>
                    <a:pt x="449" y="308"/>
                  </a:lnTo>
                  <a:lnTo>
                    <a:pt x="449" y="308"/>
                  </a:lnTo>
                  <a:lnTo>
                    <a:pt x="449" y="308"/>
                  </a:lnTo>
                  <a:lnTo>
                    <a:pt x="449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5" y="308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08"/>
                  </a:lnTo>
                  <a:lnTo>
                    <a:pt x="445" y="308"/>
                  </a:lnTo>
                  <a:lnTo>
                    <a:pt x="447" y="308"/>
                  </a:lnTo>
                  <a:lnTo>
                    <a:pt x="447" y="308"/>
                  </a:lnTo>
                  <a:lnTo>
                    <a:pt x="447" y="310"/>
                  </a:lnTo>
                  <a:lnTo>
                    <a:pt x="447" y="310"/>
                  </a:lnTo>
                  <a:lnTo>
                    <a:pt x="447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5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3" y="310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0" y="310"/>
                  </a:lnTo>
                  <a:lnTo>
                    <a:pt x="440" y="312"/>
                  </a:lnTo>
                  <a:lnTo>
                    <a:pt x="440" y="312"/>
                  </a:lnTo>
                  <a:lnTo>
                    <a:pt x="440" y="312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08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8" y="310"/>
                  </a:lnTo>
                  <a:lnTo>
                    <a:pt x="436" y="310"/>
                  </a:lnTo>
                  <a:lnTo>
                    <a:pt x="436" y="310"/>
                  </a:lnTo>
                  <a:lnTo>
                    <a:pt x="436" y="310"/>
                  </a:lnTo>
                  <a:lnTo>
                    <a:pt x="436" y="310"/>
                  </a:lnTo>
                  <a:lnTo>
                    <a:pt x="436" y="310"/>
                  </a:lnTo>
                  <a:lnTo>
                    <a:pt x="436" y="310"/>
                  </a:lnTo>
                  <a:lnTo>
                    <a:pt x="436" y="312"/>
                  </a:lnTo>
                  <a:lnTo>
                    <a:pt x="436" y="312"/>
                  </a:lnTo>
                  <a:lnTo>
                    <a:pt x="436" y="312"/>
                  </a:lnTo>
                  <a:lnTo>
                    <a:pt x="438" y="312"/>
                  </a:lnTo>
                  <a:lnTo>
                    <a:pt x="438" y="312"/>
                  </a:lnTo>
                  <a:lnTo>
                    <a:pt x="438" y="312"/>
                  </a:lnTo>
                  <a:lnTo>
                    <a:pt x="438" y="312"/>
                  </a:lnTo>
                  <a:lnTo>
                    <a:pt x="438" y="312"/>
                  </a:lnTo>
                  <a:lnTo>
                    <a:pt x="436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2"/>
                  </a:lnTo>
                  <a:lnTo>
                    <a:pt x="434" y="310"/>
                  </a:lnTo>
                  <a:lnTo>
                    <a:pt x="434" y="310"/>
                  </a:lnTo>
                  <a:lnTo>
                    <a:pt x="434" y="310"/>
                  </a:lnTo>
                  <a:lnTo>
                    <a:pt x="434" y="310"/>
                  </a:lnTo>
                  <a:lnTo>
                    <a:pt x="431" y="31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7" y="310"/>
                  </a:lnTo>
                  <a:lnTo>
                    <a:pt x="429" y="308"/>
                  </a:lnTo>
                  <a:lnTo>
                    <a:pt x="429" y="308"/>
                  </a:lnTo>
                  <a:lnTo>
                    <a:pt x="429" y="308"/>
                  </a:lnTo>
                  <a:lnTo>
                    <a:pt x="429" y="308"/>
                  </a:lnTo>
                  <a:lnTo>
                    <a:pt x="429" y="308"/>
                  </a:lnTo>
                  <a:lnTo>
                    <a:pt x="427" y="308"/>
                  </a:lnTo>
                  <a:lnTo>
                    <a:pt x="427" y="308"/>
                  </a:lnTo>
                  <a:lnTo>
                    <a:pt x="427" y="308"/>
                  </a:lnTo>
                  <a:lnTo>
                    <a:pt x="427" y="308"/>
                  </a:lnTo>
                  <a:lnTo>
                    <a:pt x="427" y="308"/>
                  </a:lnTo>
                  <a:lnTo>
                    <a:pt x="427" y="310"/>
                  </a:lnTo>
                  <a:lnTo>
                    <a:pt x="427" y="310"/>
                  </a:lnTo>
                  <a:lnTo>
                    <a:pt x="427" y="310"/>
                  </a:lnTo>
                  <a:lnTo>
                    <a:pt x="427" y="310"/>
                  </a:lnTo>
                  <a:lnTo>
                    <a:pt x="427" y="310"/>
                  </a:lnTo>
                  <a:lnTo>
                    <a:pt x="427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0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7" y="312"/>
                  </a:lnTo>
                  <a:lnTo>
                    <a:pt x="427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2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7" y="315"/>
                  </a:lnTo>
                  <a:lnTo>
                    <a:pt x="427" y="315"/>
                  </a:lnTo>
                  <a:lnTo>
                    <a:pt x="427" y="315"/>
                  </a:lnTo>
                  <a:lnTo>
                    <a:pt x="427" y="315"/>
                  </a:lnTo>
                  <a:lnTo>
                    <a:pt x="427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9" y="315"/>
                  </a:lnTo>
                  <a:lnTo>
                    <a:pt x="427" y="315"/>
                  </a:lnTo>
                  <a:lnTo>
                    <a:pt x="427" y="315"/>
                  </a:lnTo>
                  <a:lnTo>
                    <a:pt x="427" y="315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5" y="315"/>
                  </a:lnTo>
                  <a:lnTo>
                    <a:pt x="427" y="315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7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5" y="317"/>
                  </a:lnTo>
                  <a:lnTo>
                    <a:pt x="422" y="319"/>
                  </a:lnTo>
                  <a:lnTo>
                    <a:pt x="422" y="319"/>
                  </a:lnTo>
                  <a:lnTo>
                    <a:pt x="422" y="319"/>
                  </a:lnTo>
                  <a:lnTo>
                    <a:pt x="422" y="319"/>
                  </a:lnTo>
                  <a:lnTo>
                    <a:pt x="422" y="319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20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8" y="319"/>
                  </a:lnTo>
                  <a:lnTo>
                    <a:pt x="416" y="317"/>
                  </a:lnTo>
                  <a:lnTo>
                    <a:pt x="416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8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3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6" y="317"/>
                  </a:lnTo>
                  <a:lnTo>
                    <a:pt x="413" y="317"/>
                  </a:lnTo>
                  <a:lnTo>
                    <a:pt x="413" y="319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09" y="319"/>
                  </a:lnTo>
                  <a:lnTo>
                    <a:pt x="407" y="319"/>
                  </a:lnTo>
                  <a:lnTo>
                    <a:pt x="407" y="319"/>
                  </a:lnTo>
                  <a:lnTo>
                    <a:pt x="409" y="319"/>
                  </a:lnTo>
                  <a:lnTo>
                    <a:pt x="409" y="319"/>
                  </a:lnTo>
                  <a:lnTo>
                    <a:pt x="409" y="319"/>
                  </a:lnTo>
                  <a:lnTo>
                    <a:pt x="409" y="319"/>
                  </a:lnTo>
                  <a:lnTo>
                    <a:pt x="409" y="321"/>
                  </a:lnTo>
                  <a:lnTo>
                    <a:pt x="407" y="321"/>
                  </a:lnTo>
                  <a:lnTo>
                    <a:pt x="407" y="321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7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7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5" y="319"/>
                  </a:lnTo>
                  <a:lnTo>
                    <a:pt x="402" y="319"/>
                  </a:lnTo>
                  <a:lnTo>
                    <a:pt x="402" y="319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5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402" y="321"/>
                  </a:lnTo>
                  <a:lnTo>
                    <a:pt x="398" y="321"/>
                  </a:lnTo>
                  <a:lnTo>
                    <a:pt x="398" y="319"/>
                  </a:lnTo>
                  <a:lnTo>
                    <a:pt x="398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3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6" y="319"/>
                  </a:lnTo>
                  <a:lnTo>
                    <a:pt x="393" y="317"/>
                  </a:lnTo>
                  <a:lnTo>
                    <a:pt x="393" y="317"/>
                  </a:lnTo>
                  <a:lnTo>
                    <a:pt x="396" y="317"/>
                  </a:lnTo>
                  <a:lnTo>
                    <a:pt x="393" y="317"/>
                  </a:lnTo>
                  <a:lnTo>
                    <a:pt x="393" y="317"/>
                  </a:lnTo>
                  <a:lnTo>
                    <a:pt x="393" y="317"/>
                  </a:lnTo>
                  <a:lnTo>
                    <a:pt x="393" y="317"/>
                  </a:lnTo>
                  <a:lnTo>
                    <a:pt x="393" y="317"/>
                  </a:lnTo>
                  <a:lnTo>
                    <a:pt x="396" y="317"/>
                  </a:lnTo>
                  <a:lnTo>
                    <a:pt x="396" y="317"/>
                  </a:lnTo>
                  <a:lnTo>
                    <a:pt x="398" y="317"/>
                  </a:lnTo>
                  <a:lnTo>
                    <a:pt x="398" y="317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398" y="315"/>
                  </a:lnTo>
                  <a:lnTo>
                    <a:pt x="400" y="315"/>
                  </a:lnTo>
                  <a:lnTo>
                    <a:pt x="400" y="315"/>
                  </a:lnTo>
                  <a:lnTo>
                    <a:pt x="400" y="315"/>
                  </a:lnTo>
                  <a:lnTo>
                    <a:pt x="400" y="312"/>
                  </a:lnTo>
                  <a:lnTo>
                    <a:pt x="400" y="312"/>
                  </a:lnTo>
                  <a:lnTo>
                    <a:pt x="400" y="312"/>
                  </a:lnTo>
                  <a:lnTo>
                    <a:pt x="405" y="312"/>
                  </a:lnTo>
                  <a:lnTo>
                    <a:pt x="405" y="312"/>
                  </a:lnTo>
                  <a:lnTo>
                    <a:pt x="405" y="312"/>
                  </a:lnTo>
                  <a:lnTo>
                    <a:pt x="405" y="312"/>
                  </a:lnTo>
                  <a:lnTo>
                    <a:pt x="405" y="312"/>
                  </a:lnTo>
                  <a:lnTo>
                    <a:pt x="407" y="310"/>
                  </a:lnTo>
                  <a:lnTo>
                    <a:pt x="407" y="310"/>
                  </a:lnTo>
                  <a:lnTo>
                    <a:pt x="407" y="310"/>
                  </a:lnTo>
                  <a:lnTo>
                    <a:pt x="405" y="310"/>
                  </a:lnTo>
                  <a:lnTo>
                    <a:pt x="402" y="310"/>
                  </a:lnTo>
                  <a:lnTo>
                    <a:pt x="402" y="310"/>
                  </a:lnTo>
                  <a:lnTo>
                    <a:pt x="402" y="310"/>
                  </a:lnTo>
                  <a:lnTo>
                    <a:pt x="400" y="310"/>
                  </a:lnTo>
                  <a:lnTo>
                    <a:pt x="400" y="310"/>
                  </a:lnTo>
                  <a:lnTo>
                    <a:pt x="400" y="310"/>
                  </a:lnTo>
                  <a:lnTo>
                    <a:pt x="400" y="310"/>
                  </a:lnTo>
                  <a:lnTo>
                    <a:pt x="398" y="310"/>
                  </a:lnTo>
                  <a:lnTo>
                    <a:pt x="398" y="310"/>
                  </a:lnTo>
                  <a:lnTo>
                    <a:pt x="398" y="310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08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6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3" y="310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91" y="310"/>
                  </a:lnTo>
                  <a:lnTo>
                    <a:pt x="396" y="312"/>
                  </a:lnTo>
                  <a:lnTo>
                    <a:pt x="398" y="312"/>
                  </a:lnTo>
                  <a:lnTo>
                    <a:pt x="398" y="312"/>
                  </a:lnTo>
                  <a:lnTo>
                    <a:pt x="398" y="312"/>
                  </a:lnTo>
                  <a:lnTo>
                    <a:pt x="398" y="312"/>
                  </a:lnTo>
                  <a:lnTo>
                    <a:pt x="396" y="312"/>
                  </a:lnTo>
                  <a:lnTo>
                    <a:pt x="396" y="312"/>
                  </a:lnTo>
                  <a:lnTo>
                    <a:pt x="396" y="312"/>
                  </a:lnTo>
                  <a:lnTo>
                    <a:pt x="396" y="312"/>
                  </a:lnTo>
                  <a:lnTo>
                    <a:pt x="396" y="312"/>
                  </a:lnTo>
                  <a:lnTo>
                    <a:pt x="396" y="312"/>
                  </a:lnTo>
                  <a:lnTo>
                    <a:pt x="396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2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3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91" y="315"/>
                  </a:lnTo>
                  <a:lnTo>
                    <a:pt x="389" y="315"/>
                  </a:lnTo>
                  <a:lnTo>
                    <a:pt x="389" y="315"/>
                  </a:lnTo>
                  <a:lnTo>
                    <a:pt x="389" y="315"/>
                  </a:lnTo>
                  <a:lnTo>
                    <a:pt x="389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7"/>
                  </a:lnTo>
                  <a:lnTo>
                    <a:pt x="391" y="319"/>
                  </a:lnTo>
                  <a:lnTo>
                    <a:pt x="391" y="319"/>
                  </a:lnTo>
                  <a:lnTo>
                    <a:pt x="391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7" y="319"/>
                  </a:lnTo>
                  <a:lnTo>
                    <a:pt x="387" y="319"/>
                  </a:lnTo>
                  <a:lnTo>
                    <a:pt x="387" y="319"/>
                  </a:lnTo>
                  <a:lnTo>
                    <a:pt x="387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9" y="319"/>
                  </a:lnTo>
                  <a:lnTo>
                    <a:pt x="387" y="319"/>
                  </a:lnTo>
                  <a:lnTo>
                    <a:pt x="387" y="319"/>
                  </a:lnTo>
                  <a:lnTo>
                    <a:pt x="387" y="319"/>
                  </a:lnTo>
                  <a:lnTo>
                    <a:pt x="384" y="319"/>
                  </a:lnTo>
                  <a:lnTo>
                    <a:pt x="384" y="319"/>
                  </a:lnTo>
                  <a:lnTo>
                    <a:pt x="384" y="319"/>
                  </a:lnTo>
                  <a:lnTo>
                    <a:pt x="384" y="319"/>
                  </a:lnTo>
                  <a:lnTo>
                    <a:pt x="384" y="319"/>
                  </a:lnTo>
                  <a:lnTo>
                    <a:pt x="384" y="319"/>
                  </a:lnTo>
                  <a:lnTo>
                    <a:pt x="384" y="317"/>
                  </a:lnTo>
                  <a:lnTo>
                    <a:pt x="384" y="317"/>
                  </a:lnTo>
                  <a:lnTo>
                    <a:pt x="384" y="317"/>
                  </a:lnTo>
                  <a:lnTo>
                    <a:pt x="384" y="317"/>
                  </a:lnTo>
                  <a:lnTo>
                    <a:pt x="384" y="317"/>
                  </a:lnTo>
                  <a:lnTo>
                    <a:pt x="384" y="317"/>
                  </a:lnTo>
                  <a:lnTo>
                    <a:pt x="384" y="317"/>
                  </a:lnTo>
                  <a:lnTo>
                    <a:pt x="382" y="317"/>
                  </a:lnTo>
                  <a:lnTo>
                    <a:pt x="384" y="319"/>
                  </a:lnTo>
                  <a:lnTo>
                    <a:pt x="384" y="319"/>
                  </a:lnTo>
                  <a:lnTo>
                    <a:pt x="382" y="319"/>
                  </a:lnTo>
                  <a:lnTo>
                    <a:pt x="382" y="319"/>
                  </a:lnTo>
                  <a:lnTo>
                    <a:pt x="382" y="319"/>
                  </a:lnTo>
                  <a:lnTo>
                    <a:pt x="382" y="319"/>
                  </a:lnTo>
                  <a:lnTo>
                    <a:pt x="384" y="319"/>
                  </a:lnTo>
                  <a:lnTo>
                    <a:pt x="384" y="321"/>
                  </a:lnTo>
                  <a:lnTo>
                    <a:pt x="384" y="321"/>
                  </a:lnTo>
                  <a:lnTo>
                    <a:pt x="384" y="321"/>
                  </a:lnTo>
                  <a:lnTo>
                    <a:pt x="384" y="321"/>
                  </a:lnTo>
                  <a:lnTo>
                    <a:pt x="387" y="321"/>
                  </a:lnTo>
                  <a:lnTo>
                    <a:pt x="387" y="321"/>
                  </a:lnTo>
                  <a:lnTo>
                    <a:pt x="389" y="321"/>
                  </a:lnTo>
                  <a:lnTo>
                    <a:pt x="389" y="321"/>
                  </a:lnTo>
                  <a:lnTo>
                    <a:pt x="387" y="321"/>
                  </a:lnTo>
                  <a:lnTo>
                    <a:pt x="387" y="321"/>
                  </a:lnTo>
                  <a:lnTo>
                    <a:pt x="387" y="321"/>
                  </a:lnTo>
                  <a:lnTo>
                    <a:pt x="387" y="321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7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4"/>
                  </a:lnTo>
                  <a:lnTo>
                    <a:pt x="384" y="326"/>
                  </a:lnTo>
                  <a:lnTo>
                    <a:pt x="384" y="326"/>
                  </a:lnTo>
                  <a:lnTo>
                    <a:pt x="384" y="326"/>
                  </a:lnTo>
                  <a:lnTo>
                    <a:pt x="384" y="326"/>
                  </a:lnTo>
                  <a:lnTo>
                    <a:pt x="384" y="326"/>
                  </a:lnTo>
                  <a:lnTo>
                    <a:pt x="384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4"/>
                  </a:lnTo>
                  <a:lnTo>
                    <a:pt x="382" y="324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2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2" y="324"/>
                  </a:lnTo>
                  <a:lnTo>
                    <a:pt x="382" y="324"/>
                  </a:lnTo>
                  <a:lnTo>
                    <a:pt x="382" y="324"/>
                  </a:lnTo>
                  <a:lnTo>
                    <a:pt x="382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6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80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8" y="324"/>
                  </a:lnTo>
                  <a:lnTo>
                    <a:pt x="375" y="324"/>
                  </a:lnTo>
                  <a:lnTo>
                    <a:pt x="375" y="324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8" y="326"/>
                  </a:lnTo>
                  <a:lnTo>
                    <a:pt x="375" y="326"/>
                  </a:lnTo>
                  <a:lnTo>
                    <a:pt x="375" y="326"/>
                  </a:lnTo>
                  <a:lnTo>
                    <a:pt x="375" y="326"/>
                  </a:lnTo>
                  <a:lnTo>
                    <a:pt x="375" y="326"/>
                  </a:lnTo>
                  <a:lnTo>
                    <a:pt x="375" y="326"/>
                  </a:lnTo>
                  <a:lnTo>
                    <a:pt x="375" y="326"/>
                  </a:lnTo>
                  <a:lnTo>
                    <a:pt x="375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3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6"/>
                  </a:lnTo>
                  <a:lnTo>
                    <a:pt x="371" y="324"/>
                  </a:lnTo>
                  <a:lnTo>
                    <a:pt x="371" y="324"/>
                  </a:lnTo>
                  <a:lnTo>
                    <a:pt x="371" y="324"/>
                  </a:lnTo>
                  <a:lnTo>
                    <a:pt x="371" y="324"/>
                  </a:lnTo>
                  <a:lnTo>
                    <a:pt x="371" y="324"/>
                  </a:lnTo>
                  <a:lnTo>
                    <a:pt x="369" y="324"/>
                  </a:lnTo>
                  <a:lnTo>
                    <a:pt x="369" y="324"/>
                  </a:lnTo>
                  <a:lnTo>
                    <a:pt x="369" y="324"/>
                  </a:lnTo>
                  <a:lnTo>
                    <a:pt x="369" y="324"/>
                  </a:lnTo>
                  <a:lnTo>
                    <a:pt x="366" y="324"/>
                  </a:lnTo>
                  <a:lnTo>
                    <a:pt x="366" y="324"/>
                  </a:lnTo>
                  <a:lnTo>
                    <a:pt x="369" y="324"/>
                  </a:lnTo>
                  <a:lnTo>
                    <a:pt x="369" y="324"/>
                  </a:lnTo>
                  <a:lnTo>
                    <a:pt x="369" y="324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9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8"/>
                  </a:lnTo>
                  <a:lnTo>
                    <a:pt x="366" y="328"/>
                  </a:lnTo>
                  <a:lnTo>
                    <a:pt x="366" y="328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6"/>
                  </a:lnTo>
                  <a:lnTo>
                    <a:pt x="366" y="328"/>
                  </a:lnTo>
                  <a:lnTo>
                    <a:pt x="366" y="328"/>
                  </a:lnTo>
                  <a:lnTo>
                    <a:pt x="364" y="328"/>
                  </a:lnTo>
                  <a:lnTo>
                    <a:pt x="364" y="328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4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4" y="326"/>
                  </a:lnTo>
                  <a:lnTo>
                    <a:pt x="362" y="324"/>
                  </a:lnTo>
                  <a:lnTo>
                    <a:pt x="362" y="324"/>
                  </a:lnTo>
                  <a:lnTo>
                    <a:pt x="362" y="324"/>
                  </a:lnTo>
                  <a:lnTo>
                    <a:pt x="362" y="324"/>
                  </a:lnTo>
                  <a:lnTo>
                    <a:pt x="362" y="324"/>
                  </a:lnTo>
                  <a:lnTo>
                    <a:pt x="362" y="324"/>
                  </a:lnTo>
                  <a:lnTo>
                    <a:pt x="362" y="326"/>
                  </a:lnTo>
                  <a:lnTo>
                    <a:pt x="362" y="326"/>
                  </a:lnTo>
                  <a:lnTo>
                    <a:pt x="362" y="326"/>
                  </a:lnTo>
                  <a:lnTo>
                    <a:pt x="362" y="326"/>
                  </a:lnTo>
                  <a:lnTo>
                    <a:pt x="362" y="326"/>
                  </a:lnTo>
                  <a:lnTo>
                    <a:pt x="362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6"/>
                  </a:lnTo>
                  <a:lnTo>
                    <a:pt x="360" y="328"/>
                  </a:lnTo>
                  <a:lnTo>
                    <a:pt x="360" y="328"/>
                  </a:lnTo>
                  <a:lnTo>
                    <a:pt x="360" y="328"/>
                  </a:lnTo>
                  <a:lnTo>
                    <a:pt x="360" y="328"/>
                  </a:lnTo>
                  <a:lnTo>
                    <a:pt x="360" y="326"/>
                  </a:lnTo>
                  <a:lnTo>
                    <a:pt x="360" y="328"/>
                  </a:lnTo>
                  <a:lnTo>
                    <a:pt x="360" y="328"/>
                  </a:lnTo>
                  <a:lnTo>
                    <a:pt x="360" y="328"/>
                  </a:lnTo>
                  <a:lnTo>
                    <a:pt x="360" y="328"/>
                  </a:lnTo>
                  <a:lnTo>
                    <a:pt x="357" y="328"/>
                  </a:lnTo>
                  <a:lnTo>
                    <a:pt x="357" y="328"/>
                  </a:lnTo>
                  <a:lnTo>
                    <a:pt x="357" y="328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6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5" y="328"/>
                  </a:lnTo>
                  <a:lnTo>
                    <a:pt x="353" y="328"/>
                  </a:lnTo>
                  <a:lnTo>
                    <a:pt x="353" y="328"/>
                  </a:lnTo>
                  <a:lnTo>
                    <a:pt x="353" y="328"/>
                  </a:lnTo>
                  <a:lnTo>
                    <a:pt x="353" y="328"/>
                  </a:lnTo>
                  <a:lnTo>
                    <a:pt x="353" y="328"/>
                  </a:lnTo>
                  <a:lnTo>
                    <a:pt x="353" y="328"/>
                  </a:lnTo>
                  <a:lnTo>
                    <a:pt x="355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7" y="330"/>
                  </a:lnTo>
                  <a:lnTo>
                    <a:pt x="355" y="330"/>
                  </a:lnTo>
                  <a:lnTo>
                    <a:pt x="355" y="330"/>
                  </a:lnTo>
                  <a:lnTo>
                    <a:pt x="355" y="330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7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3"/>
                  </a:lnTo>
                  <a:lnTo>
                    <a:pt x="355" y="335"/>
                  </a:lnTo>
                  <a:lnTo>
                    <a:pt x="355" y="335"/>
                  </a:lnTo>
                  <a:lnTo>
                    <a:pt x="355" y="335"/>
                  </a:lnTo>
                  <a:lnTo>
                    <a:pt x="355" y="335"/>
                  </a:lnTo>
                  <a:lnTo>
                    <a:pt x="355" y="335"/>
                  </a:lnTo>
                  <a:lnTo>
                    <a:pt x="355" y="335"/>
                  </a:lnTo>
                  <a:lnTo>
                    <a:pt x="353" y="335"/>
                  </a:lnTo>
                  <a:lnTo>
                    <a:pt x="353" y="335"/>
                  </a:lnTo>
                  <a:lnTo>
                    <a:pt x="353" y="335"/>
                  </a:lnTo>
                  <a:lnTo>
                    <a:pt x="353" y="335"/>
                  </a:lnTo>
                  <a:lnTo>
                    <a:pt x="353" y="335"/>
                  </a:lnTo>
                  <a:lnTo>
                    <a:pt x="355" y="335"/>
                  </a:lnTo>
                  <a:lnTo>
                    <a:pt x="355" y="335"/>
                  </a:lnTo>
                  <a:lnTo>
                    <a:pt x="353" y="335"/>
                  </a:lnTo>
                  <a:lnTo>
                    <a:pt x="353" y="335"/>
                  </a:lnTo>
                  <a:lnTo>
                    <a:pt x="353" y="335"/>
                  </a:lnTo>
                  <a:lnTo>
                    <a:pt x="351" y="335"/>
                  </a:lnTo>
                  <a:lnTo>
                    <a:pt x="351" y="335"/>
                  </a:lnTo>
                  <a:lnTo>
                    <a:pt x="351" y="335"/>
                  </a:lnTo>
                  <a:lnTo>
                    <a:pt x="353" y="335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3" y="337"/>
                  </a:lnTo>
                  <a:lnTo>
                    <a:pt x="351" y="337"/>
                  </a:lnTo>
                  <a:lnTo>
                    <a:pt x="351" y="337"/>
                  </a:lnTo>
                  <a:lnTo>
                    <a:pt x="351" y="337"/>
                  </a:lnTo>
                  <a:lnTo>
                    <a:pt x="351" y="337"/>
                  </a:lnTo>
                  <a:lnTo>
                    <a:pt x="351" y="337"/>
                  </a:lnTo>
                  <a:lnTo>
                    <a:pt x="351" y="337"/>
                  </a:lnTo>
                  <a:lnTo>
                    <a:pt x="351" y="337"/>
                  </a:lnTo>
                  <a:lnTo>
                    <a:pt x="348" y="337"/>
                  </a:lnTo>
                  <a:lnTo>
                    <a:pt x="348" y="337"/>
                  </a:lnTo>
                  <a:lnTo>
                    <a:pt x="351" y="337"/>
                  </a:lnTo>
                  <a:lnTo>
                    <a:pt x="348" y="337"/>
                  </a:lnTo>
                  <a:lnTo>
                    <a:pt x="348" y="337"/>
                  </a:lnTo>
                  <a:lnTo>
                    <a:pt x="348" y="337"/>
                  </a:lnTo>
                  <a:lnTo>
                    <a:pt x="348" y="339"/>
                  </a:lnTo>
                  <a:lnTo>
                    <a:pt x="348" y="339"/>
                  </a:lnTo>
                  <a:lnTo>
                    <a:pt x="348" y="339"/>
                  </a:lnTo>
                  <a:lnTo>
                    <a:pt x="348" y="337"/>
                  </a:lnTo>
                  <a:lnTo>
                    <a:pt x="348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6" y="337"/>
                  </a:lnTo>
                  <a:lnTo>
                    <a:pt x="344" y="337"/>
                  </a:lnTo>
                  <a:lnTo>
                    <a:pt x="344" y="335"/>
                  </a:lnTo>
                  <a:lnTo>
                    <a:pt x="344" y="335"/>
                  </a:lnTo>
                  <a:lnTo>
                    <a:pt x="344" y="335"/>
                  </a:lnTo>
                  <a:lnTo>
                    <a:pt x="344" y="335"/>
                  </a:lnTo>
                  <a:lnTo>
                    <a:pt x="344" y="335"/>
                  </a:lnTo>
                  <a:lnTo>
                    <a:pt x="342" y="335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39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42" y="337"/>
                  </a:lnTo>
                  <a:lnTo>
                    <a:pt x="339" y="337"/>
                  </a:lnTo>
                  <a:lnTo>
                    <a:pt x="339" y="337"/>
                  </a:lnTo>
                  <a:lnTo>
                    <a:pt x="339" y="337"/>
                  </a:lnTo>
                  <a:lnTo>
                    <a:pt x="339" y="337"/>
                  </a:lnTo>
                  <a:lnTo>
                    <a:pt x="337" y="337"/>
                  </a:lnTo>
                  <a:lnTo>
                    <a:pt x="337" y="337"/>
                  </a:lnTo>
                  <a:lnTo>
                    <a:pt x="337" y="337"/>
                  </a:lnTo>
                  <a:lnTo>
                    <a:pt x="335" y="337"/>
                  </a:lnTo>
                  <a:lnTo>
                    <a:pt x="335" y="335"/>
                  </a:lnTo>
                  <a:lnTo>
                    <a:pt x="335" y="335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5" y="337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7" y="339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3" y="339"/>
                  </a:lnTo>
                  <a:lnTo>
                    <a:pt x="333" y="339"/>
                  </a:lnTo>
                  <a:lnTo>
                    <a:pt x="333" y="339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7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5" y="342"/>
                  </a:lnTo>
                  <a:lnTo>
                    <a:pt x="337" y="342"/>
                  </a:lnTo>
                  <a:lnTo>
                    <a:pt x="337" y="344"/>
                  </a:lnTo>
                  <a:lnTo>
                    <a:pt x="337" y="344"/>
                  </a:lnTo>
                  <a:lnTo>
                    <a:pt x="339" y="344"/>
                  </a:lnTo>
                  <a:lnTo>
                    <a:pt x="339" y="344"/>
                  </a:lnTo>
                  <a:lnTo>
                    <a:pt x="339" y="344"/>
                  </a:lnTo>
                  <a:lnTo>
                    <a:pt x="339" y="344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6"/>
                  </a:lnTo>
                  <a:lnTo>
                    <a:pt x="339" y="348"/>
                  </a:lnTo>
                  <a:lnTo>
                    <a:pt x="339" y="348"/>
                  </a:lnTo>
                  <a:lnTo>
                    <a:pt x="339" y="348"/>
                  </a:lnTo>
                  <a:lnTo>
                    <a:pt x="339" y="348"/>
                  </a:lnTo>
                  <a:lnTo>
                    <a:pt x="339" y="351"/>
                  </a:lnTo>
                  <a:lnTo>
                    <a:pt x="339" y="351"/>
                  </a:lnTo>
                  <a:lnTo>
                    <a:pt x="339" y="351"/>
                  </a:lnTo>
                  <a:lnTo>
                    <a:pt x="342" y="351"/>
                  </a:lnTo>
                  <a:lnTo>
                    <a:pt x="342" y="351"/>
                  </a:lnTo>
                  <a:lnTo>
                    <a:pt x="342" y="351"/>
                  </a:lnTo>
                  <a:lnTo>
                    <a:pt x="342" y="351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42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9" y="353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7" y="351"/>
                  </a:lnTo>
                  <a:lnTo>
                    <a:pt x="335" y="351"/>
                  </a:lnTo>
                  <a:lnTo>
                    <a:pt x="335" y="351"/>
                  </a:lnTo>
                  <a:lnTo>
                    <a:pt x="335" y="351"/>
                  </a:lnTo>
                  <a:lnTo>
                    <a:pt x="335" y="351"/>
                  </a:lnTo>
                  <a:lnTo>
                    <a:pt x="335" y="351"/>
                  </a:lnTo>
                  <a:lnTo>
                    <a:pt x="333" y="353"/>
                  </a:lnTo>
                  <a:lnTo>
                    <a:pt x="333" y="353"/>
                  </a:lnTo>
                  <a:lnTo>
                    <a:pt x="330" y="353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6" y="353"/>
                  </a:lnTo>
                  <a:lnTo>
                    <a:pt x="324" y="353"/>
                  </a:lnTo>
                  <a:lnTo>
                    <a:pt x="324" y="353"/>
                  </a:lnTo>
                  <a:lnTo>
                    <a:pt x="324" y="353"/>
                  </a:lnTo>
                  <a:lnTo>
                    <a:pt x="324" y="353"/>
                  </a:lnTo>
                  <a:lnTo>
                    <a:pt x="321" y="353"/>
                  </a:lnTo>
                  <a:lnTo>
                    <a:pt x="321" y="355"/>
                  </a:lnTo>
                  <a:lnTo>
                    <a:pt x="321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4" y="355"/>
                  </a:lnTo>
                  <a:lnTo>
                    <a:pt x="328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0" y="357"/>
                  </a:lnTo>
                  <a:lnTo>
                    <a:pt x="333" y="357"/>
                  </a:lnTo>
                  <a:lnTo>
                    <a:pt x="333" y="357"/>
                  </a:lnTo>
                  <a:lnTo>
                    <a:pt x="333" y="357"/>
                  </a:lnTo>
                  <a:lnTo>
                    <a:pt x="333" y="355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7" y="357"/>
                  </a:lnTo>
                  <a:lnTo>
                    <a:pt x="337" y="357"/>
                  </a:lnTo>
                  <a:lnTo>
                    <a:pt x="337" y="357"/>
                  </a:lnTo>
                  <a:lnTo>
                    <a:pt x="337" y="357"/>
                  </a:lnTo>
                  <a:lnTo>
                    <a:pt x="337" y="357"/>
                  </a:lnTo>
                  <a:lnTo>
                    <a:pt x="337" y="360"/>
                  </a:lnTo>
                  <a:lnTo>
                    <a:pt x="337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5" y="360"/>
                  </a:lnTo>
                  <a:lnTo>
                    <a:pt x="333" y="360"/>
                  </a:lnTo>
                  <a:lnTo>
                    <a:pt x="333" y="360"/>
                  </a:lnTo>
                  <a:lnTo>
                    <a:pt x="333" y="360"/>
                  </a:lnTo>
                  <a:lnTo>
                    <a:pt x="335" y="360"/>
                  </a:lnTo>
                  <a:lnTo>
                    <a:pt x="333" y="360"/>
                  </a:lnTo>
                  <a:lnTo>
                    <a:pt x="333" y="360"/>
                  </a:lnTo>
                  <a:lnTo>
                    <a:pt x="333" y="362"/>
                  </a:lnTo>
                  <a:lnTo>
                    <a:pt x="333" y="362"/>
                  </a:lnTo>
                  <a:lnTo>
                    <a:pt x="333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2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4"/>
                  </a:lnTo>
                  <a:lnTo>
                    <a:pt x="335" y="366"/>
                  </a:lnTo>
                  <a:lnTo>
                    <a:pt x="335" y="366"/>
                  </a:lnTo>
                  <a:lnTo>
                    <a:pt x="335" y="366"/>
                  </a:lnTo>
                  <a:lnTo>
                    <a:pt x="335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33" y="366"/>
                  </a:lnTo>
                  <a:lnTo>
                    <a:pt x="328" y="366"/>
                  </a:lnTo>
                  <a:lnTo>
                    <a:pt x="326" y="366"/>
                  </a:lnTo>
                  <a:lnTo>
                    <a:pt x="326" y="364"/>
                  </a:lnTo>
                  <a:lnTo>
                    <a:pt x="324" y="364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2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7" y="364"/>
                  </a:lnTo>
                  <a:lnTo>
                    <a:pt x="317" y="364"/>
                  </a:lnTo>
                  <a:lnTo>
                    <a:pt x="317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1" y="364"/>
                  </a:lnTo>
                  <a:lnTo>
                    <a:pt x="321" y="366"/>
                  </a:lnTo>
                  <a:lnTo>
                    <a:pt x="324" y="366"/>
                  </a:lnTo>
                  <a:lnTo>
                    <a:pt x="324" y="366"/>
                  </a:lnTo>
                  <a:lnTo>
                    <a:pt x="328" y="366"/>
                  </a:lnTo>
                  <a:lnTo>
                    <a:pt x="328" y="366"/>
                  </a:lnTo>
                  <a:lnTo>
                    <a:pt x="328" y="366"/>
                  </a:lnTo>
                  <a:lnTo>
                    <a:pt x="330" y="368"/>
                  </a:lnTo>
                  <a:lnTo>
                    <a:pt x="328" y="368"/>
                  </a:lnTo>
                  <a:lnTo>
                    <a:pt x="328" y="368"/>
                  </a:lnTo>
                  <a:lnTo>
                    <a:pt x="328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68"/>
                  </a:lnTo>
                  <a:lnTo>
                    <a:pt x="330" y="371"/>
                  </a:lnTo>
                  <a:lnTo>
                    <a:pt x="330" y="371"/>
                  </a:lnTo>
                  <a:lnTo>
                    <a:pt x="330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68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71"/>
                  </a:lnTo>
                  <a:lnTo>
                    <a:pt x="328" y="368"/>
                  </a:lnTo>
                  <a:lnTo>
                    <a:pt x="328" y="368"/>
                  </a:lnTo>
                  <a:lnTo>
                    <a:pt x="328" y="368"/>
                  </a:lnTo>
                  <a:lnTo>
                    <a:pt x="328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68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4" y="368"/>
                  </a:lnTo>
                  <a:lnTo>
                    <a:pt x="324" y="368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68"/>
                  </a:lnTo>
                  <a:lnTo>
                    <a:pt x="324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1" y="368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4" y="371"/>
                  </a:lnTo>
                  <a:lnTo>
                    <a:pt x="326" y="371"/>
                  </a:lnTo>
                  <a:lnTo>
                    <a:pt x="326" y="371"/>
                  </a:lnTo>
                  <a:lnTo>
                    <a:pt x="326" y="373"/>
                  </a:lnTo>
                  <a:lnTo>
                    <a:pt x="326" y="373"/>
                  </a:lnTo>
                  <a:lnTo>
                    <a:pt x="326" y="373"/>
                  </a:lnTo>
                  <a:lnTo>
                    <a:pt x="324" y="373"/>
                  </a:lnTo>
                  <a:lnTo>
                    <a:pt x="324" y="373"/>
                  </a:lnTo>
                  <a:lnTo>
                    <a:pt x="324" y="373"/>
                  </a:lnTo>
                  <a:lnTo>
                    <a:pt x="324" y="373"/>
                  </a:lnTo>
                  <a:lnTo>
                    <a:pt x="324" y="373"/>
                  </a:lnTo>
                  <a:lnTo>
                    <a:pt x="321" y="373"/>
                  </a:lnTo>
                  <a:lnTo>
                    <a:pt x="324" y="373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68"/>
                  </a:lnTo>
                  <a:lnTo>
                    <a:pt x="319" y="368"/>
                  </a:lnTo>
                  <a:lnTo>
                    <a:pt x="319" y="368"/>
                  </a:lnTo>
                  <a:lnTo>
                    <a:pt x="319" y="368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71"/>
                  </a:lnTo>
                  <a:lnTo>
                    <a:pt x="321" y="373"/>
                  </a:lnTo>
                  <a:lnTo>
                    <a:pt x="319" y="371"/>
                  </a:lnTo>
                  <a:lnTo>
                    <a:pt x="319" y="371"/>
                  </a:lnTo>
                  <a:lnTo>
                    <a:pt x="319" y="368"/>
                  </a:lnTo>
                  <a:lnTo>
                    <a:pt x="319" y="368"/>
                  </a:lnTo>
                  <a:lnTo>
                    <a:pt x="319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9" y="371"/>
                  </a:lnTo>
                  <a:lnTo>
                    <a:pt x="321" y="373"/>
                  </a:lnTo>
                  <a:lnTo>
                    <a:pt x="321" y="373"/>
                  </a:lnTo>
                  <a:lnTo>
                    <a:pt x="324" y="373"/>
                  </a:lnTo>
                  <a:lnTo>
                    <a:pt x="324" y="373"/>
                  </a:lnTo>
                  <a:lnTo>
                    <a:pt x="324" y="375"/>
                  </a:lnTo>
                  <a:lnTo>
                    <a:pt x="324" y="373"/>
                  </a:lnTo>
                  <a:lnTo>
                    <a:pt x="321" y="373"/>
                  </a:lnTo>
                  <a:lnTo>
                    <a:pt x="321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3"/>
                  </a:lnTo>
                  <a:lnTo>
                    <a:pt x="319" y="371"/>
                  </a:lnTo>
                  <a:lnTo>
                    <a:pt x="319" y="371"/>
                  </a:lnTo>
                  <a:lnTo>
                    <a:pt x="317" y="371"/>
                  </a:lnTo>
                  <a:lnTo>
                    <a:pt x="317" y="371"/>
                  </a:lnTo>
                  <a:lnTo>
                    <a:pt x="315" y="371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68"/>
                  </a:lnTo>
                  <a:lnTo>
                    <a:pt x="315" y="371"/>
                  </a:lnTo>
                  <a:lnTo>
                    <a:pt x="312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0" y="371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5" y="373"/>
                  </a:lnTo>
                  <a:lnTo>
                    <a:pt x="315" y="373"/>
                  </a:lnTo>
                  <a:lnTo>
                    <a:pt x="315" y="373"/>
                  </a:lnTo>
                  <a:lnTo>
                    <a:pt x="315" y="373"/>
                  </a:lnTo>
                  <a:lnTo>
                    <a:pt x="315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3"/>
                  </a:lnTo>
                  <a:lnTo>
                    <a:pt x="312" y="375"/>
                  </a:lnTo>
                  <a:lnTo>
                    <a:pt x="312" y="375"/>
                  </a:lnTo>
                  <a:lnTo>
                    <a:pt x="312" y="375"/>
                  </a:lnTo>
                  <a:lnTo>
                    <a:pt x="315" y="373"/>
                  </a:lnTo>
                  <a:lnTo>
                    <a:pt x="315" y="373"/>
                  </a:lnTo>
                  <a:lnTo>
                    <a:pt x="315" y="375"/>
                  </a:lnTo>
                  <a:lnTo>
                    <a:pt x="315" y="375"/>
                  </a:lnTo>
                  <a:lnTo>
                    <a:pt x="315" y="375"/>
                  </a:lnTo>
                  <a:lnTo>
                    <a:pt x="315" y="375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7" y="377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77"/>
                  </a:lnTo>
                  <a:lnTo>
                    <a:pt x="315" y="377"/>
                  </a:lnTo>
                  <a:lnTo>
                    <a:pt x="312" y="377"/>
                  </a:lnTo>
                  <a:lnTo>
                    <a:pt x="310" y="375"/>
                  </a:lnTo>
                  <a:lnTo>
                    <a:pt x="310" y="375"/>
                  </a:lnTo>
                  <a:lnTo>
                    <a:pt x="308" y="375"/>
                  </a:lnTo>
                  <a:lnTo>
                    <a:pt x="308" y="375"/>
                  </a:lnTo>
                  <a:lnTo>
                    <a:pt x="308" y="375"/>
                  </a:lnTo>
                  <a:lnTo>
                    <a:pt x="310" y="377"/>
                  </a:lnTo>
                  <a:lnTo>
                    <a:pt x="312" y="377"/>
                  </a:lnTo>
                  <a:lnTo>
                    <a:pt x="312" y="377"/>
                  </a:lnTo>
                  <a:lnTo>
                    <a:pt x="312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5" y="380"/>
                  </a:lnTo>
                  <a:lnTo>
                    <a:pt x="312" y="380"/>
                  </a:lnTo>
                  <a:lnTo>
                    <a:pt x="312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12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8" y="377"/>
                  </a:lnTo>
                  <a:lnTo>
                    <a:pt x="308" y="377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8" y="380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5"/>
                  </a:lnTo>
                  <a:lnTo>
                    <a:pt x="306" y="375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6" y="377"/>
                  </a:lnTo>
                  <a:lnTo>
                    <a:pt x="303" y="377"/>
                  </a:lnTo>
                  <a:lnTo>
                    <a:pt x="303" y="377"/>
                  </a:lnTo>
                  <a:lnTo>
                    <a:pt x="303" y="380"/>
                  </a:lnTo>
                  <a:lnTo>
                    <a:pt x="306" y="380"/>
                  </a:lnTo>
                  <a:lnTo>
                    <a:pt x="306" y="380"/>
                  </a:lnTo>
                  <a:lnTo>
                    <a:pt x="306" y="380"/>
                  </a:lnTo>
                  <a:lnTo>
                    <a:pt x="306" y="380"/>
                  </a:lnTo>
                  <a:lnTo>
                    <a:pt x="306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2" y="382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4"/>
                  </a:lnTo>
                  <a:lnTo>
                    <a:pt x="310" y="384"/>
                  </a:lnTo>
                  <a:lnTo>
                    <a:pt x="310" y="384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4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6" y="384"/>
                  </a:lnTo>
                  <a:lnTo>
                    <a:pt x="303" y="384"/>
                  </a:lnTo>
                  <a:lnTo>
                    <a:pt x="303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301" y="384"/>
                  </a:lnTo>
                  <a:lnTo>
                    <a:pt x="301" y="384"/>
                  </a:lnTo>
                  <a:lnTo>
                    <a:pt x="301" y="384"/>
                  </a:lnTo>
                  <a:lnTo>
                    <a:pt x="301" y="384"/>
                  </a:lnTo>
                  <a:lnTo>
                    <a:pt x="299" y="384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301" y="382"/>
                  </a:lnTo>
                  <a:lnTo>
                    <a:pt x="301" y="382"/>
                  </a:lnTo>
                  <a:lnTo>
                    <a:pt x="301" y="382"/>
                  </a:lnTo>
                  <a:lnTo>
                    <a:pt x="301" y="382"/>
                  </a:lnTo>
                  <a:lnTo>
                    <a:pt x="301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2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9" y="384"/>
                  </a:lnTo>
                  <a:lnTo>
                    <a:pt x="297" y="384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4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7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4" y="386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2" y="386"/>
                  </a:lnTo>
                  <a:lnTo>
                    <a:pt x="290" y="386"/>
                  </a:lnTo>
                  <a:lnTo>
                    <a:pt x="288" y="386"/>
                  </a:lnTo>
                  <a:lnTo>
                    <a:pt x="288" y="386"/>
                  </a:lnTo>
                  <a:lnTo>
                    <a:pt x="288" y="386"/>
                  </a:lnTo>
                  <a:lnTo>
                    <a:pt x="288" y="386"/>
                  </a:lnTo>
                  <a:lnTo>
                    <a:pt x="285" y="386"/>
                  </a:lnTo>
                  <a:lnTo>
                    <a:pt x="285" y="386"/>
                  </a:lnTo>
                  <a:lnTo>
                    <a:pt x="285" y="386"/>
                  </a:lnTo>
                  <a:lnTo>
                    <a:pt x="285" y="386"/>
                  </a:lnTo>
                  <a:lnTo>
                    <a:pt x="285" y="386"/>
                  </a:lnTo>
                  <a:lnTo>
                    <a:pt x="285" y="386"/>
                  </a:lnTo>
                  <a:lnTo>
                    <a:pt x="285" y="386"/>
                  </a:lnTo>
                  <a:lnTo>
                    <a:pt x="290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4" y="389"/>
                  </a:lnTo>
                  <a:lnTo>
                    <a:pt x="294" y="389"/>
                  </a:lnTo>
                  <a:lnTo>
                    <a:pt x="297" y="389"/>
                  </a:lnTo>
                  <a:lnTo>
                    <a:pt x="297" y="389"/>
                  </a:lnTo>
                  <a:lnTo>
                    <a:pt x="297" y="389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1"/>
                  </a:lnTo>
                  <a:lnTo>
                    <a:pt x="297" y="393"/>
                  </a:lnTo>
                  <a:lnTo>
                    <a:pt x="297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1"/>
                  </a:lnTo>
                  <a:lnTo>
                    <a:pt x="294" y="393"/>
                  </a:lnTo>
                  <a:lnTo>
                    <a:pt x="294" y="391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7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9" y="393"/>
                  </a:lnTo>
                  <a:lnTo>
                    <a:pt x="297" y="393"/>
                  </a:lnTo>
                  <a:lnTo>
                    <a:pt x="297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4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1"/>
                  </a:lnTo>
                  <a:lnTo>
                    <a:pt x="292" y="391"/>
                  </a:lnTo>
                  <a:lnTo>
                    <a:pt x="292" y="391"/>
                  </a:lnTo>
                  <a:lnTo>
                    <a:pt x="292" y="391"/>
                  </a:lnTo>
                  <a:lnTo>
                    <a:pt x="290" y="391"/>
                  </a:lnTo>
                  <a:lnTo>
                    <a:pt x="290" y="391"/>
                  </a:lnTo>
                  <a:lnTo>
                    <a:pt x="290" y="391"/>
                  </a:lnTo>
                  <a:lnTo>
                    <a:pt x="290" y="391"/>
                  </a:lnTo>
                  <a:lnTo>
                    <a:pt x="290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88" y="391"/>
                  </a:lnTo>
                  <a:lnTo>
                    <a:pt x="290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3"/>
                  </a:lnTo>
                  <a:lnTo>
                    <a:pt x="292" y="395"/>
                  </a:lnTo>
                  <a:lnTo>
                    <a:pt x="292" y="395"/>
                  </a:lnTo>
                  <a:lnTo>
                    <a:pt x="292" y="395"/>
                  </a:lnTo>
                  <a:lnTo>
                    <a:pt x="292" y="395"/>
                  </a:lnTo>
                  <a:lnTo>
                    <a:pt x="294" y="395"/>
                  </a:lnTo>
                  <a:lnTo>
                    <a:pt x="294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5"/>
                  </a:lnTo>
                  <a:lnTo>
                    <a:pt x="297" y="398"/>
                  </a:lnTo>
                  <a:lnTo>
                    <a:pt x="297" y="398"/>
                  </a:lnTo>
                  <a:lnTo>
                    <a:pt x="297" y="398"/>
                  </a:lnTo>
                  <a:lnTo>
                    <a:pt x="297" y="398"/>
                  </a:lnTo>
                  <a:lnTo>
                    <a:pt x="294" y="398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4" y="400"/>
                  </a:lnTo>
                  <a:lnTo>
                    <a:pt x="292" y="400"/>
                  </a:lnTo>
                  <a:lnTo>
                    <a:pt x="292" y="400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0" y="402"/>
                  </a:lnTo>
                  <a:lnTo>
                    <a:pt x="290" y="402"/>
                  </a:lnTo>
                  <a:lnTo>
                    <a:pt x="292" y="402"/>
                  </a:lnTo>
                  <a:lnTo>
                    <a:pt x="292" y="402"/>
                  </a:lnTo>
                  <a:lnTo>
                    <a:pt x="294" y="402"/>
                  </a:lnTo>
                  <a:lnTo>
                    <a:pt x="297" y="402"/>
                  </a:lnTo>
                  <a:lnTo>
                    <a:pt x="297" y="402"/>
                  </a:lnTo>
                  <a:lnTo>
                    <a:pt x="297" y="402"/>
                  </a:lnTo>
                  <a:lnTo>
                    <a:pt x="297" y="402"/>
                  </a:lnTo>
                  <a:lnTo>
                    <a:pt x="297" y="404"/>
                  </a:lnTo>
                  <a:lnTo>
                    <a:pt x="297" y="404"/>
                  </a:lnTo>
                  <a:lnTo>
                    <a:pt x="294" y="404"/>
                  </a:lnTo>
                  <a:lnTo>
                    <a:pt x="292" y="404"/>
                  </a:lnTo>
                  <a:lnTo>
                    <a:pt x="292" y="404"/>
                  </a:lnTo>
                  <a:lnTo>
                    <a:pt x="292" y="404"/>
                  </a:lnTo>
                  <a:lnTo>
                    <a:pt x="292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4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4" y="407"/>
                  </a:lnTo>
                  <a:lnTo>
                    <a:pt x="292" y="407"/>
                  </a:lnTo>
                  <a:lnTo>
                    <a:pt x="292" y="407"/>
                  </a:lnTo>
                  <a:lnTo>
                    <a:pt x="292" y="407"/>
                  </a:lnTo>
                  <a:lnTo>
                    <a:pt x="292" y="407"/>
                  </a:lnTo>
                  <a:lnTo>
                    <a:pt x="288" y="407"/>
                  </a:lnTo>
                  <a:lnTo>
                    <a:pt x="288" y="407"/>
                  </a:lnTo>
                  <a:lnTo>
                    <a:pt x="288" y="407"/>
                  </a:lnTo>
                  <a:lnTo>
                    <a:pt x="288" y="407"/>
                  </a:lnTo>
                  <a:lnTo>
                    <a:pt x="288" y="407"/>
                  </a:lnTo>
                  <a:lnTo>
                    <a:pt x="288" y="407"/>
                  </a:lnTo>
                  <a:lnTo>
                    <a:pt x="285" y="407"/>
                  </a:lnTo>
                  <a:lnTo>
                    <a:pt x="285" y="407"/>
                  </a:lnTo>
                  <a:lnTo>
                    <a:pt x="285" y="407"/>
                  </a:lnTo>
                  <a:lnTo>
                    <a:pt x="285" y="407"/>
                  </a:lnTo>
                  <a:lnTo>
                    <a:pt x="285" y="407"/>
                  </a:lnTo>
                  <a:lnTo>
                    <a:pt x="285" y="407"/>
                  </a:lnTo>
                  <a:lnTo>
                    <a:pt x="283" y="407"/>
                  </a:lnTo>
                  <a:lnTo>
                    <a:pt x="283" y="407"/>
                  </a:lnTo>
                  <a:lnTo>
                    <a:pt x="283" y="407"/>
                  </a:lnTo>
                  <a:lnTo>
                    <a:pt x="283" y="407"/>
                  </a:lnTo>
                  <a:lnTo>
                    <a:pt x="285" y="407"/>
                  </a:lnTo>
                  <a:lnTo>
                    <a:pt x="288" y="409"/>
                  </a:lnTo>
                  <a:lnTo>
                    <a:pt x="288" y="409"/>
                  </a:lnTo>
                  <a:lnTo>
                    <a:pt x="290" y="409"/>
                  </a:lnTo>
                  <a:lnTo>
                    <a:pt x="292" y="409"/>
                  </a:lnTo>
                  <a:lnTo>
                    <a:pt x="292" y="409"/>
                  </a:lnTo>
                  <a:lnTo>
                    <a:pt x="292" y="409"/>
                  </a:lnTo>
                  <a:lnTo>
                    <a:pt x="294" y="409"/>
                  </a:lnTo>
                  <a:lnTo>
                    <a:pt x="292" y="409"/>
                  </a:lnTo>
                  <a:lnTo>
                    <a:pt x="290" y="409"/>
                  </a:lnTo>
                  <a:lnTo>
                    <a:pt x="290" y="409"/>
                  </a:lnTo>
                  <a:lnTo>
                    <a:pt x="290" y="409"/>
                  </a:lnTo>
                  <a:lnTo>
                    <a:pt x="290" y="409"/>
                  </a:lnTo>
                  <a:lnTo>
                    <a:pt x="292" y="409"/>
                  </a:lnTo>
                  <a:lnTo>
                    <a:pt x="292" y="409"/>
                  </a:lnTo>
                  <a:lnTo>
                    <a:pt x="292" y="409"/>
                  </a:lnTo>
                  <a:lnTo>
                    <a:pt x="292" y="411"/>
                  </a:lnTo>
                  <a:lnTo>
                    <a:pt x="292" y="411"/>
                  </a:lnTo>
                  <a:lnTo>
                    <a:pt x="290" y="411"/>
                  </a:lnTo>
                  <a:lnTo>
                    <a:pt x="290" y="409"/>
                  </a:lnTo>
                  <a:lnTo>
                    <a:pt x="290" y="409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88" y="411"/>
                  </a:lnTo>
                  <a:lnTo>
                    <a:pt x="285" y="411"/>
                  </a:lnTo>
                  <a:lnTo>
                    <a:pt x="285" y="411"/>
                  </a:lnTo>
                  <a:lnTo>
                    <a:pt x="285" y="411"/>
                  </a:lnTo>
                  <a:lnTo>
                    <a:pt x="283" y="411"/>
                  </a:lnTo>
                  <a:lnTo>
                    <a:pt x="281" y="411"/>
                  </a:lnTo>
                  <a:lnTo>
                    <a:pt x="281" y="411"/>
                  </a:lnTo>
                  <a:lnTo>
                    <a:pt x="279" y="411"/>
                  </a:lnTo>
                  <a:lnTo>
                    <a:pt x="279" y="411"/>
                  </a:lnTo>
                  <a:lnTo>
                    <a:pt x="281" y="411"/>
                  </a:lnTo>
                  <a:lnTo>
                    <a:pt x="281" y="411"/>
                  </a:lnTo>
                  <a:lnTo>
                    <a:pt x="281" y="411"/>
                  </a:lnTo>
                  <a:lnTo>
                    <a:pt x="283" y="411"/>
                  </a:lnTo>
                  <a:lnTo>
                    <a:pt x="283" y="411"/>
                  </a:lnTo>
                  <a:lnTo>
                    <a:pt x="288" y="411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88" y="413"/>
                  </a:lnTo>
                  <a:lnTo>
                    <a:pt x="290" y="413"/>
                  </a:lnTo>
                  <a:lnTo>
                    <a:pt x="290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8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3" y="416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5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1" y="416"/>
                  </a:lnTo>
                  <a:lnTo>
                    <a:pt x="279" y="416"/>
                  </a:lnTo>
                  <a:lnTo>
                    <a:pt x="279" y="416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74" y="416"/>
                  </a:lnTo>
                  <a:lnTo>
                    <a:pt x="281" y="418"/>
                  </a:lnTo>
                  <a:lnTo>
                    <a:pt x="281" y="418"/>
                  </a:lnTo>
                  <a:lnTo>
                    <a:pt x="281" y="418"/>
                  </a:lnTo>
                  <a:lnTo>
                    <a:pt x="281" y="418"/>
                  </a:lnTo>
                  <a:lnTo>
                    <a:pt x="281" y="418"/>
                  </a:lnTo>
                  <a:lnTo>
                    <a:pt x="281" y="418"/>
                  </a:lnTo>
                  <a:lnTo>
                    <a:pt x="279" y="418"/>
                  </a:lnTo>
                  <a:lnTo>
                    <a:pt x="281" y="418"/>
                  </a:lnTo>
                  <a:lnTo>
                    <a:pt x="281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3" y="418"/>
                  </a:lnTo>
                  <a:lnTo>
                    <a:pt x="285" y="418"/>
                  </a:lnTo>
                  <a:lnTo>
                    <a:pt x="285" y="420"/>
                  </a:lnTo>
                  <a:lnTo>
                    <a:pt x="285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79" y="418"/>
                  </a:lnTo>
                  <a:lnTo>
                    <a:pt x="279" y="418"/>
                  </a:lnTo>
                  <a:lnTo>
                    <a:pt x="279" y="420"/>
                  </a:lnTo>
                  <a:lnTo>
                    <a:pt x="279" y="420"/>
                  </a:lnTo>
                  <a:lnTo>
                    <a:pt x="274" y="418"/>
                  </a:lnTo>
                  <a:lnTo>
                    <a:pt x="274" y="420"/>
                  </a:lnTo>
                  <a:lnTo>
                    <a:pt x="274" y="418"/>
                  </a:lnTo>
                  <a:lnTo>
                    <a:pt x="279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1" y="420"/>
                  </a:lnTo>
                  <a:lnTo>
                    <a:pt x="283" y="420"/>
                  </a:lnTo>
                  <a:lnTo>
                    <a:pt x="283" y="420"/>
                  </a:lnTo>
                  <a:lnTo>
                    <a:pt x="283" y="420"/>
                  </a:lnTo>
                  <a:lnTo>
                    <a:pt x="283" y="420"/>
                  </a:lnTo>
                  <a:lnTo>
                    <a:pt x="283" y="420"/>
                  </a:lnTo>
                  <a:lnTo>
                    <a:pt x="283" y="420"/>
                  </a:lnTo>
                  <a:lnTo>
                    <a:pt x="283" y="422"/>
                  </a:lnTo>
                  <a:lnTo>
                    <a:pt x="281" y="420"/>
                  </a:lnTo>
                  <a:lnTo>
                    <a:pt x="279" y="420"/>
                  </a:lnTo>
                  <a:lnTo>
                    <a:pt x="279" y="420"/>
                  </a:lnTo>
                  <a:lnTo>
                    <a:pt x="279" y="420"/>
                  </a:lnTo>
                  <a:lnTo>
                    <a:pt x="279" y="422"/>
                  </a:lnTo>
                  <a:lnTo>
                    <a:pt x="274" y="420"/>
                  </a:lnTo>
                  <a:lnTo>
                    <a:pt x="274" y="420"/>
                  </a:lnTo>
                  <a:lnTo>
                    <a:pt x="274" y="420"/>
                  </a:lnTo>
                  <a:lnTo>
                    <a:pt x="272" y="420"/>
                  </a:lnTo>
                  <a:lnTo>
                    <a:pt x="270" y="420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67" y="420"/>
                  </a:lnTo>
                  <a:lnTo>
                    <a:pt x="270" y="420"/>
                  </a:lnTo>
                  <a:lnTo>
                    <a:pt x="270" y="420"/>
                  </a:lnTo>
                  <a:lnTo>
                    <a:pt x="270" y="420"/>
                  </a:lnTo>
                  <a:lnTo>
                    <a:pt x="270" y="420"/>
                  </a:lnTo>
                  <a:lnTo>
                    <a:pt x="270" y="422"/>
                  </a:lnTo>
                  <a:lnTo>
                    <a:pt x="270" y="422"/>
                  </a:lnTo>
                  <a:lnTo>
                    <a:pt x="274" y="420"/>
                  </a:lnTo>
                  <a:lnTo>
                    <a:pt x="274" y="420"/>
                  </a:lnTo>
                  <a:lnTo>
                    <a:pt x="274" y="422"/>
                  </a:lnTo>
                  <a:lnTo>
                    <a:pt x="274" y="422"/>
                  </a:lnTo>
                  <a:lnTo>
                    <a:pt x="274" y="422"/>
                  </a:lnTo>
                  <a:lnTo>
                    <a:pt x="274" y="422"/>
                  </a:lnTo>
                  <a:lnTo>
                    <a:pt x="274" y="422"/>
                  </a:lnTo>
                  <a:lnTo>
                    <a:pt x="276" y="422"/>
                  </a:lnTo>
                  <a:lnTo>
                    <a:pt x="276" y="422"/>
                  </a:lnTo>
                  <a:lnTo>
                    <a:pt x="276" y="422"/>
                  </a:lnTo>
                  <a:lnTo>
                    <a:pt x="276" y="422"/>
                  </a:lnTo>
                  <a:lnTo>
                    <a:pt x="276" y="422"/>
                  </a:lnTo>
                  <a:lnTo>
                    <a:pt x="276" y="422"/>
                  </a:lnTo>
                  <a:lnTo>
                    <a:pt x="276" y="422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2"/>
                  </a:lnTo>
                  <a:lnTo>
                    <a:pt x="281" y="425"/>
                  </a:lnTo>
                  <a:lnTo>
                    <a:pt x="281" y="425"/>
                  </a:lnTo>
                  <a:lnTo>
                    <a:pt x="281" y="425"/>
                  </a:lnTo>
                  <a:lnTo>
                    <a:pt x="281" y="425"/>
                  </a:lnTo>
                  <a:lnTo>
                    <a:pt x="281" y="425"/>
                  </a:lnTo>
                  <a:lnTo>
                    <a:pt x="281" y="422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79" y="425"/>
                  </a:lnTo>
                  <a:lnTo>
                    <a:pt x="281" y="425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4" y="427"/>
                  </a:lnTo>
                  <a:lnTo>
                    <a:pt x="272" y="425"/>
                  </a:lnTo>
                  <a:lnTo>
                    <a:pt x="270" y="425"/>
                  </a:lnTo>
                  <a:lnTo>
                    <a:pt x="270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67" y="425"/>
                  </a:lnTo>
                  <a:lnTo>
                    <a:pt x="272" y="427"/>
                  </a:lnTo>
                  <a:lnTo>
                    <a:pt x="274" y="427"/>
                  </a:lnTo>
                  <a:lnTo>
                    <a:pt x="274" y="427"/>
                  </a:lnTo>
                  <a:lnTo>
                    <a:pt x="274" y="427"/>
                  </a:lnTo>
                  <a:lnTo>
                    <a:pt x="274" y="427"/>
                  </a:lnTo>
                  <a:lnTo>
                    <a:pt x="272" y="427"/>
                  </a:lnTo>
                  <a:lnTo>
                    <a:pt x="274" y="427"/>
                  </a:lnTo>
                  <a:lnTo>
                    <a:pt x="274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6" y="427"/>
                  </a:lnTo>
                  <a:lnTo>
                    <a:pt x="279" y="427"/>
                  </a:lnTo>
                  <a:lnTo>
                    <a:pt x="279" y="427"/>
                  </a:lnTo>
                  <a:lnTo>
                    <a:pt x="279" y="427"/>
                  </a:lnTo>
                  <a:lnTo>
                    <a:pt x="279" y="427"/>
                  </a:lnTo>
                  <a:lnTo>
                    <a:pt x="279" y="427"/>
                  </a:lnTo>
                  <a:lnTo>
                    <a:pt x="279" y="427"/>
                  </a:lnTo>
                  <a:lnTo>
                    <a:pt x="279" y="427"/>
                  </a:lnTo>
                  <a:lnTo>
                    <a:pt x="276" y="429"/>
                  </a:lnTo>
                  <a:lnTo>
                    <a:pt x="272" y="427"/>
                  </a:lnTo>
                  <a:lnTo>
                    <a:pt x="267" y="427"/>
                  </a:lnTo>
                  <a:lnTo>
                    <a:pt x="265" y="427"/>
                  </a:lnTo>
                  <a:lnTo>
                    <a:pt x="267" y="427"/>
                  </a:lnTo>
                  <a:lnTo>
                    <a:pt x="267" y="427"/>
                  </a:lnTo>
                  <a:lnTo>
                    <a:pt x="267" y="427"/>
                  </a:lnTo>
                  <a:lnTo>
                    <a:pt x="267" y="427"/>
                  </a:lnTo>
                  <a:lnTo>
                    <a:pt x="270" y="427"/>
                  </a:lnTo>
                  <a:lnTo>
                    <a:pt x="270" y="427"/>
                  </a:lnTo>
                  <a:lnTo>
                    <a:pt x="270" y="427"/>
                  </a:lnTo>
                  <a:lnTo>
                    <a:pt x="270" y="427"/>
                  </a:lnTo>
                  <a:lnTo>
                    <a:pt x="270" y="427"/>
                  </a:lnTo>
                  <a:lnTo>
                    <a:pt x="270" y="429"/>
                  </a:lnTo>
                  <a:lnTo>
                    <a:pt x="270" y="429"/>
                  </a:lnTo>
                  <a:lnTo>
                    <a:pt x="270" y="429"/>
                  </a:lnTo>
                  <a:lnTo>
                    <a:pt x="270" y="429"/>
                  </a:lnTo>
                  <a:lnTo>
                    <a:pt x="270" y="429"/>
                  </a:lnTo>
                  <a:lnTo>
                    <a:pt x="270" y="429"/>
                  </a:lnTo>
                  <a:lnTo>
                    <a:pt x="272" y="429"/>
                  </a:lnTo>
                  <a:lnTo>
                    <a:pt x="272" y="427"/>
                  </a:lnTo>
                  <a:lnTo>
                    <a:pt x="274" y="427"/>
                  </a:lnTo>
                  <a:lnTo>
                    <a:pt x="274" y="429"/>
                  </a:lnTo>
                  <a:lnTo>
                    <a:pt x="274" y="429"/>
                  </a:lnTo>
                  <a:lnTo>
                    <a:pt x="276" y="429"/>
                  </a:lnTo>
                  <a:lnTo>
                    <a:pt x="276" y="429"/>
                  </a:lnTo>
                  <a:lnTo>
                    <a:pt x="276" y="429"/>
                  </a:lnTo>
                  <a:lnTo>
                    <a:pt x="276" y="429"/>
                  </a:lnTo>
                  <a:lnTo>
                    <a:pt x="279" y="429"/>
                  </a:lnTo>
                  <a:lnTo>
                    <a:pt x="279" y="429"/>
                  </a:lnTo>
                  <a:lnTo>
                    <a:pt x="279" y="429"/>
                  </a:lnTo>
                  <a:lnTo>
                    <a:pt x="279" y="429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2" y="431"/>
                  </a:lnTo>
                  <a:lnTo>
                    <a:pt x="270" y="431"/>
                  </a:lnTo>
                  <a:lnTo>
                    <a:pt x="270" y="431"/>
                  </a:lnTo>
                  <a:lnTo>
                    <a:pt x="270" y="431"/>
                  </a:lnTo>
                  <a:lnTo>
                    <a:pt x="270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9" y="431"/>
                  </a:lnTo>
                  <a:lnTo>
                    <a:pt x="279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6" y="431"/>
                  </a:lnTo>
                  <a:lnTo>
                    <a:pt x="274" y="431"/>
                  </a:lnTo>
                  <a:lnTo>
                    <a:pt x="272" y="431"/>
                  </a:lnTo>
                  <a:lnTo>
                    <a:pt x="272" y="431"/>
                  </a:lnTo>
                  <a:lnTo>
                    <a:pt x="272" y="431"/>
                  </a:lnTo>
                  <a:lnTo>
                    <a:pt x="274" y="431"/>
                  </a:lnTo>
                  <a:lnTo>
                    <a:pt x="276" y="434"/>
                  </a:lnTo>
                  <a:lnTo>
                    <a:pt x="276" y="434"/>
                  </a:lnTo>
                  <a:lnTo>
                    <a:pt x="276" y="434"/>
                  </a:lnTo>
                  <a:lnTo>
                    <a:pt x="276" y="434"/>
                  </a:lnTo>
                  <a:lnTo>
                    <a:pt x="274" y="434"/>
                  </a:lnTo>
                  <a:lnTo>
                    <a:pt x="274" y="434"/>
                  </a:lnTo>
                  <a:lnTo>
                    <a:pt x="274" y="434"/>
                  </a:lnTo>
                  <a:lnTo>
                    <a:pt x="274" y="434"/>
                  </a:lnTo>
                  <a:lnTo>
                    <a:pt x="274" y="434"/>
                  </a:lnTo>
                  <a:lnTo>
                    <a:pt x="270" y="434"/>
                  </a:lnTo>
                  <a:lnTo>
                    <a:pt x="270" y="434"/>
                  </a:lnTo>
                  <a:lnTo>
                    <a:pt x="272" y="434"/>
                  </a:lnTo>
                  <a:lnTo>
                    <a:pt x="272" y="434"/>
                  </a:lnTo>
                  <a:lnTo>
                    <a:pt x="272" y="434"/>
                  </a:lnTo>
                  <a:lnTo>
                    <a:pt x="272" y="434"/>
                  </a:lnTo>
                  <a:lnTo>
                    <a:pt x="272" y="434"/>
                  </a:lnTo>
                  <a:lnTo>
                    <a:pt x="270" y="434"/>
                  </a:lnTo>
                  <a:lnTo>
                    <a:pt x="270" y="434"/>
                  </a:lnTo>
                  <a:lnTo>
                    <a:pt x="270" y="434"/>
                  </a:lnTo>
                  <a:lnTo>
                    <a:pt x="270" y="434"/>
                  </a:lnTo>
                  <a:lnTo>
                    <a:pt x="270" y="434"/>
                  </a:lnTo>
                  <a:lnTo>
                    <a:pt x="270" y="434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70" y="434"/>
                  </a:lnTo>
                  <a:lnTo>
                    <a:pt x="270" y="436"/>
                  </a:lnTo>
                  <a:lnTo>
                    <a:pt x="270" y="436"/>
                  </a:lnTo>
                  <a:lnTo>
                    <a:pt x="265" y="434"/>
                  </a:lnTo>
                  <a:lnTo>
                    <a:pt x="263" y="434"/>
                  </a:lnTo>
                  <a:lnTo>
                    <a:pt x="263" y="434"/>
                  </a:lnTo>
                  <a:lnTo>
                    <a:pt x="263" y="431"/>
                  </a:lnTo>
                  <a:lnTo>
                    <a:pt x="263" y="431"/>
                  </a:lnTo>
                  <a:lnTo>
                    <a:pt x="263" y="431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3" y="429"/>
                  </a:lnTo>
                  <a:lnTo>
                    <a:pt x="263" y="429"/>
                  </a:lnTo>
                  <a:lnTo>
                    <a:pt x="263" y="429"/>
                  </a:lnTo>
                  <a:lnTo>
                    <a:pt x="263" y="431"/>
                  </a:lnTo>
                  <a:lnTo>
                    <a:pt x="263" y="431"/>
                  </a:lnTo>
                  <a:lnTo>
                    <a:pt x="263" y="434"/>
                  </a:lnTo>
                  <a:lnTo>
                    <a:pt x="263" y="434"/>
                  </a:lnTo>
                  <a:lnTo>
                    <a:pt x="263" y="434"/>
                  </a:lnTo>
                  <a:lnTo>
                    <a:pt x="261" y="434"/>
                  </a:lnTo>
                  <a:lnTo>
                    <a:pt x="261" y="434"/>
                  </a:lnTo>
                  <a:lnTo>
                    <a:pt x="256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1"/>
                  </a:lnTo>
                  <a:lnTo>
                    <a:pt x="254" y="434"/>
                  </a:lnTo>
                  <a:lnTo>
                    <a:pt x="256" y="434"/>
                  </a:lnTo>
                  <a:lnTo>
                    <a:pt x="256" y="434"/>
                  </a:lnTo>
                  <a:lnTo>
                    <a:pt x="256" y="434"/>
                  </a:lnTo>
                  <a:lnTo>
                    <a:pt x="258" y="434"/>
                  </a:lnTo>
                  <a:lnTo>
                    <a:pt x="258" y="434"/>
                  </a:lnTo>
                  <a:lnTo>
                    <a:pt x="258" y="434"/>
                  </a:lnTo>
                  <a:lnTo>
                    <a:pt x="258" y="434"/>
                  </a:lnTo>
                  <a:lnTo>
                    <a:pt x="258" y="434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8" y="436"/>
                  </a:lnTo>
                  <a:lnTo>
                    <a:pt x="258" y="434"/>
                  </a:lnTo>
                  <a:lnTo>
                    <a:pt x="261" y="434"/>
                  </a:lnTo>
                  <a:lnTo>
                    <a:pt x="261" y="434"/>
                  </a:lnTo>
                  <a:lnTo>
                    <a:pt x="265" y="436"/>
                  </a:lnTo>
                  <a:lnTo>
                    <a:pt x="267" y="436"/>
                  </a:lnTo>
                  <a:lnTo>
                    <a:pt x="267" y="436"/>
                  </a:lnTo>
                  <a:lnTo>
                    <a:pt x="267" y="436"/>
                  </a:lnTo>
                  <a:lnTo>
                    <a:pt x="267" y="436"/>
                  </a:lnTo>
                  <a:lnTo>
                    <a:pt x="267" y="436"/>
                  </a:lnTo>
                  <a:lnTo>
                    <a:pt x="267" y="436"/>
                  </a:lnTo>
                  <a:lnTo>
                    <a:pt x="265" y="436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3" y="438"/>
                  </a:lnTo>
                  <a:lnTo>
                    <a:pt x="263" y="438"/>
                  </a:lnTo>
                  <a:lnTo>
                    <a:pt x="263" y="438"/>
                  </a:lnTo>
                  <a:lnTo>
                    <a:pt x="263" y="438"/>
                  </a:lnTo>
                  <a:lnTo>
                    <a:pt x="261" y="438"/>
                  </a:lnTo>
                  <a:lnTo>
                    <a:pt x="261" y="438"/>
                  </a:lnTo>
                  <a:lnTo>
                    <a:pt x="261" y="438"/>
                  </a:lnTo>
                  <a:lnTo>
                    <a:pt x="261" y="438"/>
                  </a:lnTo>
                  <a:lnTo>
                    <a:pt x="261" y="438"/>
                  </a:lnTo>
                  <a:lnTo>
                    <a:pt x="263" y="438"/>
                  </a:lnTo>
                  <a:lnTo>
                    <a:pt x="263" y="438"/>
                  </a:lnTo>
                  <a:lnTo>
                    <a:pt x="263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6"/>
                  </a:lnTo>
                  <a:lnTo>
                    <a:pt x="267" y="436"/>
                  </a:lnTo>
                  <a:lnTo>
                    <a:pt x="270" y="436"/>
                  </a:lnTo>
                  <a:lnTo>
                    <a:pt x="270" y="436"/>
                  </a:lnTo>
                  <a:lnTo>
                    <a:pt x="270" y="436"/>
                  </a:lnTo>
                  <a:lnTo>
                    <a:pt x="267" y="436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67" y="438"/>
                  </a:lnTo>
                  <a:lnTo>
                    <a:pt x="267" y="436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5" y="438"/>
                  </a:lnTo>
                  <a:lnTo>
                    <a:pt x="267" y="438"/>
                  </a:lnTo>
                  <a:lnTo>
                    <a:pt x="267" y="438"/>
                  </a:lnTo>
                  <a:lnTo>
                    <a:pt x="267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70" y="438"/>
                  </a:lnTo>
                  <a:lnTo>
                    <a:pt x="267" y="438"/>
                  </a:lnTo>
                  <a:lnTo>
                    <a:pt x="270" y="440"/>
                  </a:lnTo>
                  <a:lnTo>
                    <a:pt x="270" y="440"/>
                  </a:lnTo>
                  <a:lnTo>
                    <a:pt x="270" y="440"/>
                  </a:lnTo>
                  <a:lnTo>
                    <a:pt x="270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5" y="440"/>
                  </a:lnTo>
                  <a:lnTo>
                    <a:pt x="265" y="440"/>
                  </a:lnTo>
                  <a:lnTo>
                    <a:pt x="265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67" y="440"/>
                  </a:lnTo>
                  <a:lnTo>
                    <a:pt x="270" y="440"/>
                  </a:lnTo>
                  <a:lnTo>
                    <a:pt x="267" y="440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7" y="443"/>
                  </a:lnTo>
                  <a:lnTo>
                    <a:pt x="265" y="443"/>
                  </a:lnTo>
                  <a:lnTo>
                    <a:pt x="265" y="443"/>
                  </a:lnTo>
                  <a:lnTo>
                    <a:pt x="265" y="443"/>
                  </a:lnTo>
                  <a:lnTo>
                    <a:pt x="263" y="443"/>
                  </a:lnTo>
                  <a:lnTo>
                    <a:pt x="263" y="443"/>
                  </a:lnTo>
                  <a:lnTo>
                    <a:pt x="263" y="443"/>
                  </a:lnTo>
                  <a:lnTo>
                    <a:pt x="261" y="443"/>
                  </a:lnTo>
                  <a:lnTo>
                    <a:pt x="261" y="443"/>
                  </a:lnTo>
                  <a:lnTo>
                    <a:pt x="261" y="443"/>
                  </a:lnTo>
                  <a:lnTo>
                    <a:pt x="261" y="443"/>
                  </a:lnTo>
                  <a:lnTo>
                    <a:pt x="261" y="440"/>
                  </a:lnTo>
                  <a:lnTo>
                    <a:pt x="261" y="440"/>
                  </a:lnTo>
                  <a:lnTo>
                    <a:pt x="261" y="440"/>
                  </a:lnTo>
                  <a:lnTo>
                    <a:pt x="261" y="440"/>
                  </a:lnTo>
                  <a:lnTo>
                    <a:pt x="261" y="440"/>
                  </a:lnTo>
                  <a:lnTo>
                    <a:pt x="261" y="443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6" y="443"/>
                  </a:lnTo>
                  <a:lnTo>
                    <a:pt x="256" y="443"/>
                  </a:lnTo>
                  <a:lnTo>
                    <a:pt x="254" y="440"/>
                  </a:lnTo>
                  <a:lnTo>
                    <a:pt x="254" y="440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43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6"/>
                  </a:lnTo>
                  <a:lnTo>
                    <a:pt x="254" y="436"/>
                  </a:lnTo>
                  <a:lnTo>
                    <a:pt x="254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4" y="438"/>
                  </a:lnTo>
                  <a:lnTo>
                    <a:pt x="252" y="438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40"/>
                  </a:lnTo>
                  <a:lnTo>
                    <a:pt x="252" y="438"/>
                  </a:lnTo>
                  <a:lnTo>
                    <a:pt x="252" y="438"/>
                  </a:lnTo>
                  <a:lnTo>
                    <a:pt x="252" y="438"/>
                  </a:lnTo>
                  <a:lnTo>
                    <a:pt x="249" y="438"/>
                  </a:lnTo>
                  <a:lnTo>
                    <a:pt x="249" y="438"/>
                  </a:lnTo>
                  <a:lnTo>
                    <a:pt x="252" y="438"/>
                  </a:lnTo>
                  <a:lnTo>
                    <a:pt x="252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0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7" y="443"/>
                  </a:lnTo>
                  <a:lnTo>
                    <a:pt x="247" y="443"/>
                  </a:lnTo>
                  <a:lnTo>
                    <a:pt x="247" y="443"/>
                  </a:lnTo>
                  <a:lnTo>
                    <a:pt x="247" y="443"/>
                  </a:lnTo>
                  <a:lnTo>
                    <a:pt x="245" y="443"/>
                  </a:lnTo>
                  <a:lnTo>
                    <a:pt x="245" y="443"/>
                  </a:lnTo>
                  <a:lnTo>
                    <a:pt x="245" y="443"/>
                  </a:lnTo>
                  <a:lnTo>
                    <a:pt x="245" y="445"/>
                  </a:lnTo>
                  <a:lnTo>
                    <a:pt x="245" y="445"/>
                  </a:lnTo>
                  <a:lnTo>
                    <a:pt x="243" y="445"/>
                  </a:lnTo>
                  <a:lnTo>
                    <a:pt x="243" y="445"/>
                  </a:lnTo>
                  <a:lnTo>
                    <a:pt x="243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3" y="443"/>
                  </a:lnTo>
                  <a:lnTo>
                    <a:pt x="243" y="443"/>
                  </a:lnTo>
                  <a:lnTo>
                    <a:pt x="243" y="443"/>
                  </a:lnTo>
                  <a:lnTo>
                    <a:pt x="241" y="443"/>
                  </a:lnTo>
                  <a:lnTo>
                    <a:pt x="241" y="443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38" y="445"/>
                  </a:lnTo>
                  <a:lnTo>
                    <a:pt x="238" y="445"/>
                  </a:lnTo>
                  <a:lnTo>
                    <a:pt x="238" y="445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41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5"/>
                  </a:lnTo>
                  <a:lnTo>
                    <a:pt x="238" y="445"/>
                  </a:lnTo>
                  <a:lnTo>
                    <a:pt x="238" y="445"/>
                  </a:lnTo>
                  <a:lnTo>
                    <a:pt x="236" y="445"/>
                  </a:lnTo>
                  <a:lnTo>
                    <a:pt x="236" y="445"/>
                  </a:lnTo>
                  <a:lnTo>
                    <a:pt x="236" y="445"/>
                  </a:lnTo>
                  <a:lnTo>
                    <a:pt x="236" y="445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8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6" y="443"/>
                  </a:lnTo>
                  <a:lnTo>
                    <a:pt x="238" y="443"/>
                  </a:lnTo>
                  <a:lnTo>
                    <a:pt x="238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3" y="440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5" y="438"/>
                  </a:lnTo>
                  <a:lnTo>
                    <a:pt x="245" y="436"/>
                  </a:lnTo>
                  <a:lnTo>
                    <a:pt x="245" y="436"/>
                  </a:lnTo>
                  <a:lnTo>
                    <a:pt x="245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4"/>
                  </a:lnTo>
                  <a:lnTo>
                    <a:pt x="247" y="434"/>
                  </a:lnTo>
                  <a:lnTo>
                    <a:pt x="249" y="434"/>
                  </a:lnTo>
                  <a:lnTo>
                    <a:pt x="249" y="434"/>
                  </a:lnTo>
                  <a:lnTo>
                    <a:pt x="249" y="434"/>
                  </a:lnTo>
                  <a:lnTo>
                    <a:pt x="249" y="434"/>
                  </a:lnTo>
                  <a:lnTo>
                    <a:pt x="249" y="434"/>
                  </a:lnTo>
                  <a:lnTo>
                    <a:pt x="247" y="434"/>
                  </a:lnTo>
                  <a:lnTo>
                    <a:pt x="247" y="434"/>
                  </a:lnTo>
                  <a:lnTo>
                    <a:pt x="247" y="436"/>
                  </a:lnTo>
                  <a:lnTo>
                    <a:pt x="245" y="436"/>
                  </a:lnTo>
                  <a:lnTo>
                    <a:pt x="245" y="436"/>
                  </a:lnTo>
                  <a:lnTo>
                    <a:pt x="245" y="436"/>
                  </a:lnTo>
                  <a:lnTo>
                    <a:pt x="245" y="436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3" y="438"/>
                  </a:lnTo>
                  <a:lnTo>
                    <a:pt x="241" y="438"/>
                  </a:lnTo>
                  <a:lnTo>
                    <a:pt x="241" y="438"/>
                  </a:lnTo>
                  <a:lnTo>
                    <a:pt x="241" y="438"/>
                  </a:lnTo>
                  <a:lnTo>
                    <a:pt x="241" y="438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41" y="440"/>
                  </a:lnTo>
                  <a:lnTo>
                    <a:pt x="238" y="440"/>
                  </a:lnTo>
                  <a:lnTo>
                    <a:pt x="238" y="440"/>
                  </a:lnTo>
                  <a:lnTo>
                    <a:pt x="238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3"/>
                  </a:lnTo>
                  <a:lnTo>
                    <a:pt x="234" y="440"/>
                  </a:lnTo>
                  <a:lnTo>
                    <a:pt x="234" y="440"/>
                  </a:lnTo>
                  <a:lnTo>
                    <a:pt x="234" y="443"/>
                  </a:lnTo>
                  <a:lnTo>
                    <a:pt x="234" y="440"/>
                  </a:lnTo>
                  <a:lnTo>
                    <a:pt x="234" y="440"/>
                  </a:lnTo>
                  <a:lnTo>
                    <a:pt x="234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6" y="438"/>
                  </a:lnTo>
                  <a:lnTo>
                    <a:pt x="238" y="438"/>
                  </a:lnTo>
                  <a:lnTo>
                    <a:pt x="238" y="438"/>
                  </a:lnTo>
                  <a:lnTo>
                    <a:pt x="238" y="438"/>
                  </a:lnTo>
                  <a:lnTo>
                    <a:pt x="238" y="438"/>
                  </a:lnTo>
                  <a:lnTo>
                    <a:pt x="238" y="438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3" y="436"/>
                  </a:lnTo>
                  <a:lnTo>
                    <a:pt x="243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1" y="436"/>
                  </a:lnTo>
                  <a:lnTo>
                    <a:pt x="243" y="434"/>
                  </a:lnTo>
                  <a:lnTo>
                    <a:pt x="243" y="434"/>
                  </a:lnTo>
                  <a:lnTo>
                    <a:pt x="243" y="434"/>
                  </a:lnTo>
                  <a:lnTo>
                    <a:pt x="243" y="434"/>
                  </a:lnTo>
                  <a:lnTo>
                    <a:pt x="243" y="434"/>
                  </a:lnTo>
                  <a:lnTo>
                    <a:pt x="243" y="431"/>
                  </a:lnTo>
                  <a:lnTo>
                    <a:pt x="245" y="431"/>
                  </a:lnTo>
                  <a:lnTo>
                    <a:pt x="245" y="431"/>
                  </a:lnTo>
                  <a:lnTo>
                    <a:pt x="245" y="431"/>
                  </a:lnTo>
                  <a:lnTo>
                    <a:pt x="245" y="431"/>
                  </a:lnTo>
                  <a:lnTo>
                    <a:pt x="247" y="429"/>
                  </a:lnTo>
                  <a:lnTo>
                    <a:pt x="247" y="429"/>
                  </a:lnTo>
                  <a:lnTo>
                    <a:pt x="247" y="429"/>
                  </a:lnTo>
                  <a:lnTo>
                    <a:pt x="247" y="429"/>
                  </a:lnTo>
                  <a:lnTo>
                    <a:pt x="247" y="429"/>
                  </a:lnTo>
                  <a:lnTo>
                    <a:pt x="247" y="429"/>
                  </a:lnTo>
                  <a:lnTo>
                    <a:pt x="245" y="429"/>
                  </a:lnTo>
                  <a:lnTo>
                    <a:pt x="245" y="429"/>
                  </a:lnTo>
                  <a:lnTo>
                    <a:pt x="245" y="429"/>
                  </a:lnTo>
                  <a:lnTo>
                    <a:pt x="245" y="431"/>
                  </a:lnTo>
                  <a:lnTo>
                    <a:pt x="243" y="431"/>
                  </a:lnTo>
                  <a:lnTo>
                    <a:pt x="243" y="431"/>
                  </a:lnTo>
                  <a:lnTo>
                    <a:pt x="243" y="431"/>
                  </a:lnTo>
                  <a:lnTo>
                    <a:pt x="243" y="434"/>
                  </a:lnTo>
                  <a:lnTo>
                    <a:pt x="243" y="434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4" y="436"/>
                  </a:lnTo>
                  <a:lnTo>
                    <a:pt x="236" y="436"/>
                  </a:lnTo>
                  <a:lnTo>
                    <a:pt x="236" y="436"/>
                  </a:lnTo>
                  <a:lnTo>
                    <a:pt x="234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8" y="434"/>
                  </a:lnTo>
                  <a:lnTo>
                    <a:pt x="238" y="431"/>
                  </a:lnTo>
                  <a:lnTo>
                    <a:pt x="241" y="431"/>
                  </a:lnTo>
                  <a:lnTo>
                    <a:pt x="238" y="431"/>
                  </a:lnTo>
                  <a:lnTo>
                    <a:pt x="238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6" y="434"/>
                  </a:lnTo>
                  <a:lnTo>
                    <a:pt x="234" y="434"/>
                  </a:lnTo>
                  <a:lnTo>
                    <a:pt x="234" y="434"/>
                  </a:lnTo>
                  <a:lnTo>
                    <a:pt x="234" y="434"/>
                  </a:lnTo>
                  <a:lnTo>
                    <a:pt x="234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4" y="434"/>
                  </a:lnTo>
                  <a:lnTo>
                    <a:pt x="234" y="434"/>
                  </a:lnTo>
                  <a:lnTo>
                    <a:pt x="234" y="431"/>
                  </a:lnTo>
                  <a:lnTo>
                    <a:pt x="234" y="431"/>
                  </a:lnTo>
                  <a:lnTo>
                    <a:pt x="234" y="431"/>
                  </a:lnTo>
                  <a:lnTo>
                    <a:pt x="238" y="431"/>
                  </a:lnTo>
                  <a:lnTo>
                    <a:pt x="238" y="429"/>
                  </a:lnTo>
                  <a:lnTo>
                    <a:pt x="238" y="429"/>
                  </a:lnTo>
                  <a:lnTo>
                    <a:pt x="238" y="429"/>
                  </a:lnTo>
                  <a:lnTo>
                    <a:pt x="238" y="429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31"/>
                  </a:lnTo>
                  <a:lnTo>
                    <a:pt x="236" y="429"/>
                  </a:lnTo>
                  <a:lnTo>
                    <a:pt x="236" y="429"/>
                  </a:lnTo>
                  <a:lnTo>
                    <a:pt x="236" y="429"/>
                  </a:lnTo>
                  <a:lnTo>
                    <a:pt x="234" y="429"/>
                  </a:lnTo>
                  <a:lnTo>
                    <a:pt x="234" y="431"/>
                  </a:lnTo>
                  <a:lnTo>
                    <a:pt x="234" y="431"/>
                  </a:lnTo>
                  <a:lnTo>
                    <a:pt x="234" y="431"/>
                  </a:lnTo>
                  <a:lnTo>
                    <a:pt x="234" y="431"/>
                  </a:lnTo>
                  <a:lnTo>
                    <a:pt x="234" y="431"/>
                  </a:lnTo>
                  <a:lnTo>
                    <a:pt x="232" y="431"/>
                  </a:lnTo>
                  <a:lnTo>
                    <a:pt x="232" y="431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32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6"/>
                  </a:lnTo>
                  <a:lnTo>
                    <a:pt x="229" y="436"/>
                  </a:lnTo>
                  <a:lnTo>
                    <a:pt x="229" y="436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5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32" y="431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29" y="429"/>
                  </a:lnTo>
                  <a:lnTo>
                    <a:pt x="229" y="431"/>
                  </a:lnTo>
                  <a:lnTo>
                    <a:pt x="229" y="431"/>
                  </a:lnTo>
                  <a:lnTo>
                    <a:pt x="227" y="431"/>
                  </a:lnTo>
                  <a:lnTo>
                    <a:pt x="227" y="431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9" y="429"/>
                  </a:lnTo>
                  <a:lnTo>
                    <a:pt x="229" y="429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32" y="429"/>
                  </a:lnTo>
                  <a:lnTo>
                    <a:pt x="232" y="427"/>
                  </a:lnTo>
                  <a:lnTo>
                    <a:pt x="232" y="427"/>
                  </a:lnTo>
                  <a:lnTo>
                    <a:pt x="232" y="427"/>
                  </a:lnTo>
                  <a:lnTo>
                    <a:pt x="232" y="427"/>
                  </a:lnTo>
                  <a:lnTo>
                    <a:pt x="234" y="427"/>
                  </a:lnTo>
                  <a:lnTo>
                    <a:pt x="234" y="427"/>
                  </a:lnTo>
                  <a:lnTo>
                    <a:pt x="234" y="427"/>
                  </a:lnTo>
                  <a:lnTo>
                    <a:pt x="234" y="427"/>
                  </a:lnTo>
                  <a:lnTo>
                    <a:pt x="234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8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2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6" y="425"/>
                  </a:lnTo>
                  <a:lnTo>
                    <a:pt x="234" y="425"/>
                  </a:lnTo>
                  <a:lnTo>
                    <a:pt x="234" y="425"/>
                  </a:lnTo>
                  <a:lnTo>
                    <a:pt x="234" y="427"/>
                  </a:lnTo>
                  <a:lnTo>
                    <a:pt x="234" y="427"/>
                  </a:lnTo>
                  <a:lnTo>
                    <a:pt x="229" y="429"/>
                  </a:lnTo>
                  <a:lnTo>
                    <a:pt x="229" y="429"/>
                  </a:lnTo>
                  <a:lnTo>
                    <a:pt x="229" y="429"/>
                  </a:lnTo>
                  <a:lnTo>
                    <a:pt x="229" y="429"/>
                  </a:lnTo>
                  <a:lnTo>
                    <a:pt x="229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9"/>
                  </a:lnTo>
                  <a:lnTo>
                    <a:pt x="227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5" y="429"/>
                  </a:lnTo>
                  <a:lnTo>
                    <a:pt x="223" y="429"/>
                  </a:lnTo>
                  <a:lnTo>
                    <a:pt x="223" y="429"/>
                  </a:lnTo>
                  <a:lnTo>
                    <a:pt x="223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0" y="429"/>
                  </a:lnTo>
                  <a:lnTo>
                    <a:pt x="223" y="429"/>
                  </a:lnTo>
                  <a:lnTo>
                    <a:pt x="225" y="429"/>
                  </a:lnTo>
                  <a:lnTo>
                    <a:pt x="225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7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5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3" y="427"/>
                  </a:lnTo>
                  <a:lnTo>
                    <a:pt x="227" y="425"/>
                  </a:lnTo>
                  <a:lnTo>
                    <a:pt x="234" y="425"/>
                  </a:lnTo>
                  <a:lnTo>
                    <a:pt x="236" y="425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8" y="422"/>
                  </a:lnTo>
                  <a:lnTo>
                    <a:pt x="238" y="422"/>
                  </a:lnTo>
                  <a:lnTo>
                    <a:pt x="238" y="422"/>
                  </a:lnTo>
                  <a:lnTo>
                    <a:pt x="238" y="422"/>
                  </a:lnTo>
                  <a:lnTo>
                    <a:pt x="238" y="422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41" y="420"/>
                  </a:lnTo>
                  <a:lnTo>
                    <a:pt x="238" y="420"/>
                  </a:lnTo>
                  <a:lnTo>
                    <a:pt x="238" y="420"/>
                  </a:lnTo>
                  <a:lnTo>
                    <a:pt x="238" y="422"/>
                  </a:lnTo>
                  <a:lnTo>
                    <a:pt x="238" y="422"/>
                  </a:lnTo>
                  <a:lnTo>
                    <a:pt x="238" y="422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18"/>
                  </a:lnTo>
                  <a:lnTo>
                    <a:pt x="236" y="418"/>
                  </a:lnTo>
                  <a:lnTo>
                    <a:pt x="236" y="418"/>
                  </a:lnTo>
                  <a:lnTo>
                    <a:pt x="236" y="418"/>
                  </a:lnTo>
                  <a:lnTo>
                    <a:pt x="236" y="418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0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6" y="422"/>
                  </a:lnTo>
                  <a:lnTo>
                    <a:pt x="234" y="422"/>
                  </a:lnTo>
                  <a:lnTo>
                    <a:pt x="234" y="422"/>
                  </a:lnTo>
                  <a:lnTo>
                    <a:pt x="232" y="422"/>
                  </a:lnTo>
                  <a:lnTo>
                    <a:pt x="229" y="425"/>
                  </a:lnTo>
                  <a:lnTo>
                    <a:pt x="229" y="425"/>
                  </a:lnTo>
                  <a:lnTo>
                    <a:pt x="229" y="425"/>
                  </a:lnTo>
                  <a:lnTo>
                    <a:pt x="229" y="425"/>
                  </a:lnTo>
                  <a:lnTo>
                    <a:pt x="229" y="425"/>
                  </a:lnTo>
                  <a:lnTo>
                    <a:pt x="227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5" y="425"/>
                  </a:lnTo>
                  <a:lnTo>
                    <a:pt x="227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2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4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32" y="420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32" y="418"/>
                  </a:lnTo>
                  <a:lnTo>
                    <a:pt x="232" y="418"/>
                  </a:lnTo>
                  <a:lnTo>
                    <a:pt x="232" y="418"/>
                  </a:lnTo>
                  <a:lnTo>
                    <a:pt x="234" y="416"/>
                  </a:lnTo>
                  <a:lnTo>
                    <a:pt x="234" y="416"/>
                  </a:lnTo>
                  <a:lnTo>
                    <a:pt x="234" y="416"/>
                  </a:lnTo>
                  <a:lnTo>
                    <a:pt x="232" y="416"/>
                  </a:lnTo>
                  <a:lnTo>
                    <a:pt x="232" y="416"/>
                  </a:lnTo>
                  <a:lnTo>
                    <a:pt x="232" y="416"/>
                  </a:lnTo>
                  <a:lnTo>
                    <a:pt x="232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9" y="418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7" y="420"/>
                  </a:lnTo>
                  <a:lnTo>
                    <a:pt x="227" y="420"/>
                  </a:lnTo>
                  <a:lnTo>
                    <a:pt x="229" y="420"/>
                  </a:lnTo>
                  <a:lnTo>
                    <a:pt x="229" y="422"/>
                  </a:lnTo>
                  <a:lnTo>
                    <a:pt x="229" y="422"/>
                  </a:lnTo>
                  <a:lnTo>
                    <a:pt x="229" y="422"/>
                  </a:lnTo>
                  <a:lnTo>
                    <a:pt x="227" y="422"/>
                  </a:lnTo>
                  <a:lnTo>
                    <a:pt x="227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2"/>
                  </a:lnTo>
                  <a:lnTo>
                    <a:pt x="225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5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20" y="422"/>
                  </a:lnTo>
                  <a:lnTo>
                    <a:pt x="218" y="422"/>
                  </a:lnTo>
                  <a:lnTo>
                    <a:pt x="218" y="422"/>
                  </a:lnTo>
                  <a:lnTo>
                    <a:pt x="218" y="422"/>
                  </a:lnTo>
                  <a:lnTo>
                    <a:pt x="220" y="422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8" y="422"/>
                  </a:lnTo>
                  <a:lnTo>
                    <a:pt x="218" y="422"/>
                  </a:lnTo>
                  <a:lnTo>
                    <a:pt x="218" y="422"/>
                  </a:lnTo>
                  <a:lnTo>
                    <a:pt x="218" y="422"/>
                  </a:lnTo>
                  <a:lnTo>
                    <a:pt x="216" y="422"/>
                  </a:lnTo>
                  <a:lnTo>
                    <a:pt x="218" y="425"/>
                  </a:lnTo>
                  <a:lnTo>
                    <a:pt x="218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6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7"/>
                  </a:lnTo>
                  <a:lnTo>
                    <a:pt x="214" y="427"/>
                  </a:lnTo>
                  <a:lnTo>
                    <a:pt x="214" y="427"/>
                  </a:lnTo>
                  <a:lnTo>
                    <a:pt x="214" y="427"/>
                  </a:lnTo>
                  <a:lnTo>
                    <a:pt x="214" y="427"/>
                  </a:lnTo>
                  <a:lnTo>
                    <a:pt x="211" y="427"/>
                  </a:lnTo>
                  <a:lnTo>
                    <a:pt x="211" y="427"/>
                  </a:lnTo>
                  <a:lnTo>
                    <a:pt x="211" y="427"/>
                  </a:lnTo>
                  <a:lnTo>
                    <a:pt x="211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11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11" y="427"/>
                  </a:lnTo>
                  <a:lnTo>
                    <a:pt x="211" y="427"/>
                  </a:lnTo>
                  <a:lnTo>
                    <a:pt x="211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7" y="427"/>
                  </a:lnTo>
                  <a:lnTo>
                    <a:pt x="209" y="427"/>
                  </a:lnTo>
                  <a:lnTo>
                    <a:pt x="209" y="427"/>
                  </a:lnTo>
                  <a:lnTo>
                    <a:pt x="209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9" y="425"/>
                  </a:lnTo>
                  <a:lnTo>
                    <a:pt x="207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7"/>
                  </a:lnTo>
                  <a:lnTo>
                    <a:pt x="205" y="427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5" y="425"/>
                  </a:lnTo>
                  <a:lnTo>
                    <a:pt x="202" y="425"/>
                  </a:lnTo>
                  <a:lnTo>
                    <a:pt x="202" y="425"/>
                  </a:lnTo>
                  <a:lnTo>
                    <a:pt x="202" y="425"/>
                  </a:lnTo>
                  <a:lnTo>
                    <a:pt x="202" y="425"/>
                  </a:lnTo>
                  <a:lnTo>
                    <a:pt x="202" y="425"/>
                  </a:lnTo>
                  <a:lnTo>
                    <a:pt x="202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8" y="425"/>
                  </a:lnTo>
                  <a:lnTo>
                    <a:pt x="198" y="427"/>
                  </a:lnTo>
                  <a:lnTo>
                    <a:pt x="198" y="427"/>
                  </a:lnTo>
                  <a:lnTo>
                    <a:pt x="198" y="427"/>
                  </a:lnTo>
                  <a:lnTo>
                    <a:pt x="196" y="425"/>
                  </a:lnTo>
                  <a:lnTo>
                    <a:pt x="198" y="425"/>
                  </a:lnTo>
                  <a:lnTo>
                    <a:pt x="196" y="425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3" y="427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1" y="427"/>
                  </a:lnTo>
                  <a:lnTo>
                    <a:pt x="191" y="427"/>
                  </a:lnTo>
                  <a:lnTo>
                    <a:pt x="191" y="427"/>
                  </a:lnTo>
                  <a:lnTo>
                    <a:pt x="191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7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1" y="427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3" y="425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7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6" y="425"/>
                  </a:lnTo>
                  <a:lnTo>
                    <a:pt x="198" y="425"/>
                  </a:lnTo>
                  <a:lnTo>
                    <a:pt x="198" y="425"/>
                  </a:lnTo>
                  <a:lnTo>
                    <a:pt x="198" y="425"/>
                  </a:lnTo>
                  <a:lnTo>
                    <a:pt x="198" y="425"/>
                  </a:lnTo>
                  <a:lnTo>
                    <a:pt x="198" y="425"/>
                  </a:lnTo>
                  <a:lnTo>
                    <a:pt x="198" y="422"/>
                  </a:lnTo>
                  <a:lnTo>
                    <a:pt x="198" y="422"/>
                  </a:lnTo>
                  <a:lnTo>
                    <a:pt x="196" y="425"/>
                  </a:lnTo>
                  <a:lnTo>
                    <a:pt x="196" y="425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91" y="425"/>
                  </a:lnTo>
                  <a:lnTo>
                    <a:pt x="189" y="425"/>
                  </a:lnTo>
                  <a:lnTo>
                    <a:pt x="189" y="425"/>
                  </a:lnTo>
                  <a:lnTo>
                    <a:pt x="189" y="425"/>
                  </a:lnTo>
                  <a:lnTo>
                    <a:pt x="187" y="425"/>
                  </a:lnTo>
                  <a:lnTo>
                    <a:pt x="187" y="425"/>
                  </a:lnTo>
                  <a:lnTo>
                    <a:pt x="187" y="425"/>
                  </a:lnTo>
                  <a:lnTo>
                    <a:pt x="187" y="425"/>
                  </a:lnTo>
                  <a:lnTo>
                    <a:pt x="187" y="422"/>
                  </a:lnTo>
                  <a:lnTo>
                    <a:pt x="189" y="422"/>
                  </a:lnTo>
                  <a:lnTo>
                    <a:pt x="189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1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2"/>
                  </a:lnTo>
                  <a:lnTo>
                    <a:pt x="196" y="420"/>
                  </a:lnTo>
                  <a:lnTo>
                    <a:pt x="198" y="420"/>
                  </a:lnTo>
                  <a:lnTo>
                    <a:pt x="198" y="420"/>
                  </a:lnTo>
                  <a:lnTo>
                    <a:pt x="198" y="420"/>
                  </a:lnTo>
                  <a:lnTo>
                    <a:pt x="198" y="420"/>
                  </a:lnTo>
                  <a:lnTo>
                    <a:pt x="198" y="420"/>
                  </a:lnTo>
                  <a:lnTo>
                    <a:pt x="196" y="420"/>
                  </a:lnTo>
                  <a:lnTo>
                    <a:pt x="196" y="420"/>
                  </a:lnTo>
                  <a:lnTo>
                    <a:pt x="196" y="420"/>
                  </a:lnTo>
                  <a:lnTo>
                    <a:pt x="196" y="420"/>
                  </a:lnTo>
                  <a:lnTo>
                    <a:pt x="196" y="420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1" y="422"/>
                  </a:lnTo>
                  <a:lnTo>
                    <a:pt x="191" y="420"/>
                  </a:lnTo>
                  <a:lnTo>
                    <a:pt x="193" y="420"/>
                  </a:lnTo>
                  <a:lnTo>
                    <a:pt x="193" y="420"/>
                  </a:lnTo>
                  <a:lnTo>
                    <a:pt x="193" y="420"/>
                  </a:lnTo>
                  <a:lnTo>
                    <a:pt x="193" y="420"/>
                  </a:lnTo>
                  <a:lnTo>
                    <a:pt x="193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6" y="418"/>
                  </a:lnTo>
                  <a:lnTo>
                    <a:pt x="196" y="416"/>
                  </a:lnTo>
                  <a:lnTo>
                    <a:pt x="198" y="416"/>
                  </a:lnTo>
                  <a:lnTo>
                    <a:pt x="196" y="416"/>
                  </a:lnTo>
                  <a:lnTo>
                    <a:pt x="196" y="416"/>
                  </a:lnTo>
                  <a:lnTo>
                    <a:pt x="193" y="418"/>
                  </a:lnTo>
                  <a:lnTo>
                    <a:pt x="193" y="416"/>
                  </a:lnTo>
                  <a:lnTo>
                    <a:pt x="193" y="416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3" y="418"/>
                  </a:lnTo>
                  <a:lnTo>
                    <a:pt x="191" y="418"/>
                  </a:lnTo>
                  <a:lnTo>
                    <a:pt x="191" y="418"/>
                  </a:lnTo>
                  <a:lnTo>
                    <a:pt x="191" y="418"/>
                  </a:lnTo>
                  <a:lnTo>
                    <a:pt x="191" y="418"/>
                  </a:lnTo>
                  <a:lnTo>
                    <a:pt x="191" y="418"/>
                  </a:lnTo>
                  <a:lnTo>
                    <a:pt x="191" y="418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91" y="420"/>
                  </a:lnTo>
                  <a:lnTo>
                    <a:pt x="191" y="420"/>
                  </a:lnTo>
                  <a:lnTo>
                    <a:pt x="189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18"/>
                  </a:lnTo>
                  <a:lnTo>
                    <a:pt x="189" y="418"/>
                  </a:lnTo>
                  <a:lnTo>
                    <a:pt x="189" y="418"/>
                  </a:lnTo>
                  <a:lnTo>
                    <a:pt x="189" y="418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9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20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4" y="420"/>
                  </a:lnTo>
                  <a:lnTo>
                    <a:pt x="184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4" y="418"/>
                  </a:lnTo>
                  <a:lnTo>
                    <a:pt x="184" y="418"/>
                  </a:lnTo>
                  <a:lnTo>
                    <a:pt x="184" y="418"/>
                  </a:lnTo>
                  <a:lnTo>
                    <a:pt x="184" y="420"/>
                  </a:lnTo>
                  <a:lnTo>
                    <a:pt x="184" y="418"/>
                  </a:lnTo>
                  <a:lnTo>
                    <a:pt x="184" y="418"/>
                  </a:lnTo>
                  <a:lnTo>
                    <a:pt x="184" y="418"/>
                  </a:lnTo>
                  <a:lnTo>
                    <a:pt x="184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9" y="418"/>
                  </a:lnTo>
                  <a:lnTo>
                    <a:pt x="189" y="418"/>
                  </a:lnTo>
                  <a:lnTo>
                    <a:pt x="189" y="418"/>
                  </a:lnTo>
                  <a:lnTo>
                    <a:pt x="189" y="418"/>
                  </a:lnTo>
                  <a:lnTo>
                    <a:pt x="187" y="418"/>
                  </a:lnTo>
                  <a:lnTo>
                    <a:pt x="187" y="418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9" y="416"/>
                  </a:lnTo>
                  <a:lnTo>
                    <a:pt x="189" y="416"/>
                  </a:lnTo>
                  <a:lnTo>
                    <a:pt x="189" y="416"/>
                  </a:lnTo>
                  <a:lnTo>
                    <a:pt x="189" y="416"/>
                  </a:lnTo>
                  <a:lnTo>
                    <a:pt x="191" y="416"/>
                  </a:lnTo>
                  <a:lnTo>
                    <a:pt x="191" y="416"/>
                  </a:lnTo>
                  <a:lnTo>
                    <a:pt x="191" y="416"/>
                  </a:lnTo>
                  <a:lnTo>
                    <a:pt x="191" y="416"/>
                  </a:lnTo>
                  <a:lnTo>
                    <a:pt x="191" y="416"/>
                  </a:lnTo>
                  <a:lnTo>
                    <a:pt x="189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7" y="416"/>
                  </a:lnTo>
                  <a:lnTo>
                    <a:pt x="184" y="416"/>
                  </a:lnTo>
                  <a:lnTo>
                    <a:pt x="184" y="416"/>
                  </a:lnTo>
                  <a:lnTo>
                    <a:pt x="187" y="413"/>
                  </a:lnTo>
                  <a:lnTo>
                    <a:pt x="187" y="413"/>
                  </a:lnTo>
                  <a:lnTo>
                    <a:pt x="187" y="413"/>
                  </a:lnTo>
                  <a:lnTo>
                    <a:pt x="184" y="413"/>
                  </a:lnTo>
                  <a:lnTo>
                    <a:pt x="184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2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78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6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2" y="413"/>
                  </a:lnTo>
                  <a:lnTo>
                    <a:pt x="182" y="413"/>
                  </a:lnTo>
                  <a:lnTo>
                    <a:pt x="184" y="413"/>
                  </a:lnTo>
                  <a:lnTo>
                    <a:pt x="184" y="413"/>
                  </a:lnTo>
                  <a:lnTo>
                    <a:pt x="187" y="413"/>
                  </a:lnTo>
                  <a:lnTo>
                    <a:pt x="189" y="413"/>
                  </a:lnTo>
                  <a:lnTo>
                    <a:pt x="193" y="411"/>
                  </a:lnTo>
                  <a:lnTo>
                    <a:pt x="193" y="411"/>
                  </a:lnTo>
                  <a:lnTo>
                    <a:pt x="189" y="411"/>
                  </a:lnTo>
                  <a:lnTo>
                    <a:pt x="189" y="411"/>
                  </a:lnTo>
                  <a:lnTo>
                    <a:pt x="191" y="411"/>
                  </a:lnTo>
                  <a:lnTo>
                    <a:pt x="191" y="411"/>
                  </a:lnTo>
                  <a:lnTo>
                    <a:pt x="191" y="411"/>
                  </a:lnTo>
                  <a:lnTo>
                    <a:pt x="193" y="411"/>
                  </a:lnTo>
                  <a:lnTo>
                    <a:pt x="191" y="411"/>
                  </a:lnTo>
                  <a:lnTo>
                    <a:pt x="191" y="411"/>
                  </a:lnTo>
                  <a:lnTo>
                    <a:pt x="189" y="411"/>
                  </a:lnTo>
                  <a:lnTo>
                    <a:pt x="187" y="413"/>
                  </a:lnTo>
                  <a:lnTo>
                    <a:pt x="184" y="413"/>
                  </a:lnTo>
                  <a:lnTo>
                    <a:pt x="184" y="413"/>
                  </a:lnTo>
                  <a:lnTo>
                    <a:pt x="182" y="413"/>
                  </a:lnTo>
                  <a:lnTo>
                    <a:pt x="182" y="413"/>
                  </a:lnTo>
                  <a:lnTo>
                    <a:pt x="182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80" y="413"/>
                  </a:lnTo>
                  <a:lnTo>
                    <a:pt x="178" y="413"/>
                  </a:lnTo>
                  <a:lnTo>
                    <a:pt x="178" y="413"/>
                  </a:lnTo>
                  <a:lnTo>
                    <a:pt x="178" y="413"/>
                  </a:lnTo>
                  <a:lnTo>
                    <a:pt x="178" y="413"/>
                  </a:lnTo>
                  <a:lnTo>
                    <a:pt x="180" y="413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82" y="411"/>
                  </a:lnTo>
                  <a:lnTo>
                    <a:pt x="187" y="411"/>
                  </a:lnTo>
                  <a:lnTo>
                    <a:pt x="187" y="409"/>
                  </a:lnTo>
                  <a:lnTo>
                    <a:pt x="189" y="409"/>
                  </a:lnTo>
                  <a:lnTo>
                    <a:pt x="189" y="409"/>
                  </a:lnTo>
                  <a:lnTo>
                    <a:pt x="187" y="409"/>
                  </a:lnTo>
                  <a:lnTo>
                    <a:pt x="187" y="409"/>
                  </a:lnTo>
                  <a:lnTo>
                    <a:pt x="187" y="411"/>
                  </a:lnTo>
                  <a:lnTo>
                    <a:pt x="182" y="411"/>
                  </a:lnTo>
                  <a:lnTo>
                    <a:pt x="182" y="411"/>
                  </a:lnTo>
                  <a:lnTo>
                    <a:pt x="182" y="411"/>
                  </a:lnTo>
                  <a:lnTo>
                    <a:pt x="182" y="411"/>
                  </a:lnTo>
                  <a:lnTo>
                    <a:pt x="182" y="411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0" y="409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80" y="411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2" y="407"/>
                  </a:lnTo>
                  <a:lnTo>
                    <a:pt x="184" y="407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4" y="407"/>
                  </a:lnTo>
                  <a:lnTo>
                    <a:pt x="184" y="407"/>
                  </a:lnTo>
                  <a:lnTo>
                    <a:pt x="184" y="407"/>
                  </a:lnTo>
                  <a:lnTo>
                    <a:pt x="184" y="407"/>
                  </a:lnTo>
                  <a:lnTo>
                    <a:pt x="182" y="407"/>
                  </a:lnTo>
                  <a:lnTo>
                    <a:pt x="182" y="407"/>
                  </a:lnTo>
                  <a:lnTo>
                    <a:pt x="182" y="409"/>
                  </a:lnTo>
                  <a:lnTo>
                    <a:pt x="182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9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2" y="407"/>
                  </a:lnTo>
                  <a:lnTo>
                    <a:pt x="182" y="404"/>
                  </a:lnTo>
                  <a:lnTo>
                    <a:pt x="182" y="404"/>
                  </a:lnTo>
                  <a:lnTo>
                    <a:pt x="182" y="404"/>
                  </a:lnTo>
                  <a:lnTo>
                    <a:pt x="182" y="404"/>
                  </a:lnTo>
                  <a:lnTo>
                    <a:pt x="182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4" y="404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9" y="402"/>
                  </a:lnTo>
                  <a:lnTo>
                    <a:pt x="187" y="402"/>
                  </a:lnTo>
                  <a:lnTo>
                    <a:pt x="187" y="402"/>
                  </a:lnTo>
                  <a:lnTo>
                    <a:pt x="184" y="402"/>
                  </a:lnTo>
                  <a:lnTo>
                    <a:pt x="184" y="402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75" y="407"/>
                  </a:lnTo>
                  <a:lnTo>
                    <a:pt x="175" y="407"/>
                  </a:lnTo>
                  <a:lnTo>
                    <a:pt x="175" y="407"/>
                  </a:lnTo>
                  <a:lnTo>
                    <a:pt x="175" y="404"/>
                  </a:lnTo>
                  <a:lnTo>
                    <a:pt x="175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4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82" y="402"/>
                  </a:lnTo>
                  <a:lnTo>
                    <a:pt x="182" y="402"/>
                  </a:lnTo>
                  <a:lnTo>
                    <a:pt x="182" y="402"/>
                  </a:lnTo>
                  <a:lnTo>
                    <a:pt x="184" y="402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7" y="400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4" y="400"/>
                  </a:lnTo>
                  <a:lnTo>
                    <a:pt x="184" y="398"/>
                  </a:lnTo>
                  <a:lnTo>
                    <a:pt x="187" y="398"/>
                  </a:lnTo>
                  <a:lnTo>
                    <a:pt x="187" y="398"/>
                  </a:lnTo>
                  <a:lnTo>
                    <a:pt x="184" y="398"/>
                  </a:lnTo>
                  <a:lnTo>
                    <a:pt x="184" y="398"/>
                  </a:lnTo>
                  <a:lnTo>
                    <a:pt x="184" y="400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402"/>
                  </a:lnTo>
                  <a:lnTo>
                    <a:pt x="182" y="402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8" y="402"/>
                  </a:lnTo>
                  <a:lnTo>
                    <a:pt x="178" y="402"/>
                  </a:lnTo>
                  <a:lnTo>
                    <a:pt x="175" y="402"/>
                  </a:lnTo>
                  <a:lnTo>
                    <a:pt x="175" y="402"/>
                  </a:lnTo>
                  <a:lnTo>
                    <a:pt x="175" y="402"/>
                  </a:lnTo>
                  <a:lnTo>
                    <a:pt x="173" y="402"/>
                  </a:lnTo>
                  <a:lnTo>
                    <a:pt x="173" y="402"/>
                  </a:lnTo>
                  <a:lnTo>
                    <a:pt x="173" y="402"/>
                  </a:lnTo>
                  <a:lnTo>
                    <a:pt x="173" y="402"/>
                  </a:lnTo>
                  <a:lnTo>
                    <a:pt x="173" y="402"/>
                  </a:lnTo>
                  <a:lnTo>
                    <a:pt x="173" y="402"/>
                  </a:lnTo>
                  <a:lnTo>
                    <a:pt x="175" y="402"/>
                  </a:lnTo>
                  <a:lnTo>
                    <a:pt x="175" y="402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3" y="400"/>
                  </a:lnTo>
                  <a:lnTo>
                    <a:pt x="173" y="400"/>
                  </a:lnTo>
                  <a:lnTo>
                    <a:pt x="173" y="400"/>
                  </a:lnTo>
                  <a:lnTo>
                    <a:pt x="173" y="400"/>
                  </a:lnTo>
                  <a:lnTo>
                    <a:pt x="175" y="400"/>
                  </a:lnTo>
                  <a:lnTo>
                    <a:pt x="180" y="400"/>
                  </a:lnTo>
                  <a:lnTo>
                    <a:pt x="180" y="400"/>
                  </a:lnTo>
                  <a:lnTo>
                    <a:pt x="178" y="400"/>
                  </a:lnTo>
                  <a:lnTo>
                    <a:pt x="180" y="400"/>
                  </a:lnTo>
                  <a:lnTo>
                    <a:pt x="180" y="400"/>
                  </a:lnTo>
                  <a:lnTo>
                    <a:pt x="180" y="400"/>
                  </a:lnTo>
                  <a:lnTo>
                    <a:pt x="180" y="400"/>
                  </a:lnTo>
                  <a:lnTo>
                    <a:pt x="180" y="400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78" y="398"/>
                  </a:lnTo>
                  <a:lnTo>
                    <a:pt x="178" y="398"/>
                  </a:lnTo>
                  <a:lnTo>
                    <a:pt x="178" y="400"/>
                  </a:lnTo>
                  <a:lnTo>
                    <a:pt x="178" y="400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400"/>
                  </a:lnTo>
                  <a:lnTo>
                    <a:pt x="175" y="400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8" y="398"/>
                  </a:lnTo>
                  <a:lnTo>
                    <a:pt x="178" y="398"/>
                  </a:lnTo>
                  <a:lnTo>
                    <a:pt x="178" y="398"/>
                  </a:lnTo>
                  <a:lnTo>
                    <a:pt x="178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2" y="398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0" y="395"/>
                  </a:lnTo>
                  <a:lnTo>
                    <a:pt x="180" y="395"/>
                  </a:lnTo>
                  <a:lnTo>
                    <a:pt x="180" y="395"/>
                  </a:lnTo>
                  <a:lnTo>
                    <a:pt x="178" y="398"/>
                  </a:lnTo>
                  <a:lnTo>
                    <a:pt x="178" y="398"/>
                  </a:lnTo>
                  <a:lnTo>
                    <a:pt x="178" y="395"/>
                  </a:lnTo>
                  <a:lnTo>
                    <a:pt x="178" y="395"/>
                  </a:lnTo>
                  <a:lnTo>
                    <a:pt x="178" y="395"/>
                  </a:lnTo>
                  <a:lnTo>
                    <a:pt x="178" y="395"/>
                  </a:lnTo>
                  <a:lnTo>
                    <a:pt x="178" y="395"/>
                  </a:lnTo>
                  <a:lnTo>
                    <a:pt x="178" y="395"/>
                  </a:lnTo>
                  <a:lnTo>
                    <a:pt x="178" y="395"/>
                  </a:lnTo>
                  <a:lnTo>
                    <a:pt x="175" y="395"/>
                  </a:lnTo>
                  <a:lnTo>
                    <a:pt x="175" y="395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8"/>
                  </a:lnTo>
                  <a:lnTo>
                    <a:pt x="175" y="395"/>
                  </a:lnTo>
                  <a:lnTo>
                    <a:pt x="175" y="395"/>
                  </a:lnTo>
                  <a:lnTo>
                    <a:pt x="175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8"/>
                  </a:lnTo>
                  <a:lnTo>
                    <a:pt x="173" y="398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1" y="395"/>
                  </a:lnTo>
                  <a:lnTo>
                    <a:pt x="173" y="395"/>
                  </a:lnTo>
                  <a:lnTo>
                    <a:pt x="173" y="395"/>
                  </a:lnTo>
                  <a:lnTo>
                    <a:pt x="173" y="393"/>
                  </a:lnTo>
                  <a:lnTo>
                    <a:pt x="171" y="395"/>
                  </a:lnTo>
                  <a:lnTo>
                    <a:pt x="171" y="395"/>
                  </a:lnTo>
                  <a:lnTo>
                    <a:pt x="171" y="395"/>
                  </a:lnTo>
                  <a:lnTo>
                    <a:pt x="171" y="395"/>
                  </a:lnTo>
                  <a:lnTo>
                    <a:pt x="171" y="395"/>
                  </a:lnTo>
                  <a:lnTo>
                    <a:pt x="171" y="395"/>
                  </a:lnTo>
                  <a:lnTo>
                    <a:pt x="171" y="395"/>
                  </a:lnTo>
                  <a:lnTo>
                    <a:pt x="171" y="393"/>
                  </a:lnTo>
                  <a:lnTo>
                    <a:pt x="171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9" y="393"/>
                  </a:lnTo>
                  <a:lnTo>
                    <a:pt x="166" y="391"/>
                  </a:lnTo>
                  <a:lnTo>
                    <a:pt x="166" y="391"/>
                  </a:lnTo>
                  <a:lnTo>
                    <a:pt x="166" y="391"/>
                  </a:lnTo>
                  <a:lnTo>
                    <a:pt x="166" y="391"/>
                  </a:lnTo>
                  <a:lnTo>
                    <a:pt x="169" y="391"/>
                  </a:lnTo>
                  <a:lnTo>
                    <a:pt x="169" y="389"/>
                  </a:lnTo>
                  <a:lnTo>
                    <a:pt x="169" y="389"/>
                  </a:lnTo>
                  <a:lnTo>
                    <a:pt x="169" y="389"/>
                  </a:lnTo>
                  <a:lnTo>
                    <a:pt x="169" y="389"/>
                  </a:lnTo>
                  <a:lnTo>
                    <a:pt x="169" y="389"/>
                  </a:lnTo>
                  <a:lnTo>
                    <a:pt x="171" y="389"/>
                  </a:lnTo>
                  <a:lnTo>
                    <a:pt x="171" y="386"/>
                  </a:lnTo>
                  <a:lnTo>
                    <a:pt x="171" y="386"/>
                  </a:lnTo>
                  <a:lnTo>
                    <a:pt x="171" y="386"/>
                  </a:lnTo>
                  <a:lnTo>
                    <a:pt x="171" y="386"/>
                  </a:lnTo>
                  <a:lnTo>
                    <a:pt x="171" y="386"/>
                  </a:lnTo>
                  <a:lnTo>
                    <a:pt x="173" y="386"/>
                  </a:lnTo>
                  <a:lnTo>
                    <a:pt x="173" y="386"/>
                  </a:lnTo>
                  <a:lnTo>
                    <a:pt x="173" y="386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75" y="384"/>
                  </a:lnTo>
                  <a:lnTo>
                    <a:pt x="175" y="384"/>
                  </a:lnTo>
                  <a:lnTo>
                    <a:pt x="175" y="384"/>
                  </a:lnTo>
                  <a:lnTo>
                    <a:pt x="178" y="384"/>
                  </a:lnTo>
                  <a:lnTo>
                    <a:pt x="175" y="384"/>
                  </a:lnTo>
                  <a:lnTo>
                    <a:pt x="175" y="384"/>
                  </a:lnTo>
                  <a:lnTo>
                    <a:pt x="175" y="384"/>
                  </a:lnTo>
                  <a:lnTo>
                    <a:pt x="175" y="384"/>
                  </a:lnTo>
                  <a:lnTo>
                    <a:pt x="178" y="384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8" y="382"/>
                  </a:lnTo>
                  <a:lnTo>
                    <a:pt x="175" y="384"/>
                  </a:lnTo>
                  <a:lnTo>
                    <a:pt x="173" y="384"/>
                  </a:lnTo>
                  <a:lnTo>
                    <a:pt x="173" y="384"/>
                  </a:lnTo>
                  <a:lnTo>
                    <a:pt x="173" y="386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69" y="386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3" y="382"/>
                  </a:lnTo>
                  <a:lnTo>
                    <a:pt x="173" y="382"/>
                  </a:lnTo>
                  <a:lnTo>
                    <a:pt x="173" y="382"/>
                  </a:lnTo>
                  <a:lnTo>
                    <a:pt x="173" y="382"/>
                  </a:lnTo>
                  <a:lnTo>
                    <a:pt x="173" y="382"/>
                  </a:lnTo>
                  <a:lnTo>
                    <a:pt x="173" y="382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82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80" y="380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2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71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4"/>
                  </a:lnTo>
                  <a:lnTo>
                    <a:pt x="169" y="382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1" y="382"/>
                  </a:lnTo>
                  <a:lnTo>
                    <a:pt x="173" y="382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69" y="382"/>
                  </a:lnTo>
                  <a:lnTo>
                    <a:pt x="169" y="382"/>
                  </a:lnTo>
                  <a:lnTo>
                    <a:pt x="169" y="382"/>
                  </a:lnTo>
                  <a:lnTo>
                    <a:pt x="169" y="382"/>
                  </a:lnTo>
                  <a:lnTo>
                    <a:pt x="169" y="382"/>
                  </a:lnTo>
                  <a:lnTo>
                    <a:pt x="169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6" y="380"/>
                  </a:lnTo>
                  <a:lnTo>
                    <a:pt x="169" y="380"/>
                  </a:lnTo>
                  <a:lnTo>
                    <a:pt x="169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80"/>
                  </a:lnTo>
                  <a:lnTo>
                    <a:pt x="166" y="377"/>
                  </a:lnTo>
                  <a:lnTo>
                    <a:pt x="169" y="380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8" y="375"/>
                  </a:lnTo>
                  <a:lnTo>
                    <a:pt x="175" y="375"/>
                  </a:lnTo>
                  <a:lnTo>
                    <a:pt x="173" y="375"/>
                  </a:lnTo>
                  <a:lnTo>
                    <a:pt x="173" y="375"/>
                  </a:lnTo>
                  <a:lnTo>
                    <a:pt x="173" y="375"/>
                  </a:lnTo>
                  <a:lnTo>
                    <a:pt x="173" y="375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9" y="375"/>
                  </a:lnTo>
                  <a:lnTo>
                    <a:pt x="169" y="375"/>
                  </a:lnTo>
                  <a:lnTo>
                    <a:pt x="169" y="375"/>
                  </a:lnTo>
                  <a:lnTo>
                    <a:pt x="169" y="375"/>
                  </a:lnTo>
                  <a:lnTo>
                    <a:pt x="166" y="375"/>
                  </a:lnTo>
                  <a:lnTo>
                    <a:pt x="166" y="375"/>
                  </a:lnTo>
                  <a:lnTo>
                    <a:pt x="164" y="375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4" y="375"/>
                  </a:lnTo>
                  <a:lnTo>
                    <a:pt x="164" y="375"/>
                  </a:lnTo>
                  <a:lnTo>
                    <a:pt x="164" y="375"/>
                  </a:lnTo>
                  <a:lnTo>
                    <a:pt x="166" y="375"/>
                  </a:lnTo>
                  <a:lnTo>
                    <a:pt x="164" y="375"/>
                  </a:lnTo>
                  <a:lnTo>
                    <a:pt x="164" y="375"/>
                  </a:lnTo>
                  <a:lnTo>
                    <a:pt x="164" y="375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0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3" y="373"/>
                  </a:lnTo>
                  <a:lnTo>
                    <a:pt x="175" y="373"/>
                  </a:lnTo>
                  <a:lnTo>
                    <a:pt x="173" y="371"/>
                  </a:lnTo>
                  <a:lnTo>
                    <a:pt x="173" y="371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6" y="373"/>
                  </a:lnTo>
                  <a:lnTo>
                    <a:pt x="164" y="373"/>
                  </a:lnTo>
                  <a:lnTo>
                    <a:pt x="164" y="373"/>
                  </a:lnTo>
                  <a:lnTo>
                    <a:pt x="164" y="373"/>
                  </a:lnTo>
                  <a:lnTo>
                    <a:pt x="164" y="373"/>
                  </a:lnTo>
                  <a:lnTo>
                    <a:pt x="164" y="373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2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9" y="368"/>
                  </a:lnTo>
                  <a:lnTo>
                    <a:pt x="169" y="368"/>
                  </a:lnTo>
                  <a:lnTo>
                    <a:pt x="169" y="368"/>
                  </a:lnTo>
                  <a:lnTo>
                    <a:pt x="169" y="368"/>
                  </a:lnTo>
                  <a:lnTo>
                    <a:pt x="164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4" y="366"/>
                  </a:lnTo>
                  <a:lnTo>
                    <a:pt x="164" y="368"/>
                  </a:lnTo>
                  <a:lnTo>
                    <a:pt x="164" y="366"/>
                  </a:lnTo>
                  <a:lnTo>
                    <a:pt x="164" y="366"/>
                  </a:lnTo>
                  <a:lnTo>
                    <a:pt x="164" y="366"/>
                  </a:lnTo>
                  <a:lnTo>
                    <a:pt x="164" y="366"/>
                  </a:lnTo>
                  <a:lnTo>
                    <a:pt x="166" y="366"/>
                  </a:lnTo>
                  <a:lnTo>
                    <a:pt x="166" y="368"/>
                  </a:lnTo>
                  <a:lnTo>
                    <a:pt x="166" y="368"/>
                  </a:lnTo>
                  <a:lnTo>
                    <a:pt x="166" y="368"/>
                  </a:lnTo>
                  <a:lnTo>
                    <a:pt x="166" y="368"/>
                  </a:lnTo>
                  <a:lnTo>
                    <a:pt x="166" y="368"/>
                  </a:lnTo>
                  <a:lnTo>
                    <a:pt x="166" y="368"/>
                  </a:lnTo>
                  <a:lnTo>
                    <a:pt x="166" y="368"/>
                  </a:lnTo>
                  <a:lnTo>
                    <a:pt x="173" y="366"/>
                  </a:lnTo>
                  <a:lnTo>
                    <a:pt x="173" y="366"/>
                  </a:lnTo>
                  <a:lnTo>
                    <a:pt x="173" y="368"/>
                  </a:lnTo>
                  <a:lnTo>
                    <a:pt x="173" y="368"/>
                  </a:lnTo>
                  <a:lnTo>
                    <a:pt x="173" y="368"/>
                  </a:lnTo>
                  <a:lnTo>
                    <a:pt x="173" y="366"/>
                  </a:lnTo>
                  <a:lnTo>
                    <a:pt x="173" y="366"/>
                  </a:lnTo>
                  <a:lnTo>
                    <a:pt x="173" y="366"/>
                  </a:lnTo>
                  <a:lnTo>
                    <a:pt x="173" y="366"/>
                  </a:lnTo>
                  <a:lnTo>
                    <a:pt x="166" y="366"/>
                  </a:lnTo>
                  <a:lnTo>
                    <a:pt x="166" y="366"/>
                  </a:lnTo>
                  <a:lnTo>
                    <a:pt x="164" y="366"/>
                  </a:lnTo>
                  <a:lnTo>
                    <a:pt x="164" y="366"/>
                  </a:lnTo>
                  <a:lnTo>
                    <a:pt x="164" y="366"/>
                  </a:lnTo>
                  <a:lnTo>
                    <a:pt x="162" y="366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2" y="368"/>
                  </a:lnTo>
                  <a:lnTo>
                    <a:pt x="162" y="368"/>
                  </a:lnTo>
                  <a:lnTo>
                    <a:pt x="160" y="368"/>
                  </a:lnTo>
                  <a:lnTo>
                    <a:pt x="160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60" y="368"/>
                  </a:lnTo>
                  <a:lnTo>
                    <a:pt x="160" y="366"/>
                  </a:lnTo>
                  <a:lnTo>
                    <a:pt x="160" y="368"/>
                  </a:lnTo>
                  <a:lnTo>
                    <a:pt x="160" y="366"/>
                  </a:lnTo>
                  <a:lnTo>
                    <a:pt x="160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60" y="366"/>
                  </a:lnTo>
                  <a:lnTo>
                    <a:pt x="160" y="366"/>
                  </a:lnTo>
                  <a:lnTo>
                    <a:pt x="160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4"/>
                  </a:lnTo>
                  <a:lnTo>
                    <a:pt x="157" y="364"/>
                  </a:lnTo>
                  <a:lnTo>
                    <a:pt x="157" y="364"/>
                  </a:lnTo>
                  <a:lnTo>
                    <a:pt x="164" y="364"/>
                  </a:lnTo>
                  <a:lnTo>
                    <a:pt x="162" y="364"/>
                  </a:lnTo>
                  <a:lnTo>
                    <a:pt x="164" y="364"/>
                  </a:lnTo>
                  <a:lnTo>
                    <a:pt x="166" y="362"/>
                  </a:lnTo>
                  <a:lnTo>
                    <a:pt x="169" y="362"/>
                  </a:lnTo>
                  <a:lnTo>
                    <a:pt x="169" y="362"/>
                  </a:lnTo>
                  <a:lnTo>
                    <a:pt x="169" y="362"/>
                  </a:lnTo>
                  <a:lnTo>
                    <a:pt x="169" y="362"/>
                  </a:lnTo>
                  <a:lnTo>
                    <a:pt x="166" y="362"/>
                  </a:lnTo>
                  <a:lnTo>
                    <a:pt x="164" y="362"/>
                  </a:lnTo>
                  <a:lnTo>
                    <a:pt x="162" y="364"/>
                  </a:lnTo>
                  <a:lnTo>
                    <a:pt x="162" y="364"/>
                  </a:lnTo>
                  <a:lnTo>
                    <a:pt x="160" y="364"/>
                  </a:lnTo>
                  <a:lnTo>
                    <a:pt x="160" y="364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0" y="362"/>
                  </a:lnTo>
                  <a:lnTo>
                    <a:pt x="162" y="362"/>
                  </a:lnTo>
                  <a:lnTo>
                    <a:pt x="162" y="362"/>
                  </a:lnTo>
                  <a:lnTo>
                    <a:pt x="162" y="362"/>
                  </a:lnTo>
                  <a:lnTo>
                    <a:pt x="162" y="362"/>
                  </a:lnTo>
                  <a:lnTo>
                    <a:pt x="162" y="362"/>
                  </a:lnTo>
                  <a:lnTo>
                    <a:pt x="162" y="362"/>
                  </a:lnTo>
                  <a:lnTo>
                    <a:pt x="160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0" y="360"/>
                  </a:lnTo>
                  <a:lnTo>
                    <a:pt x="160" y="360"/>
                  </a:lnTo>
                  <a:lnTo>
                    <a:pt x="160" y="360"/>
                  </a:lnTo>
                  <a:lnTo>
                    <a:pt x="157" y="360"/>
                  </a:lnTo>
                  <a:lnTo>
                    <a:pt x="157" y="360"/>
                  </a:lnTo>
                  <a:lnTo>
                    <a:pt x="157" y="360"/>
                  </a:lnTo>
                  <a:lnTo>
                    <a:pt x="160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2" y="360"/>
                  </a:lnTo>
                  <a:lnTo>
                    <a:pt x="164" y="360"/>
                  </a:lnTo>
                  <a:lnTo>
                    <a:pt x="164" y="360"/>
                  </a:lnTo>
                  <a:lnTo>
                    <a:pt x="162" y="357"/>
                  </a:lnTo>
                  <a:lnTo>
                    <a:pt x="162" y="357"/>
                  </a:lnTo>
                  <a:lnTo>
                    <a:pt x="166" y="357"/>
                  </a:lnTo>
                  <a:lnTo>
                    <a:pt x="169" y="357"/>
                  </a:lnTo>
                  <a:lnTo>
                    <a:pt x="169" y="357"/>
                  </a:lnTo>
                  <a:lnTo>
                    <a:pt x="169" y="357"/>
                  </a:lnTo>
                  <a:lnTo>
                    <a:pt x="171" y="357"/>
                  </a:lnTo>
                  <a:lnTo>
                    <a:pt x="171" y="357"/>
                  </a:lnTo>
                  <a:lnTo>
                    <a:pt x="175" y="355"/>
                  </a:lnTo>
                  <a:lnTo>
                    <a:pt x="175" y="355"/>
                  </a:lnTo>
                  <a:lnTo>
                    <a:pt x="175" y="355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78" y="357"/>
                  </a:lnTo>
                  <a:lnTo>
                    <a:pt x="178" y="357"/>
                  </a:lnTo>
                  <a:lnTo>
                    <a:pt x="178" y="357"/>
                  </a:lnTo>
                  <a:lnTo>
                    <a:pt x="178" y="357"/>
                  </a:lnTo>
                  <a:lnTo>
                    <a:pt x="180" y="357"/>
                  </a:lnTo>
                  <a:lnTo>
                    <a:pt x="180" y="357"/>
                  </a:lnTo>
                  <a:lnTo>
                    <a:pt x="180" y="355"/>
                  </a:lnTo>
                  <a:lnTo>
                    <a:pt x="180" y="355"/>
                  </a:lnTo>
                  <a:lnTo>
                    <a:pt x="180" y="355"/>
                  </a:lnTo>
                  <a:lnTo>
                    <a:pt x="180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7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0" y="355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80" y="353"/>
                  </a:lnTo>
                  <a:lnTo>
                    <a:pt x="180" y="353"/>
                  </a:lnTo>
                  <a:lnTo>
                    <a:pt x="180" y="353"/>
                  </a:lnTo>
                  <a:lnTo>
                    <a:pt x="180" y="353"/>
                  </a:lnTo>
                  <a:lnTo>
                    <a:pt x="180" y="353"/>
                  </a:lnTo>
                  <a:lnTo>
                    <a:pt x="182" y="353"/>
                  </a:lnTo>
                  <a:lnTo>
                    <a:pt x="182" y="353"/>
                  </a:lnTo>
                  <a:lnTo>
                    <a:pt x="180" y="353"/>
                  </a:lnTo>
                  <a:lnTo>
                    <a:pt x="180" y="353"/>
                  </a:lnTo>
                  <a:lnTo>
                    <a:pt x="180" y="353"/>
                  </a:lnTo>
                  <a:lnTo>
                    <a:pt x="178" y="353"/>
                  </a:lnTo>
                  <a:lnTo>
                    <a:pt x="178" y="353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78" y="355"/>
                  </a:lnTo>
                  <a:lnTo>
                    <a:pt x="175" y="355"/>
                  </a:lnTo>
                  <a:lnTo>
                    <a:pt x="175" y="355"/>
                  </a:lnTo>
                  <a:lnTo>
                    <a:pt x="175" y="355"/>
                  </a:lnTo>
                  <a:lnTo>
                    <a:pt x="175" y="355"/>
                  </a:lnTo>
                  <a:lnTo>
                    <a:pt x="175" y="355"/>
                  </a:lnTo>
                  <a:lnTo>
                    <a:pt x="173" y="355"/>
                  </a:lnTo>
                  <a:lnTo>
                    <a:pt x="173" y="355"/>
                  </a:lnTo>
                  <a:lnTo>
                    <a:pt x="162" y="357"/>
                  </a:lnTo>
                  <a:lnTo>
                    <a:pt x="162" y="357"/>
                  </a:lnTo>
                  <a:lnTo>
                    <a:pt x="162" y="357"/>
                  </a:lnTo>
                  <a:lnTo>
                    <a:pt x="162" y="357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7"/>
                  </a:lnTo>
                  <a:lnTo>
                    <a:pt x="160" y="355"/>
                  </a:lnTo>
                  <a:lnTo>
                    <a:pt x="160" y="355"/>
                  </a:lnTo>
                  <a:lnTo>
                    <a:pt x="162" y="355"/>
                  </a:lnTo>
                  <a:lnTo>
                    <a:pt x="162" y="355"/>
                  </a:lnTo>
                  <a:lnTo>
                    <a:pt x="164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2" y="355"/>
                  </a:lnTo>
                  <a:lnTo>
                    <a:pt x="162" y="355"/>
                  </a:lnTo>
                  <a:lnTo>
                    <a:pt x="162" y="355"/>
                  </a:lnTo>
                  <a:lnTo>
                    <a:pt x="160" y="355"/>
                  </a:lnTo>
                  <a:lnTo>
                    <a:pt x="160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60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60" y="355"/>
                  </a:lnTo>
                  <a:lnTo>
                    <a:pt x="164" y="355"/>
                  </a:lnTo>
                  <a:lnTo>
                    <a:pt x="164" y="355"/>
                  </a:lnTo>
                  <a:lnTo>
                    <a:pt x="164" y="355"/>
                  </a:lnTo>
                  <a:lnTo>
                    <a:pt x="164" y="355"/>
                  </a:lnTo>
                  <a:lnTo>
                    <a:pt x="164" y="355"/>
                  </a:lnTo>
                  <a:lnTo>
                    <a:pt x="166" y="355"/>
                  </a:lnTo>
                  <a:lnTo>
                    <a:pt x="169" y="355"/>
                  </a:lnTo>
                  <a:lnTo>
                    <a:pt x="169" y="355"/>
                  </a:lnTo>
                  <a:lnTo>
                    <a:pt x="169" y="355"/>
                  </a:lnTo>
                  <a:lnTo>
                    <a:pt x="169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1" y="355"/>
                  </a:lnTo>
                  <a:lnTo>
                    <a:pt x="173" y="355"/>
                  </a:lnTo>
                  <a:lnTo>
                    <a:pt x="173" y="355"/>
                  </a:lnTo>
                  <a:lnTo>
                    <a:pt x="173" y="353"/>
                  </a:lnTo>
                  <a:lnTo>
                    <a:pt x="171" y="355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1" y="353"/>
                  </a:lnTo>
                  <a:lnTo>
                    <a:pt x="173" y="351"/>
                  </a:lnTo>
                  <a:lnTo>
                    <a:pt x="173" y="351"/>
                  </a:lnTo>
                  <a:lnTo>
                    <a:pt x="173" y="351"/>
                  </a:lnTo>
                  <a:lnTo>
                    <a:pt x="173" y="351"/>
                  </a:lnTo>
                  <a:lnTo>
                    <a:pt x="173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78" y="351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80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51"/>
                  </a:lnTo>
                  <a:lnTo>
                    <a:pt x="184" y="348"/>
                  </a:lnTo>
                  <a:lnTo>
                    <a:pt x="184" y="348"/>
                  </a:lnTo>
                  <a:lnTo>
                    <a:pt x="184" y="348"/>
                  </a:lnTo>
                  <a:lnTo>
                    <a:pt x="184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82" y="351"/>
                  </a:lnTo>
                  <a:lnTo>
                    <a:pt x="178" y="351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80" y="348"/>
                  </a:lnTo>
                  <a:lnTo>
                    <a:pt x="180" y="348"/>
                  </a:lnTo>
                  <a:lnTo>
                    <a:pt x="182" y="348"/>
                  </a:lnTo>
                  <a:lnTo>
                    <a:pt x="182" y="348"/>
                  </a:lnTo>
                  <a:lnTo>
                    <a:pt x="182" y="348"/>
                  </a:lnTo>
                  <a:lnTo>
                    <a:pt x="180" y="348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80" y="348"/>
                  </a:lnTo>
                  <a:lnTo>
                    <a:pt x="180" y="346"/>
                  </a:lnTo>
                  <a:lnTo>
                    <a:pt x="178" y="348"/>
                  </a:lnTo>
                  <a:lnTo>
                    <a:pt x="178" y="348"/>
                  </a:lnTo>
                  <a:lnTo>
                    <a:pt x="178" y="346"/>
                  </a:lnTo>
                  <a:lnTo>
                    <a:pt x="178" y="346"/>
                  </a:lnTo>
                  <a:lnTo>
                    <a:pt x="178" y="346"/>
                  </a:lnTo>
                  <a:lnTo>
                    <a:pt x="175" y="346"/>
                  </a:lnTo>
                  <a:lnTo>
                    <a:pt x="175" y="346"/>
                  </a:lnTo>
                  <a:lnTo>
                    <a:pt x="175" y="346"/>
                  </a:lnTo>
                  <a:lnTo>
                    <a:pt x="175" y="346"/>
                  </a:lnTo>
                  <a:lnTo>
                    <a:pt x="178" y="346"/>
                  </a:lnTo>
                  <a:lnTo>
                    <a:pt x="178" y="346"/>
                  </a:lnTo>
                  <a:lnTo>
                    <a:pt x="180" y="346"/>
                  </a:lnTo>
                  <a:lnTo>
                    <a:pt x="180" y="346"/>
                  </a:lnTo>
                  <a:lnTo>
                    <a:pt x="180" y="346"/>
                  </a:lnTo>
                  <a:lnTo>
                    <a:pt x="180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2" y="346"/>
                  </a:lnTo>
                  <a:lnTo>
                    <a:pt x="180" y="346"/>
                  </a:lnTo>
                  <a:lnTo>
                    <a:pt x="180" y="346"/>
                  </a:lnTo>
                  <a:lnTo>
                    <a:pt x="180" y="346"/>
                  </a:lnTo>
                  <a:lnTo>
                    <a:pt x="180" y="344"/>
                  </a:lnTo>
                  <a:lnTo>
                    <a:pt x="182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84" y="346"/>
                  </a:lnTo>
                  <a:lnTo>
                    <a:pt x="184" y="346"/>
                  </a:lnTo>
                  <a:lnTo>
                    <a:pt x="184" y="346"/>
                  </a:lnTo>
                  <a:lnTo>
                    <a:pt x="187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7" y="348"/>
                  </a:lnTo>
                  <a:lnTo>
                    <a:pt x="187" y="348"/>
                  </a:lnTo>
                  <a:lnTo>
                    <a:pt x="189" y="351"/>
                  </a:lnTo>
                  <a:lnTo>
                    <a:pt x="189" y="351"/>
                  </a:lnTo>
                  <a:lnTo>
                    <a:pt x="189" y="351"/>
                  </a:lnTo>
                  <a:lnTo>
                    <a:pt x="189" y="351"/>
                  </a:lnTo>
                  <a:lnTo>
                    <a:pt x="189" y="351"/>
                  </a:lnTo>
                  <a:lnTo>
                    <a:pt x="191" y="351"/>
                  </a:lnTo>
                  <a:lnTo>
                    <a:pt x="191" y="353"/>
                  </a:lnTo>
                  <a:lnTo>
                    <a:pt x="193" y="353"/>
                  </a:lnTo>
                  <a:lnTo>
                    <a:pt x="193" y="353"/>
                  </a:lnTo>
                  <a:lnTo>
                    <a:pt x="193" y="353"/>
                  </a:lnTo>
                  <a:lnTo>
                    <a:pt x="193" y="353"/>
                  </a:lnTo>
                  <a:lnTo>
                    <a:pt x="193" y="351"/>
                  </a:lnTo>
                  <a:lnTo>
                    <a:pt x="193" y="351"/>
                  </a:lnTo>
                  <a:lnTo>
                    <a:pt x="193" y="351"/>
                  </a:lnTo>
                  <a:lnTo>
                    <a:pt x="193" y="351"/>
                  </a:lnTo>
                  <a:lnTo>
                    <a:pt x="193" y="351"/>
                  </a:lnTo>
                  <a:lnTo>
                    <a:pt x="193" y="351"/>
                  </a:lnTo>
                  <a:lnTo>
                    <a:pt x="191" y="351"/>
                  </a:lnTo>
                  <a:lnTo>
                    <a:pt x="191" y="351"/>
                  </a:lnTo>
                  <a:lnTo>
                    <a:pt x="191" y="348"/>
                  </a:lnTo>
                  <a:lnTo>
                    <a:pt x="191" y="348"/>
                  </a:lnTo>
                  <a:lnTo>
                    <a:pt x="189" y="348"/>
                  </a:lnTo>
                  <a:lnTo>
                    <a:pt x="189" y="348"/>
                  </a:lnTo>
                  <a:lnTo>
                    <a:pt x="189" y="348"/>
                  </a:lnTo>
                  <a:lnTo>
                    <a:pt x="189" y="348"/>
                  </a:lnTo>
                  <a:lnTo>
                    <a:pt x="187" y="348"/>
                  </a:lnTo>
                  <a:lnTo>
                    <a:pt x="189" y="348"/>
                  </a:lnTo>
                  <a:lnTo>
                    <a:pt x="189" y="348"/>
                  </a:lnTo>
                  <a:lnTo>
                    <a:pt x="187" y="346"/>
                  </a:lnTo>
                  <a:lnTo>
                    <a:pt x="187" y="346"/>
                  </a:lnTo>
                  <a:lnTo>
                    <a:pt x="187" y="346"/>
                  </a:lnTo>
                  <a:lnTo>
                    <a:pt x="187" y="346"/>
                  </a:lnTo>
                  <a:lnTo>
                    <a:pt x="189" y="346"/>
                  </a:lnTo>
                  <a:lnTo>
                    <a:pt x="189" y="346"/>
                  </a:lnTo>
                  <a:lnTo>
                    <a:pt x="189" y="346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91" y="342"/>
                  </a:lnTo>
                  <a:lnTo>
                    <a:pt x="191" y="342"/>
                  </a:lnTo>
                  <a:lnTo>
                    <a:pt x="191" y="342"/>
                  </a:lnTo>
                  <a:lnTo>
                    <a:pt x="191" y="342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9" y="342"/>
                  </a:lnTo>
                  <a:lnTo>
                    <a:pt x="187" y="342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7" y="34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4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42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9"/>
                  </a:lnTo>
                  <a:lnTo>
                    <a:pt x="182" y="337"/>
                  </a:lnTo>
                  <a:lnTo>
                    <a:pt x="182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2" y="335"/>
                  </a:lnTo>
                  <a:lnTo>
                    <a:pt x="182" y="335"/>
                  </a:lnTo>
                  <a:lnTo>
                    <a:pt x="184" y="335"/>
                  </a:lnTo>
                  <a:lnTo>
                    <a:pt x="184" y="335"/>
                  </a:lnTo>
                  <a:lnTo>
                    <a:pt x="182" y="335"/>
                  </a:lnTo>
                  <a:lnTo>
                    <a:pt x="182" y="335"/>
                  </a:lnTo>
                  <a:lnTo>
                    <a:pt x="182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80" y="335"/>
                  </a:lnTo>
                  <a:lnTo>
                    <a:pt x="178" y="335"/>
                  </a:lnTo>
                  <a:lnTo>
                    <a:pt x="178" y="335"/>
                  </a:lnTo>
                  <a:lnTo>
                    <a:pt x="180" y="335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78" y="337"/>
                  </a:lnTo>
                  <a:lnTo>
                    <a:pt x="178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80" y="337"/>
                  </a:lnTo>
                  <a:lnTo>
                    <a:pt x="178" y="339"/>
                  </a:lnTo>
                  <a:lnTo>
                    <a:pt x="178" y="339"/>
                  </a:lnTo>
                  <a:lnTo>
                    <a:pt x="178" y="339"/>
                  </a:lnTo>
                  <a:lnTo>
                    <a:pt x="178" y="339"/>
                  </a:lnTo>
                  <a:lnTo>
                    <a:pt x="180" y="339"/>
                  </a:lnTo>
                  <a:lnTo>
                    <a:pt x="182" y="339"/>
                  </a:lnTo>
                  <a:lnTo>
                    <a:pt x="180" y="339"/>
                  </a:lnTo>
                  <a:lnTo>
                    <a:pt x="180" y="339"/>
                  </a:lnTo>
                  <a:lnTo>
                    <a:pt x="180" y="339"/>
                  </a:lnTo>
                  <a:lnTo>
                    <a:pt x="180" y="339"/>
                  </a:lnTo>
                  <a:lnTo>
                    <a:pt x="180" y="339"/>
                  </a:lnTo>
                  <a:lnTo>
                    <a:pt x="180" y="339"/>
                  </a:lnTo>
                  <a:lnTo>
                    <a:pt x="180" y="339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2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80" y="344"/>
                  </a:lnTo>
                  <a:lnTo>
                    <a:pt x="175" y="344"/>
                  </a:lnTo>
                  <a:lnTo>
                    <a:pt x="175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3" y="346"/>
                  </a:lnTo>
                  <a:lnTo>
                    <a:pt x="171" y="346"/>
                  </a:lnTo>
                  <a:lnTo>
                    <a:pt x="171" y="346"/>
                  </a:lnTo>
                  <a:lnTo>
                    <a:pt x="171" y="346"/>
                  </a:lnTo>
                  <a:lnTo>
                    <a:pt x="171" y="346"/>
                  </a:lnTo>
                  <a:lnTo>
                    <a:pt x="171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5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5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3" y="344"/>
                  </a:lnTo>
                  <a:lnTo>
                    <a:pt x="171" y="344"/>
                  </a:lnTo>
                  <a:lnTo>
                    <a:pt x="171" y="344"/>
                  </a:lnTo>
                  <a:lnTo>
                    <a:pt x="171" y="344"/>
                  </a:lnTo>
                  <a:lnTo>
                    <a:pt x="169" y="344"/>
                  </a:lnTo>
                  <a:lnTo>
                    <a:pt x="169" y="346"/>
                  </a:lnTo>
                  <a:lnTo>
                    <a:pt x="169" y="346"/>
                  </a:lnTo>
                  <a:lnTo>
                    <a:pt x="169" y="346"/>
                  </a:lnTo>
                  <a:lnTo>
                    <a:pt x="169" y="346"/>
                  </a:lnTo>
                  <a:lnTo>
                    <a:pt x="169" y="346"/>
                  </a:lnTo>
                  <a:lnTo>
                    <a:pt x="169" y="346"/>
                  </a:lnTo>
                  <a:lnTo>
                    <a:pt x="166" y="346"/>
                  </a:lnTo>
                  <a:lnTo>
                    <a:pt x="166" y="346"/>
                  </a:lnTo>
                  <a:lnTo>
                    <a:pt x="166" y="348"/>
                  </a:lnTo>
                  <a:lnTo>
                    <a:pt x="166" y="348"/>
                  </a:lnTo>
                  <a:lnTo>
                    <a:pt x="166" y="348"/>
                  </a:lnTo>
                  <a:lnTo>
                    <a:pt x="166" y="348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51"/>
                  </a:lnTo>
                  <a:lnTo>
                    <a:pt x="162" y="351"/>
                  </a:lnTo>
                  <a:lnTo>
                    <a:pt x="160" y="351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60" y="353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5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3" y="355"/>
                  </a:lnTo>
                  <a:lnTo>
                    <a:pt x="155" y="355"/>
                  </a:lnTo>
                  <a:lnTo>
                    <a:pt x="155" y="353"/>
                  </a:lnTo>
                  <a:lnTo>
                    <a:pt x="155" y="353"/>
                  </a:lnTo>
                  <a:lnTo>
                    <a:pt x="155" y="353"/>
                  </a:lnTo>
                  <a:lnTo>
                    <a:pt x="155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3" y="353"/>
                  </a:lnTo>
                  <a:lnTo>
                    <a:pt x="155" y="353"/>
                  </a:lnTo>
                  <a:lnTo>
                    <a:pt x="155" y="353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3" y="351"/>
                  </a:lnTo>
                  <a:lnTo>
                    <a:pt x="153" y="351"/>
                  </a:lnTo>
                  <a:lnTo>
                    <a:pt x="153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51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5" y="348"/>
                  </a:lnTo>
                  <a:lnTo>
                    <a:pt x="157" y="348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7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6"/>
                  </a:lnTo>
                  <a:lnTo>
                    <a:pt x="155" y="344"/>
                  </a:lnTo>
                  <a:lnTo>
                    <a:pt x="157" y="344"/>
                  </a:lnTo>
                  <a:lnTo>
                    <a:pt x="157" y="344"/>
                  </a:lnTo>
                  <a:lnTo>
                    <a:pt x="157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0" y="344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6" y="342"/>
                  </a:lnTo>
                  <a:lnTo>
                    <a:pt x="169" y="342"/>
                  </a:lnTo>
                  <a:lnTo>
                    <a:pt x="169" y="339"/>
                  </a:lnTo>
                  <a:lnTo>
                    <a:pt x="169" y="339"/>
                  </a:lnTo>
                  <a:lnTo>
                    <a:pt x="169" y="339"/>
                  </a:lnTo>
                  <a:lnTo>
                    <a:pt x="169" y="339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3" y="339"/>
                  </a:lnTo>
                  <a:lnTo>
                    <a:pt x="173" y="339"/>
                  </a:lnTo>
                  <a:lnTo>
                    <a:pt x="173" y="337"/>
                  </a:lnTo>
                  <a:lnTo>
                    <a:pt x="173" y="337"/>
                  </a:lnTo>
                  <a:lnTo>
                    <a:pt x="173" y="337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1" y="337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71" y="339"/>
                  </a:lnTo>
                  <a:lnTo>
                    <a:pt x="169" y="339"/>
                  </a:lnTo>
                  <a:lnTo>
                    <a:pt x="169" y="339"/>
                  </a:lnTo>
                  <a:lnTo>
                    <a:pt x="169" y="339"/>
                  </a:lnTo>
                  <a:lnTo>
                    <a:pt x="166" y="339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39"/>
                  </a:lnTo>
                  <a:lnTo>
                    <a:pt x="166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6" y="339"/>
                  </a:lnTo>
                  <a:lnTo>
                    <a:pt x="169" y="339"/>
                  </a:lnTo>
                  <a:lnTo>
                    <a:pt x="166" y="339"/>
                  </a:lnTo>
                  <a:lnTo>
                    <a:pt x="166" y="337"/>
                  </a:lnTo>
                  <a:lnTo>
                    <a:pt x="166" y="337"/>
                  </a:lnTo>
                  <a:lnTo>
                    <a:pt x="166" y="337"/>
                  </a:lnTo>
                  <a:lnTo>
                    <a:pt x="166" y="337"/>
                  </a:lnTo>
                  <a:lnTo>
                    <a:pt x="166" y="337"/>
                  </a:lnTo>
                  <a:lnTo>
                    <a:pt x="166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4" y="339"/>
                  </a:lnTo>
                  <a:lnTo>
                    <a:pt x="162" y="339"/>
                  </a:lnTo>
                  <a:lnTo>
                    <a:pt x="162" y="339"/>
                  </a:lnTo>
                  <a:lnTo>
                    <a:pt x="162" y="339"/>
                  </a:lnTo>
                  <a:lnTo>
                    <a:pt x="164" y="339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4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4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2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42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42"/>
                  </a:lnTo>
                  <a:lnTo>
                    <a:pt x="157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5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57" y="342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9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60" y="337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57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7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2" y="333"/>
                  </a:lnTo>
                  <a:lnTo>
                    <a:pt x="164" y="333"/>
                  </a:lnTo>
                  <a:lnTo>
                    <a:pt x="164" y="333"/>
                  </a:lnTo>
                  <a:lnTo>
                    <a:pt x="162" y="333"/>
                  </a:lnTo>
                  <a:lnTo>
                    <a:pt x="162" y="333"/>
                  </a:lnTo>
                  <a:lnTo>
                    <a:pt x="162" y="333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60" y="335"/>
                  </a:lnTo>
                  <a:lnTo>
                    <a:pt x="157" y="335"/>
                  </a:lnTo>
                  <a:lnTo>
                    <a:pt x="157" y="335"/>
                  </a:lnTo>
                  <a:lnTo>
                    <a:pt x="157" y="335"/>
                  </a:lnTo>
                  <a:lnTo>
                    <a:pt x="157" y="335"/>
                  </a:lnTo>
                  <a:lnTo>
                    <a:pt x="157" y="335"/>
                  </a:lnTo>
                  <a:lnTo>
                    <a:pt x="157" y="335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60" y="333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60" y="330"/>
                  </a:lnTo>
                  <a:lnTo>
                    <a:pt x="157" y="330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57" y="333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3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0"/>
                  </a:lnTo>
                  <a:lnTo>
                    <a:pt x="155" y="330"/>
                  </a:lnTo>
                  <a:lnTo>
                    <a:pt x="155" y="330"/>
                  </a:lnTo>
                  <a:lnTo>
                    <a:pt x="157" y="330"/>
                  </a:lnTo>
                  <a:lnTo>
                    <a:pt x="157" y="330"/>
                  </a:lnTo>
                  <a:lnTo>
                    <a:pt x="157" y="330"/>
                  </a:lnTo>
                  <a:lnTo>
                    <a:pt x="160" y="330"/>
                  </a:lnTo>
                  <a:lnTo>
                    <a:pt x="160" y="330"/>
                  </a:lnTo>
                  <a:lnTo>
                    <a:pt x="162" y="330"/>
                  </a:lnTo>
                  <a:lnTo>
                    <a:pt x="162" y="328"/>
                  </a:lnTo>
                  <a:lnTo>
                    <a:pt x="164" y="328"/>
                  </a:lnTo>
                  <a:lnTo>
                    <a:pt x="166" y="328"/>
                  </a:lnTo>
                  <a:lnTo>
                    <a:pt x="166" y="328"/>
                  </a:lnTo>
                  <a:lnTo>
                    <a:pt x="166" y="328"/>
                  </a:lnTo>
                  <a:lnTo>
                    <a:pt x="166" y="328"/>
                  </a:lnTo>
                  <a:lnTo>
                    <a:pt x="166" y="328"/>
                  </a:lnTo>
                  <a:lnTo>
                    <a:pt x="166" y="328"/>
                  </a:lnTo>
                  <a:lnTo>
                    <a:pt x="166" y="328"/>
                  </a:lnTo>
                  <a:lnTo>
                    <a:pt x="169" y="328"/>
                  </a:lnTo>
                  <a:lnTo>
                    <a:pt x="169" y="328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71" y="326"/>
                  </a:lnTo>
                  <a:lnTo>
                    <a:pt x="171" y="326"/>
                  </a:lnTo>
                  <a:lnTo>
                    <a:pt x="171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69" y="326"/>
                  </a:lnTo>
                  <a:lnTo>
                    <a:pt x="171" y="324"/>
                  </a:lnTo>
                  <a:lnTo>
                    <a:pt x="171" y="324"/>
                  </a:lnTo>
                  <a:lnTo>
                    <a:pt x="171" y="324"/>
                  </a:lnTo>
                  <a:lnTo>
                    <a:pt x="171" y="324"/>
                  </a:lnTo>
                  <a:lnTo>
                    <a:pt x="175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91" y="324"/>
                  </a:lnTo>
                  <a:lnTo>
                    <a:pt x="191" y="324"/>
                  </a:lnTo>
                  <a:lnTo>
                    <a:pt x="191" y="324"/>
                  </a:lnTo>
                  <a:lnTo>
                    <a:pt x="191" y="324"/>
                  </a:lnTo>
                  <a:lnTo>
                    <a:pt x="191" y="324"/>
                  </a:lnTo>
                  <a:lnTo>
                    <a:pt x="189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4" y="324"/>
                  </a:lnTo>
                  <a:lnTo>
                    <a:pt x="184" y="324"/>
                  </a:lnTo>
                  <a:lnTo>
                    <a:pt x="184" y="321"/>
                  </a:lnTo>
                  <a:lnTo>
                    <a:pt x="184" y="321"/>
                  </a:lnTo>
                  <a:lnTo>
                    <a:pt x="182" y="321"/>
                  </a:lnTo>
                  <a:lnTo>
                    <a:pt x="180" y="321"/>
                  </a:lnTo>
                  <a:lnTo>
                    <a:pt x="175" y="321"/>
                  </a:lnTo>
                  <a:lnTo>
                    <a:pt x="169" y="324"/>
                  </a:lnTo>
                  <a:lnTo>
                    <a:pt x="169" y="324"/>
                  </a:lnTo>
                  <a:lnTo>
                    <a:pt x="166" y="324"/>
                  </a:lnTo>
                  <a:lnTo>
                    <a:pt x="166" y="324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6" y="326"/>
                  </a:lnTo>
                  <a:lnTo>
                    <a:pt x="166" y="328"/>
                  </a:lnTo>
                  <a:lnTo>
                    <a:pt x="164" y="328"/>
                  </a:lnTo>
                  <a:lnTo>
                    <a:pt x="164" y="328"/>
                  </a:lnTo>
                  <a:lnTo>
                    <a:pt x="164" y="328"/>
                  </a:lnTo>
                  <a:lnTo>
                    <a:pt x="162" y="328"/>
                  </a:lnTo>
                  <a:lnTo>
                    <a:pt x="162" y="328"/>
                  </a:lnTo>
                  <a:lnTo>
                    <a:pt x="162" y="328"/>
                  </a:lnTo>
                  <a:lnTo>
                    <a:pt x="162" y="328"/>
                  </a:lnTo>
                  <a:lnTo>
                    <a:pt x="160" y="328"/>
                  </a:lnTo>
                  <a:lnTo>
                    <a:pt x="160" y="330"/>
                  </a:lnTo>
                  <a:lnTo>
                    <a:pt x="160" y="330"/>
                  </a:lnTo>
                  <a:lnTo>
                    <a:pt x="160" y="330"/>
                  </a:lnTo>
                  <a:lnTo>
                    <a:pt x="157" y="330"/>
                  </a:lnTo>
                  <a:lnTo>
                    <a:pt x="157" y="330"/>
                  </a:lnTo>
                  <a:lnTo>
                    <a:pt x="157" y="330"/>
                  </a:lnTo>
                  <a:lnTo>
                    <a:pt x="155" y="330"/>
                  </a:lnTo>
                  <a:lnTo>
                    <a:pt x="155" y="330"/>
                  </a:lnTo>
                  <a:lnTo>
                    <a:pt x="155" y="330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7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60" y="326"/>
                  </a:lnTo>
                  <a:lnTo>
                    <a:pt x="160" y="324"/>
                  </a:lnTo>
                  <a:lnTo>
                    <a:pt x="160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7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5" y="328"/>
                  </a:lnTo>
                  <a:lnTo>
                    <a:pt x="153" y="328"/>
                  </a:lnTo>
                  <a:lnTo>
                    <a:pt x="153" y="328"/>
                  </a:lnTo>
                  <a:lnTo>
                    <a:pt x="153" y="328"/>
                  </a:lnTo>
                  <a:lnTo>
                    <a:pt x="153" y="328"/>
                  </a:lnTo>
                  <a:lnTo>
                    <a:pt x="153" y="328"/>
                  </a:lnTo>
                  <a:lnTo>
                    <a:pt x="153" y="328"/>
                  </a:lnTo>
                  <a:lnTo>
                    <a:pt x="153" y="328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3" y="326"/>
                  </a:lnTo>
                  <a:lnTo>
                    <a:pt x="155" y="326"/>
                  </a:lnTo>
                  <a:lnTo>
                    <a:pt x="157" y="324"/>
                  </a:lnTo>
                  <a:lnTo>
                    <a:pt x="157" y="324"/>
                  </a:lnTo>
                  <a:lnTo>
                    <a:pt x="157" y="324"/>
                  </a:lnTo>
                  <a:lnTo>
                    <a:pt x="157" y="324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6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7" y="324"/>
                  </a:lnTo>
                  <a:lnTo>
                    <a:pt x="157" y="324"/>
                  </a:lnTo>
                  <a:lnTo>
                    <a:pt x="155" y="324"/>
                  </a:lnTo>
                  <a:lnTo>
                    <a:pt x="157" y="324"/>
                  </a:lnTo>
                  <a:lnTo>
                    <a:pt x="157" y="321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5" y="324"/>
                  </a:lnTo>
                  <a:lnTo>
                    <a:pt x="155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3" y="324"/>
                  </a:lnTo>
                  <a:lnTo>
                    <a:pt x="151" y="324"/>
                  </a:lnTo>
                  <a:lnTo>
                    <a:pt x="148" y="324"/>
                  </a:lnTo>
                  <a:lnTo>
                    <a:pt x="146" y="324"/>
                  </a:lnTo>
                  <a:lnTo>
                    <a:pt x="148" y="324"/>
                  </a:lnTo>
                  <a:lnTo>
                    <a:pt x="151" y="324"/>
                  </a:lnTo>
                  <a:lnTo>
                    <a:pt x="151" y="324"/>
                  </a:lnTo>
                  <a:lnTo>
                    <a:pt x="151" y="324"/>
                  </a:lnTo>
                  <a:lnTo>
                    <a:pt x="153" y="324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1" y="321"/>
                  </a:lnTo>
                  <a:lnTo>
                    <a:pt x="151" y="324"/>
                  </a:lnTo>
                  <a:lnTo>
                    <a:pt x="151" y="324"/>
                  </a:lnTo>
                  <a:lnTo>
                    <a:pt x="148" y="324"/>
                  </a:lnTo>
                  <a:lnTo>
                    <a:pt x="146" y="324"/>
                  </a:lnTo>
                  <a:lnTo>
                    <a:pt x="148" y="324"/>
                  </a:lnTo>
                  <a:lnTo>
                    <a:pt x="148" y="324"/>
                  </a:lnTo>
                  <a:lnTo>
                    <a:pt x="148" y="324"/>
                  </a:lnTo>
                  <a:lnTo>
                    <a:pt x="148" y="324"/>
                  </a:lnTo>
                  <a:lnTo>
                    <a:pt x="148" y="324"/>
                  </a:lnTo>
                  <a:lnTo>
                    <a:pt x="148" y="321"/>
                  </a:lnTo>
                  <a:lnTo>
                    <a:pt x="148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1" y="321"/>
                  </a:lnTo>
                  <a:lnTo>
                    <a:pt x="153" y="321"/>
                  </a:lnTo>
                  <a:lnTo>
                    <a:pt x="153" y="321"/>
                  </a:lnTo>
                  <a:lnTo>
                    <a:pt x="153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7" y="319"/>
                  </a:lnTo>
                  <a:lnTo>
                    <a:pt x="157" y="319"/>
                  </a:lnTo>
                  <a:lnTo>
                    <a:pt x="160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2" y="319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21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6" y="319"/>
                  </a:lnTo>
                  <a:lnTo>
                    <a:pt x="171" y="317"/>
                  </a:lnTo>
                  <a:lnTo>
                    <a:pt x="171" y="317"/>
                  </a:lnTo>
                  <a:lnTo>
                    <a:pt x="171" y="317"/>
                  </a:lnTo>
                  <a:lnTo>
                    <a:pt x="171" y="319"/>
                  </a:lnTo>
                  <a:lnTo>
                    <a:pt x="173" y="319"/>
                  </a:lnTo>
                  <a:lnTo>
                    <a:pt x="173" y="319"/>
                  </a:lnTo>
                  <a:lnTo>
                    <a:pt x="173" y="319"/>
                  </a:lnTo>
                  <a:lnTo>
                    <a:pt x="173" y="319"/>
                  </a:lnTo>
                  <a:lnTo>
                    <a:pt x="173" y="317"/>
                  </a:lnTo>
                  <a:lnTo>
                    <a:pt x="171" y="317"/>
                  </a:lnTo>
                  <a:lnTo>
                    <a:pt x="171" y="317"/>
                  </a:lnTo>
                  <a:lnTo>
                    <a:pt x="173" y="317"/>
                  </a:lnTo>
                  <a:lnTo>
                    <a:pt x="173" y="317"/>
                  </a:lnTo>
                  <a:lnTo>
                    <a:pt x="175" y="317"/>
                  </a:lnTo>
                  <a:lnTo>
                    <a:pt x="175" y="317"/>
                  </a:lnTo>
                  <a:lnTo>
                    <a:pt x="173" y="317"/>
                  </a:lnTo>
                  <a:lnTo>
                    <a:pt x="169" y="317"/>
                  </a:lnTo>
                  <a:lnTo>
                    <a:pt x="166" y="317"/>
                  </a:lnTo>
                  <a:lnTo>
                    <a:pt x="166" y="317"/>
                  </a:lnTo>
                  <a:lnTo>
                    <a:pt x="166" y="319"/>
                  </a:lnTo>
                  <a:lnTo>
                    <a:pt x="164" y="319"/>
                  </a:lnTo>
                  <a:lnTo>
                    <a:pt x="164" y="319"/>
                  </a:lnTo>
                  <a:lnTo>
                    <a:pt x="160" y="319"/>
                  </a:lnTo>
                  <a:lnTo>
                    <a:pt x="160" y="319"/>
                  </a:lnTo>
                  <a:lnTo>
                    <a:pt x="160" y="319"/>
                  </a:lnTo>
                  <a:lnTo>
                    <a:pt x="160" y="319"/>
                  </a:lnTo>
                  <a:lnTo>
                    <a:pt x="160" y="319"/>
                  </a:lnTo>
                  <a:lnTo>
                    <a:pt x="160" y="319"/>
                  </a:lnTo>
                  <a:lnTo>
                    <a:pt x="162" y="317"/>
                  </a:lnTo>
                  <a:lnTo>
                    <a:pt x="160" y="317"/>
                  </a:lnTo>
                  <a:lnTo>
                    <a:pt x="160" y="317"/>
                  </a:lnTo>
                  <a:lnTo>
                    <a:pt x="157" y="319"/>
                  </a:lnTo>
                  <a:lnTo>
                    <a:pt x="157" y="319"/>
                  </a:lnTo>
                  <a:lnTo>
                    <a:pt x="157" y="319"/>
                  </a:lnTo>
                  <a:lnTo>
                    <a:pt x="157" y="317"/>
                  </a:lnTo>
                  <a:lnTo>
                    <a:pt x="157" y="317"/>
                  </a:lnTo>
                  <a:lnTo>
                    <a:pt x="157" y="319"/>
                  </a:lnTo>
                  <a:lnTo>
                    <a:pt x="157" y="319"/>
                  </a:lnTo>
                  <a:lnTo>
                    <a:pt x="155" y="319"/>
                  </a:lnTo>
                  <a:lnTo>
                    <a:pt x="155" y="319"/>
                  </a:lnTo>
                  <a:lnTo>
                    <a:pt x="153" y="319"/>
                  </a:lnTo>
                  <a:lnTo>
                    <a:pt x="153" y="319"/>
                  </a:lnTo>
                  <a:lnTo>
                    <a:pt x="153" y="319"/>
                  </a:lnTo>
                  <a:lnTo>
                    <a:pt x="151" y="321"/>
                  </a:lnTo>
                  <a:lnTo>
                    <a:pt x="148" y="321"/>
                  </a:lnTo>
                  <a:lnTo>
                    <a:pt x="148" y="321"/>
                  </a:lnTo>
                  <a:lnTo>
                    <a:pt x="148" y="321"/>
                  </a:lnTo>
                  <a:lnTo>
                    <a:pt x="148" y="319"/>
                  </a:lnTo>
                  <a:lnTo>
                    <a:pt x="151" y="319"/>
                  </a:lnTo>
                  <a:lnTo>
                    <a:pt x="151" y="319"/>
                  </a:lnTo>
                  <a:lnTo>
                    <a:pt x="151" y="319"/>
                  </a:lnTo>
                  <a:lnTo>
                    <a:pt x="151" y="319"/>
                  </a:lnTo>
                  <a:lnTo>
                    <a:pt x="151" y="319"/>
                  </a:lnTo>
                  <a:lnTo>
                    <a:pt x="151" y="319"/>
                  </a:lnTo>
                  <a:lnTo>
                    <a:pt x="151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51" y="319"/>
                  </a:lnTo>
                  <a:lnTo>
                    <a:pt x="153" y="319"/>
                  </a:lnTo>
                  <a:lnTo>
                    <a:pt x="155" y="317"/>
                  </a:lnTo>
                  <a:lnTo>
                    <a:pt x="155" y="317"/>
                  </a:lnTo>
                  <a:lnTo>
                    <a:pt x="155" y="317"/>
                  </a:lnTo>
                  <a:lnTo>
                    <a:pt x="153" y="317"/>
                  </a:lnTo>
                  <a:lnTo>
                    <a:pt x="151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8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9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53" y="317"/>
                  </a:lnTo>
                  <a:lnTo>
                    <a:pt x="151" y="317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8" y="317"/>
                  </a:lnTo>
                  <a:lnTo>
                    <a:pt x="153" y="315"/>
                  </a:lnTo>
                  <a:lnTo>
                    <a:pt x="155" y="315"/>
                  </a:lnTo>
                  <a:lnTo>
                    <a:pt x="160" y="312"/>
                  </a:lnTo>
                  <a:lnTo>
                    <a:pt x="160" y="312"/>
                  </a:lnTo>
                  <a:lnTo>
                    <a:pt x="162" y="310"/>
                  </a:lnTo>
                  <a:lnTo>
                    <a:pt x="162" y="310"/>
                  </a:lnTo>
                  <a:lnTo>
                    <a:pt x="162" y="310"/>
                  </a:lnTo>
                  <a:lnTo>
                    <a:pt x="166" y="310"/>
                  </a:lnTo>
                  <a:lnTo>
                    <a:pt x="169" y="308"/>
                  </a:lnTo>
                  <a:lnTo>
                    <a:pt x="169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5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8" y="303"/>
                  </a:lnTo>
                  <a:lnTo>
                    <a:pt x="178" y="303"/>
                  </a:lnTo>
                  <a:lnTo>
                    <a:pt x="180" y="303"/>
                  </a:lnTo>
                  <a:lnTo>
                    <a:pt x="182" y="303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4" y="303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7" y="301"/>
                  </a:lnTo>
                  <a:lnTo>
                    <a:pt x="187" y="301"/>
                  </a:lnTo>
                  <a:lnTo>
                    <a:pt x="189" y="301"/>
                  </a:lnTo>
                  <a:lnTo>
                    <a:pt x="189" y="301"/>
                  </a:lnTo>
                  <a:lnTo>
                    <a:pt x="189" y="301"/>
                  </a:lnTo>
                  <a:lnTo>
                    <a:pt x="191" y="301"/>
                  </a:lnTo>
                  <a:lnTo>
                    <a:pt x="191" y="301"/>
                  </a:lnTo>
                  <a:lnTo>
                    <a:pt x="191" y="301"/>
                  </a:lnTo>
                  <a:lnTo>
                    <a:pt x="191" y="299"/>
                  </a:lnTo>
                  <a:lnTo>
                    <a:pt x="191" y="299"/>
                  </a:lnTo>
                  <a:lnTo>
                    <a:pt x="191" y="299"/>
                  </a:lnTo>
                  <a:lnTo>
                    <a:pt x="193" y="301"/>
                  </a:lnTo>
                  <a:lnTo>
                    <a:pt x="198" y="301"/>
                  </a:lnTo>
                  <a:lnTo>
                    <a:pt x="198" y="301"/>
                  </a:lnTo>
                  <a:lnTo>
                    <a:pt x="198" y="301"/>
                  </a:lnTo>
                  <a:lnTo>
                    <a:pt x="198" y="301"/>
                  </a:lnTo>
                  <a:lnTo>
                    <a:pt x="200" y="301"/>
                  </a:lnTo>
                  <a:lnTo>
                    <a:pt x="202" y="301"/>
                  </a:lnTo>
                  <a:lnTo>
                    <a:pt x="202" y="301"/>
                  </a:lnTo>
                  <a:lnTo>
                    <a:pt x="200" y="299"/>
                  </a:lnTo>
                  <a:lnTo>
                    <a:pt x="198" y="299"/>
                  </a:lnTo>
                  <a:lnTo>
                    <a:pt x="198" y="299"/>
                  </a:lnTo>
                  <a:lnTo>
                    <a:pt x="198" y="301"/>
                  </a:lnTo>
                  <a:lnTo>
                    <a:pt x="196" y="301"/>
                  </a:lnTo>
                  <a:lnTo>
                    <a:pt x="193" y="299"/>
                  </a:lnTo>
                  <a:lnTo>
                    <a:pt x="193" y="299"/>
                  </a:lnTo>
                  <a:lnTo>
                    <a:pt x="196" y="299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202" y="297"/>
                  </a:lnTo>
                  <a:lnTo>
                    <a:pt x="202" y="297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202" y="297"/>
                  </a:lnTo>
                  <a:lnTo>
                    <a:pt x="202" y="297"/>
                  </a:lnTo>
                  <a:lnTo>
                    <a:pt x="205" y="297"/>
                  </a:lnTo>
                  <a:lnTo>
                    <a:pt x="207" y="297"/>
                  </a:lnTo>
                  <a:lnTo>
                    <a:pt x="205" y="294"/>
                  </a:lnTo>
                  <a:lnTo>
                    <a:pt x="200" y="297"/>
                  </a:lnTo>
                  <a:lnTo>
                    <a:pt x="200" y="297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8" y="297"/>
                  </a:lnTo>
                  <a:lnTo>
                    <a:pt x="196" y="297"/>
                  </a:lnTo>
                  <a:lnTo>
                    <a:pt x="191" y="299"/>
                  </a:lnTo>
                  <a:lnTo>
                    <a:pt x="191" y="299"/>
                  </a:lnTo>
                  <a:lnTo>
                    <a:pt x="191" y="299"/>
                  </a:lnTo>
                  <a:lnTo>
                    <a:pt x="191" y="299"/>
                  </a:lnTo>
                  <a:lnTo>
                    <a:pt x="189" y="299"/>
                  </a:lnTo>
                  <a:lnTo>
                    <a:pt x="189" y="299"/>
                  </a:lnTo>
                  <a:lnTo>
                    <a:pt x="187" y="301"/>
                  </a:lnTo>
                  <a:lnTo>
                    <a:pt x="184" y="301"/>
                  </a:lnTo>
                  <a:lnTo>
                    <a:pt x="184" y="301"/>
                  </a:lnTo>
                  <a:lnTo>
                    <a:pt x="180" y="303"/>
                  </a:lnTo>
                  <a:lnTo>
                    <a:pt x="175" y="303"/>
                  </a:lnTo>
                  <a:lnTo>
                    <a:pt x="175" y="306"/>
                  </a:lnTo>
                  <a:lnTo>
                    <a:pt x="173" y="306"/>
                  </a:lnTo>
                  <a:lnTo>
                    <a:pt x="171" y="308"/>
                  </a:lnTo>
                  <a:lnTo>
                    <a:pt x="169" y="308"/>
                  </a:lnTo>
                  <a:lnTo>
                    <a:pt x="169" y="308"/>
                  </a:lnTo>
                  <a:lnTo>
                    <a:pt x="162" y="310"/>
                  </a:lnTo>
                  <a:lnTo>
                    <a:pt x="157" y="312"/>
                  </a:lnTo>
                  <a:lnTo>
                    <a:pt x="155" y="315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6" y="315"/>
                  </a:lnTo>
                  <a:lnTo>
                    <a:pt x="144" y="315"/>
                  </a:lnTo>
                  <a:lnTo>
                    <a:pt x="146" y="315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6" y="315"/>
                  </a:lnTo>
                  <a:lnTo>
                    <a:pt x="146" y="315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8" y="312"/>
                  </a:lnTo>
                  <a:lnTo>
                    <a:pt x="148" y="312"/>
                  </a:lnTo>
                  <a:lnTo>
                    <a:pt x="151" y="312"/>
                  </a:lnTo>
                  <a:lnTo>
                    <a:pt x="155" y="312"/>
                  </a:lnTo>
                  <a:lnTo>
                    <a:pt x="153" y="312"/>
                  </a:lnTo>
                  <a:lnTo>
                    <a:pt x="151" y="312"/>
                  </a:lnTo>
                  <a:lnTo>
                    <a:pt x="151" y="312"/>
                  </a:lnTo>
                  <a:lnTo>
                    <a:pt x="151" y="312"/>
                  </a:lnTo>
                  <a:lnTo>
                    <a:pt x="148" y="312"/>
                  </a:lnTo>
                  <a:lnTo>
                    <a:pt x="148" y="312"/>
                  </a:lnTo>
                  <a:lnTo>
                    <a:pt x="148" y="312"/>
                  </a:lnTo>
                  <a:lnTo>
                    <a:pt x="148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2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6" y="310"/>
                  </a:lnTo>
                  <a:lnTo>
                    <a:pt x="148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51" y="308"/>
                  </a:lnTo>
                  <a:lnTo>
                    <a:pt x="151" y="308"/>
                  </a:lnTo>
                  <a:lnTo>
                    <a:pt x="151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6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48" y="308"/>
                  </a:lnTo>
                  <a:lnTo>
                    <a:pt x="151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3" y="308"/>
                  </a:lnTo>
                  <a:lnTo>
                    <a:pt x="153" y="308"/>
                  </a:lnTo>
                  <a:lnTo>
                    <a:pt x="153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55" y="308"/>
                  </a:lnTo>
                  <a:lnTo>
                    <a:pt x="160" y="306"/>
                  </a:lnTo>
                  <a:lnTo>
                    <a:pt x="162" y="306"/>
                  </a:lnTo>
                  <a:lnTo>
                    <a:pt x="162" y="306"/>
                  </a:lnTo>
                  <a:lnTo>
                    <a:pt x="162" y="306"/>
                  </a:lnTo>
                  <a:lnTo>
                    <a:pt x="166" y="308"/>
                  </a:lnTo>
                  <a:lnTo>
                    <a:pt x="166" y="308"/>
                  </a:lnTo>
                  <a:lnTo>
                    <a:pt x="166" y="306"/>
                  </a:lnTo>
                  <a:lnTo>
                    <a:pt x="169" y="306"/>
                  </a:lnTo>
                  <a:lnTo>
                    <a:pt x="169" y="306"/>
                  </a:lnTo>
                  <a:lnTo>
                    <a:pt x="166" y="306"/>
                  </a:lnTo>
                  <a:lnTo>
                    <a:pt x="164" y="306"/>
                  </a:lnTo>
                  <a:lnTo>
                    <a:pt x="164" y="306"/>
                  </a:lnTo>
                  <a:lnTo>
                    <a:pt x="162" y="306"/>
                  </a:lnTo>
                  <a:lnTo>
                    <a:pt x="162" y="306"/>
                  </a:lnTo>
                  <a:lnTo>
                    <a:pt x="162" y="306"/>
                  </a:lnTo>
                  <a:lnTo>
                    <a:pt x="160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7" y="306"/>
                  </a:lnTo>
                  <a:lnTo>
                    <a:pt x="155" y="306"/>
                  </a:lnTo>
                  <a:lnTo>
                    <a:pt x="155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5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3"/>
                  </a:lnTo>
                  <a:lnTo>
                    <a:pt x="153" y="303"/>
                  </a:lnTo>
                  <a:lnTo>
                    <a:pt x="155" y="303"/>
                  </a:lnTo>
                  <a:lnTo>
                    <a:pt x="155" y="303"/>
                  </a:lnTo>
                  <a:lnTo>
                    <a:pt x="155" y="303"/>
                  </a:lnTo>
                  <a:lnTo>
                    <a:pt x="157" y="303"/>
                  </a:lnTo>
                  <a:lnTo>
                    <a:pt x="157" y="303"/>
                  </a:lnTo>
                  <a:lnTo>
                    <a:pt x="160" y="303"/>
                  </a:lnTo>
                  <a:lnTo>
                    <a:pt x="160" y="303"/>
                  </a:lnTo>
                  <a:lnTo>
                    <a:pt x="162" y="303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4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6" y="303"/>
                  </a:lnTo>
                  <a:lnTo>
                    <a:pt x="164" y="303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0" y="303"/>
                  </a:lnTo>
                  <a:lnTo>
                    <a:pt x="160" y="303"/>
                  </a:lnTo>
                  <a:lnTo>
                    <a:pt x="160" y="303"/>
                  </a:lnTo>
                  <a:lnTo>
                    <a:pt x="160" y="303"/>
                  </a:lnTo>
                  <a:lnTo>
                    <a:pt x="157" y="303"/>
                  </a:lnTo>
                  <a:lnTo>
                    <a:pt x="157" y="303"/>
                  </a:lnTo>
                  <a:lnTo>
                    <a:pt x="157" y="301"/>
                  </a:lnTo>
                  <a:lnTo>
                    <a:pt x="157" y="301"/>
                  </a:lnTo>
                  <a:lnTo>
                    <a:pt x="157" y="303"/>
                  </a:lnTo>
                  <a:lnTo>
                    <a:pt x="160" y="301"/>
                  </a:lnTo>
                  <a:lnTo>
                    <a:pt x="160" y="303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6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4" y="301"/>
                  </a:lnTo>
                  <a:lnTo>
                    <a:pt x="162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0" y="301"/>
                  </a:lnTo>
                  <a:lnTo>
                    <a:pt x="162" y="299"/>
                  </a:lnTo>
                  <a:lnTo>
                    <a:pt x="162" y="299"/>
                  </a:lnTo>
                  <a:lnTo>
                    <a:pt x="162" y="301"/>
                  </a:lnTo>
                  <a:lnTo>
                    <a:pt x="164" y="301"/>
                  </a:lnTo>
                  <a:lnTo>
                    <a:pt x="164" y="299"/>
                  </a:lnTo>
                  <a:lnTo>
                    <a:pt x="169" y="299"/>
                  </a:lnTo>
                  <a:lnTo>
                    <a:pt x="171" y="301"/>
                  </a:lnTo>
                  <a:lnTo>
                    <a:pt x="171" y="301"/>
                  </a:lnTo>
                  <a:lnTo>
                    <a:pt x="173" y="301"/>
                  </a:lnTo>
                  <a:lnTo>
                    <a:pt x="173" y="301"/>
                  </a:lnTo>
                  <a:lnTo>
                    <a:pt x="171" y="301"/>
                  </a:lnTo>
                  <a:lnTo>
                    <a:pt x="171" y="301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69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9"/>
                  </a:lnTo>
                  <a:lnTo>
                    <a:pt x="171" y="297"/>
                  </a:lnTo>
                  <a:lnTo>
                    <a:pt x="171" y="297"/>
                  </a:lnTo>
                  <a:lnTo>
                    <a:pt x="171" y="297"/>
                  </a:lnTo>
                  <a:lnTo>
                    <a:pt x="171" y="297"/>
                  </a:lnTo>
                  <a:lnTo>
                    <a:pt x="169" y="299"/>
                  </a:lnTo>
                  <a:lnTo>
                    <a:pt x="169" y="299"/>
                  </a:lnTo>
                  <a:lnTo>
                    <a:pt x="164" y="299"/>
                  </a:lnTo>
                  <a:lnTo>
                    <a:pt x="164" y="299"/>
                  </a:lnTo>
                  <a:lnTo>
                    <a:pt x="164" y="299"/>
                  </a:lnTo>
                  <a:lnTo>
                    <a:pt x="162" y="299"/>
                  </a:lnTo>
                  <a:lnTo>
                    <a:pt x="162" y="299"/>
                  </a:lnTo>
                  <a:lnTo>
                    <a:pt x="162" y="299"/>
                  </a:lnTo>
                  <a:lnTo>
                    <a:pt x="160" y="299"/>
                  </a:lnTo>
                  <a:lnTo>
                    <a:pt x="157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5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3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7"/>
                  </a:lnTo>
                  <a:lnTo>
                    <a:pt x="148" y="297"/>
                  </a:lnTo>
                  <a:lnTo>
                    <a:pt x="148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3" y="297"/>
                  </a:lnTo>
                  <a:lnTo>
                    <a:pt x="155" y="297"/>
                  </a:lnTo>
                  <a:lnTo>
                    <a:pt x="157" y="297"/>
                  </a:lnTo>
                  <a:lnTo>
                    <a:pt x="157" y="297"/>
                  </a:lnTo>
                  <a:lnTo>
                    <a:pt x="160" y="297"/>
                  </a:lnTo>
                  <a:lnTo>
                    <a:pt x="160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3" y="294"/>
                  </a:lnTo>
                  <a:lnTo>
                    <a:pt x="155" y="297"/>
                  </a:lnTo>
                  <a:lnTo>
                    <a:pt x="157" y="294"/>
                  </a:lnTo>
                  <a:lnTo>
                    <a:pt x="157" y="294"/>
                  </a:lnTo>
                  <a:lnTo>
                    <a:pt x="157" y="294"/>
                  </a:lnTo>
                  <a:lnTo>
                    <a:pt x="157" y="294"/>
                  </a:lnTo>
                  <a:lnTo>
                    <a:pt x="155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51" y="294"/>
                  </a:lnTo>
                  <a:lnTo>
                    <a:pt x="148" y="294"/>
                  </a:lnTo>
                  <a:lnTo>
                    <a:pt x="148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1" y="294"/>
                  </a:lnTo>
                  <a:lnTo>
                    <a:pt x="153" y="292"/>
                  </a:lnTo>
                  <a:lnTo>
                    <a:pt x="157" y="292"/>
                  </a:lnTo>
                  <a:lnTo>
                    <a:pt x="160" y="292"/>
                  </a:lnTo>
                  <a:lnTo>
                    <a:pt x="157" y="292"/>
                  </a:lnTo>
                  <a:lnTo>
                    <a:pt x="157" y="292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7" y="292"/>
                  </a:lnTo>
                  <a:lnTo>
                    <a:pt x="157" y="292"/>
                  </a:lnTo>
                  <a:lnTo>
                    <a:pt x="157" y="292"/>
                  </a:lnTo>
                  <a:lnTo>
                    <a:pt x="160" y="292"/>
                  </a:lnTo>
                  <a:lnTo>
                    <a:pt x="160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4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6" y="292"/>
                  </a:lnTo>
                  <a:lnTo>
                    <a:pt x="169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5" y="290"/>
                  </a:lnTo>
                  <a:lnTo>
                    <a:pt x="178" y="290"/>
                  </a:lnTo>
                  <a:lnTo>
                    <a:pt x="178" y="290"/>
                  </a:lnTo>
                  <a:lnTo>
                    <a:pt x="180" y="290"/>
                  </a:lnTo>
                  <a:lnTo>
                    <a:pt x="180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2"/>
                  </a:lnTo>
                  <a:lnTo>
                    <a:pt x="189" y="292"/>
                  </a:lnTo>
                  <a:lnTo>
                    <a:pt x="189" y="292"/>
                  </a:lnTo>
                  <a:lnTo>
                    <a:pt x="189" y="292"/>
                  </a:lnTo>
                  <a:lnTo>
                    <a:pt x="191" y="292"/>
                  </a:lnTo>
                  <a:lnTo>
                    <a:pt x="191" y="294"/>
                  </a:lnTo>
                  <a:lnTo>
                    <a:pt x="191" y="294"/>
                  </a:lnTo>
                  <a:lnTo>
                    <a:pt x="191" y="294"/>
                  </a:lnTo>
                  <a:lnTo>
                    <a:pt x="193" y="294"/>
                  </a:lnTo>
                  <a:lnTo>
                    <a:pt x="193" y="294"/>
                  </a:lnTo>
                  <a:lnTo>
                    <a:pt x="196" y="294"/>
                  </a:lnTo>
                  <a:lnTo>
                    <a:pt x="196" y="294"/>
                  </a:lnTo>
                  <a:lnTo>
                    <a:pt x="198" y="294"/>
                  </a:lnTo>
                  <a:lnTo>
                    <a:pt x="198" y="292"/>
                  </a:lnTo>
                  <a:lnTo>
                    <a:pt x="200" y="292"/>
                  </a:lnTo>
                  <a:lnTo>
                    <a:pt x="205" y="294"/>
                  </a:lnTo>
                  <a:lnTo>
                    <a:pt x="207" y="292"/>
                  </a:lnTo>
                  <a:lnTo>
                    <a:pt x="207" y="292"/>
                  </a:lnTo>
                  <a:lnTo>
                    <a:pt x="207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5" y="292"/>
                  </a:lnTo>
                  <a:lnTo>
                    <a:pt x="202" y="292"/>
                  </a:lnTo>
                  <a:lnTo>
                    <a:pt x="198" y="292"/>
                  </a:lnTo>
                  <a:lnTo>
                    <a:pt x="193" y="294"/>
                  </a:lnTo>
                  <a:lnTo>
                    <a:pt x="193" y="294"/>
                  </a:lnTo>
                  <a:lnTo>
                    <a:pt x="191" y="294"/>
                  </a:lnTo>
                  <a:lnTo>
                    <a:pt x="191" y="294"/>
                  </a:lnTo>
                  <a:lnTo>
                    <a:pt x="191" y="292"/>
                  </a:lnTo>
                  <a:lnTo>
                    <a:pt x="191" y="292"/>
                  </a:lnTo>
                  <a:lnTo>
                    <a:pt x="191" y="292"/>
                  </a:lnTo>
                  <a:lnTo>
                    <a:pt x="191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93" y="290"/>
                  </a:lnTo>
                  <a:lnTo>
                    <a:pt x="196" y="288"/>
                  </a:lnTo>
                  <a:lnTo>
                    <a:pt x="196" y="288"/>
                  </a:lnTo>
                  <a:lnTo>
                    <a:pt x="196" y="288"/>
                  </a:lnTo>
                  <a:lnTo>
                    <a:pt x="196" y="288"/>
                  </a:lnTo>
                  <a:lnTo>
                    <a:pt x="182" y="290"/>
                  </a:lnTo>
                  <a:lnTo>
                    <a:pt x="182" y="290"/>
                  </a:lnTo>
                  <a:lnTo>
                    <a:pt x="180" y="290"/>
                  </a:lnTo>
                  <a:lnTo>
                    <a:pt x="180" y="288"/>
                  </a:lnTo>
                  <a:lnTo>
                    <a:pt x="175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3" y="290"/>
                  </a:lnTo>
                  <a:lnTo>
                    <a:pt x="171" y="290"/>
                  </a:lnTo>
                  <a:lnTo>
                    <a:pt x="164" y="292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64" y="290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62" y="290"/>
                  </a:lnTo>
                  <a:lnTo>
                    <a:pt x="160" y="292"/>
                  </a:lnTo>
                  <a:lnTo>
                    <a:pt x="160" y="292"/>
                  </a:lnTo>
                  <a:lnTo>
                    <a:pt x="157" y="292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3" y="292"/>
                  </a:lnTo>
                  <a:lnTo>
                    <a:pt x="153" y="292"/>
                  </a:lnTo>
                  <a:lnTo>
                    <a:pt x="153" y="292"/>
                  </a:lnTo>
                  <a:lnTo>
                    <a:pt x="153" y="292"/>
                  </a:lnTo>
                  <a:lnTo>
                    <a:pt x="153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3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3" y="292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7" y="288"/>
                  </a:lnTo>
                  <a:lnTo>
                    <a:pt x="157" y="288"/>
                  </a:lnTo>
                  <a:lnTo>
                    <a:pt x="160" y="288"/>
                  </a:lnTo>
                  <a:lnTo>
                    <a:pt x="162" y="285"/>
                  </a:lnTo>
                  <a:lnTo>
                    <a:pt x="162" y="285"/>
                  </a:lnTo>
                  <a:lnTo>
                    <a:pt x="162" y="285"/>
                  </a:lnTo>
                  <a:lnTo>
                    <a:pt x="162" y="285"/>
                  </a:lnTo>
                  <a:lnTo>
                    <a:pt x="162" y="285"/>
                  </a:lnTo>
                  <a:lnTo>
                    <a:pt x="166" y="285"/>
                  </a:lnTo>
                  <a:lnTo>
                    <a:pt x="166" y="285"/>
                  </a:lnTo>
                  <a:lnTo>
                    <a:pt x="166" y="285"/>
                  </a:lnTo>
                  <a:lnTo>
                    <a:pt x="164" y="285"/>
                  </a:lnTo>
                  <a:lnTo>
                    <a:pt x="164" y="285"/>
                  </a:lnTo>
                  <a:lnTo>
                    <a:pt x="166" y="283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71" y="283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66" y="283"/>
                  </a:lnTo>
                  <a:lnTo>
                    <a:pt x="166" y="283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69" y="283"/>
                  </a:lnTo>
                  <a:lnTo>
                    <a:pt x="171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3" y="283"/>
                  </a:lnTo>
                  <a:lnTo>
                    <a:pt x="175" y="283"/>
                  </a:lnTo>
                  <a:lnTo>
                    <a:pt x="175" y="283"/>
                  </a:lnTo>
                  <a:lnTo>
                    <a:pt x="178" y="281"/>
                  </a:lnTo>
                  <a:lnTo>
                    <a:pt x="173" y="283"/>
                  </a:lnTo>
                  <a:lnTo>
                    <a:pt x="173" y="281"/>
                  </a:lnTo>
                  <a:lnTo>
                    <a:pt x="173" y="281"/>
                  </a:lnTo>
                  <a:lnTo>
                    <a:pt x="175" y="281"/>
                  </a:lnTo>
                  <a:lnTo>
                    <a:pt x="178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2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4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91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8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5"/>
                  </a:lnTo>
                  <a:lnTo>
                    <a:pt x="200" y="285"/>
                  </a:lnTo>
                  <a:lnTo>
                    <a:pt x="200" y="285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2" y="285"/>
                  </a:lnTo>
                  <a:lnTo>
                    <a:pt x="202" y="285"/>
                  </a:lnTo>
                  <a:lnTo>
                    <a:pt x="202" y="288"/>
                  </a:lnTo>
                  <a:lnTo>
                    <a:pt x="202" y="288"/>
                  </a:lnTo>
                  <a:lnTo>
                    <a:pt x="202" y="288"/>
                  </a:lnTo>
                  <a:lnTo>
                    <a:pt x="205" y="288"/>
                  </a:lnTo>
                  <a:lnTo>
                    <a:pt x="205" y="288"/>
                  </a:lnTo>
                  <a:lnTo>
                    <a:pt x="205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7" y="288"/>
                  </a:lnTo>
                  <a:lnTo>
                    <a:pt x="209" y="288"/>
                  </a:lnTo>
                  <a:lnTo>
                    <a:pt x="211" y="288"/>
                  </a:lnTo>
                  <a:lnTo>
                    <a:pt x="211" y="288"/>
                  </a:lnTo>
                  <a:lnTo>
                    <a:pt x="211" y="288"/>
                  </a:lnTo>
                  <a:lnTo>
                    <a:pt x="211" y="288"/>
                  </a:lnTo>
                  <a:lnTo>
                    <a:pt x="211" y="288"/>
                  </a:lnTo>
                  <a:lnTo>
                    <a:pt x="214" y="285"/>
                  </a:lnTo>
                  <a:lnTo>
                    <a:pt x="211" y="285"/>
                  </a:lnTo>
                  <a:lnTo>
                    <a:pt x="211" y="288"/>
                  </a:lnTo>
                  <a:lnTo>
                    <a:pt x="209" y="288"/>
                  </a:lnTo>
                  <a:lnTo>
                    <a:pt x="209" y="288"/>
                  </a:lnTo>
                  <a:lnTo>
                    <a:pt x="207" y="285"/>
                  </a:lnTo>
                  <a:lnTo>
                    <a:pt x="205" y="288"/>
                  </a:lnTo>
                  <a:lnTo>
                    <a:pt x="202" y="285"/>
                  </a:lnTo>
                  <a:lnTo>
                    <a:pt x="202" y="285"/>
                  </a:lnTo>
                  <a:lnTo>
                    <a:pt x="200" y="285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2" y="285"/>
                  </a:lnTo>
                  <a:lnTo>
                    <a:pt x="207" y="283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11" y="283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4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6" y="283"/>
                  </a:lnTo>
                  <a:lnTo>
                    <a:pt x="214" y="281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09" y="283"/>
                  </a:lnTo>
                  <a:lnTo>
                    <a:pt x="207" y="283"/>
                  </a:lnTo>
                  <a:lnTo>
                    <a:pt x="207" y="283"/>
                  </a:lnTo>
                  <a:lnTo>
                    <a:pt x="205" y="283"/>
                  </a:lnTo>
                  <a:lnTo>
                    <a:pt x="205" y="283"/>
                  </a:lnTo>
                  <a:lnTo>
                    <a:pt x="202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198" y="283"/>
                  </a:lnTo>
                  <a:lnTo>
                    <a:pt x="198" y="283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6" y="283"/>
                  </a:lnTo>
                  <a:lnTo>
                    <a:pt x="198" y="283"/>
                  </a:lnTo>
                  <a:lnTo>
                    <a:pt x="200" y="283"/>
                  </a:lnTo>
                  <a:lnTo>
                    <a:pt x="200" y="283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5" y="281"/>
                  </a:lnTo>
                  <a:lnTo>
                    <a:pt x="205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4" y="279"/>
                  </a:lnTo>
                  <a:lnTo>
                    <a:pt x="211" y="281"/>
                  </a:lnTo>
                  <a:lnTo>
                    <a:pt x="211" y="281"/>
                  </a:lnTo>
                  <a:lnTo>
                    <a:pt x="211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5" y="279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1"/>
                  </a:lnTo>
                  <a:lnTo>
                    <a:pt x="205" y="281"/>
                  </a:lnTo>
                  <a:lnTo>
                    <a:pt x="202" y="281"/>
                  </a:lnTo>
                  <a:lnTo>
                    <a:pt x="205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200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81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8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9"/>
                  </a:lnTo>
                  <a:lnTo>
                    <a:pt x="202" y="276"/>
                  </a:lnTo>
                  <a:lnTo>
                    <a:pt x="202" y="276"/>
                  </a:lnTo>
                  <a:lnTo>
                    <a:pt x="202" y="276"/>
                  </a:lnTo>
                  <a:lnTo>
                    <a:pt x="202" y="276"/>
                  </a:lnTo>
                  <a:lnTo>
                    <a:pt x="198" y="276"/>
                  </a:lnTo>
                  <a:lnTo>
                    <a:pt x="198" y="276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8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79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6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3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3"/>
                  </a:lnTo>
                  <a:lnTo>
                    <a:pt x="191" y="283"/>
                  </a:lnTo>
                  <a:lnTo>
                    <a:pt x="189" y="283"/>
                  </a:lnTo>
                  <a:lnTo>
                    <a:pt x="189" y="283"/>
                  </a:lnTo>
                  <a:lnTo>
                    <a:pt x="189" y="283"/>
                  </a:lnTo>
                  <a:lnTo>
                    <a:pt x="189" y="283"/>
                  </a:lnTo>
                  <a:lnTo>
                    <a:pt x="189" y="283"/>
                  </a:lnTo>
                  <a:lnTo>
                    <a:pt x="187" y="283"/>
                  </a:lnTo>
                  <a:lnTo>
                    <a:pt x="189" y="283"/>
                  </a:lnTo>
                  <a:lnTo>
                    <a:pt x="189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7" y="283"/>
                  </a:lnTo>
                  <a:lnTo>
                    <a:pt x="189" y="281"/>
                  </a:lnTo>
                  <a:lnTo>
                    <a:pt x="189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89" y="281"/>
                  </a:lnTo>
                  <a:lnTo>
                    <a:pt x="189" y="281"/>
                  </a:lnTo>
                  <a:lnTo>
                    <a:pt x="189" y="281"/>
                  </a:lnTo>
                  <a:lnTo>
                    <a:pt x="189" y="281"/>
                  </a:lnTo>
                  <a:lnTo>
                    <a:pt x="187" y="281"/>
                  </a:lnTo>
                  <a:lnTo>
                    <a:pt x="187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2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82" y="281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7" y="279"/>
                  </a:lnTo>
                  <a:lnTo>
                    <a:pt x="189" y="279"/>
                  </a:lnTo>
                  <a:lnTo>
                    <a:pt x="189" y="279"/>
                  </a:lnTo>
                  <a:lnTo>
                    <a:pt x="189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1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3" y="279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93" y="276"/>
                  </a:lnTo>
                  <a:lnTo>
                    <a:pt x="189" y="279"/>
                  </a:lnTo>
                  <a:lnTo>
                    <a:pt x="189" y="279"/>
                  </a:lnTo>
                  <a:lnTo>
                    <a:pt x="187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79"/>
                  </a:lnTo>
                  <a:lnTo>
                    <a:pt x="180" y="281"/>
                  </a:lnTo>
                  <a:lnTo>
                    <a:pt x="180" y="281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8" y="281"/>
                  </a:lnTo>
                  <a:lnTo>
                    <a:pt x="175" y="281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3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71" y="281"/>
                  </a:lnTo>
                  <a:lnTo>
                    <a:pt x="171" y="281"/>
                  </a:lnTo>
                  <a:lnTo>
                    <a:pt x="171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4" y="285"/>
                  </a:lnTo>
                  <a:lnTo>
                    <a:pt x="160" y="285"/>
                  </a:lnTo>
                  <a:lnTo>
                    <a:pt x="157" y="288"/>
                  </a:lnTo>
                  <a:lnTo>
                    <a:pt x="157" y="288"/>
                  </a:lnTo>
                  <a:lnTo>
                    <a:pt x="157" y="288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57" y="285"/>
                  </a:lnTo>
                  <a:lnTo>
                    <a:pt x="160" y="283"/>
                  </a:lnTo>
                  <a:lnTo>
                    <a:pt x="160" y="283"/>
                  </a:lnTo>
                  <a:lnTo>
                    <a:pt x="160" y="283"/>
                  </a:lnTo>
                  <a:lnTo>
                    <a:pt x="157" y="283"/>
                  </a:lnTo>
                  <a:lnTo>
                    <a:pt x="160" y="283"/>
                  </a:lnTo>
                  <a:lnTo>
                    <a:pt x="160" y="283"/>
                  </a:lnTo>
                  <a:lnTo>
                    <a:pt x="160" y="283"/>
                  </a:lnTo>
                  <a:lnTo>
                    <a:pt x="160" y="283"/>
                  </a:lnTo>
                  <a:lnTo>
                    <a:pt x="160" y="283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62" y="283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0" y="281"/>
                  </a:lnTo>
                  <a:lnTo>
                    <a:pt x="160" y="281"/>
                  </a:lnTo>
                  <a:lnTo>
                    <a:pt x="160" y="281"/>
                  </a:lnTo>
                  <a:lnTo>
                    <a:pt x="160" y="281"/>
                  </a:lnTo>
                  <a:lnTo>
                    <a:pt x="160" y="281"/>
                  </a:lnTo>
                  <a:lnTo>
                    <a:pt x="160" y="281"/>
                  </a:lnTo>
                  <a:lnTo>
                    <a:pt x="162" y="281"/>
                  </a:lnTo>
                  <a:lnTo>
                    <a:pt x="162" y="279"/>
                  </a:lnTo>
                  <a:lnTo>
                    <a:pt x="162" y="279"/>
                  </a:lnTo>
                  <a:lnTo>
                    <a:pt x="162" y="279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2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81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4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9" y="281"/>
                  </a:lnTo>
                  <a:lnTo>
                    <a:pt x="169" y="281"/>
                  </a:lnTo>
                  <a:lnTo>
                    <a:pt x="166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71" y="279"/>
                  </a:lnTo>
                  <a:lnTo>
                    <a:pt x="171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6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9" y="279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71" y="276"/>
                  </a:lnTo>
                  <a:lnTo>
                    <a:pt x="173" y="276"/>
                  </a:lnTo>
                  <a:lnTo>
                    <a:pt x="173" y="276"/>
                  </a:lnTo>
                  <a:lnTo>
                    <a:pt x="173" y="276"/>
                  </a:lnTo>
                  <a:lnTo>
                    <a:pt x="173" y="276"/>
                  </a:lnTo>
                  <a:lnTo>
                    <a:pt x="171" y="276"/>
                  </a:lnTo>
                  <a:lnTo>
                    <a:pt x="171" y="276"/>
                  </a:lnTo>
                  <a:lnTo>
                    <a:pt x="171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69" y="276"/>
                  </a:lnTo>
                  <a:lnTo>
                    <a:pt x="171" y="276"/>
                  </a:lnTo>
                  <a:lnTo>
                    <a:pt x="175" y="276"/>
                  </a:lnTo>
                  <a:lnTo>
                    <a:pt x="178" y="276"/>
                  </a:lnTo>
                  <a:lnTo>
                    <a:pt x="178" y="276"/>
                  </a:lnTo>
                  <a:lnTo>
                    <a:pt x="178" y="279"/>
                  </a:lnTo>
                  <a:lnTo>
                    <a:pt x="178" y="279"/>
                  </a:lnTo>
                  <a:lnTo>
                    <a:pt x="178" y="279"/>
                  </a:lnTo>
                  <a:lnTo>
                    <a:pt x="178" y="279"/>
                  </a:lnTo>
                  <a:lnTo>
                    <a:pt x="178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4" y="279"/>
                  </a:lnTo>
                  <a:lnTo>
                    <a:pt x="187" y="276"/>
                  </a:lnTo>
                  <a:lnTo>
                    <a:pt x="187" y="276"/>
                  </a:lnTo>
                  <a:lnTo>
                    <a:pt x="187" y="276"/>
                  </a:lnTo>
                  <a:lnTo>
                    <a:pt x="187" y="276"/>
                  </a:lnTo>
                  <a:lnTo>
                    <a:pt x="184" y="276"/>
                  </a:lnTo>
                  <a:lnTo>
                    <a:pt x="184" y="279"/>
                  </a:lnTo>
                  <a:lnTo>
                    <a:pt x="175" y="276"/>
                  </a:lnTo>
                  <a:lnTo>
                    <a:pt x="175" y="276"/>
                  </a:lnTo>
                  <a:lnTo>
                    <a:pt x="173" y="274"/>
                  </a:lnTo>
                  <a:lnTo>
                    <a:pt x="171" y="274"/>
                  </a:lnTo>
                  <a:lnTo>
                    <a:pt x="171" y="274"/>
                  </a:lnTo>
                  <a:lnTo>
                    <a:pt x="171" y="274"/>
                  </a:lnTo>
                  <a:lnTo>
                    <a:pt x="171" y="274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1" y="272"/>
                  </a:lnTo>
                  <a:lnTo>
                    <a:pt x="171" y="272"/>
                  </a:lnTo>
                  <a:lnTo>
                    <a:pt x="171" y="274"/>
                  </a:lnTo>
                  <a:lnTo>
                    <a:pt x="171" y="274"/>
                  </a:lnTo>
                  <a:lnTo>
                    <a:pt x="171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9" y="274"/>
                  </a:lnTo>
                  <a:lnTo>
                    <a:pt x="166" y="274"/>
                  </a:lnTo>
                  <a:lnTo>
                    <a:pt x="169" y="272"/>
                  </a:lnTo>
                  <a:lnTo>
                    <a:pt x="171" y="272"/>
                  </a:lnTo>
                  <a:lnTo>
                    <a:pt x="173" y="272"/>
                  </a:lnTo>
                  <a:lnTo>
                    <a:pt x="173" y="272"/>
                  </a:lnTo>
                  <a:lnTo>
                    <a:pt x="173" y="274"/>
                  </a:lnTo>
                  <a:lnTo>
                    <a:pt x="173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5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80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80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2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4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4" y="274"/>
                  </a:lnTo>
                  <a:lnTo>
                    <a:pt x="187" y="274"/>
                  </a:lnTo>
                  <a:lnTo>
                    <a:pt x="187" y="274"/>
                  </a:lnTo>
                  <a:lnTo>
                    <a:pt x="187" y="274"/>
                  </a:lnTo>
                  <a:lnTo>
                    <a:pt x="189" y="276"/>
                  </a:lnTo>
                  <a:lnTo>
                    <a:pt x="189" y="276"/>
                  </a:lnTo>
                  <a:lnTo>
                    <a:pt x="200" y="274"/>
                  </a:lnTo>
                  <a:lnTo>
                    <a:pt x="200" y="276"/>
                  </a:lnTo>
                  <a:lnTo>
                    <a:pt x="200" y="276"/>
                  </a:lnTo>
                  <a:lnTo>
                    <a:pt x="202" y="276"/>
                  </a:lnTo>
                  <a:lnTo>
                    <a:pt x="202" y="276"/>
                  </a:lnTo>
                  <a:lnTo>
                    <a:pt x="202" y="276"/>
                  </a:lnTo>
                  <a:lnTo>
                    <a:pt x="205" y="276"/>
                  </a:lnTo>
                  <a:lnTo>
                    <a:pt x="205" y="276"/>
                  </a:lnTo>
                  <a:lnTo>
                    <a:pt x="207" y="276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09" y="279"/>
                  </a:lnTo>
                  <a:lnTo>
                    <a:pt x="211" y="279"/>
                  </a:lnTo>
                  <a:lnTo>
                    <a:pt x="214" y="279"/>
                  </a:lnTo>
                  <a:lnTo>
                    <a:pt x="216" y="279"/>
                  </a:lnTo>
                  <a:lnTo>
                    <a:pt x="216" y="279"/>
                  </a:lnTo>
                  <a:lnTo>
                    <a:pt x="214" y="279"/>
                  </a:lnTo>
                  <a:lnTo>
                    <a:pt x="214" y="279"/>
                  </a:lnTo>
                  <a:lnTo>
                    <a:pt x="214" y="279"/>
                  </a:lnTo>
                  <a:lnTo>
                    <a:pt x="211" y="279"/>
                  </a:lnTo>
                  <a:lnTo>
                    <a:pt x="211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7" y="276"/>
                  </a:lnTo>
                  <a:lnTo>
                    <a:pt x="207" y="276"/>
                  </a:lnTo>
                  <a:lnTo>
                    <a:pt x="207" y="276"/>
                  </a:lnTo>
                  <a:lnTo>
                    <a:pt x="209" y="276"/>
                  </a:lnTo>
                  <a:lnTo>
                    <a:pt x="209" y="276"/>
                  </a:lnTo>
                  <a:lnTo>
                    <a:pt x="207" y="276"/>
                  </a:lnTo>
                  <a:lnTo>
                    <a:pt x="207" y="276"/>
                  </a:lnTo>
                  <a:lnTo>
                    <a:pt x="207" y="276"/>
                  </a:lnTo>
                  <a:lnTo>
                    <a:pt x="207" y="276"/>
                  </a:lnTo>
                  <a:lnTo>
                    <a:pt x="205" y="276"/>
                  </a:lnTo>
                  <a:lnTo>
                    <a:pt x="205" y="276"/>
                  </a:lnTo>
                  <a:lnTo>
                    <a:pt x="205" y="276"/>
                  </a:lnTo>
                  <a:lnTo>
                    <a:pt x="205" y="276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5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2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198" y="274"/>
                  </a:lnTo>
                  <a:lnTo>
                    <a:pt x="198" y="272"/>
                  </a:lnTo>
                  <a:lnTo>
                    <a:pt x="198" y="272"/>
                  </a:lnTo>
                  <a:lnTo>
                    <a:pt x="198" y="272"/>
                  </a:lnTo>
                  <a:lnTo>
                    <a:pt x="198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5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70"/>
                  </a:lnTo>
                  <a:lnTo>
                    <a:pt x="205" y="267"/>
                  </a:lnTo>
                  <a:lnTo>
                    <a:pt x="205" y="267"/>
                  </a:lnTo>
                  <a:lnTo>
                    <a:pt x="207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7"/>
                  </a:lnTo>
                  <a:lnTo>
                    <a:pt x="209" y="267"/>
                  </a:lnTo>
                  <a:lnTo>
                    <a:pt x="202" y="267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8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8" y="267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0" y="272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93" y="272"/>
                  </a:lnTo>
                  <a:lnTo>
                    <a:pt x="189" y="272"/>
                  </a:lnTo>
                  <a:lnTo>
                    <a:pt x="189" y="272"/>
                  </a:lnTo>
                  <a:lnTo>
                    <a:pt x="187" y="272"/>
                  </a:lnTo>
                  <a:lnTo>
                    <a:pt x="187" y="272"/>
                  </a:lnTo>
                  <a:lnTo>
                    <a:pt x="184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2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0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8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2"/>
                  </a:lnTo>
                  <a:lnTo>
                    <a:pt x="175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2" y="270"/>
                  </a:lnTo>
                  <a:lnTo>
                    <a:pt x="180" y="270"/>
                  </a:lnTo>
                  <a:lnTo>
                    <a:pt x="178" y="270"/>
                  </a:lnTo>
                  <a:lnTo>
                    <a:pt x="178" y="270"/>
                  </a:lnTo>
                  <a:lnTo>
                    <a:pt x="173" y="272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1" y="270"/>
                  </a:lnTo>
                  <a:lnTo>
                    <a:pt x="171" y="270"/>
                  </a:lnTo>
                  <a:lnTo>
                    <a:pt x="171" y="270"/>
                  </a:lnTo>
                  <a:lnTo>
                    <a:pt x="171" y="270"/>
                  </a:lnTo>
                  <a:lnTo>
                    <a:pt x="169" y="272"/>
                  </a:lnTo>
                  <a:lnTo>
                    <a:pt x="169" y="272"/>
                  </a:lnTo>
                  <a:lnTo>
                    <a:pt x="169" y="272"/>
                  </a:lnTo>
                  <a:lnTo>
                    <a:pt x="169" y="270"/>
                  </a:lnTo>
                  <a:lnTo>
                    <a:pt x="169" y="270"/>
                  </a:lnTo>
                  <a:lnTo>
                    <a:pt x="169" y="270"/>
                  </a:lnTo>
                  <a:lnTo>
                    <a:pt x="169" y="270"/>
                  </a:lnTo>
                  <a:lnTo>
                    <a:pt x="169" y="270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71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3" y="270"/>
                  </a:lnTo>
                  <a:lnTo>
                    <a:pt x="175" y="270"/>
                  </a:lnTo>
                  <a:lnTo>
                    <a:pt x="175" y="270"/>
                  </a:lnTo>
                  <a:lnTo>
                    <a:pt x="175" y="270"/>
                  </a:lnTo>
                  <a:lnTo>
                    <a:pt x="175" y="270"/>
                  </a:lnTo>
                  <a:lnTo>
                    <a:pt x="178" y="270"/>
                  </a:lnTo>
                  <a:lnTo>
                    <a:pt x="178" y="270"/>
                  </a:lnTo>
                  <a:lnTo>
                    <a:pt x="178" y="270"/>
                  </a:lnTo>
                  <a:lnTo>
                    <a:pt x="180" y="270"/>
                  </a:lnTo>
                  <a:lnTo>
                    <a:pt x="180" y="270"/>
                  </a:lnTo>
                  <a:lnTo>
                    <a:pt x="178" y="270"/>
                  </a:lnTo>
                  <a:lnTo>
                    <a:pt x="178" y="270"/>
                  </a:lnTo>
                  <a:lnTo>
                    <a:pt x="178" y="267"/>
                  </a:lnTo>
                  <a:lnTo>
                    <a:pt x="180" y="267"/>
                  </a:lnTo>
                  <a:lnTo>
                    <a:pt x="180" y="267"/>
                  </a:lnTo>
                  <a:lnTo>
                    <a:pt x="180" y="267"/>
                  </a:lnTo>
                  <a:lnTo>
                    <a:pt x="180" y="267"/>
                  </a:lnTo>
                  <a:lnTo>
                    <a:pt x="180" y="267"/>
                  </a:lnTo>
                  <a:lnTo>
                    <a:pt x="180" y="267"/>
                  </a:lnTo>
                  <a:lnTo>
                    <a:pt x="180" y="267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4" y="267"/>
                  </a:lnTo>
                  <a:lnTo>
                    <a:pt x="187" y="267"/>
                  </a:lnTo>
                  <a:lnTo>
                    <a:pt x="187" y="267"/>
                  </a:lnTo>
                  <a:lnTo>
                    <a:pt x="187" y="265"/>
                  </a:lnTo>
                  <a:lnTo>
                    <a:pt x="184" y="265"/>
                  </a:lnTo>
                  <a:lnTo>
                    <a:pt x="182" y="267"/>
                  </a:lnTo>
                  <a:lnTo>
                    <a:pt x="182" y="267"/>
                  </a:lnTo>
                  <a:lnTo>
                    <a:pt x="182" y="265"/>
                  </a:lnTo>
                  <a:lnTo>
                    <a:pt x="182" y="265"/>
                  </a:lnTo>
                  <a:lnTo>
                    <a:pt x="189" y="265"/>
                  </a:lnTo>
                  <a:lnTo>
                    <a:pt x="189" y="265"/>
                  </a:lnTo>
                  <a:lnTo>
                    <a:pt x="189" y="265"/>
                  </a:lnTo>
                  <a:lnTo>
                    <a:pt x="189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1" y="265"/>
                  </a:lnTo>
                  <a:lnTo>
                    <a:pt x="193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3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0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2" y="265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205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11" y="265"/>
                  </a:lnTo>
                  <a:lnTo>
                    <a:pt x="211" y="265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3"/>
                  </a:lnTo>
                  <a:lnTo>
                    <a:pt x="209" y="261"/>
                  </a:lnTo>
                  <a:lnTo>
                    <a:pt x="211" y="261"/>
                  </a:lnTo>
                  <a:lnTo>
                    <a:pt x="214" y="261"/>
                  </a:lnTo>
                  <a:lnTo>
                    <a:pt x="214" y="261"/>
                  </a:lnTo>
                  <a:lnTo>
                    <a:pt x="214" y="261"/>
                  </a:lnTo>
                  <a:lnTo>
                    <a:pt x="216" y="261"/>
                  </a:lnTo>
                  <a:lnTo>
                    <a:pt x="214" y="261"/>
                  </a:lnTo>
                  <a:lnTo>
                    <a:pt x="214" y="261"/>
                  </a:lnTo>
                  <a:lnTo>
                    <a:pt x="214" y="261"/>
                  </a:lnTo>
                  <a:lnTo>
                    <a:pt x="211" y="261"/>
                  </a:lnTo>
                  <a:lnTo>
                    <a:pt x="211" y="261"/>
                  </a:lnTo>
                  <a:lnTo>
                    <a:pt x="209" y="261"/>
                  </a:lnTo>
                  <a:lnTo>
                    <a:pt x="209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5" y="261"/>
                  </a:lnTo>
                  <a:lnTo>
                    <a:pt x="205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61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11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7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09" y="258"/>
                  </a:lnTo>
                  <a:lnTo>
                    <a:pt x="211" y="256"/>
                  </a:lnTo>
                  <a:lnTo>
                    <a:pt x="211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1" y="254"/>
                  </a:lnTo>
                  <a:lnTo>
                    <a:pt x="216" y="254"/>
                  </a:lnTo>
                  <a:lnTo>
                    <a:pt x="216" y="254"/>
                  </a:lnTo>
                  <a:lnTo>
                    <a:pt x="216" y="254"/>
                  </a:lnTo>
                  <a:lnTo>
                    <a:pt x="216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1" y="256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4" y="256"/>
                  </a:lnTo>
                  <a:lnTo>
                    <a:pt x="218" y="254"/>
                  </a:lnTo>
                  <a:lnTo>
                    <a:pt x="218" y="254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20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6"/>
                  </a:lnTo>
                  <a:lnTo>
                    <a:pt x="218" y="258"/>
                  </a:lnTo>
                  <a:lnTo>
                    <a:pt x="218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3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8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0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5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3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6"/>
                  </a:lnTo>
                  <a:lnTo>
                    <a:pt x="225" y="254"/>
                  </a:lnTo>
                  <a:lnTo>
                    <a:pt x="225" y="254"/>
                  </a:lnTo>
                  <a:lnTo>
                    <a:pt x="220" y="256"/>
                  </a:lnTo>
                  <a:lnTo>
                    <a:pt x="220" y="254"/>
                  </a:lnTo>
                  <a:lnTo>
                    <a:pt x="218" y="254"/>
                  </a:lnTo>
                  <a:lnTo>
                    <a:pt x="218" y="254"/>
                  </a:lnTo>
                  <a:lnTo>
                    <a:pt x="218" y="254"/>
                  </a:lnTo>
                  <a:lnTo>
                    <a:pt x="220" y="254"/>
                  </a:lnTo>
                  <a:lnTo>
                    <a:pt x="223" y="254"/>
                  </a:lnTo>
                  <a:lnTo>
                    <a:pt x="223" y="254"/>
                  </a:lnTo>
                  <a:lnTo>
                    <a:pt x="223" y="254"/>
                  </a:lnTo>
                  <a:lnTo>
                    <a:pt x="225" y="254"/>
                  </a:lnTo>
                  <a:lnTo>
                    <a:pt x="225" y="254"/>
                  </a:lnTo>
                  <a:lnTo>
                    <a:pt x="225" y="254"/>
                  </a:lnTo>
                  <a:lnTo>
                    <a:pt x="225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5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52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25" y="249"/>
                  </a:lnTo>
                  <a:lnTo>
                    <a:pt x="225" y="249"/>
                  </a:lnTo>
                  <a:lnTo>
                    <a:pt x="223" y="249"/>
                  </a:lnTo>
                  <a:lnTo>
                    <a:pt x="223" y="249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20" y="252"/>
                  </a:lnTo>
                  <a:lnTo>
                    <a:pt x="220" y="252"/>
                  </a:lnTo>
                  <a:lnTo>
                    <a:pt x="218" y="252"/>
                  </a:lnTo>
                  <a:lnTo>
                    <a:pt x="218" y="252"/>
                  </a:lnTo>
                  <a:lnTo>
                    <a:pt x="216" y="252"/>
                  </a:lnTo>
                  <a:lnTo>
                    <a:pt x="216" y="252"/>
                  </a:lnTo>
                  <a:lnTo>
                    <a:pt x="216" y="254"/>
                  </a:lnTo>
                  <a:lnTo>
                    <a:pt x="214" y="254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1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4" y="252"/>
                  </a:lnTo>
                  <a:lnTo>
                    <a:pt x="216" y="252"/>
                  </a:lnTo>
                  <a:lnTo>
                    <a:pt x="216" y="252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6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6" y="249"/>
                  </a:lnTo>
                  <a:lnTo>
                    <a:pt x="218" y="249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20" y="247"/>
                  </a:lnTo>
                  <a:lnTo>
                    <a:pt x="220" y="247"/>
                  </a:lnTo>
                  <a:lnTo>
                    <a:pt x="220" y="247"/>
                  </a:lnTo>
                  <a:lnTo>
                    <a:pt x="220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5" y="247"/>
                  </a:lnTo>
                  <a:lnTo>
                    <a:pt x="225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5" y="247"/>
                  </a:lnTo>
                  <a:lnTo>
                    <a:pt x="225" y="247"/>
                  </a:lnTo>
                  <a:lnTo>
                    <a:pt x="227" y="247"/>
                  </a:lnTo>
                  <a:lnTo>
                    <a:pt x="227" y="247"/>
                  </a:lnTo>
                  <a:lnTo>
                    <a:pt x="229" y="245"/>
                  </a:lnTo>
                  <a:lnTo>
                    <a:pt x="229" y="245"/>
                  </a:lnTo>
                  <a:lnTo>
                    <a:pt x="227" y="245"/>
                  </a:lnTo>
                  <a:lnTo>
                    <a:pt x="227" y="245"/>
                  </a:lnTo>
                  <a:lnTo>
                    <a:pt x="227" y="245"/>
                  </a:lnTo>
                  <a:lnTo>
                    <a:pt x="227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25" y="245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3" y="247"/>
                  </a:lnTo>
                  <a:lnTo>
                    <a:pt x="220" y="247"/>
                  </a:lnTo>
                  <a:lnTo>
                    <a:pt x="220" y="247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3" y="245"/>
                  </a:lnTo>
                  <a:lnTo>
                    <a:pt x="220" y="245"/>
                  </a:lnTo>
                  <a:lnTo>
                    <a:pt x="220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7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0" y="245"/>
                  </a:lnTo>
                  <a:lnTo>
                    <a:pt x="220" y="243"/>
                  </a:lnTo>
                  <a:lnTo>
                    <a:pt x="223" y="243"/>
                  </a:lnTo>
                  <a:lnTo>
                    <a:pt x="225" y="245"/>
                  </a:lnTo>
                  <a:lnTo>
                    <a:pt x="227" y="245"/>
                  </a:lnTo>
                  <a:lnTo>
                    <a:pt x="227" y="245"/>
                  </a:lnTo>
                  <a:lnTo>
                    <a:pt x="225" y="243"/>
                  </a:lnTo>
                  <a:lnTo>
                    <a:pt x="225" y="243"/>
                  </a:lnTo>
                  <a:lnTo>
                    <a:pt x="227" y="243"/>
                  </a:lnTo>
                  <a:lnTo>
                    <a:pt x="225" y="243"/>
                  </a:lnTo>
                  <a:lnTo>
                    <a:pt x="225" y="243"/>
                  </a:lnTo>
                  <a:lnTo>
                    <a:pt x="225" y="243"/>
                  </a:lnTo>
                  <a:lnTo>
                    <a:pt x="223" y="243"/>
                  </a:lnTo>
                  <a:lnTo>
                    <a:pt x="223" y="243"/>
                  </a:lnTo>
                  <a:lnTo>
                    <a:pt x="220" y="243"/>
                  </a:lnTo>
                  <a:lnTo>
                    <a:pt x="220" y="243"/>
                  </a:lnTo>
                  <a:lnTo>
                    <a:pt x="220" y="243"/>
                  </a:lnTo>
                  <a:lnTo>
                    <a:pt x="223" y="243"/>
                  </a:lnTo>
                  <a:lnTo>
                    <a:pt x="223" y="240"/>
                  </a:lnTo>
                  <a:lnTo>
                    <a:pt x="225" y="240"/>
                  </a:lnTo>
                  <a:lnTo>
                    <a:pt x="225" y="240"/>
                  </a:lnTo>
                  <a:lnTo>
                    <a:pt x="225" y="240"/>
                  </a:lnTo>
                  <a:lnTo>
                    <a:pt x="225" y="240"/>
                  </a:lnTo>
                  <a:lnTo>
                    <a:pt x="227" y="240"/>
                  </a:lnTo>
                  <a:lnTo>
                    <a:pt x="227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32" y="240"/>
                  </a:lnTo>
                  <a:lnTo>
                    <a:pt x="232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29" y="238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7" y="238"/>
                  </a:lnTo>
                  <a:lnTo>
                    <a:pt x="227" y="236"/>
                  </a:lnTo>
                  <a:lnTo>
                    <a:pt x="232" y="236"/>
                  </a:lnTo>
                  <a:lnTo>
                    <a:pt x="232" y="236"/>
                  </a:lnTo>
                  <a:lnTo>
                    <a:pt x="234" y="236"/>
                  </a:lnTo>
                  <a:lnTo>
                    <a:pt x="234" y="236"/>
                  </a:lnTo>
                  <a:lnTo>
                    <a:pt x="232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5" y="236"/>
                  </a:lnTo>
                  <a:lnTo>
                    <a:pt x="225" y="236"/>
                  </a:lnTo>
                  <a:lnTo>
                    <a:pt x="220" y="238"/>
                  </a:lnTo>
                  <a:lnTo>
                    <a:pt x="216" y="238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3" y="236"/>
                  </a:lnTo>
                  <a:lnTo>
                    <a:pt x="223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0" y="236"/>
                  </a:lnTo>
                  <a:lnTo>
                    <a:pt x="223" y="236"/>
                  </a:lnTo>
                  <a:lnTo>
                    <a:pt x="223" y="236"/>
                  </a:lnTo>
                  <a:lnTo>
                    <a:pt x="220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8" y="236"/>
                  </a:lnTo>
                  <a:lnTo>
                    <a:pt x="216" y="236"/>
                  </a:lnTo>
                  <a:lnTo>
                    <a:pt x="216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1" y="236"/>
                  </a:lnTo>
                  <a:lnTo>
                    <a:pt x="211" y="236"/>
                  </a:lnTo>
                  <a:lnTo>
                    <a:pt x="211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4" y="236"/>
                  </a:lnTo>
                  <a:lnTo>
                    <a:pt x="211" y="236"/>
                  </a:lnTo>
                  <a:lnTo>
                    <a:pt x="211" y="236"/>
                  </a:lnTo>
                  <a:lnTo>
                    <a:pt x="209" y="236"/>
                  </a:lnTo>
                  <a:lnTo>
                    <a:pt x="207" y="236"/>
                  </a:lnTo>
                  <a:lnTo>
                    <a:pt x="207" y="236"/>
                  </a:lnTo>
                  <a:lnTo>
                    <a:pt x="207" y="236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5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0" y="236"/>
                  </a:lnTo>
                  <a:lnTo>
                    <a:pt x="200" y="236"/>
                  </a:lnTo>
                  <a:lnTo>
                    <a:pt x="200" y="234"/>
                  </a:lnTo>
                  <a:lnTo>
                    <a:pt x="200" y="234"/>
                  </a:lnTo>
                  <a:lnTo>
                    <a:pt x="200" y="234"/>
                  </a:lnTo>
                  <a:lnTo>
                    <a:pt x="200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4"/>
                  </a:lnTo>
                  <a:lnTo>
                    <a:pt x="198" y="231"/>
                  </a:lnTo>
                  <a:lnTo>
                    <a:pt x="198" y="231"/>
                  </a:lnTo>
                  <a:lnTo>
                    <a:pt x="191" y="229"/>
                  </a:lnTo>
                  <a:lnTo>
                    <a:pt x="182" y="229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8" y="227"/>
                  </a:lnTo>
                  <a:lnTo>
                    <a:pt x="175" y="225"/>
                  </a:lnTo>
                  <a:lnTo>
                    <a:pt x="175" y="225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3" y="222"/>
                  </a:lnTo>
                  <a:lnTo>
                    <a:pt x="175" y="222"/>
                  </a:lnTo>
                  <a:lnTo>
                    <a:pt x="175" y="222"/>
                  </a:lnTo>
                  <a:lnTo>
                    <a:pt x="175" y="222"/>
                  </a:lnTo>
                  <a:lnTo>
                    <a:pt x="178" y="220"/>
                  </a:lnTo>
                  <a:lnTo>
                    <a:pt x="180" y="220"/>
                  </a:lnTo>
                  <a:lnTo>
                    <a:pt x="182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4" y="220"/>
                  </a:lnTo>
                  <a:lnTo>
                    <a:pt x="187" y="220"/>
                  </a:lnTo>
                  <a:lnTo>
                    <a:pt x="187" y="220"/>
                  </a:lnTo>
                  <a:lnTo>
                    <a:pt x="189" y="220"/>
                  </a:lnTo>
                  <a:lnTo>
                    <a:pt x="189" y="220"/>
                  </a:lnTo>
                  <a:lnTo>
                    <a:pt x="189" y="220"/>
                  </a:lnTo>
                  <a:lnTo>
                    <a:pt x="191" y="222"/>
                  </a:lnTo>
                  <a:lnTo>
                    <a:pt x="196" y="220"/>
                  </a:lnTo>
                  <a:lnTo>
                    <a:pt x="200" y="222"/>
                  </a:lnTo>
                  <a:lnTo>
                    <a:pt x="205" y="222"/>
                  </a:lnTo>
                  <a:lnTo>
                    <a:pt x="207" y="225"/>
                  </a:lnTo>
                  <a:lnTo>
                    <a:pt x="209" y="225"/>
                  </a:lnTo>
                  <a:lnTo>
                    <a:pt x="209" y="225"/>
                  </a:lnTo>
                  <a:lnTo>
                    <a:pt x="211" y="225"/>
                  </a:lnTo>
                  <a:lnTo>
                    <a:pt x="211" y="225"/>
                  </a:lnTo>
                  <a:lnTo>
                    <a:pt x="214" y="227"/>
                  </a:lnTo>
                  <a:lnTo>
                    <a:pt x="216" y="227"/>
                  </a:lnTo>
                  <a:lnTo>
                    <a:pt x="216" y="227"/>
                  </a:lnTo>
                  <a:lnTo>
                    <a:pt x="218" y="227"/>
                  </a:lnTo>
                  <a:lnTo>
                    <a:pt x="223" y="229"/>
                  </a:lnTo>
                  <a:lnTo>
                    <a:pt x="223" y="229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32" y="229"/>
                  </a:lnTo>
                  <a:lnTo>
                    <a:pt x="229" y="229"/>
                  </a:lnTo>
                  <a:lnTo>
                    <a:pt x="229" y="229"/>
                  </a:lnTo>
                  <a:lnTo>
                    <a:pt x="229" y="229"/>
                  </a:lnTo>
                  <a:lnTo>
                    <a:pt x="229" y="229"/>
                  </a:lnTo>
                  <a:lnTo>
                    <a:pt x="229" y="229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4" y="227"/>
                  </a:lnTo>
                  <a:lnTo>
                    <a:pt x="234" y="225"/>
                  </a:lnTo>
                  <a:lnTo>
                    <a:pt x="234" y="225"/>
                  </a:lnTo>
                  <a:lnTo>
                    <a:pt x="232" y="225"/>
                  </a:lnTo>
                  <a:lnTo>
                    <a:pt x="232" y="227"/>
                  </a:lnTo>
                  <a:lnTo>
                    <a:pt x="232" y="227"/>
                  </a:lnTo>
                  <a:lnTo>
                    <a:pt x="229" y="227"/>
                  </a:lnTo>
                  <a:lnTo>
                    <a:pt x="229" y="227"/>
                  </a:lnTo>
                  <a:lnTo>
                    <a:pt x="229" y="227"/>
                  </a:lnTo>
                  <a:lnTo>
                    <a:pt x="229" y="227"/>
                  </a:lnTo>
                  <a:lnTo>
                    <a:pt x="227" y="227"/>
                  </a:lnTo>
                  <a:lnTo>
                    <a:pt x="225" y="227"/>
                  </a:lnTo>
                  <a:lnTo>
                    <a:pt x="225" y="227"/>
                  </a:lnTo>
                  <a:lnTo>
                    <a:pt x="225" y="227"/>
                  </a:lnTo>
                  <a:lnTo>
                    <a:pt x="227" y="227"/>
                  </a:lnTo>
                  <a:lnTo>
                    <a:pt x="225" y="227"/>
                  </a:lnTo>
                  <a:lnTo>
                    <a:pt x="225" y="227"/>
                  </a:lnTo>
                  <a:lnTo>
                    <a:pt x="225" y="227"/>
                  </a:lnTo>
                  <a:lnTo>
                    <a:pt x="223" y="227"/>
                  </a:lnTo>
                  <a:lnTo>
                    <a:pt x="223" y="227"/>
                  </a:lnTo>
                  <a:lnTo>
                    <a:pt x="223" y="225"/>
                  </a:lnTo>
                  <a:lnTo>
                    <a:pt x="220" y="225"/>
                  </a:lnTo>
                  <a:lnTo>
                    <a:pt x="220" y="225"/>
                  </a:lnTo>
                  <a:lnTo>
                    <a:pt x="223" y="225"/>
                  </a:lnTo>
                  <a:lnTo>
                    <a:pt x="223" y="225"/>
                  </a:lnTo>
                  <a:lnTo>
                    <a:pt x="223" y="225"/>
                  </a:lnTo>
                  <a:lnTo>
                    <a:pt x="225" y="225"/>
                  </a:lnTo>
                  <a:lnTo>
                    <a:pt x="225" y="225"/>
                  </a:lnTo>
                  <a:lnTo>
                    <a:pt x="225" y="225"/>
                  </a:lnTo>
                  <a:lnTo>
                    <a:pt x="225" y="225"/>
                  </a:lnTo>
                  <a:lnTo>
                    <a:pt x="225" y="225"/>
                  </a:lnTo>
                  <a:lnTo>
                    <a:pt x="223" y="225"/>
                  </a:lnTo>
                  <a:lnTo>
                    <a:pt x="225" y="225"/>
                  </a:lnTo>
                  <a:lnTo>
                    <a:pt x="225" y="225"/>
                  </a:lnTo>
                  <a:lnTo>
                    <a:pt x="225" y="225"/>
                  </a:lnTo>
                  <a:lnTo>
                    <a:pt x="227" y="225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7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9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5"/>
                  </a:lnTo>
                  <a:lnTo>
                    <a:pt x="227" y="222"/>
                  </a:lnTo>
                  <a:lnTo>
                    <a:pt x="229" y="222"/>
                  </a:lnTo>
                  <a:lnTo>
                    <a:pt x="232" y="222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5"/>
                  </a:lnTo>
                  <a:lnTo>
                    <a:pt x="232" y="222"/>
                  </a:lnTo>
                  <a:lnTo>
                    <a:pt x="229" y="222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27" y="222"/>
                  </a:lnTo>
                  <a:lnTo>
                    <a:pt x="227" y="222"/>
                  </a:lnTo>
                  <a:lnTo>
                    <a:pt x="227" y="222"/>
                  </a:lnTo>
                  <a:lnTo>
                    <a:pt x="227" y="222"/>
                  </a:lnTo>
                  <a:lnTo>
                    <a:pt x="227" y="222"/>
                  </a:lnTo>
                  <a:lnTo>
                    <a:pt x="227" y="222"/>
                  </a:lnTo>
                  <a:lnTo>
                    <a:pt x="227" y="220"/>
                  </a:lnTo>
                  <a:lnTo>
                    <a:pt x="227" y="222"/>
                  </a:lnTo>
                  <a:lnTo>
                    <a:pt x="227" y="222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25" y="222"/>
                  </a:lnTo>
                  <a:lnTo>
                    <a:pt x="220" y="222"/>
                  </a:lnTo>
                  <a:lnTo>
                    <a:pt x="220" y="222"/>
                  </a:lnTo>
                  <a:lnTo>
                    <a:pt x="220" y="222"/>
                  </a:lnTo>
                  <a:lnTo>
                    <a:pt x="220" y="222"/>
                  </a:lnTo>
                  <a:lnTo>
                    <a:pt x="223" y="222"/>
                  </a:lnTo>
                  <a:lnTo>
                    <a:pt x="223" y="222"/>
                  </a:lnTo>
                  <a:lnTo>
                    <a:pt x="223" y="222"/>
                  </a:lnTo>
                  <a:lnTo>
                    <a:pt x="223" y="222"/>
                  </a:lnTo>
                  <a:lnTo>
                    <a:pt x="223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5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9" y="222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4" y="222"/>
                  </a:lnTo>
                  <a:lnTo>
                    <a:pt x="234" y="222"/>
                  </a:lnTo>
                  <a:lnTo>
                    <a:pt x="234" y="222"/>
                  </a:lnTo>
                  <a:lnTo>
                    <a:pt x="234" y="222"/>
                  </a:lnTo>
                  <a:lnTo>
                    <a:pt x="232" y="222"/>
                  </a:lnTo>
                  <a:lnTo>
                    <a:pt x="232" y="222"/>
                  </a:lnTo>
                  <a:lnTo>
                    <a:pt x="232" y="220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32" y="220"/>
                  </a:lnTo>
                  <a:lnTo>
                    <a:pt x="232" y="218"/>
                  </a:lnTo>
                  <a:lnTo>
                    <a:pt x="229" y="218"/>
                  </a:lnTo>
                  <a:lnTo>
                    <a:pt x="229" y="220"/>
                  </a:lnTo>
                  <a:lnTo>
                    <a:pt x="229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7" y="220"/>
                  </a:lnTo>
                  <a:lnTo>
                    <a:pt x="225" y="220"/>
                  </a:lnTo>
                  <a:lnTo>
                    <a:pt x="227" y="218"/>
                  </a:lnTo>
                  <a:lnTo>
                    <a:pt x="227" y="218"/>
                  </a:lnTo>
                  <a:lnTo>
                    <a:pt x="223" y="218"/>
                  </a:lnTo>
                  <a:lnTo>
                    <a:pt x="223" y="218"/>
                  </a:lnTo>
                  <a:lnTo>
                    <a:pt x="220" y="218"/>
                  </a:lnTo>
                  <a:lnTo>
                    <a:pt x="220" y="218"/>
                  </a:lnTo>
                  <a:lnTo>
                    <a:pt x="220" y="218"/>
                  </a:lnTo>
                  <a:lnTo>
                    <a:pt x="216" y="216"/>
                  </a:lnTo>
                  <a:lnTo>
                    <a:pt x="216" y="216"/>
                  </a:lnTo>
                  <a:lnTo>
                    <a:pt x="216" y="216"/>
                  </a:lnTo>
                  <a:lnTo>
                    <a:pt x="218" y="216"/>
                  </a:lnTo>
                  <a:lnTo>
                    <a:pt x="218" y="216"/>
                  </a:lnTo>
                  <a:lnTo>
                    <a:pt x="218" y="216"/>
                  </a:lnTo>
                  <a:lnTo>
                    <a:pt x="218" y="216"/>
                  </a:lnTo>
                  <a:lnTo>
                    <a:pt x="218" y="216"/>
                  </a:lnTo>
                  <a:lnTo>
                    <a:pt x="227" y="218"/>
                  </a:lnTo>
                  <a:lnTo>
                    <a:pt x="229" y="218"/>
                  </a:lnTo>
                  <a:lnTo>
                    <a:pt x="232" y="218"/>
                  </a:lnTo>
                  <a:lnTo>
                    <a:pt x="232" y="218"/>
                  </a:lnTo>
                  <a:lnTo>
                    <a:pt x="232" y="216"/>
                  </a:lnTo>
                  <a:lnTo>
                    <a:pt x="232" y="216"/>
                  </a:lnTo>
                  <a:lnTo>
                    <a:pt x="227" y="216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7" y="216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6"/>
                  </a:lnTo>
                  <a:lnTo>
                    <a:pt x="225" y="213"/>
                  </a:lnTo>
                  <a:lnTo>
                    <a:pt x="227" y="213"/>
                  </a:lnTo>
                  <a:lnTo>
                    <a:pt x="229" y="213"/>
                  </a:lnTo>
                  <a:lnTo>
                    <a:pt x="227" y="213"/>
                  </a:lnTo>
                  <a:lnTo>
                    <a:pt x="223" y="213"/>
                  </a:lnTo>
                  <a:lnTo>
                    <a:pt x="220" y="213"/>
                  </a:lnTo>
                  <a:lnTo>
                    <a:pt x="220" y="213"/>
                  </a:lnTo>
                  <a:lnTo>
                    <a:pt x="220" y="213"/>
                  </a:lnTo>
                  <a:lnTo>
                    <a:pt x="220" y="213"/>
                  </a:lnTo>
                  <a:lnTo>
                    <a:pt x="220" y="213"/>
                  </a:lnTo>
                  <a:lnTo>
                    <a:pt x="218" y="213"/>
                  </a:lnTo>
                  <a:lnTo>
                    <a:pt x="218" y="213"/>
                  </a:lnTo>
                  <a:lnTo>
                    <a:pt x="218" y="213"/>
                  </a:lnTo>
                  <a:lnTo>
                    <a:pt x="216" y="213"/>
                  </a:lnTo>
                  <a:lnTo>
                    <a:pt x="216" y="216"/>
                  </a:lnTo>
                  <a:lnTo>
                    <a:pt x="216" y="216"/>
                  </a:lnTo>
                  <a:lnTo>
                    <a:pt x="214" y="216"/>
                  </a:lnTo>
                  <a:lnTo>
                    <a:pt x="214" y="213"/>
                  </a:lnTo>
                  <a:lnTo>
                    <a:pt x="214" y="213"/>
                  </a:lnTo>
                  <a:lnTo>
                    <a:pt x="214" y="213"/>
                  </a:lnTo>
                  <a:lnTo>
                    <a:pt x="214" y="213"/>
                  </a:lnTo>
                  <a:lnTo>
                    <a:pt x="214" y="213"/>
                  </a:lnTo>
                  <a:lnTo>
                    <a:pt x="214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6" y="213"/>
                  </a:lnTo>
                  <a:lnTo>
                    <a:pt x="218" y="211"/>
                  </a:lnTo>
                  <a:lnTo>
                    <a:pt x="220" y="211"/>
                  </a:lnTo>
                  <a:lnTo>
                    <a:pt x="223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5" y="211"/>
                  </a:lnTo>
                  <a:lnTo>
                    <a:pt x="223" y="209"/>
                  </a:lnTo>
                  <a:lnTo>
                    <a:pt x="223" y="209"/>
                  </a:lnTo>
                  <a:lnTo>
                    <a:pt x="223" y="209"/>
                  </a:lnTo>
                  <a:lnTo>
                    <a:pt x="225" y="209"/>
                  </a:lnTo>
                  <a:lnTo>
                    <a:pt x="225" y="209"/>
                  </a:lnTo>
                  <a:lnTo>
                    <a:pt x="223" y="209"/>
                  </a:lnTo>
                  <a:lnTo>
                    <a:pt x="216" y="211"/>
                  </a:lnTo>
                  <a:lnTo>
                    <a:pt x="216" y="211"/>
                  </a:lnTo>
                  <a:lnTo>
                    <a:pt x="214" y="213"/>
                  </a:lnTo>
                  <a:lnTo>
                    <a:pt x="211" y="213"/>
                  </a:lnTo>
                  <a:lnTo>
                    <a:pt x="211" y="213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9" y="213"/>
                  </a:lnTo>
                  <a:lnTo>
                    <a:pt x="209" y="211"/>
                  </a:lnTo>
                  <a:lnTo>
                    <a:pt x="211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11"/>
                  </a:lnTo>
                  <a:lnTo>
                    <a:pt x="214" y="209"/>
                  </a:lnTo>
                  <a:lnTo>
                    <a:pt x="216" y="209"/>
                  </a:lnTo>
                  <a:lnTo>
                    <a:pt x="218" y="209"/>
                  </a:lnTo>
                  <a:lnTo>
                    <a:pt x="218" y="209"/>
                  </a:lnTo>
                  <a:lnTo>
                    <a:pt x="218" y="209"/>
                  </a:lnTo>
                  <a:lnTo>
                    <a:pt x="220" y="209"/>
                  </a:lnTo>
                  <a:lnTo>
                    <a:pt x="220" y="209"/>
                  </a:lnTo>
                  <a:lnTo>
                    <a:pt x="220" y="209"/>
                  </a:lnTo>
                  <a:lnTo>
                    <a:pt x="220" y="209"/>
                  </a:lnTo>
                  <a:lnTo>
                    <a:pt x="225" y="207"/>
                  </a:lnTo>
                  <a:lnTo>
                    <a:pt x="227" y="209"/>
                  </a:lnTo>
                  <a:lnTo>
                    <a:pt x="229" y="209"/>
                  </a:lnTo>
                  <a:lnTo>
                    <a:pt x="229" y="207"/>
                  </a:lnTo>
                  <a:lnTo>
                    <a:pt x="229" y="207"/>
                  </a:lnTo>
                  <a:lnTo>
                    <a:pt x="229" y="207"/>
                  </a:lnTo>
                  <a:lnTo>
                    <a:pt x="229" y="207"/>
                  </a:lnTo>
                  <a:lnTo>
                    <a:pt x="229" y="207"/>
                  </a:lnTo>
                  <a:lnTo>
                    <a:pt x="225" y="207"/>
                  </a:lnTo>
                  <a:lnTo>
                    <a:pt x="218" y="209"/>
                  </a:lnTo>
                  <a:lnTo>
                    <a:pt x="216" y="209"/>
                  </a:lnTo>
                  <a:lnTo>
                    <a:pt x="214" y="209"/>
                  </a:lnTo>
                  <a:lnTo>
                    <a:pt x="214" y="209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5" y="209"/>
                  </a:lnTo>
                  <a:lnTo>
                    <a:pt x="207" y="207"/>
                  </a:lnTo>
                  <a:lnTo>
                    <a:pt x="207" y="207"/>
                  </a:lnTo>
                  <a:lnTo>
                    <a:pt x="207" y="207"/>
                  </a:lnTo>
                  <a:lnTo>
                    <a:pt x="209" y="207"/>
                  </a:lnTo>
                  <a:lnTo>
                    <a:pt x="209" y="207"/>
                  </a:lnTo>
                  <a:lnTo>
                    <a:pt x="218" y="204"/>
                  </a:lnTo>
                  <a:lnTo>
                    <a:pt x="218" y="204"/>
                  </a:lnTo>
                  <a:lnTo>
                    <a:pt x="225" y="204"/>
                  </a:lnTo>
                  <a:lnTo>
                    <a:pt x="225" y="204"/>
                  </a:lnTo>
                  <a:lnTo>
                    <a:pt x="225" y="204"/>
                  </a:lnTo>
                  <a:lnTo>
                    <a:pt x="225" y="204"/>
                  </a:lnTo>
                  <a:lnTo>
                    <a:pt x="227" y="204"/>
                  </a:lnTo>
                  <a:lnTo>
                    <a:pt x="227" y="204"/>
                  </a:lnTo>
                  <a:lnTo>
                    <a:pt x="227" y="202"/>
                  </a:lnTo>
                  <a:lnTo>
                    <a:pt x="227" y="202"/>
                  </a:lnTo>
                  <a:lnTo>
                    <a:pt x="227" y="202"/>
                  </a:lnTo>
                  <a:lnTo>
                    <a:pt x="227" y="202"/>
                  </a:lnTo>
                  <a:lnTo>
                    <a:pt x="225" y="202"/>
                  </a:lnTo>
                  <a:lnTo>
                    <a:pt x="225" y="202"/>
                  </a:lnTo>
                  <a:lnTo>
                    <a:pt x="225" y="202"/>
                  </a:lnTo>
                  <a:lnTo>
                    <a:pt x="225" y="202"/>
                  </a:lnTo>
                  <a:lnTo>
                    <a:pt x="225" y="202"/>
                  </a:lnTo>
                  <a:lnTo>
                    <a:pt x="223" y="204"/>
                  </a:lnTo>
                  <a:lnTo>
                    <a:pt x="223" y="204"/>
                  </a:lnTo>
                  <a:lnTo>
                    <a:pt x="218" y="204"/>
                  </a:lnTo>
                  <a:lnTo>
                    <a:pt x="214" y="204"/>
                  </a:lnTo>
                  <a:lnTo>
                    <a:pt x="214" y="204"/>
                  </a:lnTo>
                  <a:lnTo>
                    <a:pt x="214" y="204"/>
                  </a:lnTo>
                  <a:lnTo>
                    <a:pt x="214" y="204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4" y="202"/>
                  </a:lnTo>
                  <a:lnTo>
                    <a:pt x="211" y="202"/>
                  </a:lnTo>
                  <a:lnTo>
                    <a:pt x="211" y="204"/>
                  </a:lnTo>
                  <a:lnTo>
                    <a:pt x="202" y="202"/>
                  </a:lnTo>
                  <a:lnTo>
                    <a:pt x="205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5" y="202"/>
                  </a:lnTo>
                  <a:lnTo>
                    <a:pt x="207" y="202"/>
                  </a:lnTo>
                  <a:lnTo>
                    <a:pt x="209" y="202"/>
                  </a:lnTo>
                  <a:lnTo>
                    <a:pt x="209" y="200"/>
                  </a:lnTo>
                  <a:lnTo>
                    <a:pt x="209" y="200"/>
                  </a:lnTo>
                  <a:lnTo>
                    <a:pt x="211" y="200"/>
                  </a:lnTo>
                  <a:lnTo>
                    <a:pt x="211" y="200"/>
                  </a:lnTo>
                  <a:lnTo>
                    <a:pt x="211" y="200"/>
                  </a:lnTo>
                  <a:lnTo>
                    <a:pt x="211" y="200"/>
                  </a:lnTo>
                  <a:lnTo>
                    <a:pt x="211" y="200"/>
                  </a:lnTo>
                  <a:lnTo>
                    <a:pt x="211" y="198"/>
                  </a:lnTo>
                  <a:lnTo>
                    <a:pt x="211" y="198"/>
                  </a:lnTo>
                  <a:lnTo>
                    <a:pt x="211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6" y="198"/>
                  </a:lnTo>
                  <a:lnTo>
                    <a:pt x="216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14" y="198"/>
                  </a:lnTo>
                  <a:lnTo>
                    <a:pt x="209" y="198"/>
                  </a:lnTo>
                  <a:lnTo>
                    <a:pt x="209" y="198"/>
                  </a:lnTo>
                  <a:lnTo>
                    <a:pt x="209" y="200"/>
                  </a:lnTo>
                  <a:lnTo>
                    <a:pt x="209" y="200"/>
                  </a:lnTo>
                  <a:lnTo>
                    <a:pt x="209" y="200"/>
                  </a:lnTo>
                  <a:lnTo>
                    <a:pt x="209" y="200"/>
                  </a:lnTo>
                  <a:lnTo>
                    <a:pt x="209" y="200"/>
                  </a:lnTo>
                  <a:lnTo>
                    <a:pt x="205" y="200"/>
                  </a:lnTo>
                  <a:lnTo>
                    <a:pt x="205" y="200"/>
                  </a:lnTo>
                  <a:lnTo>
                    <a:pt x="205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2"/>
                  </a:lnTo>
                  <a:lnTo>
                    <a:pt x="202" y="200"/>
                  </a:lnTo>
                  <a:lnTo>
                    <a:pt x="205" y="200"/>
                  </a:lnTo>
                  <a:lnTo>
                    <a:pt x="205" y="200"/>
                  </a:lnTo>
                  <a:lnTo>
                    <a:pt x="205" y="200"/>
                  </a:lnTo>
                  <a:lnTo>
                    <a:pt x="205" y="200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8"/>
                  </a:lnTo>
                  <a:lnTo>
                    <a:pt x="205" y="195"/>
                  </a:lnTo>
                  <a:lnTo>
                    <a:pt x="205" y="195"/>
                  </a:lnTo>
                  <a:lnTo>
                    <a:pt x="205" y="195"/>
                  </a:lnTo>
                  <a:lnTo>
                    <a:pt x="205" y="195"/>
                  </a:lnTo>
                  <a:lnTo>
                    <a:pt x="200" y="195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2" y="193"/>
                  </a:lnTo>
                  <a:lnTo>
                    <a:pt x="202" y="193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2" y="193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2" y="191"/>
                  </a:lnTo>
                  <a:lnTo>
                    <a:pt x="202" y="191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1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0" y="193"/>
                  </a:lnTo>
                  <a:lnTo>
                    <a:pt x="200" y="195"/>
                  </a:lnTo>
                  <a:lnTo>
                    <a:pt x="200" y="195"/>
                  </a:lnTo>
                  <a:lnTo>
                    <a:pt x="202" y="195"/>
                  </a:lnTo>
                  <a:lnTo>
                    <a:pt x="202" y="195"/>
                  </a:lnTo>
                  <a:lnTo>
                    <a:pt x="202" y="198"/>
                  </a:lnTo>
                  <a:lnTo>
                    <a:pt x="202" y="198"/>
                  </a:lnTo>
                  <a:lnTo>
                    <a:pt x="202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2" y="200"/>
                  </a:lnTo>
                  <a:lnTo>
                    <a:pt x="200" y="202"/>
                  </a:lnTo>
                  <a:lnTo>
                    <a:pt x="198" y="202"/>
                  </a:lnTo>
                  <a:lnTo>
                    <a:pt x="198" y="202"/>
                  </a:lnTo>
                  <a:lnTo>
                    <a:pt x="196" y="202"/>
                  </a:lnTo>
                  <a:lnTo>
                    <a:pt x="196" y="202"/>
                  </a:lnTo>
                  <a:lnTo>
                    <a:pt x="193" y="202"/>
                  </a:lnTo>
                  <a:lnTo>
                    <a:pt x="196" y="202"/>
                  </a:lnTo>
                  <a:lnTo>
                    <a:pt x="196" y="202"/>
                  </a:lnTo>
                  <a:lnTo>
                    <a:pt x="196" y="202"/>
                  </a:lnTo>
                  <a:lnTo>
                    <a:pt x="196" y="202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3" y="204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3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2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1" y="204"/>
                  </a:lnTo>
                  <a:lnTo>
                    <a:pt x="193" y="204"/>
                  </a:lnTo>
                  <a:lnTo>
                    <a:pt x="193" y="207"/>
                  </a:lnTo>
                  <a:lnTo>
                    <a:pt x="193" y="207"/>
                  </a:lnTo>
                  <a:lnTo>
                    <a:pt x="193" y="207"/>
                  </a:lnTo>
                  <a:lnTo>
                    <a:pt x="193" y="207"/>
                  </a:lnTo>
                  <a:lnTo>
                    <a:pt x="191" y="207"/>
                  </a:lnTo>
                  <a:lnTo>
                    <a:pt x="191" y="207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89" y="209"/>
                  </a:lnTo>
                  <a:lnTo>
                    <a:pt x="187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4" y="209"/>
                  </a:lnTo>
                  <a:lnTo>
                    <a:pt x="182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80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8" y="209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75" y="209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7"/>
                  </a:lnTo>
                  <a:lnTo>
                    <a:pt x="171" y="209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3" y="209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9" y="209"/>
                  </a:lnTo>
                  <a:lnTo>
                    <a:pt x="166" y="209"/>
                  </a:lnTo>
                  <a:lnTo>
                    <a:pt x="166" y="207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9" y="204"/>
                  </a:lnTo>
                  <a:lnTo>
                    <a:pt x="169" y="204"/>
                  </a:lnTo>
                  <a:lnTo>
                    <a:pt x="169" y="204"/>
                  </a:lnTo>
                  <a:lnTo>
                    <a:pt x="169" y="204"/>
                  </a:lnTo>
                  <a:lnTo>
                    <a:pt x="166" y="204"/>
                  </a:lnTo>
                  <a:lnTo>
                    <a:pt x="166" y="204"/>
                  </a:lnTo>
                  <a:lnTo>
                    <a:pt x="164" y="204"/>
                  </a:lnTo>
                  <a:lnTo>
                    <a:pt x="164" y="204"/>
                  </a:lnTo>
                  <a:lnTo>
                    <a:pt x="164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6" y="202"/>
                  </a:lnTo>
                  <a:lnTo>
                    <a:pt x="169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71" y="202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202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73" y="200"/>
                  </a:lnTo>
                  <a:lnTo>
                    <a:pt x="175" y="200"/>
                  </a:lnTo>
                  <a:lnTo>
                    <a:pt x="175" y="200"/>
                  </a:lnTo>
                  <a:lnTo>
                    <a:pt x="182" y="200"/>
                  </a:lnTo>
                  <a:lnTo>
                    <a:pt x="187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91" y="193"/>
                  </a:lnTo>
                  <a:lnTo>
                    <a:pt x="189" y="193"/>
                  </a:lnTo>
                  <a:lnTo>
                    <a:pt x="189" y="193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9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7" y="198"/>
                  </a:lnTo>
                  <a:lnTo>
                    <a:pt x="184" y="198"/>
                  </a:lnTo>
                  <a:lnTo>
                    <a:pt x="184" y="198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82" y="198"/>
                  </a:lnTo>
                  <a:lnTo>
                    <a:pt x="175" y="198"/>
                  </a:lnTo>
                  <a:lnTo>
                    <a:pt x="173" y="198"/>
                  </a:lnTo>
                  <a:lnTo>
                    <a:pt x="171" y="198"/>
                  </a:lnTo>
                  <a:lnTo>
                    <a:pt x="171" y="198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3" y="198"/>
                  </a:lnTo>
                  <a:lnTo>
                    <a:pt x="173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78" y="195"/>
                  </a:lnTo>
                  <a:lnTo>
                    <a:pt x="178" y="195"/>
                  </a:lnTo>
                  <a:lnTo>
                    <a:pt x="175" y="195"/>
                  </a:lnTo>
                  <a:lnTo>
                    <a:pt x="175" y="195"/>
                  </a:lnTo>
                  <a:lnTo>
                    <a:pt x="180" y="195"/>
                  </a:lnTo>
                  <a:lnTo>
                    <a:pt x="182" y="193"/>
                  </a:lnTo>
                  <a:lnTo>
                    <a:pt x="182" y="193"/>
                  </a:lnTo>
                  <a:lnTo>
                    <a:pt x="182" y="193"/>
                  </a:lnTo>
                  <a:lnTo>
                    <a:pt x="184" y="193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7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4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9" y="191"/>
                  </a:lnTo>
                  <a:lnTo>
                    <a:pt x="189" y="191"/>
                  </a:lnTo>
                  <a:lnTo>
                    <a:pt x="189" y="191"/>
                  </a:lnTo>
                  <a:lnTo>
                    <a:pt x="189" y="191"/>
                  </a:lnTo>
                  <a:lnTo>
                    <a:pt x="187" y="191"/>
                  </a:lnTo>
                  <a:lnTo>
                    <a:pt x="187" y="189"/>
                  </a:lnTo>
                  <a:lnTo>
                    <a:pt x="184" y="189"/>
                  </a:lnTo>
                  <a:lnTo>
                    <a:pt x="187" y="189"/>
                  </a:lnTo>
                  <a:lnTo>
                    <a:pt x="187" y="189"/>
                  </a:lnTo>
                  <a:lnTo>
                    <a:pt x="187" y="189"/>
                  </a:lnTo>
                  <a:lnTo>
                    <a:pt x="187" y="189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2" y="189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2" y="191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2" y="189"/>
                  </a:lnTo>
                  <a:lnTo>
                    <a:pt x="182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2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5" y="189"/>
                  </a:lnTo>
                  <a:lnTo>
                    <a:pt x="175" y="189"/>
                  </a:lnTo>
                  <a:lnTo>
                    <a:pt x="178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0" y="186"/>
                  </a:lnTo>
                  <a:lnTo>
                    <a:pt x="182" y="186"/>
                  </a:lnTo>
                  <a:lnTo>
                    <a:pt x="182" y="186"/>
                  </a:lnTo>
                  <a:lnTo>
                    <a:pt x="184" y="186"/>
                  </a:lnTo>
                  <a:lnTo>
                    <a:pt x="187" y="189"/>
                  </a:lnTo>
                  <a:lnTo>
                    <a:pt x="189" y="189"/>
                  </a:lnTo>
                  <a:lnTo>
                    <a:pt x="191" y="189"/>
                  </a:lnTo>
                  <a:lnTo>
                    <a:pt x="191" y="189"/>
                  </a:lnTo>
                  <a:lnTo>
                    <a:pt x="191" y="189"/>
                  </a:lnTo>
                  <a:lnTo>
                    <a:pt x="193" y="186"/>
                  </a:lnTo>
                  <a:lnTo>
                    <a:pt x="196" y="189"/>
                  </a:lnTo>
                  <a:lnTo>
                    <a:pt x="196" y="189"/>
                  </a:lnTo>
                  <a:lnTo>
                    <a:pt x="196" y="189"/>
                  </a:lnTo>
                  <a:lnTo>
                    <a:pt x="196" y="189"/>
                  </a:lnTo>
                  <a:lnTo>
                    <a:pt x="193" y="186"/>
                  </a:lnTo>
                  <a:lnTo>
                    <a:pt x="193" y="186"/>
                  </a:lnTo>
                  <a:lnTo>
                    <a:pt x="191" y="186"/>
                  </a:lnTo>
                  <a:lnTo>
                    <a:pt x="189" y="186"/>
                  </a:lnTo>
                  <a:lnTo>
                    <a:pt x="189" y="186"/>
                  </a:lnTo>
                  <a:lnTo>
                    <a:pt x="189" y="186"/>
                  </a:lnTo>
                  <a:lnTo>
                    <a:pt x="189" y="186"/>
                  </a:lnTo>
                  <a:lnTo>
                    <a:pt x="187" y="186"/>
                  </a:lnTo>
                  <a:lnTo>
                    <a:pt x="189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7" y="186"/>
                  </a:lnTo>
                  <a:lnTo>
                    <a:pt x="189" y="186"/>
                  </a:lnTo>
                  <a:lnTo>
                    <a:pt x="189" y="186"/>
                  </a:lnTo>
                  <a:lnTo>
                    <a:pt x="189" y="186"/>
                  </a:lnTo>
                  <a:lnTo>
                    <a:pt x="191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1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0"/>
                  </a:lnTo>
                  <a:lnTo>
                    <a:pt x="196" y="180"/>
                  </a:lnTo>
                  <a:lnTo>
                    <a:pt x="196" y="180"/>
                  </a:lnTo>
                  <a:lnTo>
                    <a:pt x="196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3" y="177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9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7" y="177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9" y="175"/>
                  </a:lnTo>
                  <a:lnTo>
                    <a:pt x="189" y="175"/>
                  </a:lnTo>
                  <a:lnTo>
                    <a:pt x="189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87" y="175"/>
                  </a:lnTo>
                  <a:lnTo>
                    <a:pt x="191" y="175"/>
                  </a:lnTo>
                  <a:lnTo>
                    <a:pt x="191" y="175"/>
                  </a:lnTo>
                  <a:lnTo>
                    <a:pt x="191" y="173"/>
                  </a:lnTo>
                  <a:lnTo>
                    <a:pt x="191" y="173"/>
                  </a:lnTo>
                  <a:lnTo>
                    <a:pt x="191" y="173"/>
                  </a:lnTo>
                  <a:lnTo>
                    <a:pt x="191" y="173"/>
                  </a:lnTo>
                  <a:lnTo>
                    <a:pt x="191" y="173"/>
                  </a:lnTo>
                  <a:lnTo>
                    <a:pt x="191" y="173"/>
                  </a:lnTo>
                  <a:lnTo>
                    <a:pt x="189" y="173"/>
                  </a:lnTo>
                  <a:lnTo>
                    <a:pt x="187" y="173"/>
                  </a:lnTo>
                  <a:lnTo>
                    <a:pt x="187" y="173"/>
                  </a:lnTo>
                  <a:lnTo>
                    <a:pt x="189" y="173"/>
                  </a:lnTo>
                  <a:lnTo>
                    <a:pt x="189" y="173"/>
                  </a:lnTo>
                  <a:lnTo>
                    <a:pt x="189" y="173"/>
                  </a:lnTo>
                  <a:lnTo>
                    <a:pt x="189" y="173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8"/>
                  </a:lnTo>
                  <a:lnTo>
                    <a:pt x="189" y="166"/>
                  </a:lnTo>
                  <a:lnTo>
                    <a:pt x="189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7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2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91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9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9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9" y="159"/>
                  </a:lnTo>
                  <a:lnTo>
                    <a:pt x="189" y="159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4" y="157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7" y="157"/>
                  </a:lnTo>
                  <a:lnTo>
                    <a:pt x="184" y="157"/>
                  </a:lnTo>
                  <a:lnTo>
                    <a:pt x="184" y="157"/>
                  </a:lnTo>
                  <a:lnTo>
                    <a:pt x="184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9" y="155"/>
                  </a:lnTo>
                  <a:lnTo>
                    <a:pt x="189" y="155"/>
                  </a:lnTo>
                  <a:lnTo>
                    <a:pt x="189" y="155"/>
                  </a:lnTo>
                  <a:lnTo>
                    <a:pt x="189" y="155"/>
                  </a:lnTo>
                  <a:lnTo>
                    <a:pt x="189" y="155"/>
                  </a:lnTo>
                  <a:lnTo>
                    <a:pt x="189" y="155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7" y="155"/>
                  </a:lnTo>
                  <a:lnTo>
                    <a:pt x="182" y="155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1" y="157"/>
                  </a:lnTo>
                  <a:lnTo>
                    <a:pt x="173" y="155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5" y="155"/>
                  </a:lnTo>
                  <a:lnTo>
                    <a:pt x="175" y="155"/>
                  </a:lnTo>
                  <a:lnTo>
                    <a:pt x="178" y="155"/>
                  </a:lnTo>
                  <a:lnTo>
                    <a:pt x="180" y="155"/>
                  </a:lnTo>
                  <a:lnTo>
                    <a:pt x="180" y="155"/>
                  </a:lnTo>
                  <a:lnTo>
                    <a:pt x="180" y="155"/>
                  </a:lnTo>
                  <a:lnTo>
                    <a:pt x="180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7" y="153"/>
                  </a:lnTo>
                  <a:lnTo>
                    <a:pt x="187" y="153"/>
                  </a:lnTo>
                  <a:lnTo>
                    <a:pt x="187" y="153"/>
                  </a:lnTo>
                  <a:lnTo>
                    <a:pt x="182" y="153"/>
                  </a:lnTo>
                  <a:lnTo>
                    <a:pt x="184" y="153"/>
                  </a:lnTo>
                  <a:lnTo>
                    <a:pt x="184" y="153"/>
                  </a:lnTo>
                  <a:lnTo>
                    <a:pt x="182" y="153"/>
                  </a:lnTo>
                  <a:lnTo>
                    <a:pt x="182" y="153"/>
                  </a:lnTo>
                  <a:lnTo>
                    <a:pt x="182" y="153"/>
                  </a:lnTo>
                  <a:lnTo>
                    <a:pt x="182" y="153"/>
                  </a:lnTo>
                  <a:lnTo>
                    <a:pt x="182" y="153"/>
                  </a:lnTo>
                  <a:lnTo>
                    <a:pt x="184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91" y="150"/>
                  </a:lnTo>
                  <a:lnTo>
                    <a:pt x="191" y="150"/>
                  </a:lnTo>
                  <a:lnTo>
                    <a:pt x="189" y="150"/>
                  </a:lnTo>
                  <a:lnTo>
                    <a:pt x="189" y="150"/>
                  </a:lnTo>
                  <a:lnTo>
                    <a:pt x="184" y="150"/>
                  </a:lnTo>
                  <a:lnTo>
                    <a:pt x="184" y="150"/>
                  </a:lnTo>
                  <a:lnTo>
                    <a:pt x="184" y="150"/>
                  </a:lnTo>
                  <a:lnTo>
                    <a:pt x="184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82" y="150"/>
                  </a:lnTo>
                  <a:lnTo>
                    <a:pt x="184" y="150"/>
                  </a:lnTo>
                  <a:lnTo>
                    <a:pt x="189" y="150"/>
                  </a:lnTo>
                  <a:lnTo>
                    <a:pt x="191" y="150"/>
                  </a:lnTo>
                  <a:lnTo>
                    <a:pt x="191" y="150"/>
                  </a:lnTo>
                  <a:lnTo>
                    <a:pt x="189" y="150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89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7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0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1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0" y="141"/>
                  </a:lnTo>
                  <a:lnTo>
                    <a:pt x="180" y="141"/>
                  </a:lnTo>
                  <a:lnTo>
                    <a:pt x="180" y="141"/>
                  </a:lnTo>
                  <a:lnTo>
                    <a:pt x="180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5" y="139"/>
                  </a:lnTo>
                  <a:lnTo>
                    <a:pt x="175" y="139"/>
                  </a:lnTo>
                  <a:lnTo>
                    <a:pt x="173" y="139"/>
                  </a:lnTo>
                  <a:lnTo>
                    <a:pt x="173" y="139"/>
                  </a:lnTo>
                  <a:lnTo>
                    <a:pt x="173" y="139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69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3" y="137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71" y="135"/>
                  </a:lnTo>
                  <a:lnTo>
                    <a:pt x="169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6" y="135"/>
                  </a:lnTo>
                  <a:lnTo>
                    <a:pt x="164" y="135"/>
                  </a:lnTo>
                  <a:lnTo>
                    <a:pt x="164" y="132"/>
                  </a:lnTo>
                  <a:lnTo>
                    <a:pt x="166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71" y="132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3" y="130"/>
                  </a:lnTo>
                  <a:lnTo>
                    <a:pt x="173" y="130"/>
                  </a:lnTo>
                  <a:lnTo>
                    <a:pt x="171" y="130"/>
                  </a:lnTo>
                  <a:lnTo>
                    <a:pt x="171" y="130"/>
                  </a:lnTo>
                  <a:lnTo>
                    <a:pt x="171" y="130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6"/>
                  </a:lnTo>
                  <a:lnTo>
                    <a:pt x="169" y="126"/>
                  </a:lnTo>
                  <a:lnTo>
                    <a:pt x="169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2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60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7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3" y="123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3"/>
                  </a:lnTo>
                  <a:lnTo>
                    <a:pt x="153" y="123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53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1"/>
                  </a:lnTo>
                  <a:lnTo>
                    <a:pt x="146" y="121"/>
                  </a:lnTo>
                  <a:lnTo>
                    <a:pt x="146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21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4" y="119"/>
                  </a:lnTo>
                  <a:lnTo>
                    <a:pt x="142" y="119"/>
                  </a:lnTo>
                  <a:lnTo>
                    <a:pt x="142" y="119"/>
                  </a:lnTo>
                  <a:lnTo>
                    <a:pt x="139" y="119"/>
                  </a:lnTo>
                  <a:lnTo>
                    <a:pt x="137" y="119"/>
                  </a:lnTo>
                  <a:lnTo>
                    <a:pt x="137" y="119"/>
                  </a:lnTo>
                  <a:lnTo>
                    <a:pt x="135" y="119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7" y="117"/>
                  </a:lnTo>
                  <a:lnTo>
                    <a:pt x="115" y="117"/>
                  </a:lnTo>
                  <a:lnTo>
                    <a:pt x="115" y="114"/>
                  </a:lnTo>
                  <a:lnTo>
                    <a:pt x="115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6" y="117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6" y="119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19"/>
                  </a:lnTo>
                  <a:lnTo>
                    <a:pt x="99" y="119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99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99" y="114"/>
                  </a:lnTo>
                  <a:lnTo>
                    <a:pt x="97" y="114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17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90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5" y="119"/>
                  </a:lnTo>
                  <a:lnTo>
                    <a:pt x="85" y="119"/>
                  </a:lnTo>
                  <a:lnTo>
                    <a:pt x="85" y="119"/>
                  </a:lnTo>
                  <a:lnTo>
                    <a:pt x="85" y="119"/>
                  </a:lnTo>
                  <a:lnTo>
                    <a:pt x="85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5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81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6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9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81" y="117"/>
                  </a:lnTo>
                  <a:lnTo>
                    <a:pt x="81" y="117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0" y="119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21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5" y="119"/>
                  </a:lnTo>
                  <a:lnTo>
                    <a:pt x="65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59" y="121"/>
                  </a:lnTo>
                  <a:lnTo>
                    <a:pt x="56" y="123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4" y="119"/>
                  </a:lnTo>
                  <a:lnTo>
                    <a:pt x="36" y="119"/>
                  </a:lnTo>
                  <a:lnTo>
                    <a:pt x="36" y="119"/>
                  </a:lnTo>
                  <a:lnTo>
                    <a:pt x="34" y="119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38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41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47" y="110"/>
                  </a:lnTo>
                  <a:lnTo>
                    <a:pt x="41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4" y="110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5" y="108"/>
                  </a:lnTo>
                  <a:lnTo>
                    <a:pt x="25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32" y="105"/>
                  </a:lnTo>
                  <a:lnTo>
                    <a:pt x="34" y="105"/>
                  </a:lnTo>
                  <a:lnTo>
                    <a:pt x="34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2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7" y="105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18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8" y="101"/>
                  </a:lnTo>
                  <a:lnTo>
                    <a:pt x="20" y="101"/>
                  </a:lnTo>
                  <a:lnTo>
                    <a:pt x="23" y="101"/>
                  </a:lnTo>
                  <a:lnTo>
                    <a:pt x="23" y="101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50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63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4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3" y="101"/>
                  </a:lnTo>
                  <a:lnTo>
                    <a:pt x="85" y="101"/>
                  </a:lnTo>
                  <a:lnTo>
                    <a:pt x="85" y="101"/>
                  </a:lnTo>
                  <a:lnTo>
                    <a:pt x="79" y="101"/>
                  </a:lnTo>
                  <a:lnTo>
                    <a:pt x="61" y="101"/>
                  </a:lnTo>
                  <a:lnTo>
                    <a:pt x="59" y="101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59" y="96"/>
                  </a:lnTo>
                  <a:lnTo>
                    <a:pt x="70" y="96"/>
                  </a:lnTo>
                  <a:lnTo>
                    <a:pt x="79" y="96"/>
                  </a:lnTo>
                  <a:lnTo>
                    <a:pt x="81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1" y="96"/>
                  </a:lnTo>
                  <a:lnTo>
                    <a:pt x="83" y="96"/>
                  </a:lnTo>
                  <a:lnTo>
                    <a:pt x="88" y="96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4"/>
                  </a:lnTo>
                  <a:lnTo>
                    <a:pt x="90" y="92"/>
                  </a:lnTo>
                  <a:lnTo>
                    <a:pt x="88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3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0" y="94"/>
                  </a:lnTo>
                  <a:lnTo>
                    <a:pt x="61" y="94"/>
                  </a:lnTo>
                  <a:lnTo>
                    <a:pt x="59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59" y="94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6" y="92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47" y="96"/>
                  </a:lnTo>
                  <a:lnTo>
                    <a:pt x="36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3" y="92"/>
                  </a:lnTo>
                  <a:lnTo>
                    <a:pt x="45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50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2"/>
                  </a:lnTo>
                  <a:lnTo>
                    <a:pt x="45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38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4" y="90"/>
                  </a:lnTo>
                  <a:lnTo>
                    <a:pt x="32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7" y="90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0" y="90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0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4" y="81"/>
                  </a:lnTo>
                  <a:lnTo>
                    <a:pt x="11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8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27" y="76"/>
                  </a:lnTo>
                  <a:lnTo>
                    <a:pt x="34" y="76"/>
                  </a:lnTo>
                  <a:lnTo>
                    <a:pt x="38" y="76"/>
                  </a:lnTo>
                  <a:lnTo>
                    <a:pt x="41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50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6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6" y="74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2" y="72"/>
                  </a:lnTo>
                  <a:lnTo>
                    <a:pt x="72" y="69"/>
                  </a:lnTo>
                  <a:lnTo>
                    <a:pt x="70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4" y="69"/>
                  </a:lnTo>
                  <a:lnTo>
                    <a:pt x="88" y="67"/>
                  </a:lnTo>
                  <a:lnTo>
                    <a:pt x="92" y="69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4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9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99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6" y="67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0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5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19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6" y="65"/>
                  </a:lnTo>
                  <a:lnTo>
                    <a:pt x="126" y="65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8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0"/>
                  </a:lnTo>
                  <a:lnTo>
                    <a:pt x="135" y="60"/>
                  </a:lnTo>
                  <a:lnTo>
                    <a:pt x="137" y="60"/>
                  </a:lnTo>
                  <a:lnTo>
                    <a:pt x="137" y="60"/>
                  </a:lnTo>
                  <a:lnTo>
                    <a:pt x="137" y="60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9" y="58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7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6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39" y="54"/>
                  </a:lnTo>
                  <a:lnTo>
                    <a:pt x="142" y="54"/>
                  </a:lnTo>
                  <a:lnTo>
                    <a:pt x="142" y="54"/>
                  </a:lnTo>
                  <a:lnTo>
                    <a:pt x="142" y="54"/>
                  </a:lnTo>
                  <a:lnTo>
                    <a:pt x="142" y="54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53" y="51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7" y="49"/>
                  </a:lnTo>
                  <a:lnTo>
                    <a:pt x="160" y="49"/>
                  </a:lnTo>
                  <a:lnTo>
                    <a:pt x="160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7" y="49"/>
                  </a:lnTo>
                  <a:lnTo>
                    <a:pt x="157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53" y="49"/>
                  </a:lnTo>
                  <a:lnTo>
                    <a:pt x="151" y="51"/>
                  </a:lnTo>
                  <a:lnTo>
                    <a:pt x="144" y="51"/>
                  </a:lnTo>
                  <a:lnTo>
                    <a:pt x="139" y="51"/>
                  </a:lnTo>
                  <a:lnTo>
                    <a:pt x="137" y="51"/>
                  </a:lnTo>
                  <a:lnTo>
                    <a:pt x="130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49"/>
                  </a:lnTo>
                  <a:lnTo>
                    <a:pt x="126" y="49"/>
                  </a:lnTo>
                  <a:lnTo>
                    <a:pt x="124" y="51"/>
                  </a:lnTo>
                  <a:lnTo>
                    <a:pt x="124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51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7" y="49"/>
                  </a:lnTo>
                  <a:lnTo>
                    <a:pt x="115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7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21" y="45"/>
                  </a:lnTo>
                  <a:lnTo>
                    <a:pt x="124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44" y="42"/>
                  </a:lnTo>
                  <a:lnTo>
                    <a:pt x="146" y="42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51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38"/>
                  </a:lnTo>
                  <a:lnTo>
                    <a:pt x="155" y="38"/>
                  </a:lnTo>
                  <a:lnTo>
                    <a:pt x="153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2" y="36"/>
                  </a:lnTo>
                  <a:lnTo>
                    <a:pt x="164" y="36"/>
                  </a:lnTo>
                  <a:lnTo>
                    <a:pt x="166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5" y="33"/>
                  </a:lnTo>
                  <a:lnTo>
                    <a:pt x="175" y="33"/>
                  </a:lnTo>
                  <a:lnTo>
                    <a:pt x="175" y="33"/>
                  </a:lnTo>
                  <a:lnTo>
                    <a:pt x="175" y="33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78" y="38"/>
                  </a:lnTo>
                  <a:lnTo>
                    <a:pt x="178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40"/>
                  </a:lnTo>
                  <a:lnTo>
                    <a:pt x="180" y="40"/>
                  </a:lnTo>
                  <a:lnTo>
                    <a:pt x="180" y="40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2" y="40"/>
                  </a:lnTo>
                  <a:lnTo>
                    <a:pt x="180" y="40"/>
                  </a:lnTo>
                  <a:lnTo>
                    <a:pt x="180" y="40"/>
                  </a:lnTo>
                  <a:lnTo>
                    <a:pt x="182" y="40"/>
                  </a:lnTo>
                  <a:lnTo>
                    <a:pt x="180" y="40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80" y="38"/>
                  </a:lnTo>
                  <a:lnTo>
                    <a:pt x="178" y="38"/>
                  </a:lnTo>
                  <a:lnTo>
                    <a:pt x="178" y="36"/>
                  </a:lnTo>
                  <a:lnTo>
                    <a:pt x="178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6"/>
                  </a:lnTo>
                  <a:lnTo>
                    <a:pt x="180" y="33"/>
                  </a:lnTo>
                  <a:lnTo>
                    <a:pt x="182" y="33"/>
                  </a:lnTo>
                  <a:lnTo>
                    <a:pt x="182" y="33"/>
                  </a:lnTo>
                  <a:lnTo>
                    <a:pt x="184" y="33"/>
                  </a:lnTo>
                  <a:lnTo>
                    <a:pt x="187" y="33"/>
                  </a:lnTo>
                  <a:lnTo>
                    <a:pt x="187" y="33"/>
                  </a:lnTo>
                  <a:lnTo>
                    <a:pt x="196" y="33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5" y="36"/>
                  </a:lnTo>
                  <a:lnTo>
                    <a:pt x="205" y="36"/>
                  </a:lnTo>
                  <a:lnTo>
                    <a:pt x="207" y="36"/>
                  </a:lnTo>
                  <a:lnTo>
                    <a:pt x="209" y="36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11" y="33"/>
                  </a:lnTo>
                  <a:lnTo>
                    <a:pt x="211" y="33"/>
                  </a:lnTo>
                  <a:lnTo>
                    <a:pt x="211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3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09" y="31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9"/>
                  </a:lnTo>
                  <a:lnTo>
                    <a:pt x="214" y="27"/>
                  </a:lnTo>
                  <a:lnTo>
                    <a:pt x="214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7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1" y="24"/>
                  </a:lnTo>
                  <a:lnTo>
                    <a:pt x="214" y="24"/>
                  </a:lnTo>
                  <a:lnTo>
                    <a:pt x="225" y="22"/>
                  </a:lnTo>
                  <a:lnTo>
                    <a:pt x="225" y="22"/>
                  </a:lnTo>
                  <a:lnTo>
                    <a:pt x="227" y="22"/>
                  </a:lnTo>
                  <a:lnTo>
                    <a:pt x="227" y="22"/>
                  </a:lnTo>
                  <a:lnTo>
                    <a:pt x="227" y="22"/>
                  </a:lnTo>
                  <a:lnTo>
                    <a:pt x="232" y="22"/>
                  </a:lnTo>
                  <a:lnTo>
                    <a:pt x="236" y="22"/>
                  </a:lnTo>
                  <a:lnTo>
                    <a:pt x="236" y="24"/>
                  </a:lnTo>
                  <a:lnTo>
                    <a:pt x="241" y="22"/>
                  </a:lnTo>
                  <a:lnTo>
                    <a:pt x="245" y="24"/>
                  </a:lnTo>
                  <a:lnTo>
                    <a:pt x="247" y="24"/>
                  </a:lnTo>
                  <a:lnTo>
                    <a:pt x="247" y="24"/>
                  </a:lnTo>
                  <a:lnTo>
                    <a:pt x="245" y="24"/>
                  </a:lnTo>
                  <a:lnTo>
                    <a:pt x="247" y="24"/>
                  </a:lnTo>
                  <a:lnTo>
                    <a:pt x="247" y="24"/>
                  </a:lnTo>
                  <a:lnTo>
                    <a:pt x="247" y="24"/>
                  </a:lnTo>
                  <a:lnTo>
                    <a:pt x="245" y="24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54" y="27"/>
                  </a:lnTo>
                  <a:lnTo>
                    <a:pt x="256" y="27"/>
                  </a:lnTo>
                  <a:lnTo>
                    <a:pt x="258" y="27"/>
                  </a:lnTo>
                  <a:lnTo>
                    <a:pt x="258" y="29"/>
                  </a:lnTo>
                  <a:lnTo>
                    <a:pt x="258" y="29"/>
                  </a:lnTo>
                  <a:lnTo>
                    <a:pt x="258" y="29"/>
                  </a:lnTo>
                  <a:lnTo>
                    <a:pt x="261" y="29"/>
                  </a:lnTo>
                  <a:lnTo>
                    <a:pt x="263" y="29"/>
                  </a:lnTo>
                  <a:lnTo>
                    <a:pt x="261" y="29"/>
                  </a:lnTo>
                  <a:lnTo>
                    <a:pt x="261" y="29"/>
                  </a:lnTo>
                  <a:lnTo>
                    <a:pt x="261" y="29"/>
                  </a:lnTo>
                  <a:lnTo>
                    <a:pt x="261" y="31"/>
                  </a:lnTo>
                  <a:lnTo>
                    <a:pt x="261" y="31"/>
                  </a:lnTo>
                  <a:lnTo>
                    <a:pt x="265" y="31"/>
                  </a:lnTo>
                  <a:lnTo>
                    <a:pt x="265" y="31"/>
                  </a:lnTo>
                  <a:lnTo>
                    <a:pt x="267" y="31"/>
                  </a:lnTo>
                  <a:lnTo>
                    <a:pt x="267" y="31"/>
                  </a:lnTo>
                  <a:lnTo>
                    <a:pt x="267" y="31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70" y="31"/>
                  </a:lnTo>
                  <a:lnTo>
                    <a:pt x="263" y="31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1" y="29"/>
                  </a:lnTo>
                  <a:lnTo>
                    <a:pt x="261" y="29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6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7"/>
                  </a:lnTo>
                  <a:lnTo>
                    <a:pt x="252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9" y="24"/>
                  </a:lnTo>
                  <a:lnTo>
                    <a:pt x="247" y="22"/>
                  </a:lnTo>
                  <a:lnTo>
                    <a:pt x="245" y="22"/>
                  </a:lnTo>
                  <a:lnTo>
                    <a:pt x="241" y="22"/>
                  </a:lnTo>
                  <a:lnTo>
                    <a:pt x="241" y="22"/>
                  </a:lnTo>
                  <a:lnTo>
                    <a:pt x="252" y="20"/>
                  </a:lnTo>
                  <a:lnTo>
                    <a:pt x="256" y="20"/>
                  </a:lnTo>
                  <a:lnTo>
                    <a:pt x="256" y="20"/>
                  </a:lnTo>
                  <a:lnTo>
                    <a:pt x="256" y="20"/>
                  </a:lnTo>
                  <a:lnTo>
                    <a:pt x="263" y="20"/>
                  </a:lnTo>
                  <a:lnTo>
                    <a:pt x="263" y="20"/>
                  </a:lnTo>
                  <a:lnTo>
                    <a:pt x="272" y="20"/>
                  </a:lnTo>
                  <a:lnTo>
                    <a:pt x="274" y="18"/>
                  </a:lnTo>
                  <a:lnTo>
                    <a:pt x="274" y="20"/>
                  </a:lnTo>
                  <a:lnTo>
                    <a:pt x="276" y="18"/>
                  </a:lnTo>
                  <a:lnTo>
                    <a:pt x="281" y="18"/>
                  </a:lnTo>
                  <a:lnTo>
                    <a:pt x="281" y="18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1" y="20"/>
                  </a:lnTo>
                  <a:lnTo>
                    <a:pt x="283" y="20"/>
                  </a:lnTo>
                  <a:lnTo>
                    <a:pt x="283" y="20"/>
                  </a:lnTo>
                  <a:lnTo>
                    <a:pt x="283" y="18"/>
                  </a:lnTo>
                  <a:lnTo>
                    <a:pt x="283" y="18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8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20"/>
                  </a:lnTo>
                  <a:lnTo>
                    <a:pt x="294" y="20"/>
                  </a:lnTo>
                  <a:lnTo>
                    <a:pt x="294" y="20"/>
                  </a:lnTo>
                  <a:lnTo>
                    <a:pt x="297" y="20"/>
                  </a:lnTo>
                  <a:lnTo>
                    <a:pt x="297" y="20"/>
                  </a:lnTo>
                  <a:lnTo>
                    <a:pt x="297" y="20"/>
                  </a:lnTo>
                  <a:lnTo>
                    <a:pt x="297" y="20"/>
                  </a:lnTo>
                  <a:lnTo>
                    <a:pt x="297" y="20"/>
                  </a:lnTo>
                  <a:lnTo>
                    <a:pt x="294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7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7" y="18"/>
                  </a:lnTo>
                  <a:lnTo>
                    <a:pt x="308" y="15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5" y="22"/>
                  </a:lnTo>
                  <a:lnTo>
                    <a:pt x="312" y="24"/>
                  </a:lnTo>
                  <a:lnTo>
                    <a:pt x="312" y="24"/>
                  </a:lnTo>
                  <a:lnTo>
                    <a:pt x="312" y="24"/>
                  </a:lnTo>
                  <a:lnTo>
                    <a:pt x="310" y="24"/>
                  </a:lnTo>
                  <a:lnTo>
                    <a:pt x="308" y="24"/>
                  </a:lnTo>
                  <a:lnTo>
                    <a:pt x="308" y="24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8" y="27"/>
                  </a:lnTo>
                  <a:lnTo>
                    <a:pt x="306" y="27"/>
                  </a:lnTo>
                  <a:lnTo>
                    <a:pt x="306" y="29"/>
                  </a:lnTo>
                  <a:lnTo>
                    <a:pt x="306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10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0" y="27"/>
                  </a:lnTo>
                  <a:lnTo>
                    <a:pt x="312" y="27"/>
                  </a:lnTo>
                  <a:lnTo>
                    <a:pt x="315" y="24"/>
                  </a:lnTo>
                  <a:lnTo>
                    <a:pt x="317" y="24"/>
                  </a:lnTo>
                  <a:lnTo>
                    <a:pt x="319" y="24"/>
                  </a:lnTo>
                  <a:lnTo>
                    <a:pt x="319" y="24"/>
                  </a:lnTo>
                  <a:lnTo>
                    <a:pt x="319" y="24"/>
                  </a:lnTo>
                  <a:lnTo>
                    <a:pt x="321" y="24"/>
                  </a:lnTo>
                  <a:lnTo>
                    <a:pt x="321" y="24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1" y="22"/>
                  </a:lnTo>
                  <a:lnTo>
                    <a:pt x="324" y="22"/>
                  </a:lnTo>
                  <a:lnTo>
                    <a:pt x="324" y="22"/>
                  </a:lnTo>
                  <a:lnTo>
                    <a:pt x="326" y="22"/>
                  </a:lnTo>
                  <a:lnTo>
                    <a:pt x="328" y="22"/>
                  </a:lnTo>
                  <a:lnTo>
                    <a:pt x="328" y="22"/>
                  </a:lnTo>
                  <a:lnTo>
                    <a:pt x="330" y="22"/>
                  </a:lnTo>
                  <a:lnTo>
                    <a:pt x="333" y="22"/>
                  </a:lnTo>
                  <a:lnTo>
                    <a:pt x="333" y="22"/>
                  </a:lnTo>
                  <a:lnTo>
                    <a:pt x="333" y="22"/>
                  </a:lnTo>
                  <a:lnTo>
                    <a:pt x="342" y="22"/>
                  </a:lnTo>
                  <a:lnTo>
                    <a:pt x="346" y="24"/>
                  </a:lnTo>
                  <a:lnTo>
                    <a:pt x="348" y="24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3" y="27"/>
                  </a:lnTo>
                  <a:lnTo>
                    <a:pt x="355" y="27"/>
                  </a:lnTo>
                  <a:lnTo>
                    <a:pt x="360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7" y="27"/>
                  </a:lnTo>
                  <a:lnTo>
                    <a:pt x="351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51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48" y="24"/>
                  </a:lnTo>
                  <a:lnTo>
                    <a:pt x="346" y="24"/>
                  </a:lnTo>
                  <a:lnTo>
                    <a:pt x="344" y="22"/>
                  </a:lnTo>
                  <a:lnTo>
                    <a:pt x="346" y="22"/>
                  </a:lnTo>
                  <a:lnTo>
                    <a:pt x="360" y="24"/>
                  </a:lnTo>
                  <a:lnTo>
                    <a:pt x="362" y="24"/>
                  </a:lnTo>
                  <a:lnTo>
                    <a:pt x="362" y="24"/>
                  </a:lnTo>
                  <a:lnTo>
                    <a:pt x="364" y="22"/>
                  </a:lnTo>
                  <a:lnTo>
                    <a:pt x="366" y="22"/>
                  </a:lnTo>
                  <a:lnTo>
                    <a:pt x="366" y="22"/>
                  </a:lnTo>
                  <a:lnTo>
                    <a:pt x="353" y="20"/>
                  </a:lnTo>
                  <a:lnTo>
                    <a:pt x="353" y="18"/>
                  </a:lnTo>
                  <a:lnTo>
                    <a:pt x="353" y="18"/>
                  </a:lnTo>
                  <a:lnTo>
                    <a:pt x="353" y="18"/>
                  </a:lnTo>
                  <a:lnTo>
                    <a:pt x="353" y="18"/>
                  </a:lnTo>
                  <a:lnTo>
                    <a:pt x="353" y="18"/>
                  </a:lnTo>
                  <a:lnTo>
                    <a:pt x="353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375" y="15"/>
                  </a:lnTo>
                  <a:lnTo>
                    <a:pt x="378" y="15"/>
                  </a:lnTo>
                  <a:lnTo>
                    <a:pt x="378" y="15"/>
                  </a:lnTo>
                  <a:lnTo>
                    <a:pt x="380" y="18"/>
                  </a:lnTo>
                  <a:lnTo>
                    <a:pt x="391" y="18"/>
                  </a:lnTo>
                  <a:lnTo>
                    <a:pt x="391" y="18"/>
                  </a:lnTo>
                  <a:lnTo>
                    <a:pt x="391" y="18"/>
                  </a:lnTo>
                  <a:lnTo>
                    <a:pt x="391" y="18"/>
                  </a:lnTo>
                  <a:lnTo>
                    <a:pt x="391" y="20"/>
                  </a:lnTo>
                  <a:lnTo>
                    <a:pt x="391" y="20"/>
                  </a:lnTo>
                  <a:lnTo>
                    <a:pt x="391" y="20"/>
                  </a:lnTo>
                  <a:lnTo>
                    <a:pt x="396" y="20"/>
                  </a:lnTo>
                  <a:lnTo>
                    <a:pt x="409" y="22"/>
                  </a:lnTo>
                  <a:lnTo>
                    <a:pt x="411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09" y="22"/>
                  </a:lnTo>
                  <a:lnTo>
                    <a:pt x="416" y="24"/>
                  </a:lnTo>
                  <a:lnTo>
                    <a:pt x="416" y="24"/>
                  </a:lnTo>
                  <a:lnTo>
                    <a:pt x="416" y="24"/>
                  </a:lnTo>
                  <a:lnTo>
                    <a:pt x="416" y="24"/>
                  </a:lnTo>
                  <a:lnTo>
                    <a:pt x="416" y="24"/>
                  </a:lnTo>
                  <a:lnTo>
                    <a:pt x="418" y="24"/>
                  </a:lnTo>
                  <a:lnTo>
                    <a:pt x="418" y="24"/>
                  </a:lnTo>
                  <a:lnTo>
                    <a:pt x="418" y="24"/>
                  </a:lnTo>
                  <a:lnTo>
                    <a:pt x="422" y="24"/>
                  </a:lnTo>
                  <a:lnTo>
                    <a:pt x="425" y="24"/>
                  </a:lnTo>
                  <a:lnTo>
                    <a:pt x="425" y="24"/>
                  </a:lnTo>
                  <a:lnTo>
                    <a:pt x="425" y="24"/>
                  </a:lnTo>
                  <a:lnTo>
                    <a:pt x="425" y="24"/>
                  </a:lnTo>
                  <a:lnTo>
                    <a:pt x="425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31" y="24"/>
                  </a:lnTo>
                  <a:lnTo>
                    <a:pt x="431" y="24"/>
                  </a:lnTo>
                  <a:lnTo>
                    <a:pt x="431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4"/>
                  </a:lnTo>
                  <a:lnTo>
                    <a:pt x="429" y="22"/>
                  </a:lnTo>
                  <a:lnTo>
                    <a:pt x="427" y="24"/>
                  </a:lnTo>
                  <a:lnTo>
                    <a:pt x="427" y="22"/>
                  </a:lnTo>
                  <a:lnTo>
                    <a:pt x="427" y="22"/>
                  </a:lnTo>
                  <a:lnTo>
                    <a:pt x="427" y="22"/>
                  </a:lnTo>
                  <a:lnTo>
                    <a:pt x="427" y="22"/>
                  </a:lnTo>
                  <a:lnTo>
                    <a:pt x="427" y="22"/>
                  </a:lnTo>
                  <a:lnTo>
                    <a:pt x="425" y="22"/>
                  </a:lnTo>
                  <a:lnTo>
                    <a:pt x="425" y="22"/>
                  </a:lnTo>
                  <a:lnTo>
                    <a:pt x="425" y="22"/>
                  </a:lnTo>
                  <a:lnTo>
                    <a:pt x="427" y="22"/>
                  </a:lnTo>
                  <a:lnTo>
                    <a:pt x="427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9" y="22"/>
                  </a:lnTo>
                  <a:lnTo>
                    <a:pt x="422" y="22"/>
                  </a:lnTo>
                  <a:lnTo>
                    <a:pt x="422" y="22"/>
                  </a:lnTo>
                  <a:lnTo>
                    <a:pt x="422" y="22"/>
                  </a:lnTo>
                  <a:lnTo>
                    <a:pt x="422" y="22"/>
                  </a:lnTo>
                  <a:lnTo>
                    <a:pt x="422" y="22"/>
                  </a:lnTo>
                  <a:lnTo>
                    <a:pt x="422" y="22"/>
                  </a:lnTo>
                  <a:lnTo>
                    <a:pt x="427" y="22"/>
                  </a:lnTo>
                  <a:lnTo>
                    <a:pt x="431" y="20"/>
                  </a:lnTo>
                  <a:lnTo>
                    <a:pt x="429" y="20"/>
                  </a:lnTo>
                  <a:lnTo>
                    <a:pt x="429" y="20"/>
                  </a:lnTo>
                  <a:lnTo>
                    <a:pt x="429" y="20"/>
                  </a:lnTo>
                  <a:lnTo>
                    <a:pt x="427" y="20"/>
                  </a:lnTo>
                  <a:lnTo>
                    <a:pt x="427" y="20"/>
                  </a:lnTo>
                  <a:lnTo>
                    <a:pt x="427" y="20"/>
                  </a:lnTo>
                  <a:lnTo>
                    <a:pt x="429" y="18"/>
                  </a:lnTo>
                  <a:lnTo>
                    <a:pt x="431" y="18"/>
                  </a:lnTo>
                  <a:lnTo>
                    <a:pt x="436" y="18"/>
                  </a:lnTo>
                  <a:lnTo>
                    <a:pt x="443" y="18"/>
                  </a:lnTo>
                  <a:lnTo>
                    <a:pt x="443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4" y="18"/>
                  </a:lnTo>
                  <a:lnTo>
                    <a:pt x="458" y="18"/>
                  </a:lnTo>
                  <a:lnTo>
                    <a:pt x="458" y="18"/>
                  </a:lnTo>
                  <a:lnTo>
                    <a:pt x="449" y="18"/>
                  </a:lnTo>
                  <a:lnTo>
                    <a:pt x="447" y="18"/>
                  </a:lnTo>
                  <a:lnTo>
                    <a:pt x="447" y="18"/>
                  </a:lnTo>
                  <a:lnTo>
                    <a:pt x="440" y="18"/>
                  </a:lnTo>
                  <a:lnTo>
                    <a:pt x="440" y="18"/>
                  </a:lnTo>
                  <a:lnTo>
                    <a:pt x="440" y="15"/>
                  </a:lnTo>
                  <a:lnTo>
                    <a:pt x="440" y="15"/>
                  </a:lnTo>
                  <a:lnTo>
                    <a:pt x="440" y="15"/>
                  </a:lnTo>
                  <a:lnTo>
                    <a:pt x="443" y="15"/>
                  </a:lnTo>
                  <a:lnTo>
                    <a:pt x="443" y="15"/>
                  </a:lnTo>
                  <a:lnTo>
                    <a:pt x="440" y="15"/>
                  </a:lnTo>
                  <a:lnTo>
                    <a:pt x="438" y="15"/>
                  </a:lnTo>
                  <a:lnTo>
                    <a:pt x="436" y="15"/>
                  </a:lnTo>
                  <a:lnTo>
                    <a:pt x="436" y="15"/>
                  </a:lnTo>
                  <a:lnTo>
                    <a:pt x="436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5"/>
                  </a:lnTo>
                  <a:lnTo>
                    <a:pt x="434" y="13"/>
                  </a:lnTo>
                  <a:lnTo>
                    <a:pt x="434" y="13"/>
                  </a:lnTo>
                  <a:lnTo>
                    <a:pt x="434" y="13"/>
                  </a:lnTo>
                  <a:lnTo>
                    <a:pt x="434" y="13"/>
                  </a:lnTo>
                  <a:lnTo>
                    <a:pt x="431" y="13"/>
                  </a:lnTo>
                  <a:lnTo>
                    <a:pt x="431" y="13"/>
                  </a:lnTo>
                  <a:lnTo>
                    <a:pt x="429" y="13"/>
                  </a:lnTo>
                  <a:lnTo>
                    <a:pt x="429" y="13"/>
                  </a:lnTo>
                  <a:lnTo>
                    <a:pt x="429" y="13"/>
                  </a:lnTo>
                  <a:lnTo>
                    <a:pt x="429" y="13"/>
                  </a:lnTo>
                  <a:lnTo>
                    <a:pt x="427" y="13"/>
                  </a:lnTo>
                  <a:lnTo>
                    <a:pt x="427" y="13"/>
                  </a:lnTo>
                  <a:lnTo>
                    <a:pt x="425" y="13"/>
                  </a:lnTo>
                  <a:lnTo>
                    <a:pt x="425" y="13"/>
                  </a:lnTo>
                  <a:lnTo>
                    <a:pt x="420" y="11"/>
                  </a:lnTo>
                  <a:lnTo>
                    <a:pt x="420" y="11"/>
                  </a:lnTo>
                  <a:lnTo>
                    <a:pt x="420" y="11"/>
                  </a:lnTo>
                  <a:lnTo>
                    <a:pt x="420" y="11"/>
                  </a:lnTo>
                  <a:lnTo>
                    <a:pt x="427" y="11"/>
                  </a:lnTo>
                  <a:lnTo>
                    <a:pt x="429" y="11"/>
                  </a:lnTo>
                  <a:lnTo>
                    <a:pt x="429" y="11"/>
                  </a:lnTo>
                  <a:lnTo>
                    <a:pt x="429" y="11"/>
                  </a:lnTo>
                  <a:lnTo>
                    <a:pt x="465" y="11"/>
                  </a:lnTo>
                  <a:lnTo>
                    <a:pt x="465" y="11"/>
                  </a:lnTo>
                  <a:lnTo>
                    <a:pt x="465" y="11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3"/>
                  </a:lnTo>
                  <a:lnTo>
                    <a:pt x="467" y="15"/>
                  </a:lnTo>
                  <a:lnTo>
                    <a:pt x="467" y="15"/>
                  </a:lnTo>
                  <a:lnTo>
                    <a:pt x="467" y="15"/>
                  </a:lnTo>
                  <a:lnTo>
                    <a:pt x="467" y="15"/>
                  </a:lnTo>
                  <a:lnTo>
                    <a:pt x="470" y="15"/>
                  </a:lnTo>
                  <a:lnTo>
                    <a:pt x="470" y="15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3"/>
                  </a:lnTo>
                  <a:lnTo>
                    <a:pt x="470" y="11"/>
                  </a:lnTo>
                  <a:lnTo>
                    <a:pt x="470" y="11"/>
                  </a:lnTo>
                  <a:lnTo>
                    <a:pt x="467" y="11"/>
                  </a:lnTo>
                  <a:lnTo>
                    <a:pt x="467" y="11"/>
                  </a:lnTo>
                  <a:lnTo>
                    <a:pt x="470" y="11"/>
                  </a:lnTo>
                  <a:lnTo>
                    <a:pt x="472" y="11"/>
                  </a:lnTo>
                  <a:lnTo>
                    <a:pt x="472" y="11"/>
                  </a:lnTo>
                  <a:lnTo>
                    <a:pt x="476" y="11"/>
                  </a:lnTo>
                  <a:lnTo>
                    <a:pt x="476" y="11"/>
                  </a:lnTo>
                  <a:lnTo>
                    <a:pt x="476" y="13"/>
                  </a:lnTo>
                  <a:lnTo>
                    <a:pt x="476" y="13"/>
                  </a:lnTo>
                  <a:lnTo>
                    <a:pt x="481" y="13"/>
                  </a:lnTo>
                  <a:lnTo>
                    <a:pt x="483" y="13"/>
                  </a:lnTo>
                  <a:lnTo>
                    <a:pt x="483" y="13"/>
                  </a:lnTo>
                  <a:lnTo>
                    <a:pt x="488" y="13"/>
                  </a:lnTo>
                  <a:lnTo>
                    <a:pt x="488" y="13"/>
                  </a:lnTo>
                  <a:lnTo>
                    <a:pt x="488" y="13"/>
                  </a:lnTo>
                  <a:lnTo>
                    <a:pt x="488" y="13"/>
                  </a:lnTo>
                  <a:lnTo>
                    <a:pt x="488" y="15"/>
                  </a:lnTo>
                  <a:lnTo>
                    <a:pt x="490" y="15"/>
                  </a:lnTo>
                  <a:lnTo>
                    <a:pt x="490" y="15"/>
                  </a:lnTo>
                  <a:lnTo>
                    <a:pt x="488" y="15"/>
                  </a:lnTo>
                  <a:lnTo>
                    <a:pt x="488" y="15"/>
                  </a:lnTo>
                  <a:lnTo>
                    <a:pt x="488" y="15"/>
                  </a:lnTo>
                  <a:lnTo>
                    <a:pt x="488" y="15"/>
                  </a:lnTo>
                  <a:lnTo>
                    <a:pt x="490" y="15"/>
                  </a:lnTo>
                  <a:lnTo>
                    <a:pt x="490" y="15"/>
                  </a:lnTo>
                  <a:lnTo>
                    <a:pt x="490" y="15"/>
                  </a:lnTo>
                  <a:lnTo>
                    <a:pt x="490" y="18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0" y="15"/>
                  </a:lnTo>
                  <a:lnTo>
                    <a:pt x="490" y="15"/>
                  </a:lnTo>
                  <a:lnTo>
                    <a:pt x="490" y="15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2" y="15"/>
                  </a:lnTo>
                  <a:lnTo>
                    <a:pt x="490" y="13"/>
                  </a:lnTo>
                  <a:lnTo>
                    <a:pt x="490" y="13"/>
                  </a:lnTo>
                  <a:lnTo>
                    <a:pt x="490" y="13"/>
                  </a:lnTo>
                  <a:lnTo>
                    <a:pt x="490" y="13"/>
                  </a:lnTo>
                  <a:lnTo>
                    <a:pt x="490" y="13"/>
                  </a:lnTo>
                  <a:lnTo>
                    <a:pt x="490" y="13"/>
                  </a:lnTo>
                  <a:lnTo>
                    <a:pt x="490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3"/>
                  </a:lnTo>
                  <a:lnTo>
                    <a:pt x="492" y="11"/>
                  </a:lnTo>
                  <a:lnTo>
                    <a:pt x="488" y="11"/>
                  </a:lnTo>
                  <a:lnTo>
                    <a:pt x="483" y="11"/>
                  </a:lnTo>
                  <a:lnTo>
                    <a:pt x="481" y="11"/>
                  </a:lnTo>
                  <a:lnTo>
                    <a:pt x="481" y="11"/>
                  </a:lnTo>
                  <a:lnTo>
                    <a:pt x="479" y="11"/>
                  </a:lnTo>
                  <a:lnTo>
                    <a:pt x="434" y="9"/>
                  </a:lnTo>
                  <a:lnTo>
                    <a:pt x="434" y="9"/>
                  </a:lnTo>
                  <a:lnTo>
                    <a:pt x="434" y="9"/>
                  </a:lnTo>
                  <a:lnTo>
                    <a:pt x="429" y="9"/>
                  </a:lnTo>
                  <a:lnTo>
                    <a:pt x="429" y="9"/>
                  </a:lnTo>
                  <a:lnTo>
                    <a:pt x="431" y="9"/>
                  </a:lnTo>
                  <a:lnTo>
                    <a:pt x="431" y="9"/>
                  </a:lnTo>
                  <a:lnTo>
                    <a:pt x="431" y="11"/>
                  </a:lnTo>
                  <a:lnTo>
                    <a:pt x="422" y="9"/>
                  </a:lnTo>
                  <a:lnTo>
                    <a:pt x="422" y="9"/>
                  </a:lnTo>
                  <a:lnTo>
                    <a:pt x="422" y="9"/>
                  </a:lnTo>
                  <a:lnTo>
                    <a:pt x="422" y="9"/>
                  </a:lnTo>
                  <a:lnTo>
                    <a:pt x="422" y="9"/>
                  </a:lnTo>
                  <a:lnTo>
                    <a:pt x="422" y="9"/>
                  </a:lnTo>
                  <a:lnTo>
                    <a:pt x="418" y="11"/>
                  </a:lnTo>
                  <a:lnTo>
                    <a:pt x="418" y="9"/>
                  </a:lnTo>
                  <a:lnTo>
                    <a:pt x="416" y="9"/>
                  </a:lnTo>
                  <a:lnTo>
                    <a:pt x="416" y="9"/>
                  </a:lnTo>
                  <a:lnTo>
                    <a:pt x="411" y="9"/>
                  </a:lnTo>
                  <a:lnTo>
                    <a:pt x="411" y="9"/>
                  </a:lnTo>
                  <a:lnTo>
                    <a:pt x="411" y="9"/>
                  </a:lnTo>
                  <a:lnTo>
                    <a:pt x="411" y="9"/>
                  </a:lnTo>
                  <a:lnTo>
                    <a:pt x="411" y="9"/>
                  </a:lnTo>
                  <a:lnTo>
                    <a:pt x="411" y="9"/>
                  </a:lnTo>
                  <a:lnTo>
                    <a:pt x="409" y="9"/>
                  </a:lnTo>
                  <a:lnTo>
                    <a:pt x="409" y="9"/>
                  </a:lnTo>
                  <a:lnTo>
                    <a:pt x="407" y="9"/>
                  </a:lnTo>
                  <a:lnTo>
                    <a:pt x="409" y="9"/>
                  </a:lnTo>
                  <a:lnTo>
                    <a:pt x="418" y="9"/>
                  </a:lnTo>
                  <a:lnTo>
                    <a:pt x="416" y="9"/>
                  </a:lnTo>
                  <a:lnTo>
                    <a:pt x="411" y="9"/>
                  </a:lnTo>
                  <a:lnTo>
                    <a:pt x="411" y="6"/>
                  </a:lnTo>
                  <a:lnTo>
                    <a:pt x="411" y="6"/>
                  </a:lnTo>
                  <a:lnTo>
                    <a:pt x="413" y="6"/>
                  </a:lnTo>
                  <a:lnTo>
                    <a:pt x="413" y="6"/>
                  </a:lnTo>
                  <a:lnTo>
                    <a:pt x="413" y="6"/>
                  </a:lnTo>
                  <a:lnTo>
                    <a:pt x="413" y="6"/>
                  </a:lnTo>
                  <a:lnTo>
                    <a:pt x="418" y="6"/>
                  </a:lnTo>
                  <a:lnTo>
                    <a:pt x="418" y="6"/>
                  </a:lnTo>
                  <a:lnTo>
                    <a:pt x="420" y="6"/>
                  </a:lnTo>
                  <a:lnTo>
                    <a:pt x="420" y="6"/>
                  </a:lnTo>
                  <a:lnTo>
                    <a:pt x="420" y="6"/>
                  </a:lnTo>
                  <a:lnTo>
                    <a:pt x="422" y="6"/>
                  </a:lnTo>
                  <a:lnTo>
                    <a:pt x="429" y="9"/>
                  </a:lnTo>
                  <a:lnTo>
                    <a:pt x="429" y="9"/>
                  </a:lnTo>
                  <a:lnTo>
                    <a:pt x="429" y="9"/>
                  </a:lnTo>
                  <a:lnTo>
                    <a:pt x="429" y="9"/>
                  </a:lnTo>
                  <a:lnTo>
                    <a:pt x="429" y="9"/>
                  </a:lnTo>
                  <a:lnTo>
                    <a:pt x="429" y="9"/>
                  </a:lnTo>
                  <a:lnTo>
                    <a:pt x="434" y="9"/>
                  </a:lnTo>
                  <a:lnTo>
                    <a:pt x="449" y="9"/>
                  </a:lnTo>
                  <a:lnTo>
                    <a:pt x="449" y="9"/>
                  </a:lnTo>
                  <a:lnTo>
                    <a:pt x="449" y="9"/>
                  </a:lnTo>
                  <a:lnTo>
                    <a:pt x="449" y="9"/>
                  </a:lnTo>
                  <a:lnTo>
                    <a:pt x="449" y="9"/>
                  </a:lnTo>
                  <a:lnTo>
                    <a:pt x="449" y="9"/>
                  </a:lnTo>
                  <a:lnTo>
                    <a:pt x="452" y="9"/>
                  </a:lnTo>
                  <a:lnTo>
                    <a:pt x="452" y="9"/>
                  </a:lnTo>
                  <a:lnTo>
                    <a:pt x="431" y="6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9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7" y="6"/>
                  </a:lnTo>
                  <a:lnTo>
                    <a:pt x="429" y="6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6"/>
                  </a:lnTo>
                  <a:lnTo>
                    <a:pt x="431" y="6"/>
                  </a:lnTo>
                  <a:lnTo>
                    <a:pt x="431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6"/>
                  </a:lnTo>
                  <a:lnTo>
                    <a:pt x="436" y="4"/>
                  </a:lnTo>
                  <a:lnTo>
                    <a:pt x="438" y="4"/>
                  </a:lnTo>
                  <a:lnTo>
                    <a:pt x="447" y="6"/>
                  </a:lnTo>
                  <a:lnTo>
                    <a:pt x="447" y="6"/>
                  </a:lnTo>
                  <a:lnTo>
                    <a:pt x="449" y="6"/>
                  </a:lnTo>
                  <a:lnTo>
                    <a:pt x="449" y="6"/>
                  </a:lnTo>
                  <a:lnTo>
                    <a:pt x="449" y="6"/>
                  </a:lnTo>
                  <a:lnTo>
                    <a:pt x="449" y="6"/>
                  </a:lnTo>
                  <a:lnTo>
                    <a:pt x="449" y="6"/>
                  </a:lnTo>
                  <a:lnTo>
                    <a:pt x="458" y="6"/>
                  </a:lnTo>
                  <a:lnTo>
                    <a:pt x="458" y="6"/>
                  </a:lnTo>
                  <a:lnTo>
                    <a:pt x="445" y="4"/>
                  </a:lnTo>
                  <a:lnTo>
                    <a:pt x="461" y="4"/>
                  </a:lnTo>
                  <a:lnTo>
                    <a:pt x="461" y="4"/>
                  </a:lnTo>
                  <a:lnTo>
                    <a:pt x="458" y="4"/>
                  </a:lnTo>
                  <a:lnTo>
                    <a:pt x="458" y="4"/>
                  </a:lnTo>
                  <a:lnTo>
                    <a:pt x="458" y="4"/>
                  </a:lnTo>
                  <a:lnTo>
                    <a:pt x="458" y="4"/>
                  </a:lnTo>
                  <a:lnTo>
                    <a:pt x="454" y="4"/>
                  </a:lnTo>
                  <a:lnTo>
                    <a:pt x="454" y="4"/>
                  </a:lnTo>
                  <a:lnTo>
                    <a:pt x="456" y="4"/>
                  </a:lnTo>
                  <a:lnTo>
                    <a:pt x="456" y="4"/>
                  </a:lnTo>
                  <a:lnTo>
                    <a:pt x="456" y="4"/>
                  </a:lnTo>
                  <a:lnTo>
                    <a:pt x="456" y="4"/>
                  </a:lnTo>
                  <a:lnTo>
                    <a:pt x="456" y="4"/>
                  </a:lnTo>
                  <a:lnTo>
                    <a:pt x="463" y="4"/>
                  </a:lnTo>
                  <a:lnTo>
                    <a:pt x="465" y="4"/>
                  </a:lnTo>
                  <a:lnTo>
                    <a:pt x="465" y="4"/>
                  </a:lnTo>
                  <a:lnTo>
                    <a:pt x="465" y="4"/>
                  </a:lnTo>
                  <a:lnTo>
                    <a:pt x="470" y="4"/>
                  </a:lnTo>
                  <a:lnTo>
                    <a:pt x="470" y="4"/>
                  </a:lnTo>
                  <a:lnTo>
                    <a:pt x="472" y="4"/>
                  </a:lnTo>
                  <a:lnTo>
                    <a:pt x="472" y="4"/>
                  </a:lnTo>
                  <a:lnTo>
                    <a:pt x="474" y="4"/>
                  </a:lnTo>
                  <a:lnTo>
                    <a:pt x="474" y="4"/>
                  </a:lnTo>
                  <a:lnTo>
                    <a:pt x="472" y="6"/>
                  </a:lnTo>
                  <a:lnTo>
                    <a:pt x="470" y="6"/>
                  </a:lnTo>
                  <a:lnTo>
                    <a:pt x="474" y="6"/>
                  </a:lnTo>
                  <a:lnTo>
                    <a:pt x="479" y="6"/>
                  </a:lnTo>
                  <a:lnTo>
                    <a:pt x="481" y="6"/>
                  </a:lnTo>
                  <a:lnTo>
                    <a:pt x="481" y="6"/>
                  </a:lnTo>
                  <a:lnTo>
                    <a:pt x="485" y="9"/>
                  </a:lnTo>
                  <a:lnTo>
                    <a:pt x="485" y="9"/>
                  </a:lnTo>
                  <a:lnTo>
                    <a:pt x="501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6" y="11"/>
                  </a:lnTo>
                  <a:lnTo>
                    <a:pt x="506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08" y="11"/>
                  </a:lnTo>
                  <a:lnTo>
                    <a:pt x="510" y="11"/>
                  </a:lnTo>
                  <a:lnTo>
                    <a:pt x="510" y="11"/>
                  </a:lnTo>
                  <a:lnTo>
                    <a:pt x="510" y="11"/>
                  </a:lnTo>
                  <a:lnTo>
                    <a:pt x="510" y="11"/>
                  </a:lnTo>
                  <a:lnTo>
                    <a:pt x="510" y="11"/>
                  </a:lnTo>
                  <a:lnTo>
                    <a:pt x="510" y="11"/>
                  </a:lnTo>
                  <a:lnTo>
                    <a:pt x="510" y="11"/>
                  </a:lnTo>
                  <a:lnTo>
                    <a:pt x="512" y="11"/>
                  </a:lnTo>
                  <a:lnTo>
                    <a:pt x="510" y="11"/>
                  </a:lnTo>
                  <a:lnTo>
                    <a:pt x="508" y="11"/>
                  </a:lnTo>
                  <a:lnTo>
                    <a:pt x="508" y="9"/>
                  </a:lnTo>
                  <a:lnTo>
                    <a:pt x="508" y="9"/>
                  </a:lnTo>
                  <a:lnTo>
                    <a:pt x="508" y="9"/>
                  </a:lnTo>
                  <a:lnTo>
                    <a:pt x="508" y="9"/>
                  </a:lnTo>
                  <a:lnTo>
                    <a:pt x="508" y="9"/>
                  </a:lnTo>
                  <a:lnTo>
                    <a:pt x="508" y="9"/>
                  </a:lnTo>
                  <a:lnTo>
                    <a:pt x="506" y="9"/>
                  </a:lnTo>
                  <a:lnTo>
                    <a:pt x="508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03" y="9"/>
                  </a:lnTo>
                  <a:lnTo>
                    <a:pt x="503" y="9"/>
                  </a:lnTo>
                  <a:lnTo>
                    <a:pt x="506" y="9"/>
                  </a:lnTo>
                  <a:lnTo>
                    <a:pt x="506" y="9"/>
                  </a:lnTo>
                  <a:lnTo>
                    <a:pt x="528" y="6"/>
                  </a:lnTo>
                  <a:lnTo>
                    <a:pt x="528" y="6"/>
                  </a:lnTo>
                  <a:lnTo>
                    <a:pt x="526" y="6"/>
                  </a:lnTo>
                  <a:lnTo>
                    <a:pt x="524" y="6"/>
                  </a:lnTo>
                  <a:lnTo>
                    <a:pt x="510" y="6"/>
                  </a:lnTo>
                  <a:lnTo>
                    <a:pt x="510" y="6"/>
                  </a:lnTo>
                  <a:lnTo>
                    <a:pt x="510" y="6"/>
                  </a:lnTo>
                  <a:lnTo>
                    <a:pt x="533" y="6"/>
                  </a:lnTo>
                  <a:lnTo>
                    <a:pt x="533" y="6"/>
                  </a:lnTo>
                  <a:lnTo>
                    <a:pt x="533" y="6"/>
                  </a:lnTo>
                  <a:lnTo>
                    <a:pt x="524" y="6"/>
                  </a:lnTo>
                  <a:lnTo>
                    <a:pt x="526" y="6"/>
                  </a:lnTo>
                  <a:lnTo>
                    <a:pt x="526" y="6"/>
                  </a:lnTo>
                  <a:lnTo>
                    <a:pt x="526" y="4"/>
                  </a:lnTo>
                  <a:lnTo>
                    <a:pt x="521" y="4"/>
                  </a:lnTo>
                  <a:lnTo>
                    <a:pt x="519" y="4"/>
                  </a:lnTo>
                  <a:lnTo>
                    <a:pt x="519" y="4"/>
                  </a:lnTo>
                  <a:lnTo>
                    <a:pt x="521" y="4"/>
                  </a:lnTo>
                  <a:lnTo>
                    <a:pt x="521" y="4"/>
                  </a:lnTo>
                  <a:lnTo>
                    <a:pt x="515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0" y="4"/>
                  </a:lnTo>
                  <a:lnTo>
                    <a:pt x="510" y="4"/>
                  </a:lnTo>
                  <a:lnTo>
                    <a:pt x="510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4"/>
                  </a:lnTo>
                  <a:lnTo>
                    <a:pt x="512" y="2"/>
                  </a:lnTo>
                  <a:lnTo>
                    <a:pt x="510" y="2"/>
                  </a:lnTo>
                  <a:lnTo>
                    <a:pt x="510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0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24" y="2"/>
                  </a:lnTo>
                  <a:lnTo>
                    <a:pt x="526" y="2"/>
                  </a:lnTo>
                  <a:lnTo>
                    <a:pt x="524" y="2"/>
                  </a:lnTo>
                  <a:lnTo>
                    <a:pt x="521" y="2"/>
                  </a:lnTo>
                  <a:lnTo>
                    <a:pt x="521" y="2"/>
                  </a:lnTo>
                  <a:lnTo>
                    <a:pt x="521" y="2"/>
                  </a:lnTo>
                  <a:lnTo>
                    <a:pt x="524" y="2"/>
                  </a:lnTo>
                  <a:lnTo>
                    <a:pt x="524" y="2"/>
                  </a:lnTo>
                  <a:lnTo>
                    <a:pt x="524" y="2"/>
                  </a:lnTo>
                  <a:lnTo>
                    <a:pt x="524" y="2"/>
                  </a:lnTo>
                  <a:lnTo>
                    <a:pt x="524" y="2"/>
                  </a:lnTo>
                  <a:lnTo>
                    <a:pt x="524" y="2"/>
                  </a:lnTo>
                  <a:lnTo>
                    <a:pt x="528" y="0"/>
                  </a:lnTo>
                  <a:lnTo>
                    <a:pt x="537" y="2"/>
                  </a:lnTo>
                  <a:lnTo>
                    <a:pt x="537" y="2"/>
                  </a:lnTo>
                  <a:lnTo>
                    <a:pt x="537" y="2"/>
                  </a:lnTo>
                  <a:lnTo>
                    <a:pt x="537" y="2"/>
                  </a:lnTo>
                  <a:lnTo>
                    <a:pt x="542" y="2"/>
                  </a:lnTo>
                  <a:lnTo>
                    <a:pt x="542" y="2"/>
                  </a:lnTo>
                  <a:lnTo>
                    <a:pt x="539" y="2"/>
                  </a:lnTo>
                  <a:lnTo>
                    <a:pt x="539" y="2"/>
                  </a:lnTo>
                  <a:lnTo>
                    <a:pt x="539" y="2"/>
                  </a:lnTo>
                  <a:lnTo>
                    <a:pt x="537" y="2"/>
                  </a:lnTo>
                  <a:lnTo>
                    <a:pt x="539" y="2"/>
                  </a:lnTo>
                  <a:lnTo>
                    <a:pt x="542" y="2"/>
                  </a:lnTo>
                  <a:lnTo>
                    <a:pt x="539" y="2"/>
                  </a:lnTo>
                  <a:lnTo>
                    <a:pt x="537" y="2"/>
                  </a:lnTo>
                  <a:lnTo>
                    <a:pt x="537" y="2"/>
                  </a:lnTo>
                  <a:lnTo>
                    <a:pt x="537" y="2"/>
                  </a:lnTo>
                  <a:lnTo>
                    <a:pt x="537" y="0"/>
                  </a:lnTo>
                  <a:lnTo>
                    <a:pt x="537" y="0"/>
                  </a:lnTo>
                  <a:lnTo>
                    <a:pt x="537" y="0"/>
                  </a:lnTo>
                  <a:lnTo>
                    <a:pt x="537" y="0"/>
                  </a:lnTo>
                  <a:lnTo>
                    <a:pt x="537" y="0"/>
                  </a:lnTo>
                  <a:lnTo>
                    <a:pt x="539" y="0"/>
                  </a:lnTo>
                  <a:lnTo>
                    <a:pt x="557" y="0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4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69" y="0"/>
                  </a:lnTo>
                  <a:lnTo>
                    <a:pt x="573" y="2"/>
                  </a:lnTo>
                  <a:lnTo>
                    <a:pt x="573" y="2"/>
                  </a:lnTo>
                  <a:lnTo>
                    <a:pt x="573" y="2"/>
                  </a:lnTo>
                  <a:lnTo>
                    <a:pt x="573" y="2"/>
                  </a:lnTo>
                  <a:lnTo>
                    <a:pt x="573" y="2"/>
                  </a:lnTo>
                  <a:lnTo>
                    <a:pt x="575" y="2"/>
                  </a:lnTo>
                  <a:lnTo>
                    <a:pt x="575" y="2"/>
                  </a:lnTo>
                  <a:lnTo>
                    <a:pt x="575" y="0"/>
                  </a:lnTo>
                  <a:lnTo>
                    <a:pt x="573" y="0"/>
                  </a:lnTo>
                  <a:lnTo>
                    <a:pt x="571" y="0"/>
                  </a:lnTo>
                  <a:lnTo>
                    <a:pt x="571" y="0"/>
                  </a:lnTo>
                  <a:lnTo>
                    <a:pt x="571" y="0"/>
                  </a:lnTo>
                  <a:lnTo>
                    <a:pt x="571" y="0"/>
                  </a:lnTo>
                  <a:lnTo>
                    <a:pt x="573" y="0"/>
                  </a:lnTo>
                  <a:lnTo>
                    <a:pt x="591" y="0"/>
                  </a:lnTo>
                  <a:lnTo>
                    <a:pt x="593" y="0"/>
                  </a:lnTo>
                  <a:lnTo>
                    <a:pt x="595" y="0"/>
                  </a:lnTo>
                  <a:lnTo>
                    <a:pt x="595" y="0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593" y="0"/>
                  </a:lnTo>
                  <a:lnTo>
                    <a:pt x="600" y="0"/>
                  </a:lnTo>
                  <a:lnTo>
                    <a:pt x="602" y="0"/>
                  </a:lnTo>
                  <a:lnTo>
                    <a:pt x="611" y="0"/>
                  </a:lnTo>
                  <a:lnTo>
                    <a:pt x="613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0"/>
                  </a:lnTo>
                  <a:lnTo>
                    <a:pt x="631" y="2"/>
                  </a:lnTo>
                  <a:lnTo>
                    <a:pt x="631" y="2"/>
                  </a:lnTo>
                  <a:lnTo>
                    <a:pt x="631" y="2"/>
                  </a:lnTo>
                  <a:lnTo>
                    <a:pt x="634" y="2"/>
                  </a:lnTo>
                  <a:lnTo>
                    <a:pt x="634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38" y="0"/>
                  </a:lnTo>
                  <a:lnTo>
                    <a:pt x="640" y="2"/>
                  </a:lnTo>
                  <a:lnTo>
                    <a:pt x="638" y="2"/>
                  </a:lnTo>
                  <a:lnTo>
                    <a:pt x="636" y="2"/>
                  </a:lnTo>
                  <a:lnTo>
                    <a:pt x="636" y="2"/>
                  </a:lnTo>
                  <a:lnTo>
                    <a:pt x="634" y="2"/>
                  </a:lnTo>
                  <a:lnTo>
                    <a:pt x="634" y="2"/>
                  </a:lnTo>
                  <a:lnTo>
                    <a:pt x="638" y="2"/>
                  </a:lnTo>
                  <a:lnTo>
                    <a:pt x="643" y="2"/>
                  </a:lnTo>
                  <a:lnTo>
                    <a:pt x="643" y="2"/>
                  </a:lnTo>
                  <a:lnTo>
                    <a:pt x="640" y="2"/>
                  </a:lnTo>
                  <a:lnTo>
                    <a:pt x="640" y="2"/>
                  </a:lnTo>
                  <a:lnTo>
                    <a:pt x="640" y="2"/>
                  </a:lnTo>
                  <a:lnTo>
                    <a:pt x="674" y="4"/>
                  </a:lnTo>
                  <a:lnTo>
                    <a:pt x="674" y="4"/>
                  </a:lnTo>
                  <a:lnTo>
                    <a:pt x="672" y="4"/>
                  </a:lnTo>
                  <a:lnTo>
                    <a:pt x="672" y="4"/>
                  </a:lnTo>
                  <a:lnTo>
                    <a:pt x="670" y="4"/>
                  </a:lnTo>
                  <a:lnTo>
                    <a:pt x="670" y="4"/>
                  </a:lnTo>
                  <a:lnTo>
                    <a:pt x="670" y="4"/>
                  </a:lnTo>
                  <a:lnTo>
                    <a:pt x="667" y="4"/>
                  </a:lnTo>
                  <a:lnTo>
                    <a:pt x="609" y="6"/>
                  </a:lnTo>
                  <a:lnTo>
                    <a:pt x="607" y="6"/>
                  </a:lnTo>
                  <a:lnTo>
                    <a:pt x="591" y="6"/>
                  </a:lnTo>
                  <a:lnTo>
                    <a:pt x="591" y="6"/>
                  </a:lnTo>
                  <a:lnTo>
                    <a:pt x="589" y="6"/>
                  </a:lnTo>
                  <a:lnTo>
                    <a:pt x="589" y="6"/>
                  </a:lnTo>
                  <a:lnTo>
                    <a:pt x="575" y="6"/>
                  </a:lnTo>
                  <a:lnTo>
                    <a:pt x="575" y="6"/>
                  </a:lnTo>
                  <a:lnTo>
                    <a:pt x="577" y="6"/>
                  </a:lnTo>
                  <a:lnTo>
                    <a:pt x="577" y="6"/>
                  </a:lnTo>
                  <a:lnTo>
                    <a:pt x="580" y="6"/>
                  </a:lnTo>
                  <a:lnTo>
                    <a:pt x="586" y="6"/>
                  </a:lnTo>
                  <a:lnTo>
                    <a:pt x="586" y="6"/>
                  </a:lnTo>
                  <a:lnTo>
                    <a:pt x="586" y="6"/>
                  </a:lnTo>
                  <a:lnTo>
                    <a:pt x="586" y="6"/>
                  </a:lnTo>
                  <a:lnTo>
                    <a:pt x="582" y="6"/>
                  </a:lnTo>
                  <a:lnTo>
                    <a:pt x="580" y="9"/>
                  </a:lnTo>
                  <a:lnTo>
                    <a:pt x="548" y="9"/>
                  </a:lnTo>
                  <a:lnTo>
                    <a:pt x="548" y="9"/>
                  </a:lnTo>
                  <a:lnTo>
                    <a:pt x="548" y="9"/>
                  </a:lnTo>
                  <a:lnTo>
                    <a:pt x="551" y="9"/>
                  </a:lnTo>
                  <a:lnTo>
                    <a:pt x="551" y="9"/>
                  </a:lnTo>
                  <a:lnTo>
                    <a:pt x="551" y="9"/>
                  </a:lnTo>
                  <a:lnTo>
                    <a:pt x="551" y="9"/>
                  </a:lnTo>
                  <a:lnTo>
                    <a:pt x="551" y="9"/>
                  </a:lnTo>
                  <a:lnTo>
                    <a:pt x="548" y="9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51" y="11"/>
                  </a:lnTo>
                  <a:lnTo>
                    <a:pt x="551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48" y="11"/>
                  </a:lnTo>
                  <a:lnTo>
                    <a:pt x="551" y="11"/>
                  </a:lnTo>
                  <a:lnTo>
                    <a:pt x="551" y="11"/>
                  </a:lnTo>
                  <a:lnTo>
                    <a:pt x="551" y="11"/>
                  </a:lnTo>
                  <a:lnTo>
                    <a:pt x="551" y="11"/>
                  </a:lnTo>
                  <a:lnTo>
                    <a:pt x="551" y="11"/>
                  </a:lnTo>
                  <a:lnTo>
                    <a:pt x="551" y="9"/>
                  </a:lnTo>
                  <a:lnTo>
                    <a:pt x="555" y="9"/>
                  </a:lnTo>
                  <a:lnTo>
                    <a:pt x="569" y="9"/>
                  </a:lnTo>
                  <a:lnTo>
                    <a:pt x="569" y="9"/>
                  </a:lnTo>
                  <a:lnTo>
                    <a:pt x="571" y="9"/>
                  </a:lnTo>
                  <a:lnTo>
                    <a:pt x="569" y="11"/>
                  </a:lnTo>
                  <a:lnTo>
                    <a:pt x="569" y="11"/>
                  </a:lnTo>
                  <a:lnTo>
                    <a:pt x="569" y="11"/>
                  </a:lnTo>
                  <a:lnTo>
                    <a:pt x="569" y="11"/>
                  </a:lnTo>
                  <a:lnTo>
                    <a:pt x="571" y="11"/>
                  </a:lnTo>
                  <a:lnTo>
                    <a:pt x="571" y="11"/>
                  </a:lnTo>
                  <a:lnTo>
                    <a:pt x="571" y="9"/>
                  </a:lnTo>
                  <a:lnTo>
                    <a:pt x="571" y="9"/>
                  </a:lnTo>
                  <a:lnTo>
                    <a:pt x="571" y="9"/>
                  </a:lnTo>
                  <a:lnTo>
                    <a:pt x="571" y="9"/>
                  </a:lnTo>
                  <a:lnTo>
                    <a:pt x="573" y="9"/>
                  </a:lnTo>
                  <a:lnTo>
                    <a:pt x="580" y="9"/>
                  </a:lnTo>
                  <a:lnTo>
                    <a:pt x="580" y="9"/>
                  </a:lnTo>
                  <a:lnTo>
                    <a:pt x="591" y="9"/>
                  </a:lnTo>
                  <a:lnTo>
                    <a:pt x="591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5" y="9"/>
                  </a:lnTo>
                  <a:lnTo>
                    <a:pt x="598" y="9"/>
                  </a:lnTo>
                  <a:lnTo>
                    <a:pt x="598" y="9"/>
                  </a:lnTo>
                  <a:lnTo>
                    <a:pt x="598" y="9"/>
                  </a:lnTo>
                  <a:lnTo>
                    <a:pt x="598" y="9"/>
                  </a:lnTo>
                  <a:lnTo>
                    <a:pt x="598" y="9"/>
                  </a:lnTo>
                  <a:lnTo>
                    <a:pt x="598" y="9"/>
                  </a:lnTo>
                  <a:lnTo>
                    <a:pt x="598" y="9"/>
                  </a:lnTo>
                  <a:lnTo>
                    <a:pt x="600" y="9"/>
                  </a:lnTo>
                  <a:lnTo>
                    <a:pt x="600" y="9"/>
                  </a:lnTo>
                  <a:lnTo>
                    <a:pt x="600" y="6"/>
                  </a:lnTo>
                  <a:lnTo>
                    <a:pt x="616" y="6"/>
                  </a:lnTo>
                  <a:lnTo>
                    <a:pt x="618" y="6"/>
                  </a:lnTo>
                  <a:lnTo>
                    <a:pt x="640" y="6"/>
                  </a:lnTo>
                  <a:lnTo>
                    <a:pt x="640" y="6"/>
                  </a:lnTo>
                  <a:lnTo>
                    <a:pt x="640" y="6"/>
                  </a:lnTo>
                  <a:lnTo>
                    <a:pt x="640" y="6"/>
                  </a:lnTo>
                  <a:lnTo>
                    <a:pt x="643" y="6"/>
                  </a:lnTo>
                  <a:lnTo>
                    <a:pt x="645" y="6"/>
                  </a:lnTo>
                  <a:lnTo>
                    <a:pt x="649" y="6"/>
                  </a:lnTo>
                  <a:lnTo>
                    <a:pt x="652" y="6"/>
                  </a:lnTo>
                  <a:lnTo>
                    <a:pt x="661" y="6"/>
                  </a:lnTo>
                  <a:lnTo>
                    <a:pt x="661" y="6"/>
                  </a:lnTo>
                  <a:lnTo>
                    <a:pt x="679" y="6"/>
                  </a:lnTo>
                  <a:lnTo>
                    <a:pt x="681" y="6"/>
                  </a:lnTo>
                  <a:lnTo>
                    <a:pt x="683" y="6"/>
                  </a:lnTo>
                  <a:lnTo>
                    <a:pt x="681" y="6"/>
                  </a:lnTo>
                  <a:lnTo>
                    <a:pt x="681" y="6"/>
                  </a:lnTo>
                  <a:lnTo>
                    <a:pt x="681" y="6"/>
                  </a:lnTo>
                  <a:lnTo>
                    <a:pt x="681" y="6"/>
                  </a:lnTo>
                  <a:lnTo>
                    <a:pt x="681" y="6"/>
                  </a:lnTo>
                  <a:lnTo>
                    <a:pt x="683" y="6"/>
                  </a:lnTo>
                  <a:lnTo>
                    <a:pt x="683" y="6"/>
                  </a:lnTo>
                  <a:lnTo>
                    <a:pt x="683" y="6"/>
                  </a:lnTo>
                  <a:lnTo>
                    <a:pt x="683" y="6"/>
                  </a:lnTo>
                  <a:lnTo>
                    <a:pt x="683" y="9"/>
                  </a:lnTo>
                  <a:lnTo>
                    <a:pt x="683" y="9"/>
                  </a:lnTo>
                  <a:lnTo>
                    <a:pt x="683" y="9"/>
                  </a:lnTo>
                  <a:lnTo>
                    <a:pt x="683" y="9"/>
                  </a:lnTo>
                  <a:lnTo>
                    <a:pt x="681" y="9"/>
                  </a:lnTo>
                  <a:lnTo>
                    <a:pt x="679" y="9"/>
                  </a:lnTo>
                  <a:lnTo>
                    <a:pt x="679" y="9"/>
                  </a:lnTo>
                  <a:lnTo>
                    <a:pt x="679" y="9"/>
                  </a:lnTo>
                  <a:lnTo>
                    <a:pt x="679" y="9"/>
                  </a:lnTo>
                  <a:lnTo>
                    <a:pt x="679" y="9"/>
                  </a:lnTo>
                  <a:lnTo>
                    <a:pt x="679" y="9"/>
                  </a:lnTo>
                  <a:lnTo>
                    <a:pt x="672" y="11"/>
                  </a:lnTo>
                  <a:lnTo>
                    <a:pt x="667" y="11"/>
                  </a:lnTo>
                  <a:lnTo>
                    <a:pt x="667" y="11"/>
                  </a:lnTo>
                  <a:lnTo>
                    <a:pt x="670" y="11"/>
                  </a:lnTo>
                  <a:lnTo>
                    <a:pt x="670" y="11"/>
                  </a:lnTo>
                  <a:lnTo>
                    <a:pt x="672" y="11"/>
                  </a:lnTo>
                  <a:lnTo>
                    <a:pt x="672" y="11"/>
                  </a:lnTo>
                  <a:lnTo>
                    <a:pt x="685" y="9"/>
                  </a:lnTo>
                  <a:lnTo>
                    <a:pt x="690" y="9"/>
                  </a:lnTo>
                  <a:lnTo>
                    <a:pt x="692" y="9"/>
                  </a:lnTo>
                  <a:lnTo>
                    <a:pt x="692" y="9"/>
                  </a:lnTo>
                  <a:lnTo>
                    <a:pt x="692" y="9"/>
                  </a:lnTo>
                  <a:lnTo>
                    <a:pt x="692" y="9"/>
                  </a:lnTo>
                  <a:lnTo>
                    <a:pt x="694" y="9"/>
                  </a:lnTo>
                  <a:lnTo>
                    <a:pt x="694" y="9"/>
                  </a:lnTo>
                  <a:lnTo>
                    <a:pt x="694" y="9"/>
                  </a:lnTo>
                  <a:lnTo>
                    <a:pt x="692" y="9"/>
                  </a:lnTo>
                  <a:lnTo>
                    <a:pt x="692" y="9"/>
                  </a:lnTo>
                  <a:lnTo>
                    <a:pt x="692" y="9"/>
                  </a:lnTo>
                  <a:lnTo>
                    <a:pt x="692" y="11"/>
                  </a:lnTo>
                  <a:lnTo>
                    <a:pt x="692" y="11"/>
                  </a:lnTo>
                  <a:lnTo>
                    <a:pt x="692" y="11"/>
                  </a:lnTo>
                  <a:lnTo>
                    <a:pt x="692" y="11"/>
                  </a:lnTo>
                  <a:lnTo>
                    <a:pt x="692" y="11"/>
                  </a:lnTo>
                  <a:lnTo>
                    <a:pt x="694" y="11"/>
                  </a:lnTo>
                  <a:lnTo>
                    <a:pt x="694" y="11"/>
                  </a:lnTo>
                  <a:lnTo>
                    <a:pt x="694" y="11"/>
                  </a:lnTo>
                  <a:lnTo>
                    <a:pt x="694" y="11"/>
                  </a:lnTo>
                  <a:lnTo>
                    <a:pt x="694" y="11"/>
                  </a:lnTo>
                  <a:lnTo>
                    <a:pt x="697" y="11"/>
                  </a:lnTo>
                  <a:lnTo>
                    <a:pt x="699" y="9"/>
                  </a:lnTo>
                  <a:lnTo>
                    <a:pt x="701" y="11"/>
                  </a:lnTo>
                  <a:lnTo>
                    <a:pt x="701" y="11"/>
                  </a:lnTo>
                  <a:lnTo>
                    <a:pt x="701" y="11"/>
                  </a:lnTo>
                  <a:lnTo>
                    <a:pt x="703" y="11"/>
                  </a:lnTo>
                  <a:lnTo>
                    <a:pt x="706" y="11"/>
                  </a:lnTo>
                  <a:lnTo>
                    <a:pt x="706" y="11"/>
                  </a:lnTo>
                  <a:lnTo>
                    <a:pt x="706" y="11"/>
                  </a:lnTo>
                  <a:lnTo>
                    <a:pt x="708" y="11"/>
                  </a:lnTo>
                  <a:lnTo>
                    <a:pt x="708" y="11"/>
                  </a:lnTo>
                  <a:lnTo>
                    <a:pt x="708" y="11"/>
                  </a:lnTo>
                  <a:lnTo>
                    <a:pt x="708" y="11"/>
                  </a:lnTo>
                  <a:lnTo>
                    <a:pt x="708" y="11"/>
                  </a:lnTo>
                  <a:lnTo>
                    <a:pt x="710" y="11"/>
                  </a:lnTo>
                  <a:lnTo>
                    <a:pt x="712" y="11"/>
                  </a:lnTo>
                  <a:lnTo>
                    <a:pt x="715" y="11"/>
                  </a:lnTo>
                  <a:lnTo>
                    <a:pt x="715" y="11"/>
                  </a:lnTo>
                  <a:lnTo>
                    <a:pt x="715" y="11"/>
                  </a:lnTo>
                  <a:lnTo>
                    <a:pt x="717" y="11"/>
                  </a:lnTo>
                  <a:lnTo>
                    <a:pt x="717" y="11"/>
                  </a:lnTo>
                  <a:lnTo>
                    <a:pt x="719" y="11"/>
                  </a:lnTo>
                  <a:lnTo>
                    <a:pt x="719" y="11"/>
                  </a:lnTo>
                  <a:lnTo>
                    <a:pt x="719" y="13"/>
                  </a:lnTo>
                  <a:lnTo>
                    <a:pt x="721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4" y="13"/>
                  </a:lnTo>
                  <a:lnTo>
                    <a:pt x="721" y="13"/>
                  </a:lnTo>
                  <a:lnTo>
                    <a:pt x="721" y="13"/>
                  </a:lnTo>
                  <a:lnTo>
                    <a:pt x="717" y="15"/>
                  </a:lnTo>
                  <a:lnTo>
                    <a:pt x="712" y="15"/>
                  </a:lnTo>
                  <a:lnTo>
                    <a:pt x="710" y="15"/>
                  </a:lnTo>
                  <a:lnTo>
                    <a:pt x="712" y="15"/>
                  </a:lnTo>
                  <a:lnTo>
                    <a:pt x="712" y="15"/>
                  </a:lnTo>
                  <a:lnTo>
                    <a:pt x="712" y="15"/>
                  </a:lnTo>
                  <a:lnTo>
                    <a:pt x="712" y="15"/>
                  </a:lnTo>
                  <a:lnTo>
                    <a:pt x="710" y="18"/>
                  </a:lnTo>
                  <a:lnTo>
                    <a:pt x="692" y="18"/>
                  </a:lnTo>
                  <a:lnTo>
                    <a:pt x="690" y="18"/>
                  </a:lnTo>
                  <a:lnTo>
                    <a:pt x="616" y="20"/>
                  </a:lnTo>
                  <a:lnTo>
                    <a:pt x="613" y="20"/>
                  </a:lnTo>
                  <a:lnTo>
                    <a:pt x="613" y="20"/>
                  </a:lnTo>
                  <a:lnTo>
                    <a:pt x="613" y="20"/>
                  </a:lnTo>
                  <a:lnTo>
                    <a:pt x="611" y="20"/>
                  </a:lnTo>
                  <a:lnTo>
                    <a:pt x="609" y="20"/>
                  </a:lnTo>
                  <a:lnTo>
                    <a:pt x="595" y="18"/>
                  </a:lnTo>
                  <a:lnTo>
                    <a:pt x="593" y="18"/>
                  </a:lnTo>
                  <a:lnTo>
                    <a:pt x="593" y="18"/>
                  </a:lnTo>
                  <a:lnTo>
                    <a:pt x="609" y="20"/>
                  </a:lnTo>
                  <a:lnTo>
                    <a:pt x="611" y="20"/>
                  </a:lnTo>
                  <a:lnTo>
                    <a:pt x="611" y="20"/>
                  </a:lnTo>
                  <a:lnTo>
                    <a:pt x="611" y="20"/>
                  </a:lnTo>
                  <a:lnTo>
                    <a:pt x="613" y="20"/>
                  </a:lnTo>
                  <a:lnTo>
                    <a:pt x="613" y="20"/>
                  </a:lnTo>
                  <a:lnTo>
                    <a:pt x="613" y="20"/>
                  </a:lnTo>
                  <a:lnTo>
                    <a:pt x="613" y="20"/>
                  </a:lnTo>
                  <a:lnTo>
                    <a:pt x="613" y="20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8" y="22"/>
                  </a:lnTo>
                  <a:lnTo>
                    <a:pt x="595" y="22"/>
                  </a:lnTo>
                  <a:lnTo>
                    <a:pt x="589" y="22"/>
                  </a:lnTo>
                  <a:lnTo>
                    <a:pt x="589" y="22"/>
                  </a:lnTo>
                  <a:lnTo>
                    <a:pt x="589" y="22"/>
                  </a:lnTo>
                  <a:lnTo>
                    <a:pt x="586" y="22"/>
                  </a:lnTo>
                  <a:lnTo>
                    <a:pt x="586" y="22"/>
                  </a:lnTo>
                  <a:lnTo>
                    <a:pt x="584" y="22"/>
                  </a:lnTo>
                  <a:lnTo>
                    <a:pt x="580" y="24"/>
                  </a:lnTo>
                  <a:lnTo>
                    <a:pt x="577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4"/>
                  </a:lnTo>
                  <a:lnTo>
                    <a:pt x="575" y="27"/>
                  </a:lnTo>
                  <a:lnTo>
                    <a:pt x="575" y="27"/>
                  </a:lnTo>
                  <a:lnTo>
                    <a:pt x="575" y="27"/>
                  </a:lnTo>
                  <a:lnTo>
                    <a:pt x="575" y="27"/>
                  </a:lnTo>
                  <a:lnTo>
                    <a:pt x="577" y="27"/>
                  </a:lnTo>
                  <a:lnTo>
                    <a:pt x="577" y="27"/>
                  </a:lnTo>
                  <a:lnTo>
                    <a:pt x="582" y="27"/>
                  </a:lnTo>
                  <a:lnTo>
                    <a:pt x="582" y="27"/>
                  </a:lnTo>
                  <a:lnTo>
                    <a:pt x="582" y="27"/>
                  </a:lnTo>
                  <a:lnTo>
                    <a:pt x="584" y="27"/>
                  </a:lnTo>
                  <a:lnTo>
                    <a:pt x="586" y="24"/>
                  </a:lnTo>
                  <a:lnTo>
                    <a:pt x="589" y="24"/>
                  </a:lnTo>
                  <a:lnTo>
                    <a:pt x="600" y="24"/>
                  </a:lnTo>
                  <a:lnTo>
                    <a:pt x="602" y="24"/>
                  </a:lnTo>
                  <a:lnTo>
                    <a:pt x="604" y="24"/>
                  </a:lnTo>
                  <a:lnTo>
                    <a:pt x="604" y="22"/>
                  </a:lnTo>
                  <a:lnTo>
                    <a:pt x="609" y="22"/>
                  </a:lnTo>
                  <a:lnTo>
                    <a:pt x="611" y="22"/>
                  </a:lnTo>
                  <a:lnTo>
                    <a:pt x="613" y="22"/>
                  </a:lnTo>
                  <a:lnTo>
                    <a:pt x="613" y="22"/>
                  </a:lnTo>
                  <a:lnTo>
                    <a:pt x="613" y="22"/>
                  </a:lnTo>
                  <a:lnTo>
                    <a:pt x="616" y="22"/>
                  </a:lnTo>
                  <a:lnTo>
                    <a:pt x="618" y="22"/>
                  </a:lnTo>
                  <a:lnTo>
                    <a:pt x="616" y="22"/>
                  </a:lnTo>
                  <a:lnTo>
                    <a:pt x="616" y="22"/>
                  </a:lnTo>
                  <a:lnTo>
                    <a:pt x="618" y="24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0" y="22"/>
                  </a:lnTo>
                  <a:lnTo>
                    <a:pt x="625" y="22"/>
                  </a:lnTo>
                  <a:lnTo>
                    <a:pt x="627" y="22"/>
                  </a:lnTo>
                  <a:lnTo>
                    <a:pt x="629" y="22"/>
                  </a:lnTo>
                  <a:lnTo>
                    <a:pt x="629" y="22"/>
                  </a:lnTo>
                  <a:lnTo>
                    <a:pt x="631" y="22"/>
                  </a:lnTo>
                  <a:lnTo>
                    <a:pt x="634" y="22"/>
                  </a:lnTo>
                  <a:lnTo>
                    <a:pt x="634" y="22"/>
                  </a:lnTo>
                  <a:lnTo>
                    <a:pt x="636" y="22"/>
                  </a:lnTo>
                  <a:lnTo>
                    <a:pt x="638" y="22"/>
                  </a:lnTo>
                  <a:lnTo>
                    <a:pt x="640" y="20"/>
                  </a:lnTo>
                  <a:lnTo>
                    <a:pt x="640" y="20"/>
                  </a:lnTo>
                  <a:lnTo>
                    <a:pt x="681" y="22"/>
                  </a:lnTo>
                  <a:lnTo>
                    <a:pt x="679" y="22"/>
                  </a:lnTo>
                  <a:lnTo>
                    <a:pt x="679" y="22"/>
                  </a:lnTo>
                  <a:lnTo>
                    <a:pt x="679" y="22"/>
                  </a:lnTo>
                  <a:lnTo>
                    <a:pt x="679" y="22"/>
                  </a:lnTo>
                  <a:lnTo>
                    <a:pt x="679" y="24"/>
                  </a:lnTo>
                  <a:lnTo>
                    <a:pt x="679" y="24"/>
                  </a:lnTo>
                  <a:lnTo>
                    <a:pt x="679" y="24"/>
                  </a:lnTo>
                  <a:lnTo>
                    <a:pt x="679" y="24"/>
                  </a:lnTo>
                  <a:lnTo>
                    <a:pt x="679" y="24"/>
                  </a:lnTo>
                  <a:lnTo>
                    <a:pt x="679" y="24"/>
                  </a:lnTo>
                  <a:lnTo>
                    <a:pt x="656" y="27"/>
                  </a:lnTo>
                  <a:lnTo>
                    <a:pt x="654" y="29"/>
                  </a:lnTo>
                  <a:lnTo>
                    <a:pt x="652" y="29"/>
                  </a:lnTo>
                  <a:lnTo>
                    <a:pt x="652" y="29"/>
                  </a:lnTo>
                  <a:lnTo>
                    <a:pt x="652" y="29"/>
                  </a:lnTo>
                  <a:lnTo>
                    <a:pt x="652" y="29"/>
                  </a:lnTo>
                  <a:lnTo>
                    <a:pt x="654" y="29"/>
                  </a:lnTo>
                  <a:lnTo>
                    <a:pt x="654" y="29"/>
                  </a:lnTo>
                  <a:lnTo>
                    <a:pt x="654" y="29"/>
                  </a:lnTo>
                  <a:lnTo>
                    <a:pt x="654" y="29"/>
                  </a:lnTo>
                  <a:lnTo>
                    <a:pt x="654" y="29"/>
                  </a:lnTo>
                  <a:lnTo>
                    <a:pt x="654" y="29"/>
                  </a:lnTo>
                  <a:lnTo>
                    <a:pt x="654" y="29"/>
                  </a:lnTo>
                  <a:lnTo>
                    <a:pt x="654" y="31"/>
                  </a:lnTo>
                  <a:lnTo>
                    <a:pt x="654" y="31"/>
                  </a:lnTo>
                  <a:lnTo>
                    <a:pt x="654" y="31"/>
                  </a:lnTo>
                  <a:lnTo>
                    <a:pt x="665" y="29"/>
                  </a:lnTo>
                  <a:lnTo>
                    <a:pt x="667" y="29"/>
                  </a:lnTo>
                  <a:lnTo>
                    <a:pt x="679" y="27"/>
                  </a:lnTo>
                  <a:lnTo>
                    <a:pt x="679" y="27"/>
                  </a:lnTo>
                  <a:lnTo>
                    <a:pt x="681" y="27"/>
                  </a:lnTo>
                  <a:lnTo>
                    <a:pt x="681" y="27"/>
                  </a:lnTo>
                  <a:lnTo>
                    <a:pt x="681" y="27"/>
                  </a:lnTo>
                  <a:lnTo>
                    <a:pt x="681" y="27"/>
                  </a:lnTo>
                  <a:lnTo>
                    <a:pt x="683" y="27"/>
                  </a:lnTo>
                  <a:lnTo>
                    <a:pt x="690" y="24"/>
                  </a:lnTo>
                  <a:lnTo>
                    <a:pt x="692" y="27"/>
                  </a:lnTo>
                  <a:lnTo>
                    <a:pt x="694" y="27"/>
                  </a:lnTo>
                  <a:lnTo>
                    <a:pt x="694" y="27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7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699" y="22"/>
                  </a:lnTo>
                  <a:lnTo>
                    <a:pt x="701" y="22"/>
                  </a:lnTo>
                  <a:lnTo>
                    <a:pt x="721" y="20"/>
                  </a:lnTo>
                  <a:lnTo>
                    <a:pt x="721" y="20"/>
                  </a:lnTo>
                  <a:lnTo>
                    <a:pt x="721" y="20"/>
                  </a:lnTo>
                  <a:lnTo>
                    <a:pt x="724" y="22"/>
                  </a:lnTo>
                  <a:lnTo>
                    <a:pt x="724" y="22"/>
                  </a:lnTo>
                  <a:lnTo>
                    <a:pt x="724" y="22"/>
                  </a:lnTo>
                  <a:lnTo>
                    <a:pt x="724" y="22"/>
                  </a:lnTo>
                  <a:lnTo>
                    <a:pt x="724" y="22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4"/>
                  </a:lnTo>
                  <a:lnTo>
                    <a:pt x="724" y="27"/>
                  </a:lnTo>
                  <a:lnTo>
                    <a:pt x="724" y="27"/>
                  </a:lnTo>
                  <a:lnTo>
                    <a:pt x="724" y="27"/>
                  </a:lnTo>
                  <a:lnTo>
                    <a:pt x="724" y="27"/>
                  </a:lnTo>
                  <a:lnTo>
                    <a:pt x="724" y="27"/>
                  </a:lnTo>
                  <a:lnTo>
                    <a:pt x="724" y="27"/>
                  </a:lnTo>
                  <a:lnTo>
                    <a:pt x="721" y="27"/>
                  </a:lnTo>
                  <a:lnTo>
                    <a:pt x="721" y="27"/>
                  </a:lnTo>
                  <a:lnTo>
                    <a:pt x="721" y="27"/>
                  </a:lnTo>
                  <a:lnTo>
                    <a:pt x="721" y="29"/>
                  </a:lnTo>
                  <a:lnTo>
                    <a:pt x="721" y="29"/>
                  </a:lnTo>
                  <a:lnTo>
                    <a:pt x="721" y="29"/>
                  </a:lnTo>
                  <a:lnTo>
                    <a:pt x="712" y="31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8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3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701" y="36"/>
                  </a:lnTo>
                  <a:lnTo>
                    <a:pt x="694" y="38"/>
                  </a:lnTo>
                  <a:lnTo>
                    <a:pt x="694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40"/>
                  </a:lnTo>
                  <a:lnTo>
                    <a:pt x="692" y="40"/>
                  </a:lnTo>
                  <a:lnTo>
                    <a:pt x="692" y="40"/>
                  </a:lnTo>
                  <a:lnTo>
                    <a:pt x="690" y="40"/>
                  </a:lnTo>
                  <a:lnTo>
                    <a:pt x="690" y="40"/>
                  </a:lnTo>
                  <a:lnTo>
                    <a:pt x="688" y="40"/>
                  </a:lnTo>
                  <a:lnTo>
                    <a:pt x="688" y="40"/>
                  </a:lnTo>
                  <a:lnTo>
                    <a:pt x="688" y="40"/>
                  </a:lnTo>
                  <a:lnTo>
                    <a:pt x="688" y="40"/>
                  </a:lnTo>
                  <a:lnTo>
                    <a:pt x="688" y="40"/>
                  </a:lnTo>
                  <a:lnTo>
                    <a:pt x="688" y="40"/>
                  </a:lnTo>
                  <a:lnTo>
                    <a:pt x="685" y="42"/>
                  </a:lnTo>
                  <a:lnTo>
                    <a:pt x="685" y="42"/>
                  </a:lnTo>
                  <a:lnTo>
                    <a:pt x="685" y="42"/>
                  </a:lnTo>
                  <a:lnTo>
                    <a:pt x="683" y="42"/>
                  </a:lnTo>
                  <a:lnTo>
                    <a:pt x="683" y="42"/>
                  </a:lnTo>
                  <a:lnTo>
                    <a:pt x="681" y="42"/>
                  </a:lnTo>
                  <a:lnTo>
                    <a:pt x="683" y="42"/>
                  </a:lnTo>
                  <a:lnTo>
                    <a:pt x="683" y="42"/>
                  </a:lnTo>
                  <a:lnTo>
                    <a:pt x="690" y="40"/>
                  </a:lnTo>
                  <a:lnTo>
                    <a:pt x="692" y="40"/>
                  </a:lnTo>
                  <a:lnTo>
                    <a:pt x="692" y="40"/>
                  </a:lnTo>
                  <a:lnTo>
                    <a:pt x="694" y="40"/>
                  </a:lnTo>
                  <a:lnTo>
                    <a:pt x="692" y="40"/>
                  </a:lnTo>
                  <a:lnTo>
                    <a:pt x="692" y="40"/>
                  </a:lnTo>
                  <a:lnTo>
                    <a:pt x="692" y="40"/>
                  </a:lnTo>
                  <a:lnTo>
                    <a:pt x="694" y="40"/>
                  </a:lnTo>
                  <a:lnTo>
                    <a:pt x="694" y="40"/>
                  </a:lnTo>
                  <a:lnTo>
                    <a:pt x="697" y="40"/>
                  </a:lnTo>
                  <a:lnTo>
                    <a:pt x="697" y="38"/>
                  </a:lnTo>
                  <a:lnTo>
                    <a:pt x="697" y="38"/>
                  </a:lnTo>
                  <a:lnTo>
                    <a:pt x="694" y="38"/>
                  </a:lnTo>
                  <a:lnTo>
                    <a:pt x="694" y="38"/>
                  </a:lnTo>
                  <a:lnTo>
                    <a:pt x="699" y="38"/>
                  </a:lnTo>
                  <a:lnTo>
                    <a:pt x="703" y="38"/>
                  </a:lnTo>
                  <a:lnTo>
                    <a:pt x="706" y="38"/>
                  </a:lnTo>
                  <a:lnTo>
                    <a:pt x="706" y="38"/>
                  </a:lnTo>
                  <a:lnTo>
                    <a:pt x="706" y="38"/>
                  </a:lnTo>
                  <a:lnTo>
                    <a:pt x="706" y="36"/>
                  </a:lnTo>
                  <a:lnTo>
                    <a:pt x="706" y="36"/>
                  </a:lnTo>
                  <a:lnTo>
                    <a:pt x="706" y="36"/>
                  </a:lnTo>
                  <a:lnTo>
                    <a:pt x="708" y="36"/>
                  </a:lnTo>
                  <a:lnTo>
                    <a:pt x="708" y="36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10" y="36"/>
                  </a:lnTo>
                  <a:lnTo>
                    <a:pt x="712" y="36"/>
                  </a:lnTo>
                  <a:lnTo>
                    <a:pt x="717" y="33"/>
                  </a:lnTo>
                  <a:lnTo>
                    <a:pt x="717" y="33"/>
                  </a:lnTo>
                  <a:lnTo>
                    <a:pt x="717" y="33"/>
                  </a:lnTo>
                  <a:lnTo>
                    <a:pt x="724" y="33"/>
                  </a:lnTo>
                  <a:lnTo>
                    <a:pt x="724" y="33"/>
                  </a:lnTo>
                  <a:lnTo>
                    <a:pt x="726" y="31"/>
                  </a:lnTo>
                  <a:lnTo>
                    <a:pt x="726" y="31"/>
                  </a:lnTo>
                  <a:lnTo>
                    <a:pt x="726" y="31"/>
                  </a:lnTo>
                  <a:lnTo>
                    <a:pt x="726" y="31"/>
                  </a:lnTo>
                  <a:lnTo>
                    <a:pt x="726" y="31"/>
                  </a:lnTo>
                  <a:lnTo>
                    <a:pt x="726" y="31"/>
                  </a:lnTo>
                  <a:lnTo>
                    <a:pt x="739" y="29"/>
                  </a:lnTo>
                  <a:lnTo>
                    <a:pt x="739" y="29"/>
                  </a:lnTo>
                  <a:lnTo>
                    <a:pt x="735" y="29"/>
                  </a:lnTo>
                  <a:lnTo>
                    <a:pt x="737" y="27"/>
                  </a:lnTo>
                  <a:lnTo>
                    <a:pt x="737" y="27"/>
                  </a:lnTo>
                  <a:lnTo>
                    <a:pt x="739" y="27"/>
                  </a:lnTo>
                  <a:lnTo>
                    <a:pt x="737" y="27"/>
                  </a:lnTo>
                  <a:lnTo>
                    <a:pt x="737" y="27"/>
                  </a:lnTo>
                  <a:lnTo>
                    <a:pt x="737" y="27"/>
                  </a:lnTo>
                  <a:lnTo>
                    <a:pt x="741" y="27"/>
                  </a:lnTo>
                  <a:lnTo>
                    <a:pt x="741" y="27"/>
                  </a:lnTo>
                  <a:lnTo>
                    <a:pt x="741" y="27"/>
                  </a:lnTo>
                  <a:lnTo>
                    <a:pt x="741" y="27"/>
                  </a:lnTo>
                  <a:lnTo>
                    <a:pt x="741" y="27"/>
                  </a:lnTo>
                  <a:lnTo>
                    <a:pt x="741" y="27"/>
                  </a:lnTo>
                  <a:lnTo>
                    <a:pt x="741" y="27"/>
                  </a:lnTo>
                  <a:lnTo>
                    <a:pt x="744" y="27"/>
                  </a:lnTo>
                  <a:lnTo>
                    <a:pt x="746" y="27"/>
                  </a:lnTo>
                  <a:lnTo>
                    <a:pt x="746" y="27"/>
                  </a:lnTo>
                  <a:lnTo>
                    <a:pt x="746" y="27"/>
                  </a:lnTo>
                  <a:lnTo>
                    <a:pt x="746" y="27"/>
                  </a:lnTo>
                  <a:lnTo>
                    <a:pt x="748" y="27"/>
                  </a:lnTo>
                  <a:lnTo>
                    <a:pt x="748" y="27"/>
                  </a:lnTo>
                  <a:lnTo>
                    <a:pt x="748" y="27"/>
                  </a:lnTo>
                  <a:lnTo>
                    <a:pt x="750" y="27"/>
                  </a:lnTo>
                  <a:lnTo>
                    <a:pt x="750" y="27"/>
                  </a:lnTo>
                  <a:lnTo>
                    <a:pt x="748" y="27"/>
                  </a:lnTo>
                  <a:lnTo>
                    <a:pt x="746" y="29"/>
                  </a:lnTo>
                  <a:lnTo>
                    <a:pt x="746" y="29"/>
                  </a:lnTo>
                  <a:lnTo>
                    <a:pt x="746" y="29"/>
                  </a:lnTo>
                  <a:lnTo>
                    <a:pt x="746" y="29"/>
                  </a:lnTo>
                  <a:lnTo>
                    <a:pt x="746" y="29"/>
                  </a:lnTo>
                  <a:lnTo>
                    <a:pt x="746" y="29"/>
                  </a:lnTo>
                  <a:lnTo>
                    <a:pt x="746" y="29"/>
                  </a:lnTo>
                  <a:lnTo>
                    <a:pt x="744" y="29"/>
                  </a:lnTo>
                  <a:lnTo>
                    <a:pt x="744" y="29"/>
                  </a:lnTo>
                  <a:lnTo>
                    <a:pt x="744" y="29"/>
                  </a:lnTo>
                  <a:lnTo>
                    <a:pt x="744" y="29"/>
                  </a:lnTo>
                  <a:lnTo>
                    <a:pt x="744" y="31"/>
                  </a:lnTo>
                  <a:lnTo>
                    <a:pt x="741" y="31"/>
                  </a:lnTo>
                  <a:lnTo>
                    <a:pt x="741" y="31"/>
                  </a:lnTo>
                  <a:lnTo>
                    <a:pt x="741" y="31"/>
                  </a:lnTo>
                  <a:lnTo>
                    <a:pt x="753" y="29"/>
                  </a:lnTo>
                  <a:lnTo>
                    <a:pt x="755" y="29"/>
                  </a:lnTo>
                  <a:lnTo>
                    <a:pt x="755" y="29"/>
                  </a:lnTo>
                  <a:lnTo>
                    <a:pt x="757" y="29"/>
                  </a:lnTo>
                  <a:lnTo>
                    <a:pt x="757" y="29"/>
                  </a:lnTo>
                  <a:lnTo>
                    <a:pt x="759" y="29"/>
                  </a:lnTo>
                  <a:lnTo>
                    <a:pt x="762" y="29"/>
                  </a:lnTo>
                  <a:lnTo>
                    <a:pt x="762" y="29"/>
                  </a:lnTo>
                  <a:lnTo>
                    <a:pt x="762" y="31"/>
                  </a:lnTo>
                  <a:lnTo>
                    <a:pt x="764" y="31"/>
                  </a:lnTo>
                  <a:lnTo>
                    <a:pt x="764" y="31"/>
                  </a:lnTo>
                  <a:lnTo>
                    <a:pt x="764" y="31"/>
                  </a:lnTo>
                  <a:lnTo>
                    <a:pt x="764" y="31"/>
                  </a:lnTo>
                  <a:lnTo>
                    <a:pt x="764" y="29"/>
                  </a:lnTo>
                  <a:lnTo>
                    <a:pt x="764" y="29"/>
                  </a:lnTo>
                  <a:lnTo>
                    <a:pt x="766" y="31"/>
                  </a:lnTo>
                  <a:lnTo>
                    <a:pt x="766" y="31"/>
                  </a:lnTo>
                  <a:lnTo>
                    <a:pt x="766" y="31"/>
                  </a:lnTo>
                  <a:lnTo>
                    <a:pt x="766" y="31"/>
                  </a:lnTo>
                  <a:lnTo>
                    <a:pt x="768" y="31"/>
                  </a:lnTo>
                  <a:lnTo>
                    <a:pt x="768" y="31"/>
                  </a:lnTo>
                  <a:lnTo>
                    <a:pt x="768" y="31"/>
                  </a:lnTo>
                  <a:lnTo>
                    <a:pt x="773" y="31"/>
                  </a:lnTo>
                  <a:lnTo>
                    <a:pt x="773" y="31"/>
                  </a:lnTo>
                  <a:lnTo>
                    <a:pt x="773" y="31"/>
                  </a:lnTo>
                  <a:lnTo>
                    <a:pt x="771" y="29"/>
                  </a:lnTo>
                  <a:lnTo>
                    <a:pt x="771" y="29"/>
                  </a:lnTo>
                  <a:lnTo>
                    <a:pt x="771" y="29"/>
                  </a:lnTo>
                  <a:lnTo>
                    <a:pt x="771" y="29"/>
                  </a:lnTo>
                  <a:lnTo>
                    <a:pt x="771" y="29"/>
                  </a:lnTo>
                  <a:lnTo>
                    <a:pt x="773" y="29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7" y="29"/>
                  </a:lnTo>
                  <a:lnTo>
                    <a:pt x="777" y="29"/>
                  </a:lnTo>
                  <a:lnTo>
                    <a:pt x="777" y="29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3" y="29"/>
                  </a:lnTo>
                  <a:lnTo>
                    <a:pt x="773" y="29"/>
                  </a:lnTo>
                  <a:lnTo>
                    <a:pt x="775" y="29"/>
                  </a:lnTo>
                  <a:lnTo>
                    <a:pt x="775" y="29"/>
                  </a:lnTo>
                  <a:lnTo>
                    <a:pt x="775" y="27"/>
                  </a:lnTo>
                  <a:lnTo>
                    <a:pt x="775" y="27"/>
                  </a:lnTo>
                  <a:lnTo>
                    <a:pt x="775" y="27"/>
                  </a:lnTo>
                  <a:lnTo>
                    <a:pt x="775" y="27"/>
                  </a:lnTo>
                  <a:lnTo>
                    <a:pt x="775" y="27"/>
                  </a:lnTo>
                  <a:lnTo>
                    <a:pt x="777" y="27"/>
                  </a:lnTo>
                  <a:lnTo>
                    <a:pt x="777" y="27"/>
                  </a:lnTo>
                  <a:lnTo>
                    <a:pt x="777" y="27"/>
                  </a:lnTo>
                  <a:lnTo>
                    <a:pt x="780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7"/>
                  </a:lnTo>
                  <a:lnTo>
                    <a:pt x="782" y="24"/>
                  </a:lnTo>
                  <a:lnTo>
                    <a:pt x="786" y="24"/>
                  </a:lnTo>
                  <a:lnTo>
                    <a:pt x="786" y="24"/>
                  </a:lnTo>
                  <a:lnTo>
                    <a:pt x="786" y="24"/>
                  </a:lnTo>
                  <a:lnTo>
                    <a:pt x="786" y="24"/>
                  </a:lnTo>
                  <a:lnTo>
                    <a:pt x="789" y="24"/>
                  </a:lnTo>
                  <a:lnTo>
                    <a:pt x="791" y="24"/>
                  </a:lnTo>
                  <a:lnTo>
                    <a:pt x="791" y="24"/>
                  </a:lnTo>
                  <a:lnTo>
                    <a:pt x="791" y="24"/>
                  </a:lnTo>
                  <a:lnTo>
                    <a:pt x="791" y="24"/>
                  </a:lnTo>
                  <a:lnTo>
                    <a:pt x="791" y="24"/>
                  </a:lnTo>
                  <a:lnTo>
                    <a:pt x="791" y="24"/>
                  </a:lnTo>
                  <a:lnTo>
                    <a:pt x="791" y="24"/>
                  </a:lnTo>
                  <a:lnTo>
                    <a:pt x="798" y="24"/>
                  </a:lnTo>
                  <a:lnTo>
                    <a:pt x="798" y="24"/>
                  </a:lnTo>
                  <a:lnTo>
                    <a:pt x="798" y="24"/>
                  </a:lnTo>
                  <a:lnTo>
                    <a:pt x="798" y="24"/>
                  </a:lnTo>
                  <a:lnTo>
                    <a:pt x="798" y="24"/>
                  </a:lnTo>
                  <a:lnTo>
                    <a:pt x="798" y="24"/>
                  </a:lnTo>
                  <a:lnTo>
                    <a:pt x="816" y="24"/>
                  </a:lnTo>
                  <a:lnTo>
                    <a:pt x="825" y="27"/>
                  </a:lnTo>
                  <a:lnTo>
                    <a:pt x="827" y="27"/>
                  </a:lnTo>
                  <a:lnTo>
                    <a:pt x="829" y="27"/>
                  </a:lnTo>
                  <a:lnTo>
                    <a:pt x="829" y="27"/>
                  </a:lnTo>
                  <a:lnTo>
                    <a:pt x="831" y="27"/>
                  </a:lnTo>
                  <a:lnTo>
                    <a:pt x="838" y="27"/>
                  </a:lnTo>
                  <a:lnTo>
                    <a:pt x="840" y="27"/>
                  </a:lnTo>
                  <a:lnTo>
                    <a:pt x="843" y="29"/>
                  </a:lnTo>
                  <a:lnTo>
                    <a:pt x="843" y="29"/>
                  </a:lnTo>
                  <a:lnTo>
                    <a:pt x="843" y="29"/>
                  </a:lnTo>
                  <a:lnTo>
                    <a:pt x="843" y="29"/>
                  </a:lnTo>
                  <a:lnTo>
                    <a:pt x="843" y="29"/>
                  </a:lnTo>
                  <a:lnTo>
                    <a:pt x="845" y="29"/>
                  </a:lnTo>
                  <a:lnTo>
                    <a:pt x="847" y="29"/>
                  </a:lnTo>
                  <a:lnTo>
                    <a:pt x="845" y="29"/>
                  </a:lnTo>
                  <a:lnTo>
                    <a:pt x="843" y="31"/>
                  </a:lnTo>
                  <a:lnTo>
                    <a:pt x="836" y="31"/>
                  </a:lnTo>
                  <a:lnTo>
                    <a:pt x="836" y="31"/>
                  </a:lnTo>
                  <a:lnTo>
                    <a:pt x="836" y="31"/>
                  </a:lnTo>
                  <a:lnTo>
                    <a:pt x="836" y="31"/>
                  </a:lnTo>
                  <a:lnTo>
                    <a:pt x="834" y="31"/>
                  </a:lnTo>
                  <a:lnTo>
                    <a:pt x="834" y="31"/>
                  </a:lnTo>
                  <a:lnTo>
                    <a:pt x="834" y="33"/>
                  </a:lnTo>
                  <a:lnTo>
                    <a:pt x="831" y="33"/>
                  </a:lnTo>
                  <a:lnTo>
                    <a:pt x="831" y="33"/>
                  </a:lnTo>
                  <a:lnTo>
                    <a:pt x="831" y="33"/>
                  </a:lnTo>
                  <a:lnTo>
                    <a:pt x="831" y="33"/>
                  </a:lnTo>
                  <a:lnTo>
                    <a:pt x="831" y="33"/>
                  </a:lnTo>
                  <a:lnTo>
                    <a:pt x="831" y="33"/>
                  </a:lnTo>
                  <a:lnTo>
                    <a:pt x="822" y="36"/>
                  </a:lnTo>
                  <a:lnTo>
                    <a:pt x="822" y="36"/>
                  </a:lnTo>
                  <a:lnTo>
                    <a:pt x="822" y="36"/>
                  </a:lnTo>
                  <a:lnTo>
                    <a:pt x="822" y="36"/>
                  </a:lnTo>
                  <a:lnTo>
                    <a:pt x="820" y="36"/>
                  </a:lnTo>
                  <a:lnTo>
                    <a:pt x="820" y="36"/>
                  </a:lnTo>
                  <a:lnTo>
                    <a:pt x="820" y="36"/>
                  </a:lnTo>
                  <a:lnTo>
                    <a:pt x="820" y="36"/>
                  </a:lnTo>
                  <a:lnTo>
                    <a:pt x="820" y="36"/>
                  </a:lnTo>
                  <a:lnTo>
                    <a:pt x="820" y="36"/>
                  </a:lnTo>
                  <a:lnTo>
                    <a:pt x="816" y="36"/>
                  </a:lnTo>
                  <a:lnTo>
                    <a:pt x="811" y="36"/>
                  </a:lnTo>
                  <a:lnTo>
                    <a:pt x="804" y="36"/>
                  </a:lnTo>
                  <a:lnTo>
                    <a:pt x="804" y="38"/>
                  </a:lnTo>
                  <a:lnTo>
                    <a:pt x="809" y="38"/>
                  </a:lnTo>
                  <a:lnTo>
                    <a:pt x="809" y="38"/>
                  </a:lnTo>
                  <a:lnTo>
                    <a:pt x="809" y="38"/>
                  </a:lnTo>
                  <a:lnTo>
                    <a:pt x="809" y="40"/>
                  </a:lnTo>
                  <a:lnTo>
                    <a:pt x="807" y="40"/>
                  </a:lnTo>
                  <a:lnTo>
                    <a:pt x="802" y="40"/>
                  </a:lnTo>
                  <a:lnTo>
                    <a:pt x="802" y="40"/>
                  </a:lnTo>
                  <a:lnTo>
                    <a:pt x="793" y="40"/>
                  </a:lnTo>
                  <a:lnTo>
                    <a:pt x="793" y="40"/>
                  </a:lnTo>
                  <a:lnTo>
                    <a:pt x="793" y="40"/>
                  </a:lnTo>
                  <a:lnTo>
                    <a:pt x="793" y="42"/>
                  </a:lnTo>
                  <a:lnTo>
                    <a:pt x="791" y="42"/>
                  </a:lnTo>
                  <a:lnTo>
                    <a:pt x="782" y="42"/>
                  </a:lnTo>
                  <a:lnTo>
                    <a:pt x="780" y="42"/>
                  </a:lnTo>
                  <a:lnTo>
                    <a:pt x="771" y="42"/>
                  </a:lnTo>
                  <a:lnTo>
                    <a:pt x="771" y="42"/>
                  </a:lnTo>
                  <a:lnTo>
                    <a:pt x="768" y="40"/>
                  </a:lnTo>
                  <a:lnTo>
                    <a:pt x="768" y="40"/>
                  </a:lnTo>
                  <a:lnTo>
                    <a:pt x="768" y="40"/>
                  </a:lnTo>
                  <a:lnTo>
                    <a:pt x="766" y="40"/>
                  </a:lnTo>
                  <a:lnTo>
                    <a:pt x="766" y="42"/>
                  </a:lnTo>
                  <a:lnTo>
                    <a:pt x="766" y="42"/>
                  </a:lnTo>
                  <a:lnTo>
                    <a:pt x="766" y="42"/>
                  </a:lnTo>
                  <a:lnTo>
                    <a:pt x="764" y="42"/>
                  </a:lnTo>
                  <a:lnTo>
                    <a:pt x="759" y="42"/>
                  </a:lnTo>
                  <a:lnTo>
                    <a:pt x="757" y="42"/>
                  </a:lnTo>
                  <a:lnTo>
                    <a:pt x="755" y="42"/>
                  </a:lnTo>
                  <a:lnTo>
                    <a:pt x="750" y="42"/>
                  </a:lnTo>
                  <a:lnTo>
                    <a:pt x="746" y="42"/>
                  </a:lnTo>
                  <a:lnTo>
                    <a:pt x="744" y="42"/>
                  </a:lnTo>
                  <a:lnTo>
                    <a:pt x="741" y="42"/>
                  </a:lnTo>
                  <a:lnTo>
                    <a:pt x="739" y="42"/>
                  </a:lnTo>
                  <a:lnTo>
                    <a:pt x="730" y="42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21" y="42"/>
                  </a:lnTo>
                  <a:lnTo>
                    <a:pt x="721" y="45"/>
                  </a:lnTo>
                  <a:lnTo>
                    <a:pt x="726" y="45"/>
                  </a:lnTo>
                  <a:lnTo>
                    <a:pt x="728" y="45"/>
                  </a:lnTo>
                  <a:lnTo>
                    <a:pt x="728" y="45"/>
                  </a:lnTo>
                  <a:lnTo>
                    <a:pt x="728" y="45"/>
                  </a:lnTo>
                  <a:lnTo>
                    <a:pt x="728" y="45"/>
                  </a:lnTo>
                  <a:lnTo>
                    <a:pt x="728" y="45"/>
                  </a:lnTo>
                  <a:lnTo>
                    <a:pt x="728" y="45"/>
                  </a:lnTo>
                  <a:lnTo>
                    <a:pt x="728" y="45"/>
                  </a:lnTo>
                  <a:lnTo>
                    <a:pt x="739" y="42"/>
                  </a:lnTo>
                  <a:lnTo>
                    <a:pt x="746" y="42"/>
                  </a:lnTo>
                  <a:lnTo>
                    <a:pt x="746" y="42"/>
                  </a:lnTo>
                  <a:lnTo>
                    <a:pt x="748" y="42"/>
                  </a:lnTo>
                  <a:lnTo>
                    <a:pt x="748" y="45"/>
                  </a:lnTo>
                  <a:lnTo>
                    <a:pt x="757" y="45"/>
                  </a:lnTo>
                  <a:lnTo>
                    <a:pt x="757" y="45"/>
                  </a:lnTo>
                  <a:lnTo>
                    <a:pt x="766" y="45"/>
                  </a:lnTo>
                  <a:lnTo>
                    <a:pt x="773" y="42"/>
                  </a:lnTo>
                  <a:lnTo>
                    <a:pt x="773" y="42"/>
                  </a:lnTo>
                  <a:lnTo>
                    <a:pt x="773" y="42"/>
                  </a:lnTo>
                  <a:lnTo>
                    <a:pt x="775" y="45"/>
                  </a:lnTo>
                  <a:lnTo>
                    <a:pt x="777" y="45"/>
                  </a:lnTo>
                  <a:lnTo>
                    <a:pt x="786" y="45"/>
                  </a:lnTo>
                  <a:lnTo>
                    <a:pt x="786" y="45"/>
                  </a:lnTo>
                  <a:lnTo>
                    <a:pt x="786" y="45"/>
                  </a:lnTo>
                  <a:lnTo>
                    <a:pt x="780" y="47"/>
                  </a:lnTo>
                  <a:lnTo>
                    <a:pt x="780" y="47"/>
                  </a:lnTo>
                  <a:lnTo>
                    <a:pt x="780" y="47"/>
                  </a:lnTo>
                  <a:lnTo>
                    <a:pt x="780" y="47"/>
                  </a:lnTo>
                  <a:lnTo>
                    <a:pt x="780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77" y="47"/>
                  </a:lnTo>
                  <a:lnTo>
                    <a:pt x="780" y="47"/>
                  </a:lnTo>
                  <a:lnTo>
                    <a:pt x="777" y="49"/>
                  </a:lnTo>
                  <a:lnTo>
                    <a:pt x="777" y="49"/>
                  </a:lnTo>
                  <a:lnTo>
                    <a:pt x="777" y="49"/>
                  </a:lnTo>
                  <a:lnTo>
                    <a:pt x="777" y="49"/>
                  </a:lnTo>
                  <a:lnTo>
                    <a:pt x="771" y="49"/>
                  </a:lnTo>
                  <a:lnTo>
                    <a:pt x="771" y="49"/>
                  </a:lnTo>
                  <a:lnTo>
                    <a:pt x="768" y="49"/>
                  </a:lnTo>
                  <a:lnTo>
                    <a:pt x="766" y="49"/>
                  </a:lnTo>
                  <a:lnTo>
                    <a:pt x="766" y="49"/>
                  </a:lnTo>
                  <a:lnTo>
                    <a:pt x="757" y="49"/>
                  </a:lnTo>
                  <a:lnTo>
                    <a:pt x="748" y="49"/>
                  </a:lnTo>
                  <a:lnTo>
                    <a:pt x="746" y="49"/>
                  </a:lnTo>
                  <a:lnTo>
                    <a:pt x="744" y="49"/>
                  </a:lnTo>
                  <a:lnTo>
                    <a:pt x="741" y="47"/>
                  </a:lnTo>
                  <a:lnTo>
                    <a:pt x="737" y="47"/>
                  </a:lnTo>
                  <a:lnTo>
                    <a:pt x="735" y="49"/>
                  </a:lnTo>
                  <a:lnTo>
                    <a:pt x="735" y="49"/>
                  </a:lnTo>
                  <a:lnTo>
                    <a:pt x="733" y="49"/>
                  </a:lnTo>
                  <a:lnTo>
                    <a:pt x="728" y="51"/>
                  </a:lnTo>
                  <a:lnTo>
                    <a:pt x="728" y="51"/>
                  </a:lnTo>
                  <a:lnTo>
                    <a:pt x="730" y="51"/>
                  </a:lnTo>
                  <a:lnTo>
                    <a:pt x="730" y="51"/>
                  </a:lnTo>
                  <a:lnTo>
                    <a:pt x="730" y="51"/>
                  </a:lnTo>
                  <a:lnTo>
                    <a:pt x="730" y="51"/>
                  </a:lnTo>
                  <a:lnTo>
                    <a:pt x="728" y="51"/>
                  </a:lnTo>
                  <a:lnTo>
                    <a:pt x="728" y="51"/>
                  </a:lnTo>
                  <a:lnTo>
                    <a:pt x="728" y="51"/>
                  </a:lnTo>
                  <a:lnTo>
                    <a:pt x="728" y="51"/>
                  </a:lnTo>
                  <a:lnTo>
                    <a:pt x="728" y="51"/>
                  </a:lnTo>
                  <a:lnTo>
                    <a:pt x="726" y="54"/>
                  </a:lnTo>
                  <a:lnTo>
                    <a:pt x="724" y="54"/>
                  </a:lnTo>
                  <a:lnTo>
                    <a:pt x="724" y="54"/>
                  </a:lnTo>
                  <a:lnTo>
                    <a:pt x="724" y="54"/>
                  </a:lnTo>
                  <a:lnTo>
                    <a:pt x="724" y="54"/>
                  </a:lnTo>
                  <a:lnTo>
                    <a:pt x="724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6"/>
                  </a:lnTo>
                  <a:lnTo>
                    <a:pt x="728" y="58"/>
                  </a:lnTo>
                  <a:lnTo>
                    <a:pt x="728" y="58"/>
                  </a:lnTo>
                  <a:lnTo>
                    <a:pt x="728" y="58"/>
                  </a:lnTo>
                  <a:lnTo>
                    <a:pt x="728" y="58"/>
                  </a:lnTo>
                  <a:lnTo>
                    <a:pt x="730" y="58"/>
                  </a:lnTo>
                  <a:lnTo>
                    <a:pt x="730" y="58"/>
                  </a:lnTo>
                  <a:lnTo>
                    <a:pt x="730" y="58"/>
                  </a:lnTo>
                  <a:lnTo>
                    <a:pt x="730" y="58"/>
                  </a:lnTo>
                  <a:lnTo>
                    <a:pt x="730" y="56"/>
                  </a:lnTo>
                  <a:lnTo>
                    <a:pt x="730" y="56"/>
                  </a:lnTo>
                  <a:lnTo>
                    <a:pt x="733" y="56"/>
                  </a:lnTo>
                  <a:lnTo>
                    <a:pt x="735" y="56"/>
                  </a:lnTo>
                  <a:lnTo>
                    <a:pt x="735" y="56"/>
                  </a:lnTo>
                  <a:lnTo>
                    <a:pt x="737" y="56"/>
                  </a:lnTo>
                  <a:lnTo>
                    <a:pt x="737" y="56"/>
                  </a:lnTo>
                  <a:lnTo>
                    <a:pt x="739" y="56"/>
                  </a:lnTo>
                  <a:lnTo>
                    <a:pt x="739" y="56"/>
                  </a:lnTo>
                  <a:lnTo>
                    <a:pt x="739" y="58"/>
                  </a:lnTo>
                  <a:lnTo>
                    <a:pt x="739" y="58"/>
                  </a:lnTo>
                  <a:lnTo>
                    <a:pt x="739" y="58"/>
                  </a:lnTo>
                  <a:lnTo>
                    <a:pt x="739" y="58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58"/>
                  </a:lnTo>
                  <a:lnTo>
                    <a:pt x="737" y="60"/>
                  </a:lnTo>
                  <a:lnTo>
                    <a:pt x="737" y="60"/>
                  </a:lnTo>
                  <a:lnTo>
                    <a:pt x="735" y="60"/>
                  </a:lnTo>
                  <a:lnTo>
                    <a:pt x="735" y="60"/>
                  </a:lnTo>
                  <a:lnTo>
                    <a:pt x="735" y="60"/>
                  </a:lnTo>
                  <a:lnTo>
                    <a:pt x="735" y="60"/>
                  </a:lnTo>
                  <a:lnTo>
                    <a:pt x="735" y="63"/>
                  </a:lnTo>
                  <a:lnTo>
                    <a:pt x="733" y="63"/>
                  </a:lnTo>
                  <a:lnTo>
                    <a:pt x="733" y="63"/>
                  </a:lnTo>
                  <a:lnTo>
                    <a:pt x="733" y="63"/>
                  </a:lnTo>
                  <a:lnTo>
                    <a:pt x="733" y="63"/>
                  </a:lnTo>
                  <a:lnTo>
                    <a:pt x="733" y="63"/>
                  </a:lnTo>
                  <a:lnTo>
                    <a:pt x="733" y="63"/>
                  </a:lnTo>
                  <a:lnTo>
                    <a:pt x="735" y="63"/>
                  </a:lnTo>
                  <a:lnTo>
                    <a:pt x="735" y="63"/>
                  </a:lnTo>
                  <a:lnTo>
                    <a:pt x="735" y="63"/>
                  </a:lnTo>
                  <a:lnTo>
                    <a:pt x="735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0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3" y="65"/>
                  </a:lnTo>
                  <a:lnTo>
                    <a:pt x="735" y="65"/>
                  </a:lnTo>
                  <a:lnTo>
                    <a:pt x="735" y="65"/>
                  </a:lnTo>
                  <a:lnTo>
                    <a:pt x="735" y="65"/>
                  </a:lnTo>
                  <a:lnTo>
                    <a:pt x="735" y="65"/>
                  </a:lnTo>
                  <a:lnTo>
                    <a:pt x="735" y="65"/>
                  </a:lnTo>
                  <a:lnTo>
                    <a:pt x="735" y="63"/>
                  </a:lnTo>
                  <a:lnTo>
                    <a:pt x="735" y="63"/>
                  </a:lnTo>
                  <a:lnTo>
                    <a:pt x="735" y="63"/>
                  </a:lnTo>
                  <a:lnTo>
                    <a:pt x="735" y="63"/>
                  </a:lnTo>
                  <a:lnTo>
                    <a:pt x="735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3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37" y="65"/>
                  </a:lnTo>
                  <a:lnTo>
                    <a:pt x="741" y="65"/>
                  </a:lnTo>
                  <a:lnTo>
                    <a:pt x="741" y="65"/>
                  </a:lnTo>
                  <a:lnTo>
                    <a:pt x="741" y="65"/>
                  </a:lnTo>
                  <a:lnTo>
                    <a:pt x="741" y="65"/>
                  </a:lnTo>
                  <a:lnTo>
                    <a:pt x="739" y="65"/>
                  </a:lnTo>
                  <a:lnTo>
                    <a:pt x="739" y="65"/>
                  </a:lnTo>
                  <a:lnTo>
                    <a:pt x="739" y="65"/>
                  </a:lnTo>
                  <a:lnTo>
                    <a:pt x="739" y="65"/>
                  </a:lnTo>
                  <a:lnTo>
                    <a:pt x="739" y="65"/>
                  </a:lnTo>
                  <a:lnTo>
                    <a:pt x="739" y="65"/>
                  </a:lnTo>
                  <a:lnTo>
                    <a:pt x="739" y="67"/>
                  </a:lnTo>
                  <a:lnTo>
                    <a:pt x="739" y="67"/>
                  </a:lnTo>
                  <a:lnTo>
                    <a:pt x="739" y="67"/>
                  </a:lnTo>
                  <a:lnTo>
                    <a:pt x="739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7" y="67"/>
                  </a:lnTo>
                  <a:lnTo>
                    <a:pt x="735" y="67"/>
                  </a:lnTo>
                  <a:lnTo>
                    <a:pt x="735" y="67"/>
                  </a:lnTo>
                  <a:lnTo>
                    <a:pt x="735" y="67"/>
                  </a:lnTo>
                  <a:lnTo>
                    <a:pt x="735" y="67"/>
                  </a:lnTo>
                  <a:lnTo>
                    <a:pt x="733" y="67"/>
                  </a:lnTo>
                  <a:lnTo>
                    <a:pt x="733" y="67"/>
                  </a:lnTo>
                  <a:lnTo>
                    <a:pt x="733" y="67"/>
                  </a:lnTo>
                  <a:lnTo>
                    <a:pt x="733" y="67"/>
                  </a:lnTo>
                  <a:lnTo>
                    <a:pt x="733" y="67"/>
                  </a:lnTo>
                  <a:lnTo>
                    <a:pt x="730" y="67"/>
                  </a:lnTo>
                  <a:lnTo>
                    <a:pt x="730" y="67"/>
                  </a:lnTo>
                  <a:lnTo>
                    <a:pt x="730" y="67"/>
                  </a:lnTo>
                  <a:lnTo>
                    <a:pt x="730" y="67"/>
                  </a:lnTo>
                  <a:lnTo>
                    <a:pt x="728" y="67"/>
                  </a:lnTo>
                  <a:lnTo>
                    <a:pt x="728" y="67"/>
                  </a:lnTo>
                  <a:lnTo>
                    <a:pt x="728" y="67"/>
                  </a:lnTo>
                  <a:lnTo>
                    <a:pt x="728" y="67"/>
                  </a:lnTo>
                  <a:lnTo>
                    <a:pt x="728" y="69"/>
                  </a:lnTo>
                  <a:lnTo>
                    <a:pt x="726" y="69"/>
                  </a:lnTo>
                  <a:lnTo>
                    <a:pt x="726" y="69"/>
                  </a:lnTo>
                  <a:lnTo>
                    <a:pt x="726" y="69"/>
                  </a:lnTo>
                  <a:lnTo>
                    <a:pt x="728" y="69"/>
                  </a:lnTo>
                  <a:lnTo>
                    <a:pt x="728" y="69"/>
                  </a:lnTo>
                  <a:lnTo>
                    <a:pt x="728" y="72"/>
                  </a:lnTo>
                  <a:lnTo>
                    <a:pt x="728" y="72"/>
                  </a:lnTo>
                  <a:lnTo>
                    <a:pt x="728" y="72"/>
                  </a:lnTo>
                  <a:lnTo>
                    <a:pt x="726" y="72"/>
                  </a:lnTo>
                  <a:lnTo>
                    <a:pt x="726" y="72"/>
                  </a:lnTo>
                  <a:lnTo>
                    <a:pt x="721" y="72"/>
                  </a:lnTo>
                  <a:lnTo>
                    <a:pt x="719" y="72"/>
                  </a:lnTo>
                  <a:lnTo>
                    <a:pt x="719" y="72"/>
                  </a:lnTo>
                  <a:lnTo>
                    <a:pt x="719" y="72"/>
                  </a:lnTo>
                  <a:lnTo>
                    <a:pt x="717" y="72"/>
                  </a:lnTo>
                  <a:lnTo>
                    <a:pt x="717" y="72"/>
                  </a:lnTo>
                  <a:lnTo>
                    <a:pt x="717" y="72"/>
                  </a:lnTo>
                  <a:lnTo>
                    <a:pt x="717" y="72"/>
                  </a:lnTo>
                  <a:lnTo>
                    <a:pt x="717" y="74"/>
                  </a:lnTo>
                  <a:lnTo>
                    <a:pt x="715" y="74"/>
                  </a:lnTo>
                  <a:lnTo>
                    <a:pt x="712" y="72"/>
                  </a:lnTo>
                  <a:lnTo>
                    <a:pt x="712" y="74"/>
                  </a:lnTo>
                  <a:lnTo>
                    <a:pt x="710" y="74"/>
                  </a:lnTo>
                  <a:lnTo>
                    <a:pt x="712" y="74"/>
                  </a:lnTo>
                  <a:lnTo>
                    <a:pt x="712" y="74"/>
                  </a:lnTo>
                  <a:lnTo>
                    <a:pt x="712" y="74"/>
                  </a:lnTo>
                  <a:lnTo>
                    <a:pt x="712" y="74"/>
                  </a:lnTo>
                  <a:lnTo>
                    <a:pt x="710" y="74"/>
                  </a:lnTo>
                  <a:lnTo>
                    <a:pt x="708" y="76"/>
                  </a:lnTo>
                  <a:lnTo>
                    <a:pt x="708" y="76"/>
                  </a:lnTo>
                  <a:lnTo>
                    <a:pt x="712" y="76"/>
                  </a:lnTo>
                  <a:lnTo>
                    <a:pt x="712" y="76"/>
                  </a:lnTo>
                  <a:lnTo>
                    <a:pt x="712" y="76"/>
                  </a:lnTo>
                  <a:lnTo>
                    <a:pt x="712" y="76"/>
                  </a:lnTo>
                  <a:lnTo>
                    <a:pt x="712" y="76"/>
                  </a:lnTo>
                  <a:lnTo>
                    <a:pt x="712" y="76"/>
                  </a:lnTo>
                  <a:lnTo>
                    <a:pt x="710" y="78"/>
                  </a:lnTo>
                  <a:lnTo>
                    <a:pt x="708" y="78"/>
                  </a:lnTo>
                  <a:lnTo>
                    <a:pt x="708" y="78"/>
                  </a:lnTo>
                  <a:lnTo>
                    <a:pt x="708" y="78"/>
                  </a:lnTo>
                  <a:lnTo>
                    <a:pt x="708" y="78"/>
                  </a:lnTo>
                  <a:lnTo>
                    <a:pt x="708" y="78"/>
                  </a:lnTo>
                  <a:lnTo>
                    <a:pt x="706" y="81"/>
                  </a:lnTo>
                  <a:lnTo>
                    <a:pt x="706" y="81"/>
                  </a:lnTo>
                  <a:lnTo>
                    <a:pt x="706" y="81"/>
                  </a:lnTo>
                  <a:lnTo>
                    <a:pt x="706" y="81"/>
                  </a:lnTo>
                  <a:lnTo>
                    <a:pt x="706" y="81"/>
                  </a:lnTo>
                  <a:lnTo>
                    <a:pt x="706" y="83"/>
                  </a:lnTo>
                  <a:lnTo>
                    <a:pt x="706" y="83"/>
                  </a:lnTo>
                  <a:lnTo>
                    <a:pt x="706" y="83"/>
                  </a:lnTo>
                  <a:lnTo>
                    <a:pt x="703" y="83"/>
                  </a:lnTo>
                  <a:lnTo>
                    <a:pt x="703" y="83"/>
                  </a:lnTo>
                  <a:lnTo>
                    <a:pt x="703" y="83"/>
                  </a:lnTo>
                  <a:lnTo>
                    <a:pt x="703" y="85"/>
                  </a:lnTo>
                  <a:lnTo>
                    <a:pt x="703" y="85"/>
                  </a:lnTo>
                  <a:lnTo>
                    <a:pt x="703" y="85"/>
                  </a:lnTo>
                  <a:lnTo>
                    <a:pt x="703" y="85"/>
                  </a:lnTo>
                  <a:lnTo>
                    <a:pt x="703" y="85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9" y="87"/>
                  </a:lnTo>
                  <a:lnTo>
                    <a:pt x="697" y="90"/>
                  </a:lnTo>
                  <a:lnTo>
                    <a:pt x="697" y="90"/>
                  </a:lnTo>
                  <a:lnTo>
                    <a:pt x="697" y="90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7" y="90"/>
                  </a:lnTo>
                  <a:lnTo>
                    <a:pt x="697" y="90"/>
                  </a:lnTo>
                  <a:lnTo>
                    <a:pt x="697" y="90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4" y="90"/>
                  </a:lnTo>
                  <a:lnTo>
                    <a:pt x="694" y="92"/>
                  </a:lnTo>
                  <a:lnTo>
                    <a:pt x="694" y="92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2"/>
                  </a:lnTo>
                  <a:lnTo>
                    <a:pt x="697" y="92"/>
                  </a:lnTo>
                  <a:lnTo>
                    <a:pt x="699" y="92"/>
                  </a:lnTo>
                  <a:lnTo>
                    <a:pt x="699" y="92"/>
                  </a:lnTo>
                  <a:lnTo>
                    <a:pt x="699" y="92"/>
                  </a:lnTo>
                  <a:lnTo>
                    <a:pt x="699" y="92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9" y="94"/>
                  </a:lnTo>
                  <a:lnTo>
                    <a:pt x="699" y="94"/>
                  </a:lnTo>
                  <a:lnTo>
                    <a:pt x="701" y="92"/>
                  </a:lnTo>
                  <a:lnTo>
                    <a:pt x="701" y="92"/>
                  </a:lnTo>
                  <a:lnTo>
                    <a:pt x="701" y="92"/>
                  </a:lnTo>
                  <a:lnTo>
                    <a:pt x="701" y="92"/>
                  </a:lnTo>
                  <a:lnTo>
                    <a:pt x="701" y="92"/>
                  </a:lnTo>
                  <a:lnTo>
                    <a:pt x="701" y="90"/>
                  </a:lnTo>
                  <a:lnTo>
                    <a:pt x="701" y="90"/>
                  </a:lnTo>
                  <a:lnTo>
                    <a:pt x="708" y="87"/>
                  </a:lnTo>
                  <a:lnTo>
                    <a:pt x="708" y="87"/>
                  </a:lnTo>
                  <a:lnTo>
                    <a:pt x="710" y="87"/>
                  </a:lnTo>
                  <a:lnTo>
                    <a:pt x="719" y="90"/>
                  </a:lnTo>
                  <a:lnTo>
                    <a:pt x="721" y="90"/>
                  </a:lnTo>
                  <a:lnTo>
                    <a:pt x="728" y="92"/>
                  </a:lnTo>
                  <a:lnTo>
                    <a:pt x="728" y="92"/>
                  </a:lnTo>
                  <a:lnTo>
                    <a:pt x="730" y="92"/>
                  </a:lnTo>
                  <a:lnTo>
                    <a:pt x="730" y="92"/>
                  </a:lnTo>
                  <a:lnTo>
                    <a:pt x="730" y="92"/>
                  </a:lnTo>
                  <a:lnTo>
                    <a:pt x="730" y="92"/>
                  </a:lnTo>
                  <a:lnTo>
                    <a:pt x="730" y="92"/>
                  </a:lnTo>
                  <a:lnTo>
                    <a:pt x="733" y="92"/>
                  </a:lnTo>
                  <a:lnTo>
                    <a:pt x="733" y="92"/>
                  </a:lnTo>
                  <a:lnTo>
                    <a:pt x="733" y="92"/>
                  </a:lnTo>
                  <a:lnTo>
                    <a:pt x="733" y="94"/>
                  </a:lnTo>
                  <a:lnTo>
                    <a:pt x="733" y="94"/>
                  </a:lnTo>
                  <a:lnTo>
                    <a:pt x="733" y="94"/>
                  </a:lnTo>
                  <a:lnTo>
                    <a:pt x="733" y="94"/>
                  </a:lnTo>
                  <a:lnTo>
                    <a:pt x="730" y="94"/>
                  </a:lnTo>
                  <a:lnTo>
                    <a:pt x="730" y="94"/>
                  </a:lnTo>
                  <a:lnTo>
                    <a:pt x="728" y="94"/>
                  </a:lnTo>
                  <a:lnTo>
                    <a:pt x="728" y="94"/>
                  </a:lnTo>
                  <a:lnTo>
                    <a:pt x="728" y="94"/>
                  </a:lnTo>
                  <a:lnTo>
                    <a:pt x="726" y="94"/>
                  </a:lnTo>
                  <a:lnTo>
                    <a:pt x="719" y="92"/>
                  </a:lnTo>
                  <a:lnTo>
                    <a:pt x="719" y="92"/>
                  </a:lnTo>
                  <a:lnTo>
                    <a:pt x="717" y="92"/>
                  </a:lnTo>
                  <a:lnTo>
                    <a:pt x="715" y="92"/>
                  </a:lnTo>
                  <a:lnTo>
                    <a:pt x="715" y="92"/>
                  </a:lnTo>
                  <a:lnTo>
                    <a:pt x="708" y="92"/>
                  </a:lnTo>
                  <a:lnTo>
                    <a:pt x="708" y="92"/>
                  </a:lnTo>
                  <a:lnTo>
                    <a:pt x="708" y="94"/>
                  </a:lnTo>
                  <a:lnTo>
                    <a:pt x="715" y="94"/>
                  </a:lnTo>
                  <a:lnTo>
                    <a:pt x="715" y="94"/>
                  </a:lnTo>
                  <a:lnTo>
                    <a:pt x="715" y="94"/>
                  </a:lnTo>
                  <a:lnTo>
                    <a:pt x="715" y="94"/>
                  </a:lnTo>
                  <a:lnTo>
                    <a:pt x="715" y="94"/>
                  </a:lnTo>
                  <a:lnTo>
                    <a:pt x="715" y="94"/>
                  </a:lnTo>
                  <a:lnTo>
                    <a:pt x="715" y="94"/>
                  </a:lnTo>
                  <a:lnTo>
                    <a:pt x="712" y="94"/>
                  </a:lnTo>
                  <a:lnTo>
                    <a:pt x="712" y="94"/>
                  </a:lnTo>
                  <a:lnTo>
                    <a:pt x="712" y="94"/>
                  </a:lnTo>
                  <a:lnTo>
                    <a:pt x="712" y="94"/>
                  </a:lnTo>
                  <a:lnTo>
                    <a:pt x="712" y="94"/>
                  </a:lnTo>
                  <a:lnTo>
                    <a:pt x="712" y="94"/>
                  </a:lnTo>
                  <a:lnTo>
                    <a:pt x="712" y="96"/>
                  </a:lnTo>
                  <a:lnTo>
                    <a:pt x="712" y="96"/>
                  </a:lnTo>
                  <a:lnTo>
                    <a:pt x="710" y="96"/>
                  </a:lnTo>
                  <a:lnTo>
                    <a:pt x="708" y="94"/>
                  </a:lnTo>
                  <a:lnTo>
                    <a:pt x="706" y="94"/>
                  </a:lnTo>
                  <a:lnTo>
                    <a:pt x="706" y="94"/>
                  </a:lnTo>
                  <a:lnTo>
                    <a:pt x="706" y="94"/>
                  </a:lnTo>
                  <a:lnTo>
                    <a:pt x="706" y="94"/>
                  </a:lnTo>
                  <a:lnTo>
                    <a:pt x="708" y="94"/>
                  </a:lnTo>
                  <a:lnTo>
                    <a:pt x="708" y="96"/>
                  </a:lnTo>
                  <a:lnTo>
                    <a:pt x="715" y="96"/>
                  </a:lnTo>
                  <a:lnTo>
                    <a:pt x="717" y="96"/>
                  </a:lnTo>
                  <a:lnTo>
                    <a:pt x="717" y="96"/>
                  </a:lnTo>
                  <a:lnTo>
                    <a:pt x="715" y="96"/>
                  </a:lnTo>
                  <a:lnTo>
                    <a:pt x="712" y="96"/>
                  </a:lnTo>
                  <a:lnTo>
                    <a:pt x="712" y="96"/>
                  </a:lnTo>
                  <a:lnTo>
                    <a:pt x="710" y="99"/>
                  </a:lnTo>
                  <a:lnTo>
                    <a:pt x="712" y="99"/>
                  </a:lnTo>
                  <a:lnTo>
                    <a:pt x="715" y="96"/>
                  </a:lnTo>
                  <a:lnTo>
                    <a:pt x="721" y="99"/>
                  </a:lnTo>
                  <a:lnTo>
                    <a:pt x="724" y="99"/>
                  </a:lnTo>
                  <a:lnTo>
                    <a:pt x="724" y="99"/>
                  </a:lnTo>
                  <a:lnTo>
                    <a:pt x="724" y="99"/>
                  </a:lnTo>
                  <a:lnTo>
                    <a:pt x="726" y="99"/>
                  </a:lnTo>
                  <a:lnTo>
                    <a:pt x="726" y="99"/>
                  </a:lnTo>
                  <a:lnTo>
                    <a:pt x="726" y="101"/>
                  </a:lnTo>
                  <a:lnTo>
                    <a:pt x="726" y="101"/>
                  </a:lnTo>
                  <a:lnTo>
                    <a:pt x="726" y="101"/>
                  </a:lnTo>
                  <a:lnTo>
                    <a:pt x="728" y="101"/>
                  </a:lnTo>
                  <a:lnTo>
                    <a:pt x="728" y="101"/>
                  </a:lnTo>
                  <a:lnTo>
                    <a:pt x="728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101"/>
                  </a:lnTo>
                  <a:lnTo>
                    <a:pt x="730" y="99"/>
                  </a:lnTo>
                  <a:lnTo>
                    <a:pt x="730" y="99"/>
                  </a:lnTo>
                  <a:lnTo>
                    <a:pt x="730" y="99"/>
                  </a:lnTo>
                  <a:lnTo>
                    <a:pt x="730" y="99"/>
                  </a:lnTo>
                  <a:lnTo>
                    <a:pt x="730" y="99"/>
                  </a:lnTo>
                  <a:lnTo>
                    <a:pt x="733" y="99"/>
                  </a:lnTo>
                  <a:lnTo>
                    <a:pt x="737" y="99"/>
                  </a:lnTo>
                  <a:lnTo>
                    <a:pt x="737" y="99"/>
                  </a:lnTo>
                  <a:lnTo>
                    <a:pt x="737" y="99"/>
                  </a:lnTo>
                  <a:lnTo>
                    <a:pt x="737" y="99"/>
                  </a:lnTo>
                  <a:lnTo>
                    <a:pt x="739" y="99"/>
                  </a:lnTo>
                  <a:lnTo>
                    <a:pt x="739" y="101"/>
                  </a:lnTo>
                  <a:lnTo>
                    <a:pt x="739" y="101"/>
                  </a:lnTo>
                  <a:lnTo>
                    <a:pt x="739" y="101"/>
                  </a:lnTo>
                  <a:lnTo>
                    <a:pt x="741" y="101"/>
                  </a:lnTo>
                  <a:lnTo>
                    <a:pt x="741" y="101"/>
                  </a:lnTo>
                  <a:lnTo>
                    <a:pt x="741" y="103"/>
                  </a:lnTo>
                  <a:lnTo>
                    <a:pt x="741" y="103"/>
                  </a:lnTo>
                  <a:lnTo>
                    <a:pt x="739" y="103"/>
                  </a:lnTo>
                  <a:lnTo>
                    <a:pt x="739" y="103"/>
                  </a:lnTo>
                  <a:lnTo>
                    <a:pt x="739" y="105"/>
                  </a:lnTo>
                  <a:lnTo>
                    <a:pt x="739" y="105"/>
                  </a:lnTo>
                  <a:lnTo>
                    <a:pt x="739" y="105"/>
                  </a:lnTo>
                  <a:lnTo>
                    <a:pt x="739" y="105"/>
                  </a:lnTo>
                  <a:lnTo>
                    <a:pt x="739" y="105"/>
                  </a:lnTo>
                  <a:lnTo>
                    <a:pt x="739" y="108"/>
                  </a:lnTo>
                  <a:lnTo>
                    <a:pt x="739" y="108"/>
                  </a:lnTo>
                  <a:lnTo>
                    <a:pt x="737" y="108"/>
                  </a:lnTo>
                  <a:lnTo>
                    <a:pt x="737" y="108"/>
                  </a:lnTo>
                  <a:lnTo>
                    <a:pt x="737" y="108"/>
                  </a:lnTo>
                  <a:lnTo>
                    <a:pt x="737" y="108"/>
                  </a:lnTo>
                  <a:lnTo>
                    <a:pt x="737" y="108"/>
                  </a:lnTo>
                  <a:lnTo>
                    <a:pt x="737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08"/>
                  </a:lnTo>
                  <a:lnTo>
                    <a:pt x="735" y="110"/>
                  </a:lnTo>
                  <a:lnTo>
                    <a:pt x="733" y="110"/>
                  </a:lnTo>
                  <a:lnTo>
                    <a:pt x="733" y="108"/>
                  </a:lnTo>
                  <a:lnTo>
                    <a:pt x="733" y="108"/>
                  </a:lnTo>
                  <a:lnTo>
                    <a:pt x="733" y="108"/>
                  </a:lnTo>
                  <a:lnTo>
                    <a:pt x="733" y="108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4" y="108"/>
                  </a:lnTo>
                  <a:lnTo>
                    <a:pt x="724" y="105"/>
                  </a:lnTo>
                  <a:lnTo>
                    <a:pt x="724" y="105"/>
                  </a:lnTo>
                  <a:lnTo>
                    <a:pt x="721" y="105"/>
                  </a:lnTo>
                  <a:lnTo>
                    <a:pt x="721" y="105"/>
                  </a:lnTo>
                  <a:lnTo>
                    <a:pt x="717" y="105"/>
                  </a:lnTo>
                  <a:lnTo>
                    <a:pt x="712" y="105"/>
                  </a:lnTo>
                  <a:lnTo>
                    <a:pt x="712" y="105"/>
                  </a:lnTo>
                  <a:lnTo>
                    <a:pt x="712" y="105"/>
                  </a:lnTo>
                  <a:lnTo>
                    <a:pt x="712" y="105"/>
                  </a:lnTo>
                  <a:lnTo>
                    <a:pt x="710" y="105"/>
                  </a:lnTo>
                  <a:lnTo>
                    <a:pt x="708" y="105"/>
                  </a:lnTo>
                  <a:lnTo>
                    <a:pt x="708" y="105"/>
                  </a:lnTo>
                  <a:lnTo>
                    <a:pt x="708" y="105"/>
                  </a:lnTo>
                  <a:lnTo>
                    <a:pt x="708" y="105"/>
                  </a:lnTo>
                  <a:lnTo>
                    <a:pt x="706" y="105"/>
                  </a:lnTo>
                  <a:lnTo>
                    <a:pt x="706" y="105"/>
                  </a:lnTo>
                  <a:lnTo>
                    <a:pt x="706" y="105"/>
                  </a:lnTo>
                  <a:lnTo>
                    <a:pt x="706" y="105"/>
                  </a:lnTo>
                  <a:lnTo>
                    <a:pt x="706" y="105"/>
                  </a:lnTo>
                  <a:lnTo>
                    <a:pt x="703" y="105"/>
                  </a:lnTo>
                  <a:lnTo>
                    <a:pt x="701" y="105"/>
                  </a:lnTo>
                  <a:lnTo>
                    <a:pt x="697" y="105"/>
                  </a:lnTo>
                  <a:lnTo>
                    <a:pt x="694" y="105"/>
                  </a:lnTo>
                  <a:lnTo>
                    <a:pt x="692" y="105"/>
                  </a:lnTo>
                  <a:lnTo>
                    <a:pt x="692" y="105"/>
                  </a:lnTo>
                  <a:lnTo>
                    <a:pt x="692" y="105"/>
                  </a:lnTo>
                  <a:lnTo>
                    <a:pt x="694" y="105"/>
                  </a:lnTo>
                  <a:lnTo>
                    <a:pt x="697" y="105"/>
                  </a:lnTo>
                  <a:lnTo>
                    <a:pt x="701" y="105"/>
                  </a:lnTo>
                  <a:lnTo>
                    <a:pt x="701" y="105"/>
                  </a:lnTo>
                  <a:lnTo>
                    <a:pt x="703" y="108"/>
                  </a:lnTo>
                  <a:lnTo>
                    <a:pt x="703" y="108"/>
                  </a:lnTo>
                  <a:lnTo>
                    <a:pt x="706" y="108"/>
                  </a:lnTo>
                  <a:lnTo>
                    <a:pt x="706" y="108"/>
                  </a:lnTo>
                  <a:lnTo>
                    <a:pt x="703" y="108"/>
                  </a:lnTo>
                  <a:lnTo>
                    <a:pt x="701" y="108"/>
                  </a:lnTo>
                  <a:lnTo>
                    <a:pt x="701" y="108"/>
                  </a:lnTo>
                  <a:lnTo>
                    <a:pt x="701" y="108"/>
                  </a:lnTo>
                  <a:lnTo>
                    <a:pt x="701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7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9" y="108"/>
                  </a:lnTo>
                  <a:lnTo>
                    <a:pt x="697" y="108"/>
                  </a:lnTo>
                  <a:lnTo>
                    <a:pt x="697" y="108"/>
                  </a:lnTo>
                  <a:lnTo>
                    <a:pt x="697" y="108"/>
                  </a:lnTo>
                  <a:lnTo>
                    <a:pt x="694" y="110"/>
                  </a:lnTo>
                  <a:lnTo>
                    <a:pt x="692" y="110"/>
                  </a:lnTo>
                  <a:lnTo>
                    <a:pt x="692" y="110"/>
                  </a:lnTo>
                  <a:lnTo>
                    <a:pt x="692" y="110"/>
                  </a:lnTo>
                  <a:lnTo>
                    <a:pt x="692" y="110"/>
                  </a:lnTo>
                  <a:lnTo>
                    <a:pt x="692" y="110"/>
                  </a:lnTo>
                  <a:lnTo>
                    <a:pt x="692" y="110"/>
                  </a:lnTo>
                  <a:lnTo>
                    <a:pt x="690" y="110"/>
                  </a:lnTo>
                  <a:lnTo>
                    <a:pt x="690" y="110"/>
                  </a:lnTo>
                  <a:lnTo>
                    <a:pt x="690" y="110"/>
                  </a:lnTo>
                  <a:lnTo>
                    <a:pt x="690" y="110"/>
                  </a:lnTo>
                  <a:lnTo>
                    <a:pt x="690" y="108"/>
                  </a:lnTo>
                  <a:lnTo>
                    <a:pt x="690" y="108"/>
                  </a:lnTo>
                  <a:lnTo>
                    <a:pt x="688" y="108"/>
                  </a:lnTo>
                  <a:lnTo>
                    <a:pt x="688" y="108"/>
                  </a:lnTo>
                  <a:lnTo>
                    <a:pt x="688" y="108"/>
                  </a:lnTo>
                  <a:lnTo>
                    <a:pt x="685" y="108"/>
                  </a:lnTo>
                  <a:lnTo>
                    <a:pt x="685" y="108"/>
                  </a:lnTo>
                  <a:lnTo>
                    <a:pt x="685" y="105"/>
                  </a:lnTo>
                  <a:lnTo>
                    <a:pt x="685" y="105"/>
                  </a:lnTo>
                  <a:lnTo>
                    <a:pt x="681" y="108"/>
                  </a:lnTo>
                  <a:lnTo>
                    <a:pt x="681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3" y="108"/>
                  </a:lnTo>
                  <a:lnTo>
                    <a:pt x="681" y="108"/>
                  </a:lnTo>
                  <a:lnTo>
                    <a:pt x="679" y="108"/>
                  </a:lnTo>
                  <a:lnTo>
                    <a:pt x="679" y="108"/>
                  </a:lnTo>
                  <a:lnTo>
                    <a:pt x="676" y="110"/>
                  </a:lnTo>
                  <a:lnTo>
                    <a:pt x="676" y="110"/>
                  </a:lnTo>
                  <a:lnTo>
                    <a:pt x="679" y="110"/>
                  </a:lnTo>
                  <a:lnTo>
                    <a:pt x="679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0"/>
                  </a:lnTo>
                  <a:lnTo>
                    <a:pt x="681" y="112"/>
                  </a:lnTo>
                  <a:lnTo>
                    <a:pt x="681" y="112"/>
                  </a:lnTo>
                  <a:lnTo>
                    <a:pt x="681" y="112"/>
                  </a:lnTo>
                  <a:lnTo>
                    <a:pt x="681" y="112"/>
                  </a:lnTo>
                  <a:lnTo>
                    <a:pt x="681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2"/>
                  </a:lnTo>
                  <a:lnTo>
                    <a:pt x="683" y="110"/>
                  </a:lnTo>
                  <a:lnTo>
                    <a:pt x="683" y="110"/>
                  </a:lnTo>
                  <a:lnTo>
                    <a:pt x="685" y="110"/>
                  </a:lnTo>
                  <a:lnTo>
                    <a:pt x="685" y="110"/>
                  </a:lnTo>
                  <a:lnTo>
                    <a:pt x="685" y="110"/>
                  </a:lnTo>
                  <a:lnTo>
                    <a:pt x="685" y="110"/>
                  </a:lnTo>
                  <a:lnTo>
                    <a:pt x="685" y="110"/>
                  </a:lnTo>
                  <a:lnTo>
                    <a:pt x="685" y="110"/>
                  </a:lnTo>
                  <a:lnTo>
                    <a:pt x="685" y="110"/>
                  </a:lnTo>
                  <a:lnTo>
                    <a:pt x="688" y="110"/>
                  </a:lnTo>
                  <a:lnTo>
                    <a:pt x="690" y="110"/>
                  </a:lnTo>
                  <a:lnTo>
                    <a:pt x="690" y="112"/>
                  </a:lnTo>
                  <a:lnTo>
                    <a:pt x="690" y="112"/>
                  </a:lnTo>
                  <a:lnTo>
                    <a:pt x="688" y="112"/>
                  </a:lnTo>
                  <a:lnTo>
                    <a:pt x="688" y="112"/>
                  </a:lnTo>
                  <a:lnTo>
                    <a:pt x="685" y="112"/>
                  </a:lnTo>
                  <a:lnTo>
                    <a:pt x="685" y="112"/>
                  </a:lnTo>
                  <a:lnTo>
                    <a:pt x="688" y="112"/>
                  </a:lnTo>
                  <a:lnTo>
                    <a:pt x="688" y="112"/>
                  </a:lnTo>
                  <a:lnTo>
                    <a:pt x="688" y="112"/>
                  </a:lnTo>
                  <a:lnTo>
                    <a:pt x="688" y="112"/>
                  </a:lnTo>
                  <a:lnTo>
                    <a:pt x="690" y="112"/>
                  </a:lnTo>
                  <a:lnTo>
                    <a:pt x="692" y="112"/>
                  </a:lnTo>
                  <a:lnTo>
                    <a:pt x="685" y="112"/>
                  </a:lnTo>
                  <a:lnTo>
                    <a:pt x="685" y="114"/>
                  </a:lnTo>
                  <a:lnTo>
                    <a:pt x="690" y="112"/>
                  </a:lnTo>
                  <a:lnTo>
                    <a:pt x="690" y="112"/>
                  </a:lnTo>
                  <a:lnTo>
                    <a:pt x="690" y="112"/>
                  </a:lnTo>
                  <a:lnTo>
                    <a:pt x="690" y="112"/>
                  </a:lnTo>
                  <a:lnTo>
                    <a:pt x="690" y="114"/>
                  </a:lnTo>
                  <a:lnTo>
                    <a:pt x="690" y="114"/>
                  </a:lnTo>
                  <a:lnTo>
                    <a:pt x="690" y="114"/>
                  </a:lnTo>
                  <a:lnTo>
                    <a:pt x="685" y="114"/>
                  </a:lnTo>
                  <a:lnTo>
                    <a:pt x="683" y="114"/>
                  </a:lnTo>
                  <a:lnTo>
                    <a:pt x="683" y="114"/>
                  </a:lnTo>
                  <a:lnTo>
                    <a:pt x="683" y="112"/>
                  </a:lnTo>
                  <a:lnTo>
                    <a:pt x="681" y="112"/>
                  </a:lnTo>
                  <a:lnTo>
                    <a:pt x="681" y="112"/>
                  </a:lnTo>
                  <a:lnTo>
                    <a:pt x="681" y="112"/>
                  </a:lnTo>
                  <a:lnTo>
                    <a:pt x="681" y="114"/>
                  </a:lnTo>
                  <a:lnTo>
                    <a:pt x="681" y="114"/>
                  </a:lnTo>
                  <a:lnTo>
                    <a:pt x="681" y="114"/>
                  </a:lnTo>
                  <a:lnTo>
                    <a:pt x="679" y="114"/>
                  </a:lnTo>
                  <a:lnTo>
                    <a:pt x="681" y="114"/>
                  </a:lnTo>
                  <a:lnTo>
                    <a:pt x="681" y="114"/>
                  </a:lnTo>
                  <a:lnTo>
                    <a:pt x="683" y="114"/>
                  </a:lnTo>
                  <a:lnTo>
                    <a:pt x="683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2" y="114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0" y="117"/>
                  </a:lnTo>
                  <a:lnTo>
                    <a:pt x="692" y="119"/>
                  </a:lnTo>
                  <a:lnTo>
                    <a:pt x="692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2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4" y="117"/>
                  </a:lnTo>
                  <a:lnTo>
                    <a:pt x="699" y="117"/>
                  </a:lnTo>
                  <a:lnTo>
                    <a:pt x="699" y="117"/>
                  </a:lnTo>
                  <a:lnTo>
                    <a:pt x="701" y="119"/>
                  </a:lnTo>
                  <a:lnTo>
                    <a:pt x="701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6" y="119"/>
                  </a:lnTo>
                  <a:lnTo>
                    <a:pt x="706" y="119"/>
                  </a:lnTo>
                  <a:lnTo>
                    <a:pt x="706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6" y="119"/>
                  </a:lnTo>
                  <a:lnTo>
                    <a:pt x="706" y="119"/>
                  </a:lnTo>
                  <a:lnTo>
                    <a:pt x="708" y="119"/>
                  </a:lnTo>
                  <a:lnTo>
                    <a:pt x="708" y="119"/>
                  </a:lnTo>
                  <a:lnTo>
                    <a:pt x="706" y="119"/>
                  </a:lnTo>
                  <a:lnTo>
                    <a:pt x="706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3" y="119"/>
                  </a:lnTo>
                  <a:lnTo>
                    <a:pt x="701" y="117"/>
                  </a:lnTo>
                  <a:lnTo>
                    <a:pt x="701" y="117"/>
                  </a:lnTo>
                  <a:lnTo>
                    <a:pt x="701" y="117"/>
                  </a:lnTo>
                  <a:lnTo>
                    <a:pt x="701" y="117"/>
                  </a:lnTo>
                  <a:lnTo>
                    <a:pt x="701" y="117"/>
                  </a:lnTo>
                  <a:lnTo>
                    <a:pt x="699" y="117"/>
                  </a:lnTo>
                  <a:lnTo>
                    <a:pt x="699" y="117"/>
                  </a:lnTo>
                  <a:lnTo>
                    <a:pt x="699" y="117"/>
                  </a:lnTo>
                  <a:lnTo>
                    <a:pt x="699" y="117"/>
                  </a:lnTo>
                  <a:lnTo>
                    <a:pt x="699" y="117"/>
                  </a:lnTo>
                  <a:lnTo>
                    <a:pt x="699" y="117"/>
                  </a:lnTo>
                  <a:lnTo>
                    <a:pt x="701" y="117"/>
                  </a:lnTo>
                  <a:lnTo>
                    <a:pt x="703" y="117"/>
                  </a:lnTo>
                  <a:lnTo>
                    <a:pt x="706" y="117"/>
                  </a:lnTo>
                  <a:lnTo>
                    <a:pt x="706" y="117"/>
                  </a:lnTo>
                  <a:lnTo>
                    <a:pt x="708" y="117"/>
                  </a:lnTo>
                  <a:lnTo>
                    <a:pt x="710" y="117"/>
                  </a:lnTo>
                  <a:lnTo>
                    <a:pt x="715" y="117"/>
                  </a:lnTo>
                  <a:lnTo>
                    <a:pt x="715" y="117"/>
                  </a:lnTo>
                  <a:lnTo>
                    <a:pt x="717" y="119"/>
                  </a:lnTo>
                  <a:lnTo>
                    <a:pt x="717" y="119"/>
                  </a:lnTo>
                  <a:lnTo>
                    <a:pt x="717" y="119"/>
                  </a:lnTo>
                  <a:lnTo>
                    <a:pt x="717" y="119"/>
                  </a:lnTo>
                  <a:lnTo>
                    <a:pt x="717" y="121"/>
                  </a:lnTo>
                  <a:lnTo>
                    <a:pt x="717" y="121"/>
                  </a:lnTo>
                  <a:lnTo>
                    <a:pt x="717" y="121"/>
                  </a:lnTo>
                  <a:lnTo>
                    <a:pt x="717" y="121"/>
                  </a:lnTo>
                  <a:lnTo>
                    <a:pt x="715" y="121"/>
                  </a:lnTo>
                  <a:lnTo>
                    <a:pt x="712" y="121"/>
                  </a:lnTo>
                  <a:lnTo>
                    <a:pt x="708" y="121"/>
                  </a:lnTo>
                  <a:lnTo>
                    <a:pt x="690" y="121"/>
                  </a:lnTo>
                  <a:lnTo>
                    <a:pt x="690" y="121"/>
                  </a:lnTo>
                  <a:lnTo>
                    <a:pt x="690" y="123"/>
                  </a:lnTo>
                  <a:lnTo>
                    <a:pt x="688" y="121"/>
                  </a:lnTo>
                  <a:lnTo>
                    <a:pt x="688" y="121"/>
                  </a:lnTo>
                  <a:lnTo>
                    <a:pt x="688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1"/>
                  </a:lnTo>
                  <a:lnTo>
                    <a:pt x="685" y="123"/>
                  </a:lnTo>
                  <a:lnTo>
                    <a:pt x="685" y="123"/>
                  </a:lnTo>
                  <a:lnTo>
                    <a:pt x="685" y="123"/>
                  </a:lnTo>
                  <a:lnTo>
                    <a:pt x="685" y="123"/>
                  </a:lnTo>
                  <a:lnTo>
                    <a:pt x="694" y="123"/>
                  </a:lnTo>
                  <a:lnTo>
                    <a:pt x="703" y="123"/>
                  </a:lnTo>
                  <a:lnTo>
                    <a:pt x="706" y="123"/>
                  </a:lnTo>
                  <a:lnTo>
                    <a:pt x="706" y="123"/>
                  </a:lnTo>
                  <a:lnTo>
                    <a:pt x="708" y="123"/>
                  </a:lnTo>
                  <a:lnTo>
                    <a:pt x="712" y="123"/>
                  </a:lnTo>
                  <a:lnTo>
                    <a:pt x="715" y="123"/>
                  </a:lnTo>
                  <a:lnTo>
                    <a:pt x="717" y="126"/>
                  </a:lnTo>
                  <a:lnTo>
                    <a:pt x="717" y="126"/>
                  </a:lnTo>
                  <a:lnTo>
                    <a:pt x="717" y="126"/>
                  </a:lnTo>
                  <a:lnTo>
                    <a:pt x="719" y="126"/>
                  </a:lnTo>
                  <a:lnTo>
                    <a:pt x="719" y="126"/>
                  </a:lnTo>
                  <a:lnTo>
                    <a:pt x="719" y="128"/>
                  </a:lnTo>
                  <a:lnTo>
                    <a:pt x="719" y="126"/>
                  </a:lnTo>
                  <a:lnTo>
                    <a:pt x="717" y="126"/>
                  </a:lnTo>
                  <a:lnTo>
                    <a:pt x="717" y="126"/>
                  </a:lnTo>
                  <a:lnTo>
                    <a:pt x="717" y="128"/>
                  </a:lnTo>
                  <a:lnTo>
                    <a:pt x="717" y="128"/>
                  </a:lnTo>
                  <a:lnTo>
                    <a:pt x="717" y="128"/>
                  </a:lnTo>
                  <a:lnTo>
                    <a:pt x="717" y="128"/>
                  </a:lnTo>
                  <a:lnTo>
                    <a:pt x="717" y="128"/>
                  </a:lnTo>
                  <a:lnTo>
                    <a:pt x="717" y="128"/>
                  </a:lnTo>
                  <a:lnTo>
                    <a:pt x="719" y="130"/>
                  </a:lnTo>
                  <a:lnTo>
                    <a:pt x="719" y="130"/>
                  </a:lnTo>
                  <a:lnTo>
                    <a:pt x="719" y="130"/>
                  </a:lnTo>
                  <a:lnTo>
                    <a:pt x="719" y="130"/>
                  </a:lnTo>
                  <a:lnTo>
                    <a:pt x="719" y="130"/>
                  </a:lnTo>
                  <a:lnTo>
                    <a:pt x="719" y="130"/>
                  </a:lnTo>
                  <a:lnTo>
                    <a:pt x="719" y="130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2"/>
                  </a:lnTo>
                  <a:lnTo>
                    <a:pt x="719" y="135"/>
                  </a:lnTo>
                  <a:lnTo>
                    <a:pt x="719" y="135"/>
                  </a:lnTo>
                  <a:lnTo>
                    <a:pt x="717" y="135"/>
                  </a:lnTo>
                  <a:lnTo>
                    <a:pt x="717" y="135"/>
                  </a:lnTo>
                  <a:lnTo>
                    <a:pt x="717" y="137"/>
                  </a:lnTo>
                  <a:lnTo>
                    <a:pt x="717" y="137"/>
                  </a:lnTo>
                  <a:lnTo>
                    <a:pt x="717" y="137"/>
                  </a:lnTo>
                  <a:lnTo>
                    <a:pt x="715" y="137"/>
                  </a:lnTo>
                  <a:lnTo>
                    <a:pt x="715" y="137"/>
                  </a:lnTo>
                  <a:lnTo>
                    <a:pt x="715" y="137"/>
                  </a:lnTo>
                  <a:lnTo>
                    <a:pt x="710" y="137"/>
                  </a:lnTo>
                  <a:lnTo>
                    <a:pt x="710" y="137"/>
                  </a:lnTo>
                  <a:lnTo>
                    <a:pt x="710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7"/>
                  </a:lnTo>
                  <a:lnTo>
                    <a:pt x="708" y="135"/>
                  </a:lnTo>
                  <a:lnTo>
                    <a:pt x="708" y="135"/>
                  </a:lnTo>
                  <a:lnTo>
                    <a:pt x="708" y="135"/>
                  </a:lnTo>
                  <a:lnTo>
                    <a:pt x="708" y="135"/>
                  </a:lnTo>
                  <a:lnTo>
                    <a:pt x="710" y="135"/>
                  </a:lnTo>
                  <a:lnTo>
                    <a:pt x="710" y="135"/>
                  </a:lnTo>
                  <a:lnTo>
                    <a:pt x="710" y="135"/>
                  </a:lnTo>
                  <a:lnTo>
                    <a:pt x="710" y="135"/>
                  </a:lnTo>
                  <a:lnTo>
                    <a:pt x="710" y="135"/>
                  </a:lnTo>
                  <a:lnTo>
                    <a:pt x="708" y="135"/>
                  </a:lnTo>
                  <a:lnTo>
                    <a:pt x="708" y="135"/>
                  </a:lnTo>
                  <a:lnTo>
                    <a:pt x="708" y="135"/>
                  </a:lnTo>
                  <a:lnTo>
                    <a:pt x="706" y="135"/>
                  </a:lnTo>
                  <a:lnTo>
                    <a:pt x="703" y="135"/>
                  </a:lnTo>
                  <a:lnTo>
                    <a:pt x="699" y="135"/>
                  </a:lnTo>
                  <a:lnTo>
                    <a:pt x="699" y="135"/>
                  </a:lnTo>
                  <a:lnTo>
                    <a:pt x="697" y="135"/>
                  </a:lnTo>
                  <a:lnTo>
                    <a:pt x="694" y="132"/>
                  </a:lnTo>
                  <a:lnTo>
                    <a:pt x="694" y="132"/>
                  </a:lnTo>
                  <a:lnTo>
                    <a:pt x="692" y="132"/>
                  </a:lnTo>
                  <a:lnTo>
                    <a:pt x="692" y="132"/>
                  </a:lnTo>
                  <a:lnTo>
                    <a:pt x="692" y="132"/>
                  </a:lnTo>
                  <a:lnTo>
                    <a:pt x="692" y="130"/>
                  </a:lnTo>
                  <a:lnTo>
                    <a:pt x="688" y="130"/>
                  </a:lnTo>
                  <a:lnTo>
                    <a:pt x="679" y="128"/>
                  </a:lnTo>
                  <a:lnTo>
                    <a:pt x="679" y="128"/>
                  </a:lnTo>
                  <a:lnTo>
                    <a:pt x="679" y="128"/>
                  </a:lnTo>
                  <a:lnTo>
                    <a:pt x="679" y="128"/>
                  </a:lnTo>
                  <a:lnTo>
                    <a:pt x="688" y="130"/>
                  </a:lnTo>
                  <a:lnTo>
                    <a:pt x="690" y="132"/>
                  </a:lnTo>
                  <a:lnTo>
                    <a:pt x="690" y="132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6" y="130"/>
                  </a:lnTo>
                  <a:lnTo>
                    <a:pt x="674" y="130"/>
                  </a:lnTo>
                  <a:lnTo>
                    <a:pt x="674" y="130"/>
                  </a:lnTo>
                  <a:lnTo>
                    <a:pt x="674" y="130"/>
                  </a:lnTo>
                  <a:lnTo>
                    <a:pt x="676" y="130"/>
                  </a:lnTo>
                  <a:lnTo>
                    <a:pt x="690" y="132"/>
                  </a:lnTo>
                  <a:lnTo>
                    <a:pt x="690" y="132"/>
                  </a:lnTo>
                  <a:lnTo>
                    <a:pt x="690" y="132"/>
                  </a:lnTo>
                  <a:lnTo>
                    <a:pt x="690" y="132"/>
                  </a:lnTo>
                  <a:lnTo>
                    <a:pt x="690" y="132"/>
                  </a:lnTo>
                  <a:lnTo>
                    <a:pt x="697" y="135"/>
                  </a:lnTo>
                  <a:lnTo>
                    <a:pt x="697" y="135"/>
                  </a:lnTo>
                  <a:lnTo>
                    <a:pt x="697" y="135"/>
                  </a:lnTo>
                  <a:lnTo>
                    <a:pt x="697" y="135"/>
                  </a:lnTo>
                  <a:lnTo>
                    <a:pt x="697" y="135"/>
                  </a:lnTo>
                  <a:lnTo>
                    <a:pt x="699" y="137"/>
                  </a:lnTo>
                  <a:lnTo>
                    <a:pt x="701" y="137"/>
                  </a:lnTo>
                  <a:lnTo>
                    <a:pt x="701" y="137"/>
                  </a:lnTo>
                  <a:lnTo>
                    <a:pt x="699" y="137"/>
                  </a:lnTo>
                  <a:lnTo>
                    <a:pt x="694" y="137"/>
                  </a:lnTo>
                  <a:lnTo>
                    <a:pt x="694" y="137"/>
                  </a:lnTo>
                  <a:lnTo>
                    <a:pt x="692" y="137"/>
                  </a:lnTo>
                  <a:lnTo>
                    <a:pt x="685" y="139"/>
                  </a:lnTo>
                  <a:lnTo>
                    <a:pt x="683" y="141"/>
                  </a:lnTo>
                  <a:lnTo>
                    <a:pt x="683" y="141"/>
                  </a:lnTo>
                  <a:lnTo>
                    <a:pt x="683" y="139"/>
                  </a:lnTo>
                  <a:lnTo>
                    <a:pt x="683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6" y="137"/>
                  </a:lnTo>
                  <a:lnTo>
                    <a:pt x="676" y="137"/>
                  </a:lnTo>
                  <a:lnTo>
                    <a:pt x="679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79" y="139"/>
                  </a:lnTo>
                  <a:lnTo>
                    <a:pt x="679" y="139"/>
                  </a:lnTo>
                  <a:lnTo>
                    <a:pt x="681" y="139"/>
                  </a:lnTo>
                  <a:lnTo>
                    <a:pt x="681" y="139"/>
                  </a:lnTo>
                  <a:lnTo>
                    <a:pt x="681" y="141"/>
                  </a:lnTo>
                  <a:lnTo>
                    <a:pt x="683" y="141"/>
                  </a:lnTo>
                  <a:lnTo>
                    <a:pt x="683" y="141"/>
                  </a:lnTo>
                  <a:lnTo>
                    <a:pt x="688" y="141"/>
                  </a:lnTo>
                  <a:lnTo>
                    <a:pt x="692" y="139"/>
                  </a:lnTo>
                  <a:lnTo>
                    <a:pt x="694" y="139"/>
                  </a:lnTo>
                  <a:lnTo>
                    <a:pt x="694" y="139"/>
                  </a:lnTo>
                  <a:lnTo>
                    <a:pt x="697" y="139"/>
                  </a:lnTo>
                  <a:lnTo>
                    <a:pt x="699" y="139"/>
                  </a:lnTo>
                  <a:lnTo>
                    <a:pt x="699" y="139"/>
                  </a:lnTo>
                  <a:lnTo>
                    <a:pt x="699" y="139"/>
                  </a:lnTo>
                  <a:lnTo>
                    <a:pt x="699" y="139"/>
                  </a:lnTo>
                  <a:lnTo>
                    <a:pt x="699" y="139"/>
                  </a:lnTo>
                  <a:lnTo>
                    <a:pt x="699" y="139"/>
                  </a:lnTo>
                  <a:lnTo>
                    <a:pt x="699" y="141"/>
                  </a:lnTo>
                  <a:lnTo>
                    <a:pt x="697" y="141"/>
                  </a:lnTo>
                  <a:lnTo>
                    <a:pt x="699" y="141"/>
                  </a:lnTo>
                  <a:lnTo>
                    <a:pt x="699" y="141"/>
                  </a:lnTo>
                  <a:lnTo>
                    <a:pt x="699" y="141"/>
                  </a:lnTo>
                  <a:lnTo>
                    <a:pt x="699" y="141"/>
                  </a:lnTo>
                  <a:lnTo>
                    <a:pt x="697" y="141"/>
                  </a:lnTo>
                  <a:lnTo>
                    <a:pt x="697" y="141"/>
                  </a:lnTo>
                  <a:lnTo>
                    <a:pt x="697" y="144"/>
                  </a:lnTo>
                  <a:lnTo>
                    <a:pt x="697" y="144"/>
                  </a:lnTo>
                  <a:lnTo>
                    <a:pt x="697" y="144"/>
                  </a:lnTo>
                  <a:lnTo>
                    <a:pt x="697" y="144"/>
                  </a:lnTo>
                  <a:lnTo>
                    <a:pt x="697" y="144"/>
                  </a:lnTo>
                  <a:lnTo>
                    <a:pt x="697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6"/>
                  </a:lnTo>
                  <a:lnTo>
                    <a:pt x="699" y="146"/>
                  </a:lnTo>
                  <a:lnTo>
                    <a:pt x="697" y="146"/>
                  </a:lnTo>
                  <a:lnTo>
                    <a:pt x="697" y="146"/>
                  </a:lnTo>
                  <a:lnTo>
                    <a:pt x="694" y="146"/>
                  </a:lnTo>
                  <a:lnTo>
                    <a:pt x="692" y="146"/>
                  </a:lnTo>
                  <a:lnTo>
                    <a:pt x="690" y="146"/>
                  </a:lnTo>
                  <a:lnTo>
                    <a:pt x="692" y="146"/>
                  </a:lnTo>
                  <a:lnTo>
                    <a:pt x="692" y="146"/>
                  </a:lnTo>
                  <a:lnTo>
                    <a:pt x="697" y="146"/>
                  </a:lnTo>
                  <a:lnTo>
                    <a:pt x="697" y="146"/>
                  </a:lnTo>
                  <a:lnTo>
                    <a:pt x="697" y="146"/>
                  </a:lnTo>
                  <a:lnTo>
                    <a:pt x="699" y="146"/>
                  </a:lnTo>
                  <a:lnTo>
                    <a:pt x="699" y="146"/>
                  </a:lnTo>
                  <a:lnTo>
                    <a:pt x="701" y="146"/>
                  </a:lnTo>
                  <a:lnTo>
                    <a:pt x="703" y="146"/>
                  </a:lnTo>
                  <a:lnTo>
                    <a:pt x="703" y="146"/>
                  </a:lnTo>
                  <a:lnTo>
                    <a:pt x="706" y="146"/>
                  </a:lnTo>
                  <a:lnTo>
                    <a:pt x="706" y="146"/>
                  </a:lnTo>
                  <a:lnTo>
                    <a:pt x="706" y="146"/>
                  </a:lnTo>
                  <a:lnTo>
                    <a:pt x="706" y="146"/>
                  </a:lnTo>
                  <a:lnTo>
                    <a:pt x="706" y="146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08" y="146"/>
                  </a:lnTo>
                  <a:lnTo>
                    <a:pt x="708" y="146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2" y="148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5" y="146"/>
                  </a:lnTo>
                  <a:lnTo>
                    <a:pt x="715" y="146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5" y="148"/>
                  </a:lnTo>
                  <a:lnTo>
                    <a:pt x="715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0"/>
                  </a:lnTo>
                  <a:lnTo>
                    <a:pt x="719" y="150"/>
                  </a:lnTo>
                  <a:lnTo>
                    <a:pt x="719" y="150"/>
                  </a:lnTo>
                  <a:lnTo>
                    <a:pt x="719" y="150"/>
                  </a:lnTo>
                  <a:lnTo>
                    <a:pt x="717" y="150"/>
                  </a:lnTo>
                  <a:lnTo>
                    <a:pt x="717" y="150"/>
                  </a:lnTo>
                  <a:lnTo>
                    <a:pt x="717" y="150"/>
                  </a:lnTo>
                  <a:lnTo>
                    <a:pt x="717" y="150"/>
                  </a:lnTo>
                  <a:lnTo>
                    <a:pt x="717" y="150"/>
                  </a:lnTo>
                  <a:lnTo>
                    <a:pt x="717" y="153"/>
                  </a:lnTo>
                  <a:lnTo>
                    <a:pt x="717" y="153"/>
                  </a:lnTo>
                  <a:lnTo>
                    <a:pt x="717" y="153"/>
                  </a:lnTo>
                  <a:lnTo>
                    <a:pt x="715" y="153"/>
                  </a:lnTo>
                  <a:lnTo>
                    <a:pt x="715" y="153"/>
                  </a:lnTo>
                  <a:lnTo>
                    <a:pt x="715" y="153"/>
                  </a:lnTo>
                  <a:lnTo>
                    <a:pt x="715" y="153"/>
                  </a:lnTo>
                  <a:lnTo>
                    <a:pt x="710" y="155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3"/>
                  </a:lnTo>
                  <a:lnTo>
                    <a:pt x="701" y="150"/>
                  </a:lnTo>
                  <a:lnTo>
                    <a:pt x="701" y="150"/>
                  </a:lnTo>
                  <a:lnTo>
                    <a:pt x="701" y="150"/>
                  </a:lnTo>
                  <a:lnTo>
                    <a:pt x="701" y="150"/>
                  </a:lnTo>
                  <a:lnTo>
                    <a:pt x="701" y="150"/>
                  </a:lnTo>
                  <a:lnTo>
                    <a:pt x="701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9" y="150"/>
                  </a:lnTo>
                  <a:lnTo>
                    <a:pt x="697" y="150"/>
                  </a:lnTo>
                  <a:lnTo>
                    <a:pt x="697" y="150"/>
                  </a:lnTo>
                  <a:lnTo>
                    <a:pt x="694" y="150"/>
                  </a:lnTo>
                  <a:lnTo>
                    <a:pt x="688" y="150"/>
                  </a:lnTo>
                  <a:lnTo>
                    <a:pt x="685" y="150"/>
                  </a:lnTo>
                  <a:lnTo>
                    <a:pt x="683" y="150"/>
                  </a:lnTo>
                  <a:lnTo>
                    <a:pt x="683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48"/>
                  </a:lnTo>
                  <a:lnTo>
                    <a:pt x="679" y="148"/>
                  </a:lnTo>
                  <a:lnTo>
                    <a:pt x="679" y="148"/>
                  </a:lnTo>
                  <a:lnTo>
                    <a:pt x="676" y="148"/>
                  </a:lnTo>
                  <a:lnTo>
                    <a:pt x="676" y="148"/>
                  </a:lnTo>
                  <a:lnTo>
                    <a:pt x="676" y="148"/>
                  </a:lnTo>
                  <a:lnTo>
                    <a:pt x="676" y="148"/>
                  </a:lnTo>
                  <a:lnTo>
                    <a:pt x="679" y="148"/>
                  </a:lnTo>
                  <a:lnTo>
                    <a:pt x="679" y="148"/>
                  </a:lnTo>
                  <a:lnTo>
                    <a:pt x="679" y="148"/>
                  </a:lnTo>
                  <a:lnTo>
                    <a:pt x="679" y="148"/>
                  </a:lnTo>
                  <a:lnTo>
                    <a:pt x="679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81" y="150"/>
                  </a:lnTo>
                  <a:lnTo>
                    <a:pt x="679" y="153"/>
                  </a:lnTo>
                  <a:lnTo>
                    <a:pt x="679" y="153"/>
                  </a:lnTo>
                  <a:lnTo>
                    <a:pt x="676" y="153"/>
                  </a:lnTo>
                  <a:lnTo>
                    <a:pt x="676" y="153"/>
                  </a:lnTo>
                  <a:lnTo>
                    <a:pt x="674" y="153"/>
                  </a:lnTo>
                  <a:lnTo>
                    <a:pt x="672" y="153"/>
                  </a:lnTo>
                  <a:lnTo>
                    <a:pt x="670" y="153"/>
                  </a:lnTo>
                  <a:lnTo>
                    <a:pt x="670" y="153"/>
                  </a:lnTo>
                  <a:lnTo>
                    <a:pt x="670" y="153"/>
                  </a:lnTo>
                  <a:lnTo>
                    <a:pt x="670" y="153"/>
                  </a:lnTo>
                  <a:lnTo>
                    <a:pt x="670" y="153"/>
                  </a:lnTo>
                  <a:lnTo>
                    <a:pt x="672" y="153"/>
                  </a:lnTo>
                  <a:lnTo>
                    <a:pt x="674" y="153"/>
                  </a:lnTo>
                  <a:lnTo>
                    <a:pt x="676" y="153"/>
                  </a:lnTo>
                  <a:lnTo>
                    <a:pt x="676" y="155"/>
                  </a:lnTo>
                  <a:lnTo>
                    <a:pt x="676" y="155"/>
                  </a:lnTo>
                  <a:lnTo>
                    <a:pt x="674" y="155"/>
                  </a:lnTo>
                  <a:lnTo>
                    <a:pt x="674" y="155"/>
                  </a:lnTo>
                  <a:lnTo>
                    <a:pt x="674" y="155"/>
                  </a:lnTo>
                  <a:lnTo>
                    <a:pt x="672" y="155"/>
                  </a:lnTo>
                  <a:lnTo>
                    <a:pt x="672" y="155"/>
                  </a:lnTo>
                  <a:lnTo>
                    <a:pt x="672" y="155"/>
                  </a:lnTo>
                  <a:lnTo>
                    <a:pt x="672" y="155"/>
                  </a:lnTo>
                  <a:lnTo>
                    <a:pt x="672" y="155"/>
                  </a:lnTo>
                  <a:lnTo>
                    <a:pt x="672" y="155"/>
                  </a:lnTo>
                  <a:lnTo>
                    <a:pt x="672" y="155"/>
                  </a:lnTo>
                  <a:lnTo>
                    <a:pt x="674" y="155"/>
                  </a:lnTo>
                  <a:lnTo>
                    <a:pt x="674" y="155"/>
                  </a:lnTo>
                  <a:lnTo>
                    <a:pt x="674" y="155"/>
                  </a:lnTo>
                  <a:lnTo>
                    <a:pt x="674" y="157"/>
                  </a:lnTo>
                  <a:lnTo>
                    <a:pt x="674" y="157"/>
                  </a:lnTo>
                  <a:lnTo>
                    <a:pt x="674" y="157"/>
                  </a:lnTo>
                  <a:lnTo>
                    <a:pt x="672" y="157"/>
                  </a:lnTo>
                  <a:lnTo>
                    <a:pt x="672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0" y="157"/>
                  </a:lnTo>
                  <a:lnTo>
                    <a:pt x="672" y="157"/>
                  </a:lnTo>
                  <a:lnTo>
                    <a:pt x="674" y="159"/>
                  </a:lnTo>
                  <a:lnTo>
                    <a:pt x="674" y="159"/>
                  </a:lnTo>
                  <a:lnTo>
                    <a:pt x="674" y="159"/>
                  </a:lnTo>
                  <a:lnTo>
                    <a:pt x="674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4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4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2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4"/>
                  </a:lnTo>
                  <a:lnTo>
                    <a:pt x="676" y="166"/>
                  </a:lnTo>
                  <a:lnTo>
                    <a:pt x="676" y="166"/>
                  </a:lnTo>
                  <a:lnTo>
                    <a:pt x="676" y="166"/>
                  </a:lnTo>
                  <a:lnTo>
                    <a:pt x="676" y="166"/>
                  </a:lnTo>
                  <a:lnTo>
                    <a:pt x="676" y="166"/>
                  </a:lnTo>
                  <a:lnTo>
                    <a:pt x="676" y="166"/>
                  </a:lnTo>
                  <a:lnTo>
                    <a:pt x="679" y="166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4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62"/>
                  </a:lnTo>
                  <a:lnTo>
                    <a:pt x="679" y="159"/>
                  </a:lnTo>
                  <a:lnTo>
                    <a:pt x="679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9"/>
                  </a:lnTo>
                  <a:lnTo>
                    <a:pt x="676" y="157"/>
                  </a:lnTo>
                  <a:lnTo>
                    <a:pt x="679" y="157"/>
                  </a:lnTo>
                  <a:lnTo>
                    <a:pt x="681" y="157"/>
                  </a:lnTo>
                  <a:lnTo>
                    <a:pt x="694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4" y="164"/>
                  </a:lnTo>
                  <a:lnTo>
                    <a:pt x="694" y="164"/>
                  </a:lnTo>
                  <a:lnTo>
                    <a:pt x="697" y="164"/>
                  </a:lnTo>
                  <a:lnTo>
                    <a:pt x="697" y="164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7" y="166"/>
                  </a:lnTo>
                  <a:lnTo>
                    <a:pt x="694" y="166"/>
                  </a:lnTo>
                  <a:lnTo>
                    <a:pt x="694" y="166"/>
                  </a:lnTo>
                  <a:lnTo>
                    <a:pt x="694" y="168"/>
                  </a:lnTo>
                  <a:lnTo>
                    <a:pt x="697" y="168"/>
                  </a:lnTo>
                  <a:lnTo>
                    <a:pt x="697" y="168"/>
                  </a:lnTo>
                  <a:lnTo>
                    <a:pt x="697" y="168"/>
                  </a:lnTo>
                  <a:lnTo>
                    <a:pt x="697" y="168"/>
                  </a:lnTo>
                  <a:lnTo>
                    <a:pt x="697" y="168"/>
                  </a:lnTo>
                  <a:lnTo>
                    <a:pt x="694" y="168"/>
                  </a:lnTo>
                  <a:lnTo>
                    <a:pt x="694" y="168"/>
                  </a:lnTo>
                  <a:lnTo>
                    <a:pt x="683" y="168"/>
                  </a:lnTo>
                  <a:lnTo>
                    <a:pt x="681" y="168"/>
                  </a:lnTo>
                  <a:lnTo>
                    <a:pt x="681" y="168"/>
                  </a:lnTo>
                  <a:lnTo>
                    <a:pt x="679" y="168"/>
                  </a:lnTo>
                  <a:lnTo>
                    <a:pt x="679" y="168"/>
                  </a:lnTo>
                  <a:lnTo>
                    <a:pt x="679" y="168"/>
                  </a:lnTo>
                  <a:lnTo>
                    <a:pt x="679" y="168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9" y="171"/>
                  </a:lnTo>
                  <a:lnTo>
                    <a:pt x="676" y="171"/>
                  </a:lnTo>
                  <a:lnTo>
                    <a:pt x="676" y="171"/>
                  </a:lnTo>
                  <a:lnTo>
                    <a:pt x="674" y="171"/>
                  </a:lnTo>
                  <a:lnTo>
                    <a:pt x="670" y="173"/>
                  </a:lnTo>
                  <a:lnTo>
                    <a:pt x="670" y="173"/>
                  </a:lnTo>
                  <a:lnTo>
                    <a:pt x="667" y="173"/>
                  </a:lnTo>
                  <a:lnTo>
                    <a:pt x="658" y="171"/>
                  </a:lnTo>
                  <a:lnTo>
                    <a:pt x="658" y="171"/>
                  </a:lnTo>
                  <a:lnTo>
                    <a:pt x="656" y="171"/>
                  </a:lnTo>
                  <a:lnTo>
                    <a:pt x="656" y="171"/>
                  </a:lnTo>
                  <a:lnTo>
                    <a:pt x="656" y="171"/>
                  </a:lnTo>
                  <a:lnTo>
                    <a:pt x="652" y="168"/>
                  </a:lnTo>
                  <a:lnTo>
                    <a:pt x="652" y="168"/>
                  </a:lnTo>
                  <a:lnTo>
                    <a:pt x="652" y="168"/>
                  </a:lnTo>
                  <a:lnTo>
                    <a:pt x="649" y="168"/>
                  </a:lnTo>
                  <a:lnTo>
                    <a:pt x="647" y="168"/>
                  </a:lnTo>
                  <a:lnTo>
                    <a:pt x="647" y="166"/>
                  </a:lnTo>
                  <a:lnTo>
                    <a:pt x="645" y="166"/>
                  </a:lnTo>
                  <a:lnTo>
                    <a:pt x="645" y="166"/>
                  </a:lnTo>
                  <a:lnTo>
                    <a:pt x="645" y="166"/>
                  </a:lnTo>
                  <a:lnTo>
                    <a:pt x="645" y="166"/>
                  </a:lnTo>
                  <a:lnTo>
                    <a:pt x="645" y="166"/>
                  </a:lnTo>
                  <a:lnTo>
                    <a:pt x="645" y="166"/>
                  </a:lnTo>
                  <a:lnTo>
                    <a:pt x="645" y="164"/>
                  </a:lnTo>
                  <a:lnTo>
                    <a:pt x="645" y="164"/>
                  </a:lnTo>
                  <a:lnTo>
                    <a:pt x="645" y="164"/>
                  </a:lnTo>
                  <a:lnTo>
                    <a:pt x="645" y="164"/>
                  </a:lnTo>
                  <a:lnTo>
                    <a:pt x="647" y="164"/>
                  </a:lnTo>
                  <a:lnTo>
                    <a:pt x="649" y="164"/>
                  </a:lnTo>
                  <a:lnTo>
                    <a:pt x="649" y="164"/>
                  </a:lnTo>
                  <a:lnTo>
                    <a:pt x="652" y="164"/>
                  </a:lnTo>
                  <a:lnTo>
                    <a:pt x="652" y="164"/>
                  </a:lnTo>
                  <a:lnTo>
                    <a:pt x="654" y="164"/>
                  </a:lnTo>
                  <a:lnTo>
                    <a:pt x="654" y="166"/>
                  </a:lnTo>
                  <a:lnTo>
                    <a:pt x="654" y="166"/>
                  </a:lnTo>
                  <a:lnTo>
                    <a:pt x="658" y="166"/>
                  </a:lnTo>
                  <a:lnTo>
                    <a:pt x="661" y="166"/>
                  </a:lnTo>
                  <a:lnTo>
                    <a:pt x="663" y="168"/>
                  </a:lnTo>
                  <a:lnTo>
                    <a:pt x="665" y="166"/>
                  </a:lnTo>
                  <a:lnTo>
                    <a:pt x="667" y="166"/>
                  </a:lnTo>
                  <a:lnTo>
                    <a:pt x="667" y="166"/>
                  </a:lnTo>
                  <a:lnTo>
                    <a:pt x="672" y="166"/>
                  </a:lnTo>
                  <a:lnTo>
                    <a:pt x="672" y="166"/>
                  </a:lnTo>
                  <a:lnTo>
                    <a:pt x="670" y="166"/>
                  </a:lnTo>
                  <a:lnTo>
                    <a:pt x="667" y="166"/>
                  </a:lnTo>
                  <a:lnTo>
                    <a:pt x="667" y="166"/>
                  </a:lnTo>
                  <a:lnTo>
                    <a:pt x="665" y="166"/>
                  </a:lnTo>
                  <a:lnTo>
                    <a:pt x="663" y="166"/>
                  </a:lnTo>
                  <a:lnTo>
                    <a:pt x="661" y="166"/>
                  </a:lnTo>
                  <a:lnTo>
                    <a:pt x="661" y="166"/>
                  </a:lnTo>
                  <a:lnTo>
                    <a:pt x="658" y="166"/>
                  </a:lnTo>
                  <a:lnTo>
                    <a:pt x="656" y="166"/>
                  </a:lnTo>
                  <a:lnTo>
                    <a:pt x="656" y="166"/>
                  </a:lnTo>
                  <a:lnTo>
                    <a:pt x="652" y="164"/>
                  </a:lnTo>
                  <a:lnTo>
                    <a:pt x="647" y="164"/>
                  </a:lnTo>
                  <a:lnTo>
                    <a:pt x="647" y="164"/>
                  </a:lnTo>
                  <a:lnTo>
                    <a:pt x="647" y="164"/>
                  </a:lnTo>
                  <a:lnTo>
                    <a:pt x="645" y="162"/>
                  </a:lnTo>
                  <a:lnTo>
                    <a:pt x="645" y="162"/>
                  </a:lnTo>
                  <a:lnTo>
                    <a:pt x="645" y="162"/>
                  </a:lnTo>
                  <a:lnTo>
                    <a:pt x="643" y="162"/>
                  </a:lnTo>
                  <a:lnTo>
                    <a:pt x="643" y="164"/>
                  </a:lnTo>
                  <a:lnTo>
                    <a:pt x="643" y="164"/>
                  </a:lnTo>
                  <a:lnTo>
                    <a:pt x="640" y="164"/>
                  </a:lnTo>
                  <a:lnTo>
                    <a:pt x="640" y="164"/>
                  </a:lnTo>
                  <a:lnTo>
                    <a:pt x="640" y="164"/>
                  </a:lnTo>
                  <a:lnTo>
                    <a:pt x="640" y="164"/>
                  </a:lnTo>
                  <a:lnTo>
                    <a:pt x="640" y="164"/>
                  </a:lnTo>
                  <a:lnTo>
                    <a:pt x="640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6"/>
                  </a:lnTo>
                  <a:lnTo>
                    <a:pt x="638" y="166"/>
                  </a:lnTo>
                  <a:lnTo>
                    <a:pt x="638" y="168"/>
                  </a:lnTo>
                  <a:lnTo>
                    <a:pt x="638" y="168"/>
                  </a:lnTo>
                  <a:lnTo>
                    <a:pt x="638" y="168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4"/>
                  </a:lnTo>
                  <a:lnTo>
                    <a:pt x="631" y="164"/>
                  </a:lnTo>
                  <a:lnTo>
                    <a:pt x="631" y="164"/>
                  </a:lnTo>
                  <a:lnTo>
                    <a:pt x="629" y="164"/>
                  </a:lnTo>
                  <a:lnTo>
                    <a:pt x="627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62"/>
                  </a:lnTo>
                  <a:lnTo>
                    <a:pt x="625" y="159"/>
                  </a:lnTo>
                  <a:lnTo>
                    <a:pt x="625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59"/>
                  </a:lnTo>
                  <a:lnTo>
                    <a:pt x="622" y="162"/>
                  </a:lnTo>
                  <a:lnTo>
                    <a:pt x="622" y="162"/>
                  </a:lnTo>
                  <a:lnTo>
                    <a:pt x="622" y="162"/>
                  </a:lnTo>
                  <a:lnTo>
                    <a:pt x="622" y="162"/>
                  </a:lnTo>
                  <a:lnTo>
                    <a:pt x="625" y="164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9" y="164"/>
                  </a:lnTo>
                  <a:lnTo>
                    <a:pt x="629" y="164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29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4" y="168"/>
                  </a:lnTo>
                  <a:lnTo>
                    <a:pt x="634" y="168"/>
                  </a:lnTo>
                  <a:lnTo>
                    <a:pt x="634" y="168"/>
                  </a:lnTo>
                  <a:lnTo>
                    <a:pt x="634" y="168"/>
                  </a:lnTo>
                  <a:lnTo>
                    <a:pt x="634" y="168"/>
                  </a:lnTo>
                  <a:lnTo>
                    <a:pt x="625" y="168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3"/>
                  </a:lnTo>
                  <a:lnTo>
                    <a:pt x="618" y="173"/>
                  </a:lnTo>
                  <a:lnTo>
                    <a:pt x="616" y="173"/>
                  </a:lnTo>
                  <a:lnTo>
                    <a:pt x="616" y="173"/>
                  </a:lnTo>
                  <a:lnTo>
                    <a:pt x="611" y="173"/>
                  </a:lnTo>
                  <a:lnTo>
                    <a:pt x="611" y="173"/>
                  </a:lnTo>
                  <a:lnTo>
                    <a:pt x="609" y="173"/>
                  </a:lnTo>
                  <a:lnTo>
                    <a:pt x="609" y="171"/>
                  </a:lnTo>
                  <a:lnTo>
                    <a:pt x="607" y="171"/>
                  </a:lnTo>
                  <a:lnTo>
                    <a:pt x="607" y="171"/>
                  </a:lnTo>
                  <a:lnTo>
                    <a:pt x="607" y="171"/>
                  </a:lnTo>
                  <a:lnTo>
                    <a:pt x="607" y="171"/>
                  </a:lnTo>
                  <a:lnTo>
                    <a:pt x="604" y="171"/>
                  </a:lnTo>
                  <a:lnTo>
                    <a:pt x="602" y="171"/>
                  </a:lnTo>
                  <a:lnTo>
                    <a:pt x="598" y="168"/>
                  </a:lnTo>
                  <a:lnTo>
                    <a:pt x="598" y="168"/>
                  </a:lnTo>
                  <a:lnTo>
                    <a:pt x="598" y="168"/>
                  </a:lnTo>
                  <a:lnTo>
                    <a:pt x="595" y="168"/>
                  </a:lnTo>
                  <a:lnTo>
                    <a:pt x="595" y="168"/>
                  </a:lnTo>
                  <a:lnTo>
                    <a:pt x="595" y="168"/>
                  </a:lnTo>
                  <a:lnTo>
                    <a:pt x="595" y="168"/>
                  </a:lnTo>
                  <a:lnTo>
                    <a:pt x="593" y="168"/>
                  </a:lnTo>
                  <a:lnTo>
                    <a:pt x="593" y="168"/>
                  </a:lnTo>
                  <a:lnTo>
                    <a:pt x="595" y="168"/>
                  </a:lnTo>
                  <a:lnTo>
                    <a:pt x="595" y="168"/>
                  </a:lnTo>
                  <a:lnTo>
                    <a:pt x="595" y="171"/>
                  </a:lnTo>
                  <a:lnTo>
                    <a:pt x="598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2" y="173"/>
                  </a:lnTo>
                  <a:lnTo>
                    <a:pt x="604" y="173"/>
                  </a:lnTo>
                  <a:lnTo>
                    <a:pt x="607" y="173"/>
                  </a:lnTo>
                  <a:lnTo>
                    <a:pt x="609" y="173"/>
                  </a:lnTo>
                  <a:lnTo>
                    <a:pt x="609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4" y="173"/>
                  </a:lnTo>
                  <a:lnTo>
                    <a:pt x="604" y="173"/>
                  </a:lnTo>
                  <a:lnTo>
                    <a:pt x="604" y="173"/>
                  </a:lnTo>
                  <a:lnTo>
                    <a:pt x="604" y="175"/>
                  </a:lnTo>
                  <a:lnTo>
                    <a:pt x="604" y="175"/>
                  </a:lnTo>
                  <a:lnTo>
                    <a:pt x="604" y="175"/>
                  </a:lnTo>
                  <a:lnTo>
                    <a:pt x="604" y="175"/>
                  </a:lnTo>
                  <a:lnTo>
                    <a:pt x="602" y="175"/>
                  </a:lnTo>
                  <a:lnTo>
                    <a:pt x="602" y="175"/>
                  </a:lnTo>
                  <a:lnTo>
                    <a:pt x="602" y="175"/>
                  </a:lnTo>
                  <a:lnTo>
                    <a:pt x="600" y="175"/>
                  </a:lnTo>
                  <a:lnTo>
                    <a:pt x="600" y="175"/>
                  </a:lnTo>
                  <a:lnTo>
                    <a:pt x="598" y="175"/>
                  </a:lnTo>
                  <a:lnTo>
                    <a:pt x="598" y="175"/>
                  </a:lnTo>
                  <a:lnTo>
                    <a:pt x="595" y="175"/>
                  </a:lnTo>
                  <a:lnTo>
                    <a:pt x="595" y="175"/>
                  </a:lnTo>
                  <a:lnTo>
                    <a:pt x="593" y="175"/>
                  </a:lnTo>
                  <a:lnTo>
                    <a:pt x="591" y="175"/>
                  </a:lnTo>
                  <a:lnTo>
                    <a:pt x="589" y="175"/>
                  </a:lnTo>
                  <a:lnTo>
                    <a:pt x="589" y="175"/>
                  </a:lnTo>
                  <a:lnTo>
                    <a:pt x="589" y="175"/>
                  </a:lnTo>
                  <a:lnTo>
                    <a:pt x="593" y="175"/>
                  </a:lnTo>
                  <a:lnTo>
                    <a:pt x="593" y="175"/>
                  </a:lnTo>
                  <a:lnTo>
                    <a:pt x="593" y="175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3" y="180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3" y="177"/>
                  </a:lnTo>
                  <a:lnTo>
                    <a:pt x="595" y="177"/>
                  </a:lnTo>
                  <a:lnTo>
                    <a:pt x="595" y="177"/>
                  </a:lnTo>
                  <a:lnTo>
                    <a:pt x="595" y="177"/>
                  </a:lnTo>
                  <a:lnTo>
                    <a:pt x="593" y="175"/>
                  </a:lnTo>
                  <a:lnTo>
                    <a:pt x="593" y="175"/>
                  </a:lnTo>
                  <a:lnTo>
                    <a:pt x="595" y="175"/>
                  </a:lnTo>
                  <a:lnTo>
                    <a:pt x="595" y="175"/>
                  </a:lnTo>
                  <a:lnTo>
                    <a:pt x="598" y="175"/>
                  </a:lnTo>
                  <a:lnTo>
                    <a:pt x="602" y="175"/>
                  </a:lnTo>
                  <a:lnTo>
                    <a:pt x="604" y="175"/>
                  </a:lnTo>
                  <a:lnTo>
                    <a:pt x="604" y="175"/>
                  </a:lnTo>
                  <a:lnTo>
                    <a:pt x="607" y="175"/>
                  </a:lnTo>
                  <a:lnTo>
                    <a:pt x="607" y="175"/>
                  </a:lnTo>
                  <a:lnTo>
                    <a:pt x="613" y="173"/>
                  </a:lnTo>
                  <a:lnTo>
                    <a:pt x="616" y="175"/>
                  </a:lnTo>
                  <a:lnTo>
                    <a:pt x="618" y="175"/>
                  </a:lnTo>
                  <a:lnTo>
                    <a:pt x="627" y="175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22" y="180"/>
                  </a:lnTo>
                  <a:lnTo>
                    <a:pt x="618" y="180"/>
                  </a:lnTo>
                  <a:lnTo>
                    <a:pt x="616" y="180"/>
                  </a:lnTo>
                  <a:lnTo>
                    <a:pt x="616" y="180"/>
                  </a:lnTo>
                  <a:lnTo>
                    <a:pt x="616" y="180"/>
                  </a:lnTo>
                  <a:lnTo>
                    <a:pt x="613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09" y="182"/>
                  </a:lnTo>
                  <a:lnTo>
                    <a:pt x="609" y="182"/>
                  </a:lnTo>
                  <a:lnTo>
                    <a:pt x="604" y="180"/>
                  </a:lnTo>
                  <a:lnTo>
                    <a:pt x="600" y="180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3" y="180"/>
                  </a:lnTo>
                  <a:lnTo>
                    <a:pt x="593" y="180"/>
                  </a:lnTo>
                  <a:lnTo>
                    <a:pt x="593" y="180"/>
                  </a:lnTo>
                  <a:lnTo>
                    <a:pt x="591" y="182"/>
                  </a:lnTo>
                  <a:lnTo>
                    <a:pt x="593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8" y="182"/>
                  </a:lnTo>
                  <a:lnTo>
                    <a:pt x="602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4" y="182"/>
                  </a:lnTo>
                  <a:lnTo>
                    <a:pt x="607" y="182"/>
                  </a:lnTo>
                  <a:lnTo>
                    <a:pt x="604" y="182"/>
                  </a:lnTo>
                  <a:lnTo>
                    <a:pt x="602" y="182"/>
                  </a:lnTo>
                  <a:lnTo>
                    <a:pt x="602" y="184"/>
                  </a:lnTo>
                  <a:lnTo>
                    <a:pt x="600" y="184"/>
                  </a:lnTo>
                  <a:lnTo>
                    <a:pt x="600" y="184"/>
                  </a:lnTo>
                  <a:lnTo>
                    <a:pt x="600" y="184"/>
                  </a:lnTo>
                  <a:lnTo>
                    <a:pt x="607" y="182"/>
                  </a:lnTo>
                  <a:lnTo>
                    <a:pt x="607" y="184"/>
                  </a:lnTo>
                  <a:lnTo>
                    <a:pt x="607" y="184"/>
                  </a:lnTo>
                  <a:lnTo>
                    <a:pt x="607" y="184"/>
                  </a:lnTo>
                  <a:lnTo>
                    <a:pt x="604" y="184"/>
                  </a:lnTo>
                  <a:lnTo>
                    <a:pt x="604" y="186"/>
                  </a:lnTo>
                  <a:lnTo>
                    <a:pt x="604" y="186"/>
                  </a:lnTo>
                  <a:lnTo>
                    <a:pt x="604" y="186"/>
                  </a:lnTo>
                  <a:lnTo>
                    <a:pt x="604" y="186"/>
                  </a:lnTo>
                  <a:lnTo>
                    <a:pt x="604" y="186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09" y="184"/>
                  </a:lnTo>
                  <a:lnTo>
                    <a:pt x="611" y="184"/>
                  </a:lnTo>
                  <a:lnTo>
                    <a:pt x="613" y="182"/>
                  </a:lnTo>
                  <a:lnTo>
                    <a:pt x="613" y="182"/>
                  </a:lnTo>
                  <a:lnTo>
                    <a:pt x="616" y="182"/>
                  </a:lnTo>
                  <a:lnTo>
                    <a:pt x="618" y="182"/>
                  </a:lnTo>
                  <a:lnTo>
                    <a:pt x="618" y="182"/>
                  </a:lnTo>
                  <a:lnTo>
                    <a:pt x="618" y="182"/>
                  </a:lnTo>
                  <a:lnTo>
                    <a:pt x="620" y="182"/>
                  </a:lnTo>
                  <a:lnTo>
                    <a:pt x="620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2" y="182"/>
                  </a:lnTo>
                  <a:lnTo>
                    <a:pt x="625" y="182"/>
                  </a:lnTo>
                  <a:lnTo>
                    <a:pt x="625" y="182"/>
                  </a:lnTo>
                  <a:lnTo>
                    <a:pt x="625" y="182"/>
                  </a:lnTo>
                  <a:lnTo>
                    <a:pt x="627" y="182"/>
                  </a:lnTo>
                  <a:lnTo>
                    <a:pt x="627" y="182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31" y="186"/>
                  </a:lnTo>
                  <a:lnTo>
                    <a:pt x="631" y="186"/>
                  </a:lnTo>
                  <a:lnTo>
                    <a:pt x="631" y="186"/>
                  </a:lnTo>
                  <a:lnTo>
                    <a:pt x="631" y="186"/>
                  </a:lnTo>
                  <a:lnTo>
                    <a:pt x="631" y="186"/>
                  </a:lnTo>
                  <a:lnTo>
                    <a:pt x="629" y="186"/>
                  </a:lnTo>
                  <a:lnTo>
                    <a:pt x="629" y="186"/>
                  </a:lnTo>
                  <a:lnTo>
                    <a:pt x="627" y="189"/>
                  </a:lnTo>
                  <a:lnTo>
                    <a:pt x="622" y="189"/>
                  </a:lnTo>
                  <a:lnTo>
                    <a:pt x="611" y="189"/>
                  </a:lnTo>
                  <a:lnTo>
                    <a:pt x="611" y="189"/>
                  </a:lnTo>
                  <a:lnTo>
                    <a:pt x="611" y="189"/>
                  </a:lnTo>
                  <a:lnTo>
                    <a:pt x="613" y="189"/>
                  </a:lnTo>
                  <a:lnTo>
                    <a:pt x="618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1"/>
                  </a:lnTo>
                  <a:lnTo>
                    <a:pt x="618" y="191"/>
                  </a:lnTo>
                  <a:lnTo>
                    <a:pt x="618" y="193"/>
                  </a:lnTo>
                  <a:lnTo>
                    <a:pt x="616" y="193"/>
                  </a:lnTo>
                  <a:lnTo>
                    <a:pt x="616" y="193"/>
                  </a:lnTo>
                  <a:lnTo>
                    <a:pt x="616" y="193"/>
                  </a:lnTo>
                  <a:lnTo>
                    <a:pt x="616" y="193"/>
                  </a:lnTo>
                  <a:lnTo>
                    <a:pt x="616" y="193"/>
                  </a:lnTo>
                  <a:lnTo>
                    <a:pt x="616" y="193"/>
                  </a:lnTo>
                  <a:lnTo>
                    <a:pt x="616" y="193"/>
                  </a:lnTo>
                  <a:lnTo>
                    <a:pt x="616" y="195"/>
                  </a:lnTo>
                  <a:lnTo>
                    <a:pt x="616" y="195"/>
                  </a:lnTo>
                  <a:lnTo>
                    <a:pt x="616" y="195"/>
                  </a:lnTo>
                  <a:lnTo>
                    <a:pt x="616" y="195"/>
                  </a:lnTo>
                  <a:lnTo>
                    <a:pt x="616" y="195"/>
                  </a:lnTo>
                  <a:lnTo>
                    <a:pt x="618" y="195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2" y="191"/>
                  </a:lnTo>
                  <a:lnTo>
                    <a:pt x="625" y="189"/>
                  </a:lnTo>
                  <a:lnTo>
                    <a:pt x="625" y="189"/>
                  </a:lnTo>
                  <a:lnTo>
                    <a:pt x="625" y="189"/>
                  </a:lnTo>
                  <a:lnTo>
                    <a:pt x="625" y="189"/>
                  </a:lnTo>
                  <a:lnTo>
                    <a:pt x="627" y="189"/>
                  </a:lnTo>
                  <a:lnTo>
                    <a:pt x="627" y="189"/>
                  </a:lnTo>
                  <a:lnTo>
                    <a:pt x="627" y="189"/>
                  </a:lnTo>
                  <a:lnTo>
                    <a:pt x="629" y="189"/>
                  </a:lnTo>
                  <a:lnTo>
                    <a:pt x="629" y="189"/>
                  </a:lnTo>
                  <a:lnTo>
                    <a:pt x="629" y="189"/>
                  </a:lnTo>
                  <a:lnTo>
                    <a:pt x="629" y="189"/>
                  </a:lnTo>
                  <a:lnTo>
                    <a:pt x="629" y="189"/>
                  </a:lnTo>
                  <a:lnTo>
                    <a:pt x="629" y="189"/>
                  </a:lnTo>
                  <a:lnTo>
                    <a:pt x="631" y="189"/>
                  </a:lnTo>
                  <a:lnTo>
                    <a:pt x="631" y="189"/>
                  </a:lnTo>
                  <a:lnTo>
                    <a:pt x="631" y="191"/>
                  </a:lnTo>
                  <a:lnTo>
                    <a:pt x="634" y="191"/>
                  </a:lnTo>
                  <a:lnTo>
                    <a:pt x="634" y="191"/>
                  </a:lnTo>
                  <a:lnTo>
                    <a:pt x="636" y="191"/>
                  </a:lnTo>
                  <a:lnTo>
                    <a:pt x="636" y="191"/>
                  </a:lnTo>
                  <a:lnTo>
                    <a:pt x="636" y="191"/>
                  </a:lnTo>
                  <a:lnTo>
                    <a:pt x="636" y="191"/>
                  </a:lnTo>
                  <a:lnTo>
                    <a:pt x="638" y="191"/>
                  </a:lnTo>
                  <a:lnTo>
                    <a:pt x="638" y="191"/>
                  </a:lnTo>
                  <a:lnTo>
                    <a:pt x="640" y="191"/>
                  </a:lnTo>
                  <a:lnTo>
                    <a:pt x="640" y="191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0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0" y="195"/>
                  </a:lnTo>
                  <a:lnTo>
                    <a:pt x="640" y="195"/>
                  </a:lnTo>
                  <a:lnTo>
                    <a:pt x="640" y="195"/>
                  </a:lnTo>
                  <a:lnTo>
                    <a:pt x="640" y="195"/>
                  </a:lnTo>
                  <a:lnTo>
                    <a:pt x="640" y="195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3" y="193"/>
                  </a:lnTo>
                  <a:lnTo>
                    <a:pt x="645" y="193"/>
                  </a:lnTo>
                  <a:lnTo>
                    <a:pt x="645" y="193"/>
                  </a:lnTo>
                  <a:lnTo>
                    <a:pt x="652" y="195"/>
                  </a:lnTo>
                  <a:lnTo>
                    <a:pt x="652" y="195"/>
                  </a:lnTo>
                  <a:lnTo>
                    <a:pt x="652" y="195"/>
                  </a:lnTo>
                  <a:lnTo>
                    <a:pt x="649" y="195"/>
                  </a:lnTo>
                  <a:lnTo>
                    <a:pt x="649" y="198"/>
                  </a:lnTo>
                  <a:lnTo>
                    <a:pt x="649" y="198"/>
                  </a:lnTo>
                  <a:lnTo>
                    <a:pt x="649" y="198"/>
                  </a:lnTo>
                  <a:lnTo>
                    <a:pt x="649" y="198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4" y="198"/>
                  </a:lnTo>
                  <a:lnTo>
                    <a:pt x="656" y="198"/>
                  </a:lnTo>
                  <a:lnTo>
                    <a:pt x="658" y="198"/>
                  </a:lnTo>
                  <a:lnTo>
                    <a:pt x="658" y="198"/>
                  </a:lnTo>
                  <a:lnTo>
                    <a:pt x="658" y="198"/>
                  </a:lnTo>
                  <a:lnTo>
                    <a:pt x="658" y="200"/>
                  </a:lnTo>
                  <a:lnTo>
                    <a:pt x="658" y="200"/>
                  </a:lnTo>
                  <a:lnTo>
                    <a:pt x="658" y="200"/>
                  </a:lnTo>
                  <a:lnTo>
                    <a:pt x="658" y="200"/>
                  </a:lnTo>
                  <a:lnTo>
                    <a:pt x="656" y="200"/>
                  </a:lnTo>
                  <a:lnTo>
                    <a:pt x="656" y="200"/>
                  </a:lnTo>
                  <a:lnTo>
                    <a:pt x="656" y="200"/>
                  </a:lnTo>
                  <a:lnTo>
                    <a:pt x="654" y="202"/>
                  </a:lnTo>
                  <a:lnTo>
                    <a:pt x="652" y="202"/>
                  </a:lnTo>
                  <a:lnTo>
                    <a:pt x="649" y="202"/>
                  </a:lnTo>
                  <a:lnTo>
                    <a:pt x="649" y="202"/>
                  </a:lnTo>
                  <a:lnTo>
                    <a:pt x="649" y="204"/>
                  </a:lnTo>
                  <a:lnTo>
                    <a:pt x="649" y="204"/>
                  </a:lnTo>
                  <a:lnTo>
                    <a:pt x="649" y="204"/>
                  </a:lnTo>
                  <a:lnTo>
                    <a:pt x="649" y="204"/>
                  </a:lnTo>
                  <a:lnTo>
                    <a:pt x="649" y="204"/>
                  </a:lnTo>
                  <a:lnTo>
                    <a:pt x="652" y="204"/>
                  </a:lnTo>
                  <a:lnTo>
                    <a:pt x="652" y="204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61" y="202"/>
                  </a:lnTo>
                  <a:lnTo>
                    <a:pt x="661" y="202"/>
                  </a:lnTo>
                  <a:lnTo>
                    <a:pt x="661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58" y="202"/>
                  </a:lnTo>
                  <a:lnTo>
                    <a:pt x="656" y="202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6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61" y="204"/>
                  </a:lnTo>
                  <a:lnTo>
                    <a:pt x="661" y="204"/>
                  </a:lnTo>
                  <a:lnTo>
                    <a:pt x="661" y="204"/>
                  </a:lnTo>
                  <a:lnTo>
                    <a:pt x="661" y="202"/>
                  </a:lnTo>
                  <a:lnTo>
                    <a:pt x="661" y="202"/>
                  </a:lnTo>
                  <a:lnTo>
                    <a:pt x="661" y="202"/>
                  </a:lnTo>
                  <a:lnTo>
                    <a:pt x="661" y="202"/>
                  </a:lnTo>
                  <a:lnTo>
                    <a:pt x="661" y="202"/>
                  </a:lnTo>
                  <a:lnTo>
                    <a:pt x="663" y="202"/>
                  </a:lnTo>
                  <a:lnTo>
                    <a:pt x="663" y="202"/>
                  </a:lnTo>
                  <a:lnTo>
                    <a:pt x="663" y="202"/>
                  </a:lnTo>
                  <a:lnTo>
                    <a:pt x="663" y="202"/>
                  </a:lnTo>
                  <a:lnTo>
                    <a:pt x="663" y="202"/>
                  </a:lnTo>
                  <a:lnTo>
                    <a:pt x="663" y="202"/>
                  </a:lnTo>
                  <a:lnTo>
                    <a:pt x="667" y="202"/>
                  </a:lnTo>
                  <a:lnTo>
                    <a:pt x="667" y="202"/>
                  </a:lnTo>
                  <a:lnTo>
                    <a:pt x="667" y="202"/>
                  </a:lnTo>
                  <a:lnTo>
                    <a:pt x="667" y="202"/>
                  </a:lnTo>
                  <a:lnTo>
                    <a:pt x="667" y="202"/>
                  </a:lnTo>
                  <a:lnTo>
                    <a:pt x="665" y="202"/>
                  </a:lnTo>
                  <a:lnTo>
                    <a:pt x="665" y="202"/>
                  </a:lnTo>
                  <a:lnTo>
                    <a:pt x="665" y="202"/>
                  </a:lnTo>
                  <a:lnTo>
                    <a:pt x="665" y="204"/>
                  </a:lnTo>
                  <a:lnTo>
                    <a:pt x="665" y="204"/>
                  </a:lnTo>
                  <a:lnTo>
                    <a:pt x="663" y="204"/>
                  </a:lnTo>
                  <a:lnTo>
                    <a:pt x="663" y="204"/>
                  </a:lnTo>
                  <a:lnTo>
                    <a:pt x="663" y="204"/>
                  </a:lnTo>
                  <a:lnTo>
                    <a:pt x="663" y="204"/>
                  </a:lnTo>
                  <a:lnTo>
                    <a:pt x="663" y="204"/>
                  </a:lnTo>
                  <a:lnTo>
                    <a:pt x="663" y="204"/>
                  </a:lnTo>
                  <a:lnTo>
                    <a:pt x="661" y="204"/>
                  </a:lnTo>
                  <a:lnTo>
                    <a:pt x="661" y="204"/>
                  </a:lnTo>
                  <a:lnTo>
                    <a:pt x="661" y="204"/>
                  </a:lnTo>
                  <a:lnTo>
                    <a:pt x="658" y="204"/>
                  </a:lnTo>
                  <a:lnTo>
                    <a:pt x="658" y="204"/>
                  </a:lnTo>
                  <a:lnTo>
                    <a:pt x="658" y="207"/>
                  </a:lnTo>
                  <a:lnTo>
                    <a:pt x="658" y="207"/>
                  </a:lnTo>
                  <a:lnTo>
                    <a:pt x="658" y="207"/>
                  </a:lnTo>
                  <a:lnTo>
                    <a:pt x="656" y="207"/>
                  </a:lnTo>
                  <a:lnTo>
                    <a:pt x="656" y="207"/>
                  </a:lnTo>
                  <a:lnTo>
                    <a:pt x="656" y="207"/>
                  </a:lnTo>
                  <a:lnTo>
                    <a:pt x="656" y="207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6" y="209"/>
                  </a:lnTo>
                  <a:lnTo>
                    <a:pt x="658" y="209"/>
                  </a:lnTo>
                  <a:lnTo>
                    <a:pt x="658" y="209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6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11"/>
                  </a:lnTo>
                  <a:lnTo>
                    <a:pt x="658" y="209"/>
                  </a:lnTo>
                  <a:lnTo>
                    <a:pt x="658" y="209"/>
                  </a:lnTo>
                  <a:lnTo>
                    <a:pt x="661" y="209"/>
                  </a:lnTo>
                  <a:lnTo>
                    <a:pt x="661" y="209"/>
                  </a:lnTo>
                  <a:lnTo>
                    <a:pt x="663" y="207"/>
                  </a:lnTo>
                  <a:lnTo>
                    <a:pt x="663" y="207"/>
                  </a:lnTo>
                  <a:lnTo>
                    <a:pt x="663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5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70" y="207"/>
                  </a:lnTo>
                  <a:lnTo>
                    <a:pt x="667" y="207"/>
                  </a:lnTo>
                  <a:lnTo>
                    <a:pt x="667" y="207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70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70" y="209"/>
                  </a:lnTo>
                  <a:lnTo>
                    <a:pt x="670" y="209"/>
                  </a:lnTo>
                  <a:lnTo>
                    <a:pt x="670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09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70" y="211"/>
                  </a:lnTo>
                  <a:lnTo>
                    <a:pt x="670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5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1"/>
                  </a:lnTo>
                  <a:lnTo>
                    <a:pt x="667" y="213"/>
                  </a:lnTo>
                  <a:lnTo>
                    <a:pt x="670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5" y="213"/>
                  </a:lnTo>
                  <a:lnTo>
                    <a:pt x="665" y="213"/>
                  </a:lnTo>
                  <a:lnTo>
                    <a:pt x="665" y="213"/>
                  </a:lnTo>
                  <a:lnTo>
                    <a:pt x="665" y="213"/>
                  </a:lnTo>
                  <a:lnTo>
                    <a:pt x="665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7" y="213"/>
                  </a:lnTo>
                  <a:lnTo>
                    <a:pt x="661" y="216"/>
                  </a:lnTo>
                  <a:lnTo>
                    <a:pt x="661" y="216"/>
                  </a:lnTo>
                  <a:lnTo>
                    <a:pt x="658" y="216"/>
                  </a:lnTo>
                  <a:lnTo>
                    <a:pt x="658" y="216"/>
                  </a:lnTo>
                  <a:lnTo>
                    <a:pt x="663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7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5" y="218"/>
                  </a:lnTo>
                  <a:lnTo>
                    <a:pt x="663" y="218"/>
                  </a:lnTo>
                  <a:lnTo>
                    <a:pt x="663" y="218"/>
                  </a:lnTo>
                  <a:lnTo>
                    <a:pt x="663" y="218"/>
                  </a:lnTo>
                  <a:lnTo>
                    <a:pt x="667" y="216"/>
                  </a:lnTo>
                  <a:lnTo>
                    <a:pt x="667" y="218"/>
                  </a:lnTo>
                  <a:lnTo>
                    <a:pt x="665" y="218"/>
                  </a:lnTo>
                  <a:lnTo>
                    <a:pt x="665" y="218"/>
                  </a:lnTo>
                  <a:lnTo>
                    <a:pt x="665" y="218"/>
                  </a:lnTo>
                  <a:lnTo>
                    <a:pt x="667" y="218"/>
                  </a:lnTo>
                  <a:lnTo>
                    <a:pt x="667" y="218"/>
                  </a:lnTo>
                  <a:lnTo>
                    <a:pt x="667" y="218"/>
                  </a:lnTo>
                  <a:lnTo>
                    <a:pt x="667" y="218"/>
                  </a:lnTo>
                  <a:lnTo>
                    <a:pt x="667" y="218"/>
                  </a:lnTo>
                  <a:lnTo>
                    <a:pt x="670" y="218"/>
                  </a:lnTo>
                  <a:lnTo>
                    <a:pt x="670" y="218"/>
                  </a:lnTo>
                  <a:lnTo>
                    <a:pt x="667" y="218"/>
                  </a:lnTo>
                  <a:lnTo>
                    <a:pt x="667" y="218"/>
                  </a:lnTo>
                  <a:lnTo>
                    <a:pt x="665" y="220"/>
                  </a:lnTo>
                  <a:lnTo>
                    <a:pt x="665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7" y="220"/>
                  </a:lnTo>
                  <a:lnTo>
                    <a:pt x="665" y="220"/>
                  </a:lnTo>
                  <a:lnTo>
                    <a:pt x="665" y="220"/>
                  </a:lnTo>
                  <a:lnTo>
                    <a:pt x="665" y="220"/>
                  </a:lnTo>
                  <a:lnTo>
                    <a:pt x="665" y="220"/>
                  </a:lnTo>
                  <a:close/>
                  <a:moveTo>
                    <a:pt x="202" y="297"/>
                  </a:moveTo>
                  <a:lnTo>
                    <a:pt x="202" y="297"/>
                  </a:lnTo>
                  <a:lnTo>
                    <a:pt x="205" y="297"/>
                  </a:lnTo>
                  <a:lnTo>
                    <a:pt x="207" y="297"/>
                  </a:lnTo>
                  <a:lnTo>
                    <a:pt x="209" y="297"/>
                  </a:lnTo>
                  <a:lnTo>
                    <a:pt x="209" y="297"/>
                  </a:lnTo>
                  <a:lnTo>
                    <a:pt x="209" y="297"/>
                  </a:lnTo>
                  <a:lnTo>
                    <a:pt x="209" y="297"/>
                  </a:lnTo>
                  <a:lnTo>
                    <a:pt x="207" y="297"/>
                  </a:lnTo>
                  <a:lnTo>
                    <a:pt x="207" y="297"/>
                  </a:lnTo>
                  <a:lnTo>
                    <a:pt x="205" y="297"/>
                  </a:lnTo>
                  <a:lnTo>
                    <a:pt x="205" y="297"/>
                  </a:lnTo>
                  <a:lnTo>
                    <a:pt x="202" y="297"/>
                  </a:lnTo>
                  <a:lnTo>
                    <a:pt x="202" y="29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4" name="Freeform 591"/>
            <p:cNvSpPr>
              <a:spLocks noEditPoints="1"/>
            </p:cNvSpPr>
            <p:nvPr/>
          </p:nvSpPr>
          <p:spPr bwMode="auto">
            <a:xfrm>
              <a:off x="6279380" y="2307698"/>
              <a:ext cx="295843" cy="270771"/>
            </a:xfrm>
            <a:custGeom>
              <a:avLst/>
              <a:gdLst>
                <a:gd name="T0" fmla="*/ 114 w 177"/>
                <a:gd name="T1" fmla="*/ 151 h 162"/>
                <a:gd name="T2" fmla="*/ 137 w 177"/>
                <a:gd name="T3" fmla="*/ 153 h 162"/>
                <a:gd name="T4" fmla="*/ 110 w 177"/>
                <a:gd name="T5" fmla="*/ 158 h 162"/>
                <a:gd name="T6" fmla="*/ 85 w 177"/>
                <a:gd name="T7" fmla="*/ 146 h 162"/>
                <a:gd name="T8" fmla="*/ 157 w 177"/>
                <a:gd name="T9" fmla="*/ 149 h 162"/>
                <a:gd name="T10" fmla="*/ 74 w 177"/>
                <a:gd name="T11" fmla="*/ 131 h 162"/>
                <a:gd name="T12" fmla="*/ 168 w 177"/>
                <a:gd name="T13" fmla="*/ 128 h 162"/>
                <a:gd name="T14" fmla="*/ 155 w 177"/>
                <a:gd name="T15" fmla="*/ 122 h 162"/>
                <a:gd name="T16" fmla="*/ 168 w 177"/>
                <a:gd name="T17" fmla="*/ 122 h 162"/>
                <a:gd name="T18" fmla="*/ 119 w 177"/>
                <a:gd name="T19" fmla="*/ 119 h 162"/>
                <a:gd name="T20" fmla="*/ 155 w 177"/>
                <a:gd name="T21" fmla="*/ 117 h 162"/>
                <a:gd name="T22" fmla="*/ 105 w 177"/>
                <a:gd name="T23" fmla="*/ 113 h 162"/>
                <a:gd name="T24" fmla="*/ 116 w 177"/>
                <a:gd name="T25" fmla="*/ 110 h 162"/>
                <a:gd name="T26" fmla="*/ 121 w 177"/>
                <a:gd name="T27" fmla="*/ 115 h 162"/>
                <a:gd name="T28" fmla="*/ 74 w 177"/>
                <a:gd name="T29" fmla="*/ 106 h 162"/>
                <a:gd name="T30" fmla="*/ 98 w 177"/>
                <a:gd name="T31" fmla="*/ 101 h 162"/>
                <a:gd name="T32" fmla="*/ 105 w 177"/>
                <a:gd name="T33" fmla="*/ 97 h 162"/>
                <a:gd name="T34" fmla="*/ 98 w 177"/>
                <a:gd name="T35" fmla="*/ 97 h 162"/>
                <a:gd name="T36" fmla="*/ 141 w 177"/>
                <a:gd name="T37" fmla="*/ 95 h 162"/>
                <a:gd name="T38" fmla="*/ 110 w 177"/>
                <a:gd name="T39" fmla="*/ 97 h 162"/>
                <a:gd name="T40" fmla="*/ 78 w 177"/>
                <a:gd name="T41" fmla="*/ 88 h 162"/>
                <a:gd name="T42" fmla="*/ 20 w 177"/>
                <a:gd name="T43" fmla="*/ 81 h 162"/>
                <a:gd name="T44" fmla="*/ 130 w 177"/>
                <a:gd name="T45" fmla="*/ 77 h 162"/>
                <a:gd name="T46" fmla="*/ 119 w 177"/>
                <a:gd name="T47" fmla="*/ 74 h 162"/>
                <a:gd name="T48" fmla="*/ 22 w 177"/>
                <a:gd name="T49" fmla="*/ 74 h 162"/>
                <a:gd name="T50" fmla="*/ 98 w 177"/>
                <a:gd name="T51" fmla="*/ 68 h 162"/>
                <a:gd name="T52" fmla="*/ 98 w 177"/>
                <a:gd name="T53" fmla="*/ 88 h 162"/>
                <a:gd name="T54" fmla="*/ 80 w 177"/>
                <a:gd name="T55" fmla="*/ 77 h 162"/>
                <a:gd name="T56" fmla="*/ 76 w 177"/>
                <a:gd name="T57" fmla="*/ 65 h 162"/>
                <a:gd name="T58" fmla="*/ 87 w 177"/>
                <a:gd name="T59" fmla="*/ 56 h 162"/>
                <a:gd name="T60" fmla="*/ 130 w 177"/>
                <a:gd name="T61" fmla="*/ 61 h 162"/>
                <a:gd name="T62" fmla="*/ 4 w 177"/>
                <a:gd name="T63" fmla="*/ 50 h 162"/>
                <a:gd name="T64" fmla="*/ 112 w 177"/>
                <a:gd name="T65" fmla="*/ 43 h 162"/>
                <a:gd name="T66" fmla="*/ 105 w 177"/>
                <a:gd name="T67" fmla="*/ 41 h 162"/>
                <a:gd name="T68" fmla="*/ 98 w 177"/>
                <a:gd name="T69" fmla="*/ 25 h 162"/>
                <a:gd name="T70" fmla="*/ 125 w 177"/>
                <a:gd name="T71" fmla="*/ 20 h 162"/>
                <a:gd name="T72" fmla="*/ 96 w 177"/>
                <a:gd name="T73" fmla="*/ 20 h 162"/>
                <a:gd name="T74" fmla="*/ 87 w 177"/>
                <a:gd name="T75" fmla="*/ 32 h 162"/>
                <a:gd name="T76" fmla="*/ 83 w 177"/>
                <a:gd name="T77" fmla="*/ 41 h 162"/>
                <a:gd name="T78" fmla="*/ 62 w 177"/>
                <a:gd name="T79" fmla="*/ 29 h 162"/>
                <a:gd name="T80" fmla="*/ 62 w 177"/>
                <a:gd name="T81" fmla="*/ 45 h 162"/>
                <a:gd name="T82" fmla="*/ 65 w 177"/>
                <a:gd name="T83" fmla="*/ 61 h 162"/>
                <a:gd name="T84" fmla="*/ 60 w 177"/>
                <a:gd name="T85" fmla="*/ 68 h 162"/>
                <a:gd name="T86" fmla="*/ 89 w 177"/>
                <a:gd name="T87" fmla="*/ 83 h 162"/>
                <a:gd name="T88" fmla="*/ 85 w 177"/>
                <a:gd name="T89" fmla="*/ 92 h 162"/>
                <a:gd name="T90" fmla="*/ 74 w 177"/>
                <a:gd name="T91" fmla="*/ 97 h 162"/>
                <a:gd name="T92" fmla="*/ 74 w 177"/>
                <a:gd name="T93" fmla="*/ 101 h 162"/>
                <a:gd name="T94" fmla="*/ 71 w 177"/>
                <a:gd name="T95" fmla="*/ 110 h 162"/>
                <a:gd name="T96" fmla="*/ 74 w 177"/>
                <a:gd name="T97" fmla="*/ 124 h 162"/>
                <a:gd name="T98" fmla="*/ 60 w 177"/>
                <a:gd name="T99" fmla="*/ 119 h 162"/>
                <a:gd name="T100" fmla="*/ 44 w 177"/>
                <a:gd name="T101" fmla="*/ 104 h 162"/>
                <a:gd name="T102" fmla="*/ 51 w 177"/>
                <a:gd name="T103" fmla="*/ 81 h 162"/>
                <a:gd name="T104" fmla="*/ 69 w 177"/>
                <a:gd name="T105" fmla="*/ 83 h 162"/>
                <a:gd name="T106" fmla="*/ 53 w 177"/>
                <a:gd name="T107" fmla="*/ 81 h 162"/>
                <a:gd name="T108" fmla="*/ 35 w 177"/>
                <a:gd name="T109" fmla="*/ 79 h 162"/>
                <a:gd name="T110" fmla="*/ 26 w 177"/>
                <a:gd name="T111" fmla="*/ 70 h 162"/>
                <a:gd name="T112" fmla="*/ 31 w 177"/>
                <a:gd name="T113" fmla="*/ 65 h 162"/>
                <a:gd name="T114" fmla="*/ 22 w 177"/>
                <a:gd name="T115" fmla="*/ 65 h 162"/>
                <a:gd name="T116" fmla="*/ 9 w 177"/>
                <a:gd name="T117" fmla="*/ 47 h 162"/>
                <a:gd name="T118" fmla="*/ 22 w 177"/>
                <a:gd name="T119" fmla="*/ 29 h 162"/>
                <a:gd name="T120" fmla="*/ 49 w 177"/>
                <a:gd name="T121" fmla="*/ 14 h 162"/>
                <a:gd name="T122" fmla="*/ 85 w 177"/>
                <a:gd name="T123" fmla="*/ 5 h 162"/>
                <a:gd name="T124" fmla="*/ 116 w 177"/>
                <a:gd name="T125" fmla="*/ 9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7" h="162">
                  <a:moveTo>
                    <a:pt x="155" y="149"/>
                  </a:moveTo>
                  <a:lnTo>
                    <a:pt x="155" y="151"/>
                  </a:lnTo>
                  <a:lnTo>
                    <a:pt x="155" y="151"/>
                  </a:lnTo>
                  <a:lnTo>
                    <a:pt x="155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0" y="151"/>
                  </a:lnTo>
                  <a:lnTo>
                    <a:pt x="150" y="151"/>
                  </a:lnTo>
                  <a:lnTo>
                    <a:pt x="150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lnTo>
                    <a:pt x="155" y="149"/>
                  </a:lnTo>
                  <a:close/>
                  <a:moveTo>
                    <a:pt x="92" y="146"/>
                  </a:move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4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6" y="149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6" y="149"/>
                  </a:lnTo>
                  <a:lnTo>
                    <a:pt x="96" y="149"/>
                  </a:lnTo>
                  <a:lnTo>
                    <a:pt x="96" y="149"/>
                  </a:lnTo>
                  <a:lnTo>
                    <a:pt x="96" y="149"/>
                  </a:lnTo>
                  <a:lnTo>
                    <a:pt x="96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98" y="149"/>
                  </a:lnTo>
                  <a:lnTo>
                    <a:pt x="101" y="149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1" y="151"/>
                  </a:lnTo>
                  <a:lnTo>
                    <a:pt x="103" y="151"/>
                  </a:lnTo>
                  <a:lnTo>
                    <a:pt x="103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7" y="151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2" y="151"/>
                  </a:lnTo>
                  <a:lnTo>
                    <a:pt x="112" y="151"/>
                  </a:lnTo>
                  <a:lnTo>
                    <a:pt x="112" y="149"/>
                  </a:lnTo>
                  <a:lnTo>
                    <a:pt x="112" y="149"/>
                  </a:lnTo>
                  <a:lnTo>
                    <a:pt x="114" y="151"/>
                  </a:lnTo>
                  <a:lnTo>
                    <a:pt x="114" y="151"/>
                  </a:lnTo>
                  <a:lnTo>
                    <a:pt x="114" y="151"/>
                  </a:lnTo>
                  <a:lnTo>
                    <a:pt x="114" y="149"/>
                  </a:lnTo>
                  <a:lnTo>
                    <a:pt x="114" y="149"/>
                  </a:lnTo>
                  <a:lnTo>
                    <a:pt x="114" y="149"/>
                  </a:lnTo>
                  <a:lnTo>
                    <a:pt x="114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6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19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1" y="151"/>
                  </a:lnTo>
                  <a:lnTo>
                    <a:pt x="123" y="151"/>
                  </a:lnTo>
                  <a:lnTo>
                    <a:pt x="123" y="151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23" y="153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30" y="151"/>
                  </a:lnTo>
                  <a:lnTo>
                    <a:pt x="130" y="151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5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2" y="155"/>
                  </a:lnTo>
                  <a:lnTo>
                    <a:pt x="134" y="155"/>
                  </a:lnTo>
                  <a:lnTo>
                    <a:pt x="134" y="155"/>
                  </a:lnTo>
                  <a:lnTo>
                    <a:pt x="134" y="155"/>
                  </a:lnTo>
                  <a:lnTo>
                    <a:pt x="134" y="155"/>
                  </a:lnTo>
                  <a:lnTo>
                    <a:pt x="134" y="155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39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39" y="153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5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41" y="158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9" y="160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7" y="160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4" y="160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28" y="160"/>
                  </a:lnTo>
                  <a:lnTo>
                    <a:pt x="125" y="160"/>
                  </a:lnTo>
                  <a:lnTo>
                    <a:pt x="125" y="160"/>
                  </a:lnTo>
                  <a:lnTo>
                    <a:pt x="125" y="160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6" y="162"/>
                  </a:lnTo>
                  <a:lnTo>
                    <a:pt x="116" y="160"/>
                  </a:lnTo>
                  <a:lnTo>
                    <a:pt x="116" y="160"/>
                  </a:lnTo>
                  <a:lnTo>
                    <a:pt x="116" y="160"/>
                  </a:lnTo>
                  <a:lnTo>
                    <a:pt x="116" y="160"/>
                  </a:lnTo>
                  <a:lnTo>
                    <a:pt x="116" y="160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4" y="162"/>
                  </a:lnTo>
                  <a:lnTo>
                    <a:pt x="110" y="162"/>
                  </a:lnTo>
                  <a:lnTo>
                    <a:pt x="110" y="162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10" y="160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10" y="158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7" y="158"/>
                  </a:lnTo>
                  <a:lnTo>
                    <a:pt x="105" y="158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5" y="155"/>
                  </a:lnTo>
                  <a:lnTo>
                    <a:pt x="103" y="155"/>
                  </a:lnTo>
                  <a:lnTo>
                    <a:pt x="103" y="155"/>
                  </a:lnTo>
                  <a:lnTo>
                    <a:pt x="103" y="155"/>
                  </a:lnTo>
                  <a:lnTo>
                    <a:pt x="101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51"/>
                  </a:lnTo>
                  <a:lnTo>
                    <a:pt x="85" y="149"/>
                  </a:lnTo>
                  <a:lnTo>
                    <a:pt x="87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7" y="149"/>
                  </a:lnTo>
                  <a:lnTo>
                    <a:pt x="87" y="149"/>
                  </a:lnTo>
                  <a:lnTo>
                    <a:pt x="85" y="149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5" y="146"/>
                  </a:lnTo>
                  <a:lnTo>
                    <a:pt x="87" y="146"/>
                  </a:lnTo>
                  <a:lnTo>
                    <a:pt x="85" y="146"/>
                  </a:lnTo>
                  <a:lnTo>
                    <a:pt x="87" y="144"/>
                  </a:lnTo>
                  <a:lnTo>
                    <a:pt x="87" y="144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9"/>
                  </a:lnTo>
                  <a:lnTo>
                    <a:pt x="87" y="149"/>
                  </a:lnTo>
                  <a:lnTo>
                    <a:pt x="87" y="149"/>
                  </a:lnTo>
                  <a:lnTo>
                    <a:pt x="89" y="149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89" y="146"/>
                  </a:lnTo>
                  <a:lnTo>
                    <a:pt x="92" y="146"/>
                  </a:lnTo>
                  <a:lnTo>
                    <a:pt x="92" y="146"/>
                  </a:lnTo>
                  <a:close/>
                  <a:moveTo>
                    <a:pt x="157" y="140"/>
                  </a:move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9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51"/>
                  </a:lnTo>
                  <a:lnTo>
                    <a:pt x="157" y="151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7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6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5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4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2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lnTo>
                    <a:pt x="157" y="140"/>
                  </a:lnTo>
                  <a:close/>
                  <a:moveTo>
                    <a:pt x="164" y="131"/>
                  </a:move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1" y="131"/>
                  </a:lnTo>
                  <a:lnTo>
                    <a:pt x="161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lnTo>
                    <a:pt x="164" y="131"/>
                  </a:lnTo>
                  <a:close/>
                  <a:moveTo>
                    <a:pt x="74" y="131"/>
                  </a:move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1" y="126"/>
                  </a:lnTo>
                  <a:lnTo>
                    <a:pt x="74" y="128"/>
                  </a:lnTo>
                  <a:lnTo>
                    <a:pt x="74" y="128"/>
                  </a:lnTo>
                  <a:lnTo>
                    <a:pt x="74" y="128"/>
                  </a:lnTo>
                  <a:lnTo>
                    <a:pt x="76" y="131"/>
                  </a:lnTo>
                  <a:lnTo>
                    <a:pt x="76" y="131"/>
                  </a:lnTo>
                  <a:lnTo>
                    <a:pt x="76" y="131"/>
                  </a:lnTo>
                  <a:lnTo>
                    <a:pt x="76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close/>
                  <a:moveTo>
                    <a:pt x="130" y="126"/>
                  </a:moveTo>
                  <a:lnTo>
                    <a:pt x="130" y="128"/>
                  </a:lnTo>
                  <a:lnTo>
                    <a:pt x="130" y="128"/>
                  </a:lnTo>
                  <a:lnTo>
                    <a:pt x="130" y="128"/>
                  </a:lnTo>
                  <a:lnTo>
                    <a:pt x="128" y="126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8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28" y="126"/>
                  </a:lnTo>
                  <a:lnTo>
                    <a:pt x="130" y="126"/>
                  </a:lnTo>
                  <a:lnTo>
                    <a:pt x="130" y="126"/>
                  </a:lnTo>
                  <a:close/>
                  <a:moveTo>
                    <a:pt x="177" y="126"/>
                  </a:moveTo>
                  <a:lnTo>
                    <a:pt x="175" y="126"/>
                  </a:lnTo>
                  <a:lnTo>
                    <a:pt x="177" y="126"/>
                  </a:lnTo>
                  <a:lnTo>
                    <a:pt x="175" y="126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1"/>
                  </a:lnTo>
                  <a:lnTo>
                    <a:pt x="175" y="133"/>
                  </a:lnTo>
                  <a:lnTo>
                    <a:pt x="173" y="133"/>
                  </a:lnTo>
                  <a:lnTo>
                    <a:pt x="173" y="133"/>
                  </a:lnTo>
                  <a:lnTo>
                    <a:pt x="173" y="133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5" y="133"/>
                  </a:lnTo>
                  <a:lnTo>
                    <a:pt x="173" y="135"/>
                  </a:lnTo>
                  <a:lnTo>
                    <a:pt x="175" y="135"/>
                  </a:lnTo>
                  <a:lnTo>
                    <a:pt x="175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0" y="135"/>
                  </a:lnTo>
                  <a:lnTo>
                    <a:pt x="170" y="135"/>
                  </a:lnTo>
                  <a:lnTo>
                    <a:pt x="170" y="137"/>
                  </a:lnTo>
                  <a:lnTo>
                    <a:pt x="170" y="137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68" y="137"/>
                  </a:lnTo>
                  <a:lnTo>
                    <a:pt x="166" y="137"/>
                  </a:lnTo>
                  <a:lnTo>
                    <a:pt x="168" y="137"/>
                  </a:lnTo>
                  <a:lnTo>
                    <a:pt x="168" y="135"/>
                  </a:lnTo>
                  <a:lnTo>
                    <a:pt x="168" y="135"/>
                  </a:lnTo>
                  <a:lnTo>
                    <a:pt x="168" y="133"/>
                  </a:lnTo>
                  <a:lnTo>
                    <a:pt x="168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3"/>
                  </a:lnTo>
                  <a:lnTo>
                    <a:pt x="166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70" y="128"/>
                  </a:lnTo>
                  <a:lnTo>
                    <a:pt x="170" y="128"/>
                  </a:lnTo>
                  <a:lnTo>
                    <a:pt x="170" y="128"/>
                  </a:lnTo>
                  <a:lnTo>
                    <a:pt x="170" y="128"/>
                  </a:lnTo>
                  <a:lnTo>
                    <a:pt x="173" y="126"/>
                  </a:lnTo>
                  <a:lnTo>
                    <a:pt x="173" y="126"/>
                  </a:lnTo>
                  <a:lnTo>
                    <a:pt x="175" y="126"/>
                  </a:lnTo>
                  <a:lnTo>
                    <a:pt x="175" y="126"/>
                  </a:lnTo>
                  <a:lnTo>
                    <a:pt x="175" y="126"/>
                  </a:lnTo>
                  <a:lnTo>
                    <a:pt x="175" y="126"/>
                  </a:lnTo>
                  <a:lnTo>
                    <a:pt x="175" y="126"/>
                  </a:lnTo>
                  <a:lnTo>
                    <a:pt x="177" y="126"/>
                  </a:lnTo>
                  <a:lnTo>
                    <a:pt x="177" y="126"/>
                  </a:lnTo>
                  <a:close/>
                  <a:moveTo>
                    <a:pt x="123" y="126"/>
                  </a:move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19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1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19" y="124"/>
                  </a:lnTo>
                  <a:lnTo>
                    <a:pt x="121" y="124"/>
                  </a:lnTo>
                  <a:lnTo>
                    <a:pt x="121" y="126"/>
                  </a:lnTo>
                  <a:lnTo>
                    <a:pt x="121" y="126"/>
                  </a:lnTo>
                  <a:lnTo>
                    <a:pt x="123" y="126"/>
                  </a:lnTo>
                  <a:lnTo>
                    <a:pt x="123" y="126"/>
                  </a:lnTo>
                  <a:lnTo>
                    <a:pt x="123" y="126"/>
                  </a:lnTo>
                  <a:close/>
                  <a:moveTo>
                    <a:pt x="159" y="124"/>
                  </a:move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9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6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7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9" y="124"/>
                  </a:lnTo>
                  <a:close/>
                  <a:moveTo>
                    <a:pt x="155" y="122"/>
                  </a:move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lnTo>
                    <a:pt x="155" y="122"/>
                  </a:lnTo>
                  <a:close/>
                  <a:moveTo>
                    <a:pt x="141" y="122"/>
                  </a:moveTo>
                  <a:lnTo>
                    <a:pt x="141" y="122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39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7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39" y="122"/>
                  </a:lnTo>
                  <a:lnTo>
                    <a:pt x="141" y="122"/>
                  </a:lnTo>
                  <a:lnTo>
                    <a:pt x="141" y="122"/>
                  </a:lnTo>
                  <a:close/>
                  <a:moveTo>
                    <a:pt x="168" y="122"/>
                  </a:move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4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6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19"/>
                  </a:lnTo>
                  <a:lnTo>
                    <a:pt x="168" y="122"/>
                  </a:lnTo>
                  <a:lnTo>
                    <a:pt x="168" y="122"/>
                  </a:lnTo>
                  <a:lnTo>
                    <a:pt x="168" y="122"/>
                  </a:lnTo>
                  <a:close/>
                  <a:moveTo>
                    <a:pt x="112" y="122"/>
                  </a:moveTo>
                  <a:lnTo>
                    <a:pt x="112" y="122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22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2" y="122"/>
                  </a:lnTo>
                  <a:lnTo>
                    <a:pt x="112" y="122"/>
                  </a:lnTo>
                  <a:close/>
                  <a:moveTo>
                    <a:pt x="114" y="119"/>
                  </a:moveTo>
                  <a:lnTo>
                    <a:pt x="114" y="122"/>
                  </a:lnTo>
                  <a:lnTo>
                    <a:pt x="114" y="122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4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4" y="119"/>
                  </a:lnTo>
                  <a:close/>
                  <a:moveTo>
                    <a:pt x="101" y="117"/>
                  </a:moveTo>
                  <a:lnTo>
                    <a:pt x="101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7"/>
                  </a:lnTo>
                  <a:lnTo>
                    <a:pt x="98" y="119"/>
                  </a:lnTo>
                  <a:lnTo>
                    <a:pt x="98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7"/>
                  </a:lnTo>
                  <a:close/>
                  <a:moveTo>
                    <a:pt x="105" y="117"/>
                  </a:moveTo>
                  <a:lnTo>
                    <a:pt x="105" y="117"/>
                  </a:lnTo>
                  <a:lnTo>
                    <a:pt x="105" y="117"/>
                  </a:lnTo>
                  <a:lnTo>
                    <a:pt x="103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5" y="117"/>
                  </a:lnTo>
                  <a:close/>
                  <a:moveTo>
                    <a:pt x="119" y="119"/>
                  </a:move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9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close/>
                  <a:moveTo>
                    <a:pt x="103" y="115"/>
                  </a:move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7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close/>
                  <a:moveTo>
                    <a:pt x="121" y="117"/>
                  </a:moveTo>
                  <a:lnTo>
                    <a:pt x="121" y="117"/>
                  </a:lnTo>
                  <a:lnTo>
                    <a:pt x="119" y="117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7"/>
                  </a:lnTo>
                  <a:lnTo>
                    <a:pt x="121" y="117"/>
                  </a:lnTo>
                  <a:close/>
                  <a:moveTo>
                    <a:pt x="155" y="117"/>
                  </a:moveTo>
                  <a:lnTo>
                    <a:pt x="155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9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0" y="117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2" y="115"/>
                  </a:lnTo>
                  <a:lnTo>
                    <a:pt x="155" y="115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7" y="115"/>
                  </a:lnTo>
                  <a:lnTo>
                    <a:pt x="155" y="117"/>
                  </a:lnTo>
                  <a:lnTo>
                    <a:pt x="155" y="117"/>
                  </a:lnTo>
                  <a:close/>
                  <a:moveTo>
                    <a:pt x="125" y="115"/>
                  </a:move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5" y="115"/>
                  </a:lnTo>
                  <a:lnTo>
                    <a:pt x="125" y="115"/>
                  </a:lnTo>
                  <a:close/>
                  <a:moveTo>
                    <a:pt x="132" y="115"/>
                  </a:move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7"/>
                  </a:lnTo>
                  <a:lnTo>
                    <a:pt x="128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5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5"/>
                  </a:lnTo>
                  <a:lnTo>
                    <a:pt x="130" y="113"/>
                  </a:lnTo>
                  <a:lnTo>
                    <a:pt x="130" y="113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lnTo>
                    <a:pt x="132" y="115"/>
                  </a:lnTo>
                  <a:close/>
                  <a:moveTo>
                    <a:pt x="112" y="113"/>
                  </a:move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0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close/>
                  <a:moveTo>
                    <a:pt x="105" y="110"/>
                  </a:moveTo>
                  <a:lnTo>
                    <a:pt x="105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7" y="113"/>
                  </a:lnTo>
                  <a:lnTo>
                    <a:pt x="107" y="113"/>
                  </a:lnTo>
                  <a:lnTo>
                    <a:pt x="107" y="113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5" y="11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5" y="113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5" y="110"/>
                  </a:lnTo>
                  <a:lnTo>
                    <a:pt x="105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5" y="110"/>
                  </a:lnTo>
                  <a:lnTo>
                    <a:pt x="105" y="110"/>
                  </a:lnTo>
                  <a:close/>
                  <a:moveTo>
                    <a:pt x="150" y="110"/>
                  </a:moveTo>
                  <a:lnTo>
                    <a:pt x="150" y="110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2" y="113"/>
                  </a:lnTo>
                  <a:lnTo>
                    <a:pt x="150" y="113"/>
                  </a:lnTo>
                  <a:lnTo>
                    <a:pt x="152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2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5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5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48" y="113"/>
                  </a:lnTo>
                  <a:lnTo>
                    <a:pt x="148" y="113"/>
                  </a:lnTo>
                  <a:lnTo>
                    <a:pt x="148" y="113"/>
                  </a:lnTo>
                  <a:lnTo>
                    <a:pt x="148" y="113"/>
                  </a:lnTo>
                  <a:lnTo>
                    <a:pt x="150" y="113"/>
                  </a:lnTo>
                  <a:lnTo>
                    <a:pt x="148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0"/>
                  </a:lnTo>
                  <a:lnTo>
                    <a:pt x="150" y="110"/>
                  </a:lnTo>
                  <a:lnTo>
                    <a:pt x="150" y="110"/>
                  </a:lnTo>
                  <a:lnTo>
                    <a:pt x="150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50" y="110"/>
                  </a:lnTo>
                  <a:lnTo>
                    <a:pt x="150" y="110"/>
                  </a:lnTo>
                  <a:lnTo>
                    <a:pt x="150" y="110"/>
                  </a:lnTo>
                  <a:close/>
                  <a:moveTo>
                    <a:pt x="128" y="108"/>
                  </a:move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8" y="110"/>
                  </a:lnTo>
                  <a:lnTo>
                    <a:pt x="125" y="108"/>
                  </a:lnTo>
                  <a:lnTo>
                    <a:pt x="125" y="108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08"/>
                  </a:lnTo>
                  <a:lnTo>
                    <a:pt x="128" y="108"/>
                  </a:lnTo>
                  <a:close/>
                  <a:moveTo>
                    <a:pt x="116" y="108"/>
                  </a:move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0"/>
                  </a:lnTo>
                  <a:lnTo>
                    <a:pt x="116" y="113"/>
                  </a:lnTo>
                  <a:lnTo>
                    <a:pt x="116" y="113"/>
                  </a:lnTo>
                  <a:lnTo>
                    <a:pt x="116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10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6" y="108"/>
                  </a:lnTo>
                  <a:lnTo>
                    <a:pt x="114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lnTo>
                    <a:pt x="116" y="108"/>
                  </a:lnTo>
                  <a:close/>
                  <a:moveTo>
                    <a:pt x="146" y="108"/>
                  </a:move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10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8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6" y="108"/>
                  </a:lnTo>
                  <a:close/>
                  <a:moveTo>
                    <a:pt x="123" y="110"/>
                  </a:moveTo>
                  <a:lnTo>
                    <a:pt x="123" y="110"/>
                  </a:lnTo>
                  <a:lnTo>
                    <a:pt x="123" y="110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3"/>
                  </a:lnTo>
                  <a:lnTo>
                    <a:pt x="121" y="113"/>
                  </a:lnTo>
                  <a:lnTo>
                    <a:pt x="121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3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10"/>
                  </a:lnTo>
                  <a:lnTo>
                    <a:pt x="119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1" y="108"/>
                  </a:lnTo>
                  <a:lnTo>
                    <a:pt x="123" y="108"/>
                  </a:lnTo>
                  <a:lnTo>
                    <a:pt x="123" y="108"/>
                  </a:lnTo>
                  <a:lnTo>
                    <a:pt x="123" y="110"/>
                  </a:lnTo>
                  <a:close/>
                  <a:moveTo>
                    <a:pt x="101" y="108"/>
                  </a:move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1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1" y="108"/>
                  </a:lnTo>
                  <a:lnTo>
                    <a:pt x="98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lnTo>
                    <a:pt x="101" y="108"/>
                  </a:lnTo>
                  <a:close/>
                  <a:moveTo>
                    <a:pt x="74" y="106"/>
                  </a:move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close/>
                  <a:moveTo>
                    <a:pt x="83" y="104"/>
                  </a:move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8" y="106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close/>
                  <a:moveTo>
                    <a:pt x="141" y="104"/>
                  </a:move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lnTo>
                    <a:pt x="141" y="104"/>
                  </a:lnTo>
                  <a:close/>
                  <a:moveTo>
                    <a:pt x="101" y="101"/>
                  </a:moveTo>
                  <a:lnTo>
                    <a:pt x="101" y="101"/>
                  </a:lnTo>
                  <a:lnTo>
                    <a:pt x="101" y="104"/>
                  </a:lnTo>
                  <a:lnTo>
                    <a:pt x="101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6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98" y="101"/>
                  </a:lnTo>
                  <a:lnTo>
                    <a:pt x="101" y="101"/>
                  </a:lnTo>
                  <a:close/>
                  <a:moveTo>
                    <a:pt x="116" y="99"/>
                  </a:moveTo>
                  <a:lnTo>
                    <a:pt x="116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99"/>
                  </a:lnTo>
                  <a:lnTo>
                    <a:pt x="116" y="99"/>
                  </a:lnTo>
                  <a:close/>
                  <a:moveTo>
                    <a:pt x="110" y="104"/>
                  </a:moveTo>
                  <a:lnTo>
                    <a:pt x="110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101"/>
                  </a:lnTo>
                  <a:lnTo>
                    <a:pt x="107" y="99"/>
                  </a:lnTo>
                  <a:lnTo>
                    <a:pt x="107" y="99"/>
                  </a:lnTo>
                  <a:lnTo>
                    <a:pt x="107" y="99"/>
                  </a:lnTo>
                  <a:lnTo>
                    <a:pt x="110" y="99"/>
                  </a:lnTo>
                  <a:lnTo>
                    <a:pt x="110" y="99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1"/>
                  </a:lnTo>
                  <a:lnTo>
                    <a:pt x="110" y="104"/>
                  </a:lnTo>
                  <a:close/>
                  <a:moveTo>
                    <a:pt x="80" y="99"/>
                  </a:moveTo>
                  <a:lnTo>
                    <a:pt x="80" y="99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0" y="99"/>
                  </a:lnTo>
                  <a:close/>
                  <a:moveTo>
                    <a:pt x="105" y="97"/>
                  </a:moveTo>
                  <a:lnTo>
                    <a:pt x="105" y="97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5" y="97"/>
                  </a:lnTo>
                  <a:lnTo>
                    <a:pt x="105" y="97"/>
                  </a:lnTo>
                  <a:close/>
                  <a:moveTo>
                    <a:pt x="112" y="97"/>
                  </a:move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7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4" y="99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12" y="99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0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lnTo>
                    <a:pt x="112" y="97"/>
                  </a:lnTo>
                  <a:close/>
                  <a:moveTo>
                    <a:pt x="137" y="97"/>
                  </a:moveTo>
                  <a:lnTo>
                    <a:pt x="134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9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0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2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4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close/>
                  <a:moveTo>
                    <a:pt x="96" y="97"/>
                  </a:move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8" y="97"/>
                  </a:lnTo>
                  <a:lnTo>
                    <a:pt x="98" y="97"/>
                  </a:lnTo>
                  <a:lnTo>
                    <a:pt x="98" y="97"/>
                  </a:lnTo>
                  <a:lnTo>
                    <a:pt x="98" y="97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9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lnTo>
                    <a:pt x="96" y="97"/>
                  </a:lnTo>
                  <a:close/>
                  <a:moveTo>
                    <a:pt x="80" y="97"/>
                  </a:moveTo>
                  <a:lnTo>
                    <a:pt x="80" y="97"/>
                  </a:lnTo>
                  <a:lnTo>
                    <a:pt x="80" y="97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7"/>
                  </a:lnTo>
                  <a:close/>
                  <a:moveTo>
                    <a:pt x="148" y="95"/>
                  </a:moveTo>
                  <a:lnTo>
                    <a:pt x="148" y="95"/>
                  </a:lnTo>
                  <a:lnTo>
                    <a:pt x="148" y="95"/>
                  </a:lnTo>
                  <a:lnTo>
                    <a:pt x="148" y="95"/>
                  </a:lnTo>
                  <a:lnTo>
                    <a:pt x="148" y="95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2"/>
                  </a:lnTo>
                  <a:lnTo>
                    <a:pt x="148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50" y="95"/>
                  </a:lnTo>
                  <a:lnTo>
                    <a:pt x="148" y="95"/>
                  </a:lnTo>
                  <a:lnTo>
                    <a:pt x="148" y="97"/>
                  </a:lnTo>
                  <a:lnTo>
                    <a:pt x="148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3" y="97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3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1" y="97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2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8" y="95"/>
                  </a:lnTo>
                  <a:lnTo>
                    <a:pt x="148" y="95"/>
                  </a:lnTo>
                  <a:close/>
                  <a:moveTo>
                    <a:pt x="26" y="92"/>
                  </a:moveTo>
                  <a:lnTo>
                    <a:pt x="26" y="92"/>
                  </a:lnTo>
                  <a:lnTo>
                    <a:pt x="26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6" y="97"/>
                  </a:lnTo>
                  <a:lnTo>
                    <a:pt x="26" y="97"/>
                  </a:lnTo>
                  <a:lnTo>
                    <a:pt x="26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6" y="90"/>
                  </a:lnTo>
                  <a:lnTo>
                    <a:pt x="26" y="92"/>
                  </a:lnTo>
                  <a:lnTo>
                    <a:pt x="26" y="92"/>
                  </a:lnTo>
                  <a:close/>
                  <a:moveTo>
                    <a:pt x="105" y="90"/>
                  </a:moveTo>
                  <a:lnTo>
                    <a:pt x="107" y="90"/>
                  </a:lnTo>
                  <a:lnTo>
                    <a:pt x="107" y="90"/>
                  </a:lnTo>
                  <a:lnTo>
                    <a:pt x="107" y="90"/>
                  </a:lnTo>
                  <a:lnTo>
                    <a:pt x="107" y="92"/>
                  </a:lnTo>
                  <a:lnTo>
                    <a:pt x="107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7"/>
                  </a:lnTo>
                  <a:lnTo>
                    <a:pt x="110" y="97"/>
                  </a:lnTo>
                  <a:lnTo>
                    <a:pt x="110" y="95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7" y="95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88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lnTo>
                    <a:pt x="105" y="90"/>
                  </a:lnTo>
                  <a:close/>
                  <a:moveTo>
                    <a:pt x="80" y="88"/>
                  </a:moveTo>
                  <a:lnTo>
                    <a:pt x="80" y="88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close/>
                  <a:moveTo>
                    <a:pt x="22" y="77"/>
                  </a:moveTo>
                  <a:lnTo>
                    <a:pt x="22" y="79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4" y="83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18" y="83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79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2" y="77"/>
                  </a:lnTo>
                  <a:lnTo>
                    <a:pt x="22" y="77"/>
                  </a:lnTo>
                  <a:close/>
                  <a:moveTo>
                    <a:pt x="24" y="77"/>
                  </a:moveTo>
                  <a:lnTo>
                    <a:pt x="24" y="77"/>
                  </a:lnTo>
                  <a:lnTo>
                    <a:pt x="22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4" y="77"/>
                  </a:lnTo>
                  <a:lnTo>
                    <a:pt x="24" y="77"/>
                  </a:lnTo>
                  <a:close/>
                  <a:moveTo>
                    <a:pt x="29" y="74"/>
                  </a:moveTo>
                  <a:lnTo>
                    <a:pt x="26" y="74"/>
                  </a:lnTo>
                  <a:lnTo>
                    <a:pt x="26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close/>
                  <a:moveTo>
                    <a:pt x="128" y="74"/>
                  </a:move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9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1"/>
                  </a:lnTo>
                  <a:lnTo>
                    <a:pt x="130" y="83"/>
                  </a:lnTo>
                  <a:lnTo>
                    <a:pt x="130" y="83"/>
                  </a:lnTo>
                  <a:lnTo>
                    <a:pt x="130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6"/>
                  </a:lnTo>
                  <a:lnTo>
                    <a:pt x="128" y="86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8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3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5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81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8" y="79"/>
                  </a:lnTo>
                  <a:lnTo>
                    <a:pt x="125" y="79"/>
                  </a:lnTo>
                  <a:lnTo>
                    <a:pt x="128" y="79"/>
                  </a:lnTo>
                  <a:lnTo>
                    <a:pt x="125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lnTo>
                    <a:pt x="128" y="74"/>
                  </a:lnTo>
                  <a:close/>
                  <a:moveTo>
                    <a:pt x="119" y="74"/>
                  </a:move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7"/>
                  </a:lnTo>
                  <a:lnTo>
                    <a:pt x="119" y="77"/>
                  </a:lnTo>
                  <a:lnTo>
                    <a:pt x="119" y="77"/>
                  </a:lnTo>
                  <a:lnTo>
                    <a:pt x="119" y="74"/>
                  </a:lnTo>
                  <a:lnTo>
                    <a:pt x="119" y="77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9" y="74"/>
                  </a:lnTo>
                  <a:close/>
                  <a:moveTo>
                    <a:pt x="26" y="74"/>
                  </a:move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4"/>
                  </a:lnTo>
                  <a:close/>
                  <a:moveTo>
                    <a:pt x="24" y="72"/>
                  </a:moveTo>
                  <a:lnTo>
                    <a:pt x="24" y="72"/>
                  </a:lnTo>
                  <a:lnTo>
                    <a:pt x="24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6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close/>
                  <a:moveTo>
                    <a:pt x="24" y="72"/>
                  </a:move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4" y="68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close/>
                  <a:moveTo>
                    <a:pt x="98" y="68"/>
                  </a:move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5"/>
                  </a:lnTo>
                  <a:lnTo>
                    <a:pt x="96" y="65"/>
                  </a:lnTo>
                  <a:lnTo>
                    <a:pt x="96" y="65"/>
                  </a:lnTo>
                  <a:lnTo>
                    <a:pt x="96" y="65"/>
                  </a:lnTo>
                  <a:lnTo>
                    <a:pt x="96" y="65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98" y="65"/>
                  </a:lnTo>
                  <a:lnTo>
                    <a:pt x="98" y="68"/>
                  </a:lnTo>
                  <a:lnTo>
                    <a:pt x="98" y="68"/>
                  </a:lnTo>
                  <a:close/>
                  <a:moveTo>
                    <a:pt x="76" y="68"/>
                  </a:move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8" y="68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9" y="72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92" y="77"/>
                  </a:lnTo>
                  <a:lnTo>
                    <a:pt x="92" y="77"/>
                  </a:lnTo>
                  <a:lnTo>
                    <a:pt x="92" y="77"/>
                  </a:lnTo>
                  <a:lnTo>
                    <a:pt x="92" y="77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1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6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98" y="86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90"/>
                  </a:lnTo>
                  <a:lnTo>
                    <a:pt x="96" y="90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4" y="86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7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5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5" y="70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71" y="65"/>
                  </a:lnTo>
                  <a:lnTo>
                    <a:pt x="71" y="65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8"/>
                  </a:lnTo>
                  <a:close/>
                  <a:moveTo>
                    <a:pt x="78" y="61"/>
                  </a:moveTo>
                  <a:lnTo>
                    <a:pt x="78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6" y="61"/>
                  </a:lnTo>
                  <a:lnTo>
                    <a:pt x="78" y="61"/>
                  </a:lnTo>
                  <a:close/>
                  <a:moveTo>
                    <a:pt x="78" y="59"/>
                  </a:moveTo>
                  <a:lnTo>
                    <a:pt x="78" y="59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78" y="61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8" y="59"/>
                  </a:lnTo>
                  <a:close/>
                  <a:moveTo>
                    <a:pt x="85" y="61"/>
                  </a:moveTo>
                  <a:lnTo>
                    <a:pt x="85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61"/>
                  </a:lnTo>
                  <a:lnTo>
                    <a:pt x="85" y="61"/>
                  </a:lnTo>
                  <a:close/>
                  <a:moveTo>
                    <a:pt x="87" y="56"/>
                  </a:move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9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close/>
                  <a:moveTo>
                    <a:pt x="132" y="56"/>
                  </a:moveTo>
                  <a:lnTo>
                    <a:pt x="132" y="59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37" y="65"/>
                  </a:lnTo>
                  <a:lnTo>
                    <a:pt x="137" y="63"/>
                  </a:lnTo>
                  <a:lnTo>
                    <a:pt x="137" y="65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7" y="63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4" y="63"/>
                  </a:lnTo>
                  <a:lnTo>
                    <a:pt x="134" y="63"/>
                  </a:lnTo>
                  <a:lnTo>
                    <a:pt x="134" y="63"/>
                  </a:lnTo>
                  <a:lnTo>
                    <a:pt x="137" y="63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7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0" y="61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0" y="59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5" y="61"/>
                  </a:lnTo>
                  <a:lnTo>
                    <a:pt x="125" y="61"/>
                  </a:lnTo>
                  <a:lnTo>
                    <a:pt x="125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61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5" y="59"/>
                  </a:lnTo>
                  <a:lnTo>
                    <a:pt x="125" y="59"/>
                  </a:lnTo>
                  <a:lnTo>
                    <a:pt x="125" y="59"/>
                  </a:lnTo>
                  <a:lnTo>
                    <a:pt x="125" y="59"/>
                  </a:lnTo>
                  <a:lnTo>
                    <a:pt x="125" y="59"/>
                  </a:lnTo>
                  <a:lnTo>
                    <a:pt x="125" y="59"/>
                  </a:lnTo>
                  <a:lnTo>
                    <a:pt x="125" y="56"/>
                  </a:lnTo>
                  <a:lnTo>
                    <a:pt x="125" y="59"/>
                  </a:lnTo>
                  <a:lnTo>
                    <a:pt x="125" y="59"/>
                  </a:lnTo>
                  <a:lnTo>
                    <a:pt x="128" y="59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28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2" y="56"/>
                  </a:lnTo>
                  <a:close/>
                  <a:moveTo>
                    <a:pt x="105" y="54"/>
                  </a:moveTo>
                  <a:lnTo>
                    <a:pt x="105" y="54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4"/>
                  </a:lnTo>
                  <a:close/>
                  <a:moveTo>
                    <a:pt x="6" y="45"/>
                  </a:move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2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0" y="47"/>
                  </a:lnTo>
                  <a:lnTo>
                    <a:pt x="2" y="47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close/>
                  <a:moveTo>
                    <a:pt x="112" y="41"/>
                  </a:move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07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close/>
                  <a:moveTo>
                    <a:pt x="116" y="29"/>
                  </a:moveTo>
                  <a:lnTo>
                    <a:pt x="116" y="29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2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6" y="29"/>
                  </a:lnTo>
                  <a:lnTo>
                    <a:pt x="116" y="29"/>
                  </a:lnTo>
                  <a:close/>
                  <a:moveTo>
                    <a:pt x="98" y="27"/>
                  </a:move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8" y="27"/>
                  </a:lnTo>
                  <a:close/>
                  <a:moveTo>
                    <a:pt x="125" y="0"/>
                  </a:moveTo>
                  <a:lnTo>
                    <a:pt x="125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5"/>
                  </a:lnTo>
                  <a:lnTo>
                    <a:pt x="132" y="5"/>
                  </a:lnTo>
                  <a:lnTo>
                    <a:pt x="130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5" y="11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1" y="18"/>
                  </a:lnTo>
                  <a:lnTo>
                    <a:pt x="103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89" y="18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5" y="25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3" y="27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3" y="32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5" y="29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92" y="36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9" y="36"/>
                  </a:lnTo>
                  <a:lnTo>
                    <a:pt x="89" y="36"/>
                  </a:lnTo>
                  <a:lnTo>
                    <a:pt x="89" y="36"/>
                  </a:lnTo>
                  <a:lnTo>
                    <a:pt x="89" y="36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1" y="43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4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4" y="59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7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0" y="79"/>
                  </a:lnTo>
                  <a:lnTo>
                    <a:pt x="83" y="79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5" y="81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3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89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5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89" y="97"/>
                  </a:lnTo>
                  <a:lnTo>
                    <a:pt x="89" y="97"/>
                  </a:lnTo>
                  <a:lnTo>
                    <a:pt x="89" y="97"/>
                  </a:lnTo>
                  <a:lnTo>
                    <a:pt x="89" y="97"/>
                  </a:lnTo>
                  <a:lnTo>
                    <a:pt x="89" y="95"/>
                  </a:lnTo>
                  <a:lnTo>
                    <a:pt x="89" y="95"/>
                  </a:lnTo>
                  <a:lnTo>
                    <a:pt x="89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8" y="88"/>
                  </a:lnTo>
                  <a:lnTo>
                    <a:pt x="76" y="88"/>
                  </a:lnTo>
                  <a:lnTo>
                    <a:pt x="74" y="88"/>
                  </a:lnTo>
                  <a:lnTo>
                    <a:pt x="74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71" y="92"/>
                  </a:lnTo>
                  <a:lnTo>
                    <a:pt x="71" y="92"/>
                  </a:lnTo>
                  <a:lnTo>
                    <a:pt x="71" y="92"/>
                  </a:lnTo>
                  <a:lnTo>
                    <a:pt x="71" y="92"/>
                  </a:lnTo>
                  <a:lnTo>
                    <a:pt x="71" y="92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4" y="92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7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6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80" y="101"/>
                  </a:lnTo>
                  <a:lnTo>
                    <a:pt x="78" y="101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6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1" y="104"/>
                  </a:lnTo>
                  <a:lnTo>
                    <a:pt x="71" y="104"/>
                  </a:lnTo>
                  <a:lnTo>
                    <a:pt x="71" y="104"/>
                  </a:lnTo>
                  <a:lnTo>
                    <a:pt x="71" y="104"/>
                  </a:lnTo>
                  <a:lnTo>
                    <a:pt x="71" y="104"/>
                  </a:lnTo>
                  <a:lnTo>
                    <a:pt x="71" y="104"/>
                  </a:lnTo>
                  <a:lnTo>
                    <a:pt x="74" y="104"/>
                  </a:lnTo>
                  <a:lnTo>
                    <a:pt x="74" y="104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7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6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10"/>
                  </a:lnTo>
                  <a:lnTo>
                    <a:pt x="69" y="108"/>
                  </a:lnTo>
                  <a:lnTo>
                    <a:pt x="71" y="108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5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19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4" y="122"/>
                  </a:lnTo>
                  <a:lnTo>
                    <a:pt x="76" y="122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6" y="126"/>
                  </a:lnTo>
                  <a:lnTo>
                    <a:pt x="74" y="126"/>
                  </a:lnTo>
                  <a:lnTo>
                    <a:pt x="74" y="126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5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19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1" y="119"/>
                  </a:lnTo>
                  <a:lnTo>
                    <a:pt x="51" y="119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4" y="113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0"/>
                  </a:lnTo>
                  <a:lnTo>
                    <a:pt x="44" y="110"/>
                  </a:lnTo>
                  <a:lnTo>
                    <a:pt x="42" y="110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5" y="90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4" y="83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60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90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6"/>
                  </a:lnTo>
                  <a:lnTo>
                    <a:pt x="74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71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6" y="79"/>
                  </a:lnTo>
                  <a:lnTo>
                    <a:pt x="58" y="79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79"/>
                  </a:lnTo>
                  <a:lnTo>
                    <a:pt x="42" y="79"/>
                  </a:lnTo>
                  <a:lnTo>
                    <a:pt x="42" y="79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8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3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29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29" y="74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1" y="47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4" y="25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6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71" y="7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5" name="Freeform 592"/>
            <p:cNvSpPr>
              <a:spLocks/>
            </p:cNvSpPr>
            <p:nvPr/>
          </p:nvSpPr>
          <p:spPr bwMode="auto">
            <a:xfrm>
              <a:off x="5467067" y="252999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6" name="Freeform 593"/>
            <p:cNvSpPr>
              <a:spLocks/>
            </p:cNvSpPr>
            <p:nvPr/>
          </p:nvSpPr>
          <p:spPr bwMode="auto">
            <a:xfrm>
              <a:off x="5530581" y="3521153"/>
              <a:ext cx="155443" cy="255728"/>
            </a:xfrm>
            <a:custGeom>
              <a:avLst/>
              <a:gdLst>
                <a:gd name="T0" fmla="*/ 68 w 93"/>
                <a:gd name="T1" fmla="*/ 5 h 153"/>
                <a:gd name="T2" fmla="*/ 66 w 93"/>
                <a:gd name="T3" fmla="*/ 14 h 153"/>
                <a:gd name="T4" fmla="*/ 70 w 93"/>
                <a:gd name="T5" fmla="*/ 16 h 153"/>
                <a:gd name="T6" fmla="*/ 75 w 93"/>
                <a:gd name="T7" fmla="*/ 18 h 153"/>
                <a:gd name="T8" fmla="*/ 77 w 93"/>
                <a:gd name="T9" fmla="*/ 23 h 153"/>
                <a:gd name="T10" fmla="*/ 75 w 93"/>
                <a:gd name="T11" fmla="*/ 27 h 153"/>
                <a:gd name="T12" fmla="*/ 75 w 93"/>
                <a:gd name="T13" fmla="*/ 32 h 153"/>
                <a:gd name="T14" fmla="*/ 75 w 93"/>
                <a:gd name="T15" fmla="*/ 36 h 153"/>
                <a:gd name="T16" fmla="*/ 75 w 93"/>
                <a:gd name="T17" fmla="*/ 39 h 153"/>
                <a:gd name="T18" fmla="*/ 75 w 93"/>
                <a:gd name="T19" fmla="*/ 41 h 153"/>
                <a:gd name="T20" fmla="*/ 75 w 93"/>
                <a:gd name="T21" fmla="*/ 41 h 153"/>
                <a:gd name="T22" fmla="*/ 79 w 93"/>
                <a:gd name="T23" fmla="*/ 43 h 153"/>
                <a:gd name="T24" fmla="*/ 79 w 93"/>
                <a:gd name="T25" fmla="*/ 48 h 153"/>
                <a:gd name="T26" fmla="*/ 77 w 93"/>
                <a:gd name="T27" fmla="*/ 57 h 153"/>
                <a:gd name="T28" fmla="*/ 77 w 93"/>
                <a:gd name="T29" fmla="*/ 59 h 153"/>
                <a:gd name="T30" fmla="*/ 81 w 93"/>
                <a:gd name="T31" fmla="*/ 68 h 153"/>
                <a:gd name="T32" fmla="*/ 81 w 93"/>
                <a:gd name="T33" fmla="*/ 72 h 153"/>
                <a:gd name="T34" fmla="*/ 79 w 93"/>
                <a:gd name="T35" fmla="*/ 75 h 153"/>
                <a:gd name="T36" fmla="*/ 79 w 93"/>
                <a:gd name="T37" fmla="*/ 86 h 153"/>
                <a:gd name="T38" fmla="*/ 81 w 93"/>
                <a:gd name="T39" fmla="*/ 90 h 153"/>
                <a:gd name="T40" fmla="*/ 79 w 93"/>
                <a:gd name="T41" fmla="*/ 102 h 153"/>
                <a:gd name="T42" fmla="*/ 81 w 93"/>
                <a:gd name="T43" fmla="*/ 106 h 153"/>
                <a:gd name="T44" fmla="*/ 84 w 93"/>
                <a:gd name="T45" fmla="*/ 111 h 153"/>
                <a:gd name="T46" fmla="*/ 88 w 93"/>
                <a:gd name="T47" fmla="*/ 117 h 153"/>
                <a:gd name="T48" fmla="*/ 93 w 93"/>
                <a:gd name="T49" fmla="*/ 122 h 153"/>
                <a:gd name="T50" fmla="*/ 84 w 93"/>
                <a:gd name="T51" fmla="*/ 131 h 153"/>
                <a:gd name="T52" fmla="*/ 70 w 93"/>
                <a:gd name="T53" fmla="*/ 131 h 153"/>
                <a:gd name="T54" fmla="*/ 59 w 93"/>
                <a:gd name="T55" fmla="*/ 138 h 153"/>
                <a:gd name="T56" fmla="*/ 52 w 93"/>
                <a:gd name="T57" fmla="*/ 142 h 153"/>
                <a:gd name="T58" fmla="*/ 48 w 93"/>
                <a:gd name="T59" fmla="*/ 142 h 153"/>
                <a:gd name="T60" fmla="*/ 39 w 93"/>
                <a:gd name="T61" fmla="*/ 147 h 153"/>
                <a:gd name="T62" fmla="*/ 34 w 93"/>
                <a:gd name="T63" fmla="*/ 149 h 153"/>
                <a:gd name="T64" fmla="*/ 30 w 93"/>
                <a:gd name="T65" fmla="*/ 151 h 153"/>
                <a:gd name="T66" fmla="*/ 23 w 93"/>
                <a:gd name="T67" fmla="*/ 153 h 153"/>
                <a:gd name="T68" fmla="*/ 21 w 93"/>
                <a:gd name="T69" fmla="*/ 151 h 153"/>
                <a:gd name="T70" fmla="*/ 5 w 93"/>
                <a:gd name="T71" fmla="*/ 144 h 153"/>
                <a:gd name="T72" fmla="*/ 9 w 93"/>
                <a:gd name="T73" fmla="*/ 144 h 153"/>
                <a:gd name="T74" fmla="*/ 9 w 93"/>
                <a:gd name="T75" fmla="*/ 140 h 153"/>
                <a:gd name="T76" fmla="*/ 7 w 93"/>
                <a:gd name="T77" fmla="*/ 133 h 153"/>
                <a:gd name="T78" fmla="*/ 0 w 93"/>
                <a:gd name="T79" fmla="*/ 117 h 153"/>
                <a:gd name="T80" fmla="*/ 3 w 93"/>
                <a:gd name="T81" fmla="*/ 99 h 153"/>
                <a:gd name="T82" fmla="*/ 7 w 93"/>
                <a:gd name="T83" fmla="*/ 86 h 153"/>
                <a:gd name="T84" fmla="*/ 9 w 93"/>
                <a:gd name="T85" fmla="*/ 77 h 153"/>
                <a:gd name="T86" fmla="*/ 14 w 93"/>
                <a:gd name="T87" fmla="*/ 75 h 153"/>
                <a:gd name="T88" fmla="*/ 14 w 93"/>
                <a:gd name="T89" fmla="*/ 57 h 153"/>
                <a:gd name="T90" fmla="*/ 12 w 93"/>
                <a:gd name="T91" fmla="*/ 52 h 153"/>
                <a:gd name="T92" fmla="*/ 9 w 93"/>
                <a:gd name="T93" fmla="*/ 50 h 153"/>
                <a:gd name="T94" fmla="*/ 12 w 93"/>
                <a:gd name="T95" fmla="*/ 45 h 153"/>
                <a:gd name="T96" fmla="*/ 9 w 93"/>
                <a:gd name="T97" fmla="*/ 39 h 153"/>
                <a:gd name="T98" fmla="*/ 9 w 93"/>
                <a:gd name="T99" fmla="*/ 34 h 153"/>
                <a:gd name="T100" fmla="*/ 9 w 93"/>
                <a:gd name="T101" fmla="*/ 25 h 153"/>
                <a:gd name="T102" fmla="*/ 9 w 93"/>
                <a:gd name="T103" fmla="*/ 23 h 153"/>
                <a:gd name="T104" fmla="*/ 9 w 93"/>
                <a:gd name="T105" fmla="*/ 18 h 153"/>
                <a:gd name="T106" fmla="*/ 7 w 93"/>
                <a:gd name="T107" fmla="*/ 16 h 153"/>
                <a:gd name="T108" fmla="*/ 7 w 93"/>
                <a:gd name="T109" fmla="*/ 12 h 153"/>
                <a:gd name="T110" fmla="*/ 9 w 93"/>
                <a:gd name="T111" fmla="*/ 7 h 153"/>
                <a:gd name="T112" fmla="*/ 34 w 93"/>
                <a:gd name="T113" fmla="*/ 5 h 153"/>
                <a:gd name="T114" fmla="*/ 50 w 93"/>
                <a:gd name="T115" fmla="*/ 5 h 153"/>
                <a:gd name="T116" fmla="*/ 54 w 93"/>
                <a:gd name="T117" fmla="*/ 5 h 153"/>
                <a:gd name="T118" fmla="*/ 57 w 93"/>
                <a:gd name="T119" fmla="*/ 5 h 153"/>
                <a:gd name="T120" fmla="*/ 59 w 93"/>
                <a:gd name="T121" fmla="*/ 3 h 153"/>
                <a:gd name="T122" fmla="*/ 66 w 93"/>
                <a:gd name="T123" fmla="*/ 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" h="153">
                  <a:moveTo>
                    <a:pt x="66" y="3"/>
                  </a:moveTo>
                  <a:lnTo>
                    <a:pt x="66" y="3"/>
                  </a:lnTo>
                  <a:lnTo>
                    <a:pt x="66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7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7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52"/>
                  </a:lnTo>
                  <a:lnTo>
                    <a:pt x="77" y="52"/>
                  </a:lnTo>
                  <a:lnTo>
                    <a:pt x="77" y="52"/>
                  </a:lnTo>
                  <a:lnTo>
                    <a:pt x="77" y="52"/>
                  </a:lnTo>
                  <a:lnTo>
                    <a:pt x="77" y="52"/>
                  </a:lnTo>
                  <a:lnTo>
                    <a:pt x="79" y="54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7" y="59"/>
                  </a:lnTo>
                  <a:lnTo>
                    <a:pt x="75" y="59"/>
                  </a:lnTo>
                  <a:lnTo>
                    <a:pt x="77" y="59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9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4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3"/>
                  </a:lnTo>
                  <a:lnTo>
                    <a:pt x="81" y="93"/>
                  </a:lnTo>
                  <a:lnTo>
                    <a:pt x="81" y="95"/>
                  </a:lnTo>
                  <a:lnTo>
                    <a:pt x="81" y="95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79" y="99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1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3"/>
                  </a:lnTo>
                  <a:lnTo>
                    <a:pt x="84" y="113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6" y="115"/>
                  </a:lnTo>
                  <a:lnTo>
                    <a:pt x="86" y="115"/>
                  </a:lnTo>
                  <a:lnTo>
                    <a:pt x="86" y="115"/>
                  </a:lnTo>
                  <a:lnTo>
                    <a:pt x="86" y="115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88" y="117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0" y="120"/>
                  </a:lnTo>
                  <a:lnTo>
                    <a:pt x="93" y="120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3" y="122"/>
                  </a:lnTo>
                  <a:lnTo>
                    <a:pt x="90" y="122"/>
                  </a:lnTo>
                  <a:lnTo>
                    <a:pt x="90" y="124"/>
                  </a:lnTo>
                  <a:lnTo>
                    <a:pt x="90" y="124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6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4" y="131"/>
                  </a:lnTo>
                  <a:lnTo>
                    <a:pt x="75" y="129"/>
                  </a:lnTo>
                  <a:lnTo>
                    <a:pt x="75" y="129"/>
                  </a:lnTo>
                  <a:lnTo>
                    <a:pt x="75" y="129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2" y="131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1" y="135"/>
                  </a:lnTo>
                  <a:lnTo>
                    <a:pt x="61" y="135"/>
                  </a:lnTo>
                  <a:lnTo>
                    <a:pt x="61" y="135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59" y="138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2" y="140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50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41" y="147"/>
                  </a:lnTo>
                  <a:lnTo>
                    <a:pt x="39" y="147"/>
                  </a:lnTo>
                  <a:lnTo>
                    <a:pt x="39" y="147"/>
                  </a:lnTo>
                  <a:lnTo>
                    <a:pt x="39" y="147"/>
                  </a:lnTo>
                  <a:lnTo>
                    <a:pt x="39" y="147"/>
                  </a:lnTo>
                  <a:lnTo>
                    <a:pt x="39" y="147"/>
                  </a:lnTo>
                  <a:lnTo>
                    <a:pt x="39" y="147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4" y="149"/>
                  </a:lnTo>
                  <a:lnTo>
                    <a:pt x="32" y="149"/>
                  </a:lnTo>
                  <a:lnTo>
                    <a:pt x="32" y="149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2" y="151"/>
                  </a:lnTo>
                  <a:lnTo>
                    <a:pt x="30" y="151"/>
                  </a:lnTo>
                  <a:lnTo>
                    <a:pt x="27" y="151"/>
                  </a:lnTo>
                  <a:lnTo>
                    <a:pt x="27" y="153"/>
                  </a:lnTo>
                  <a:lnTo>
                    <a:pt x="27" y="153"/>
                  </a:lnTo>
                  <a:lnTo>
                    <a:pt x="27" y="153"/>
                  </a:lnTo>
                  <a:lnTo>
                    <a:pt x="27" y="153"/>
                  </a:lnTo>
                  <a:lnTo>
                    <a:pt x="25" y="153"/>
                  </a:lnTo>
                  <a:lnTo>
                    <a:pt x="25" y="153"/>
                  </a:lnTo>
                  <a:lnTo>
                    <a:pt x="25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18" y="149"/>
                  </a:lnTo>
                  <a:lnTo>
                    <a:pt x="14" y="149"/>
                  </a:lnTo>
                  <a:lnTo>
                    <a:pt x="12" y="147"/>
                  </a:lnTo>
                  <a:lnTo>
                    <a:pt x="9" y="147"/>
                  </a:lnTo>
                  <a:lnTo>
                    <a:pt x="5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7" y="147"/>
                  </a:lnTo>
                  <a:lnTo>
                    <a:pt x="7" y="147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9" y="135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6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7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4" y="59"/>
                  </a:lnTo>
                  <a:lnTo>
                    <a:pt x="14" y="57"/>
                  </a:lnTo>
                  <a:lnTo>
                    <a:pt x="14" y="59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6"/>
                  </a:lnTo>
                  <a:lnTo>
                    <a:pt x="12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23" y="5"/>
                  </a:lnTo>
                  <a:lnTo>
                    <a:pt x="27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3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7" name="Freeform 594"/>
            <p:cNvSpPr>
              <a:spLocks noEditPoints="1"/>
            </p:cNvSpPr>
            <p:nvPr/>
          </p:nvSpPr>
          <p:spPr bwMode="auto">
            <a:xfrm>
              <a:off x="5819737" y="1792899"/>
              <a:ext cx="279129" cy="297514"/>
            </a:xfrm>
            <a:custGeom>
              <a:avLst/>
              <a:gdLst>
                <a:gd name="T0" fmla="*/ 25 w 167"/>
                <a:gd name="T1" fmla="*/ 29 h 178"/>
                <a:gd name="T2" fmla="*/ 142 w 167"/>
                <a:gd name="T3" fmla="*/ 23 h 178"/>
                <a:gd name="T4" fmla="*/ 142 w 167"/>
                <a:gd name="T5" fmla="*/ 23 h 178"/>
                <a:gd name="T6" fmla="*/ 50 w 167"/>
                <a:gd name="T7" fmla="*/ 11 h 178"/>
                <a:gd name="T8" fmla="*/ 45 w 167"/>
                <a:gd name="T9" fmla="*/ 11 h 178"/>
                <a:gd name="T10" fmla="*/ 137 w 167"/>
                <a:gd name="T11" fmla="*/ 18 h 178"/>
                <a:gd name="T12" fmla="*/ 131 w 167"/>
                <a:gd name="T13" fmla="*/ 18 h 178"/>
                <a:gd name="T14" fmla="*/ 126 w 167"/>
                <a:gd name="T15" fmla="*/ 14 h 178"/>
                <a:gd name="T16" fmla="*/ 131 w 167"/>
                <a:gd name="T17" fmla="*/ 11 h 178"/>
                <a:gd name="T18" fmla="*/ 131 w 167"/>
                <a:gd name="T19" fmla="*/ 11 h 178"/>
                <a:gd name="T20" fmla="*/ 41 w 167"/>
                <a:gd name="T21" fmla="*/ 9 h 178"/>
                <a:gd name="T22" fmla="*/ 63 w 167"/>
                <a:gd name="T23" fmla="*/ 5 h 178"/>
                <a:gd name="T24" fmla="*/ 70 w 167"/>
                <a:gd name="T25" fmla="*/ 11 h 178"/>
                <a:gd name="T26" fmla="*/ 86 w 167"/>
                <a:gd name="T27" fmla="*/ 16 h 178"/>
                <a:gd name="T28" fmla="*/ 88 w 167"/>
                <a:gd name="T29" fmla="*/ 25 h 178"/>
                <a:gd name="T30" fmla="*/ 99 w 167"/>
                <a:gd name="T31" fmla="*/ 23 h 178"/>
                <a:gd name="T32" fmla="*/ 115 w 167"/>
                <a:gd name="T33" fmla="*/ 14 h 178"/>
                <a:gd name="T34" fmla="*/ 115 w 167"/>
                <a:gd name="T35" fmla="*/ 16 h 178"/>
                <a:gd name="T36" fmla="*/ 120 w 167"/>
                <a:gd name="T37" fmla="*/ 14 h 178"/>
                <a:gd name="T38" fmla="*/ 126 w 167"/>
                <a:gd name="T39" fmla="*/ 18 h 178"/>
                <a:gd name="T40" fmla="*/ 137 w 167"/>
                <a:gd name="T41" fmla="*/ 20 h 178"/>
                <a:gd name="T42" fmla="*/ 144 w 167"/>
                <a:gd name="T43" fmla="*/ 29 h 178"/>
                <a:gd name="T44" fmla="*/ 151 w 167"/>
                <a:gd name="T45" fmla="*/ 45 h 178"/>
                <a:gd name="T46" fmla="*/ 160 w 167"/>
                <a:gd name="T47" fmla="*/ 65 h 178"/>
                <a:gd name="T48" fmla="*/ 164 w 167"/>
                <a:gd name="T49" fmla="*/ 81 h 178"/>
                <a:gd name="T50" fmla="*/ 160 w 167"/>
                <a:gd name="T51" fmla="*/ 92 h 178"/>
                <a:gd name="T52" fmla="*/ 149 w 167"/>
                <a:gd name="T53" fmla="*/ 97 h 178"/>
                <a:gd name="T54" fmla="*/ 135 w 167"/>
                <a:gd name="T55" fmla="*/ 101 h 178"/>
                <a:gd name="T56" fmla="*/ 122 w 167"/>
                <a:gd name="T57" fmla="*/ 108 h 178"/>
                <a:gd name="T58" fmla="*/ 115 w 167"/>
                <a:gd name="T59" fmla="*/ 108 h 178"/>
                <a:gd name="T60" fmla="*/ 122 w 167"/>
                <a:gd name="T61" fmla="*/ 122 h 178"/>
                <a:gd name="T62" fmla="*/ 133 w 167"/>
                <a:gd name="T63" fmla="*/ 131 h 178"/>
                <a:gd name="T64" fmla="*/ 149 w 167"/>
                <a:gd name="T65" fmla="*/ 146 h 178"/>
                <a:gd name="T66" fmla="*/ 135 w 167"/>
                <a:gd name="T67" fmla="*/ 155 h 178"/>
                <a:gd name="T68" fmla="*/ 135 w 167"/>
                <a:gd name="T69" fmla="*/ 169 h 178"/>
                <a:gd name="T70" fmla="*/ 131 w 167"/>
                <a:gd name="T71" fmla="*/ 169 h 178"/>
                <a:gd name="T72" fmla="*/ 115 w 167"/>
                <a:gd name="T73" fmla="*/ 171 h 178"/>
                <a:gd name="T74" fmla="*/ 97 w 167"/>
                <a:gd name="T75" fmla="*/ 173 h 178"/>
                <a:gd name="T76" fmla="*/ 88 w 167"/>
                <a:gd name="T77" fmla="*/ 176 h 178"/>
                <a:gd name="T78" fmla="*/ 79 w 167"/>
                <a:gd name="T79" fmla="*/ 173 h 178"/>
                <a:gd name="T80" fmla="*/ 57 w 167"/>
                <a:gd name="T81" fmla="*/ 169 h 178"/>
                <a:gd name="T82" fmla="*/ 52 w 167"/>
                <a:gd name="T83" fmla="*/ 169 h 178"/>
                <a:gd name="T84" fmla="*/ 45 w 167"/>
                <a:gd name="T85" fmla="*/ 171 h 178"/>
                <a:gd name="T86" fmla="*/ 34 w 167"/>
                <a:gd name="T87" fmla="*/ 164 h 178"/>
                <a:gd name="T88" fmla="*/ 39 w 167"/>
                <a:gd name="T89" fmla="*/ 149 h 178"/>
                <a:gd name="T90" fmla="*/ 34 w 167"/>
                <a:gd name="T91" fmla="*/ 137 h 178"/>
                <a:gd name="T92" fmla="*/ 21 w 167"/>
                <a:gd name="T93" fmla="*/ 133 h 178"/>
                <a:gd name="T94" fmla="*/ 12 w 167"/>
                <a:gd name="T95" fmla="*/ 128 h 178"/>
                <a:gd name="T96" fmla="*/ 9 w 167"/>
                <a:gd name="T97" fmla="*/ 119 h 178"/>
                <a:gd name="T98" fmla="*/ 9 w 167"/>
                <a:gd name="T99" fmla="*/ 108 h 178"/>
                <a:gd name="T100" fmla="*/ 7 w 167"/>
                <a:gd name="T101" fmla="*/ 101 h 178"/>
                <a:gd name="T102" fmla="*/ 3 w 167"/>
                <a:gd name="T103" fmla="*/ 92 h 178"/>
                <a:gd name="T104" fmla="*/ 7 w 167"/>
                <a:gd name="T105" fmla="*/ 81 h 178"/>
                <a:gd name="T106" fmla="*/ 9 w 167"/>
                <a:gd name="T107" fmla="*/ 72 h 178"/>
                <a:gd name="T108" fmla="*/ 21 w 167"/>
                <a:gd name="T109" fmla="*/ 61 h 178"/>
                <a:gd name="T110" fmla="*/ 23 w 167"/>
                <a:gd name="T111" fmla="*/ 43 h 178"/>
                <a:gd name="T112" fmla="*/ 27 w 167"/>
                <a:gd name="T113" fmla="*/ 32 h 178"/>
                <a:gd name="T114" fmla="*/ 41 w 167"/>
                <a:gd name="T115" fmla="*/ 34 h 178"/>
                <a:gd name="T116" fmla="*/ 50 w 167"/>
                <a:gd name="T117" fmla="*/ 27 h 178"/>
                <a:gd name="T118" fmla="*/ 59 w 167"/>
                <a:gd name="T119" fmla="*/ 27 h 178"/>
                <a:gd name="T120" fmla="*/ 52 w 167"/>
                <a:gd name="T121" fmla="*/ 16 h 178"/>
                <a:gd name="T122" fmla="*/ 50 w 167"/>
                <a:gd name="T123" fmla="*/ 9 h 178"/>
                <a:gd name="T124" fmla="*/ 41 w 167"/>
                <a:gd name="T125" fmla="*/ 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" h="178">
                  <a:moveTo>
                    <a:pt x="14" y="34"/>
                  </a:move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close/>
                  <a:moveTo>
                    <a:pt x="21" y="32"/>
                  </a:moveTo>
                  <a:lnTo>
                    <a:pt x="16" y="32"/>
                  </a:lnTo>
                  <a:lnTo>
                    <a:pt x="18" y="32"/>
                  </a:lnTo>
                  <a:lnTo>
                    <a:pt x="21" y="32"/>
                  </a:lnTo>
                  <a:lnTo>
                    <a:pt x="21" y="32"/>
                  </a:lnTo>
                  <a:close/>
                  <a:moveTo>
                    <a:pt x="25" y="29"/>
                  </a:move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3" y="32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30" y="29"/>
                  </a:move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close/>
                  <a:moveTo>
                    <a:pt x="34" y="29"/>
                  </a:move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close/>
                  <a:moveTo>
                    <a:pt x="36" y="29"/>
                  </a:move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6" y="29"/>
                  </a:lnTo>
                  <a:close/>
                  <a:moveTo>
                    <a:pt x="142" y="23"/>
                  </a:moveTo>
                  <a:lnTo>
                    <a:pt x="142" y="23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6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7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2" y="23"/>
                  </a:lnTo>
                  <a:lnTo>
                    <a:pt x="142" y="23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close/>
                  <a:moveTo>
                    <a:pt x="93" y="14"/>
                  </a:moveTo>
                  <a:lnTo>
                    <a:pt x="95" y="14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3" y="14"/>
                  </a:lnTo>
                  <a:lnTo>
                    <a:pt x="93" y="14"/>
                  </a:lnTo>
                  <a:close/>
                  <a:moveTo>
                    <a:pt x="48" y="11"/>
                  </a:moveTo>
                  <a:lnTo>
                    <a:pt x="48" y="14"/>
                  </a:lnTo>
                  <a:lnTo>
                    <a:pt x="48" y="14"/>
                  </a:lnTo>
                  <a:lnTo>
                    <a:pt x="48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close/>
                  <a:moveTo>
                    <a:pt x="126" y="11"/>
                  </a:move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close/>
                  <a:moveTo>
                    <a:pt x="131" y="9"/>
                  </a:move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1" y="16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4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close/>
                  <a:moveTo>
                    <a:pt x="43" y="7"/>
                  </a:move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3" y="7"/>
                  </a:lnTo>
                  <a:close/>
                  <a:moveTo>
                    <a:pt x="45" y="9"/>
                  </a:move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9"/>
                  </a:lnTo>
                  <a:close/>
                  <a:moveTo>
                    <a:pt x="52" y="2"/>
                  </a:moveTo>
                  <a:lnTo>
                    <a:pt x="52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1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3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11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4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29" y="18"/>
                  </a:lnTo>
                  <a:lnTo>
                    <a:pt x="131" y="18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1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5" y="20"/>
                  </a:lnTo>
                  <a:lnTo>
                    <a:pt x="135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40" y="20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40" y="23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49" y="36"/>
                  </a:lnTo>
                  <a:lnTo>
                    <a:pt x="149" y="36"/>
                  </a:lnTo>
                  <a:lnTo>
                    <a:pt x="151" y="36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51" y="45"/>
                  </a:lnTo>
                  <a:lnTo>
                    <a:pt x="149" y="47"/>
                  </a:lnTo>
                  <a:lnTo>
                    <a:pt x="149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6" y="50"/>
                  </a:lnTo>
                  <a:lnTo>
                    <a:pt x="146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2"/>
                  </a:lnTo>
                  <a:lnTo>
                    <a:pt x="151" y="52"/>
                  </a:lnTo>
                  <a:lnTo>
                    <a:pt x="151" y="52"/>
                  </a:lnTo>
                  <a:lnTo>
                    <a:pt x="153" y="52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5" y="54"/>
                  </a:lnTo>
                  <a:lnTo>
                    <a:pt x="155" y="56"/>
                  </a:lnTo>
                  <a:lnTo>
                    <a:pt x="158" y="56"/>
                  </a:lnTo>
                  <a:lnTo>
                    <a:pt x="158" y="56"/>
                  </a:lnTo>
                  <a:lnTo>
                    <a:pt x="155" y="56"/>
                  </a:lnTo>
                  <a:lnTo>
                    <a:pt x="158" y="59"/>
                  </a:lnTo>
                  <a:lnTo>
                    <a:pt x="158" y="59"/>
                  </a:lnTo>
                  <a:lnTo>
                    <a:pt x="158" y="59"/>
                  </a:lnTo>
                  <a:lnTo>
                    <a:pt x="155" y="59"/>
                  </a:lnTo>
                  <a:lnTo>
                    <a:pt x="155" y="59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8" y="63"/>
                  </a:lnTo>
                  <a:lnTo>
                    <a:pt x="155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60" y="63"/>
                  </a:lnTo>
                  <a:lnTo>
                    <a:pt x="160" y="65"/>
                  </a:lnTo>
                  <a:lnTo>
                    <a:pt x="158" y="65"/>
                  </a:lnTo>
                  <a:lnTo>
                    <a:pt x="158" y="65"/>
                  </a:lnTo>
                  <a:lnTo>
                    <a:pt x="160" y="65"/>
                  </a:lnTo>
                  <a:lnTo>
                    <a:pt x="160" y="65"/>
                  </a:lnTo>
                  <a:lnTo>
                    <a:pt x="158" y="65"/>
                  </a:lnTo>
                  <a:lnTo>
                    <a:pt x="158" y="65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0" y="72"/>
                  </a:lnTo>
                  <a:lnTo>
                    <a:pt x="160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2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58" y="74"/>
                  </a:lnTo>
                  <a:lnTo>
                    <a:pt x="160" y="77"/>
                  </a:lnTo>
                  <a:lnTo>
                    <a:pt x="160" y="77"/>
                  </a:lnTo>
                  <a:lnTo>
                    <a:pt x="160" y="77"/>
                  </a:lnTo>
                  <a:lnTo>
                    <a:pt x="160" y="77"/>
                  </a:lnTo>
                  <a:lnTo>
                    <a:pt x="160" y="77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3"/>
                  </a:lnTo>
                  <a:lnTo>
                    <a:pt x="164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7" y="88"/>
                  </a:lnTo>
                  <a:lnTo>
                    <a:pt x="167" y="88"/>
                  </a:lnTo>
                  <a:lnTo>
                    <a:pt x="167" y="88"/>
                  </a:lnTo>
                  <a:lnTo>
                    <a:pt x="167" y="88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7" y="90"/>
                  </a:lnTo>
                  <a:lnTo>
                    <a:pt x="164" y="92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4" y="95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2" y="97"/>
                  </a:lnTo>
                  <a:lnTo>
                    <a:pt x="160" y="97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60" y="95"/>
                  </a:lnTo>
                  <a:lnTo>
                    <a:pt x="158" y="95"/>
                  </a:lnTo>
                  <a:lnTo>
                    <a:pt x="158" y="95"/>
                  </a:lnTo>
                  <a:lnTo>
                    <a:pt x="160" y="92"/>
                  </a:lnTo>
                  <a:lnTo>
                    <a:pt x="160" y="92"/>
                  </a:lnTo>
                  <a:lnTo>
                    <a:pt x="160" y="92"/>
                  </a:lnTo>
                  <a:lnTo>
                    <a:pt x="160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0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5" y="92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3" y="92"/>
                  </a:lnTo>
                  <a:lnTo>
                    <a:pt x="155" y="92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5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53" y="95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7"/>
                  </a:lnTo>
                  <a:lnTo>
                    <a:pt x="146" y="99"/>
                  </a:lnTo>
                  <a:lnTo>
                    <a:pt x="146" y="99"/>
                  </a:lnTo>
                  <a:lnTo>
                    <a:pt x="146" y="99"/>
                  </a:lnTo>
                  <a:lnTo>
                    <a:pt x="146" y="99"/>
                  </a:lnTo>
                  <a:lnTo>
                    <a:pt x="146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4" y="99"/>
                  </a:lnTo>
                  <a:lnTo>
                    <a:pt x="142" y="99"/>
                  </a:lnTo>
                  <a:lnTo>
                    <a:pt x="142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99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7" y="101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3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4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6"/>
                  </a:lnTo>
                  <a:lnTo>
                    <a:pt x="129" y="106"/>
                  </a:lnTo>
                  <a:lnTo>
                    <a:pt x="129" y="106"/>
                  </a:lnTo>
                  <a:lnTo>
                    <a:pt x="129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08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20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10"/>
                  </a:lnTo>
                  <a:lnTo>
                    <a:pt x="115" y="110"/>
                  </a:lnTo>
                  <a:lnTo>
                    <a:pt x="115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7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5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7"/>
                  </a:lnTo>
                  <a:lnTo>
                    <a:pt x="124" y="119"/>
                  </a:lnTo>
                  <a:lnTo>
                    <a:pt x="124" y="119"/>
                  </a:lnTo>
                  <a:lnTo>
                    <a:pt x="122" y="119"/>
                  </a:lnTo>
                  <a:lnTo>
                    <a:pt x="122" y="119"/>
                  </a:lnTo>
                  <a:lnTo>
                    <a:pt x="122" y="119"/>
                  </a:lnTo>
                  <a:lnTo>
                    <a:pt x="122" y="119"/>
                  </a:lnTo>
                  <a:lnTo>
                    <a:pt x="122" y="119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2" y="122"/>
                  </a:lnTo>
                  <a:lnTo>
                    <a:pt x="124" y="122"/>
                  </a:lnTo>
                  <a:lnTo>
                    <a:pt x="124" y="122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6"/>
                  </a:lnTo>
                  <a:lnTo>
                    <a:pt x="124" y="126"/>
                  </a:lnTo>
                  <a:lnTo>
                    <a:pt x="124" y="126"/>
                  </a:lnTo>
                  <a:lnTo>
                    <a:pt x="124" y="126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6" y="128"/>
                  </a:lnTo>
                  <a:lnTo>
                    <a:pt x="129" y="128"/>
                  </a:lnTo>
                  <a:lnTo>
                    <a:pt x="129" y="128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29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1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1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3" y="133"/>
                  </a:lnTo>
                  <a:lnTo>
                    <a:pt x="135" y="133"/>
                  </a:lnTo>
                  <a:lnTo>
                    <a:pt x="135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37" y="135"/>
                  </a:lnTo>
                  <a:lnTo>
                    <a:pt x="140" y="135"/>
                  </a:lnTo>
                  <a:lnTo>
                    <a:pt x="140" y="135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0" y="137"/>
                  </a:lnTo>
                  <a:lnTo>
                    <a:pt x="142" y="140"/>
                  </a:lnTo>
                  <a:lnTo>
                    <a:pt x="142" y="140"/>
                  </a:lnTo>
                  <a:lnTo>
                    <a:pt x="142" y="140"/>
                  </a:lnTo>
                  <a:lnTo>
                    <a:pt x="142" y="140"/>
                  </a:lnTo>
                  <a:lnTo>
                    <a:pt x="142" y="140"/>
                  </a:lnTo>
                  <a:lnTo>
                    <a:pt x="142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6" y="142"/>
                  </a:lnTo>
                  <a:lnTo>
                    <a:pt x="149" y="142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9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6" y="149"/>
                  </a:lnTo>
                  <a:lnTo>
                    <a:pt x="144" y="149"/>
                  </a:lnTo>
                  <a:lnTo>
                    <a:pt x="144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0" y="153"/>
                  </a:lnTo>
                  <a:lnTo>
                    <a:pt x="140" y="155"/>
                  </a:lnTo>
                  <a:lnTo>
                    <a:pt x="137" y="155"/>
                  </a:lnTo>
                  <a:lnTo>
                    <a:pt x="135" y="155"/>
                  </a:lnTo>
                  <a:lnTo>
                    <a:pt x="135" y="155"/>
                  </a:lnTo>
                  <a:lnTo>
                    <a:pt x="135" y="155"/>
                  </a:lnTo>
                  <a:lnTo>
                    <a:pt x="133" y="155"/>
                  </a:lnTo>
                  <a:lnTo>
                    <a:pt x="133" y="155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60"/>
                  </a:lnTo>
                  <a:lnTo>
                    <a:pt x="131" y="160"/>
                  </a:lnTo>
                  <a:lnTo>
                    <a:pt x="131" y="160"/>
                  </a:lnTo>
                  <a:lnTo>
                    <a:pt x="131" y="160"/>
                  </a:lnTo>
                  <a:lnTo>
                    <a:pt x="131" y="160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3" y="162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4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35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5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3" y="173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1" y="171"/>
                  </a:lnTo>
                  <a:lnTo>
                    <a:pt x="133" y="171"/>
                  </a:lnTo>
                  <a:lnTo>
                    <a:pt x="133" y="171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29" y="169"/>
                  </a:lnTo>
                  <a:lnTo>
                    <a:pt x="129" y="169"/>
                  </a:lnTo>
                  <a:lnTo>
                    <a:pt x="129" y="169"/>
                  </a:lnTo>
                  <a:lnTo>
                    <a:pt x="129" y="169"/>
                  </a:lnTo>
                  <a:lnTo>
                    <a:pt x="126" y="169"/>
                  </a:lnTo>
                  <a:lnTo>
                    <a:pt x="126" y="171"/>
                  </a:lnTo>
                  <a:lnTo>
                    <a:pt x="126" y="171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6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4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0" y="171"/>
                  </a:lnTo>
                  <a:lnTo>
                    <a:pt x="120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5" y="171"/>
                  </a:lnTo>
                  <a:lnTo>
                    <a:pt x="113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1"/>
                  </a:lnTo>
                  <a:lnTo>
                    <a:pt x="111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6" y="173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102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7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3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3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76"/>
                  </a:lnTo>
                  <a:lnTo>
                    <a:pt x="88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4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1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7" y="171"/>
                  </a:lnTo>
                  <a:lnTo>
                    <a:pt x="75" y="171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3"/>
                  </a:lnTo>
                  <a:lnTo>
                    <a:pt x="72" y="173"/>
                  </a:lnTo>
                  <a:lnTo>
                    <a:pt x="72" y="173"/>
                  </a:lnTo>
                  <a:lnTo>
                    <a:pt x="68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3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61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9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9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7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2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69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4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71"/>
                  </a:lnTo>
                  <a:lnTo>
                    <a:pt x="50" y="171"/>
                  </a:lnTo>
                  <a:lnTo>
                    <a:pt x="50" y="171"/>
                  </a:lnTo>
                  <a:lnTo>
                    <a:pt x="50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8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3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4" y="171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7"/>
                  </a:lnTo>
                  <a:lnTo>
                    <a:pt x="34" y="167"/>
                  </a:lnTo>
                  <a:lnTo>
                    <a:pt x="34" y="167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4"/>
                  </a:lnTo>
                  <a:lnTo>
                    <a:pt x="34" y="162"/>
                  </a:lnTo>
                  <a:lnTo>
                    <a:pt x="34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60"/>
                  </a:lnTo>
                  <a:lnTo>
                    <a:pt x="34" y="158"/>
                  </a:lnTo>
                  <a:lnTo>
                    <a:pt x="34" y="158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9" y="153"/>
                  </a:lnTo>
                  <a:lnTo>
                    <a:pt x="39" y="153"/>
                  </a:lnTo>
                  <a:lnTo>
                    <a:pt x="39" y="153"/>
                  </a:lnTo>
                  <a:lnTo>
                    <a:pt x="39" y="153"/>
                  </a:lnTo>
                  <a:lnTo>
                    <a:pt x="39" y="153"/>
                  </a:lnTo>
                  <a:lnTo>
                    <a:pt x="39" y="153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49"/>
                  </a:lnTo>
                  <a:lnTo>
                    <a:pt x="39" y="149"/>
                  </a:lnTo>
                  <a:lnTo>
                    <a:pt x="39" y="149"/>
                  </a:lnTo>
                  <a:lnTo>
                    <a:pt x="39" y="149"/>
                  </a:lnTo>
                  <a:lnTo>
                    <a:pt x="39" y="149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39" y="146"/>
                  </a:lnTo>
                  <a:lnTo>
                    <a:pt x="41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5" y="140"/>
                  </a:lnTo>
                  <a:lnTo>
                    <a:pt x="43" y="140"/>
                  </a:lnTo>
                  <a:lnTo>
                    <a:pt x="41" y="137"/>
                  </a:lnTo>
                  <a:lnTo>
                    <a:pt x="41" y="137"/>
                  </a:lnTo>
                  <a:lnTo>
                    <a:pt x="39" y="137"/>
                  </a:lnTo>
                  <a:lnTo>
                    <a:pt x="39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30" y="135"/>
                  </a:lnTo>
                  <a:lnTo>
                    <a:pt x="27" y="135"/>
                  </a:lnTo>
                  <a:lnTo>
                    <a:pt x="27" y="135"/>
                  </a:lnTo>
                  <a:lnTo>
                    <a:pt x="27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5"/>
                  </a:lnTo>
                  <a:lnTo>
                    <a:pt x="21" y="135"/>
                  </a:lnTo>
                  <a:lnTo>
                    <a:pt x="21" y="135"/>
                  </a:lnTo>
                  <a:lnTo>
                    <a:pt x="21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4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5" y="97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3" y="90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7" y="88"/>
                  </a:lnTo>
                  <a:lnTo>
                    <a:pt x="5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6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41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30" y="32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8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1" y="29"/>
                  </a:lnTo>
                  <a:lnTo>
                    <a:pt x="63" y="29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6" y="34"/>
                  </a:lnTo>
                  <a:lnTo>
                    <a:pt x="66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2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43" y="5"/>
                  </a:moveTo>
                  <a:lnTo>
                    <a:pt x="43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5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3" y="5"/>
                  </a:lnTo>
                  <a:close/>
                </a:path>
              </a:pathLst>
            </a:custGeom>
            <a:solidFill>
              <a:srgbClr val="FF6200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8" name="Freeform 595"/>
            <p:cNvSpPr>
              <a:spLocks/>
            </p:cNvSpPr>
            <p:nvPr/>
          </p:nvSpPr>
          <p:spPr bwMode="auto">
            <a:xfrm>
              <a:off x="6912849" y="2235828"/>
              <a:ext cx="234000" cy="98614"/>
            </a:xfrm>
            <a:custGeom>
              <a:avLst/>
              <a:gdLst>
                <a:gd name="T0" fmla="*/ 18 w 140"/>
                <a:gd name="T1" fmla="*/ 3 h 59"/>
                <a:gd name="T2" fmla="*/ 27 w 140"/>
                <a:gd name="T3" fmla="*/ 5 h 59"/>
                <a:gd name="T4" fmla="*/ 32 w 140"/>
                <a:gd name="T5" fmla="*/ 7 h 59"/>
                <a:gd name="T6" fmla="*/ 38 w 140"/>
                <a:gd name="T7" fmla="*/ 7 h 59"/>
                <a:gd name="T8" fmla="*/ 43 w 140"/>
                <a:gd name="T9" fmla="*/ 7 h 59"/>
                <a:gd name="T10" fmla="*/ 52 w 140"/>
                <a:gd name="T11" fmla="*/ 9 h 59"/>
                <a:gd name="T12" fmla="*/ 59 w 140"/>
                <a:gd name="T13" fmla="*/ 9 h 59"/>
                <a:gd name="T14" fmla="*/ 63 w 140"/>
                <a:gd name="T15" fmla="*/ 14 h 59"/>
                <a:gd name="T16" fmla="*/ 77 w 140"/>
                <a:gd name="T17" fmla="*/ 18 h 59"/>
                <a:gd name="T18" fmla="*/ 77 w 140"/>
                <a:gd name="T19" fmla="*/ 23 h 59"/>
                <a:gd name="T20" fmla="*/ 81 w 140"/>
                <a:gd name="T21" fmla="*/ 23 h 59"/>
                <a:gd name="T22" fmla="*/ 88 w 140"/>
                <a:gd name="T23" fmla="*/ 21 h 59"/>
                <a:gd name="T24" fmla="*/ 95 w 140"/>
                <a:gd name="T25" fmla="*/ 21 h 59"/>
                <a:gd name="T26" fmla="*/ 97 w 140"/>
                <a:gd name="T27" fmla="*/ 18 h 59"/>
                <a:gd name="T28" fmla="*/ 104 w 140"/>
                <a:gd name="T29" fmla="*/ 21 h 59"/>
                <a:gd name="T30" fmla="*/ 110 w 140"/>
                <a:gd name="T31" fmla="*/ 23 h 59"/>
                <a:gd name="T32" fmla="*/ 115 w 140"/>
                <a:gd name="T33" fmla="*/ 32 h 59"/>
                <a:gd name="T34" fmla="*/ 122 w 140"/>
                <a:gd name="T35" fmla="*/ 36 h 59"/>
                <a:gd name="T36" fmla="*/ 124 w 140"/>
                <a:gd name="T37" fmla="*/ 36 h 59"/>
                <a:gd name="T38" fmla="*/ 126 w 140"/>
                <a:gd name="T39" fmla="*/ 36 h 59"/>
                <a:gd name="T40" fmla="*/ 131 w 140"/>
                <a:gd name="T41" fmla="*/ 39 h 59"/>
                <a:gd name="T42" fmla="*/ 128 w 140"/>
                <a:gd name="T43" fmla="*/ 43 h 59"/>
                <a:gd name="T44" fmla="*/ 128 w 140"/>
                <a:gd name="T45" fmla="*/ 45 h 59"/>
                <a:gd name="T46" fmla="*/ 133 w 140"/>
                <a:gd name="T47" fmla="*/ 50 h 59"/>
                <a:gd name="T48" fmla="*/ 137 w 140"/>
                <a:gd name="T49" fmla="*/ 52 h 59"/>
                <a:gd name="T50" fmla="*/ 140 w 140"/>
                <a:gd name="T51" fmla="*/ 54 h 59"/>
                <a:gd name="T52" fmla="*/ 140 w 140"/>
                <a:gd name="T53" fmla="*/ 57 h 59"/>
                <a:gd name="T54" fmla="*/ 137 w 140"/>
                <a:gd name="T55" fmla="*/ 59 h 59"/>
                <a:gd name="T56" fmla="*/ 131 w 140"/>
                <a:gd name="T57" fmla="*/ 57 h 59"/>
                <a:gd name="T58" fmla="*/ 126 w 140"/>
                <a:gd name="T59" fmla="*/ 57 h 59"/>
                <a:gd name="T60" fmla="*/ 122 w 140"/>
                <a:gd name="T61" fmla="*/ 52 h 59"/>
                <a:gd name="T62" fmla="*/ 115 w 140"/>
                <a:gd name="T63" fmla="*/ 50 h 59"/>
                <a:gd name="T64" fmla="*/ 106 w 140"/>
                <a:gd name="T65" fmla="*/ 54 h 59"/>
                <a:gd name="T66" fmla="*/ 104 w 140"/>
                <a:gd name="T67" fmla="*/ 54 h 59"/>
                <a:gd name="T68" fmla="*/ 99 w 140"/>
                <a:gd name="T69" fmla="*/ 57 h 59"/>
                <a:gd name="T70" fmla="*/ 97 w 140"/>
                <a:gd name="T71" fmla="*/ 57 h 59"/>
                <a:gd name="T72" fmla="*/ 92 w 140"/>
                <a:gd name="T73" fmla="*/ 57 h 59"/>
                <a:gd name="T74" fmla="*/ 90 w 140"/>
                <a:gd name="T75" fmla="*/ 57 h 59"/>
                <a:gd name="T76" fmla="*/ 86 w 140"/>
                <a:gd name="T77" fmla="*/ 57 h 59"/>
                <a:gd name="T78" fmla="*/ 79 w 140"/>
                <a:gd name="T79" fmla="*/ 59 h 59"/>
                <a:gd name="T80" fmla="*/ 74 w 140"/>
                <a:gd name="T81" fmla="*/ 57 h 59"/>
                <a:gd name="T82" fmla="*/ 72 w 140"/>
                <a:gd name="T83" fmla="*/ 54 h 59"/>
                <a:gd name="T84" fmla="*/ 68 w 140"/>
                <a:gd name="T85" fmla="*/ 50 h 59"/>
                <a:gd name="T86" fmla="*/ 65 w 140"/>
                <a:gd name="T87" fmla="*/ 50 h 59"/>
                <a:gd name="T88" fmla="*/ 63 w 140"/>
                <a:gd name="T89" fmla="*/ 48 h 59"/>
                <a:gd name="T90" fmla="*/ 63 w 140"/>
                <a:gd name="T91" fmla="*/ 48 h 59"/>
                <a:gd name="T92" fmla="*/ 59 w 140"/>
                <a:gd name="T93" fmla="*/ 50 h 59"/>
                <a:gd name="T94" fmla="*/ 52 w 140"/>
                <a:gd name="T95" fmla="*/ 48 h 59"/>
                <a:gd name="T96" fmla="*/ 47 w 140"/>
                <a:gd name="T97" fmla="*/ 48 h 59"/>
                <a:gd name="T98" fmla="*/ 43 w 140"/>
                <a:gd name="T99" fmla="*/ 50 h 59"/>
                <a:gd name="T100" fmla="*/ 43 w 140"/>
                <a:gd name="T101" fmla="*/ 50 h 59"/>
                <a:gd name="T102" fmla="*/ 43 w 140"/>
                <a:gd name="T103" fmla="*/ 43 h 59"/>
                <a:gd name="T104" fmla="*/ 43 w 140"/>
                <a:gd name="T105" fmla="*/ 39 h 59"/>
                <a:gd name="T106" fmla="*/ 38 w 140"/>
                <a:gd name="T107" fmla="*/ 32 h 59"/>
                <a:gd name="T108" fmla="*/ 34 w 140"/>
                <a:gd name="T109" fmla="*/ 21 h 59"/>
                <a:gd name="T110" fmla="*/ 27 w 140"/>
                <a:gd name="T111" fmla="*/ 18 h 59"/>
                <a:gd name="T112" fmla="*/ 23 w 140"/>
                <a:gd name="T113" fmla="*/ 14 h 59"/>
                <a:gd name="T114" fmla="*/ 20 w 140"/>
                <a:gd name="T115" fmla="*/ 12 h 59"/>
                <a:gd name="T116" fmla="*/ 14 w 140"/>
                <a:gd name="T117" fmla="*/ 12 h 59"/>
                <a:gd name="T118" fmla="*/ 9 w 140"/>
                <a:gd name="T119" fmla="*/ 9 h 59"/>
                <a:gd name="T120" fmla="*/ 7 w 140"/>
                <a:gd name="T121" fmla="*/ 7 h 59"/>
                <a:gd name="T122" fmla="*/ 2 w 140"/>
                <a:gd name="T123" fmla="*/ 5 h 59"/>
                <a:gd name="T124" fmla="*/ 9 w 140"/>
                <a:gd name="T125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59">
                  <a:moveTo>
                    <a:pt x="9" y="0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3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9" y="5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3" y="14"/>
                  </a:lnTo>
                  <a:lnTo>
                    <a:pt x="65" y="14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6" y="23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19" y="34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31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3" y="50"/>
                  </a:lnTo>
                  <a:lnTo>
                    <a:pt x="135" y="50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7"/>
                  </a:lnTo>
                  <a:lnTo>
                    <a:pt x="140" y="57"/>
                  </a:lnTo>
                  <a:lnTo>
                    <a:pt x="140" y="57"/>
                  </a:lnTo>
                  <a:lnTo>
                    <a:pt x="140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5" y="59"/>
                  </a:lnTo>
                  <a:lnTo>
                    <a:pt x="133" y="57"/>
                  </a:lnTo>
                  <a:lnTo>
                    <a:pt x="133" y="57"/>
                  </a:lnTo>
                  <a:lnTo>
                    <a:pt x="133" y="57"/>
                  </a:lnTo>
                  <a:lnTo>
                    <a:pt x="131" y="57"/>
                  </a:lnTo>
                  <a:lnTo>
                    <a:pt x="131" y="57"/>
                  </a:lnTo>
                  <a:lnTo>
                    <a:pt x="131" y="57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6" y="57"/>
                  </a:lnTo>
                  <a:lnTo>
                    <a:pt x="126" y="57"/>
                  </a:lnTo>
                  <a:lnTo>
                    <a:pt x="124" y="54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19" y="54"/>
                  </a:lnTo>
                  <a:lnTo>
                    <a:pt x="119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1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7" y="57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1" y="45"/>
                  </a:lnTo>
                  <a:lnTo>
                    <a:pt x="59" y="45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4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7" y="50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38" y="48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0" y="14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9" name="Freeform 596"/>
            <p:cNvSpPr>
              <a:spLocks/>
            </p:cNvSpPr>
            <p:nvPr/>
          </p:nvSpPr>
          <p:spPr bwMode="auto">
            <a:xfrm>
              <a:off x="5057567" y="3415854"/>
              <a:ext cx="105300" cy="30086"/>
            </a:xfrm>
            <a:custGeom>
              <a:avLst/>
              <a:gdLst>
                <a:gd name="T0" fmla="*/ 43 w 63"/>
                <a:gd name="T1" fmla="*/ 5 h 18"/>
                <a:gd name="T2" fmla="*/ 48 w 63"/>
                <a:gd name="T3" fmla="*/ 5 h 18"/>
                <a:gd name="T4" fmla="*/ 52 w 63"/>
                <a:gd name="T5" fmla="*/ 9 h 18"/>
                <a:gd name="T6" fmla="*/ 57 w 63"/>
                <a:gd name="T7" fmla="*/ 7 h 18"/>
                <a:gd name="T8" fmla="*/ 59 w 63"/>
                <a:gd name="T9" fmla="*/ 7 h 18"/>
                <a:gd name="T10" fmla="*/ 61 w 63"/>
                <a:gd name="T11" fmla="*/ 9 h 18"/>
                <a:gd name="T12" fmla="*/ 59 w 63"/>
                <a:gd name="T13" fmla="*/ 14 h 18"/>
                <a:gd name="T14" fmla="*/ 54 w 63"/>
                <a:gd name="T15" fmla="*/ 14 h 18"/>
                <a:gd name="T16" fmla="*/ 50 w 63"/>
                <a:gd name="T17" fmla="*/ 14 h 18"/>
                <a:gd name="T18" fmla="*/ 48 w 63"/>
                <a:gd name="T19" fmla="*/ 14 h 18"/>
                <a:gd name="T20" fmla="*/ 43 w 63"/>
                <a:gd name="T21" fmla="*/ 12 h 18"/>
                <a:gd name="T22" fmla="*/ 41 w 63"/>
                <a:gd name="T23" fmla="*/ 9 h 18"/>
                <a:gd name="T24" fmla="*/ 36 w 63"/>
                <a:gd name="T25" fmla="*/ 7 h 18"/>
                <a:gd name="T26" fmla="*/ 34 w 63"/>
                <a:gd name="T27" fmla="*/ 12 h 18"/>
                <a:gd name="T28" fmla="*/ 27 w 63"/>
                <a:gd name="T29" fmla="*/ 12 h 18"/>
                <a:gd name="T30" fmla="*/ 21 w 63"/>
                <a:gd name="T31" fmla="*/ 12 h 18"/>
                <a:gd name="T32" fmla="*/ 18 w 63"/>
                <a:gd name="T33" fmla="*/ 16 h 18"/>
                <a:gd name="T34" fmla="*/ 3 w 63"/>
                <a:gd name="T35" fmla="*/ 16 h 18"/>
                <a:gd name="T36" fmla="*/ 0 w 63"/>
                <a:gd name="T37" fmla="*/ 18 h 18"/>
                <a:gd name="T38" fmla="*/ 0 w 63"/>
                <a:gd name="T39" fmla="*/ 14 h 18"/>
                <a:gd name="T40" fmla="*/ 0 w 63"/>
                <a:gd name="T41" fmla="*/ 12 h 18"/>
                <a:gd name="T42" fmla="*/ 3 w 63"/>
                <a:gd name="T43" fmla="*/ 9 h 18"/>
                <a:gd name="T44" fmla="*/ 5 w 63"/>
                <a:gd name="T45" fmla="*/ 9 h 18"/>
                <a:gd name="T46" fmla="*/ 5 w 63"/>
                <a:gd name="T47" fmla="*/ 9 h 18"/>
                <a:gd name="T48" fmla="*/ 7 w 63"/>
                <a:gd name="T49" fmla="*/ 14 h 18"/>
                <a:gd name="T50" fmla="*/ 9 w 63"/>
                <a:gd name="T51" fmla="*/ 16 h 18"/>
                <a:gd name="T52" fmla="*/ 9 w 63"/>
                <a:gd name="T53" fmla="*/ 14 h 18"/>
                <a:gd name="T54" fmla="*/ 9 w 63"/>
                <a:gd name="T55" fmla="*/ 14 h 18"/>
                <a:gd name="T56" fmla="*/ 12 w 63"/>
                <a:gd name="T57" fmla="*/ 12 h 18"/>
                <a:gd name="T58" fmla="*/ 14 w 63"/>
                <a:gd name="T59" fmla="*/ 14 h 18"/>
                <a:gd name="T60" fmla="*/ 14 w 63"/>
                <a:gd name="T61" fmla="*/ 14 h 18"/>
                <a:gd name="T62" fmla="*/ 12 w 63"/>
                <a:gd name="T63" fmla="*/ 12 h 18"/>
                <a:gd name="T64" fmla="*/ 14 w 63"/>
                <a:gd name="T65" fmla="*/ 9 h 18"/>
                <a:gd name="T66" fmla="*/ 18 w 63"/>
                <a:gd name="T67" fmla="*/ 9 h 18"/>
                <a:gd name="T68" fmla="*/ 21 w 63"/>
                <a:gd name="T69" fmla="*/ 9 h 18"/>
                <a:gd name="T70" fmla="*/ 25 w 63"/>
                <a:gd name="T71" fmla="*/ 9 h 18"/>
                <a:gd name="T72" fmla="*/ 25 w 63"/>
                <a:gd name="T73" fmla="*/ 9 h 18"/>
                <a:gd name="T74" fmla="*/ 27 w 63"/>
                <a:gd name="T75" fmla="*/ 9 h 18"/>
                <a:gd name="T76" fmla="*/ 30 w 63"/>
                <a:gd name="T77" fmla="*/ 9 h 18"/>
                <a:gd name="T78" fmla="*/ 32 w 63"/>
                <a:gd name="T79" fmla="*/ 9 h 18"/>
                <a:gd name="T80" fmla="*/ 30 w 63"/>
                <a:gd name="T81" fmla="*/ 9 h 18"/>
                <a:gd name="T82" fmla="*/ 27 w 63"/>
                <a:gd name="T83" fmla="*/ 9 h 18"/>
                <a:gd name="T84" fmla="*/ 27 w 63"/>
                <a:gd name="T85" fmla="*/ 7 h 18"/>
                <a:gd name="T86" fmla="*/ 23 w 63"/>
                <a:gd name="T87" fmla="*/ 9 h 18"/>
                <a:gd name="T88" fmla="*/ 14 w 63"/>
                <a:gd name="T89" fmla="*/ 9 h 18"/>
                <a:gd name="T90" fmla="*/ 12 w 63"/>
                <a:gd name="T91" fmla="*/ 12 h 18"/>
                <a:gd name="T92" fmla="*/ 12 w 63"/>
                <a:gd name="T93" fmla="*/ 12 h 18"/>
                <a:gd name="T94" fmla="*/ 12 w 63"/>
                <a:gd name="T95" fmla="*/ 12 h 18"/>
                <a:gd name="T96" fmla="*/ 7 w 63"/>
                <a:gd name="T97" fmla="*/ 12 h 18"/>
                <a:gd name="T98" fmla="*/ 7 w 63"/>
                <a:gd name="T99" fmla="*/ 9 h 18"/>
                <a:gd name="T100" fmla="*/ 5 w 63"/>
                <a:gd name="T101" fmla="*/ 7 h 18"/>
                <a:gd name="T102" fmla="*/ 14 w 63"/>
                <a:gd name="T103" fmla="*/ 7 h 18"/>
                <a:gd name="T104" fmla="*/ 23 w 63"/>
                <a:gd name="T105" fmla="*/ 7 h 18"/>
                <a:gd name="T106" fmla="*/ 27 w 63"/>
                <a:gd name="T107" fmla="*/ 5 h 18"/>
                <a:gd name="T108" fmla="*/ 32 w 63"/>
                <a:gd name="T109" fmla="*/ 3 h 18"/>
                <a:gd name="T110" fmla="*/ 39 w 63"/>
                <a:gd name="T1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" h="18">
                  <a:moveTo>
                    <a:pt x="41" y="3"/>
                  </a:moveTo>
                  <a:lnTo>
                    <a:pt x="41" y="3"/>
                  </a:lnTo>
                  <a:lnTo>
                    <a:pt x="43" y="3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1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0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6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2" y="14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27" y="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5" y="7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16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9" y="0"/>
                  </a:lnTo>
                  <a:lnTo>
                    <a:pt x="41" y="0"/>
                  </a:lnTo>
                  <a:lnTo>
                    <a:pt x="41" y="3"/>
                  </a:lnTo>
                  <a:lnTo>
                    <a:pt x="41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0" name="Freeform 597"/>
            <p:cNvSpPr>
              <a:spLocks noEditPoints="1"/>
            </p:cNvSpPr>
            <p:nvPr/>
          </p:nvSpPr>
          <p:spPr bwMode="auto">
            <a:xfrm>
              <a:off x="5948437" y="3875495"/>
              <a:ext cx="205586" cy="247371"/>
            </a:xfrm>
            <a:custGeom>
              <a:avLst/>
              <a:gdLst>
                <a:gd name="T0" fmla="*/ 9 w 123"/>
                <a:gd name="T1" fmla="*/ 70 h 148"/>
                <a:gd name="T2" fmla="*/ 78 w 123"/>
                <a:gd name="T3" fmla="*/ 0 h 148"/>
                <a:gd name="T4" fmla="*/ 90 w 123"/>
                <a:gd name="T5" fmla="*/ 2 h 148"/>
                <a:gd name="T6" fmla="*/ 96 w 123"/>
                <a:gd name="T7" fmla="*/ 4 h 148"/>
                <a:gd name="T8" fmla="*/ 94 w 123"/>
                <a:gd name="T9" fmla="*/ 13 h 148"/>
                <a:gd name="T10" fmla="*/ 96 w 123"/>
                <a:gd name="T11" fmla="*/ 22 h 148"/>
                <a:gd name="T12" fmla="*/ 96 w 123"/>
                <a:gd name="T13" fmla="*/ 25 h 148"/>
                <a:gd name="T14" fmla="*/ 105 w 123"/>
                <a:gd name="T15" fmla="*/ 22 h 148"/>
                <a:gd name="T16" fmla="*/ 117 w 123"/>
                <a:gd name="T17" fmla="*/ 22 h 148"/>
                <a:gd name="T18" fmla="*/ 121 w 123"/>
                <a:gd name="T19" fmla="*/ 34 h 148"/>
                <a:gd name="T20" fmla="*/ 110 w 123"/>
                <a:gd name="T21" fmla="*/ 49 h 148"/>
                <a:gd name="T22" fmla="*/ 110 w 123"/>
                <a:gd name="T23" fmla="*/ 61 h 148"/>
                <a:gd name="T24" fmla="*/ 117 w 123"/>
                <a:gd name="T25" fmla="*/ 65 h 148"/>
                <a:gd name="T26" fmla="*/ 121 w 123"/>
                <a:gd name="T27" fmla="*/ 79 h 148"/>
                <a:gd name="T28" fmla="*/ 121 w 123"/>
                <a:gd name="T29" fmla="*/ 90 h 148"/>
                <a:gd name="T30" fmla="*/ 121 w 123"/>
                <a:gd name="T31" fmla="*/ 96 h 148"/>
                <a:gd name="T32" fmla="*/ 117 w 123"/>
                <a:gd name="T33" fmla="*/ 105 h 148"/>
                <a:gd name="T34" fmla="*/ 114 w 123"/>
                <a:gd name="T35" fmla="*/ 114 h 148"/>
                <a:gd name="T36" fmla="*/ 110 w 123"/>
                <a:gd name="T37" fmla="*/ 112 h 148"/>
                <a:gd name="T38" fmla="*/ 105 w 123"/>
                <a:gd name="T39" fmla="*/ 108 h 148"/>
                <a:gd name="T40" fmla="*/ 99 w 123"/>
                <a:gd name="T41" fmla="*/ 112 h 148"/>
                <a:gd name="T42" fmla="*/ 92 w 123"/>
                <a:gd name="T43" fmla="*/ 110 h 148"/>
                <a:gd name="T44" fmla="*/ 87 w 123"/>
                <a:gd name="T45" fmla="*/ 105 h 148"/>
                <a:gd name="T46" fmla="*/ 81 w 123"/>
                <a:gd name="T47" fmla="*/ 101 h 148"/>
                <a:gd name="T48" fmla="*/ 69 w 123"/>
                <a:gd name="T49" fmla="*/ 110 h 148"/>
                <a:gd name="T50" fmla="*/ 60 w 123"/>
                <a:gd name="T51" fmla="*/ 114 h 148"/>
                <a:gd name="T52" fmla="*/ 63 w 123"/>
                <a:gd name="T53" fmla="*/ 128 h 148"/>
                <a:gd name="T54" fmla="*/ 67 w 123"/>
                <a:gd name="T55" fmla="*/ 141 h 148"/>
                <a:gd name="T56" fmla="*/ 54 w 123"/>
                <a:gd name="T57" fmla="*/ 144 h 148"/>
                <a:gd name="T58" fmla="*/ 40 w 123"/>
                <a:gd name="T59" fmla="*/ 132 h 148"/>
                <a:gd name="T60" fmla="*/ 25 w 123"/>
                <a:gd name="T61" fmla="*/ 114 h 148"/>
                <a:gd name="T62" fmla="*/ 27 w 123"/>
                <a:gd name="T63" fmla="*/ 117 h 148"/>
                <a:gd name="T64" fmla="*/ 31 w 123"/>
                <a:gd name="T65" fmla="*/ 114 h 148"/>
                <a:gd name="T66" fmla="*/ 27 w 123"/>
                <a:gd name="T67" fmla="*/ 114 h 148"/>
                <a:gd name="T68" fmla="*/ 25 w 123"/>
                <a:gd name="T69" fmla="*/ 112 h 148"/>
                <a:gd name="T70" fmla="*/ 22 w 123"/>
                <a:gd name="T71" fmla="*/ 112 h 148"/>
                <a:gd name="T72" fmla="*/ 16 w 123"/>
                <a:gd name="T73" fmla="*/ 103 h 148"/>
                <a:gd name="T74" fmla="*/ 16 w 123"/>
                <a:gd name="T75" fmla="*/ 99 h 148"/>
                <a:gd name="T76" fmla="*/ 18 w 123"/>
                <a:gd name="T77" fmla="*/ 103 h 148"/>
                <a:gd name="T78" fmla="*/ 16 w 123"/>
                <a:gd name="T79" fmla="*/ 99 h 148"/>
                <a:gd name="T80" fmla="*/ 13 w 123"/>
                <a:gd name="T81" fmla="*/ 99 h 148"/>
                <a:gd name="T82" fmla="*/ 9 w 123"/>
                <a:gd name="T83" fmla="*/ 88 h 148"/>
                <a:gd name="T84" fmla="*/ 13 w 123"/>
                <a:gd name="T85" fmla="*/ 94 h 148"/>
                <a:gd name="T86" fmla="*/ 16 w 123"/>
                <a:gd name="T87" fmla="*/ 90 h 148"/>
                <a:gd name="T88" fmla="*/ 13 w 123"/>
                <a:gd name="T89" fmla="*/ 90 h 148"/>
                <a:gd name="T90" fmla="*/ 13 w 123"/>
                <a:gd name="T91" fmla="*/ 85 h 148"/>
                <a:gd name="T92" fmla="*/ 9 w 123"/>
                <a:gd name="T93" fmla="*/ 88 h 148"/>
                <a:gd name="T94" fmla="*/ 7 w 123"/>
                <a:gd name="T95" fmla="*/ 83 h 148"/>
                <a:gd name="T96" fmla="*/ 2 w 123"/>
                <a:gd name="T97" fmla="*/ 74 h 148"/>
                <a:gd name="T98" fmla="*/ 4 w 123"/>
                <a:gd name="T99" fmla="*/ 74 h 148"/>
                <a:gd name="T100" fmla="*/ 7 w 123"/>
                <a:gd name="T101" fmla="*/ 74 h 148"/>
                <a:gd name="T102" fmla="*/ 9 w 123"/>
                <a:gd name="T103" fmla="*/ 70 h 148"/>
                <a:gd name="T104" fmla="*/ 16 w 123"/>
                <a:gd name="T105" fmla="*/ 54 h 148"/>
                <a:gd name="T106" fmla="*/ 16 w 123"/>
                <a:gd name="T107" fmla="*/ 52 h 148"/>
                <a:gd name="T108" fmla="*/ 20 w 123"/>
                <a:gd name="T109" fmla="*/ 52 h 148"/>
                <a:gd name="T110" fmla="*/ 27 w 123"/>
                <a:gd name="T111" fmla="*/ 52 h 148"/>
                <a:gd name="T112" fmla="*/ 18 w 123"/>
                <a:gd name="T113" fmla="*/ 47 h 148"/>
                <a:gd name="T114" fmla="*/ 16 w 123"/>
                <a:gd name="T115" fmla="*/ 40 h 148"/>
                <a:gd name="T116" fmla="*/ 18 w 123"/>
                <a:gd name="T117" fmla="*/ 40 h 148"/>
                <a:gd name="T118" fmla="*/ 20 w 123"/>
                <a:gd name="T119" fmla="*/ 34 h 148"/>
                <a:gd name="T120" fmla="*/ 25 w 123"/>
                <a:gd name="T121" fmla="*/ 31 h 148"/>
                <a:gd name="T122" fmla="*/ 56 w 123"/>
                <a:gd name="T123" fmla="*/ 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3" h="148">
                  <a:moveTo>
                    <a:pt x="7" y="74"/>
                  </a:moveTo>
                  <a:lnTo>
                    <a:pt x="7" y="74"/>
                  </a:lnTo>
                  <a:lnTo>
                    <a:pt x="7" y="74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9" y="70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7" y="74"/>
                  </a:lnTo>
                  <a:close/>
                  <a:moveTo>
                    <a:pt x="65" y="0"/>
                  </a:moveTo>
                  <a:lnTo>
                    <a:pt x="65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2" y="43"/>
                  </a:lnTo>
                  <a:lnTo>
                    <a:pt x="114" y="43"/>
                  </a:lnTo>
                  <a:lnTo>
                    <a:pt x="114" y="45"/>
                  </a:lnTo>
                  <a:lnTo>
                    <a:pt x="114" y="45"/>
                  </a:lnTo>
                  <a:lnTo>
                    <a:pt x="112" y="45"/>
                  </a:lnTo>
                  <a:lnTo>
                    <a:pt x="112" y="47"/>
                  </a:lnTo>
                  <a:lnTo>
                    <a:pt x="110" y="47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8"/>
                  </a:lnTo>
                  <a:lnTo>
                    <a:pt x="108" y="58"/>
                  </a:lnTo>
                  <a:lnTo>
                    <a:pt x="108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4" y="63"/>
                  </a:lnTo>
                  <a:lnTo>
                    <a:pt x="114" y="63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4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3" y="70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1" y="72"/>
                  </a:lnTo>
                  <a:lnTo>
                    <a:pt x="121" y="74"/>
                  </a:lnTo>
                  <a:lnTo>
                    <a:pt x="121" y="74"/>
                  </a:lnTo>
                  <a:lnTo>
                    <a:pt x="121" y="74"/>
                  </a:lnTo>
                  <a:lnTo>
                    <a:pt x="121" y="76"/>
                  </a:lnTo>
                  <a:lnTo>
                    <a:pt x="121" y="76"/>
                  </a:lnTo>
                  <a:lnTo>
                    <a:pt x="121" y="76"/>
                  </a:lnTo>
                  <a:lnTo>
                    <a:pt x="121" y="76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79"/>
                  </a:lnTo>
                  <a:lnTo>
                    <a:pt x="121" y="81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5"/>
                  </a:lnTo>
                  <a:lnTo>
                    <a:pt x="121" y="85"/>
                  </a:lnTo>
                  <a:lnTo>
                    <a:pt x="121" y="85"/>
                  </a:lnTo>
                  <a:lnTo>
                    <a:pt x="121" y="85"/>
                  </a:lnTo>
                  <a:lnTo>
                    <a:pt x="121" y="85"/>
                  </a:lnTo>
                  <a:lnTo>
                    <a:pt x="121" y="85"/>
                  </a:lnTo>
                  <a:lnTo>
                    <a:pt x="121" y="85"/>
                  </a:lnTo>
                  <a:lnTo>
                    <a:pt x="121" y="88"/>
                  </a:lnTo>
                  <a:lnTo>
                    <a:pt x="121" y="88"/>
                  </a:lnTo>
                  <a:lnTo>
                    <a:pt x="121" y="88"/>
                  </a:lnTo>
                  <a:lnTo>
                    <a:pt x="121" y="88"/>
                  </a:lnTo>
                  <a:lnTo>
                    <a:pt x="123" y="88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21" y="92"/>
                  </a:lnTo>
                  <a:lnTo>
                    <a:pt x="119" y="92"/>
                  </a:lnTo>
                  <a:lnTo>
                    <a:pt x="119" y="94"/>
                  </a:lnTo>
                  <a:lnTo>
                    <a:pt x="119" y="94"/>
                  </a:lnTo>
                  <a:lnTo>
                    <a:pt x="121" y="94"/>
                  </a:lnTo>
                  <a:lnTo>
                    <a:pt x="121" y="94"/>
                  </a:lnTo>
                  <a:lnTo>
                    <a:pt x="121" y="94"/>
                  </a:lnTo>
                  <a:lnTo>
                    <a:pt x="121" y="94"/>
                  </a:lnTo>
                  <a:lnTo>
                    <a:pt x="121" y="94"/>
                  </a:lnTo>
                  <a:lnTo>
                    <a:pt x="121" y="96"/>
                  </a:lnTo>
                  <a:lnTo>
                    <a:pt x="121" y="96"/>
                  </a:lnTo>
                  <a:lnTo>
                    <a:pt x="121" y="96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101"/>
                  </a:lnTo>
                  <a:lnTo>
                    <a:pt x="121" y="101"/>
                  </a:lnTo>
                  <a:lnTo>
                    <a:pt x="119" y="101"/>
                  </a:lnTo>
                  <a:lnTo>
                    <a:pt x="117" y="101"/>
                  </a:lnTo>
                  <a:lnTo>
                    <a:pt x="117" y="101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4" y="108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0"/>
                  </a:lnTo>
                  <a:lnTo>
                    <a:pt x="117" y="112"/>
                  </a:lnTo>
                  <a:lnTo>
                    <a:pt x="117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2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4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2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8" y="105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5" y="108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0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2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0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90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101"/>
                  </a:lnTo>
                  <a:lnTo>
                    <a:pt x="78" y="103"/>
                  </a:lnTo>
                  <a:lnTo>
                    <a:pt x="78" y="103"/>
                  </a:lnTo>
                  <a:lnTo>
                    <a:pt x="81" y="103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1" y="110"/>
                  </a:lnTo>
                  <a:lnTo>
                    <a:pt x="78" y="110"/>
                  </a:lnTo>
                  <a:lnTo>
                    <a:pt x="81" y="110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5" y="130"/>
                  </a:lnTo>
                  <a:lnTo>
                    <a:pt x="65" y="132"/>
                  </a:lnTo>
                  <a:lnTo>
                    <a:pt x="67" y="132"/>
                  </a:lnTo>
                  <a:lnTo>
                    <a:pt x="67" y="132"/>
                  </a:lnTo>
                  <a:lnTo>
                    <a:pt x="67" y="132"/>
                  </a:lnTo>
                  <a:lnTo>
                    <a:pt x="69" y="132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67" y="135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7" y="139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1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3" y="141"/>
                  </a:lnTo>
                  <a:lnTo>
                    <a:pt x="60" y="139"/>
                  </a:lnTo>
                  <a:lnTo>
                    <a:pt x="60" y="139"/>
                  </a:lnTo>
                  <a:lnTo>
                    <a:pt x="58" y="139"/>
                  </a:lnTo>
                  <a:lnTo>
                    <a:pt x="58" y="139"/>
                  </a:lnTo>
                  <a:lnTo>
                    <a:pt x="58" y="139"/>
                  </a:lnTo>
                  <a:lnTo>
                    <a:pt x="58" y="139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4" y="141"/>
                  </a:lnTo>
                  <a:lnTo>
                    <a:pt x="54" y="141"/>
                  </a:lnTo>
                  <a:lnTo>
                    <a:pt x="54" y="144"/>
                  </a:lnTo>
                  <a:lnTo>
                    <a:pt x="54" y="144"/>
                  </a:lnTo>
                  <a:lnTo>
                    <a:pt x="52" y="148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9" y="141"/>
                  </a:lnTo>
                  <a:lnTo>
                    <a:pt x="47" y="141"/>
                  </a:lnTo>
                  <a:lnTo>
                    <a:pt x="45" y="139"/>
                  </a:lnTo>
                  <a:lnTo>
                    <a:pt x="43" y="137"/>
                  </a:lnTo>
                  <a:lnTo>
                    <a:pt x="40" y="137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0" y="135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6" y="126"/>
                  </a:lnTo>
                  <a:lnTo>
                    <a:pt x="34" y="123"/>
                  </a:lnTo>
                  <a:lnTo>
                    <a:pt x="31" y="123"/>
                  </a:lnTo>
                  <a:lnTo>
                    <a:pt x="29" y="121"/>
                  </a:lnTo>
                  <a:lnTo>
                    <a:pt x="29" y="119"/>
                  </a:lnTo>
                  <a:lnTo>
                    <a:pt x="27" y="119"/>
                  </a:lnTo>
                  <a:lnTo>
                    <a:pt x="22" y="114"/>
                  </a:lnTo>
                  <a:lnTo>
                    <a:pt x="22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18" y="108"/>
                  </a:lnTo>
                  <a:lnTo>
                    <a:pt x="18" y="105"/>
                  </a:lnTo>
                  <a:lnTo>
                    <a:pt x="16" y="105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6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6" y="101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20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0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3" y="92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2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1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7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67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2" y="72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3" y="54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29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6" y="45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3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5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8" y="31"/>
                  </a:lnTo>
                  <a:lnTo>
                    <a:pt x="45" y="31"/>
                  </a:lnTo>
                  <a:lnTo>
                    <a:pt x="49" y="31"/>
                  </a:lnTo>
                  <a:lnTo>
                    <a:pt x="56" y="31"/>
                  </a:lnTo>
                  <a:lnTo>
                    <a:pt x="56" y="25"/>
                  </a:lnTo>
                  <a:lnTo>
                    <a:pt x="56" y="18"/>
                  </a:lnTo>
                  <a:lnTo>
                    <a:pt x="56" y="13"/>
                  </a:lnTo>
                  <a:lnTo>
                    <a:pt x="56" y="7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1" name="Rectangle 598"/>
            <p:cNvSpPr>
              <a:spLocks noChangeArrowheads="1"/>
            </p:cNvSpPr>
            <p:nvPr/>
          </p:nvSpPr>
          <p:spPr bwMode="auto">
            <a:xfrm>
              <a:off x="7126792" y="4646023"/>
              <a:ext cx="1672" cy="1671"/>
            </a:xfrm>
            <a:prstGeom prst="rect">
              <a:avLst/>
            </a:pr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2" name="Freeform 599"/>
            <p:cNvSpPr>
              <a:spLocks noEditPoints="1"/>
            </p:cNvSpPr>
            <p:nvPr/>
          </p:nvSpPr>
          <p:spPr bwMode="auto">
            <a:xfrm>
              <a:off x="5497153" y="1943328"/>
              <a:ext cx="454628" cy="379413"/>
            </a:xfrm>
            <a:custGeom>
              <a:avLst/>
              <a:gdLst>
                <a:gd name="T0" fmla="*/ 268 w 272"/>
                <a:gd name="T1" fmla="*/ 218 h 227"/>
                <a:gd name="T2" fmla="*/ 263 w 272"/>
                <a:gd name="T3" fmla="*/ 227 h 227"/>
                <a:gd name="T4" fmla="*/ 259 w 272"/>
                <a:gd name="T5" fmla="*/ 220 h 227"/>
                <a:gd name="T6" fmla="*/ 252 w 272"/>
                <a:gd name="T7" fmla="*/ 214 h 227"/>
                <a:gd name="T8" fmla="*/ 254 w 272"/>
                <a:gd name="T9" fmla="*/ 205 h 227"/>
                <a:gd name="T10" fmla="*/ 254 w 272"/>
                <a:gd name="T11" fmla="*/ 198 h 227"/>
                <a:gd name="T12" fmla="*/ 268 w 272"/>
                <a:gd name="T13" fmla="*/ 189 h 227"/>
                <a:gd name="T14" fmla="*/ 146 w 272"/>
                <a:gd name="T15" fmla="*/ 9 h 227"/>
                <a:gd name="T16" fmla="*/ 164 w 272"/>
                <a:gd name="T17" fmla="*/ 18 h 227"/>
                <a:gd name="T18" fmla="*/ 175 w 272"/>
                <a:gd name="T19" fmla="*/ 23 h 227"/>
                <a:gd name="T20" fmla="*/ 187 w 272"/>
                <a:gd name="T21" fmla="*/ 36 h 227"/>
                <a:gd name="T22" fmla="*/ 207 w 272"/>
                <a:gd name="T23" fmla="*/ 38 h 227"/>
                <a:gd name="T24" fmla="*/ 218 w 272"/>
                <a:gd name="T25" fmla="*/ 45 h 227"/>
                <a:gd name="T26" fmla="*/ 236 w 272"/>
                <a:gd name="T27" fmla="*/ 54 h 227"/>
                <a:gd name="T28" fmla="*/ 227 w 272"/>
                <a:gd name="T29" fmla="*/ 72 h 227"/>
                <a:gd name="T30" fmla="*/ 227 w 272"/>
                <a:gd name="T31" fmla="*/ 83 h 227"/>
                <a:gd name="T32" fmla="*/ 218 w 272"/>
                <a:gd name="T33" fmla="*/ 88 h 227"/>
                <a:gd name="T34" fmla="*/ 200 w 272"/>
                <a:gd name="T35" fmla="*/ 108 h 227"/>
                <a:gd name="T36" fmla="*/ 214 w 272"/>
                <a:gd name="T37" fmla="*/ 108 h 227"/>
                <a:gd name="T38" fmla="*/ 216 w 272"/>
                <a:gd name="T39" fmla="*/ 121 h 227"/>
                <a:gd name="T40" fmla="*/ 218 w 272"/>
                <a:gd name="T41" fmla="*/ 137 h 227"/>
                <a:gd name="T42" fmla="*/ 218 w 272"/>
                <a:gd name="T43" fmla="*/ 151 h 227"/>
                <a:gd name="T44" fmla="*/ 232 w 272"/>
                <a:gd name="T45" fmla="*/ 166 h 227"/>
                <a:gd name="T46" fmla="*/ 220 w 272"/>
                <a:gd name="T47" fmla="*/ 175 h 227"/>
                <a:gd name="T48" fmla="*/ 214 w 272"/>
                <a:gd name="T49" fmla="*/ 184 h 227"/>
                <a:gd name="T50" fmla="*/ 200 w 272"/>
                <a:gd name="T51" fmla="*/ 184 h 227"/>
                <a:gd name="T52" fmla="*/ 189 w 272"/>
                <a:gd name="T53" fmla="*/ 182 h 227"/>
                <a:gd name="T54" fmla="*/ 180 w 272"/>
                <a:gd name="T55" fmla="*/ 178 h 227"/>
                <a:gd name="T56" fmla="*/ 162 w 272"/>
                <a:gd name="T57" fmla="*/ 175 h 227"/>
                <a:gd name="T58" fmla="*/ 146 w 272"/>
                <a:gd name="T59" fmla="*/ 189 h 227"/>
                <a:gd name="T60" fmla="*/ 146 w 272"/>
                <a:gd name="T61" fmla="*/ 200 h 227"/>
                <a:gd name="T62" fmla="*/ 124 w 272"/>
                <a:gd name="T63" fmla="*/ 202 h 227"/>
                <a:gd name="T64" fmla="*/ 104 w 272"/>
                <a:gd name="T65" fmla="*/ 193 h 227"/>
                <a:gd name="T66" fmla="*/ 86 w 272"/>
                <a:gd name="T67" fmla="*/ 193 h 227"/>
                <a:gd name="T68" fmla="*/ 65 w 272"/>
                <a:gd name="T69" fmla="*/ 189 h 227"/>
                <a:gd name="T70" fmla="*/ 54 w 272"/>
                <a:gd name="T71" fmla="*/ 180 h 227"/>
                <a:gd name="T72" fmla="*/ 63 w 272"/>
                <a:gd name="T73" fmla="*/ 151 h 227"/>
                <a:gd name="T74" fmla="*/ 74 w 272"/>
                <a:gd name="T75" fmla="*/ 137 h 227"/>
                <a:gd name="T76" fmla="*/ 68 w 272"/>
                <a:gd name="T77" fmla="*/ 117 h 227"/>
                <a:gd name="T78" fmla="*/ 63 w 272"/>
                <a:gd name="T79" fmla="*/ 110 h 227"/>
                <a:gd name="T80" fmla="*/ 52 w 272"/>
                <a:gd name="T81" fmla="*/ 95 h 227"/>
                <a:gd name="T82" fmla="*/ 47 w 272"/>
                <a:gd name="T83" fmla="*/ 88 h 227"/>
                <a:gd name="T84" fmla="*/ 43 w 272"/>
                <a:gd name="T85" fmla="*/ 83 h 227"/>
                <a:gd name="T86" fmla="*/ 36 w 272"/>
                <a:gd name="T87" fmla="*/ 81 h 227"/>
                <a:gd name="T88" fmla="*/ 34 w 272"/>
                <a:gd name="T89" fmla="*/ 79 h 227"/>
                <a:gd name="T90" fmla="*/ 29 w 272"/>
                <a:gd name="T91" fmla="*/ 81 h 227"/>
                <a:gd name="T92" fmla="*/ 27 w 272"/>
                <a:gd name="T93" fmla="*/ 77 h 227"/>
                <a:gd name="T94" fmla="*/ 14 w 272"/>
                <a:gd name="T95" fmla="*/ 74 h 227"/>
                <a:gd name="T96" fmla="*/ 2 w 272"/>
                <a:gd name="T97" fmla="*/ 70 h 227"/>
                <a:gd name="T98" fmla="*/ 5 w 272"/>
                <a:gd name="T99" fmla="*/ 63 h 227"/>
                <a:gd name="T100" fmla="*/ 5 w 272"/>
                <a:gd name="T101" fmla="*/ 63 h 227"/>
                <a:gd name="T102" fmla="*/ 5 w 272"/>
                <a:gd name="T103" fmla="*/ 56 h 227"/>
                <a:gd name="T104" fmla="*/ 16 w 272"/>
                <a:gd name="T105" fmla="*/ 56 h 227"/>
                <a:gd name="T106" fmla="*/ 25 w 272"/>
                <a:gd name="T107" fmla="*/ 52 h 227"/>
                <a:gd name="T108" fmla="*/ 32 w 272"/>
                <a:gd name="T109" fmla="*/ 54 h 227"/>
                <a:gd name="T110" fmla="*/ 45 w 272"/>
                <a:gd name="T111" fmla="*/ 56 h 227"/>
                <a:gd name="T112" fmla="*/ 52 w 272"/>
                <a:gd name="T113" fmla="*/ 59 h 227"/>
                <a:gd name="T114" fmla="*/ 59 w 272"/>
                <a:gd name="T115" fmla="*/ 52 h 227"/>
                <a:gd name="T116" fmla="*/ 59 w 272"/>
                <a:gd name="T117" fmla="*/ 41 h 227"/>
                <a:gd name="T118" fmla="*/ 54 w 272"/>
                <a:gd name="T119" fmla="*/ 32 h 227"/>
                <a:gd name="T120" fmla="*/ 68 w 272"/>
                <a:gd name="T121" fmla="*/ 38 h 227"/>
                <a:gd name="T122" fmla="*/ 110 w 272"/>
                <a:gd name="T123" fmla="*/ 25 h 227"/>
                <a:gd name="T124" fmla="*/ 119 w 272"/>
                <a:gd name="T125" fmla="*/ 5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2" h="227">
                  <a:moveTo>
                    <a:pt x="268" y="196"/>
                  </a:move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8"/>
                  </a:lnTo>
                  <a:lnTo>
                    <a:pt x="268" y="198"/>
                  </a:lnTo>
                  <a:lnTo>
                    <a:pt x="268" y="198"/>
                  </a:lnTo>
                  <a:lnTo>
                    <a:pt x="268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198"/>
                  </a:lnTo>
                  <a:lnTo>
                    <a:pt x="270" y="200"/>
                  </a:lnTo>
                  <a:lnTo>
                    <a:pt x="270" y="200"/>
                  </a:lnTo>
                  <a:lnTo>
                    <a:pt x="270" y="202"/>
                  </a:lnTo>
                  <a:lnTo>
                    <a:pt x="270" y="202"/>
                  </a:lnTo>
                  <a:lnTo>
                    <a:pt x="270" y="202"/>
                  </a:lnTo>
                  <a:lnTo>
                    <a:pt x="270" y="202"/>
                  </a:lnTo>
                  <a:lnTo>
                    <a:pt x="270" y="202"/>
                  </a:lnTo>
                  <a:lnTo>
                    <a:pt x="270" y="202"/>
                  </a:lnTo>
                  <a:lnTo>
                    <a:pt x="270" y="205"/>
                  </a:lnTo>
                  <a:lnTo>
                    <a:pt x="270" y="205"/>
                  </a:lnTo>
                  <a:lnTo>
                    <a:pt x="270" y="207"/>
                  </a:lnTo>
                  <a:lnTo>
                    <a:pt x="272" y="209"/>
                  </a:lnTo>
                  <a:lnTo>
                    <a:pt x="272" y="209"/>
                  </a:lnTo>
                  <a:lnTo>
                    <a:pt x="272" y="209"/>
                  </a:lnTo>
                  <a:lnTo>
                    <a:pt x="270" y="209"/>
                  </a:lnTo>
                  <a:lnTo>
                    <a:pt x="270" y="209"/>
                  </a:lnTo>
                  <a:lnTo>
                    <a:pt x="270" y="209"/>
                  </a:lnTo>
                  <a:lnTo>
                    <a:pt x="270" y="209"/>
                  </a:lnTo>
                  <a:lnTo>
                    <a:pt x="270" y="211"/>
                  </a:lnTo>
                  <a:lnTo>
                    <a:pt x="268" y="211"/>
                  </a:lnTo>
                  <a:lnTo>
                    <a:pt x="268" y="214"/>
                  </a:lnTo>
                  <a:lnTo>
                    <a:pt x="268" y="214"/>
                  </a:lnTo>
                  <a:lnTo>
                    <a:pt x="268" y="214"/>
                  </a:lnTo>
                  <a:lnTo>
                    <a:pt x="268" y="216"/>
                  </a:lnTo>
                  <a:lnTo>
                    <a:pt x="268" y="216"/>
                  </a:lnTo>
                  <a:lnTo>
                    <a:pt x="268" y="218"/>
                  </a:lnTo>
                  <a:lnTo>
                    <a:pt x="268" y="218"/>
                  </a:lnTo>
                  <a:lnTo>
                    <a:pt x="268" y="218"/>
                  </a:lnTo>
                  <a:lnTo>
                    <a:pt x="268" y="218"/>
                  </a:lnTo>
                  <a:lnTo>
                    <a:pt x="268" y="218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5" y="220"/>
                  </a:lnTo>
                  <a:lnTo>
                    <a:pt x="265" y="220"/>
                  </a:lnTo>
                  <a:lnTo>
                    <a:pt x="265" y="220"/>
                  </a:lnTo>
                  <a:lnTo>
                    <a:pt x="265" y="220"/>
                  </a:lnTo>
                  <a:lnTo>
                    <a:pt x="265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0"/>
                  </a:lnTo>
                  <a:lnTo>
                    <a:pt x="268" y="223"/>
                  </a:lnTo>
                  <a:lnTo>
                    <a:pt x="268" y="223"/>
                  </a:lnTo>
                  <a:lnTo>
                    <a:pt x="268" y="223"/>
                  </a:lnTo>
                  <a:lnTo>
                    <a:pt x="268" y="223"/>
                  </a:lnTo>
                  <a:lnTo>
                    <a:pt x="268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3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5" y="227"/>
                  </a:lnTo>
                  <a:lnTo>
                    <a:pt x="265" y="227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1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6" y="223"/>
                  </a:lnTo>
                  <a:lnTo>
                    <a:pt x="256" y="223"/>
                  </a:lnTo>
                  <a:lnTo>
                    <a:pt x="256" y="223"/>
                  </a:lnTo>
                  <a:lnTo>
                    <a:pt x="256" y="223"/>
                  </a:lnTo>
                  <a:lnTo>
                    <a:pt x="256" y="223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6" y="220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9" y="220"/>
                  </a:lnTo>
                  <a:lnTo>
                    <a:pt x="259" y="218"/>
                  </a:lnTo>
                  <a:lnTo>
                    <a:pt x="259" y="218"/>
                  </a:lnTo>
                  <a:lnTo>
                    <a:pt x="259" y="218"/>
                  </a:lnTo>
                  <a:lnTo>
                    <a:pt x="259" y="218"/>
                  </a:lnTo>
                  <a:lnTo>
                    <a:pt x="256" y="218"/>
                  </a:lnTo>
                  <a:lnTo>
                    <a:pt x="256" y="218"/>
                  </a:lnTo>
                  <a:lnTo>
                    <a:pt x="256" y="218"/>
                  </a:lnTo>
                  <a:lnTo>
                    <a:pt x="256" y="218"/>
                  </a:lnTo>
                  <a:lnTo>
                    <a:pt x="256" y="218"/>
                  </a:lnTo>
                  <a:lnTo>
                    <a:pt x="256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6" y="216"/>
                  </a:lnTo>
                  <a:lnTo>
                    <a:pt x="254" y="216"/>
                  </a:lnTo>
                  <a:lnTo>
                    <a:pt x="254" y="216"/>
                  </a:lnTo>
                  <a:lnTo>
                    <a:pt x="254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6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6" y="214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2" y="214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2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4" y="211"/>
                  </a:lnTo>
                  <a:lnTo>
                    <a:pt x="256" y="211"/>
                  </a:lnTo>
                  <a:lnTo>
                    <a:pt x="256" y="211"/>
                  </a:lnTo>
                  <a:lnTo>
                    <a:pt x="256" y="211"/>
                  </a:lnTo>
                  <a:lnTo>
                    <a:pt x="256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4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7"/>
                  </a:lnTo>
                  <a:lnTo>
                    <a:pt x="252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4" y="205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4" y="205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5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2" y="202"/>
                  </a:lnTo>
                  <a:lnTo>
                    <a:pt x="254" y="202"/>
                  </a:lnTo>
                  <a:lnTo>
                    <a:pt x="254" y="202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200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4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6" y="198"/>
                  </a:lnTo>
                  <a:lnTo>
                    <a:pt x="259" y="196"/>
                  </a:lnTo>
                  <a:lnTo>
                    <a:pt x="261" y="196"/>
                  </a:lnTo>
                  <a:lnTo>
                    <a:pt x="261" y="196"/>
                  </a:lnTo>
                  <a:lnTo>
                    <a:pt x="261" y="196"/>
                  </a:lnTo>
                  <a:lnTo>
                    <a:pt x="261" y="196"/>
                  </a:lnTo>
                  <a:lnTo>
                    <a:pt x="261" y="193"/>
                  </a:lnTo>
                  <a:lnTo>
                    <a:pt x="263" y="193"/>
                  </a:lnTo>
                  <a:lnTo>
                    <a:pt x="263" y="193"/>
                  </a:lnTo>
                  <a:lnTo>
                    <a:pt x="263" y="193"/>
                  </a:lnTo>
                  <a:lnTo>
                    <a:pt x="263" y="193"/>
                  </a:lnTo>
                  <a:lnTo>
                    <a:pt x="263" y="196"/>
                  </a:lnTo>
                  <a:lnTo>
                    <a:pt x="265" y="196"/>
                  </a:lnTo>
                  <a:lnTo>
                    <a:pt x="265" y="196"/>
                  </a:lnTo>
                  <a:lnTo>
                    <a:pt x="265" y="196"/>
                  </a:lnTo>
                  <a:lnTo>
                    <a:pt x="265" y="196"/>
                  </a:lnTo>
                  <a:lnTo>
                    <a:pt x="265" y="196"/>
                  </a:lnTo>
                  <a:lnTo>
                    <a:pt x="265" y="196"/>
                  </a:lnTo>
                  <a:lnTo>
                    <a:pt x="265" y="196"/>
                  </a:lnTo>
                  <a:lnTo>
                    <a:pt x="265" y="193"/>
                  </a:lnTo>
                  <a:lnTo>
                    <a:pt x="265" y="193"/>
                  </a:lnTo>
                  <a:lnTo>
                    <a:pt x="265" y="193"/>
                  </a:lnTo>
                  <a:lnTo>
                    <a:pt x="265" y="193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5" y="189"/>
                  </a:lnTo>
                  <a:lnTo>
                    <a:pt x="268" y="189"/>
                  </a:lnTo>
                  <a:lnTo>
                    <a:pt x="268" y="187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70" y="191"/>
                  </a:lnTo>
                  <a:lnTo>
                    <a:pt x="270" y="193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8" y="196"/>
                  </a:lnTo>
                  <a:close/>
                  <a:moveTo>
                    <a:pt x="133" y="0"/>
                  </a:move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7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2" y="9"/>
                  </a:lnTo>
                  <a:lnTo>
                    <a:pt x="142" y="7"/>
                  </a:lnTo>
                  <a:lnTo>
                    <a:pt x="142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3" y="14"/>
                  </a:lnTo>
                  <a:lnTo>
                    <a:pt x="153" y="14"/>
                  </a:lnTo>
                  <a:lnTo>
                    <a:pt x="153" y="14"/>
                  </a:lnTo>
                  <a:lnTo>
                    <a:pt x="153" y="14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0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2" y="18"/>
                  </a:lnTo>
                  <a:lnTo>
                    <a:pt x="164" y="20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18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5"/>
                  </a:lnTo>
                  <a:lnTo>
                    <a:pt x="164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71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5"/>
                  </a:lnTo>
                  <a:lnTo>
                    <a:pt x="173" y="23"/>
                  </a:lnTo>
                  <a:lnTo>
                    <a:pt x="173" y="23"/>
                  </a:lnTo>
                  <a:lnTo>
                    <a:pt x="173" y="23"/>
                  </a:lnTo>
                  <a:lnTo>
                    <a:pt x="173" y="23"/>
                  </a:lnTo>
                  <a:lnTo>
                    <a:pt x="175" y="23"/>
                  </a:lnTo>
                  <a:lnTo>
                    <a:pt x="175" y="20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8" y="23"/>
                  </a:lnTo>
                  <a:lnTo>
                    <a:pt x="178" y="23"/>
                  </a:lnTo>
                  <a:lnTo>
                    <a:pt x="178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3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5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78" y="29"/>
                  </a:lnTo>
                  <a:lnTo>
                    <a:pt x="180" y="29"/>
                  </a:lnTo>
                  <a:lnTo>
                    <a:pt x="180" y="29"/>
                  </a:lnTo>
                  <a:lnTo>
                    <a:pt x="180" y="32"/>
                  </a:lnTo>
                  <a:lnTo>
                    <a:pt x="180" y="32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2" y="32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4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4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7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89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1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6" y="36"/>
                  </a:lnTo>
                  <a:lnTo>
                    <a:pt x="196" y="36"/>
                  </a:lnTo>
                  <a:lnTo>
                    <a:pt x="196" y="36"/>
                  </a:lnTo>
                  <a:lnTo>
                    <a:pt x="196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198" y="38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0" y="38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8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07" y="38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7" y="41"/>
                  </a:lnTo>
                  <a:lnTo>
                    <a:pt x="209" y="41"/>
                  </a:lnTo>
                  <a:lnTo>
                    <a:pt x="209" y="41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09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3"/>
                  </a:lnTo>
                  <a:lnTo>
                    <a:pt x="211" y="45"/>
                  </a:lnTo>
                  <a:lnTo>
                    <a:pt x="211" y="45"/>
                  </a:lnTo>
                  <a:lnTo>
                    <a:pt x="211" y="45"/>
                  </a:lnTo>
                  <a:lnTo>
                    <a:pt x="211" y="45"/>
                  </a:lnTo>
                  <a:lnTo>
                    <a:pt x="214" y="45"/>
                  </a:lnTo>
                  <a:lnTo>
                    <a:pt x="214" y="45"/>
                  </a:lnTo>
                  <a:lnTo>
                    <a:pt x="214" y="45"/>
                  </a:lnTo>
                  <a:lnTo>
                    <a:pt x="214" y="45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4" y="43"/>
                  </a:lnTo>
                  <a:lnTo>
                    <a:pt x="216" y="43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6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18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0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3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5"/>
                  </a:lnTo>
                  <a:lnTo>
                    <a:pt x="225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7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29" y="47"/>
                  </a:lnTo>
                  <a:lnTo>
                    <a:pt x="232" y="47"/>
                  </a:lnTo>
                  <a:lnTo>
                    <a:pt x="232" y="47"/>
                  </a:lnTo>
                  <a:lnTo>
                    <a:pt x="234" y="47"/>
                  </a:lnTo>
                  <a:lnTo>
                    <a:pt x="234" y="47"/>
                  </a:lnTo>
                  <a:lnTo>
                    <a:pt x="236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8" y="50"/>
                  </a:lnTo>
                  <a:lnTo>
                    <a:pt x="236" y="52"/>
                  </a:lnTo>
                  <a:lnTo>
                    <a:pt x="236" y="52"/>
                  </a:lnTo>
                  <a:lnTo>
                    <a:pt x="236" y="52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6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4"/>
                  </a:lnTo>
                  <a:lnTo>
                    <a:pt x="234" y="56"/>
                  </a:lnTo>
                  <a:lnTo>
                    <a:pt x="234" y="56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2" y="56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2" y="59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1"/>
                  </a:lnTo>
                  <a:lnTo>
                    <a:pt x="232" y="63"/>
                  </a:lnTo>
                  <a:lnTo>
                    <a:pt x="232" y="63"/>
                  </a:lnTo>
                  <a:lnTo>
                    <a:pt x="232" y="63"/>
                  </a:lnTo>
                  <a:lnTo>
                    <a:pt x="232" y="63"/>
                  </a:lnTo>
                  <a:lnTo>
                    <a:pt x="232" y="63"/>
                  </a:lnTo>
                  <a:lnTo>
                    <a:pt x="232" y="63"/>
                  </a:lnTo>
                  <a:lnTo>
                    <a:pt x="229" y="63"/>
                  </a:lnTo>
                  <a:lnTo>
                    <a:pt x="229" y="63"/>
                  </a:lnTo>
                  <a:lnTo>
                    <a:pt x="229" y="65"/>
                  </a:lnTo>
                  <a:lnTo>
                    <a:pt x="229" y="65"/>
                  </a:lnTo>
                  <a:lnTo>
                    <a:pt x="229" y="65"/>
                  </a:lnTo>
                  <a:lnTo>
                    <a:pt x="229" y="65"/>
                  </a:lnTo>
                  <a:lnTo>
                    <a:pt x="229" y="68"/>
                  </a:lnTo>
                  <a:lnTo>
                    <a:pt x="229" y="68"/>
                  </a:lnTo>
                  <a:lnTo>
                    <a:pt x="229" y="68"/>
                  </a:lnTo>
                  <a:lnTo>
                    <a:pt x="229" y="68"/>
                  </a:lnTo>
                  <a:lnTo>
                    <a:pt x="227" y="68"/>
                  </a:lnTo>
                  <a:lnTo>
                    <a:pt x="227" y="68"/>
                  </a:lnTo>
                  <a:lnTo>
                    <a:pt x="227" y="70"/>
                  </a:lnTo>
                  <a:lnTo>
                    <a:pt x="227" y="70"/>
                  </a:lnTo>
                  <a:lnTo>
                    <a:pt x="227" y="70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9" y="72"/>
                  </a:lnTo>
                  <a:lnTo>
                    <a:pt x="227" y="72"/>
                  </a:lnTo>
                  <a:lnTo>
                    <a:pt x="227" y="72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79"/>
                  </a:lnTo>
                  <a:lnTo>
                    <a:pt x="227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3"/>
                  </a:lnTo>
                  <a:lnTo>
                    <a:pt x="225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3" y="86"/>
                  </a:lnTo>
                  <a:lnTo>
                    <a:pt x="220" y="86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20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8" y="83"/>
                  </a:lnTo>
                  <a:lnTo>
                    <a:pt x="216" y="86"/>
                  </a:lnTo>
                  <a:lnTo>
                    <a:pt x="216" y="86"/>
                  </a:lnTo>
                  <a:lnTo>
                    <a:pt x="216" y="86"/>
                  </a:lnTo>
                  <a:lnTo>
                    <a:pt x="216" y="86"/>
                  </a:lnTo>
                  <a:lnTo>
                    <a:pt x="216" y="86"/>
                  </a:lnTo>
                  <a:lnTo>
                    <a:pt x="216" y="86"/>
                  </a:lnTo>
                  <a:lnTo>
                    <a:pt x="216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6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8" y="88"/>
                  </a:lnTo>
                  <a:lnTo>
                    <a:pt x="216" y="88"/>
                  </a:lnTo>
                  <a:lnTo>
                    <a:pt x="218" y="88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4" y="92"/>
                  </a:lnTo>
                  <a:lnTo>
                    <a:pt x="214" y="92"/>
                  </a:lnTo>
                  <a:lnTo>
                    <a:pt x="214" y="92"/>
                  </a:lnTo>
                  <a:lnTo>
                    <a:pt x="214" y="92"/>
                  </a:lnTo>
                  <a:lnTo>
                    <a:pt x="214" y="92"/>
                  </a:lnTo>
                  <a:lnTo>
                    <a:pt x="214" y="92"/>
                  </a:lnTo>
                  <a:lnTo>
                    <a:pt x="211" y="92"/>
                  </a:lnTo>
                  <a:lnTo>
                    <a:pt x="211" y="92"/>
                  </a:lnTo>
                  <a:lnTo>
                    <a:pt x="211" y="92"/>
                  </a:lnTo>
                  <a:lnTo>
                    <a:pt x="211" y="95"/>
                  </a:lnTo>
                  <a:lnTo>
                    <a:pt x="211" y="95"/>
                  </a:lnTo>
                  <a:lnTo>
                    <a:pt x="211" y="95"/>
                  </a:lnTo>
                  <a:lnTo>
                    <a:pt x="209" y="95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7" y="97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99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5" y="101"/>
                  </a:lnTo>
                  <a:lnTo>
                    <a:pt x="202" y="103"/>
                  </a:lnTo>
                  <a:lnTo>
                    <a:pt x="202" y="103"/>
                  </a:lnTo>
                  <a:lnTo>
                    <a:pt x="202" y="103"/>
                  </a:lnTo>
                  <a:lnTo>
                    <a:pt x="202" y="106"/>
                  </a:lnTo>
                  <a:lnTo>
                    <a:pt x="202" y="106"/>
                  </a:lnTo>
                  <a:lnTo>
                    <a:pt x="202" y="106"/>
                  </a:lnTo>
                  <a:lnTo>
                    <a:pt x="200" y="106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202" y="108"/>
                  </a:lnTo>
                  <a:lnTo>
                    <a:pt x="202" y="108"/>
                  </a:lnTo>
                  <a:lnTo>
                    <a:pt x="202" y="110"/>
                  </a:lnTo>
                  <a:lnTo>
                    <a:pt x="202" y="110"/>
                  </a:lnTo>
                  <a:lnTo>
                    <a:pt x="202" y="110"/>
                  </a:lnTo>
                  <a:lnTo>
                    <a:pt x="202" y="110"/>
                  </a:lnTo>
                  <a:lnTo>
                    <a:pt x="202" y="112"/>
                  </a:lnTo>
                  <a:lnTo>
                    <a:pt x="202" y="112"/>
                  </a:lnTo>
                  <a:lnTo>
                    <a:pt x="202" y="112"/>
                  </a:lnTo>
                  <a:lnTo>
                    <a:pt x="202" y="112"/>
                  </a:lnTo>
                  <a:lnTo>
                    <a:pt x="202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2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0" y="115"/>
                  </a:lnTo>
                  <a:lnTo>
                    <a:pt x="202" y="115"/>
                  </a:lnTo>
                  <a:lnTo>
                    <a:pt x="202" y="115"/>
                  </a:lnTo>
                  <a:lnTo>
                    <a:pt x="202" y="115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2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7" y="108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4" y="108"/>
                  </a:lnTo>
                  <a:lnTo>
                    <a:pt x="214" y="108"/>
                  </a:lnTo>
                  <a:lnTo>
                    <a:pt x="214" y="108"/>
                  </a:lnTo>
                  <a:lnTo>
                    <a:pt x="214" y="108"/>
                  </a:lnTo>
                  <a:lnTo>
                    <a:pt x="214" y="108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6" y="110"/>
                  </a:lnTo>
                  <a:lnTo>
                    <a:pt x="216" y="112"/>
                  </a:lnTo>
                  <a:lnTo>
                    <a:pt x="216" y="112"/>
                  </a:lnTo>
                  <a:lnTo>
                    <a:pt x="214" y="112"/>
                  </a:lnTo>
                  <a:lnTo>
                    <a:pt x="214" y="115"/>
                  </a:lnTo>
                  <a:lnTo>
                    <a:pt x="214" y="115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20" y="119"/>
                  </a:lnTo>
                  <a:lnTo>
                    <a:pt x="220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1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6" y="126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26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18" y="128"/>
                  </a:lnTo>
                  <a:lnTo>
                    <a:pt x="220" y="130"/>
                  </a:lnTo>
                  <a:lnTo>
                    <a:pt x="220" y="130"/>
                  </a:lnTo>
                  <a:lnTo>
                    <a:pt x="220" y="130"/>
                  </a:lnTo>
                  <a:lnTo>
                    <a:pt x="220" y="130"/>
                  </a:lnTo>
                  <a:lnTo>
                    <a:pt x="220" y="130"/>
                  </a:lnTo>
                  <a:lnTo>
                    <a:pt x="220" y="130"/>
                  </a:lnTo>
                  <a:lnTo>
                    <a:pt x="223" y="130"/>
                  </a:lnTo>
                  <a:lnTo>
                    <a:pt x="223" y="130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20" y="133"/>
                  </a:lnTo>
                  <a:lnTo>
                    <a:pt x="220" y="135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0" y="137"/>
                  </a:lnTo>
                  <a:lnTo>
                    <a:pt x="220" y="137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20" y="135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4" y="137"/>
                  </a:lnTo>
                  <a:lnTo>
                    <a:pt x="211" y="139"/>
                  </a:lnTo>
                  <a:lnTo>
                    <a:pt x="211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39"/>
                  </a:lnTo>
                  <a:lnTo>
                    <a:pt x="214" y="142"/>
                  </a:lnTo>
                  <a:lnTo>
                    <a:pt x="214" y="142"/>
                  </a:lnTo>
                  <a:lnTo>
                    <a:pt x="214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20" y="144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6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20" y="148"/>
                  </a:lnTo>
                  <a:lnTo>
                    <a:pt x="218" y="148"/>
                  </a:lnTo>
                  <a:lnTo>
                    <a:pt x="218" y="148"/>
                  </a:lnTo>
                  <a:lnTo>
                    <a:pt x="218" y="148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53"/>
                  </a:lnTo>
                  <a:lnTo>
                    <a:pt x="218" y="153"/>
                  </a:lnTo>
                  <a:lnTo>
                    <a:pt x="218" y="153"/>
                  </a:lnTo>
                  <a:lnTo>
                    <a:pt x="218" y="153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5"/>
                  </a:lnTo>
                  <a:lnTo>
                    <a:pt x="218" y="157"/>
                  </a:lnTo>
                  <a:lnTo>
                    <a:pt x="218" y="157"/>
                  </a:lnTo>
                  <a:lnTo>
                    <a:pt x="218" y="157"/>
                  </a:lnTo>
                  <a:lnTo>
                    <a:pt x="218" y="157"/>
                  </a:lnTo>
                  <a:lnTo>
                    <a:pt x="218" y="157"/>
                  </a:lnTo>
                  <a:lnTo>
                    <a:pt x="220" y="157"/>
                  </a:lnTo>
                  <a:lnTo>
                    <a:pt x="220" y="157"/>
                  </a:lnTo>
                  <a:lnTo>
                    <a:pt x="220" y="157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0" y="160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27" y="162"/>
                  </a:lnTo>
                  <a:lnTo>
                    <a:pt x="232" y="162"/>
                  </a:lnTo>
                  <a:lnTo>
                    <a:pt x="232" y="162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2" y="162"/>
                  </a:lnTo>
                  <a:lnTo>
                    <a:pt x="234" y="162"/>
                  </a:lnTo>
                  <a:lnTo>
                    <a:pt x="234" y="162"/>
                  </a:lnTo>
                  <a:lnTo>
                    <a:pt x="234" y="162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4" y="164"/>
                  </a:lnTo>
                  <a:lnTo>
                    <a:pt x="232" y="164"/>
                  </a:lnTo>
                  <a:lnTo>
                    <a:pt x="232" y="164"/>
                  </a:lnTo>
                  <a:lnTo>
                    <a:pt x="232" y="164"/>
                  </a:lnTo>
                  <a:lnTo>
                    <a:pt x="232" y="166"/>
                  </a:lnTo>
                  <a:lnTo>
                    <a:pt x="232" y="166"/>
                  </a:lnTo>
                  <a:lnTo>
                    <a:pt x="229" y="166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69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9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5" y="171"/>
                  </a:lnTo>
                  <a:lnTo>
                    <a:pt x="225" y="171"/>
                  </a:lnTo>
                  <a:lnTo>
                    <a:pt x="225" y="173"/>
                  </a:lnTo>
                  <a:lnTo>
                    <a:pt x="225" y="173"/>
                  </a:lnTo>
                  <a:lnTo>
                    <a:pt x="225" y="173"/>
                  </a:lnTo>
                  <a:lnTo>
                    <a:pt x="225" y="173"/>
                  </a:lnTo>
                  <a:lnTo>
                    <a:pt x="225" y="173"/>
                  </a:lnTo>
                  <a:lnTo>
                    <a:pt x="225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3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3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5"/>
                  </a:lnTo>
                  <a:lnTo>
                    <a:pt x="220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8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78"/>
                  </a:lnTo>
                  <a:lnTo>
                    <a:pt x="216" y="180"/>
                  </a:lnTo>
                  <a:lnTo>
                    <a:pt x="216" y="180"/>
                  </a:lnTo>
                  <a:lnTo>
                    <a:pt x="216" y="180"/>
                  </a:lnTo>
                  <a:lnTo>
                    <a:pt x="216" y="180"/>
                  </a:lnTo>
                  <a:lnTo>
                    <a:pt x="216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0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6" y="182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4" y="184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11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9" y="187"/>
                  </a:lnTo>
                  <a:lnTo>
                    <a:pt x="209" y="187"/>
                  </a:lnTo>
                  <a:lnTo>
                    <a:pt x="209" y="187"/>
                  </a:lnTo>
                  <a:lnTo>
                    <a:pt x="209" y="187"/>
                  </a:lnTo>
                  <a:lnTo>
                    <a:pt x="209" y="184"/>
                  </a:lnTo>
                  <a:lnTo>
                    <a:pt x="209" y="184"/>
                  </a:lnTo>
                  <a:lnTo>
                    <a:pt x="207" y="184"/>
                  </a:lnTo>
                  <a:lnTo>
                    <a:pt x="207" y="184"/>
                  </a:lnTo>
                  <a:lnTo>
                    <a:pt x="207" y="184"/>
                  </a:lnTo>
                  <a:lnTo>
                    <a:pt x="207" y="184"/>
                  </a:lnTo>
                  <a:lnTo>
                    <a:pt x="207" y="184"/>
                  </a:lnTo>
                  <a:lnTo>
                    <a:pt x="207" y="184"/>
                  </a:lnTo>
                  <a:lnTo>
                    <a:pt x="205" y="184"/>
                  </a:lnTo>
                  <a:lnTo>
                    <a:pt x="205" y="184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5" y="187"/>
                  </a:lnTo>
                  <a:lnTo>
                    <a:pt x="202" y="187"/>
                  </a:lnTo>
                  <a:lnTo>
                    <a:pt x="202" y="187"/>
                  </a:lnTo>
                  <a:lnTo>
                    <a:pt x="202" y="184"/>
                  </a:lnTo>
                  <a:lnTo>
                    <a:pt x="202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4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200" y="187"/>
                  </a:lnTo>
                  <a:lnTo>
                    <a:pt x="198" y="187"/>
                  </a:lnTo>
                  <a:lnTo>
                    <a:pt x="198" y="187"/>
                  </a:lnTo>
                  <a:lnTo>
                    <a:pt x="198" y="187"/>
                  </a:lnTo>
                  <a:lnTo>
                    <a:pt x="198" y="187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6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91" y="182"/>
                  </a:lnTo>
                  <a:lnTo>
                    <a:pt x="191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2"/>
                  </a:lnTo>
                  <a:lnTo>
                    <a:pt x="189" y="180"/>
                  </a:lnTo>
                  <a:lnTo>
                    <a:pt x="189" y="180"/>
                  </a:lnTo>
                  <a:lnTo>
                    <a:pt x="187" y="180"/>
                  </a:lnTo>
                  <a:lnTo>
                    <a:pt x="187" y="180"/>
                  </a:lnTo>
                  <a:lnTo>
                    <a:pt x="184" y="180"/>
                  </a:lnTo>
                  <a:lnTo>
                    <a:pt x="184" y="180"/>
                  </a:lnTo>
                  <a:lnTo>
                    <a:pt x="184" y="180"/>
                  </a:lnTo>
                  <a:lnTo>
                    <a:pt x="182" y="180"/>
                  </a:lnTo>
                  <a:lnTo>
                    <a:pt x="182" y="180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7" y="175"/>
                  </a:lnTo>
                  <a:lnTo>
                    <a:pt x="187" y="178"/>
                  </a:lnTo>
                  <a:lnTo>
                    <a:pt x="187" y="178"/>
                  </a:lnTo>
                  <a:lnTo>
                    <a:pt x="184" y="178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5"/>
                  </a:lnTo>
                  <a:lnTo>
                    <a:pt x="182" y="178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4" y="178"/>
                  </a:lnTo>
                  <a:lnTo>
                    <a:pt x="182" y="178"/>
                  </a:lnTo>
                  <a:lnTo>
                    <a:pt x="182" y="178"/>
                  </a:lnTo>
                  <a:lnTo>
                    <a:pt x="182" y="178"/>
                  </a:lnTo>
                  <a:lnTo>
                    <a:pt x="180" y="178"/>
                  </a:lnTo>
                  <a:lnTo>
                    <a:pt x="180" y="178"/>
                  </a:lnTo>
                  <a:lnTo>
                    <a:pt x="180" y="178"/>
                  </a:lnTo>
                  <a:lnTo>
                    <a:pt x="180" y="178"/>
                  </a:lnTo>
                  <a:lnTo>
                    <a:pt x="180" y="178"/>
                  </a:lnTo>
                  <a:lnTo>
                    <a:pt x="180" y="180"/>
                  </a:lnTo>
                  <a:lnTo>
                    <a:pt x="180" y="180"/>
                  </a:lnTo>
                  <a:lnTo>
                    <a:pt x="180" y="180"/>
                  </a:lnTo>
                  <a:lnTo>
                    <a:pt x="180" y="180"/>
                  </a:lnTo>
                  <a:lnTo>
                    <a:pt x="180" y="178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80" y="180"/>
                  </a:lnTo>
                  <a:lnTo>
                    <a:pt x="180" y="180"/>
                  </a:lnTo>
                  <a:lnTo>
                    <a:pt x="180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5" y="178"/>
                  </a:lnTo>
                  <a:lnTo>
                    <a:pt x="173" y="178"/>
                  </a:lnTo>
                  <a:lnTo>
                    <a:pt x="169" y="178"/>
                  </a:lnTo>
                  <a:lnTo>
                    <a:pt x="166" y="178"/>
                  </a:lnTo>
                  <a:lnTo>
                    <a:pt x="166" y="178"/>
                  </a:lnTo>
                  <a:lnTo>
                    <a:pt x="166" y="178"/>
                  </a:lnTo>
                  <a:lnTo>
                    <a:pt x="166" y="175"/>
                  </a:lnTo>
                  <a:lnTo>
                    <a:pt x="166" y="175"/>
                  </a:lnTo>
                  <a:lnTo>
                    <a:pt x="166" y="175"/>
                  </a:lnTo>
                  <a:lnTo>
                    <a:pt x="166" y="175"/>
                  </a:lnTo>
                  <a:lnTo>
                    <a:pt x="164" y="175"/>
                  </a:lnTo>
                  <a:lnTo>
                    <a:pt x="164" y="175"/>
                  </a:lnTo>
                  <a:lnTo>
                    <a:pt x="162" y="175"/>
                  </a:lnTo>
                  <a:lnTo>
                    <a:pt x="164" y="175"/>
                  </a:lnTo>
                  <a:lnTo>
                    <a:pt x="164" y="175"/>
                  </a:lnTo>
                  <a:lnTo>
                    <a:pt x="164" y="175"/>
                  </a:lnTo>
                  <a:lnTo>
                    <a:pt x="164" y="175"/>
                  </a:lnTo>
                  <a:lnTo>
                    <a:pt x="164" y="173"/>
                  </a:lnTo>
                  <a:lnTo>
                    <a:pt x="166" y="173"/>
                  </a:lnTo>
                  <a:lnTo>
                    <a:pt x="166" y="173"/>
                  </a:lnTo>
                  <a:lnTo>
                    <a:pt x="164" y="173"/>
                  </a:lnTo>
                  <a:lnTo>
                    <a:pt x="164" y="173"/>
                  </a:lnTo>
                  <a:lnTo>
                    <a:pt x="164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0" y="175"/>
                  </a:lnTo>
                  <a:lnTo>
                    <a:pt x="160" y="175"/>
                  </a:lnTo>
                  <a:lnTo>
                    <a:pt x="160" y="178"/>
                  </a:lnTo>
                  <a:lnTo>
                    <a:pt x="160" y="178"/>
                  </a:lnTo>
                  <a:lnTo>
                    <a:pt x="158" y="178"/>
                  </a:lnTo>
                  <a:lnTo>
                    <a:pt x="158" y="178"/>
                  </a:lnTo>
                  <a:lnTo>
                    <a:pt x="160" y="178"/>
                  </a:lnTo>
                  <a:lnTo>
                    <a:pt x="160" y="178"/>
                  </a:lnTo>
                  <a:lnTo>
                    <a:pt x="160" y="178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2" y="175"/>
                  </a:lnTo>
                  <a:lnTo>
                    <a:pt x="160" y="178"/>
                  </a:lnTo>
                  <a:lnTo>
                    <a:pt x="158" y="180"/>
                  </a:lnTo>
                  <a:lnTo>
                    <a:pt x="155" y="180"/>
                  </a:lnTo>
                  <a:lnTo>
                    <a:pt x="155" y="182"/>
                  </a:lnTo>
                  <a:lnTo>
                    <a:pt x="155" y="182"/>
                  </a:lnTo>
                  <a:lnTo>
                    <a:pt x="153" y="180"/>
                  </a:lnTo>
                  <a:lnTo>
                    <a:pt x="153" y="182"/>
                  </a:lnTo>
                  <a:lnTo>
                    <a:pt x="153" y="182"/>
                  </a:lnTo>
                  <a:lnTo>
                    <a:pt x="151" y="182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9" y="187"/>
                  </a:lnTo>
                  <a:lnTo>
                    <a:pt x="149" y="187"/>
                  </a:lnTo>
                  <a:lnTo>
                    <a:pt x="149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4"/>
                  </a:lnTo>
                  <a:lnTo>
                    <a:pt x="149" y="184"/>
                  </a:lnTo>
                  <a:lnTo>
                    <a:pt x="149" y="184"/>
                  </a:lnTo>
                  <a:lnTo>
                    <a:pt x="146" y="184"/>
                  </a:lnTo>
                  <a:lnTo>
                    <a:pt x="146" y="184"/>
                  </a:lnTo>
                  <a:lnTo>
                    <a:pt x="146" y="184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9" y="187"/>
                  </a:lnTo>
                  <a:lnTo>
                    <a:pt x="149" y="187"/>
                  </a:lnTo>
                  <a:lnTo>
                    <a:pt x="149" y="187"/>
                  </a:lnTo>
                  <a:lnTo>
                    <a:pt x="146" y="187"/>
                  </a:lnTo>
                  <a:lnTo>
                    <a:pt x="146" y="187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89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6" y="191"/>
                  </a:lnTo>
                  <a:lnTo>
                    <a:pt x="144" y="191"/>
                  </a:lnTo>
                  <a:lnTo>
                    <a:pt x="144" y="191"/>
                  </a:lnTo>
                  <a:lnTo>
                    <a:pt x="146" y="191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3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9" y="200"/>
                  </a:lnTo>
                  <a:lnTo>
                    <a:pt x="149" y="200"/>
                  </a:lnTo>
                  <a:lnTo>
                    <a:pt x="149" y="200"/>
                  </a:lnTo>
                  <a:lnTo>
                    <a:pt x="149" y="202"/>
                  </a:lnTo>
                  <a:lnTo>
                    <a:pt x="149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42" y="200"/>
                  </a:lnTo>
                  <a:lnTo>
                    <a:pt x="142" y="200"/>
                  </a:lnTo>
                  <a:lnTo>
                    <a:pt x="142" y="200"/>
                  </a:lnTo>
                  <a:lnTo>
                    <a:pt x="142" y="200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2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40" y="202"/>
                  </a:lnTo>
                  <a:lnTo>
                    <a:pt x="137" y="202"/>
                  </a:lnTo>
                  <a:lnTo>
                    <a:pt x="140" y="202"/>
                  </a:lnTo>
                  <a:lnTo>
                    <a:pt x="140" y="205"/>
                  </a:lnTo>
                  <a:lnTo>
                    <a:pt x="140" y="205"/>
                  </a:lnTo>
                  <a:lnTo>
                    <a:pt x="137" y="205"/>
                  </a:lnTo>
                  <a:lnTo>
                    <a:pt x="137" y="205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5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3" y="202"/>
                  </a:lnTo>
                  <a:lnTo>
                    <a:pt x="131" y="202"/>
                  </a:lnTo>
                  <a:lnTo>
                    <a:pt x="131" y="202"/>
                  </a:lnTo>
                  <a:lnTo>
                    <a:pt x="131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4" y="202"/>
                  </a:lnTo>
                  <a:lnTo>
                    <a:pt x="124" y="202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19" y="200"/>
                  </a:lnTo>
                  <a:lnTo>
                    <a:pt x="122" y="200"/>
                  </a:lnTo>
                  <a:lnTo>
                    <a:pt x="122" y="198"/>
                  </a:lnTo>
                  <a:lnTo>
                    <a:pt x="122" y="198"/>
                  </a:lnTo>
                  <a:lnTo>
                    <a:pt x="122" y="198"/>
                  </a:lnTo>
                  <a:lnTo>
                    <a:pt x="122" y="198"/>
                  </a:lnTo>
                  <a:lnTo>
                    <a:pt x="122" y="198"/>
                  </a:lnTo>
                  <a:lnTo>
                    <a:pt x="122" y="198"/>
                  </a:lnTo>
                  <a:lnTo>
                    <a:pt x="122" y="198"/>
                  </a:lnTo>
                  <a:lnTo>
                    <a:pt x="119" y="198"/>
                  </a:lnTo>
                  <a:lnTo>
                    <a:pt x="119" y="198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17" y="196"/>
                  </a:lnTo>
                  <a:lnTo>
                    <a:pt x="115" y="196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5" y="196"/>
                  </a:lnTo>
                  <a:lnTo>
                    <a:pt x="115" y="196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3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6"/>
                  </a:lnTo>
                  <a:lnTo>
                    <a:pt x="110" y="193"/>
                  </a:lnTo>
                  <a:lnTo>
                    <a:pt x="108" y="193"/>
                  </a:lnTo>
                  <a:lnTo>
                    <a:pt x="108" y="193"/>
                  </a:lnTo>
                  <a:lnTo>
                    <a:pt x="108" y="193"/>
                  </a:lnTo>
                  <a:lnTo>
                    <a:pt x="108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6" y="193"/>
                  </a:lnTo>
                  <a:lnTo>
                    <a:pt x="104" y="193"/>
                  </a:lnTo>
                  <a:lnTo>
                    <a:pt x="104" y="193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101" y="191"/>
                  </a:lnTo>
                  <a:lnTo>
                    <a:pt x="99" y="191"/>
                  </a:lnTo>
                  <a:lnTo>
                    <a:pt x="101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101" y="193"/>
                  </a:lnTo>
                  <a:lnTo>
                    <a:pt x="101" y="196"/>
                  </a:lnTo>
                  <a:lnTo>
                    <a:pt x="101" y="196"/>
                  </a:lnTo>
                  <a:lnTo>
                    <a:pt x="101" y="196"/>
                  </a:lnTo>
                  <a:lnTo>
                    <a:pt x="99" y="196"/>
                  </a:lnTo>
                  <a:lnTo>
                    <a:pt x="99" y="196"/>
                  </a:lnTo>
                  <a:lnTo>
                    <a:pt x="97" y="196"/>
                  </a:lnTo>
                  <a:lnTo>
                    <a:pt x="97" y="196"/>
                  </a:lnTo>
                  <a:lnTo>
                    <a:pt x="97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5" y="196"/>
                  </a:lnTo>
                  <a:lnTo>
                    <a:pt x="92" y="196"/>
                  </a:lnTo>
                  <a:lnTo>
                    <a:pt x="92" y="196"/>
                  </a:lnTo>
                  <a:lnTo>
                    <a:pt x="92" y="196"/>
                  </a:lnTo>
                  <a:lnTo>
                    <a:pt x="92" y="196"/>
                  </a:lnTo>
                  <a:lnTo>
                    <a:pt x="92" y="196"/>
                  </a:lnTo>
                  <a:lnTo>
                    <a:pt x="90" y="193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6" y="193"/>
                  </a:lnTo>
                  <a:lnTo>
                    <a:pt x="86" y="193"/>
                  </a:lnTo>
                  <a:lnTo>
                    <a:pt x="86" y="193"/>
                  </a:lnTo>
                  <a:lnTo>
                    <a:pt x="86" y="193"/>
                  </a:lnTo>
                  <a:lnTo>
                    <a:pt x="86" y="193"/>
                  </a:lnTo>
                  <a:lnTo>
                    <a:pt x="86" y="193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3" y="193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1" y="191"/>
                  </a:lnTo>
                  <a:lnTo>
                    <a:pt x="81" y="193"/>
                  </a:lnTo>
                  <a:lnTo>
                    <a:pt x="79" y="193"/>
                  </a:lnTo>
                  <a:lnTo>
                    <a:pt x="79" y="193"/>
                  </a:lnTo>
                  <a:lnTo>
                    <a:pt x="79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3"/>
                  </a:lnTo>
                  <a:lnTo>
                    <a:pt x="77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91"/>
                  </a:lnTo>
                  <a:lnTo>
                    <a:pt x="74" y="189"/>
                  </a:lnTo>
                  <a:lnTo>
                    <a:pt x="72" y="189"/>
                  </a:lnTo>
                  <a:lnTo>
                    <a:pt x="72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65" y="189"/>
                  </a:lnTo>
                  <a:lnTo>
                    <a:pt x="65" y="187"/>
                  </a:lnTo>
                  <a:lnTo>
                    <a:pt x="65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4"/>
                  </a:lnTo>
                  <a:lnTo>
                    <a:pt x="63" y="184"/>
                  </a:lnTo>
                  <a:lnTo>
                    <a:pt x="63" y="184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3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61" y="187"/>
                  </a:lnTo>
                  <a:lnTo>
                    <a:pt x="59" y="187"/>
                  </a:lnTo>
                  <a:lnTo>
                    <a:pt x="59" y="187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4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61" y="182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59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2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6" y="180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2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9" y="178"/>
                  </a:lnTo>
                  <a:lnTo>
                    <a:pt x="59" y="178"/>
                  </a:lnTo>
                  <a:lnTo>
                    <a:pt x="59" y="178"/>
                  </a:lnTo>
                  <a:lnTo>
                    <a:pt x="59" y="175"/>
                  </a:lnTo>
                  <a:lnTo>
                    <a:pt x="59" y="175"/>
                  </a:lnTo>
                  <a:lnTo>
                    <a:pt x="59" y="175"/>
                  </a:lnTo>
                  <a:lnTo>
                    <a:pt x="59" y="175"/>
                  </a:lnTo>
                  <a:lnTo>
                    <a:pt x="61" y="175"/>
                  </a:lnTo>
                  <a:lnTo>
                    <a:pt x="61" y="173"/>
                  </a:lnTo>
                  <a:lnTo>
                    <a:pt x="61" y="173"/>
                  </a:lnTo>
                  <a:lnTo>
                    <a:pt x="61" y="169"/>
                  </a:lnTo>
                  <a:lnTo>
                    <a:pt x="61" y="166"/>
                  </a:lnTo>
                  <a:lnTo>
                    <a:pt x="63" y="164"/>
                  </a:lnTo>
                  <a:lnTo>
                    <a:pt x="63" y="157"/>
                  </a:lnTo>
                  <a:lnTo>
                    <a:pt x="63" y="155"/>
                  </a:lnTo>
                  <a:lnTo>
                    <a:pt x="65" y="153"/>
                  </a:lnTo>
                  <a:lnTo>
                    <a:pt x="65" y="153"/>
                  </a:lnTo>
                  <a:lnTo>
                    <a:pt x="63" y="151"/>
                  </a:lnTo>
                  <a:lnTo>
                    <a:pt x="63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51"/>
                  </a:lnTo>
                  <a:lnTo>
                    <a:pt x="65" y="148"/>
                  </a:lnTo>
                  <a:lnTo>
                    <a:pt x="65" y="148"/>
                  </a:lnTo>
                  <a:lnTo>
                    <a:pt x="65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8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3" y="151"/>
                  </a:lnTo>
                  <a:lnTo>
                    <a:pt x="65" y="137"/>
                  </a:lnTo>
                  <a:lnTo>
                    <a:pt x="65" y="135"/>
                  </a:lnTo>
                  <a:lnTo>
                    <a:pt x="68" y="130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68" y="128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2" y="133"/>
                  </a:lnTo>
                  <a:lnTo>
                    <a:pt x="74" y="133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4" y="135"/>
                  </a:lnTo>
                  <a:lnTo>
                    <a:pt x="74" y="137"/>
                  </a:lnTo>
                  <a:lnTo>
                    <a:pt x="74" y="137"/>
                  </a:lnTo>
                  <a:lnTo>
                    <a:pt x="74" y="139"/>
                  </a:lnTo>
                  <a:lnTo>
                    <a:pt x="77" y="139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44"/>
                  </a:lnTo>
                  <a:lnTo>
                    <a:pt x="77" y="144"/>
                  </a:lnTo>
                  <a:lnTo>
                    <a:pt x="79" y="144"/>
                  </a:lnTo>
                  <a:lnTo>
                    <a:pt x="79" y="144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77" y="142"/>
                  </a:lnTo>
                  <a:lnTo>
                    <a:pt x="77" y="142"/>
                  </a:lnTo>
                  <a:lnTo>
                    <a:pt x="77" y="139"/>
                  </a:lnTo>
                  <a:lnTo>
                    <a:pt x="77" y="139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79" y="142"/>
                  </a:lnTo>
                  <a:lnTo>
                    <a:pt x="79" y="139"/>
                  </a:lnTo>
                  <a:lnTo>
                    <a:pt x="77" y="139"/>
                  </a:lnTo>
                  <a:lnTo>
                    <a:pt x="77" y="139"/>
                  </a:lnTo>
                  <a:lnTo>
                    <a:pt x="77" y="139"/>
                  </a:lnTo>
                  <a:lnTo>
                    <a:pt x="77" y="139"/>
                  </a:lnTo>
                  <a:lnTo>
                    <a:pt x="74" y="137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2" y="130"/>
                  </a:lnTo>
                  <a:lnTo>
                    <a:pt x="72" y="128"/>
                  </a:lnTo>
                  <a:lnTo>
                    <a:pt x="70" y="128"/>
                  </a:lnTo>
                  <a:lnTo>
                    <a:pt x="70" y="128"/>
                  </a:lnTo>
                  <a:lnTo>
                    <a:pt x="70" y="126"/>
                  </a:lnTo>
                  <a:lnTo>
                    <a:pt x="70" y="126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8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68" y="124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5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7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5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59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2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47" y="92"/>
                  </a:lnTo>
                  <a:lnTo>
                    <a:pt x="45" y="92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0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5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41" y="83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32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32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2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2" y="72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7" y="68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9" y="65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5" y="59"/>
                  </a:lnTo>
                  <a:lnTo>
                    <a:pt x="2" y="59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4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3" y="34"/>
                  </a:lnTo>
                  <a:lnTo>
                    <a:pt x="63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70" y="38"/>
                  </a:lnTo>
                  <a:lnTo>
                    <a:pt x="72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5" y="38"/>
                  </a:lnTo>
                  <a:lnTo>
                    <a:pt x="97" y="38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8"/>
                  </a:lnTo>
                  <a:lnTo>
                    <a:pt x="95" y="38"/>
                  </a:lnTo>
                  <a:lnTo>
                    <a:pt x="92" y="38"/>
                  </a:lnTo>
                  <a:lnTo>
                    <a:pt x="92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4"/>
                  </a:lnTo>
                  <a:lnTo>
                    <a:pt x="90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7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10" y="27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3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close/>
                  <a:moveTo>
                    <a:pt x="126" y="200"/>
                  </a:move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close/>
                </a:path>
              </a:pathLst>
            </a:custGeom>
            <a:solidFill>
              <a:srgbClr val="FF6200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3" name="Freeform 600"/>
            <p:cNvSpPr>
              <a:spLocks noEditPoints="1"/>
            </p:cNvSpPr>
            <p:nvPr/>
          </p:nvSpPr>
          <p:spPr bwMode="auto">
            <a:xfrm>
              <a:off x="6169065" y="1259715"/>
              <a:ext cx="334285" cy="356013"/>
            </a:xfrm>
            <a:custGeom>
              <a:avLst/>
              <a:gdLst>
                <a:gd name="T0" fmla="*/ 70 w 200"/>
                <a:gd name="T1" fmla="*/ 207 h 213"/>
                <a:gd name="T2" fmla="*/ 63 w 200"/>
                <a:gd name="T3" fmla="*/ 209 h 213"/>
                <a:gd name="T4" fmla="*/ 68 w 200"/>
                <a:gd name="T5" fmla="*/ 204 h 213"/>
                <a:gd name="T6" fmla="*/ 126 w 200"/>
                <a:gd name="T7" fmla="*/ 16 h 213"/>
                <a:gd name="T8" fmla="*/ 151 w 200"/>
                <a:gd name="T9" fmla="*/ 49 h 213"/>
                <a:gd name="T10" fmla="*/ 162 w 200"/>
                <a:gd name="T11" fmla="*/ 85 h 213"/>
                <a:gd name="T12" fmla="*/ 158 w 200"/>
                <a:gd name="T13" fmla="*/ 101 h 213"/>
                <a:gd name="T14" fmla="*/ 167 w 200"/>
                <a:gd name="T15" fmla="*/ 112 h 213"/>
                <a:gd name="T16" fmla="*/ 180 w 200"/>
                <a:gd name="T17" fmla="*/ 135 h 213"/>
                <a:gd name="T18" fmla="*/ 196 w 200"/>
                <a:gd name="T19" fmla="*/ 157 h 213"/>
                <a:gd name="T20" fmla="*/ 164 w 200"/>
                <a:gd name="T21" fmla="*/ 186 h 213"/>
                <a:gd name="T22" fmla="*/ 149 w 200"/>
                <a:gd name="T23" fmla="*/ 198 h 213"/>
                <a:gd name="T24" fmla="*/ 140 w 200"/>
                <a:gd name="T25" fmla="*/ 198 h 213"/>
                <a:gd name="T26" fmla="*/ 133 w 200"/>
                <a:gd name="T27" fmla="*/ 200 h 213"/>
                <a:gd name="T28" fmla="*/ 131 w 200"/>
                <a:gd name="T29" fmla="*/ 195 h 213"/>
                <a:gd name="T30" fmla="*/ 122 w 200"/>
                <a:gd name="T31" fmla="*/ 200 h 213"/>
                <a:gd name="T32" fmla="*/ 119 w 200"/>
                <a:gd name="T33" fmla="*/ 202 h 213"/>
                <a:gd name="T34" fmla="*/ 115 w 200"/>
                <a:gd name="T35" fmla="*/ 202 h 213"/>
                <a:gd name="T36" fmla="*/ 108 w 200"/>
                <a:gd name="T37" fmla="*/ 204 h 213"/>
                <a:gd name="T38" fmla="*/ 99 w 200"/>
                <a:gd name="T39" fmla="*/ 207 h 213"/>
                <a:gd name="T40" fmla="*/ 97 w 200"/>
                <a:gd name="T41" fmla="*/ 209 h 213"/>
                <a:gd name="T42" fmla="*/ 88 w 200"/>
                <a:gd name="T43" fmla="*/ 209 h 213"/>
                <a:gd name="T44" fmla="*/ 79 w 200"/>
                <a:gd name="T45" fmla="*/ 209 h 213"/>
                <a:gd name="T46" fmla="*/ 77 w 200"/>
                <a:gd name="T47" fmla="*/ 209 h 213"/>
                <a:gd name="T48" fmla="*/ 72 w 200"/>
                <a:gd name="T49" fmla="*/ 207 h 213"/>
                <a:gd name="T50" fmla="*/ 63 w 200"/>
                <a:gd name="T51" fmla="*/ 204 h 213"/>
                <a:gd name="T52" fmla="*/ 54 w 200"/>
                <a:gd name="T53" fmla="*/ 200 h 213"/>
                <a:gd name="T54" fmla="*/ 50 w 200"/>
                <a:gd name="T55" fmla="*/ 195 h 213"/>
                <a:gd name="T56" fmla="*/ 43 w 200"/>
                <a:gd name="T57" fmla="*/ 195 h 213"/>
                <a:gd name="T58" fmla="*/ 41 w 200"/>
                <a:gd name="T59" fmla="*/ 191 h 213"/>
                <a:gd name="T60" fmla="*/ 41 w 200"/>
                <a:gd name="T61" fmla="*/ 186 h 213"/>
                <a:gd name="T62" fmla="*/ 43 w 200"/>
                <a:gd name="T63" fmla="*/ 182 h 213"/>
                <a:gd name="T64" fmla="*/ 43 w 200"/>
                <a:gd name="T65" fmla="*/ 175 h 213"/>
                <a:gd name="T66" fmla="*/ 39 w 200"/>
                <a:gd name="T67" fmla="*/ 168 h 213"/>
                <a:gd name="T68" fmla="*/ 34 w 200"/>
                <a:gd name="T69" fmla="*/ 157 h 213"/>
                <a:gd name="T70" fmla="*/ 34 w 200"/>
                <a:gd name="T71" fmla="*/ 153 h 213"/>
                <a:gd name="T72" fmla="*/ 34 w 200"/>
                <a:gd name="T73" fmla="*/ 148 h 213"/>
                <a:gd name="T74" fmla="*/ 36 w 200"/>
                <a:gd name="T75" fmla="*/ 141 h 213"/>
                <a:gd name="T76" fmla="*/ 43 w 200"/>
                <a:gd name="T77" fmla="*/ 141 h 213"/>
                <a:gd name="T78" fmla="*/ 50 w 200"/>
                <a:gd name="T79" fmla="*/ 137 h 213"/>
                <a:gd name="T80" fmla="*/ 50 w 200"/>
                <a:gd name="T81" fmla="*/ 135 h 213"/>
                <a:gd name="T82" fmla="*/ 54 w 200"/>
                <a:gd name="T83" fmla="*/ 130 h 213"/>
                <a:gd name="T84" fmla="*/ 57 w 200"/>
                <a:gd name="T85" fmla="*/ 128 h 213"/>
                <a:gd name="T86" fmla="*/ 63 w 200"/>
                <a:gd name="T87" fmla="*/ 121 h 213"/>
                <a:gd name="T88" fmla="*/ 72 w 200"/>
                <a:gd name="T89" fmla="*/ 119 h 213"/>
                <a:gd name="T90" fmla="*/ 77 w 200"/>
                <a:gd name="T91" fmla="*/ 112 h 213"/>
                <a:gd name="T92" fmla="*/ 81 w 200"/>
                <a:gd name="T93" fmla="*/ 106 h 213"/>
                <a:gd name="T94" fmla="*/ 88 w 200"/>
                <a:gd name="T95" fmla="*/ 103 h 213"/>
                <a:gd name="T96" fmla="*/ 88 w 200"/>
                <a:gd name="T97" fmla="*/ 99 h 213"/>
                <a:gd name="T98" fmla="*/ 86 w 200"/>
                <a:gd name="T99" fmla="*/ 90 h 213"/>
                <a:gd name="T100" fmla="*/ 77 w 200"/>
                <a:gd name="T101" fmla="*/ 83 h 213"/>
                <a:gd name="T102" fmla="*/ 68 w 200"/>
                <a:gd name="T103" fmla="*/ 85 h 213"/>
                <a:gd name="T104" fmla="*/ 59 w 200"/>
                <a:gd name="T105" fmla="*/ 72 h 213"/>
                <a:gd name="T106" fmla="*/ 57 w 200"/>
                <a:gd name="T107" fmla="*/ 58 h 213"/>
                <a:gd name="T108" fmla="*/ 50 w 200"/>
                <a:gd name="T109" fmla="*/ 49 h 213"/>
                <a:gd name="T110" fmla="*/ 43 w 200"/>
                <a:gd name="T111" fmla="*/ 38 h 213"/>
                <a:gd name="T112" fmla="*/ 25 w 200"/>
                <a:gd name="T113" fmla="*/ 31 h 213"/>
                <a:gd name="T114" fmla="*/ 3 w 200"/>
                <a:gd name="T115" fmla="*/ 20 h 213"/>
                <a:gd name="T116" fmla="*/ 50 w 200"/>
                <a:gd name="T117" fmla="*/ 27 h 213"/>
                <a:gd name="T118" fmla="*/ 77 w 200"/>
                <a:gd name="T119" fmla="*/ 22 h 213"/>
                <a:gd name="T120" fmla="*/ 79 w 200"/>
                <a:gd name="T121" fmla="*/ 11 h 213"/>
                <a:gd name="T122" fmla="*/ 92 w 200"/>
                <a:gd name="T123" fmla="*/ 2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0" h="213">
                  <a:moveTo>
                    <a:pt x="63" y="209"/>
                  </a:move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9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3" y="209"/>
                  </a:lnTo>
                  <a:close/>
                  <a:moveTo>
                    <a:pt x="68" y="204"/>
                  </a:moveTo>
                  <a:lnTo>
                    <a:pt x="68" y="204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70" y="207"/>
                  </a:lnTo>
                  <a:lnTo>
                    <a:pt x="68" y="207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6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9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3" y="207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66" y="207"/>
                  </a:lnTo>
                  <a:lnTo>
                    <a:pt x="61" y="207"/>
                  </a:lnTo>
                  <a:lnTo>
                    <a:pt x="61" y="207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3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8" y="204"/>
                  </a:lnTo>
                  <a:lnTo>
                    <a:pt x="68" y="204"/>
                  </a:lnTo>
                  <a:lnTo>
                    <a:pt x="68" y="204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68" y="204"/>
                  </a:lnTo>
                  <a:lnTo>
                    <a:pt x="68" y="204"/>
                  </a:lnTo>
                  <a:close/>
                  <a:moveTo>
                    <a:pt x="131" y="202"/>
                  </a:moveTo>
                  <a:lnTo>
                    <a:pt x="131" y="202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2"/>
                  </a:lnTo>
                  <a:close/>
                  <a:moveTo>
                    <a:pt x="106" y="0"/>
                  </a:moveTo>
                  <a:lnTo>
                    <a:pt x="108" y="0"/>
                  </a:lnTo>
                  <a:lnTo>
                    <a:pt x="108" y="0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9"/>
                  </a:lnTo>
                  <a:lnTo>
                    <a:pt x="133" y="11"/>
                  </a:lnTo>
                  <a:lnTo>
                    <a:pt x="131" y="13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4" y="20"/>
                  </a:lnTo>
                  <a:lnTo>
                    <a:pt x="122" y="22"/>
                  </a:lnTo>
                  <a:lnTo>
                    <a:pt x="119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4" y="22"/>
                  </a:lnTo>
                  <a:lnTo>
                    <a:pt x="126" y="22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8"/>
                  </a:lnTo>
                  <a:lnTo>
                    <a:pt x="137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2" y="40"/>
                  </a:lnTo>
                  <a:lnTo>
                    <a:pt x="142" y="40"/>
                  </a:lnTo>
                  <a:lnTo>
                    <a:pt x="144" y="45"/>
                  </a:lnTo>
                  <a:lnTo>
                    <a:pt x="146" y="45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49"/>
                  </a:lnTo>
                  <a:lnTo>
                    <a:pt x="151" y="52"/>
                  </a:lnTo>
                  <a:lnTo>
                    <a:pt x="146" y="54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6" y="56"/>
                  </a:lnTo>
                  <a:lnTo>
                    <a:pt x="144" y="56"/>
                  </a:lnTo>
                  <a:lnTo>
                    <a:pt x="140" y="61"/>
                  </a:lnTo>
                  <a:lnTo>
                    <a:pt x="140" y="61"/>
                  </a:lnTo>
                  <a:lnTo>
                    <a:pt x="140" y="61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42" y="65"/>
                  </a:lnTo>
                  <a:lnTo>
                    <a:pt x="146" y="67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6" y="70"/>
                  </a:lnTo>
                  <a:lnTo>
                    <a:pt x="149" y="70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1" y="74"/>
                  </a:lnTo>
                  <a:lnTo>
                    <a:pt x="151" y="74"/>
                  </a:lnTo>
                  <a:lnTo>
                    <a:pt x="151" y="74"/>
                  </a:lnTo>
                  <a:lnTo>
                    <a:pt x="153" y="76"/>
                  </a:lnTo>
                  <a:lnTo>
                    <a:pt x="155" y="79"/>
                  </a:lnTo>
                  <a:lnTo>
                    <a:pt x="158" y="79"/>
                  </a:lnTo>
                  <a:lnTo>
                    <a:pt x="158" y="79"/>
                  </a:lnTo>
                  <a:lnTo>
                    <a:pt x="158" y="81"/>
                  </a:lnTo>
                  <a:lnTo>
                    <a:pt x="160" y="81"/>
                  </a:lnTo>
                  <a:lnTo>
                    <a:pt x="160" y="83"/>
                  </a:lnTo>
                  <a:lnTo>
                    <a:pt x="160" y="83"/>
                  </a:lnTo>
                  <a:lnTo>
                    <a:pt x="160" y="83"/>
                  </a:lnTo>
                  <a:lnTo>
                    <a:pt x="162" y="85"/>
                  </a:lnTo>
                  <a:lnTo>
                    <a:pt x="162" y="85"/>
                  </a:lnTo>
                  <a:lnTo>
                    <a:pt x="162" y="85"/>
                  </a:lnTo>
                  <a:lnTo>
                    <a:pt x="162" y="88"/>
                  </a:lnTo>
                  <a:lnTo>
                    <a:pt x="164" y="88"/>
                  </a:lnTo>
                  <a:lnTo>
                    <a:pt x="164" y="88"/>
                  </a:lnTo>
                  <a:lnTo>
                    <a:pt x="162" y="90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58" y="90"/>
                  </a:lnTo>
                  <a:lnTo>
                    <a:pt x="158" y="90"/>
                  </a:lnTo>
                  <a:lnTo>
                    <a:pt x="158" y="90"/>
                  </a:lnTo>
                  <a:lnTo>
                    <a:pt x="160" y="90"/>
                  </a:lnTo>
                  <a:lnTo>
                    <a:pt x="160" y="90"/>
                  </a:lnTo>
                  <a:lnTo>
                    <a:pt x="160" y="90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58" y="92"/>
                  </a:lnTo>
                  <a:lnTo>
                    <a:pt x="160" y="94"/>
                  </a:lnTo>
                  <a:lnTo>
                    <a:pt x="160" y="97"/>
                  </a:lnTo>
                  <a:lnTo>
                    <a:pt x="158" y="97"/>
                  </a:lnTo>
                  <a:lnTo>
                    <a:pt x="158" y="97"/>
                  </a:lnTo>
                  <a:lnTo>
                    <a:pt x="158" y="99"/>
                  </a:lnTo>
                  <a:lnTo>
                    <a:pt x="160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99"/>
                  </a:lnTo>
                  <a:lnTo>
                    <a:pt x="162" y="101"/>
                  </a:lnTo>
                  <a:lnTo>
                    <a:pt x="162" y="101"/>
                  </a:lnTo>
                  <a:lnTo>
                    <a:pt x="160" y="101"/>
                  </a:lnTo>
                  <a:lnTo>
                    <a:pt x="158" y="101"/>
                  </a:lnTo>
                  <a:lnTo>
                    <a:pt x="158" y="101"/>
                  </a:lnTo>
                  <a:lnTo>
                    <a:pt x="158" y="103"/>
                  </a:lnTo>
                  <a:lnTo>
                    <a:pt x="160" y="103"/>
                  </a:lnTo>
                  <a:lnTo>
                    <a:pt x="160" y="106"/>
                  </a:lnTo>
                  <a:lnTo>
                    <a:pt x="162" y="108"/>
                  </a:lnTo>
                  <a:lnTo>
                    <a:pt x="164" y="108"/>
                  </a:lnTo>
                  <a:lnTo>
                    <a:pt x="167" y="108"/>
                  </a:lnTo>
                  <a:lnTo>
                    <a:pt x="167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08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9" y="110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7" y="112"/>
                  </a:lnTo>
                  <a:lnTo>
                    <a:pt x="169" y="112"/>
                  </a:lnTo>
                  <a:lnTo>
                    <a:pt x="169" y="115"/>
                  </a:lnTo>
                  <a:lnTo>
                    <a:pt x="169" y="115"/>
                  </a:lnTo>
                  <a:lnTo>
                    <a:pt x="169" y="115"/>
                  </a:lnTo>
                  <a:lnTo>
                    <a:pt x="169" y="115"/>
                  </a:lnTo>
                  <a:lnTo>
                    <a:pt x="169" y="115"/>
                  </a:lnTo>
                  <a:lnTo>
                    <a:pt x="169" y="117"/>
                  </a:lnTo>
                  <a:lnTo>
                    <a:pt x="171" y="117"/>
                  </a:lnTo>
                  <a:lnTo>
                    <a:pt x="173" y="117"/>
                  </a:lnTo>
                  <a:lnTo>
                    <a:pt x="173" y="117"/>
                  </a:lnTo>
                  <a:lnTo>
                    <a:pt x="176" y="117"/>
                  </a:lnTo>
                  <a:lnTo>
                    <a:pt x="176" y="119"/>
                  </a:lnTo>
                  <a:lnTo>
                    <a:pt x="176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19"/>
                  </a:lnTo>
                  <a:lnTo>
                    <a:pt x="178" y="121"/>
                  </a:lnTo>
                  <a:lnTo>
                    <a:pt x="178" y="121"/>
                  </a:lnTo>
                  <a:lnTo>
                    <a:pt x="180" y="121"/>
                  </a:lnTo>
                  <a:lnTo>
                    <a:pt x="180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8" y="124"/>
                  </a:lnTo>
                  <a:lnTo>
                    <a:pt x="176" y="126"/>
                  </a:lnTo>
                  <a:lnTo>
                    <a:pt x="176" y="128"/>
                  </a:lnTo>
                  <a:lnTo>
                    <a:pt x="173" y="128"/>
                  </a:lnTo>
                  <a:lnTo>
                    <a:pt x="171" y="128"/>
                  </a:lnTo>
                  <a:lnTo>
                    <a:pt x="171" y="128"/>
                  </a:lnTo>
                  <a:lnTo>
                    <a:pt x="171" y="130"/>
                  </a:lnTo>
                  <a:lnTo>
                    <a:pt x="176" y="132"/>
                  </a:lnTo>
                  <a:lnTo>
                    <a:pt x="178" y="132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0" y="135"/>
                  </a:lnTo>
                  <a:lnTo>
                    <a:pt x="187" y="137"/>
                  </a:lnTo>
                  <a:lnTo>
                    <a:pt x="189" y="139"/>
                  </a:lnTo>
                  <a:lnTo>
                    <a:pt x="194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1"/>
                  </a:lnTo>
                  <a:lnTo>
                    <a:pt x="194" y="141"/>
                  </a:lnTo>
                  <a:lnTo>
                    <a:pt x="194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8"/>
                  </a:lnTo>
                  <a:lnTo>
                    <a:pt x="200" y="148"/>
                  </a:lnTo>
                  <a:lnTo>
                    <a:pt x="200" y="150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3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8" y="155"/>
                  </a:lnTo>
                  <a:lnTo>
                    <a:pt x="196" y="155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6" y="157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4" y="159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7" y="164"/>
                  </a:lnTo>
                  <a:lnTo>
                    <a:pt x="185" y="166"/>
                  </a:lnTo>
                  <a:lnTo>
                    <a:pt x="185" y="166"/>
                  </a:lnTo>
                  <a:lnTo>
                    <a:pt x="185" y="166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8" y="175"/>
                  </a:lnTo>
                  <a:lnTo>
                    <a:pt x="176" y="177"/>
                  </a:lnTo>
                  <a:lnTo>
                    <a:pt x="176" y="177"/>
                  </a:lnTo>
                  <a:lnTo>
                    <a:pt x="176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77"/>
                  </a:lnTo>
                  <a:lnTo>
                    <a:pt x="173" y="180"/>
                  </a:lnTo>
                  <a:lnTo>
                    <a:pt x="171" y="180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71" y="182"/>
                  </a:lnTo>
                  <a:lnTo>
                    <a:pt x="169" y="182"/>
                  </a:lnTo>
                  <a:lnTo>
                    <a:pt x="167" y="184"/>
                  </a:lnTo>
                  <a:lnTo>
                    <a:pt x="167" y="184"/>
                  </a:lnTo>
                  <a:lnTo>
                    <a:pt x="164" y="184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4" y="186"/>
                  </a:lnTo>
                  <a:lnTo>
                    <a:pt x="162" y="186"/>
                  </a:lnTo>
                  <a:lnTo>
                    <a:pt x="162" y="186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2" y="189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58" y="191"/>
                  </a:lnTo>
                  <a:lnTo>
                    <a:pt x="155" y="193"/>
                  </a:lnTo>
                  <a:lnTo>
                    <a:pt x="155" y="193"/>
                  </a:lnTo>
                  <a:lnTo>
                    <a:pt x="153" y="195"/>
                  </a:lnTo>
                  <a:lnTo>
                    <a:pt x="151" y="195"/>
                  </a:lnTo>
                  <a:lnTo>
                    <a:pt x="151" y="198"/>
                  </a:lnTo>
                  <a:lnTo>
                    <a:pt x="151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9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9" y="200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44" y="200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6" y="200"/>
                  </a:lnTo>
                  <a:lnTo>
                    <a:pt x="144" y="200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40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198"/>
                  </a:lnTo>
                  <a:lnTo>
                    <a:pt x="137" y="200"/>
                  </a:lnTo>
                  <a:lnTo>
                    <a:pt x="135" y="198"/>
                  </a:lnTo>
                  <a:lnTo>
                    <a:pt x="137" y="200"/>
                  </a:lnTo>
                  <a:lnTo>
                    <a:pt x="137" y="200"/>
                  </a:lnTo>
                  <a:lnTo>
                    <a:pt x="137" y="200"/>
                  </a:lnTo>
                  <a:lnTo>
                    <a:pt x="137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198"/>
                  </a:lnTo>
                  <a:lnTo>
                    <a:pt x="133" y="198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3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31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31" y="198"/>
                  </a:lnTo>
                  <a:lnTo>
                    <a:pt x="131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33" y="198"/>
                  </a:lnTo>
                  <a:lnTo>
                    <a:pt x="133" y="195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31" y="195"/>
                  </a:lnTo>
                  <a:lnTo>
                    <a:pt x="128" y="198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8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2"/>
                  </a:lnTo>
                  <a:lnTo>
                    <a:pt x="126" y="202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6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6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4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0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4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22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7" y="202"/>
                  </a:lnTo>
                  <a:lnTo>
                    <a:pt x="119" y="204"/>
                  </a:lnTo>
                  <a:lnTo>
                    <a:pt x="117" y="204"/>
                  </a:lnTo>
                  <a:lnTo>
                    <a:pt x="117" y="204"/>
                  </a:lnTo>
                  <a:lnTo>
                    <a:pt x="117" y="204"/>
                  </a:lnTo>
                  <a:lnTo>
                    <a:pt x="117" y="204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5" y="202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3" y="204"/>
                  </a:lnTo>
                  <a:lnTo>
                    <a:pt x="113" y="204"/>
                  </a:lnTo>
                  <a:lnTo>
                    <a:pt x="113" y="204"/>
                  </a:lnTo>
                  <a:lnTo>
                    <a:pt x="113" y="204"/>
                  </a:lnTo>
                  <a:lnTo>
                    <a:pt x="113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8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7"/>
                  </a:lnTo>
                  <a:lnTo>
                    <a:pt x="106" y="207"/>
                  </a:lnTo>
                  <a:lnTo>
                    <a:pt x="106" y="207"/>
                  </a:lnTo>
                  <a:lnTo>
                    <a:pt x="106" y="207"/>
                  </a:lnTo>
                  <a:lnTo>
                    <a:pt x="106" y="207"/>
                  </a:lnTo>
                  <a:lnTo>
                    <a:pt x="106" y="207"/>
                  </a:lnTo>
                  <a:lnTo>
                    <a:pt x="106" y="207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6" y="204"/>
                  </a:lnTo>
                  <a:lnTo>
                    <a:pt x="104" y="204"/>
                  </a:lnTo>
                  <a:lnTo>
                    <a:pt x="104" y="204"/>
                  </a:lnTo>
                  <a:lnTo>
                    <a:pt x="104" y="207"/>
                  </a:lnTo>
                  <a:lnTo>
                    <a:pt x="104" y="207"/>
                  </a:lnTo>
                  <a:lnTo>
                    <a:pt x="104" y="207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104" y="207"/>
                  </a:lnTo>
                  <a:lnTo>
                    <a:pt x="104" y="204"/>
                  </a:lnTo>
                  <a:lnTo>
                    <a:pt x="101" y="204"/>
                  </a:lnTo>
                  <a:lnTo>
                    <a:pt x="101" y="204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7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7"/>
                  </a:lnTo>
                  <a:lnTo>
                    <a:pt x="99" y="209"/>
                  </a:lnTo>
                  <a:lnTo>
                    <a:pt x="99" y="209"/>
                  </a:lnTo>
                  <a:lnTo>
                    <a:pt x="97" y="209"/>
                  </a:lnTo>
                  <a:lnTo>
                    <a:pt x="97" y="209"/>
                  </a:lnTo>
                  <a:lnTo>
                    <a:pt x="97" y="209"/>
                  </a:lnTo>
                  <a:lnTo>
                    <a:pt x="97" y="209"/>
                  </a:lnTo>
                  <a:lnTo>
                    <a:pt x="95" y="209"/>
                  </a:lnTo>
                  <a:lnTo>
                    <a:pt x="97" y="209"/>
                  </a:lnTo>
                  <a:lnTo>
                    <a:pt x="97" y="209"/>
                  </a:lnTo>
                  <a:lnTo>
                    <a:pt x="97" y="209"/>
                  </a:lnTo>
                  <a:lnTo>
                    <a:pt x="97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9"/>
                  </a:lnTo>
                  <a:lnTo>
                    <a:pt x="95" y="207"/>
                  </a:lnTo>
                  <a:lnTo>
                    <a:pt x="95" y="207"/>
                  </a:lnTo>
                  <a:lnTo>
                    <a:pt x="92" y="207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2" y="209"/>
                  </a:lnTo>
                  <a:lnTo>
                    <a:pt x="92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90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8" y="209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6" y="209"/>
                  </a:lnTo>
                  <a:lnTo>
                    <a:pt x="84" y="211"/>
                  </a:lnTo>
                  <a:lnTo>
                    <a:pt x="81" y="211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79" y="211"/>
                  </a:lnTo>
                  <a:lnTo>
                    <a:pt x="79" y="211"/>
                  </a:lnTo>
                  <a:lnTo>
                    <a:pt x="79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81" y="207"/>
                  </a:lnTo>
                  <a:lnTo>
                    <a:pt x="81" y="209"/>
                  </a:lnTo>
                  <a:lnTo>
                    <a:pt x="81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09"/>
                  </a:lnTo>
                  <a:lnTo>
                    <a:pt x="79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3"/>
                  </a:lnTo>
                  <a:lnTo>
                    <a:pt x="77" y="213"/>
                  </a:lnTo>
                  <a:lnTo>
                    <a:pt x="77" y="213"/>
                  </a:lnTo>
                  <a:lnTo>
                    <a:pt x="75" y="213"/>
                  </a:lnTo>
                  <a:lnTo>
                    <a:pt x="75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0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09"/>
                  </a:lnTo>
                  <a:lnTo>
                    <a:pt x="77" y="209"/>
                  </a:lnTo>
                  <a:lnTo>
                    <a:pt x="77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7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11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7" y="209"/>
                  </a:lnTo>
                  <a:lnTo>
                    <a:pt x="77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7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68" y="202"/>
                  </a:lnTo>
                  <a:lnTo>
                    <a:pt x="68" y="204"/>
                  </a:lnTo>
                  <a:lnTo>
                    <a:pt x="66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6" y="202"/>
                  </a:lnTo>
                  <a:lnTo>
                    <a:pt x="63" y="202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3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1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6" y="202"/>
                  </a:lnTo>
                  <a:lnTo>
                    <a:pt x="66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0"/>
                  </a:lnTo>
                  <a:lnTo>
                    <a:pt x="59" y="200"/>
                  </a:lnTo>
                  <a:lnTo>
                    <a:pt x="59" y="200"/>
                  </a:lnTo>
                  <a:lnTo>
                    <a:pt x="59" y="200"/>
                  </a:lnTo>
                  <a:lnTo>
                    <a:pt x="59" y="200"/>
                  </a:lnTo>
                  <a:lnTo>
                    <a:pt x="57" y="200"/>
                  </a:lnTo>
                  <a:lnTo>
                    <a:pt x="57" y="200"/>
                  </a:lnTo>
                  <a:lnTo>
                    <a:pt x="57" y="200"/>
                  </a:lnTo>
                  <a:lnTo>
                    <a:pt x="57" y="200"/>
                  </a:lnTo>
                  <a:lnTo>
                    <a:pt x="57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2" y="198"/>
                  </a:lnTo>
                  <a:lnTo>
                    <a:pt x="50" y="198"/>
                  </a:lnTo>
                  <a:lnTo>
                    <a:pt x="52" y="198"/>
                  </a:lnTo>
                  <a:lnTo>
                    <a:pt x="52" y="200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200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8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5"/>
                  </a:lnTo>
                  <a:lnTo>
                    <a:pt x="50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8" y="198"/>
                  </a:lnTo>
                  <a:lnTo>
                    <a:pt x="45" y="198"/>
                  </a:lnTo>
                  <a:lnTo>
                    <a:pt x="48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5" y="198"/>
                  </a:lnTo>
                  <a:lnTo>
                    <a:pt x="43" y="198"/>
                  </a:lnTo>
                  <a:lnTo>
                    <a:pt x="43" y="198"/>
                  </a:lnTo>
                  <a:lnTo>
                    <a:pt x="43" y="198"/>
                  </a:lnTo>
                  <a:lnTo>
                    <a:pt x="43" y="198"/>
                  </a:lnTo>
                  <a:lnTo>
                    <a:pt x="43" y="198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5" y="195"/>
                  </a:lnTo>
                  <a:lnTo>
                    <a:pt x="45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3"/>
                  </a:lnTo>
                  <a:lnTo>
                    <a:pt x="43" y="195"/>
                  </a:lnTo>
                  <a:lnTo>
                    <a:pt x="43" y="195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3"/>
                  </a:lnTo>
                  <a:lnTo>
                    <a:pt x="43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3" y="191"/>
                  </a:lnTo>
                  <a:lnTo>
                    <a:pt x="43" y="191"/>
                  </a:lnTo>
                  <a:lnTo>
                    <a:pt x="43" y="191"/>
                  </a:lnTo>
                  <a:lnTo>
                    <a:pt x="43" y="191"/>
                  </a:lnTo>
                  <a:lnTo>
                    <a:pt x="43" y="191"/>
                  </a:lnTo>
                  <a:lnTo>
                    <a:pt x="41" y="191"/>
                  </a:lnTo>
                  <a:lnTo>
                    <a:pt x="41" y="191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3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1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1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1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4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1" y="180"/>
                  </a:lnTo>
                  <a:lnTo>
                    <a:pt x="43" y="180"/>
                  </a:lnTo>
                  <a:lnTo>
                    <a:pt x="43" y="180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1" y="177"/>
                  </a:lnTo>
                  <a:lnTo>
                    <a:pt x="41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3" y="177"/>
                  </a:lnTo>
                  <a:lnTo>
                    <a:pt x="41" y="177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1" y="175"/>
                  </a:lnTo>
                  <a:lnTo>
                    <a:pt x="43" y="175"/>
                  </a:lnTo>
                  <a:lnTo>
                    <a:pt x="45" y="175"/>
                  </a:lnTo>
                  <a:lnTo>
                    <a:pt x="45" y="177"/>
                  </a:lnTo>
                  <a:lnTo>
                    <a:pt x="45" y="175"/>
                  </a:lnTo>
                  <a:lnTo>
                    <a:pt x="43" y="175"/>
                  </a:lnTo>
                  <a:lnTo>
                    <a:pt x="43" y="175"/>
                  </a:lnTo>
                  <a:lnTo>
                    <a:pt x="43" y="175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1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3" y="173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41" y="171"/>
                  </a:lnTo>
                  <a:lnTo>
                    <a:pt x="39" y="171"/>
                  </a:lnTo>
                  <a:lnTo>
                    <a:pt x="41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9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9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4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3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50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4" y="148"/>
                  </a:lnTo>
                  <a:lnTo>
                    <a:pt x="34" y="148"/>
                  </a:lnTo>
                  <a:lnTo>
                    <a:pt x="34" y="148"/>
                  </a:lnTo>
                  <a:lnTo>
                    <a:pt x="34" y="148"/>
                  </a:lnTo>
                  <a:lnTo>
                    <a:pt x="34" y="148"/>
                  </a:lnTo>
                  <a:lnTo>
                    <a:pt x="34" y="148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36" y="144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41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9" y="141"/>
                  </a:lnTo>
                  <a:lnTo>
                    <a:pt x="39" y="141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41"/>
                  </a:lnTo>
                  <a:lnTo>
                    <a:pt x="39" y="141"/>
                  </a:lnTo>
                  <a:lnTo>
                    <a:pt x="41" y="139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41" y="139"/>
                  </a:lnTo>
                  <a:lnTo>
                    <a:pt x="41" y="139"/>
                  </a:lnTo>
                  <a:lnTo>
                    <a:pt x="41" y="139"/>
                  </a:lnTo>
                  <a:lnTo>
                    <a:pt x="41" y="139"/>
                  </a:lnTo>
                  <a:lnTo>
                    <a:pt x="41" y="139"/>
                  </a:lnTo>
                  <a:lnTo>
                    <a:pt x="41" y="139"/>
                  </a:lnTo>
                  <a:lnTo>
                    <a:pt x="41" y="139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1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3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5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50" y="139"/>
                  </a:lnTo>
                  <a:lnTo>
                    <a:pt x="50" y="139"/>
                  </a:lnTo>
                  <a:lnTo>
                    <a:pt x="50" y="137"/>
                  </a:lnTo>
                  <a:lnTo>
                    <a:pt x="50" y="137"/>
                  </a:lnTo>
                  <a:lnTo>
                    <a:pt x="50" y="137"/>
                  </a:lnTo>
                  <a:lnTo>
                    <a:pt x="50" y="137"/>
                  </a:lnTo>
                  <a:lnTo>
                    <a:pt x="48" y="137"/>
                  </a:lnTo>
                  <a:lnTo>
                    <a:pt x="48" y="137"/>
                  </a:lnTo>
                  <a:lnTo>
                    <a:pt x="48" y="137"/>
                  </a:lnTo>
                  <a:lnTo>
                    <a:pt x="48" y="137"/>
                  </a:lnTo>
                  <a:lnTo>
                    <a:pt x="48" y="137"/>
                  </a:lnTo>
                  <a:lnTo>
                    <a:pt x="48" y="137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48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2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4" y="130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7" y="128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21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2" y="119"/>
                  </a:lnTo>
                  <a:lnTo>
                    <a:pt x="70" y="119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72" y="117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5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7" y="110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81" y="108"/>
                  </a:lnTo>
                  <a:lnTo>
                    <a:pt x="81" y="108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4" y="106"/>
                  </a:lnTo>
                  <a:lnTo>
                    <a:pt x="86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88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4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6" y="90"/>
                  </a:lnTo>
                  <a:lnTo>
                    <a:pt x="86" y="90"/>
                  </a:lnTo>
                  <a:lnTo>
                    <a:pt x="86" y="90"/>
                  </a:lnTo>
                  <a:lnTo>
                    <a:pt x="86" y="90"/>
                  </a:lnTo>
                  <a:lnTo>
                    <a:pt x="86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7" y="88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7" y="85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3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2"/>
                  </a:lnTo>
                  <a:lnTo>
                    <a:pt x="57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7" y="56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9" y="25"/>
                  </a:lnTo>
                  <a:lnTo>
                    <a:pt x="9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0" y="20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9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3" y="20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7" y="22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7"/>
                  </a:lnTo>
                  <a:lnTo>
                    <a:pt x="66" y="27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1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4" name="Freeform 601"/>
            <p:cNvSpPr>
              <a:spLocks/>
            </p:cNvSpPr>
            <p:nvPr/>
          </p:nvSpPr>
          <p:spPr bwMode="auto">
            <a:xfrm>
              <a:off x="6800864" y="3375739"/>
              <a:ext cx="521485" cy="454628"/>
            </a:xfrm>
            <a:custGeom>
              <a:avLst/>
              <a:gdLst>
                <a:gd name="T0" fmla="*/ 105 w 312"/>
                <a:gd name="T1" fmla="*/ 9 h 272"/>
                <a:gd name="T2" fmla="*/ 117 w 312"/>
                <a:gd name="T3" fmla="*/ 9 h 272"/>
                <a:gd name="T4" fmla="*/ 123 w 312"/>
                <a:gd name="T5" fmla="*/ 7 h 272"/>
                <a:gd name="T6" fmla="*/ 132 w 312"/>
                <a:gd name="T7" fmla="*/ 9 h 272"/>
                <a:gd name="T8" fmla="*/ 144 w 312"/>
                <a:gd name="T9" fmla="*/ 9 h 272"/>
                <a:gd name="T10" fmla="*/ 171 w 312"/>
                <a:gd name="T11" fmla="*/ 33 h 272"/>
                <a:gd name="T12" fmla="*/ 191 w 312"/>
                <a:gd name="T13" fmla="*/ 60 h 272"/>
                <a:gd name="T14" fmla="*/ 182 w 312"/>
                <a:gd name="T15" fmla="*/ 76 h 272"/>
                <a:gd name="T16" fmla="*/ 184 w 312"/>
                <a:gd name="T17" fmla="*/ 94 h 272"/>
                <a:gd name="T18" fmla="*/ 193 w 312"/>
                <a:gd name="T19" fmla="*/ 92 h 272"/>
                <a:gd name="T20" fmla="*/ 204 w 312"/>
                <a:gd name="T21" fmla="*/ 92 h 272"/>
                <a:gd name="T22" fmla="*/ 200 w 312"/>
                <a:gd name="T23" fmla="*/ 101 h 272"/>
                <a:gd name="T24" fmla="*/ 209 w 312"/>
                <a:gd name="T25" fmla="*/ 117 h 272"/>
                <a:gd name="T26" fmla="*/ 215 w 312"/>
                <a:gd name="T27" fmla="*/ 126 h 272"/>
                <a:gd name="T28" fmla="*/ 231 w 312"/>
                <a:gd name="T29" fmla="*/ 141 h 272"/>
                <a:gd name="T30" fmla="*/ 260 w 312"/>
                <a:gd name="T31" fmla="*/ 153 h 272"/>
                <a:gd name="T32" fmla="*/ 292 w 312"/>
                <a:gd name="T33" fmla="*/ 164 h 272"/>
                <a:gd name="T34" fmla="*/ 305 w 312"/>
                <a:gd name="T35" fmla="*/ 173 h 272"/>
                <a:gd name="T36" fmla="*/ 287 w 312"/>
                <a:gd name="T37" fmla="*/ 193 h 272"/>
                <a:gd name="T38" fmla="*/ 267 w 312"/>
                <a:gd name="T39" fmla="*/ 218 h 272"/>
                <a:gd name="T40" fmla="*/ 242 w 312"/>
                <a:gd name="T41" fmla="*/ 236 h 272"/>
                <a:gd name="T42" fmla="*/ 222 w 312"/>
                <a:gd name="T43" fmla="*/ 238 h 272"/>
                <a:gd name="T44" fmla="*/ 198 w 312"/>
                <a:gd name="T45" fmla="*/ 254 h 272"/>
                <a:gd name="T46" fmla="*/ 184 w 312"/>
                <a:gd name="T47" fmla="*/ 258 h 272"/>
                <a:gd name="T48" fmla="*/ 166 w 312"/>
                <a:gd name="T49" fmla="*/ 256 h 272"/>
                <a:gd name="T50" fmla="*/ 153 w 312"/>
                <a:gd name="T51" fmla="*/ 258 h 272"/>
                <a:gd name="T52" fmla="*/ 139 w 312"/>
                <a:gd name="T53" fmla="*/ 270 h 272"/>
                <a:gd name="T54" fmla="*/ 128 w 312"/>
                <a:gd name="T55" fmla="*/ 270 h 272"/>
                <a:gd name="T56" fmla="*/ 119 w 312"/>
                <a:gd name="T57" fmla="*/ 267 h 272"/>
                <a:gd name="T58" fmla="*/ 112 w 312"/>
                <a:gd name="T59" fmla="*/ 267 h 272"/>
                <a:gd name="T60" fmla="*/ 92 w 312"/>
                <a:gd name="T61" fmla="*/ 256 h 272"/>
                <a:gd name="T62" fmla="*/ 83 w 312"/>
                <a:gd name="T63" fmla="*/ 249 h 272"/>
                <a:gd name="T64" fmla="*/ 63 w 312"/>
                <a:gd name="T65" fmla="*/ 247 h 272"/>
                <a:gd name="T66" fmla="*/ 58 w 312"/>
                <a:gd name="T67" fmla="*/ 229 h 272"/>
                <a:gd name="T68" fmla="*/ 51 w 312"/>
                <a:gd name="T69" fmla="*/ 225 h 272"/>
                <a:gd name="T70" fmla="*/ 45 w 312"/>
                <a:gd name="T71" fmla="*/ 220 h 272"/>
                <a:gd name="T72" fmla="*/ 40 w 312"/>
                <a:gd name="T73" fmla="*/ 209 h 272"/>
                <a:gd name="T74" fmla="*/ 36 w 312"/>
                <a:gd name="T75" fmla="*/ 195 h 272"/>
                <a:gd name="T76" fmla="*/ 31 w 312"/>
                <a:gd name="T77" fmla="*/ 191 h 272"/>
                <a:gd name="T78" fmla="*/ 25 w 312"/>
                <a:gd name="T79" fmla="*/ 184 h 272"/>
                <a:gd name="T80" fmla="*/ 16 w 312"/>
                <a:gd name="T81" fmla="*/ 173 h 272"/>
                <a:gd name="T82" fmla="*/ 7 w 312"/>
                <a:gd name="T83" fmla="*/ 171 h 272"/>
                <a:gd name="T84" fmla="*/ 0 w 312"/>
                <a:gd name="T85" fmla="*/ 168 h 272"/>
                <a:gd name="T86" fmla="*/ 2 w 312"/>
                <a:gd name="T87" fmla="*/ 162 h 272"/>
                <a:gd name="T88" fmla="*/ 4 w 312"/>
                <a:gd name="T89" fmla="*/ 157 h 272"/>
                <a:gd name="T90" fmla="*/ 2 w 312"/>
                <a:gd name="T91" fmla="*/ 155 h 272"/>
                <a:gd name="T92" fmla="*/ 9 w 312"/>
                <a:gd name="T93" fmla="*/ 153 h 272"/>
                <a:gd name="T94" fmla="*/ 16 w 312"/>
                <a:gd name="T95" fmla="*/ 155 h 272"/>
                <a:gd name="T96" fmla="*/ 25 w 312"/>
                <a:gd name="T97" fmla="*/ 112 h 272"/>
                <a:gd name="T98" fmla="*/ 31 w 312"/>
                <a:gd name="T99" fmla="*/ 94 h 272"/>
                <a:gd name="T100" fmla="*/ 36 w 312"/>
                <a:gd name="T101" fmla="*/ 96 h 272"/>
                <a:gd name="T102" fmla="*/ 40 w 312"/>
                <a:gd name="T103" fmla="*/ 78 h 272"/>
                <a:gd name="T104" fmla="*/ 45 w 312"/>
                <a:gd name="T105" fmla="*/ 67 h 272"/>
                <a:gd name="T106" fmla="*/ 51 w 312"/>
                <a:gd name="T107" fmla="*/ 54 h 272"/>
                <a:gd name="T108" fmla="*/ 60 w 312"/>
                <a:gd name="T109" fmla="*/ 51 h 272"/>
                <a:gd name="T110" fmla="*/ 67 w 312"/>
                <a:gd name="T111" fmla="*/ 29 h 272"/>
                <a:gd name="T112" fmla="*/ 72 w 312"/>
                <a:gd name="T113" fmla="*/ 13 h 272"/>
                <a:gd name="T114" fmla="*/ 81 w 312"/>
                <a:gd name="T115" fmla="*/ 13 h 272"/>
                <a:gd name="T116" fmla="*/ 87 w 312"/>
                <a:gd name="T117" fmla="*/ 11 h 272"/>
                <a:gd name="T118" fmla="*/ 90 w 312"/>
                <a:gd name="T119" fmla="*/ 18 h 272"/>
                <a:gd name="T120" fmla="*/ 99 w 312"/>
                <a:gd name="T121" fmla="*/ 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2" h="272">
                  <a:moveTo>
                    <a:pt x="101" y="4"/>
                  </a:moveTo>
                  <a:lnTo>
                    <a:pt x="101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2" y="11"/>
                  </a:lnTo>
                  <a:lnTo>
                    <a:pt x="112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21" y="4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9"/>
                  </a:lnTo>
                  <a:lnTo>
                    <a:pt x="123" y="11"/>
                  </a:lnTo>
                  <a:lnTo>
                    <a:pt x="126" y="11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9" y="9"/>
                  </a:lnTo>
                  <a:lnTo>
                    <a:pt x="141" y="9"/>
                  </a:lnTo>
                  <a:lnTo>
                    <a:pt x="141" y="11"/>
                  </a:lnTo>
                  <a:lnTo>
                    <a:pt x="141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3" y="15"/>
                  </a:lnTo>
                  <a:lnTo>
                    <a:pt x="155" y="15"/>
                  </a:lnTo>
                  <a:lnTo>
                    <a:pt x="155" y="15"/>
                  </a:lnTo>
                  <a:lnTo>
                    <a:pt x="157" y="18"/>
                  </a:lnTo>
                  <a:lnTo>
                    <a:pt x="159" y="18"/>
                  </a:lnTo>
                  <a:lnTo>
                    <a:pt x="162" y="20"/>
                  </a:lnTo>
                  <a:lnTo>
                    <a:pt x="164" y="24"/>
                  </a:lnTo>
                  <a:lnTo>
                    <a:pt x="164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71" y="33"/>
                  </a:lnTo>
                  <a:lnTo>
                    <a:pt x="173" y="36"/>
                  </a:lnTo>
                  <a:lnTo>
                    <a:pt x="175" y="38"/>
                  </a:lnTo>
                  <a:lnTo>
                    <a:pt x="177" y="38"/>
                  </a:lnTo>
                  <a:lnTo>
                    <a:pt x="180" y="40"/>
                  </a:lnTo>
                  <a:lnTo>
                    <a:pt x="180" y="40"/>
                  </a:lnTo>
                  <a:lnTo>
                    <a:pt x="180" y="42"/>
                  </a:lnTo>
                  <a:lnTo>
                    <a:pt x="182" y="45"/>
                  </a:lnTo>
                  <a:lnTo>
                    <a:pt x="184" y="47"/>
                  </a:lnTo>
                  <a:lnTo>
                    <a:pt x="184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9" y="51"/>
                  </a:lnTo>
                  <a:lnTo>
                    <a:pt x="189" y="54"/>
                  </a:lnTo>
                  <a:lnTo>
                    <a:pt x="191" y="56"/>
                  </a:lnTo>
                  <a:lnTo>
                    <a:pt x="193" y="58"/>
                  </a:lnTo>
                  <a:lnTo>
                    <a:pt x="191" y="58"/>
                  </a:lnTo>
                  <a:lnTo>
                    <a:pt x="191" y="60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9" y="65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6" y="67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4"/>
                  </a:lnTo>
                  <a:lnTo>
                    <a:pt x="182" y="76"/>
                  </a:lnTo>
                  <a:lnTo>
                    <a:pt x="180" y="76"/>
                  </a:lnTo>
                  <a:lnTo>
                    <a:pt x="180" y="78"/>
                  </a:lnTo>
                  <a:lnTo>
                    <a:pt x="180" y="81"/>
                  </a:lnTo>
                  <a:lnTo>
                    <a:pt x="182" y="83"/>
                  </a:lnTo>
                  <a:lnTo>
                    <a:pt x="182" y="85"/>
                  </a:lnTo>
                  <a:lnTo>
                    <a:pt x="182" y="90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6" y="92"/>
                  </a:lnTo>
                  <a:lnTo>
                    <a:pt x="189" y="92"/>
                  </a:lnTo>
                  <a:lnTo>
                    <a:pt x="189" y="92"/>
                  </a:lnTo>
                  <a:lnTo>
                    <a:pt x="191" y="92"/>
                  </a:lnTo>
                  <a:lnTo>
                    <a:pt x="191" y="92"/>
                  </a:lnTo>
                  <a:lnTo>
                    <a:pt x="191" y="92"/>
                  </a:lnTo>
                  <a:lnTo>
                    <a:pt x="191" y="92"/>
                  </a:lnTo>
                  <a:lnTo>
                    <a:pt x="191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5" y="92"/>
                  </a:lnTo>
                  <a:lnTo>
                    <a:pt x="195" y="90"/>
                  </a:lnTo>
                  <a:lnTo>
                    <a:pt x="198" y="90"/>
                  </a:lnTo>
                  <a:lnTo>
                    <a:pt x="198" y="90"/>
                  </a:lnTo>
                  <a:lnTo>
                    <a:pt x="200" y="90"/>
                  </a:lnTo>
                  <a:lnTo>
                    <a:pt x="200" y="90"/>
                  </a:lnTo>
                  <a:lnTo>
                    <a:pt x="202" y="90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4" y="94"/>
                  </a:lnTo>
                  <a:lnTo>
                    <a:pt x="204" y="94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2" y="96"/>
                  </a:lnTo>
                  <a:lnTo>
                    <a:pt x="202" y="96"/>
                  </a:lnTo>
                  <a:lnTo>
                    <a:pt x="202" y="96"/>
                  </a:lnTo>
                  <a:lnTo>
                    <a:pt x="202" y="96"/>
                  </a:lnTo>
                  <a:lnTo>
                    <a:pt x="202" y="96"/>
                  </a:lnTo>
                  <a:lnTo>
                    <a:pt x="202" y="99"/>
                  </a:lnTo>
                  <a:lnTo>
                    <a:pt x="202" y="99"/>
                  </a:lnTo>
                  <a:lnTo>
                    <a:pt x="202" y="99"/>
                  </a:lnTo>
                  <a:lnTo>
                    <a:pt x="200" y="99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1"/>
                  </a:lnTo>
                  <a:lnTo>
                    <a:pt x="200" y="103"/>
                  </a:lnTo>
                  <a:lnTo>
                    <a:pt x="200" y="103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5"/>
                  </a:lnTo>
                  <a:lnTo>
                    <a:pt x="202" y="108"/>
                  </a:lnTo>
                  <a:lnTo>
                    <a:pt x="204" y="110"/>
                  </a:lnTo>
                  <a:lnTo>
                    <a:pt x="204" y="110"/>
                  </a:lnTo>
                  <a:lnTo>
                    <a:pt x="204" y="112"/>
                  </a:lnTo>
                  <a:lnTo>
                    <a:pt x="207" y="112"/>
                  </a:lnTo>
                  <a:lnTo>
                    <a:pt x="207" y="114"/>
                  </a:lnTo>
                  <a:lnTo>
                    <a:pt x="207" y="114"/>
                  </a:lnTo>
                  <a:lnTo>
                    <a:pt x="209" y="114"/>
                  </a:lnTo>
                  <a:lnTo>
                    <a:pt x="209" y="117"/>
                  </a:lnTo>
                  <a:lnTo>
                    <a:pt x="209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9"/>
                  </a:lnTo>
                  <a:lnTo>
                    <a:pt x="211" y="119"/>
                  </a:lnTo>
                  <a:lnTo>
                    <a:pt x="213" y="123"/>
                  </a:lnTo>
                  <a:lnTo>
                    <a:pt x="213" y="123"/>
                  </a:lnTo>
                  <a:lnTo>
                    <a:pt x="213" y="126"/>
                  </a:lnTo>
                  <a:lnTo>
                    <a:pt x="213" y="126"/>
                  </a:lnTo>
                  <a:lnTo>
                    <a:pt x="213" y="126"/>
                  </a:lnTo>
                  <a:lnTo>
                    <a:pt x="213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28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8" y="130"/>
                  </a:lnTo>
                  <a:lnTo>
                    <a:pt x="218" y="130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0" y="132"/>
                  </a:lnTo>
                  <a:lnTo>
                    <a:pt x="222" y="132"/>
                  </a:lnTo>
                  <a:lnTo>
                    <a:pt x="224" y="135"/>
                  </a:lnTo>
                  <a:lnTo>
                    <a:pt x="227" y="137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1" y="141"/>
                  </a:lnTo>
                  <a:lnTo>
                    <a:pt x="233" y="141"/>
                  </a:lnTo>
                  <a:lnTo>
                    <a:pt x="236" y="141"/>
                  </a:lnTo>
                  <a:lnTo>
                    <a:pt x="238" y="144"/>
                  </a:lnTo>
                  <a:lnTo>
                    <a:pt x="238" y="144"/>
                  </a:lnTo>
                  <a:lnTo>
                    <a:pt x="240" y="144"/>
                  </a:lnTo>
                  <a:lnTo>
                    <a:pt x="242" y="144"/>
                  </a:lnTo>
                  <a:lnTo>
                    <a:pt x="245" y="146"/>
                  </a:lnTo>
                  <a:lnTo>
                    <a:pt x="247" y="146"/>
                  </a:lnTo>
                  <a:lnTo>
                    <a:pt x="249" y="146"/>
                  </a:lnTo>
                  <a:lnTo>
                    <a:pt x="249" y="148"/>
                  </a:lnTo>
                  <a:lnTo>
                    <a:pt x="251" y="148"/>
                  </a:lnTo>
                  <a:lnTo>
                    <a:pt x="254" y="148"/>
                  </a:lnTo>
                  <a:lnTo>
                    <a:pt x="256" y="150"/>
                  </a:lnTo>
                  <a:lnTo>
                    <a:pt x="258" y="150"/>
                  </a:lnTo>
                  <a:lnTo>
                    <a:pt x="258" y="150"/>
                  </a:lnTo>
                  <a:lnTo>
                    <a:pt x="260" y="153"/>
                  </a:lnTo>
                  <a:lnTo>
                    <a:pt x="260" y="153"/>
                  </a:lnTo>
                  <a:lnTo>
                    <a:pt x="263" y="153"/>
                  </a:lnTo>
                  <a:lnTo>
                    <a:pt x="265" y="153"/>
                  </a:lnTo>
                  <a:lnTo>
                    <a:pt x="267" y="153"/>
                  </a:lnTo>
                  <a:lnTo>
                    <a:pt x="267" y="155"/>
                  </a:lnTo>
                  <a:lnTo>
                    <a:pt x="269" y="155"/>
                  </a:lnTo>
                  <a:lnTo>
                    <a:pt x="272" y="155"/>
                  </a:lnTo>
                  <a:lnTo>
                    <a:pt x="274" y="157"/>
                  </a:lnTo>
                  <a:lnTo>
                    <a:pt x="276" y="157"/>
                  </a:lnTo>
                  <a:lnTo>
                    <a:pt x="276" y="157"/>
                  </a:lnTo>
                  <a:lnTo>
                    <a:pt x="278" y="159"/>
                  </a:lnTo>
                  <a:lnTo>
                    <a:pt x="281" y="159"/>
                  </a:lnTo>
                  <a:lnTo>
                    <a:pt x="283" y="159"/>
                  </a:lnTo>
                  <a:lnTo>
                    <a:pt x="285" y="159"/>
                  </a:lnTo>
                  <a:lnTo>
                    <a:pt x="285" y="162"/>
                  </a:lnTo>
                  <a:lnTo>
                    <a:pt x="287" y="162"/>
                  </a:lnTo>
                  <a:lnTo>
                    <a:pt x="290" y="162"/>
                  </a:lnTo>
                  <a:lnTo>
                    <a:pt x="292" y="164"/>
                  </a:lnTo>
                  <a:lnTo>
                    <a:pt x="292" y="164"/>
                  </a:lnTo>
                  <a:lnTo>
                    <a:pt x="294" y="164"/>
                  </a:lnTo>
                  <a:lnTo>
                    <a:pt x="296" y="164"/>
                  </a:lnTo>
                  <a:lnTo>
                    <a:pt x="301" y="164"/>
                  </a:lnTo>
                  <a:lnTo>
                    <a:pt x="303" y="164"/>
                  </a:lnTo>
                  <a:lnTo>
                    <a:pt x="305" y="164"/>
                  </a:lnTo>
                  <a:lnTo>
                    <a:pt x="310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2" y="166"/>
                  </a:lnTo>
                  <a:lnTo>
                    <a:pt x="310" y="166"/>
                  </a:lnTo>
                  <a:lnTo>
                    <a:pt x="310" y="168"/>
                  </a:lnTo>
                  <a:lnTo>
                    <a:pt x="308" y="168"/>
                  </a:lnTo>
                  <a:lnTo>
                    <a:pt x="308" y="171"/>
                  </a:lnTo>
                  <a:lnTo>
                    <a:pt x="305" y="171"/>
                  </a:lnTo>
                  <a:lnTo>
                    <a:pt x="305" y="173"/>
                  </a:lnTo>
                  <a:lnTo>
                    <a:pt x="305" y="173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1" y="177"/>
                  </a:lnTo>
                  <a:lnTo>
                    <a:pt x="301" y="177"/>
                  </a:lnTo>
                  <a:lnTo>
                    <a:pt x="299" y="180"/>
                  </a:lnTo>
                  <a:lnTo>
                    <a:pt x="299" y="180"/>
                  </a:lnTo>
                  <a:lnTo>
                    <a:pt x="296" y="182"/>
                  </a:lnTo>
                  <a:lnTo>
                    <a:pt x="296" y="182"/>
                  </a:lnTo>
                  <a:lnTo>
                    <a:pt x="296" y="184"/>
                  </a:lnTo>
                  <a:lnTo>
                    <a:pt x="294" y="184"/>
                  </a:lnTo>
                  <a:lnTo>
                    <a:pt x="294" y="186"/>
                  </a:lnTo>
                  <a:lnTo>
                    <a:pt x="292" y="186"/>
                  </a:lnTo>
                  <a:lnTo>
                    <a:pt x="292" y="189"/>
                  </a:lnTo>
                  <a:lnTo>
                    <a:pt x="290" y="189"/>
                  </a:lnTo>
                  <a:lnTo>
                    <a:pt x="290" y="191"/>
                  </a:lnTo>
                  <a:lnTo>
                    <a:pt x="287" y="191"/>
                  </a:lnTo>
                  <a:lnTo>
                    <a:pt x="287" y="193"/>
                  </a:lnTo>
                  <a:lnTo>
                    <a:pt x="287" y="193"/>
                  </a:lnTo>
                  <a:lnTo>
                    <a:pt x="285" y="195"/>
                  </a:lnTo>
                  <a:lnTo>
                    <a:pt x="285" y="195"/>
                  </a:lnTo>
                  <a:lnTo>
                    <a:pt x="285" y="195"/>
                  </a:lnTo>
                  <a:lnTo>
                    <a:pt x="283" y="198"/>
                  </a:lnTo>
                  <a:lnTo>
                    <a:pt x="283" y="198"/>
                  </a:lnTo>
                  <a:lnTo>
                    <a:pt x="281" y="200"/>
                  </a:lnTo>
                  <a:lnTo>
                    <a:pt x="281" y="200"/>
                  </a:lnTo>
                  <a:lnTo>
                    <a:pt x="278" y="202"/>
                  </a:lnTo>
                  <a:lnTo>
                    <a:pt x="278" y="204"/>
                  </a:lnTo>
                  <a:lnTo>
                    <a:pt x="276" y="204"/>
                  </a:lnTo>
                  <a:lnTo>
                    <a:pt x="276" y="207"/>
                  </a:lnTo>
                  <a:lnTo>
                    <a:pt x="274" y="209"/>
                  </a:lnTo>
                  <a:lnTo>
                    <a:pt x="272" y="209"/>
                  </a:lnTo>
                  <a:lnTo>
                    <a:pt x="272" y="211"/>
                  </a:lnTo>
                  <a:lnTo>
                    <a:pt x="269" y="213"/>
                  </a:lnTo>
                  <a:lnTo>
                    <a:pt x="267" y="218"/>
                  </a:lnTo>
                  <a:lnTo>
                    <a:pt x="265" y="220"/>
                  </a:lnTo>
                  <a:lnTo>
                    <a:pt x="263" y="222"/>
                  </a:lnTo>
                  <a:lnTo>
                    <a:pt x="260" y="225"/>
                  </a:lnTo>
                  <a:lnTo>
                    <a:pt x="258" y="227"/>
                  </a:lnTo>
                  <a:lnTo>
                    <a:pt x="256" y="231"/>
                  </a:lnTo>
                  <a:lnTo>
                    <a:pt x="254" y="234"/>
                  </a:lnTo>
                  <a:lnTo>
                    <a:pt x="254" y="236"/>
                  </a:lnTo>
                  <a:lnTo>
                    <a:pt x="254" y="236"/>
                  </a:lnTo>
                  <a:lnTo>
                    <a:pt x="251" y="238"/>
                  </a:lnTo>
                  <a:lnTo>
                    <a:pt x="251" y="238"/>
                  </a:lnTo>
                  <a:lnTo>
                    <a:pt x="249" y="238"/>
                  </a:lnTo>
                  <a:lnTo>
                    <a:pt x="249" y="238"/>
                  </a:lnTo>
                  <a:lnTo>
                    <a:pt x="247" y="238"/>
                  </a:lnTo>
                  <a:lnTo>
                    <a:pt x="247" y="238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2" y="236"/>
                  </a:lnTo>
                  <a:lnTo>
                    <a:pt x="242" y="236"/>
                  </a:lnTo>
                  <a:lnTo>
                    <a:pt x="240" y="236"/>
                  </a:lnTo>
                  <a:lnTo>
                    <a:pt x="240" y="236"/>
                  </a:lnTo>
                  <a:lnTo>
                    <a:pt x="238" y="236"/>
                  </a:lnTo>
                  <a:lnTo>
                    <a:pt x="238" y="236"/>
                  </a:lnTo>
                  <a:lnTo>
                    <a:pt x="236" y="236"/>
                  </a:lnTo>
                  <a:lnTo>
                    <a:pt x="236" y="236"/>
                  </a:lnTo>
                  <a:lnTo>
                    <a:pt x="233" y="236"/>
                  </a:lnTo>
                  <a:lnTo>
                    <a:pt x="233" y="236"/>
                  </a:lnTo>
                  <a:lnTo>
                    <a:pt x="231" y="236"/>
                  </a:lnTo>
                  <a:lnTo>
                    <a:pt x="231" y="236"/>
                  </a:lnTo>
                  <a:lnTo>
                    <a:pt x="229" y="236"/>
                  </a:lnTo>
                  <a:lnTo>
                    <a:pt x="229" y="236"/>
                  </a:lnTo>
                  <a:lnTo>
                    <a:pt x="227" y="238"/>
                  </a:lnTo>
                  <a:lnTo>
                    <a:pt x="224" y="238"/>
                  </a:lnTo>
                  <a:lnTo>
                    <a:pt x="224" y="238"/>
                  </a:lnTo>
                  <a:lnTo>
                    <a:pt x="222" y="238"/>
                  </a:lnTo>
                  <a:lnTo>
                    <a:pt x="220" y="240"/>
                  </a:lnTo>
                  <a:lnTo>
                    <a:pt x="218" y="240"/>
                  </a:lnTo>
                  <a:lnTo>
                    <a:pt x="215" y="243"/>
                  </a:lnTo>
                  <a:lnTo>
                    <a:pt x="213" y="243"/>
                  </a:lnTo>
                  <a:lnTo>
                    <a:pt x="211" y="245"/>
                  </a:lnTo>
                  <a:lnTo>
                    <a:pt x="209" y="247"/>
                  </a:lnTo>
                  <a:lnTo>
                    <a:pt x="209" y="247"/>
                  </a:lnTo>
                  <a:lnTo>
                    <a:pt x="209" y="247"/>
                  </a:lnTo>
                  <a:lnTo>
                    <a:pt x="209" y="247"/>
                  </a:lnTo>
                  <a:lnTo>
                    <a:pt x="209" y="249"/>
                  </a:lnTo>
                  <a:lnTo>
                    <a:pt x="209" y="249"/>
                  </a:lnTo>
                  <a:lnTo>
                    <a:pt x="209" y="252"/>
                  </a:lnTo>
                  <a:lnTo>
                    <a:pt x="207" y="252"/>
                  </a:lnTo>
                  <a:lnTo>
                    <a:pt x="207" y="252"/>
                  </a:lnTo>
                  <a:lnTo>
                    <a:pt x="204" y="252"/>
                  </a:lnTo>
                  <a:lnTo>
                    <a:pt x="202" y="254"/>
                  </a:lnTo>
                  <a:lnTo>
                    <a:pt x="198" y="254"/>
                  </a:lnTo>
                  <a:lnTo>
                    <a:pt x="195" y="254"/>
                  </a:lnTo>
                  <a:lnTo>
                    <a:pt x="195" y="254"/>
                  </a:lnTo>
                  <a:lnTo>
                    <a:pt x="193" y="254"/>
                  </a:lnTo>
                  <a:lnTo>
                    <a:pt x="191" y="254"/>
                  </a:lnTo>
                  <a:lnTo>
                    <a:pt x="191" y="254"/>
                  </a:lnTo>
                  <a:lnTo>
                    <a:pt x="191" y="256"/>
                  </a:lnTo>
                  <a:lnTo>
                    <a:pt x="189" y="256"/>
                  </a:lnTo>
                  <a:lnTo>
                    <a:pt x="189" y="256"/>
                  </a:lnTo>
                  <a:lnTo>
                    <a:pt x="189" y="258"/>
                  </a:lnTo>
                  <a:lnTo>
                    <a:pt x="189" y="258"/>
                  </a:lnTo>
                  <a:lnTo>
                    <a:pt x="189" y="258"/>
                  </a:lnTo>
                  <a:lnTo>
                    <a:pt x="189" y="258"/>
                  </a:lnTo>
                  <a:lnTo>
                    <a:pt x="186" y="258"/>
                  </a:lnTo>
                  <a:lnTo>
                    <a:pt x="186" y="261"/>
                  </a:lnTo>
                  <a:lnTo>
                    <a:pt x="186" y="261"/>
                  </a:lnTo>
                  <a:lnTo>
                    <a:pt x="184" y="258"/>
                  </a:lnTo>
                  <a:lnTo>
                    <a:pt x="184" y="258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2" y="258"/>
                  </a:lnTo>
                  <a:lnTo>
                    <a:pt x="180" y="261"/>
                  </a:lnTo>
                  <a:lnTo>
                    <a:pt x="180" y="261"/>
                  </a:lnTo>
                  <a:lnTo>
                    <a:pt x="177" y="261"/>
                  </a:lnTo>
                  <a:lnTo>
                    <a:pt x="175" y="261"/>
                  </a:lnTo>
                  <a:lnTo>
                    <a:pt x="173" y="261"/>
                  </a:lnTo>
                  <a:lnTo>
                    <a:pt x="173" y="261"/>
                  </a:lnTo>
                  <a:lnTo>
                    <a:pt x="171" y="261"/>
                  </a:lnTo>
                  <a:lnTo>
                    <a:pt x="171" y="258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8" y="256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6" y="256"/>
                  </a:lnTo>
                  <a:lnTo>
                    <a:pt x="166" y="254"/>
                  </a:lnTo>
                  <a:lnTo>
                    <a:pt x="166" y="254"/>
                  </a:lnTo>
                  <a:lnTo>
                    <a:pt x="164" y="252"/>
                  </a:lnTo>
                  <a:lnTo>
                    <a:pt x="164" y="252"/>
                  </a:lnTo>
                  <a:lnTo>
                    <a:pt x="162" y="254"/>
                  </a:lnTo>
                  <a:lnTo>
                    <a:pt x="162" y="254"/>
                  </a:lnTo>
                  <a:lnTo>
                    <a:pt x="159" y="254"/>
                  </a:lnTo>
                  <a:lnTo>
                    <a:pt x="155" y="256"/>
                  </a:lnTo>
                  <a:lnTo>
                    <a:pt x="155" y="256"/>
                  </a:lnTo>
                  <a:lnTo>
                    <a:pt x="155" y="256"/>
                  </a:lnTo>
                  <a:lnTo>
                    <a:pt x="155" y="256"/>
                  </a:lnTo>
                  <a:lnTo>
                    <a:pt x="155" y="256"/>
                  </a:lnTo>
                  <a:lnTo>
                    <a:pt x="153" y="258"/>
                  </a:lnTo>
                  <a:lnTo>
                    <a:pt x="153" y="258"/>
                  </a:lnTo>
                  <a:lnTo>
                    <a:pt x="153" y="258"/>
                  </a:lnTo>
                  <a:lnTo>
                    <a:pt x="153" y="258"/>
                  </a:lnTo>
                  <a:lnTo>
                    <a:pt x="150" y="258"/>
                  </a:lnTo>
                  <a:lnTo>
                    <a:pt x="150" y="258"/>
                  </a:lnTo>
                  <a:lnTo>
                    <a:pt x="150" y="258"/>
                  </a:lnTo>
                  <a:lnTo>
                    <a:pt x="150" y="258"/>
                  </a:lnTo>
                  <a:lnTo>
                    <a:pt x="150" y="258"/>
                  </a:lnTo>
                  <a:lnTo>
                    <a:pt x="148" y="261"/>
                  </a:lnTo>
                  <a:lnTo>
                    <a:pt x="146" y="261"/>
                  </a:lnTo>
                  <a:lnTo>
                    <a:pt x="144" y="263"/>
                  </a:lnTo>
                  <a:lnTo>
                    <a:pt x="144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4" y="267"/>
                  </a:lnTo>
                  <a:lnTo>
                    <a:pt x="144" y="267"/>
                  </a:lnTo>
                  <a:lnTo>
                    <a:pt x="141" y="270"/>
                  </a:lnTo>
                  <a:lnTo>
                    <a:pt x="139" y="270"/>
                  </a:lnTo>
                  <a:lnTo>
                    <a:pt x="139" y="270"/>
                  </a:lnTo>
                  <a:lnTo>
                    <a:pt x="139" y="272"/>
                  </a:lnTo>
                  <a:lnTo>
                    <a:pt x="139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5" y="272"/>
                  </a:lnTo>
                  <a:lnTo>
                    <a:pt x="135" y="272"/>
                  </a:lnTo>
                  <a:lnTo>
                    <a:pt x="135" y="272"/>
                  </a:lnTo>
                  <a:lnTo>
                    <a:pt x="132" y="272"/>
                  </a:lnTo>
                  <a:lnTo>
                    <a:pt x="132" y="272"/>
                  </a:lnTo>
                  <a:lnTo>
                    <a:pt x="132" y="272"/>
                  </a:lnTo>
                  <a:lnTo>
                    <a:pt x="130" y="272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8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6" y="270"/>
                  </a:lnTo>
                  <a:lnTo>
                    <a:pt x="123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21" y="270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9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7" y="267"/>
                  </a:lnTo>
                  <a:lnTo>
                    <a:pt x="114" y="267"/>
                  </a:lnTo>
                  <a:lnTo>
                    <a:pt x="114" y="267"/>
                  </a:lnTo>
                  <a:lnTo>
                    <a:pt x="112" y="267"/>
                  </a:lnTo>
                  <a:lnTo>
                    <a:pt x="110" y="267"/>
                  </a:lnTo>
                  <a:lnTo>
                    <a:pt x="110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8" y="267"/>
                  </a:lnTo>
                  <a:lnTo>
                    <a:pt x="105" y="267"/>
                  </a:lnTo>
                  <a:lnTo>
                    <a:pt x="105" y="265"/>
                  </a:lnTo>
                  <a:lnTo>
                    <a:pt x="105" y="265"/>
                  </a:lnTo>
                  <a:lnTo>
                    <a:pt x="105" y="265"/>
                  </a:lnTo>
                  <a:lnTo>
                    <a:pt x="103" y="263"/>
                  </a:lnTo>
                  <a:lnTo>
                    <a:pt x="101" y="263"/>
                  </a:lnTo>
                  <a:lnTo>
                    <a:pt x="99" y="261"/>
                  </a:lnTo>
                  <a:lnTo>
                    <a:pt x="96" y="258"/>
                  </a:lnTo>
                  <a:lnTo>
                    <a:pt x="94" y="258"/>
                  </a:lnTo>
                  <a:lnTo>
                    <a:pt x="92" y="256"/>
                  </a:lnTo>
                  <a:lnTo>
                    <a:pt x="90" y="254"/>
                  </a:lnTo>
                  <a:lnTo>
                    <a:pt x="87" y="254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7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52"/>
                  </a:lnTo>
                  <a:lnTo>
                    <a:pt x="85" y="249"/>
                  </a:lnTo>
                  <a:lnTo>
                    <a:pt x="85" y="249"/>
                  </a:lnTo>
                  <a:lnTo>
                    <a:pt x="85" y="249"/>
                  </a:lnTo>
                  <a:lnTo>
                    <a:pt x="83" y="249"/>
                  </a:lnTo>
                  <a:lnTo>
                    <a:pt x="81" y="249"/>
                  </a:lnTo>
                  <a:lnTo>
                    <a:pt x="78" y="249"/>
                  </a:lnTo>
                  <a:lnTo>
                    <a:pt x="76" y="249"/>
                  </a:lnTo>
                  <a:lnTo>
                    <a:pt x="76" y="247"/>
                  </a:lnTo>
                  <a:lnTo>
                    <a:pt x="76" y="247"/>
                  </a:lnTo>
                  <a:lnTo>
                    <a:pt x="74" y="249"/>
                  </a:lnTo>
                  <a:lnTo>
                    <a:pt x="69" y="249"/>
                  </a:lnTo>
                  <a:lnTo>
                    <a:pt x="69" y="249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7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58" y="240"/>
                  </a:lnTo>
                  <a:lnTo>
                    <a:pt x="58" y="240"/>
                  </a:lnTo>
                  <a:lnTo>
                    <a:pt x="58" y="238"/>
                  </a:lnTo>
                  <a:lnTo>
                    <a:pt x="58" y="234"/>
                  </a:lnTo>
                  <a:lnTo>
                    <a:pt x="58" y="234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31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8" y="227"/>
                  </a:lnTo>
                  <a:lnTo>
                    <a:pt x="56" y="227"/>
                  </a:lnTo>
                  <a:lnTo>
                    <a:pt x="56" y="225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4" y="227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51" y="225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7" y="222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18"/>
                  </a:lnTo>
                  <a:lnTo>
                    <a:pt x="42" y="218"/>
                  </a:lnTo>
                  <a:lnTo>
                    <a:pt x="42" y="216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2" y="213"/>
                  </a:lnTo>
                  <a:lnTo>
                    <a:pt x="40" y="213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2" y="211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7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2"/>
                  </a:lnTo>
                  <a:lnTo>
                    <a:pt x="38" y="202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6" y="198"/>
                  </a:lnTo>
                  <a:lnTo>
                    <a:pt x="36" y="198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4" y="193"/>
                  </a:lnTo>
                  <a:lnTo>
                    <a:pt x="31" y="193"/>
                  </a:lnTo>
                  <a:lnTo>
                    <a:pt x="31" y="193"/>
                  </a:lnTo>
                  <a:lnTo>
                    <a:pt x="31" y="193"/>
                  </a:lnTo>
                  <a:lnTo>
                    <a:pt x="31" y="193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31" y="191"/>
                  </a:lnTo>
                  <a:lnTo>
                    <a:pt x="29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7" y="186"/>
                  </a:lnTo>
                  <a:lnTo>
                    <a:pt x="27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6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5" y="184"/>
                  </a:lnTo>
                  <a:lnTo>
                    <a:pt x="22" y="184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0"/>
                  </a:lnTo>
                  <a:lnTo>
                    <a:pt x="20" y="177"/>
                  </a:lnTo>
                  <a:lnTo>
                    <a:pt x="20" y="177"/>
                  </a:lnTo>
                  <a:lnTo>
                    <a:pt x="18" y="175"/>
                  </a:lnTo>
                  <a:lnTo>
                    <a:pt x="18" y="175"/>
                  </a:lnTo>
                  <a:lnTo>
                    <a:pt x="18" y="175"/>
                  </a:lnTo>
                  <a:lnTo>
                    <a:pt x="18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68"/>
                  </a:lnTo>
                  <a:lnTo>
                    <a:pt x="9" y="168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4" y="168"/>
                  </a:lnTo>
                  <a:lnTo>
                    <a:pt x="4" y="168"/>
                  </a:lnTo>
                  <a:lnTo>
                    <a:pt x="4" y="168"/>
                  </a:lnTo>
                  <a:lnTo>
                    <a:pt x="4" y="168"/>
                  </a:lnTo>
                  <a:lnTo>
                    <a:pt x="4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8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9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4" y="157"/>
                  </a:lnTo>
                  <a:lnTo>
                    <a:pt x="4" y="157"/>
                  </a:lnTo>
                  <a:lnTo>
                    <a:pt x="4" y="157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3" y="153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8" y="153"/>
                  </a:lnTo>
                  <a:lnTo>
                    <a:pt x="18" y="153"/>
                  </a:lnTo>
                  <a:lnTo>
                    <a:pt x="18" y="153"/>
                  </a:lnTo>
                  <a:lnTo>
                    <a:pt x="20" y="153"/>
                  </a:lnTo>
                  <a:lnTo>
                    <a:pt x="20" y="153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48"/>
                  </a:lnTo>
                  <a:lnTo>
                    <a:pt x="20" y="128"/>
                  </a:lnTo>
                  <a:lnTo>
                    <a:pt x="22" y="123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7" y="112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4" y="96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8" y="92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3" y="49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36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0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101" y="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5" name="Freeform 602"/>
            <p:cNvSpPr>
              <a:spLocks noEditPoints="1"/>
            </p:cNvSpPr>
            <p:nvPr/>
          </p:nvSpPr>
          <p:spPr bwMode="auto">
            <a:xfrm>
              <a:off x="6264336" y="1620743"/>
              <a:ext cx="175500" cy="78556"/>
            </a:xfrm>
            <a:custGeom>
              <a:avLst/>
              <a:gdLst>
                <a:gd name="T0" fmla="*/ 6 w 105"/>
                <a:gd name="T1" fmla="*/ 29 h 47"/>
                <a:gd name="T2" fmla="*/ 6 w 105"/>
                <a:gd name="T3" fmla="*/ 27 h 47"/>
                <a:gd name="T4" fmla="*/ 13 w 105"/>
                <a:gd name="T5" fmla="*/ 24 h 47"/>
                <a:gd name="T6" fmla="*/ 20 w 105"/>
                <a:gd name="T7" fmla="*/ 24 h 47"/>
                <a:gd name="T8" fmla="*/ 24 w 105"/>
                <a:gd name="T9" fmla="*/ 27 h 47"/>
                <a:gd name="T10" fmla="*/ 22 w 105"/>
                <a:gd name="T11" fmla="*/ 27 h 47"/>
                <a:gd name="T12" fmla="*/ 20 w 105"/>
                <a:gd name="T13" fmla="*/ 29 h 47"/>
                <a:gd name="T14" fmla="*/ 15 w 105"/>
                <a:gd name="T15" fmla="*/ 31 h 47"/>
                <a:gd name="T16" fmla="*/ 13 w 105"/>
                <a:gd name="T17" fmla="*/ 31 h 47"/>
                <a:gd name="T18" fmla="*/ 9 w 105"/>
                <a:gd name="T19" fmla="*/ 33 h 47"/>
                <a:gd name="T20" fmla="*/ 4 w 105"/>
                <a:gd name="T21" fmla="*/ 38 h 47"/>
                <a:gd name="T22" fmla="*/ 6 w 105"/>
                <a:gd name="T23" fmla="*/ 36 h 47"/>
                <a:gd name="T24" fmla="*/ 2 w 105"/>
                <a:gd name="T25" fmla="*/ 31 h 47"/>
                <a:gd name="T26" fmla="*/ 4 w 105"/>
                <a:gd name="T27" fmla="*/ 29 h 47"/>
                <a:gd name="T28" fmla="*/ 27 w 105"/>
                <a:gd name="T29" fmla="*/ 24 h 47"/>
                <a:gd name="T30" fmla="*/ 24 w 105"/>
                <a:gd name="T31" fmla="*/ 24 h 47"/>
                <a:gd name="T32" fmla="*/ 27 w 105"/>
                <a:gd name="T33" fmla="*/ 22 h 47"/>
                <a:gd name="T34" fmla="*/ 24 w 105"/>
                <a:gd name="T35" fmla="*/ 15 h 47"/>
                <a:gd name="T36" fmla="*/ 22 w 105"/>
                <a:gd name="T37" fmla="*/ 13 h 47"/>
                <a:gd name="T38" fmla="*/ 18 w 105"/>
                <a:gd name="T39" fmla="*/ 15 h 47"/>
                <a:gd name="T40" fmla="*/ 20 w 105"/>
                <a:gd name="T41" fmla="*/ 18 h 47"/>
                <a:gd name="T42" fmla="*/ 18 w 105"/>
                <a:gd name="T43" fmla="*/ 20 h 47"/>
                <a:gd name="T44" fmla="*/ 15 w 105"/>
                <a:gd name="T45" fmla="*/ 20 h 47"/>
                <a:gd name="T46" fmla="*/ 11 w 105"/>
                <a:gd name="T47" fmla="*/ 20 h 47"/>
                <a:gd name="T48" fmla="*/ 9 w 105"/>
                <a:gd name="T49" fmla="*/ 15 h 47"/>
                <a:gd name="T50" fmla="*/ 11 w 105"/>
                <a:gd name="T51" fmla="*/ 13 h 47"/>
                <a:gd name="T52" fmla="*/ 67 w 105"/>
                <a:gd name="T53" fmla="*/ 2 h 47"/>
                <a:gd name="T54" fmla="*/ 76 w 105"/>
                <a:gd name="T55" fmla="*/ 2 h 47"/>
                <a:gd name="T56" fmla="*/ 101 w 105"/>
                <a:gd name="T57" fmla="*/ 6 h 47"/>
                <a:gd name="T58" fmla="*/ 103 w 105"/>
                <a:gd name="T59" fmla="*/ 9 h 47"/>
                <a:gd name="T60" fmla="*/ 94 w 105"/>
                <a:gd name="T61" fmla="*/ 18 h 47"/>
                <a:gd name="T62" fmla="*/ 103 w 105"/>
                <a:gd name="T63" fmla="*/ 38 h 47"/>
                <a:gd name="T64" fmla="*/ 101 w 105"/>
                <a:gd name="T65" fmla="*/ 42 h 47"/>
                <a:gd name="T66" fmla="*/ 98 w 105"/>
                <a:gd name="T67" fmla="*/ 45 h 47"/>
                <a:gd name="T68" fmla="*/ 94 w 105"/>
                <a:gd name="T69" fmla="*/ 47 h 47"/>
                <a:gd name="T70" fmla="*/ 87 w 105"/>
                <a:gd name="T71" fmla="*/ 47 h 47"/>
                <a:gd name="T72" fmla="*/ 80 w 105"/>
                <a:gd name="T73" fmla="*/ 47 h 47"/>
                <a:gd name="T74" fmla="*/ 69 w 105"/>
                <a:gd name="T75" fmla="*/ 40 h 47"/>
                <a:gd name="T76" fmla="*/ 62 w 105"/>
                <a:gd name="T77" fmla="*/ 38 h 47"/>
                <a:gd name="T78" fmla="*/ 60 w 105"/>
                <a:gd name="T79" fmla="*/ 38 h 47"/>
                <a:gd name="T80" fmla="*/ 53 w 105"/>
                <a:gd name="T81" fmla="*/ 38 h 47"/>
                <a:gd name="T82" fmla="*/ 44 w 105"/>
                <a:gd name="T83" fmla="*/ 40 h 47"/>
                <a:gd name="T84" fmla="*/ 47 w 105"/>
                <a:gd name="T85" fmla="*/ 33 h 47"/>
                <a:gd name="T86" fmla="*/ 42 w 105"/>
                <a:gd name="T87" fmla="*/ 29 h 47"/>
                <a:gd name="T88" fmla="*/ 38 w 105"/>
                <a:gd name="T89" fmla="*/ 31 h 47"/>
                <a:gd name="T90" fmla="*/ 33 w 105"/>
                <a:gd name="T91" fmla="*/ 29 h 47"/>
                <a:gd name="T92" fmla="*/ 31 w 105"/>
                <a:gd name="T93" fmla="*/ 27 h 47"/>
                <a:gd name="T94" fmla="*/ 29 w 105"/>
                <a:gd name="T95" fmla="*/ 24 h 47"/>
                <a:gd name="T96" fmla="*/ 29 w 105"/>
                <a:gd name="T97" fmla="*/ 20 h 47"/>
                <a:gd name="T98" fmla="*/ 33 w 105"/>
                <a:gd name="T99" fmla="*/ 20 h 47"/>
                <a:gd name="T100" fmla="*/ 29 w 105"/>
                <a:gd name="T101" fmla="*/ 20 h 47"/>
                <a:gd name="T102" fmla="*/ 29 w 105"/>
                <a:gd name="T103" fmla="*/ 15 h 47"/>
                <a:gd name="T104" fmla="*/ 29 w 105"/>
                <a:gd name="T105" fmla="*/ 15 h 47"/>
                <a:gd name="T106" fmla="*/ 27 w 105"/>
                <a:gd name="T107" fmla="*/ 13 h 47"/>
                <a:gd name="T108" fmla="*/ 29 w 105"/>
                <a:gd name="T109" fmla="*/ 9 h 47"/>
                <a:gd name="T110" fmla="*/ 35 w 105"/>
                <a:gd name="T111" fmla="*/ 9 h 47"/>
                <a:gd name="T112" fmla="*/ 38 w 105"/>
                <a:gd name="T113" fmla="*/ 6 h 47"/>
                <a:gd name="T114" fmla="*/ 44 w 105"/>
                <a:gd name="T115" fmla="*/ 6 h 47"/>
                <a:gd name="T116" fmla="*/ 47 w 105"/>
                <a:gd name="T117" fmla="*/ 6 h 47"/>
                <a:gd name="T118" fmla="*/ 49 w 105"/>
                <a:gd name="T119" fmla="*/ 4 h 47"/>
                <a:gd name="T120" fmla="*/ 60 w 105"/>
                <a:gd name="T121" fmla="*/ 4 h 47"/>
                <a:gd name="T122" fmla="*/ 62 w 105"/>
                <a:gd name="T123" fmla="*/ 2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5" h="47">
                  <a:moveTo>
                    <a:pt x="2" y="27"/>
                  </a:move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close/>
                  <a:moveTo>
                    <a:pt x="2" y="27"/>
                  </a:moveTo>
                  <a:lnTo>
                    <a:pt x="2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close/>
                  <a:moveTo>
                    <a:pt x="27" y="24"/>
                  </a:move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7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4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4"/>
                  </a:lnTo>
                  <a:lnTo>
                    <a:pt x="27" y="24"/>
                  </a:lnTo>
                  <a:close/>
                  <a:moveTo>
                    <a:pt x="22" y="13"/>
                  </a:move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close/>
                  <a:moveTo>
                    <a:pt x="11" y="13"/>
                  </a:move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close/>
                  <a:moveTo>
                    <a:pt x="65" y="2"/>
                  </a:move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8" y="2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6"/>
                  </a:lnTo>
                  <a:lnTo>
                    <a:pt x="87" y="6"/>
                  </a:lnTo>
                  <a:lnTo>
                    <a:pt x="89" y="6"/>
                  </a:lnTo>
                  <a:lnTo>
                    <a:pt x="92" y="6"/>
                  </a:lnTo>
                  <a:lnTo>
                    <a:pt x="94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4"/>
                  </a:lnTo>
                  <a:lnTo>
                    <a:pt x="103" y="4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6" y="18"/>
                  </a:lnTo>
                  <a:lnTo>
                    <a:pt x="94" y="18"/>
                  </a:lnTo>
                  <a:lnTo>
                    <a:pt x="94" y="20"/>
                  </a:lnTo>
                  <a:lnTo>
                    <a:pt x="96" y="22"/>
                  </a:lnTo>
                  <a:lnTo>
                    <a:pt x="96" y="24"/>
                  </a:lnTo>
                  <a:lnTo>
                    <a:pt x="98" y="29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101" y="33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40"/>
                  </a:lnTo>
                  <a:lnTo>
                    <a:pt x="103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3" y="40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6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9" y="47"/>
                  </a:lnTo>
                  <a:lnTo>
                    <a:pt x="89" y="45"/>
                  </a:lnTo>
                  <a:lnTo>
                    <a:pt x="89" y="45"/>
                  </a:lnTo>
                  <a:lnTo>
                    <a:pt x="89" y="45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3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5"/>
                  </a:lnTo>
                  <a:lnTo>
                    <a:pt x="78" y="45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1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2" y="38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4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5"/>
                  </a:lnTo>
                  <a:lnTo>
                    <a:pt x="27" y="18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8" y="6"/>
                  </a:lnTo>
                  <a:lnTo>
                    <a:pt x="38" y="9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3" y="4"/>
                  </a:lnTo>
                  <a:lnTo>
                    <a:pt x="51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5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6" name="Freeform 603"/>
            <p:cNvSpPr>
              <a:spLocks/>
            </p:cNvSpPr>
            <p:nvPr/>
          </p:nvSpPr>
          <p:spPr bwMode="auto">
            <a:xfrm>
              <a:off x="6909506" y="3252054"/>
              <a:ext cx="240685" cy="223971"/>
            </a:xfrm>
            <a:custGeom>
              <a:avLst/>
              <a:gdLst>
                <a:gd name="T0" fmla="*/ 54 w 144"/>
                <a:gd name="T1" fmla="*/ 24 h 134"/>
                <a:gd name="T2" fmla="*/ 56 w 144"/>
                <a:gd name="T3" fmla="*/ 33 h 134"/>
                <a:gd name="T4" fmla="*/ 56 w 144"/>
                <a:gd name="T5" fmla="*/ 38 h 134"/>
                <a:gd name="T6" fmla="*/ 63 w 144"/>
                <a:gd name="T7" fmla="*/ 51 h 134"/>
                <a:gd name="T8" fmla="*/ 63 w 144"/>
                <a:gd name="T9" fmla="*/ 56 h 134"/>
                <a:gd name="T10" fmla="*/ 63 w 144"/>
                <a:gd name="T11" fmla="*/ 58 h 134"/>
                <a:gd name="T12" fmla="*/ 70 w 144"/>
                <a:gd name="T13" fmla="*/ 65 h 134"/>
                <a:gd name="T14" fmla="*/ 72 w 144"/>
                <a:gd name="T15" fmla="*/ 69 h 134"/>
                <a:gd name="T16" fmla="*/ 72 w 144"/>
                <a:gd name="T17" fmla="*/ 65 h 134"/>
                <a:gd name="T18" fmla="*/ 70 w 144"/>
                <a:gd name="T19" fmla="*/ 60 h 134"/>
                <a:gd name="T20" fmla="*/ 76 w 144"/>
                <a:gd name="T21" fmla="*/ 63 h 134"/>
                <a:gd name="T22" fmla="*/ 76 w 144"/>
                <a:gd name="T23" fmla="*/ 65 h 134"/>
                <a:gd name="T24" fmla="*/ 76 w 144"/>
                <a:gd name="T25" fmla="*/ 67 h 134"/>
                <a:gd name="T26" fmla="*/ 79 w 144"/>
                <a:gd name="T27" fmla="*/ 72 h 134"/>
                <a:gd name="T28" fmla="*/ 83 w 144"/>
                <a:gd name="T29" fmla="*/ 72 h 134"/>
                <a:gd name="T30" fmla="*/ 85 w 144"/>
                <a:gd name="T31" fmla="*/ 72 h 134"/>
                <a:gd name="T32" fmla="*/ 85 w 144"/>
                <a:gd name="T33" fmla="*/ 72 h 134"/>
                <a:gd name="T34" fmla="*/ 88 w 144"/>
                <a:gd name="T35" fmla="*/ 74 h 134"/>
                <a:gd name="T36" fmla="*/ 90 w 144"/>
                <a:gd name="T37" fmla="*/ 76 h 134"/>
                <a:gd name="T38" fmla="*/ 92 w 144"/>
                <a:gd name="T39" fmla="*/ 78 h 134"/>
                <a:gd name="T40" fmla="*/ 103 w 144"/>
                <a:gd name="T41" fmla="*/ 83 h 134"/>
                <a:gd name="T42" fmla="*/ 108 w 144"/>
                <a:gd name="T43" fmla="*/ 92 h 134"/>
                <a:gd name="T44" fmla="*/ 115 w 144"/>
                <a:gd name="T45" fmla="*/ 96 h 134"/>
                <a:gd name="T46" fmla="*/ 119 w 144"/>
                <a:gd name="T47" fmla="*/ 101 h 134"/>
                <a:gd name="T48" fmla="*/ 121 w 144"/>
                <a:gd name="T49" fmla="*/ 103 h 134"/>
                <a:gd name="T50" fmla="*/ 124 w 144"/>
                <a:gd name="T51" fmla="*/ 105 h 134"/>
                <a:gd name="T52" fmla="*/ 121 w 144"/>
                <a:gd name="T53" fmla="*/ 103 h 134"/>
                <a:gd name="T54" fmla="*/ 126 w 144"/>
                <a:gd name="T55" fmla="*/ 107 h 134"/>
                <a:gd name="T56" fmla="*/ 130 w 144"/>
                <a:gd name="T57" fmla="*/ 112 h 134"/>
                <a:gd name="T58" fmla="*/ 135 w 144"/>
                <a:gd name="T59" fmla="*/ 119 h 134"/>
                <a:gd name="T60" fmla="*/ 137 w 144"/>
                <a:gd name="T61" fmla="*/ 123 h 134"/>
                <a:gd name="T62" fmla="*/ 139 w 144"/>
                <a:gd name="T63" fmla="*/ 121 h 134"/>
                <a:gd name="T64" fmla="*/ 142 w 144"/>
                <a:gd name="T65" fmla="*/ 123 h 134"/>
                <a:gd name="T66" fmla="*/ 135 w 144"/>
                <a:gd name="T67" fmla="*/ 132 h 134"/>
                <a:gd name="T68" fmla="*/ 121 w 144"/>
                <a:gd name="T69" fmla="*/ 123 h 134"/>
                <a:gd name="T70" fmla="*/ 101 w 144"/>
                <a:gd name="T71" fmla="*/ 101 h 134"/>
                <a:gd name="T72" fmla="*/ 79 w 144"/>
                <a:gd name="T73" fmla="*/ 83 h 134"/>
                <a:gd name="T74" fmla="*/ 70 w 144"/>
                <a:gd name="T75" fmla="*/ 83 h 134"/>
                <a:gd name="T76" fmla="*/ 61 w 144"/>
                <a:gd name="T77" fmla="*/ 83 h 134"/>
                <a:gd name="T78" fmla="*/ 54 w 144"/>
                <a:gd name="T79" fmla="*/ 78 h 134"/>
                <a:gd name="T80" fmla="*/ 49 w 144"/>
                <a:gd name="T81" fmla="*/ 83 h 134"/>
                <a:gd name="T82" fmla="*/ 40 w 144"/>
                <a:gd name="T83" fmla="*/ 83 h 134"/>
                <a:gd name="T84" fmla="*/ 36 w 144"/>
                <a:gd name="T85" fmla="*/ 78 h 134"/>
                <a:gd name="T86" fmla="*/ 34 w 144"/>
                <a:gd name="T87" fmla="*/ 76 h 134"/>
                <a:gd name="T88" fmla="*/ 25 w 144"/>
                <a:gd name="T89" fmla="*/ 92 h 134"/>
                <a:gd name="T90" fmla="*/ 22 w 144"/>
                <a:gd name="T91" fmla="*/ 87 h 134"/>
                <a:gd name="T92" fmla="*/ 16 w 144"/>
                <a:gd name="T93" fmla="*/ 85 h 134"/>
                <a:gd name="T94" fmla="*/ 13 w 144"/>
                <a:gd name="T95" fmla="*/ 87 h 134"/>
                <a:gd name="T96" fmla="*/ 4 w 144"/>
                <a:gd name="T97" fmla="*/ 87 h 134"/>
                <a:gd name="T98" fmla="*/ 2 w 144"/>
                <a:gd name="T99" fmla="*/ 65 h 134"/>
                <a:gd name="T100" fmla="*/ 9 w 144"/>
                <a:gd name="T101" fmla="*/ 42 h 134"/>
                <a:gd name="T102" fmla="*/ 9 w 144"/>
                <a:gd name="T103" fmla="*/ 33 h 134"/>
                <a:gd name="T104" fmla="*/ 11 w 144"/>
                <a:gd name="T105" fmla="*/ 27 h 134"/>
                <a:gd name="T106" fmla="*/ 11 w 144"/>
                <a:gd name="T107" fmla="*/ 22 h 134"/>
                <a:gd name="T108" fmla="*/ 18 w 144"/>
                <a:gd name="T109" fmla="*/ 22 h 134"/>
                <a:gd name="T110" fmla="*/ 27 w 144"/>
                <a:gd name="T111" fmla="*/ 13 h 134"/>
                <a:gd name="T112" fmla="*/ 31 w 144"/>
                <a:gd name="T113" fmla="*/ 11 h 134"/>
                <a:gd name="T114" fmla="*/ 36 w 144"/>
                <a:gd name="T115" fmla="*/ 11 h 134"/>
                <a:gd name="T116" fmla="*/ 45 w 144"/>
                <a:gd name="T117" fmla="*/ 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34">
                  <a:moveTo>
                    <a:pt x="47" y="6"/>
                  </a:moveTo>
                  <a:lnTo>
                    <a:pt x="49" y="11"/>
                  </a:lnTo>
                  <a:lnTo>
                    <a:pt x="49" y="13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6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9"/>
                  </a:lnTo>
                  <a:lnTo>
                    <a:pt x="61" y="49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7" y="58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70" y="63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0" y="76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2" y="78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4" y="78"/>
                  </a:lnTo>
                  <a:lnTo>
                    <a:pt x="97" y="78"/>
                  </a:lnTo>
                  <a:lnTo>
                    <a:pt x="97" y="78"/>
                  </a:lnTo>
                  <a:lnTo>
                    <a:pt x="99" y="78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1" y="81"/>
                  </a:lnTo>
                  <a:lnTo>
                    <a:pt x="101" y="83"/>
                  </a:lnTo>
                  <a:lnTo>
                    <a:pt x="103" y="83"/>
                  </a:lnTo>
                  <a:lnTo>
                    <a:pt x="103" y="83"/>
                  </a:lnTo>
                  <a:lnTo>
                    <a:pt x="103" y="83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6" y="87"/>
                  </a:lnTo>
                  <a:lnTo>
                    <a:pt x="106" y="87"/>
                  </a:lnTo>
                  <a:lnTo>
                    <a:pt x="106" y="87"/>
                  </a:lnTo>
                  <a:lnTo>
                    <a:pt x="108" y="89"/>
                  </a:lnTo>
                  <a:lnTo>
                    <a:pt x="108" y="89"/>
                  </a:lnTo>
                  <a:lnTo>
                    <a:pt x="108" y="89"/>
                  </a:lnTo>
                  <a:lnTo>
                    <a:pt x="108" y="89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2"/>
                  </a:lnTo>
                  <a:lnTo>
                    <a:pt x="110" y="94"/>
                  </a:lnTo>
                  <a:lnTo>
                    <a:pt x="110" y="94"/>
                  </a:lnTo>
                  <a:lnTo>
                    <a:pt x="110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5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7" y="98"/>
                  </a:lnTo>
                  <a:lnTo>
                    <a:pt x="119" y="98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9" y="103"/>
                  </a:lnTo>
                  <a:lnTo>
                    <a:pt x="119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5"/>
                  </a:lnTo>
                  <a:lnTo>
                    <a:pt x="121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4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1" y="103"/>
                  </a:lnTo>
                  <a:lnTo>
                    <a:pt x="124" y="103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6" y="105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07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6" y="112"/>
                  </a:lnTo>
                  <a:lnTo>
                    <a:pt x="128" y="114"/>
                  </a:lnTo>
                  <a:lnTo>
                    <a:pt x="128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0" y="114"/>
                  </a:lnTo>
                  <a:lnTo>
                    <a:pt x="133" y="114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3" y="116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1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7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3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39" y="121"/>
                  </a:lnTo>
                  <a:lnTo>
                    <a:pt x="142" y="121"/>
                  </a:lnTo>
                  <a:lnTo>
                    <a:pt x="142" y="121"/>
                  </a:lnTo>
                  <a:lnTo>
                    <a:pt x="142" y="121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4" y="125"/>
                  </a:lnTo>
                  <a:lnTo>
                    <a:pt x="144" y="125"/>
                  </a:lnTo>
                  <a:lnTo>
                    <a:pt x="139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28"/>
                  </a:lnTo>
                  <a:lnTo>
                    <a:pt x="137" y="130"/>
                  </a:lnTo>
                  <a:lnTo>
                    <a:pt x="135" y="130"/>
                  </a:lnTo>
                  <a:lnTo>
                    <a:pt x="137" y="130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2"/>
                  </a:lnTo>
                  <a:lnTo>
                    <a:pt x="135" y="134"/>
                  </a:lnTo>
                  <a:lnTo>
                    <a:pt x="130" y="130"/>
                  </a:lnTo>
                  <a:lnTo>
                    <a:pt x="130" y="130"/>
                  </a:lnTo>
                  <a:lnTo>
                    <a:pt x="128" y="130"/>
                  </a:lnTo>
                  <a:lnTo>
                    <a:pt x="128" y="130"/>
                  </a:lnTo>
                  <a:lnTo>
                    <a:pt x="128" y="132"/>
                  </a:lnTo>
                  <a:lnTo>
                    <a:pt x="126" y="130"/>
                  </a:lnTo>
                  <a:lnTo>
                    <a:pt x="124" y="128"/>
                  </a:lnTo>
                  <a:lnTo>
                    <a:pt x="124" y="125"/>
                  </a:lnTo>
                  <a:lnTo>
                    <a:pt x="121" y="123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7" y="119"/>
                  </a:lnTo>
                  <a:lnTo>
                    <a:pt x="115" y="116"/>
                  </a:lnTo>
                  <a:lnTo>
                    <a:pt x="115" y="114"/>
                  </a:lnTo>
                  <a:lnTo>
                    <a:pt x="115" y="114"/>
                  </a:lnTo>
                  <a:lnTo>
                    <a:pt x="112" y="112"/>
                  </a:lnTo>
                  <a:lnTo>
                    <a:pt x="110" y="112"/>
                  </a:lnTo>
                  <a:lnTo>
                    <a:pt x="108" y="110"/>
                  </a:lnTo>
                  <a:lnTo>
                    <a:pt x="106" y="107"/>
                  </a:lnTo>
                  <a:lnTo>
                    <a:pt x="103" y="105"/>
                  </a:lnTo>
                  <a:lnTo>
                    <a:pt x="101" y="103"/>
                  </a:lnTo>
                  <a:lnTo>
                    <a:pt x="101" y="101"/>
                  </a:lnTo>
                  <a:lnTo>
                    <a:pt x="99" y="98"/>
                  </a:lnTo>
                  <a:lnTo>
                    <a:pt x="97" y="94"/>
                  </a:lnTo>
                  <a:lnTo>
                    <a:pt x="94" y="92"/>
                  </a:lnTo>
                  <a:lnTo>
                    <a:pt x="92" y="92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88" y="89"/>
                  </a:lnTo>
                  <a:lnTo>
                    <a:pt x="85" y="89"/>
                  </a:lnTo>
                  <a:lnTo>
                    <a:pt x="85" y="87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4" y="83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70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5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7" y="83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5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6"/>
                  </a:lnTo>
                  <a:lnTo>
                    <a:pt x="29" y="81"/>
                  </a:lnTo>
                  <a:lnTo>
                    <a:pt x="29" y="83"/>
                  </a:lnTo>
                  <a:lnTo>
                    <a:pt x="27" y="87"/>
                  </a:lnTo>
                  <a:lnTo>
                    <a:pt x="27" y="89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2" y="85"/>
                  </a:lnTo>
                  <a:lnTo>
                    <a:pt x="2" y="81"/>
                  </a:lnTo>
                  <a:lnTo>
                    <a:pt x="2" y="78"/>
                  </a:lnTo>
                  <a:lnTo>
                    <a:pt x="2" y="74"/>
                  </a:lnTo>
                  <a:lnTo>
                    <a:pt x="0" y="69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2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6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7" name="Freeform 604"/>
            <p:cNvSpPr>
              <a:spLocks/>
            </p:cNvSpPr>
            <p:nvPr/>
          </p:nvSpPr>
          <p:spPr bwMode="auto">
            <a:xfrm>
              <a:off x="5970165" y="3875495"/>
              <a:ext cx="71872" cy="56828"/>
            </a:xfrm>
            <a:custGeom>
              <a:avLst/>
              <a:gdLst>
                <a:gd name="T0" fmla="*/ 18 w 43"/>
                <a:gd name="T1" fmla="*/ 4 h 34"/>
                <a:gd name="T2" fmla="*/ 36 w 43"/>
                <a:gd name="T3" fmla="*/ 4 h 34"/>
                <a:gd name="T4" fmla="*/ 43 w 43"/>
                <a:gd name="T5" fmla="*/ 7 h 34"/>
                <a:gd name="T6" fmla="*/ 43 w 43"/>
                <a:gd name="T7" fmla="*/ 25 h 34"/>
                <a:gd name="T8" fmla="*/ 30 w 43"/>
                <a:gd name="T9" fmla="*/ 31 h 34"/>
                <a:gd name="T10" fmla="*/ 16 w 43"/>
                <a:gd name="T11" fmla="*/ 31 h 34"/>
                <a:gd name="T12" fmla="*/ 14 w 43"/>
                <a:gd name="T13" fmla="*/ 31 h 34"/>
                <a:gd name="T14" fmla="*/ 14 w 43"/>
                <a:gd name="T15" fmla="*/ 34 h 34"/>
                <a:gd name="T16" fmla="*/ 14 w 43"/>
                <a:gd name="T17" fmla="*/ 31 h 34"/>
                <a:gd name="T18" fmla="*/ 12 w 43"/>
                <a:gd name="T19" fmla="*/ 31 h 34"/>
                <a:gd name="T20" fmla="*/ 12 w 43"/>
                <a:gd name="T21" fmla="*/ 31 h 34"/>
                <a:gd name="T22" fmla="*/ 12 w 43"/>
                <a:gd name="T23" fmla="*/ 29 h 34"/>
                <a:gd name="T24" fmla="*/ 12 w 43"/>
                <a:gd name="T25" fmla="*/ 29 h 34"/>
                <a:gd name="T26" fmla="*/ 12 w 43"/>
                <a:gd name="T27" fmla="*/ 29 h 34"/>
                <a:gd name="T28" fmla="*/ 9 w 43"/>
                <a:gd name="T29" fmla="*/ 29 h 34"/>
                <a:gd name="T30" fmla="*/ 9 w 43"/>
                <a:gd name="T31" fmla="*/ 29 h 34"/>
                <a:gd name="T32" fmla="*/ 9 w 43"/>
                <a:gd name="T33" fmla="*/ 29 h 34"/>
                <a:gd name="T34" fmla="*/ 9 w 43"/>
                <a:gd name="T35" fmla="*/ 29 h 34"/>
                <a:gd name="T36" fmla="*/ 7 w 43"/>
                <a:gd name="T37" fmla="*/ 29 h 34"/>
                <a:gd name="T38" fmla="*/ 7 w 43"/>
                <a:gd name="T39" fmla="*/ 29 h 34"/>
                <a:gd name="T40" fmla="*/ 5 w 43"/>
                <a:gd name="T41" fmla="*/ 29 h 34"/>
                <a:gd name="T42" fmla="*/ 5 w 43"/>
                <a:gd name="T43" fmla="*/ 29 h 34"/>
                <a:gd name="T44" fmla="*/ 3 w 43"/>
                <a:gd name="T45" fmla="*/ 29 h 34"/>
                <a:gd name="T46" fmla="*/ 3 w 43"/>
                <a:gd name="T47" fmla="*/ 27 h 34"/>
                <a:gd name="T48" fmla="*/ 3 w 43"/>
                <a:gd name="T49" fmla="*/ 27 h 34"/>
                <a:gd name="T50" fmla="*/ 3 w 43"/>
                <a:gd name="T51" fmla="*/ 27 h 34"/>
                <a:gd name="T52" fmla="*/ 3 w 43"/>
                <a:gd name="T53" fmla="*/ 25 h 34"/>
                <a:gd name="T54" fmla="*/ 3 w 43"/>
                <a:gd name="T55" fmla="*/ 25 h 34"/>
                <a:gd name="T56" fmla="*/ 5 w 43"/>
                <a:gd name="T57" fmla="*/ 22 h 34"/>
                <a:gd name="T58" fmla="*/ 5 w 43"/>
                <a:gd name="T59" fmla="*/ 20 h 34"/>
                <a:gd name="T60" fmla="*/ 5 w 43"/>
                <a:gd name="T61" fmla="*/ 20 h 34"/>
                <a:gd name="T62" fmla="*/ 7 w 43"/>
                <a:gd name="T63" fmla="*/ 18 h 34"/>
                <a:gd name="T64" fmla="*/ 7 w 43"/>
                <a:gd name="T65" fmla="*/ 18 h 34"/>
                <a:gd name="T66" fmla="*/ 7 w 43"/>
                <a:gd name="T67" fmla="*/ 18 h 34"/>
                <a:gd name="T68" fmla="*/ 9 w 43"/>
                <a:gd name="T69" fmla="*/ 18 h 34"/>
                <a:gd name="T70" fmla="*/ 9 w 43"/>
                <a:gd name="T71" fmla="*/ 18 h 34"/>
                <a:gd name="T72" fmla="*/ 7 w 43"/>
                <a:gd name="T73" fmla="*/ 16 h 34"/>
                <a:gd name="T74" fmla="*/ 9 w 43"/>
                <a:gd name="T75" fmla="*/ 13 h 34"/>
                <a:gd name="T76" fmla="*/ 9 w 43"/>
                <a:gd name="T77" fmla="*/ 13 h 34"/>
                <a:gd name="T78" fmla="*/ 9 w 43"/>
                <a:gd name="T79" fmla="*/ 11 h 34"/>
                <a:gd name="T80" fmla="*/ 9 w 43"/>
                <a:gd name="T81" fmla="*/ 11 h 34"/>
                <a:gd name="T82" fmla="*/ 9 w 43"/>
                <a:gd name="T83" fmla="*/ 11 h 34"/>
                <a:gd name="T84" fmla="*/ 12 w 43"/>
                <a:gd name="T85" fmla="*/ 9 h 34"/>
                <a:gd name="T86" fmla="*/ 12 w 43"/>
                <a:gd name="T87" fmla="*/ 7 h 34"/>
                <a:gd name="T88" fmla="*/ 9 w 43"/>
                <a:gd name="T89" fmla="*/ 4 h 34"/>
                <a:gd name="T90" fmla="*/ 9 w 43"/>
                <a:gd name="T91" fmla="*/ 4 h 34"/>
                <a:gd name="T92" fmla="*/ 12 w 43"/>
                <a:gd name="T93" fmla="*/ 0 h 34"/>
                <a:gd name="T94" fmla="*/ 12 w 43"/>
                <a:gd name="T95" fmla="*/ 0 h 34"/>
                <a:gd name="T96" fmla="*/ 12 w 43"/>
                <a:gd name="T97" fmla="*/ 0 h 34"/>
                <a:gd name="T98" fmla="*/ 12 w 43"/>
                <a:gd name="T99" fmla="*/ 2 h 34"/>
                <a:gd name="T100" fmla="*/ 14 w 43"/>
                <a:gd name="T101" fmla="*/ 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3" h="34">
                  <a:moveTo>
                    <a:pt x="14" y="4"/>
                  </a:moveTo>
                  <a:lnTo>
                    <a:pt x="14" y="4"/>
                  </a:lnTo>
                  <a:lnTo>
                    <a:pt x="18" y="4"/>
                  </a:lnTo>
                  <a:lnTo>
                    <a:pt x="25" y="4"/>
                  </a:lnTo>
                  <a:lnTo>
                    <a:pt x="30" y="4"/>
                  </a:lnTo>
                  <a:lnTo>
                    <a:pt x="36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7"/>
                  </a:lnTo>
                  <a:lnTo>
                    <a:pt x="43" y="13"/>
                  </a:lnTo>
                  <a:lnTo>
                    <a:pt x="43" y="18"/>
                  </a:lnTo>
                  <a:lnTo>
                    <a:pt x="43" y="25"/>
                  </a:lnTo>
                  <a:lnTo>
                    <a:pt x="43" y="31"/>
                  </a:lnTo>
                  <a:lnTo>
                    <a:pt x="36" y="31"/>
                  </a:lnTo>
                  <a:lnTo>
                    <a:pt x="30" y="31"/>
                  </a:lnTo>
                  <a:lnTo>
                    <a:pt x="25" y="31"/>
                  </a:lnTo>
                  <a:lnTo>
                    <a:pt x="18" y="31"/>
                  </a:lnTo>
                  <a:lnTo>
                    <a:pt x="16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7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0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7"/>
                  </a:lnTo>
                  <a:lnTo>
                    <a:pt x="9" y="7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8" name="Freeform 605"/>
            <p:cNvSpPr>
              <a:spLocks/>
            </p:cNvSpPr>
            <p:nvPr/>
          </p:nvSpPr>
          <p:spPr bwMode="auto">
            <a:xfrm>
              <a:off x="2505302" y="3394125"/>
              <a:ext cx="85243" cy="48471"/>
            </a:xfrm>
            <a:custGeom>
              <a:avLst/>
              <a:gdLst>
                <a:gd name="T0" fmla="*/ 18 w 51"/>
                <a:gd name="T1" fmla="*/ 0 h 29"/>
                <a:gd name="T2" fmla="*/ 22 w 51"/>
                <a:gd name="T3" fmla="*/ 0 h 29"/>
                <a:gd name="T4" fmla="*/ 22 w 51"/>
                <a:gd name="T5" fmla="*/ 0 h 29"/>
                <a:gd name="T6" fmla="*/ 24 w 51"/>
                <a:gd name="T7" fmla="*/ 2 h 29"/>
                <a:gd name="T8" fmla="*/ 24 w 51"/>
                <a:gd name="T9" fmla="*/ 4 h 29"/>
                <a:gd name="T10" fmla="*/ 27 w 51"/>
                <a:gd name="T11" fmla="*/ 4 h 29"/>
                <a:gd name="T12" fmla="*/ 27 w 51"/>
                <a:gd name="T13" fmla="*/ 7 h 29"/>
                <a:gd name="T14" fmla="*/ 29 w 51"/>
                <a:gd name="T15" fmla="*/ 7 h 29"/>
                <a:gd name="T16" fmla="*/ 31 w 51"/>
                <a:gd name="T17" fmla="*/ 9 h 29"/>
                <a:gd name="T18" fmla="*/ 31 w 51"/>
                <a:gd name="T19" fmla="*/ 9 h 29"/>
                <a:gd name="T20" fmla="*/ 33 w 51"/>
                <a:gd name="T21" fmla="*/ 11 h 29"/>
                <a:gd name="T22" fmla="*/ 33 w 51"/>
                <a:gd name="T23" fmla="*/ 11 h 29"/>
                <a:gd name="T24" fmla="*/ 36 w 51"/>
                <a:gd name="T25" fmla="*/ 13 h 29"/>
                <a:gd name="T26" fmla="*/ 38 w 51"/>
                <a:gd name="T27" fmla="*/ 13 h 29"/>
                <a:gd name="T28" fmla="*/ 38 w 51"/>
                <a:gd name="T29" fmla="*/ 11 h 29"/>
                <a:gd name="T30" fmla="*/ 38 w 51"/>
                <a:gd name="T31" fmla="*/ 11 h 29"/>
                <a:gd name="T32" fmla="*/ 40 w 51"/>
                <a:gd name="T33" fmla="*/ 11 h 29"/>
                <a:gd name="T34" fmla="*/ 40 w 51"/>
                <a:gd name="T35" fmla="*/ 9 h 29"/>
                <a:gd name="T36" fmla="*/ 42 w 51"/>
                <a:gd name="T37" fmla="*/ 9 h 29"/>
                <a:gd name="T38" fmla="*/ 45 w 51"/>
                <a:gd name="T39" fmla="*/ 13 h 29"/>
                <a:gd name="T40" fmla="*/ 47 w 51"/>
                <a:gd name="T41" fmla="*/ 13 h 29"/>
                <a:gd name="T42" fmla="*/ 47 w 51"/>
                <a:gd name="T43" fmla="*/ 11 h 29"/>
                <a:gd name="T44" fmla="*/ 49 w 51"/>
                <a:gd name="T45" fmla="*/ 13 h 29"/>
                <a:gd name="T46" fmla="*/ 51 w 51"/>
                <a:gd name="T47" fmla="*/ 13 h 29"/>
                <a:gd name="T48" fmla="*/ 49 w 51"/>
                <a:gd name="T49" fmla="*/ 18 h 29"/>
                <a:gd name="T50" fmla="*/ 49 w 51"/>
                <a:gd name="T51" fmla="*/ 20 h 29"/>
                <a:gd name="T52" fmla="*/ 49 w 51"/>
                <a:gd name="T53" fmla="*/ 22 h 29"/>
                <a:gd name="T54" fmla="*/ 47 w 51"/>
                <a:gd name="T55" fmla="*/ 22 h 29"/>
                <a:gd name="T56" fmla="*/ 47 w 51"/>
                <a:gd name="T57" fmla="*/ 27 h 29"/>
                <a:gd name="T58" fmla="*/ 45 w 51"/>
                <a:gd name="T59" fmla="*/ 29 h 29"/>
                <a:gd name="T60" fmla="*/ 40 w 51"/>
                <a:gd name="T61" fmla="*/ 29 h 29"/>
                <a:gd name="T62" fmla="*/ 36 w 51"/>
                <a:gd name="T63" fmla="*/ 29 h 29"/>
                <a:gd name="T64" fmla="*/ 36 w 51"/>
                <a:gd name="T65" fmla="*/ 29 h 29"/>
                <a:gd name="T66" fmla="*/ 36 w 51"/>
                <a:gd name="T67" fmla="*/ 29 h 29"/>
                <a:gd name="T68" fmla="*/ 33 w 51"/>
                <a:gd name="T69" fmla="*/ 29 h 29"/>
                <a:gd name="T70" fmla="*/ 33 w 51"/>
                <a:gd name="T71" fmla="*/ 29 h 29"/>
                <a:gd name="T72" fmla="*/ 33 w 51"/>
                <a:gd name="T73" fmla="*/ 27 h 29"/>
                <a:gd name="T74" fmla="*/ 31 w 51"/>
                <a:gd name="T75" fmla="*/ 27 h 29"/>
                <a:gd name="T76" fmla="*/ 29 w 51"/>
                <a:gd name="T77" fmla="*/ 27 h 29"/>
                <a:gd name="T78" fmla="*/ 31 w 51"/>
                <a:gd name="T79" fmla="*/ 27 h 29"/>
                <a:gd name="T80" fmla="*/ 31 w 51"/>
                <a:gd name="T81" fmla="*/ 29 h 29"/>
                <a:gd name="T82" fmla="*/ 33 w 51"/>
                <a:gd name="T83" fmla="*/ 29 h 29"/>
                <a:gd name="T84" fmla="*/ 31 w 51"/>
                <a:gd name="T85" fmla="*/ 29 h 29"/>
                <a:gd name="T86" fmla="*/ 15 w 51"/>
                <a:gd name="T87" fmla="*/ 22 h 29"/>
                <a:gd name="T88" fmla="*/ 6 w 51"/>
                <a:gd name="T89" fmla="*/ 20 h 29"/>
                <a:gd name="T90" fmla="*/ 4 w 51"/>
                <a:gd name="T91" fmla="*/ 18 h 29"/>
                <a:gd name="T92" fmla="*/ 0 w 51"/>
                <a:gd name="T93" fmla="*/ 13 h 29"/>
                <a:gd name="T94" fmla="*/ 2 w 51"/>
                <a:gd name="T95" fmla="*/ 11 h 29"/>
                <a:gd name="T96" fmla="*/ 6 w 51"/>
                <a:gd name="T97" fmla="*/ 9 h 29"/>
                <a:gd name="T98" fmla="*/ 9 w 51"/>
                <a:gd name="T99" fmla="*/ 9 h 29"/>
                <a:gd name="T100" fmla="*/ 11 w 51"/>
                <a:gd name="T101" fmla="*/ 4 h 29"/>
                <a:gd name="T102" fmla="*/ 13 w 51"/>
                <a:gd name="T103" fmla="*/ 4 h 29"/>
                <a:gd name="T104" fmla="*/ 13 w 51"/>
                <a:gd name="T105" fmla="*/ 2 h 29"/>
                <a:gd name="T106" fmla="*/ 13 w 51"/>
                <a:gd name="T107" fmla="*/ 2 h 29"/>
                <a:gd name="T108" fmla="*/ 13 w 51"/>
                <a:gd name="T109" fmla="*/ 0 h 29"/>
                <a:gd name="T110" fmla="*/ 15 w 51"/>
                <a:gd name="T111" fmla="*/ 0 h 29"/>
                <a:gd name="T112" fmla="*/ 15 w 51"/>
                <a:gd name="T11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" h="29">
                  <a:moveTo>
                    <a:pt x="18" y="0"/>
                  </a:move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8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1" y="29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2" y="25"/>
                  </a:lnTo>
                  <a:lnTo>
                    <a:pt x="20" y="22"/>
                  </a:lnTo>
                  <a:lnTo>
                    <a:pt x="18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9" name="Freeform 606"/>
            <p:cNvSpPr>
              <a:spLocks/>
            </p:cNvSpPr>
            <p:nvPr/>
          </p:nvSpPr>
          <p:spPr bwMode="auto">
            <a:xfrm>
              <a:off x="6478279" y="2707169"/>
              <a:ext cx="434571" cy="386099"/>
            </a:xfrm>
            <a:custGeom>
              <a:avLst/>
              <a:gdLst>
                <a:gd name="T0" fmla="*/ 45 w 260"/>
                <a:gd name="T1" fmla="*/ 6 h 231"/>
                <a:gd name="T2" fmla="*/ 54 w 260"/>
                <a:gd name="T3" fmla="*/ 11 h 231"/>
                <a:gd name="T4" fmla="*/ 69 w 260"/>
                <a:gd name="T5" fmla="*/ 15 h 231"/>
                <a:gd name="T6" fmla="*/ 96 w 260"/>
                <a:gd name="T7" fmla="*/ 15 h 231"/>
                <a:gd name="T8" fmla="*/ 105 w 260"/>
                <a:gd name="T9" fmla="*/ 9 h 231"/>
                <a:gd name="T10" fmla="*/ 110 w 260"/>
                <a:gd name="T11" fmla="*/ 11 h 231"/>
                <a:gd name="T12" fmla="*/ 110 w 260"/>
                <a:gd name="T13" fmla="*/ 4 h 231"/>
                <a:gd name="T14" fmla="*/ 114 w 260"/>
                <a:gd name="T15" fmla="*/ 6 h 231"/>
                <a:gd name="T16" fmla="*/ 121 w 260"/>
                <a:gd name="T17" fmla="*/ 6 h 231"/>
                <a:gd name="T18" fmla="*/ 123 w 260"/>
                <a:gd name="T19" fmla="*/ 4 h 231"/>
                <a:gd name="T20" fmla="*/ 134 w 260"/>
                <a:gd name="T21" fmla="*/ 6 h 231"/>
                <a:gd name="T22" fmla="*/ 146 w 260"/>
                <a:gd name="T23" fmla="*/ 9 h 231"/>
                <a:gd name="T24" fmla="*/ 141 w 260"/>
                <a:gd name="T25" fmla="*/ 4 h 231"/>
                <a:gd name="T26" fmla="*/ 141 w 260"/>
                <a:gd name="T27" fmla="*/ 6 h 231"/>
                <a:gd name="T28" fmla="*/ 141 w 260"/>
                <a:gd name="T29" fmla="*/ 9 h 231"/>
                <a:gd name="T30" fmla="*/ 141 w 260"/>
                <a:gd name="T31" fmla="*/ 9 h 231"/>
                <a:gd name="T32" fmla="*/ 143 w 260"/>
                <a:gd name="T33" fmla="*/ 11 h 231"/>
                <a:gd name="T34" fmla="*/ 146 w 260"/>
                <a:gd name="T35" fmla="*/ 11 h 231"/>
                <a:gd name="T36" fmla="*/ 146 w 260"/>
                <a:gd name="T37" fmla="*/ 13 h 231"/>
                <a:gd name="T38" fmla="*/ 148 w 260"/>
                <a:gd name="T39" fmla="*/ 13 h 231"/>
                <a:gd name="T40" fmla="*/ 150 w 260"/>
                <a:gd name="T41" fmla="*/ 9 h 231"/>
                <a:gd name="T42" fmla="*/ 159 w 260"/>
                <a:gd name="T43" fmla="*/ 15 h 231"/>
                <a:gd name="T44" fmla="*/ 164 w 260"/>
                <a:gd name="T45" fmla="*/ 13 h 231"/>
                <a:gd name="T46" fmla="*/ 164 w 260"/>
                <a:gd name="T47" fmla="*/ 13 h 231"/>
                <a:gd name="T48" fmla="*/ 168 w 260"/>
                <a:gd name="T49" fmla="*/ 15 h 231"/>
                <a:gd name="T50" fmla="*/ 170 w 260"/>
                <a:gd name="T51" fmla="*/ 13 h 231"/>
                <a:gd name="T52" fmla="*/ 193 w 260"/>
                <a:gd name="T53" fmla="*/ 18 h 231"/>
                <a:gd name="T54" fmla="*/ 204 w 260"/>
                <a:gd name="T55" fmla="*/ 51 h 231"/>
                <a:gd name="T56" fmla="*/ 204 w 260"/>
                <a:gd name="T57" fmla="*/ 56 h 231"/>
                <a:gd name="T58" fmla="*/ 202 w 260"/>
                <a:gd name="T59" fmla="*/ 65 h 231"/>
                <a:gd name="T60" fmla="*/ 200 w 260"/>
                <a:gd name="T61" fmla="*/ 74 h 231"/>
                <a:gd name="T62" fmla="*/ 200 w 260"/>
                <a:gd name="T63" fmla="*/ 83 h 231"/>
                <a:gd name="T64" fmla="*/ 197 w 260"/>
                <a:gd name="T65" fmla="*/ 92 h 231"/>
                <a:gd name="T66" fmla="*/ 197 w 260"/>
                <a:gd name="T67" fmla="*/ 94 h 231"/>
                <a:gd name="T68" fmla="*/ 186 w 260"/>
                <a:gd name="T69" fmla="*/ 87 h 231"/>
                <a:gd name="T70" fmla="*/ 177 w 260"/>
                <a:gd name="T71" fmla="*/ 76 h 231"/>
                <a:gd name="T72" fmla="*/ 173 w 260"/>
                <a:gd name="T73" fmla="*/ 69 h 231"/>
                <a:gd name="T74" fmla="*/ 170 w 260"/>
                <a:gd name="T75" fmla="*/ 60 h 231"/>
                <a:gd name="T76" fmla="*/ 164 w 260"/>
                <a:gd name="T77" fmla="*/ 53 h 231"/>
                <a:gd name="T78" fmla="*/ 161 w 260"/>
                <a:gd name="T79" fmla="*/ 47 h 231"/>
                <a:gd name="T80" fmla="*/ 157 w 260"/>
                <a:gd name="T81" fmla="*/ 40 h 231"/>
                <a:gd name="T82" fmla="*/ 155 w 260"/>
                <a:gd name="T83" fmla="*/ 51 h 231"/>
                <a:gd name="T84" fmla="*/ 161 w 260"/>
                <a:gd name="T85" fmla="*/ 65 h 231"/>
                <a:gd name="T86" fmla="*/ 173 w 260"/>
                <a:gd name="T87" fmla="*/ 78 h 231"/>
                <a:gd name="T88" fmla="*/ 179 w 260"/>
                <a:gd name="T89" fmla="*/ 87 h 231"/>
                <a:gd name="T90" fmla="*/ 182 w 260"/>
                <a:gd name="T91" fmla="*/ 94 h 231"/>
                <a:gd name="T92" fmla="*/ 182 w 260"/>
                <a:gd name="T93" fmla="*/ 96 h 231"/>
                <a:gd name="T94" fmla="*/ 188 w 260"/>
                <a:gd name="T95" fmla="*/ 107 h 231"/>
                <a:gd name="T96" fmla="*/ 193 w 260"/>
                <a:gd name="T97" fmla="*/ 116 h 231"/>
                <a:gd name="T98" fmla="*/ 209 w 260"/>
                <a:gd name="T99" fmla="*/ 146 h 231"/>
                <a:gd name="T100" fmla="*/ 220 w 260"/>
                <a:gd name="T101" fmla="*/ 168 h 231"/>
                <a:gd name="T102" fmla="*/ 233 w 260"/>
                <a:gd name="T103" fmla="*/ 182 h 231"/>
                <a:gd name="T104" fmla="*/ 229 w 260"/>
                <a:gd name="T105" fmla="*/ 184 h 231"/>
                <a:gd name="T106" fmla="*/ 231 w 260"/>
                <a:gd name="T107" fmla="*/ 202 h 231"/>
                <a:gd name="T108" fmla="*/ 240 w 260"/>
                <a:gd name="T109" fmla="*/ 213 h 231"/>
                <a:gd name="T110" fmla="*/ 256 w 260"/>
                <a:gd name="T111" fmla="*/ 227 h 231"/>
                <a:gd name="T112" fmla="*/ 202 w 260"/>
                <a:gd name="T113" fmla="*/ 231 h 231"/>
                <a:gd name="T114" fmla="*/ 148 w 260"/>
                <a:gd name="T115" fmla="*/ 224 h 231"/>
                <a:gd name="T116" fmla="*/ 101 w 260"/>
                <a:gd name="T117" fmla="*/ 231 h 231"/>
                <a:gd name="T118" fmla="*/ 45 w 260"/>
                <a:gd name="T119" fmla="*/ 231 h 231"/>
                <a:gd name="T120" fmla="*/ 11 w 260"/>
                <a:gd name="T121" fmla="*/ 139 h 231"/>
                <a:gd name="T122" fmla="*/ 0 w 260"/>
                <a:gd name="T123" fmla="*/ 35 h 231"/>
                <a:gd name="T124" fmla="*/ 4 w 260"/>
                <a:gd name="T125" fmla="*/ 2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60" h="231">
                  <a:moveTo>
                    <a:pt x="9" y="4"/>
                  </a:moveTo>
                  <a:lnTo>
                    <a:pt x="9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5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31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4" y="13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6" y="15"/>
                  </a:lnTo>
                  <a:lnTo>
                    <a:pt x="78" y="15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5" y="20"/>
                  </a:lnTo>
                  <a:lnTo>
                    <a:pt x="87" y="20"/>
                  </a:lnTo>
                  <a:lnTo>
                    <a:pt x="89" y="20"/>
                  </a:lnTo>
                  <a:lnTo>
                    <a:pt x="92" y="18"/>
                  </a:lnTo>
                  <a:lnTo>
                    <a:pt x="94" y="18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8" y="2"/>
                  </a:lnTo>
                  <a:lnTo>
                    <a:pt x="130" y="4"/>
                  </a:lnTo>
                  <a:lnTo>
                    <a:pt x="132" y="4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9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6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6"/>
                  </a:lnTo>
                  <a:lnTo>
                    <a:pt x="143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39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6"/>
                  </a:lnTo>
                  <a:lnTo>
                    <a:pt x="141" y="6"/>
                  </a:lnTo>
                  <a:lnTo>
                    <a:pt x="141" y="9"/>
                  </a:lnTo>
                  <a:lnTo>
                    <a:pt x="139" y="9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6" y="15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50" y="13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2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3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59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59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59" y="15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1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4" y="15"/>
                  </a:lnTo>
                  <a:lnTo>
                    <a:pt x="166" y="15"/>
                  </a:lnTo>
                  <a:lnTo>
                    <a:pt x="166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6" y="13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6" y="11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8" y="15"/>
                  </a:lnTo>
                  <a:lnTo>
                    <a:pt x="168" y="15"/>
                  </a:lnTo>
                  <a:lnTo>
                    <a:pt x="168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82" y="13"/>
                  </a:lnTo>
                  <a:lnTo>
                    <a:pt x="186" y="11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9"/>
                  </a:lnTo>
                  <a:lnTo>
                    <a:pt x="188" y="11"/>
                  </a:lnTo>
                  <a:lnTo>
                    <a:pt x="191" y="13"/>
                  </a:lnTo>
                  <a:lnTo>
                    <a:pt x="191" y="15"/>
                  </a:lnTo>
                  <a:lnTo>
                    <a:pt x="193" y="18"/>
                  </a:lnTo>
                  <a:lnTo>
                    <a:pt x="193" y="20"/>
                  </a:lnTo>
                  <a:lnTo>
                    <a:pt x="195" y="24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197" y="31"/>
                  </a:lnTo>
                  <a:lnTo>
                    <a:pt x="200" y="33"/>
                  </a:lnTo>
                  <a:lnTo>
                    <a:pt x="200" y="38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2" y="40"/>
                  </a:lnTo>
                  <a:lnTo>
                    <a:pt x="204" y="44"/>
                  </a:lnTo>
                  <a:lnTo>
                    <a:pt x="204" y="47"/>
                  </a:lnTo>
                  <a:lnTo>
                    <a:pt x="204" y="49"/>
                  </a:lnTo>
                  <a:lnTo>
                    <a:pt x="204" y="49"/>
                  </a:lnTo>
                  <a:lnTo>
                    <a:pt x="204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3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4" y="58"/>
                  </a:lnTo>
                  <a:lnTo>
                    <a:pt x="204" y="60"/>
                  </a:lnTo>
                  <a:lnTo>
                    <a:pt x="202" y="60"/>
                  </a:lnTo>
                  <a:lnTo>
                    <a:pt x="202" y="60"/>
                  </a:lnTo>
                  <a:lnTo>
                    <a:pt x="202" y="60"/>
                  </a:lnTo>
                  <a:lnTo>
                    <a:pt x="202" y="60"/>
                  </a:lnTo>
                  <a:lnTo>
                    <a:pt x="202" y="60"/>
                  </a:lnTo>
                  <a:lnTo>
                    <a:pt x="202" y="60"/>
                  </a:lnTo>
                  <a:lnTo>
                    <a:pt x="202" y="60"/>
                  </a:lnTo>
                  <a:lnTo>
                    <a:pt x="202" y="62"/>
                  </a:lnTo>
                  <a:lnTo>
                    <a:pt x="202" y="62"/>
                  </a:lnTo>
                  <a:lnTo>
                    <a:pt x="202" y="62"/>
                  </a:lnTo>
                  <a:lnTo>
                    <a:pt x="202" y="62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67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69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202" y="71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4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0" y="78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0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3"/>
                  </a:lnTo>
                  <a:lnTo>
                    <a:pt x="200" y="85"/>
                  </a:lnTo>
                  <a:lnTo>
                    <a:pt x="200" y="85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7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200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89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89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7" y="92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7" y="94"/>
                  </a:lnTo>
                  <a:lnTo>
                    <a:pt x="195" y="94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5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1" y="89"/>
                  </a:lnTo>
                  <a:lnTo>
                    <a:pt x="191" y="89"/>
                  </a:lnTo>
                  <a:lnTo>
                    <a:pt x="191" y="89"/>
                  </a:lnTo>
                  <a:lnTo>
                    <a:pt x="188" y="89"/>
                  </a:lnTo>
                  <a:lnTo>
                    <a:pt x="188" y="89"/>
                  </a:lnTo>
                  <a:lnTo>
                    <a:pt x="188" y="89"/>
                  </a:lnTo>
                  <a:lnTo>
                    <a:pt x="188" y="89"/>
                  </a:lnTo>
                  <a:lnTo>
                    <a:pt x="188" y="87"/>
                  </a:lnTo>
                  <a:lnTo>
                    <a:pt x="188" y="89"/>
                  </a:lnTo>
                  <a:lnTo>
                    <a:pt x="188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6" y="87"/>
                  </a:lnTo>
                  <a:lnTo>
                    <a:pt x="184" y="85"/>
                  </a:lnTo>
                  <a:lnTo>
                    <a:pt x="184" y="85"/>
                  </a:lnTo>
                  <a:lnTo>
                    <a:pt x="184" y="85"/>
                  </a:lnTo>
                  <a:lnTo>
                    <a:pt x="184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4" y="83"/>
                  </a:lnTo>
                  <a:lnTo>
                    <a:pt x="182" y="83"/>
                  </a:lnTo>
                  <a:lnTo>
                    <a:pt x="182" y="80"/>
                  </a:lnTo>
                  <a:lnTo>
                    <a:pt x="182" y="83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9" y="78"/>
                  </a:lnTo>
                  <a:lnTo>
                    <a:pt x="177" y="78"/>
                  </a:lnTo>
                  <a:lnTo>
                    <a:pt x="177" y="76"/>
                  </a:lnTo>
                  <a:lnTo>
                    <a:pt x="177" y="76"/>
                  </a:lnTo>
                  <a:lnTo>
                    <a:pt x="177" y="76"/>
                  </a:lnTo>
                  <a:lnTo>
                    <a:pt x="175" y="76"/>
                  </a:lnTo>
                  <a:lnTo>
                    <a:pt x="175" y="76"/>
                  </a:lnTo>
                  <a:lnTo>
                    <a:pt x="175" y="76"/>
                  </a:lnTo>
                  <a:lnTo>
                    <a:pt x="175" y="76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4"/>
                  </a:lnTo>
                  <a:lnTo>
                    <a:pt x="175" y="71"/>
                  </a:lnTo>
                  <a:lnTo>
                    <a:pt x="173" y="71"/>
                  </a:lnTo>
                  <a:lnTo>
                    <a:pt x="173" y="71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9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7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3" y="62"/>
                  </a:lnTo>
                  <a:lnTo>
                    <a:pt x="170" y="62"/>
                  </a:lnTo>
                  <a:lnTo>
                    <a:pt x="170" y="62"/>
                  </a:lnTo>
                  <a:lnTo>
                    <a:pt x="170" y="62"/>
                  </a:lnTo>
                  <a:lnTo>
                    <a:pt x="170" y="62"/>
                  </a:lnTo>
                  <a:lnTo>
                    <a:pt x="170" y="62"/>
                  </a:lnTo>
                  <a:lnTo>
                    <a:pt x="170" y="62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70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60"/>
                  </a:lnTo>
                  <a:lnTo>
                    <a:pt x="168" y="58"/>
                  </a:lnTo>
                  <a:lnTo>
                    <a:pt x="168" y="58"/>
                  </a:lnTo>
                  <a:lnTo>
                    <a:pt x="166" y="58"/>
                  </a:lnTo>
                  <a:lnTo>
                    <a:pt x="166" y="58"/>
                  </a:lnTo>
                  <a:lnTo>
                    <a:pt x="166" y="58"/>
                  </a:lnTo>
                  <a:lnTo>
                    <a:pt x="166" y="58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6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6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1" y="53"/>
                  </a:lnTo>
                  <a:lnTo>
                    <a:pt x="164" y="53"/>
                  </a:lnTo>
                  <a:lnTo>
                    <a:pt x="164" y="53"/>
                  </a:lnTo>
                  <a:lnTo>
                    <a:pt x="161" y="53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53"/>
                  </a:lnTo>
                  <a:lnTo>
                    <a:pt x="161" y="53"/>
                  </a:lnTo>
                  <a:lnTo>
                    <a:pt x="161" y="53"/>
                  </a:lnTo>
                  <a:lnTo>
                    <a:pt x="161" y="51"/>
                  </a:lnTo>
                  <a:lnTo>
                    <a:pt x="161" y="51"/>
                  </a:lnTo>
                  <a:lnTo>
                    <a:pt x="161" y="49"/>
                  </a:lnTo>
                  <a:lnTo>
                    <a:pt x="161" y="49"/>
                  </a:lnTo>
                  <a:lnTo>
                    <a:pt x="161" y="49"/>
                  </a:lnTo>
                  <a:lnTo>
                    <a:pt x="161" y="49"/>
                  </a:lnTo>
                  <a:lnTo>
                    <a:pt x="161" y="49"/>
                  </a:lnTo>
                  <a:lnTo>
                    <a:pt x="161" y="49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61" y="47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2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9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9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7" y="42"/>
                  </a:lnTo>
                  <a:lnTo>
                    <a:pt x="155" y="44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7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49"/>
                  </a:lnTo>
                  <a:lnTo>
                    <a:pt x="155" y="51"/>
                  </a:lnTo>
                  <a:lnTo>
                    <a:pt x="155" y="51"/>
                  </a:lnTo>
                  <a:lnTo>
                    <a:pt x="155" y="51"/>
                  </a:lnTo>
                  <a:lnTo>
                    <a:pt x="157" y="51"/>
                  </a:lnTo>
                  <a:lnTo>
                    <a:pt x="157" y="51"/>
                  </a:lnTo>
                  <a:lnTo>
                    <a:pt x="157" y="53"/>
                  </a:lnTo>
                  <a:lnTo>
                    <a:pt x="159" y="53"/>
                  </a:lnTo>
                  <a:lnTo>
                    <a:pt x="159" y="53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59" y="5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61" y="62"/>
                  </a:lnTo>
                  <a:lnTo>
                    <a:pt x="161" y="62"/>
                  </a:lnTo>
                  <a:lnTo>
                    <a:pt x="161" y="62"/>
                  </a:lnTo>
                  <a:lnTo>
                    <a:pt x="161" y="62"/>
                  </a:lnTo>
                  <a:lnTo>
                    <a:pt x="161" y="62"/>
                  </a:lnTo>
                  <a:lnTo>
                    <a:pt x="161" y="62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4" y="67"/>
                  </a:lnTo>
                  <a:lnTo>
                    <a:pt x="164" y="67"/>
                  </a:lnTo>
                  <a:lnTo>
                    <a:pt x="164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69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6" y="74"/>
                  </a:lnTo>
                  <a:lnTo>
                    <a:pt x="168" y="74"/>
                  </a:lnTo>
                  <a:lnTo>
                    <a:pt x="168" y="74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0" y="76"/>
                  </a:lnTo>
                  <a:lnTo>
                    <a:pt x="170" y="76"/>
                  </a:lnTo>
                  <a:lnTo>
                    <a:pt x="170" y="76"/>
                  </a:lnTo>
                  <a:lnTo>
                    <a:pt x="170" y="76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0" y="78"/>
                  </a:lnTo>
                  <a:lnTo>
                    <a:pt x="173" y="78"/>
                  </a:lnTo>
                  <a:lnTo>
                    <a:pt x="173" y="78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3" y="80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5" y="83"/>
                  </a:lnTo>
                  <a:lnTo>
                    <a:pt x="175" y="85"/>
                  </a:lnTo>
                  <a:lnTo>
                    <a:pt x="175" y="85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5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9" y="87"/>
                  </a:lnTo>
                  <a:lnTo>
                    <a:pt x="179" y="87"/>
                  </a:lnTo>
                  <a:lnTo>
                    <a:pt x="182" y="87"/>
                  </a:lnTo>
                  <a:lnTo>
                    <a:pt x="182" y="89"/>
                  </a:lnTo>
                  <a:lnTo>
                    <a:pt x="182" y="89"/>
                  </a:lnTo>
                  <a:lnTo>
                    <a:pt x="182" y="89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4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4" y="94"/>
                  </a:lnTo>
                  <a:lnTo>
                    <a:pt x="184" y="94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4"/>
                  </a:lnTo>
                  <a:lnTo>
                    <a:pt x="182" y="94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2" y="96"/>
                  </a:lnTo>
                  <a:lnTo>
                    <a:pt x="184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2" y="98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4" y="101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6" y="101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6" y="103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07"/>
                  </a:lnTo>
                  <a:lnTo>
                    <a:pt x="188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0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3" y="112"/>
                  </a:lnTo>
                  <a:lnTo>
                    <a:pt x="193" y="112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4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6"/>
                  </a:lnTo>
                  <a:lnTo>
                    <a:pt x="193" y="119"/>
                  </a:lnTo>
                  <a:lnTo>
                    <a:pt x="193" y="119"/>
                  </a:lnTo>
                  <a:lnTo>
                    <a:pt x="193" y="119"/>
                  </a:lnTo>
                  <a:lnTo>
                    <a:pt x="193" y="121"/>
                  </a:lnTo>
                  <a:lnTo>
                    <a:pt x="193" y="121"/>
                  </a:lnTo>
                  <a:lnTo>
                    <a:pt x="193" y="121"/>
                  </a:lnTo>
                  <a:lnTo>
                    <a:pt x="193" y="121"/>
                  </a:lnTo>
                  <a:lnTo>
                    <a:pt x="195" y="121"/>
                  </a:lnTo>
                  <a:lnTo>
                    <a:pt x="195" y="123"/>
                  </a:lnTo>
                  <a:lnTo>
                    <a:pt x="195" y="125"/>
                  </a:lnTo>
                  <a:lnTo>
                    <a:pt x="195" y="125"/>
                  </a:lnTo>
                  <a:lnTo>
                    <a:pt x="197" y="125"/>
                  </a:lnTo>
                  <a:lnTo>
                    <a:pt x="197" y="128"/>
                  </a:lnTo>
                  <a:lnTo>
                    <a:pt x="197" y="128"/>
                  </a:lnTo>
                  <a:lnTo>
                    <a:pt x="200" y="132"/>
                  </a:lnTo>
                  <a:lnTo>
                    <a:pt x="200" y="132"/>
                  </a:lnTo>
                  <a:lnTo>
                    <a:pt x="202" y="134"/>
                  </a:lnTo>
                  <a:lnTo>
                    <a:pt x="204" y="137"/>
                  </a:lnTo>
                  <a:lnTo>
                    <a:pt x="204" y="137"/>
                  </a:lnTo>
                  <a:lnTo>
                    <a:pt x="204" y="139"/>
                  </a:lnTo>
                  <a:lnTo>
                    <a:pt x="204" y="141"/>
                  </a:lnTo>
                  <a:lnTo>
                    <a:pt x="206" y="141"/>
                  </a:lnTo>
                  <a:lnTo>
                    <a:pt x="206" y="141"/>
                  </a:lnTo>
                  <a:lnTo>
                    <a:pt x="209" y="146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3" y="155"/>
                  </a:lnTo>
                  <a:lnTo>
                    <a:pt x="213" y="155"/>
                  </a:lnTo>
                  <a:lnTo>
                    <a:pt x="215" y="159"/>
                  </a:lnTo>
                  <a:lnTo>
                    <a:pt x="215" y="159"/>
                  </a:lnTo>
                  <a:lnTo>
                    <a:pt x="215" y="159"/>
                  </a:lnTo>
                  <a:lnTo>
                    <a:pt x="215" y="161"/>
                  </a:lnTo>
                  <a:lnTo>
                    <a:pt x="215" y="161"/>
                  </a:lnTo>
                  <a:lnTo>
                    <a:pt x="218" y="161"/>
                  </a:lnTo>
                  <a:lnTo>
                    <a:pt x="218" y="161"/>
                  </a:lnTo>
                  <a:lnTo>
                    <a:pt x="218" y="161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4"/>
                  </a:lnTo>
                  <a:lnTo>
                    <a:pt x="218" y="166"/>
                  </a:lnTo>
                  <a:lnTo>
                    <a:pt x="220" y="166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70"/>
                  </a:lnTo>
                  <a:lnTo>
                    <a:pt x="220" y="170"/>
                  </a:lnTo>
                  <a:lnTo>
                    <a:pt x="220" y="170"/>
                  </a:lnTo>
                  <a:lnTo>
                    <a:pt x="222" y="170"/>
                  </a:lnTo>
                  <a:lnTo>
                    <a:pt x="222" y="173"/>
                  </a:lnTo>
                  <a:lnTo>
                    <a:pt x="224" y="175"/>
                  </a:lnTo>
                  <a:lnTo>
                    <a:pt x="227" y="175"/>
                  </a:lnTo>
                  <a:lnTo>
                    <a:pt x="227" y="177"/>
                  </a:lnTo>
                  <a:lnTo>
                    <a:pt x="227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29" y="179"/>
                  </a:lnTo>
                  <a:lnTo>
                    <a:pt x="231" y="182"/>
                  </a:lnTo>
                  <a:lnTo>
                    <a:pt x="231" y="182"/>
                  </a:lnTo>
                  <a:lnTo>
                    <a:pt x="231" y="182"/>
                  </a:lnTo>
                  <a:lnTo>
                    <a:pt x="231" y="182"/>
                  </a:lnTo>
                  <a:lnTo>
                    <a:pt x="231" y="182"/>
                  </a:lnTo>
                  <a:lnTo>
                    <a:pt x="231" y="182"/>
                  </a:lnTo>
                  <a:lnTo>
                    <a:pt x="233" y="182"/>
                  </a:lnTo>
                  <a:lnTo>
                    <a:pt x="233" y="182"/>
                  </a:lnTo>
                  <a:lnTo>
                    <a:pt x="233" y="182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5" y="184"/>
                  </a:lnTo>
                  <a:lnTo>
                    <a:pt x="235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3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31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6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88"/>
                  </a:lnTo>
                  <a:lnTo>
                    <a:pt x="229" y="191"/>
                  </a:lnTo>
                  <a:lnTo>
                    <a:pt x="229" y="191"/>
                  </a:lnTo>
                  <a:lnTo>
                    <a:pt x="229" y="193"/>
                  </a:lnTo>
                  <a:lnTo>
                    <a:pt x="229" y="193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9" y="195"/>
                  </a:lnTo>
                  <a:lnTo>
                    <a:pt x="229" y="197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1" y="200"/>
                  </a:lnTo>
                  <a:lnTo>
                    <a:pt x="231" y="200"/>
                  </a:lnTo>
                  <a:lnTo>
                    <a:pt x="231" y="200"/>
                  </a:lnTo>
                  <a:lnTo>
                    <a:pt x="231" y="202"/>
                  </a:lnTo>
                  <a:lnTo>
                    <a:pt x="231" y="202"/>
                  </a:lnTo>
                  <a:lnTo>
                    <a:pt x="233" y="204"/>
                  </a:lnTo>
                  <a:lnTo>
                    <a:pt x="233" y="204"/>
                  </a:lnTo>
                  <a:lnTo>
                    <a:pt x="233" y="206"/>
                  </a:lnTo>
                  <a:lnTo>
                    <a:pt x="233" y="206"/>
                  </a:lnTo>
                  <a:lnTo>
                    <a:pt x="233" y="206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3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09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5" y="211"/>
                  </a:lnTo>
                  <a:lnTo>
                    <a:pt x="238" y="211"/>
                  </a:lnTo>
                  <a:lnTo>
                    <a:pt x="238" y="211"/>
                  </a:lnTo>
                  <a:lnTo>
                    <a:pt x="238" y="213"/>
                  </a:lnTo>
                  <a:lnTo>
                    <a:pt x="238" y="213"/>
                  </a:lnTo>
                  <a:lnTo>
                    <a:pt x="240" y="213"/>
                  </a:lnTo>
                  <a:lnTo>
                    <a:pt x="240" y="213"/>
                  </a:lnTo>
                  <a:lnTo>
                    <a:pt x="240" y="213"/>
                  </a:lnTo>
                  <a:lnTo>
                    <a:pt x="240" y="213"/>
                  </a:lnTo>
                  <a:lnTo>
                    <a:pt x="240" y="213"/>
                  </a:lnTo>
                  <a:lnTo>
                    <a:pt x="240" y="213"/>
                  </a:lnTo>
                  <a:lnTo>
                    <a:pt x="242" y="213"/>
                  </a:lnTo>
                  <a:lnTo>
                    <a:pt x="242" y="213"/>
                  </a:lnTo>
                  <a:lnTo>
                    <a:pt x="244" y="215"/>
                  </a:lnTo>
                  <a:lnTo>
                    <a:pt x="244" y="215"/>
                  </a:lnTo>
                  <a:lnTo>
                    <a:pt x="247" y="215"/>
                  </a:lnTo>
                  <a:lnTo>
                    <a:pt x="247" y="218"/>
                  </a:lnTo>
                  <a:lnTo>
                    <a:pt x="247" y="218"/>
                  </a:lnTo>
                  <a:lnTo>
                    <a:pt x="247" y="218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49" y="220"/>
                  </a:lnTo>
                  <a:lnTo>
                    <a:pt x="251" y="222"/>
                  </a:lnTo>
                  <a:lnTo>
                    <a:pt x="251" y="222"/>
                  </a:lnTo>
                  <a:lnTo>
                    <a:pt x="251" y="222"/>
                  </a:lnTo>
                  <a:lnTo>
                    <a:pt x="251" y="222"/>
                  </a:lnTo>
                  <a:lnTo>
                    <a:pt x="253" y="222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56" y="227"/>
                  </a:lnTo>
                  <a:lnTo>
                    <a:pt x="258" y="227"/>
                  </a:lnTo>
                  <a:lnTo>
                    <a:pt x="258" y="227"/>
                  </a:lnTo>
                  <a:lnTo>
                    <a:pt x="258" y="227"/>
                  </a:lnTo>
                  <a:lnTo>
                    <a:pt x="258" y="227"/>
                  </a:lnTo>
                  <a:lnTo>
                    <a:pt x="258" y="227"/>
                  </a:lnTo>
                  <a:lnTo>
                    <a:pt x="258" y="229"/>
                  </a:lnTo>
                  <a:lnTo>
                    <a:pt x="260" y="229"/>
                  </a:lnTo>
                  <a:lnTo>
                    <a:pt x="260" y="229"/>
                  </a:lnTo>
                  <a:lnTo>
                    <a:pt x="260" y="229"/>
                  </a:lnTo>
                  <a:lnTo>
                    <a:pt x="260" y="229"/>
                  </a:lnTo>
                  <a:lnTo>
                    <a:pt x="260" y="229"/>
                  </a:lnTo>
                  <a:lnTo>
                    <a:pt x="260" y="231"/>
                  </a:lnTo>
                  <a:lnTo>
                    <a:pt x="260" y="231"/>
                  </a:lnTo>
                  <a:lnTo>
                    <a:pt x="260" y="231"/>
                  </a:lnTo>
                  <a:lnTo>
                    <a:pt x="256" y="231"/>
                  </a:lnTo>
                  <a:lnTo>
                    <a:pt x="249" y="231"/>
                  </a:lnTo>
                  <a:lnTo>
                    <a:pt x="244" y="231"/>
                  </a:lnTo>
                  <a:lnTo>
                    <a:pt x="240" y="231"/>
                  </a:lnTo>
                  <a:lnTo>
                    <a:pt x="235" y="231"/>
                  </a:lnTo>
                  <a:lnTo>
                    <a:pt x="231" y="231"/>
                  </a:lnTo>
                  <a:lnTo>
                    <a:pt x="227" y="231"/>
                  </a:lnTo>
                  <a:lnTo>
                    <a:pt x="222" y="231"/>
                  </a:lnTo>
                  <a:lnTo>
                    <a:pt x="218" y="231"/>
                  </a:lnTo>
                  <a:lnTo>
                    <a:pt x="211" y="231"/>
                  </a:lnTo>
                  <a:lnTo>
                    <a:pt x="206" y="231"/>
                  </a:lnTo>
                  <a:lnTo>
                    <a:pt x="202" y="231"/>
                  </a:lnTo>
                  <a:lnTo>
                    <a:pt x="197" y="231"/>
                  </a:lnTo>
                  <a:lnTo>
                    <a:pt x="193" y="231"/>
                  </a:lnTo>
                  <a:lnTo>
                    <a:pt x="188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79" y="231"/>
                  </a:lnTo>
                  <a:lnTo>
                    <a:pt x="177" y="231"/>
                  </a:lnTo>
                  <a:lnTo>
                    <a:pt x="175" y="231"/>
                  </a:lnTo>
                  <a:lnTo>
                    <a:pt x="173" y="231"/>
                  </a:lnTo>
                  <a:lnTo>
                    <a:pt x="170" y="231"/>
                  </a:lnTo>
                  <a:lnTo>
                    <a:pt x="168" y="231"/>
                  </a:lnTo>
                  <a:lnTo>
                    <a:pt x="166" y="231"/>
                  </a:lnTo>
                  <a:lnTo>
                    <a:pt x="164" y="231"/>
                  </a:lnTo>
                  <a:lnTo>
                    <a:pt x="161" y="231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2" y="231"/>
                  </a:lnTo>
                  <a:lnTo>
                    <a:pt x="150" y="231"/>
                  </a:lnTo>
                  <a:lnTo>
                    <a:pt x="148" y="231"/>
                  </a:lnTo>
                  <a:lnTo>
                    <a:pt x="148" y="229"/>
                  </a:lnTo>
                  <a:lnTo>
                    <a:pt x="148" y="227"/>
                  </a:lnTo>
                  <a:lnTo>
                    <a:pt x="148" y="227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8" y="224"/>
                  </a:lnTo>
                  <a:lnTo>
                    <a:pt x="146" y="224"/>
                  </a:lnTo>
                  <a:lnTo>
                    <a:pt x="146" y="224"/>
                  </a:lnTo>
                  <a:lnTo>
                    <a:pt x="146" y="227"/>
                  </a:lnTo>
                  <a:lnTo>
                    <a:pt x="146" y="229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1" y="231"/>
                  </a:lnTo>
                  <a:lnTo>
                    <a:pt x="139" y="231"/>
                  </a:lnTo>
                  <a:lnTo>
                    <a:pt x="137" y="231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0" y="231"/>
                  </a:lnTo>
                  <a:lnTo>
                    <a:pt x="130" y="231"/>
                  </a:lnTo>
                  <a:lnTo>
                    <a:pt x="128" y="231"/>
                  </a:lnTo>
                  <a:lnTo>
                    <a:pt x="125" y="231"/>
                  </a:lnTo>
                  <a:lnTo>
                    <a:pt x="123" y="231"/>
                  </a:lnTo>
                  <a:lnTo>
                    <a:pt x="121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4" y="231"/>
                  </a:lnTo>
                  <a:lnTo>
                    <a:pt x="112" y="231"/>
                  </a:lnTo>
                  <a:lnTo>
                    <a:pt x="112" y="231"/>
                  </a:lnTo>
                  <a:lnTo>
                    <a:pt x="110" y="231"/>
                  </a:lnTo>
                  <a:lnTo>
                    <a:pt x="107" y="231"/>
                  </a:lnTo>
                  <a:lnTo>
                    <a:pt x="105" y="231"/>
                  </a:lnTo>
                  <a:lnTo>
                    <a:pt x="103" y="231"/>
                  </a:lnTo>
                  <a:lnTo>
                    <a:pt x="101" y="231"/>
                  </a:lnTo>
                  <a:lnTo>
                    <a:pt x="98" y="231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2" y="231"/>
                  </a:lnTo>
                  <a:lnTo>
                    <a:pt x="92" y="231"/>
                  </a:lnTo>
                  <a:lnTo>
                    <a:pt x="89" y="231"/>
                  </a:lnTo>
                  <a:lnTo>
                    <a:pt x="87" y="231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3" y="231"/>
                  </a:lnTo>
                  <a:lnTo>
                    <a:pt x="60" y="231"/>
                  </a:lnTo>
                  <a:lnTo>
                    <a:pt x="58" y="231"/>
                  </a:lnTo>
                  <a:lnTo>
                    <a:pt x="56" y="231"/>
                  </a:lnTo>
                  <a:lnTo>
                    <a:pt x="56" y="231"/>
                  </a:lnTo>
                  <a:lnTo>
                    <a:pt x="54" y="231"/>
                  </a:lnTo>
                  <a:lnTo>
                    <a:pt x="51" y="231"/>
                  </a:lnTo>
                  <a:lnTo>
                    <a:pt x="49" y="231"/>
                  </a:lnTo>
                  <a:lnTo>
                    <a:pt x="47" y="231"/>
                  </a:lnTo>
                  <a:lnTo>
                    <a:pt x="45" y="231"/>
                  </a:lnTo>
                  <a:lnTo>
                    <a:pt x="42" y="231"/>
                  </a:lnTo>
                  <a:lnTo>
                    <a:pt x="40" y="231"/>
                  </a:lnTo>
                  <a:lnTo>
                    <a:pt x="38" y="231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3" y="231"/>
                  </a:lnTo>
                  <a:lnTo>
                    <a:pt x="31" y="231"/>
                  </a:lnTo>
                  <a:lnTo>
                    <a:pt x="29" y="231"/>
                  </a:lnTo>
                  <a:lnTo>
                    <a:pt x="27" y="231"/>
                  </a:lnTo>
                  <a:lnTo>
                    <a:pt x="24" y="231"/>
                  </a:lnTo>
                  <a:lnTo>
                    <a:pt x="22" y="231"/>
                  </a:lnTo>
                  <a:lnTo>
                    <a:pt x="20" y="231"/>
                  </a:lnTo>
                  <a:lnTo>
                    <a:pt x="18" y="231"/>
                  </a:lnTo>
                  <a:lnTo>
                    <a:pt x="18" y="231"/>
                  </a:lnTo>
                  <a:lnTo>
                    <a:pt x="15" y="231"/>
                  </a:lnTo>
                  <a:lnTo>
                    <a:pt x="15" y="222"/>
                  </a:lnTo>
                  <a:lnTo>
                    <a:pt x="13" y="215"/>
                  </a:lnTo>
                  <a:lnTo>
                    <a:pt x="13" y="209"/>
                  </a:lnTo>
                  <a:lnTo>
                    <a:pt x="13" y="202"/>
                  </a:lnTo>
                  <a:lnTo>
                    <a:pt x="13" y="195"/>
                  </a:lnTo>
                  <a:lnTo>
                    <a:pt x="13" y="188"/>
                  </a:lnTo>
                  <a:lnTo>
                    <a:pt x="13" y="182"/>
                  </a:lnTo>
                  <a:lnTo>
                    <a:pt x="13" y="175"/>
                  </a:lnTo>
                  <a:lnTo>
                    <a:pt x="13" y="168"/>
                  </a:lnTo>
                  <a:lnTo>
                    <a:pt x="11" y="161"/>
                  </a:lnTo>
                  <a:lnTo>
                    <a:pt x="11" y="155"/>
                  </a:lnTo>
                  <a:lnTo>
                    <a:pt x="11" y="148"/>
                  </a:lnTo>
                  <a:lnTo>
                    <a:pt x="11" y="139"/>
                  </a:lnTo>
                  <a:lnTo>
                    <a:pt x="11" y="132"/>
                  </a:lnTo>
                  <a:lnTo>
                    <a:pt x="11" y="125"/>
                  </a:lnTo>
                  <a:lnTo>
                    <a:pt x="9" y="119"/>
                  </a:lnTo>
                  <a:lnTo>
                    <a:pt x="9" y="114"/>
                  </a:lnTo>
                  <a:lnTo>
                    <a:pt x="9" y="107"/>
                  </a:lnTo>
                  <a:lnTo>
                    <a:pt x="9" y="101"/>
                  </a:lnTo>
                  <a:lnTo>
                    <a:pt x="9" y="96"/>
                  </a:lnTo>
                  <a:lnTo>
                    <a:pt x="9" y="87"/>
                  </a:lnTo>
                  <a:lnTo>
                    <a:pt x="6" y="76"/>
                  </a:lnTo>
                  <a:lnTo>
                    <a:pt x="6" y="67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2" y="47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0" name="Freeform 607"/>
            <p:cNvSpPr>
              <a:spLocks noEditPoints="1"/>
            </p:cNvSpPr>
            <p:nvPr/>
          </p:nvSpPr>
          <p:spPr bwMode="auto">
            <a:xfrm>
              <a:off x="2797801" y="3908924"/>
              <a:ext cx="202243" cy="259070"/>
            </a:xfrm>
            <a:custGeom>
              <a:avLst/>
              <a:gdLst>
                <a:gd name="T0" fmla="*/ 20 w 121"/>
                <a:gd name="T1" fmla="*/ 106 h 155"/>
                <a:gd name="T2" fmla="*/ 18 w 121"/>
                <a:gd name="T3" fmla="*/ 99 h 155"/>
                <a:gd name="T4" fmla="*/ 22 w 121"/>
                <a:gd name="T5" fmla="*/ 101 h 155"/>
                <a:gd name="T6" fmla="*/ 49 w 121"/>
                <a:gd name="T7" fmla="*/ 5 h 155"/>
                <a:gd name="T8" fmla="*/ 58 w 121"/>
                <a:gd name="T9" fmla="*/ 11 h 155"/>
                <a:gd name="T10" fmla="*/ 70 w 121"/>
                <a:gd name="T11" fmla="*/ 16 h 155"/>
                <a:gd name="T12" fmla="*/ 81 w 121"/>
                <a:gd name="T13" fmla="*/ 27 h 155"/>
                <a:gd name="T14" fmla="*/ 90 w 121"/>
                <a:gd name="T15" fmla="*/ 29 h 155"/>
                <a:gd name="T16" fmla="*/ 97 w 121"/>
                <a:gd name="T17" fmla="*/ 25 h 155"/>
                <a:gd name="T18" fmla="*/ 103 w 121"/>
                <a:gd name="T19" fmla="*/ 25 h 155"/>
                <a:gd name="T20" fmla="*/ 108 w 121"/>
                <a:gd name="T21" fmla="*/ 32 h 155"/>
                <a:gd name="T22" fmla="*/ 119 w 121"/>
                <a:gd name="T23" fmla="*/ 36 h 155"/>
                <a:gd name="T24" fmla="*/ 115 w 121"/>
                <a:gd name="T25" fmla="*/ 38 h 155"/>
                <a:gd name="T26" fmla="*/ 117 w 121"/>
                <a:gd name="T27" fmla="*/ 43 h 155"/>
                <a:gd name="T28" fmla="*/ 121 w 121"/>
                <a:gd name="T29" fmla="*/ 47 h 155"/>
                <a:gd name="T30" fmla="*/ 121 w 121"/>
                <a:gd name="T31" fmla="*/ 56 h 155"/>
                <a:gd name="T32" fmla="*/ 117 w 121"/>
                <a:gd name="T33" fmla="*/ 61 h 155"/>
                <a:gd name="T34" fmla="*/ 103 w 121"/>
                <a:gd name="T35" fmla="*/ 88 h 155"/>
                <a:gd name="T36" fmla="*/ 72 w 121"/>
                <a:gd name="T37" fmla="*/ 103 h 155"/>
                <a:gd name="T38" fmla="*/ 61 w 121"/>
                <a:gd name="T39" fmla="*/ 117 h 155"/>
                <a:gd name="T40" fmla="*/ 56 w 121"/>
                <a:gd name="T41" fmla="*/ 119 h 155"/>
                <a:gd name="T42" fmla="*/ 56 w 121"/>
                <a:gd name="T43" fmla="*/ 126 h 155"/>
                <a:gd name="T44" fmla="*/ 52 w 121"/>
                <a:gd name="T45" fmla="*/ 137 h 155"/>
                <a:gd name="T46" fmla="*/ 47 w 121"/>
                <a:gd name="T47" fmla="*/ 148 h 155"/>
                <a:gd name="T48" fmla="*/ 43 w 121"/>
                <a:gd name="T49" fmla="*/ 153 h 155"/>
                <a:gd name="T50" fmla="*/ 36 w 121"/>
                <a:gd name="T51" fmla="*/ 151 h 155"/>
                <a:gd name="T52" fmla="*/ 31 w 121"/>
                <a:gd name="T53" fmla="*/ 142 h 155"/>
                <a:gd name="T54" fmla="*/ 20 w 121"/>
                <a:gd name="T55" fmla="*/ 137 h 155"/>
                <a:gd name="T56" fmla="*/ 16 w 121"/>
                <a:gd name="T57" fmla="*/ 142 h 155"/>
                <a:gd name="T58" fmla="*/ 13 w 121"/>
                <a:gd name="T59" fmla="*/ 133 h 155"/>
                <a:gd name="T60" fmla="*/ 20 w 121"/>
                <a:gd name="T61" fmla="*/ 128 h 155"/>
                <a:gd name="T62" fmla="*/ 18 w 121"/>
                <a:gd name="T63" fmla="*/ 121 h 155"/>
                <a:gd name="T64" fmla="*/ 18 w 121"/>
                <a:gd name="T65" fmla="*/ 117 h 155"/>
                <a:gd name="T66" fmla="*/ 16 w 121"/>
                <a:gd name="T67" fmla="*/ 115 h 155"/>
                <a:gd name="T68" fmla="*/ 22 w 121"/>
                <a:gd name="T69" fmla="*/ 112 h 155"/>
                <a:gd name="T70" fmla="*/ 25 w 121"/>
                <a:gd name="T71" fmla="*/ 103 h 155"/>
                <a:gd name="T72" fmla="*/ 27 w 121"/>
                <a:gd name="T73" fmla="*/ 94 h 155"/>
                <a:gd name="T74" fmla="*/ 25 w 121"/>
                <a:gd name="T75" fmla="*/ 85 h 155"/>
                <a:gd name="T76" fmla="*/ 25 w 121"/>
                <a:gd name="T77" fmla="*/ 83 h 155"/>
                <a:gd name="T78" fmla="*/ 22 w 121"/>
                <a:gd name="T79" fmla="*/ 97 h 155"/>
                <a:gd name="T80" fmla="*/ 22 w 121"/>
                <a:gd name="T81" fmla="*/ 94 h 155"/>
                <a:gd name="T82" fmla="*/ 22 w 121"/>
                <a:gd name="T83" fmla="*/ 90 h 155"/>
                <a:gd name="T84" fmla="*/ 18 w 121"/>
                <a:gd name="T85" fmla="*/ 97 h 155"/>
                <a:gd name="T86" fmla="*/ 16 w 121"/>
                <a:gd name="T87" fmla="*/ 99 h 155"/>
                <a:gd name="T88" fmla="*/ 4 w 121"/>
                <a:gd name="T89" fmla="*/ 90 h 155"/>
                <a:gd name="T90" fmla="*/ 2 w 121"/>
                <a:gd name="T91" fmla="*/ 88 h 155"/>
                <a:gd name="T92" fmla="*/ 7 w 121"/>
                <a:gd name="T93" fmla="*/ 81 h 155"/>
                <a:gd name="T94" fmla="*/ 4 w 121"/>
                <a:gd name="T95" fmla="*/ 70 h 155"/>
                <a:gd name="T96" fmla="*/ 2 w 121"/>
                <a:gd name="T97" fmla="*/ 59 h 155"/>
                <a:gd name="T98" fmla="*/ 7 w 121"/>
                <a:gd name="T99" fmla="*/ 56 h 155"/>
                <a:gd name="T100" fmla="*/ 11 w 121"/>
                <a:gd name="T101" fmla="*/ 50 h 155"/>
                <a:gd name="T102" fmla="*/ 13 w 121"/>
                <a:gd name="T103" fmla="*/ 50 h 155"/>
                <a:gd name="T104" fmla="*/ 13 w 121"/>
                <a:gd name="T105" fmla="*/ 41 h 155"/>
                <a:gd name="T106" fmla="*/ 20 w 121"/>
                <a:gd name="T107" fmla="*/ 34 h 155"/>
                <a:gd name="T108" fmla="*/ 22 w 121"/>
                <a:gd name="T109" fmla="*/ 27 h 155"/>
                <a:gd name="T110" fmla="*/ 20 w 121"/>
                <a:gd name="T111" fmla="*/ 20 h 155"/>
                <a:gd name="T112" fmla="*/ 22 w 121"/>
                <a:gd name="T113" fmla="*/ 14 h 155"/>
                <a:gd name="T114" fmla="*/ 29 w 121"/>
                <a:gd name="T115" fmla="*/ 14 h 155"/>
                <a:gd name="T116" fmla="*/ 31 w 121"/>
                <a:gd name="T117" fmla="*/ 11 h 155"/>
                <a:gd name="T118" fmla="*/ 43 w 121"/>
                <a:gd name="T119" fmla="*/ 7 h 155"/>
                <a:gd name="T120" fmla="*/ 45 w 121"/>
                <a:gd name="T121" fmla="*/ 5 h 155"/>
                <a:gd name="T122" fmla="*/ 47 w 121"/>
                <a:gd name="T123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21" h="155">
                  <a:moveTo>
                    <a:pt x="22" y="101"/>
                  </a:moveTo>
                  <a:lnTo>
                    <a:pt x="22" y="103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0" y="101"/>
                  </a:lnTo>
                  <a:lnTo>
                    <a:pt x="20" y="101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3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2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close/>
                  <a:moveTo>
                    <a:pt x="45" y="5"/>
                  </a:move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5"/>
                  </a:lnTo>
                  <a:lnTo>
                    <a:pt x="45" y="5"/>
                  </a:lnTo>
                  <a:close/>
                  <a:moveTo>
                    <a:pt x="49" y="5"/>
                  </a:moveTo>
                  <a:lnTo>
                    <a:pt x="49" y="5"/>
                  </a:lnTo>
                  <a:lnTo>
                    <a:pt x="49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6" y="20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9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7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8" y="29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2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7"/>
                  </a:lnTo>
                  <a:lnTo>
                    <a:pt x="119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47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0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2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9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59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7" y="68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2" y="74"/>
                  </a:lnTo>
                  <a:lnTo>
                    <a:pt x="112" y="74"/>
                  </a:lnTo>
                  <a:lnTo>
                    <a:pt x="112" y="76"/>
                  </a:lnTo>
                  <a:lnTo>
                    <a:pt x="110" y="76"/>
                  </a:lnTo>
                  <a:lnTo>
                    <a:pt x="110" y="79"/>
                  </a:lnTo>
                  <a:lnTo>
                    <a:pt x="108" y="81"/>
                  </a:lnTo>
                  <a:lnTo>
                    <a:pt x="108" y="81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3" y="85"/>
                  </a:lnTo>
                  <a:lnTo>
                    <a:pt x="103" y="88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4" y="94"/>
                  </a:lnTo>
                  <a:lnTo>
                    <a:pt x="94" y="94"/>
                  </a:lnTo>
                  <a:lnTo>
                    <a:pt x="92" y="97"/>
                  </a:lnTo>
                  <a:lnTo>
                    <a:pt x="90" y="97"/>
                  </a:lnTo>
                  <a:lnTo>
                    <a:pt x="88" y="99"/>
                  </a:lnTo>
                  <a:lnTo>
                    <a:pt x="85" y="99"/>
                  </a:lnTo>
                  <a:lnTo>
                    <a:pt x="83" y="101"/>
                  </a:lnTo>
                  <a:lnTo>
                    <a:pt x="79" y="101"/>
                  </a:lnTo>
                  <a:lnTo>
                    <a:pt x="76" y="101"/>
                  </a:lnTo>
                  <a:lnTo>
                    <a:pt x="74" y="103"/>
                  </a:lnTo>
                  <a:lnTo>
                    <a:pt x="72" y="103"/>
                  </a:lnTo>
                  <a:lnTo>
                    <a:pt x="70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5" y="108"/>
                  </a:lnTo>
                  <a:lnTo>
                    <a:pt x="63" y="110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9"/>
                  </a:lnTo>
                  <a:lnTo>
                    <a:pt x="61" y="119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58" y="115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56" y="117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1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4" y="126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28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4" y="133"/>
                  </a:lnTo>
                  <a:lnTo>
                    <a:pt x="52" y="135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49" y="146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7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3" y="155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0" y="153"/>
                  </a:lnTo>
                  <a:lnTo>
                    <a:pt x="40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8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6" y="148"/>
                  </a:lnTo>
                  <a:lnTo>
                    <a:pt x="34" y="148"/>
                  </a:lnTo>
                  <a:lnTo>
                    <a:pt x="34" y="146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4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1" y="142"/>
                  </a:lnTo>
                  <a:lnTo>
                    <a:pt x="31" y="142"/>
                  </a:lnTo>
                  <a:lnTo>
                    <a:pt x="31" y="142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42"/>
                  </a:lnTo>
                  <a:lnTo>
                    <a:pt x="27" y="139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2" y="139"/>
                  </a:lnTo>
                  <a:lnTo>
                    <a:pt x="22" y="139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9"/>
                  </a:lnTo>
                  <a:lnTo>
                    <a:pt x="18" y="139"/>
                  </a:lnTo>
                  <a:lnTo>
                    <a:pt x="18" y="139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3" y="142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6" y="130"/>
                  </a:lnTo>
                  <a:lnTo>
                    <a:pt x="18" y="130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9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6" y="117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8" y="115"/>
                  </a:lnTo>
                  <a:lnTo>
                    <a:pt x="18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1" y="94"/>
                  </a:lnTo>
                  <a:lnTo>
                    <a:pt x="9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4" y="88"/>
                  </a:lnTo>
                  <a:lnTo>
                    <a:pt x="7" y="85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79"/>
                  </a:lnTo>
                  <a:lnTo>
                    <a:pt x="7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5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5"/>
                  </a:lnTo>
                  <a:lnTo>
                    <a:pt x="49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1" name="Freeform 608"/>
            <p:cNvSpPr>
              <a:spLocks/>
            </p:cNvSpPr>
            <p:nvPr/>
          </p:nvSpPr>
          <p:spPr bwMode="auto">
            <a:xfrm>
              <a:off x="3153815" y="3171826"/>
              <a:ext cx="128700" cy="95271"/>
            </a:xfrm>
            <a:custGeom>
              <a:avLst/>
              <a:gdLst>
                <a:gd name="T0" fmla="*/ 27 w 77"/>
                <a:gd name="T1" fmla="*/ 3 h 57"/>
                <a:gd name="T2" fmla="*/ 32 w 77"/>
                <a:gd name="T3" fmla="*/ 5 h 57"/>
                <a:gd name="T4" fmla="*/ 36 w 77"/>
                <a:gd name="T5" fmla="*/ 7 h 57"/>
                <a:gd name="T6" fmla="*/ 43 w 77"/>
                <a:gd name="T7" fmla="*/ 9 h 57"/>
                <a:gd name="T8" fmla="*/ 45 w 77"/>
                <a:gd name="T9" fmla="*/ 9 h 57"/>
                <a:gd name="T10" fmla="*/ 50 w 77"/>
                <a:gd name="T11" fmla="*/ 16 h 57"/>
                <a:gd name="T12" fmla="*/ 54 w 77"/>
                <a:gd name="T13" fmla="*/ 16 h 57"/>
                <a:gd name="T14" fmla="*/ 54 w 77"/>
                <a:gd name="T15" fmla="*/ 16 h 57"/>
                <a:gd name="T16" fmla="*/ 59 w 77"/>
                <a:gd name="T17" fmla="*/ 16 h 57"/>
                <a:gd name="T18" fmla="*/ 59 w 77"/>
                <a:gd name="T19" fmla="*/ 18 h 57"/>
                <a:gd name="T20" fmla="*/ 54 w 77"/>
                <a:gd name="T21" fmla="*/ 18 h 57"/>
                <a:gd name="T22" fmla="*/ 52 w 77"/>
                <a:gd name="T23" fmla="*/ 21 h 57"/>
                <a:gd name="T24" fmla="*/ 54 w 77"/>
                <a:gd name="T25" fmla="*/ 21 h 57"/>
                <a:gd name="T26" fmla="*/ 61 w 77"/>
                <a:gd name="T27" fmla="*/ 23 h 57"/>
                <a:gd name="T28" fmla="*/ 61 w 77"/>
                <a:gd name="T29" fmla="*/ 23 h 57"/>
                <a:gd name="T30" fmla="*/ 63 w 77"/>
                <a:gd name="T31" fmla="*/ 23 h 57"/>
                <a:gd name="T32" fmla="*/ 66 w 77"/>
                <a:gd name="T33" fmla="*/ 23 h 57"/>
                <a:gd name="T34" fmla="*/ 68 w 77"/>
                <a:gd name="T35" fmla="*/ 25 h 57"/>
                <a:gd name="T36" fmla="*/ 77 w 77"/>
                <a:gd name="T37" fmla="*/ 32 h 57"/>
                <a:gd name="T38" fmla="*/ 72 w 77"/>
                <a:gd name="T39" fmla="*/ 39 h 57"/>
                <a:gd name="T40" fmla="*/ 70 w 77"/>
                <a:gd name="T41" fmla="*/ 39 h 57"/>
                <a:gd name="T42" fmla="*/ 66 w 77"/>
                <a:gd name="T43" fmla="*/ 41 h 57"/>
                <a:gd name="T44" fmla="*/ 59 w 77"/>
                <a:gd name="T45" fmla="*/ 39 h 57"/>
                <a:gd name="T46" fmla="*/ 54 w 77"/>
                <a:gd name="T47" fmla="*/ 36 h 57"/>
                <a:gd name="T48" fmla="*/ 50 w 77"/>
                <a:gd name="T49" fmla="*/ 36 h 57"/>
                <a:gd name="T50" fmla="*/ 48 w 77"/>
                <a:gd name="T51" fmla="*/ 36 h 57"/>
                <a:gd name="T52" fmla="*/ 41 w 77"/>
                <a:gd name="T53" fmla="*/ 39 h 57"/>
                <a:gd name="T54" fmla="*/ 36 w 77"/>
                <a:gd name="T55" fmla="*/ 41 h 57"/>
                <a:gd name="T56" fmla="*/ 32 w 77"/>
                <a:gd name="T57" fmla="*/ 43 h 57"/>
                <a:gd name="T58" fmla="*/ 30 w 77"/>
                <a:gd name="T59" fmla="*/ 41 h 57"/>
                <a:gd name="T60" fmla="*/ 30 w 77"/>
                <a:gd name="T61" fmla="*/ 39 h 57"/>
                <a:gd name="T62" fmla="*/ 27 w 77"/>
                <a:gd name="T63" fmla="*/ 36 h 57"/>
                <a:gd name="T64" fmla="*/ 25 w 77"/>
                <a:gd name="T65" fmla="*/ 39 h 57"/>
                <a:gd name="T66" fmla="*/ 23 w 77"/>
                <a:gd name="T67" fmla="*/ 41 h 57"/>
                <a:gd name="T68" fmla="*/ 21 w 77"/>
                <a:gd name="T69" fmla="*/ 41 h 57"/>
                <a:gd name="T70" fmla="*/ 18 w 77"/>
                <a:gd name="T71" fmla="*/ 41 h 57"/>
                <a:gd name="T72" fmla="*/ 18 w 77"/>
                <a:gd name="T73" fmla="*/ 45 h 57"/>
                <a:gd name="T74" fmla="*/ 14 w 77"/>
                <a:gd name="T75" fmla="*/ 50 h 57"/>
                <a:gd name="T76" fmla="*/ 14 w 77"/>
                <a:gd name="T77" fmla="*/ 52 h 57"/>
                <a:gd name="T78" fmla="*/ 12 w 77"/>
                <a:gd name="T79" fmla="*/ 54 h 57"/>
                <a:gd name="T80" fmla="*/ 5 w 77"/>
                <a:gd name="T81" fmla="*/ 52 h 57"/>
                <a:gd name="T82" fmla="*/ 5 w 77"/>
                <a:gd name="T83" fmla="*/ 50 h 57"/>
                <a:gd name="T84" fmla="*/ 5 w 77"/>
                <a:gd name="T85" fmla="*/ 45 h 57"/>
                <a:gd name="T86" fmla="*/ 5 w 77"/>
                <a:gd name="T87" fmla="*/ 41 h 57"/>
                <a:gd name="T88" fmla="*/ 0 w 77"/>
                <a:gd name="T89" fmla="*/ 36 h 57"/>
                <a:gd name="T90" fmla="*/ 0 w 77"/>
                <a:gd name="T91" fmla="*/ 32 h 57"/>
                <a:gd name="T92" fmla="*/ 5 w 77"/>
                <a:gd name="T93" fmla="*/ 30 h 57"/>
                <a:gd name="T94" fmla="*/ 5 w 77"/>
                <a:gd name="T95" fmla="*/ 25 h 57"/>
                <a:gd name="T96" fmla="*/ 5 w 77"/>
                <a:gd name="T97" fmla="*/ 23 h 57"/>
                <a:gd name="T98" fmla="*/ 7 w 77"/>
                <a:gd name="T99" fmla="*/ 16 h 57"/>
                <a:gd name="T100" fmla="*/ 9 w 77"/>
                <a:gd name="T101" fmla="*/ 12 h 57"/>
                <a:gd name="T102" fmla="*/ 9 w 77"/>
                <a:gd name="T103" fmla="*/ 7 h 57"/>
                <a:gd name="T104" fmla="*/ 9 w 77"/>
                <a:gd name="T105" fmla="*/ 5 h 57"/>
                <a:gd name="T106" fmla="*/ 9 w 77"/>
                <a:gd name="T107" fmla="*/ 3 h 57"/>
                <a:gd name="T108" fmla="*/ 12 w 77"/>
                <a:gd name="T109" fmla="*/ 3 h 57"/>
                <a:gd name="T110" fmla="*/ 18 w 77"/>
                <a:gd name="T111" fmla="*/ 3 h 57"/>
                <a:gd name="T112" fmla="*/ 21 w 77"/>
                <a:gd name="T113" fmla="*/ 3 h 57"/>
                <a:gd name="T114" fmla="*/ 21 w 77"/>
                <a:gd name="T115" fmla="*/ 3 h 57"/>
                <a:gd name="T116" fmla="*/ 25 w 77"/>
                <a:gd name="T117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" h="57">
                  <a:moveTo>
                    <a:pt x="25" y="3"/>
                  </a:move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0" y="18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70" y="27"/>
                  </a:lnTo>
                  <a:lnTo>
                    <a:pt x="72" y="27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4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3" y="36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5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4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6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3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2" name="Freeform 609"/>
            <p:cNvSpPr>
              <a:spLocks/>
            </p:cNvSpPr>
            <p:nvPr/>
          </p:nvSpPr>
          <p:spPr bwMode="auto">
            <a:xfrm>
              <a:off x="3508157" y="3345654"/>
              <a:ext cx="6686" cy="18385"/>
            </a:xfrm>
            <a:custGeom>
              <a:avLst/>
              <a:gdLst>
                <a:gd name="T0" fmla="*/ 2 w 4"/>
                <a:gd name="T1" fmla="*/ 0 h 11"/>
                <a:gd name="T2" fmla="*/ 2 w 4"/>
                <a:gd name="T3" fmla="*/ 0 h 11"/>
                <a:gd name="T4" fmla="*/ 4 w 4"/>
                <a:gd name="T5" fmla="*/ 2 h 11"/>
                <a:gd name="T6" fmla="*/ 4 w 4"/>
                <a:gd name="T7" fmla="*/ 2 h 11"/>
                <a:gd name="T8" fmla="*/ 4 w 4"/>
                <a:gd name="T9" fmla="*/ 2 h 11"/>
                <a:gd name="T10" fmla="*/ 4 w 4"/>
                <a:gd name="T11" fmla="*/ 4 h 11"/>
                <a:gd name="T12" fmla="*/ 4 w 4"/>
                <a:gd name="T13" fmla="*/ 4 h 11"/>
                <a:gd name="T14" fmla="*/ 4 w 4"/>
                <a:gd name="T15" fmla="*/ 4 h 11"/>
                <a:gd name="T16" fmla="*/ 4 w 4"/>
                <a:gd name="T17" fmla="*/ 7 h 11"/>
                <a:gd name="T18" fmla="*/ 4 w 4"/>
                <a:gd name="T19" fmla="*/ 9 h 11"/>
                <a:gd name="T20" fmla="*/ 4 w 4"/>
                <a:gd name="T21" fmla="*/ 9 h 11"/>
                <a:gd name="T22" fmla="*/ 4 w 4"/>
                <a:gd name="T23" fmla="*/ 9 h 11"/>
                <a:gd name="T24" fmla="*/ 2 w 4"/>
                <a:gd name="T25" fmla="*/ 9 h 11"/>
                <a:gd name="T26" fmla="*/ 2 w 4"/>
                <a:gd name="T27" fmla="*/ 9 h 11"/>
                <a:gd name="T28" fmla="*/ 2 w 4"/>
                <a:gd name="T29" fmla="*/ 9 h 11"/>
                <a:gd name="T30" fmla="*/ 2 w 4"/>
                <a:gd name="T31" fmla="*/ 11 h 11"/>
                <a:gd name="T32" fmla="*/ 2 w 4"/>
                <a:gd name="T33" fmla="*/ 9 h 11"/>
                <a:gd name="T34" fmla="*/ 2 w 4"/>
                <a:gd name="T35" fmla="*/ 9 h 11"/>
                <a:gd name="T36" fmla="*/ 2 w 4"/>
                <a:gd name="T37" fmla="*/ 9 h 11"/>
                <a:gd name="T38" fmla="*/ 2 w 4"/>
                <a:gd name="T39" fmla="*/ 7 h 11"/>
                <a:gd name="T40" fmla="*/ 2 w 4"/>
                <a:gd name="T41" fmla="*/ 7 h 11"/>
                <a:gd name="T42" fmla="*/ 2 w 4"/>
                <a:gd name="T43" fmla="*/ 7 h 11"/>
                <a:gd name="T44" fmla="*/ 2 w 4"/>
                <a:gd name="T45" fmla="*/ 4 h 11"/>
                <a:gd name="T46" fmla="*/ 0 w 4"/>
                <a:gd name="T47" fmla="*/ 4 h 11"/>
                <a:gd name="T48" fmla="*/ 0 w 4"/>
                <a:gd name="T49" fmla="*/ 4 h 11"/>
                <a:gd name="T50" fmla="*/ 0 w 4"/>
                <a:gd name="T51" fmla="*/ 4 h 11"/>
                <a:gd name="T52" fmla="*/ 0 w 4"/>
                <a:gd name="T53" fmla="*/ 2 h 11"/>
                <a:gd name="T54" fmla="*/ 0 w 4"/>
                <a:gd name="T55" fmla="*/ 2 h 11"/>
                <a:gd name="T56" fmla="*/ 0 w 4"/>
                <a:gd name="T57" fmla="*/ 2 h 11"/>
                <a:gd name="T58" fmla="*/ 0 w 4"/>
                <a:gd name="T59" fmla="*/ 2 h 11"/>
                <a:gd name="T60" fmla="*/ 0 w 4"/>
                <a:gd name="T61" fmla="*/ 2 h 11"/>
                <a:gd name="T62" fmla="*/ 0 w 4"/>
                <a:gd name="T63" fmla="*/ 2 h 11"/>
                <a:gd name="T64" fmla="*/ 0 w 4"/>
                <a:gd name="T65" fmla="*/ 0 h 11"/>
                <a:gd name="T66" fmla="*/ 2 w 4"/>
                <a:gd name="T67" fmla="*/ 0 h 11"/>
                <a:gd name="T68" fmla="*/ 2 w 4"/>
                <a:gd name="T6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" h="11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3" name="Freeform 610"/>
            <p:cNvSpPr>
              <a:spLocks/>
            </p:cNvSpPr>
            <p:nvPr/>
          </p:nvSpPr>
          <p:spPr bwMode="auto">
            <a:xfrm>
              <a:off x="7101721" y="3460982"/>
              <a:ext cx="58500" cy="71871"/>
            </a:xfrm>
            <a:custGeom>
              <a:avLst/>
              <a:gdLst>
                <a:gd name="T0" fmla="*/ 31 w 35"/>
                <a:gd name="T1" fmla="*/ 5 h 43"/>
                <a:gd name="T2" fmla="*/ 33 w 35"/>
                <a:gd name="T3" fmla="*/ 7 h 43"/>
                <a:gd name="T4" fmla="*/ 33 w 35"/>
                <a:gd name="T5" fmla="*/ 7 h 43"/>
                <a:gd name="T6" fmla="*/ 33 w 35"/>
                <a:gd name="T7" fmla="*/ 9 h 43"/>
                <a:gd name="T8" fmla="*/ 35 w 35"/>
                <a:gd name="T9" fmla="*/ 14 h 43"/>
                <a:gd name="T10" fmla="*/ 33 w 35"/>
                <a:gd name="T11" fmla="*/ 18 h 43"/>
                <a:gd name="T12" fmla="*/ 31 w 35"/>
                <a:gd name="T13" fmla="*/ 18 h 43"/>
                <a:gd name="T14" fmla="*/ 29 w 35"/>
                <a:gd name="T15" fmla="*/ 21 h 43"/>
                <a:gd name="T16" fmla="*/ 27 w 35"/>
                <a:gd name="T17" fmla="*/ 21 h 43"/>
                <a:gd name="T18" fmla="*/ 27 w 35"/>
                <a:gd name="T19" fmla="*/ 23 h 43"/>
                <a:gd name="T20" fmla="*/ 24 w 35"/>
                <a:gd name="T21" fmla="*/ 23 h 43"/>
                <a:gd name="T22" fmla="*/ 20 w 35"/>
                <a:gd name="T23" fmla="*/ 25 h 43"/>
                <a:gd name="T24" fmla="*/ 18 w 35"/>
                <a:gd name="T25" fmla="*/ 27 h 43"/>
                <a:gd name="T26" fmla="*/ 18 w 35"/>
                <a:gd name="T27" fmla="*/ 27 h 43"/>
                <a:gd name="T28" fmla="*/ 15 w 35"/>
                <a:gd name="T29" fmla="*/ 27 h 43"/>
                <a:gd name="T30" fmla="*/ 18 w 35"/>
                <a:gd name="T31" fmla="*/ 27 h 43"/>
                <a:gd name="T32" fmla="*/ 18 w 35"/>
                <a:gd name="T33" fmla="*/ 30 h 43"/>
                <a:gd name="T34" fmla="*/ 20 w 35"/>
                <a:gd name="T35" fmla="*/ 30 h 43"/>
                <a:gd name="T36" fmla="*/ 20 w 35"/>
                <a:gd name="T37" fmla="*/ 30 h 43"/>
                <a:gd name="T38" fmla="*/ 20 w 35"/>
                <a:gd name="T39" fmla="*/ 30 h 43"/>
                <a:gd name="T40" fmla="*/ 22 w 35"/>
                <a:gd name="T41" fmla="*/ 27 h 43"/>
                <a:gd name="T42" fmla="*/ 22 w 35"/>
                <a:gd name="T43" fmla="*/ 27 h 43"/>
                <a:gd name="T44" fmla="*/ 27 w 35"/>
                <a:gd name="T45" fmla="*/ 27 h 43"/>
                <a:gd name="T46" fmla="*/ 29 w 35"/>
                <a:gd name="T47" fmla="*/ 27 h 43"/>
                <a:gd name="T48" fmla="*/ 29 w 35"/>
                <a:gd name="T49" fmla="*/ 27 h 43"/>
                <a:gd name="T50" fmla="*/ 31 w 35"/>
                <a:gd name="T51" fmla="*/ 30 h 43"/>
                <a:gd name="T52" fmla="*/ 24 w 35"/>
                <a:gd name="T53" fmla="*/ 41 h 43"/>
                <a:gd name="T54" fmla="*/ 22 w 35"/>
                <a:gd name="T55" fmla="*/ 41 h 43"/>
                <a:gd name="T56" fmla="*/ 20 w 35"/>
                <a:gd name="T57" fmla="*/ 39 h 43"/>
                <a:gd name="T58" fmla="*/ 15 w 35"/>
                <a:gd name="T59" fmla="*/ 39 h 43"/>
                <a:gd name="T60" fmla="*/ 13 w 35"/>
                <a:gd name="T61" fmla="*/ 41 h 43"/>
                <a:gd name="T62" fmla="*/ 11 w 35"/>
                <a:gd name="T63" fmla="*/ 41 h 43"/>
                <a:gd name="T64" fmla="*/ 11 w 35"/>
                <a:gd name="T65" fmla="*/ 41 h 43"/>
                <a:gd name="T66" fmla="*/ 6 w 35"/>
                <a:gd name="T67" fmla="*/ 43 h 43"/>
                <a:gd name="T68" fmla="*/ 4 w 35"/>
                <a:gd name="T69" fmla="*/ 43 h 43"/>
                <a:gd name="T70" fmla="*/ 4 w 35"/>
                <a:gd name="T71" fmla="*/ 43 h 43"/>
                <a:gd name="T72" fmla="*/ 2 w 35"/>
                <a:gd name="T73" fmla="*/ 41 h 43"/>
                <a:gd name="T74" fmla="*/ 2 w 35"/>
                <a:gd name="T75" fmla="*/ 32 h 43"/>
                <a:gd name="T76" fmla="*/ 2 w 35"/>
                <a:gd name="T77" fmla="*/ 25 h 43"/>
                <a:gd name="T78" fmla="*/ 2 w 35"/>
                <a:gd name="T79" fmla="*/ 23 h 43"/>
                <a:gd name="T80" fmla="*/ 4 w 35"/>
                <a:gd name="T81" fmla="*/ 23 h 43"/>
                <a:gd name="T82" fmla="*/ 6 w 35"/>
                <a:gd name="T83" fmla="*/ 16 h 43"/>
                <a:gd name="T84" fmla="*/ 9 w 35"/>
                <a:gd name="T85" fmla="*/ 14 h 43"/>
                <a:gd name="T86" fmla="*/ 13 w 35"/>
                <a:gd name="T87" fmla="*/ 5 h 43"/>
                <a:gd name="T88" fmla="*/ 20 w 35"/>
                <a:gd name="T89" fmla="*/ 9 h 43"/>
                <a:gd name="T90" fmla="*/ 20 w 35"/>
                <a:gd name="T91" fmla="*/ 7 h 43"/>
                <a:gd name="T92" fmla="*/ 20 w 35"/>
                <a:gd name="T93" fmla="*/ 5 h 43"/>
                <a:gd name="T94" fmla="*/ 22 w 35"/>
                <a:gd name="T95" fmla="*/ 3 h 43"/>
                <a:gd name="T96" fmla="*/ 27 w 35"/>
                <a:gd name="T97" fmla="*/ 0 h 43"/>
                <a:gd name="T98" fmla="*/ 29 w 35"/>
                <a:gd name="T99" fmla="*/ 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5" h="43">
                  <a:moveTo>
                    <a:pt x="29" y="3"/>
                  </a:move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4"/>
                  </a:lnTo>
                  <a:lnTo>
                    <a:pt x="35" y="14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29" y="18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8" y="27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5" y="39"/>
                  </a:lnTo>
                  <a:lnTo>
                    <a:pt x="15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6" y="41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4" name="Freeform 611"/>
            <p:cNvSpPr>
              <a:spLocks noEditPoints="1"/>
            </p:cNvSpPr>
            <p:nvPr/>
          </p:nvSpPr>
          <p:spPr bwMode="auto">
            <a:xfrm>
              <a:off x="6759078" y="2571783"/>
              <a:ext cx="8358" cy="6686"/>
            </a:xfrm>
            <a:custGeom>
              <a:avLst/>
              <a:gdLst>
                <a:gd name="T0" fmla="*/ 5 w 5"/>
                <a:gd name="T1" fmla="*/ 0 h 4"/>
                <a:gd name="T2" fmla="*/ 5 w 5"/>
                <a:gd name="T3" fmla="*/ 0 h 4"/>
                <a:gd name="T4" fmla="*/ 5 w 5"/>
                <a:gd name="T5" fmla="*/ 0 h 4"/>
                <a:gd name="T6" fmla="*/ 5 w 5"/>
                <a:gd name="T7" fmla="*/ 0 h 4"/>
                <a:gd name="T8" fmla="*/ 5 w 5"/>
                <a:gd name="T9" fmla="*/ 0 h 4"/>
                <a:gd name="T10" fmla="*/ 2 w 5"/>
                <a:gd name="T11" fmla="*/ 0 h 4"/>
                <a:gd name="T12" fmla="*/ 2 w 5"/>
                <a:gd name="T13" fmla="*/ 0 h 4"/>
                <a:gd name="T14" fmla="*/ 2 w 5"/>
                <a:gd name="T15" fmla="*/ 0 h 4"/>
                <a:gd name="T16" fmla="*/ 2 w 5"/>
                <a:gd name="T17" fmla="*/ 2 h 4"/>
                <a:gd name="T18" fmla="*/ 2 w 5"/>
                <a:gd name="T19" fmla="*/ 2 h 4"/>
                <a:gd name="T20" fmla="*/ 5 w 5"/>
                <a:gd name="T21" fmla="*/ 2 h 4"/>
                <a:gd name="T22" fmla="*/ 5 w 5"/>
                <a:gd name="T23" fmla="*/ 2 h 4"/>
                <a:gd name="T24" fmla="*/ 5 w 5"/>
                <a:gd name="T25" fmla="*/ 2 h 4"/>
                <a:gd name="T26" fmla="*/ 5 w 5"/>
                <a:gd name="T27" fmla="*/ 2 h 4"/>
                <a:gd name="T28" fmla="*/ 5 w 5"/>
                <a:gd name="T29" fmla="*/ 4 h 4"/>
                <a:gd name="T30" fmla="*/ 5 w 5"/>
                <a:gd name="T31" fmla="*/ 4 h 4"/>
                <a:gd name="T32" fmla="*/ 2 w 5"/>
                <a:gd name="T33" fmla="*/ 2 h 4"/>
                <a:gd name="T34" fmla="*/ 0 w 5"/>
                <a:gd name="T35" fmla="*/ 2 h 4"/>
                <a:gd name="T36" fmla="*/ 0 w 5"/>
                <a:gd name="T37" fmla="*/ 2 h 4"/>
                <a:gd name="T38" fmla="*/ 0 w 5"/>
                <a:gd name="T39" fmla="*/ 2 h 4"/>
                <a:gd name="T40" fmla="*/ 0 w 5"/>
                <a:gd name="T41" fmla="*/ 2 h 4"/>
                <a:gd name="T42" fmla="*/ 0 w 5"/>
                <a:gd name="T43" fmla="*/ 2 h 4"/>
                <a:gd name="T44" fmla="*/ 0 w 5"/>
                <a:gd name="T45" fmla="*/ 0 h 4"/>
                <a:gd name="T46" fmla="*/ 0 w 5"/>
                <a:gd name="T47" fmla="*/ 0 h 4"/>
                <a:gd name="T48" fmla="*/ 0 w 5"/>
                <a:gd name="T49" fmla="*/ 0 h 4"/>
                <a:gd name="T50" fmla="*/ 0 w 5"/>
                <a:gd name="T51" fmla="*/ 0 h 4"/>
                <a:gd name="T52" fmla="*/ 0 w 5"/>
                <a:gd name="T53" fmla="*/ 2 h 4"/>
                <a:gd name="T54" fmla="*/ 2 w 5"/>
                <a:gd name="T55" fmla="*/ 0 h 4"/>
                <a:gd name="T56" fmla="*/ 2 w 5"/>
                <a:gd name="T57" fmla="*/ 0 h 4"/>
                <a:gd name="T58" fmla="*/ 2 w 5"/>
                <a:gd name="T59" fmla="*/ 0 h 4"/>
                <a:gd name="T60" fmla="*/ 2 w 5"/>
                <a:gd name="T61" fmla="*/ 0 h 4"/>
                <a:gd name="T62" fmla="*/ 2 w 5"/>
                <a:gd name="T63" fmla="*/ 0 h 4"/>
                <a:gd name="T64" fmla="*/ 5 w 5"/>
                <a:gd name="T65" fmla="*/ 0 h 4"/>
                <a:gd name="T66" fmla="*/ 5 w 5"/>
                <a:gd name="T67" fmla="*/ 0 h 4"/>
                <a:gd name="T68" fmla="*/ 5 w 5"/>
                <a:gd name="T69" fmla="*/ 0 h 4"/>
                <a:gd name="T70" fmla="*/ 5 w 5"/>
                <a:gd name="T71" fmla="*/ 0 h 4"/>
                <a:gd name="T72" fmla="*/ 5 w 5"/>
                <a:gd name="T73" fmla="*/ 0 h 4"/>
                <a:gd name="T74" fmla="*/ 5 w 5"/>
                <a:gd name="T75" fmla="*/ 0 h 4"/>
                <a:gd name="T76" fmla="*/ 2 w 5"/>
                <a:gd name="T77" fmla="*/ 2 h 4"/>
                <a:gd name="T78" fmla="*/ 2 w 5"/>
                <a:gd name="T79" fmla="*/ 2 h 4"/>
                <a:gd name="T80" fmla="*/ 2 w 5"/>
                <a:gd name="T81" fmla="*/ 2 h 4"/>
                <a:gd name="T82" fmla="*/ 2 w 5"/>
                <a:gd name="T83" fmla="*/ 2 h 4"/>
                <a:gd name="T84" fmla="*/ 2 w 5"/>
                <a:gd name="T85" fmla="*/ 2 h 4"/>
                <a:gd name="T86" fmla="*/ 2 w 5"/>
                <a:gd name="T87" fmla="*/ 2 h 4"/>
                <a:gd name="T88" fmla="*/ 2 w 5"/>
                <a:gd name="T89" fmla="*/ 2 h 4"/>
                <a:gd name="T90" fmla="*/ 2 w 5"/>
                <a:gd name="T91" fmla="*/ 2 h 4"/>
                <a:gd name="T92" fmla="*/ 2 w 5"/>
                <a:gd name="T93" fmla="*/ 2 h 4"/>
                <a:gd name="T94" fmla="*/ 2 w 5"/>
                <a:gd name="T95" fmla="*/ 2 h 4"/>
                <a:gd name="T96" fmla="*/ 2 w 5"/>
                <a:gd name="T97" fmla="*/ 2 h 4"/>
                <a:gd name="T98" fmla="*/ 2 w 5"/>
                <a:gd name="T99" fmla="*/ 2 h 4"/>
                <a:gd name="T100" fmla="*/ 2 w 5"/>
                <a:gd name="T101" fmla="*/ 2 h 4"/>
                <a:gd name="T102" fmla="*/ 2 w 5"/>
                <a:gd name="T10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close/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5" name="Freeform 612"/>
            <p:cNvSpPr>
              <a:spLocks noEditPoints="1"/>
            </p:cNvSpPr>
            <p:nvPr/>
          </p:nvSpPr>
          <p:spPr bwMode="auto">
            <a:xfrm>
              <a:off x="5433638" y="1522129"/>
              <a:ext cx="653528" cy="289156"/>
            </a:xfrm>
            <a:custGeom>
              <a:avLst/>
              <a:gdLst>
                <a:gd name="T0" fmla="*/ 330 w 391"/>
                <a:gd name="T1" fmla="*/ 171 h 173"/>
                <a:gd name="T2" fmla="*/ 310 w 391"/>
                <a:gd name="T3" fmla="*/ 167 h 173"/>
                <a:gd name="T4" fmla="*/ 339 w 391"/>
                <a:gd name="T5" fmla="*/ 164 h 173"/>
                <a:gd name="T6" fmla="*/ 299 w 391"/>
                <a:gd name="T7" fmla="*/ 167 h 173"/>
                <a:gd name="T8" fmla="*/ 297 w 391"/>
                <a:gd name="T9" fmla="*/ 162 h 173"/>
                <a:gd name="T10" fmla="*/ 319 w 391"/>
                <a:gd name="T11" fmla="*/ 160 h 173"/>
                <a:gd name="T12" fmla="*/ 391 w 391"/>
                <a:gd name="T13" fmla="*/ 162 h 173"/>
                <a:gd name="T14" fmla="*/ 310 w 391"/>
                <a:gd name="T15" fmla="*/ 153 h 173"/>
                <a:gd name="T16" fmla="*/ 315 w 391"/>
                <a:gd name="T17" fmla="*/ 153 h 173"/>
                <a:gd name="T18" fmla="*/ 312 w 391"/>
                <a:gd name="T19" fmla="*/ 162 h 173"/>
                <a:gd name="T20" fmla="*/ 301 w 391"/>
                <a:gd name="T21" fmla="*/ 160 h 173"/>
                <a:gd name="T22" fmla="*/ 297 w 391"/>
                <a:gd name="T23" fmla="*/ 153 h 173"/>
                <a:gd name="T24" fmla="*/ 344 w 391"/>
                <a:gd name="T25" fmla="*/ 149 h 173"/>
                <a:gd name="T26" fmla="*/ 310 w 391"/>
                <a:gd name="T27" fmla="*/ 142 h 173"/>
                <a:gd name="T28" fmla="*/ 346 w 391"/>
                <a:gd name="T29" fmla="*/ 149 h 173"/>
                <a:gd name="T30" fmla="*/ 337 w 391"/>
                <a:gd name="T31" fmla="*/ 160 h 173"/>
                <a:gd name="T32" fmla="*/ 335 w 391"/>
                <a:gd name="T33" fmla="*/ 164 h 173"/>
                <a:gd name="T34" fmla="*/ 335 w 391"/>
                <a:gd name="T35" fmla="*/ 169 h 173"/>
                <a:gd name="T36" fmla="*/ 330 w 391"/>
                <a:gd name="T37" fmla="*/ 162 h 173"/>
                <a:gd name="T38" fmla="*/ 324 w 391"/>
                <a:gd name="T39" fmla="*/ 158 h 173"/>
                <a:gd name="T40" fmla="*/ 319 w 391"/>
                <a:gd name="T41" fmla="*/ 151 h 173"/>
                <a:gd name="T42" fmla="*/ 324 w 391"/>
                <a:gd name="T43" fmla="*/ 146 h 173"/>
                <a:gd name="T44" fmla="*/ 330 w 391"/>
                <a:gd name="T45" fmla="*/ 142 h 173"/>
                <a:gd name="T46" fmla="*/ 333 w 391"/>
                <a:gd name="T47" fmla="*/ 146 h 173"/>
                <a:gd name="T48" fmla="*/ 335 w 391"/>
                <a:gd name="T49" fmla="*/ 149 h 173"/>
                <a:gd name="T50" fmla="*/ 279 w 391"/>
                <a:gd name="T51" fmla="*/ 122 h 173"/>
                <a:gd name="T52" fmla="*/ 274 w 391"/>
                <a:gd name="T53" fmla="*/ 122 h 173"/>
                <a:gd name="T54" fmla="*/ 312 w 391"/>
                <a:gd name="T55" fmla="*/ 113 h 173"/>
                <a:gd name="T56" fmla="*/ 297 w 391"/>
                <a:gd name="T57" fmla="*/ 117 h 173"/>
                <a:gd name="T58" fmla="*/ 299 w 391"/>
                <a:gd name="T59" fmla="*/ 126 h 173"/>
                <a:gd name="T60" fmla="*/ 303 w 391"/>
                <a:gd name="T61" fmla="*/ 128 h 173"/>
                <a:gd name="T62" fmla="*/ 310 w 391"/>
                <a:gd name="T63" fmla="*/ 135 h 173"/>
                <a:gd name="T64" fmla="*/ 306 w 391"/>
                <a:gd name="T65" fmla="*/ 135 h 173"/>
                <a:gd name="T66" fmla="*/ 303 w 391"/>
                <a:gd name="T67" fmla="*/ 144 h 173"/>
                <a:gd name="T68" fmla="*/ 294 w 391"/>
                <a:gd name="T69" fmla="*/ 149 h 173"/>
                <a:gd name="T70" fmla="*/ 294 w 391"/>
                <a:gd name="T71" fmla="*/ 155 h 173"/>
                <a:gd name="T72" fmla="*/ 292 w 391"/>
                <a:gd name="T73" fmla="*/ 160 h 173"/>
                <a:gd name="T74" fmla="*/ 297 w 391"/>
                <a:gd name="T75" fmla="*/ 167 h 173"/>
                <a:gd name="T76" fmla="*/ 281 w 391"/>
                <a:gd name="T77" fmla="*/ 164 h 173"/>
                <a:gd name="T78" fmla="*/ 279 w 391"/>
                <a:gd name="T79" fmla="*/ 158 h 173"/>
                <a:gd name="T80" fmla="*/ 270 w 391"/>
                <a:gd name="T81" fmla="*/ 146 h 173"/>
                <a:gd name="T82" fmla="*/ 267 w 391"/>
                <a:gd name="T83" fmla="*/ 142 h 173"/>
                <a:gd name="T84" fmla="*/ 272 w 391"/>
                <a:gd name="T85" fmla="*/ 128 h 173"/>
                <a:gd name="T86" fmla="*/ 281 w 391"/>
                <a:gd name="T87" fmla="*/ 124 h 173"/>
                <a:gd name="T88" fmla="*/ 283 w 391"/>
                <a:gd name="T89" fmla="*/ 126 h 173"/>
                <a:gd name="T90" fmla="*/ 288 w 391"/>
                <a:gd name="T91" fmla="*/ 128 h 173"/>
                <a:gd name="T92" fmla="*/ 285 w 391"/>
                <a:gd name="T93" fmla="*/ 119 h 173"/>
                <a:gd name="T94" fmla="*/ 283 w 391"/>
                <a:gd name="T95" fmla="*/ 117 h 173"/>
                <a:gd name="T96" fmla="*/ 272 w 391"/>
                <a:gd name="T97" fmla="*/ 124 h 173"/>
                <a:gd name="T98" fmla="*/ 272 w 391"/>
                <a:gd name="T99" fmla="*/ 126 h 173"/>
                <a:gd name="T100" fmla="*/ 299 w 391"/>
                <a:gd name="T101" fmla="*/ 106 h 173"/>
                <a:gd name="T102" fmla="*/ 16 w 391"/>
                <a:gd name="T103" fmla="*/ 20 h 173"/>
                <a:gd name="T104" fmla="*/ 11 w 391"/>
                <a:gd name="T105" fmla="*/ 18 h 173"/>
                <a:gd name="T106" fmla="*/ 2 w 391"/>
                <a:gd name="T107" fmla="*/ 7 h 173"/>
                <a:gd name="T108" fmla="*/ 7 w 391"/>
                <a:gd name="T109" fmla="*/ 7 h 173"/>
                <a:gd name="T110" fmla="*/ 9 w 391"/>
                <a:gd name="T111" fmla="*/ 2 h 173"/>
                <a:gd name="T112" fmla="*/ 11 w 391"/>
                <a:gd name="T113" fmla="*/ 9 h 173"/>
                <a:gd name="T114" fmla="*/ 11 w 391"/>
                <a:gd name="T115" fmla="*/ 2 h 173"/>
                <a:gd name="T116" fmla="*/ 16 w 391"/>
                <a:gd name="T117" fmla="*/ 7 h 173"/>
                <a:gd name="T118" fmla="*/ 11 w 391"/>
                <a:gd name="T119" fmla="*/ 2 h 173"/>
                <a:gd name="T120" fmla="*/ 18 w 391"/>
                <a:gd name="T121" fmla="*/ 5 h 173"/>
                <a:gd name="T122" fmla="*/ 14 w 391"/>
                <a:gd name="T123" fmla="*/ 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1" h="173">
                  <a:moveTo>
                    <a:pt x="324" y="164"/>
                  </a:moveTo>
                  <a:lnTo>
                    <a:pt x="324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26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7"/>
                  </a:lnTo>
                  <a:lnTo>
                    <a:pt x="330" y="164"/>
                  </a:lnTo>
                  <a:lnTo>
                    <a:pt x="330" y="164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3" y="169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3" y="171"/>
                  </a:lnTo>
                  <a:lnTo>
                    <a:pt x="330" y="171"/>
                  </a:lnTo>
                  <a:lnTo>
                    <a:pt x="330" y="171"/>
                  </a:lnTo>
                  <a:lnTo>
                    <a:pt x="328" y="171"/>
                  </a:lnTo>
                  <a:lnTo>
                    <a:pt x="328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71"/>
                  </a:lnTo>
                  <a:lnTo>
                    <a:pt x="324" y="169"/>
                  </a:lnTo>
                  <a:lnTo>
                    <a:pt x="321" y="169"/>
                  </a:lnTo>
                  <a:lnTo>
                    <a:pt x="321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9"/>
                  </a:lnTo>
                  <a:lnTo>
                    <a:pt x="319" y="167"/>
                  </a:lnTo>
                  <a:lnTo>
                    <a:pt x="319" y="167"/>
                  </a:lnTo>
                  <a:lnTo>
                    <a:pt x="321" y="167"/>
                  </a:lnTo>
                  <a:lnTo>
                    <a:pt x="321" y="167"/>
                  </a:lnTo>
                  <a:lnTo>
                    <a:pt x="321" y="167"/>
                  </a:lnTo>
                  <a:lnTo>
                    <a:pt x="321" y="167"/>
                  </a:lnTo>
                  <a:lnTo>
                    <a:pt x="321" y="167"/>
                  </a:lnTo>
                  <a:lnTo>
                    <a:pt x="319" y="167"/>
                  </a:lnTo>
                  <a:lnTo>
                    <a:pt x="319" y="167"/>
                  </a:lnTo>
                  <a:lnTo>
                    <a:pt x="319" y="164"/>
                  </a:lnTo>
                  <a:lnTo>
                    <a:pt x="319" y="164"/>
                  </a:lnTo>
                  <a:lnTo>
                    <a:pt x="321" y="164"/>
                  </a:lnTo>
                  <a:lnTo>
                    <a:pt x="321" y="164"/>
                  </a:lnTo>
                  <a:lnTo>
                    <a:pt x="324" y="164"/>
                  </a:lnTo>
                  <a:lnTo>
                    <a:pt x="324" y="164"/>
                  </a:lnTo>
                  <a:close/>
                  <a:moveTo>
                    <a:pt x="308" y="164"/>
                  </a:moveTo>
                  <a:lnTo>
                    <a:pt x="308" y="167"/>
                  </a:lnTo>
                  <a:lnTo>
                    <a:pt x="308" y="167"/>
                  </a:lnTo>
                  <a:lnTo>
                    <a:pt x="308" y="167"/>
                  </a:lnTo>
                  <a:lnTo>
                    <a:pt x="308" y="164"/>
                  </a:lnTo>
                  <a:lnTo>
                    <a:pt x="308" y="164"/>
                  </a:lnTo>
                  <a:lnTo>
                    <a:pt x="308" y="164"/>
                  </a:lnTo>
                  <a:lnTo>
                    <a:pt x="308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4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10" y="167"/>
                  </a:lnTo>
                  <a:lnTo>
                    <a:pt x="308" y="167"/>
                  </a:lnTo>
                  <a:lnTo>
                    <a:pt x="308" y="167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8" y="164"/>
                  </a:lnTo>
                  <a:lnTo>
                    <a:pt x="308" y="164"/>
                  </a:lnTo>
                  <a:lnTo>
                    <a:pt x="308" y="164"/>
                  </a:lnTo>
                  <a:close/>
                  <a:moveTo>
                    <a:pt x="346" y="162"/>
                  </a:moveTo>
                  <a:lnTo>
                    <a:pt x="346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4" y="164"/>
                  </a:lnTo>
                  <a:lnTo>
                    <a:pt x="344" y="164"/>
                  </a:lnTo>
                  <a:lnTo>
                    <a:pt x="342" y="164"/>
                  </a:lnTo>
                  <a:lnTo>
                    <a:pt x="342" y="164"/>
                  </a:lnTo>
                  <a:lnTo>
                    <a:pt x="342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42" y="164"/>
                  </a:lnTo>
                  <a:lnTo>
                    <a:pt x="342" y="164"/>
                  </a:lnTo>
                  <a:lnTo>
                    <a:pt x="342" y="164"/>
                  </a:lnTo>
                  <a:lnTo>
                    <a:pt x="342" y="164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2" y="162"/>
                  </a:lnTo>
                  <a:lnTo>
                    <a:pt x="344" y="162"/>
                  </a:lnTo>
                  <a:lnTo>
                    <a:pt x="346" y="162"/>
                  </a:lnTo>
                  <a:lnTo>
                    <a:pt x="346" y="162"/>
                  </a:lnTo>
                  <a:close/>
                  <a:moveTo>
                    <a:pt x="297" y="162"/>
                  </a:moveTo>
                  <a:lnTo>
                    <a:pt x="299" y="162"/>
                  </a:lnTo>
                  <a:lnTo>
                    <a:pt x="299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299" y="167"/>
                  </a:lnTo>
                  <a:lnTo>
                    <a:pt x="299" y="167"/>
                  </a:lnTo>
                  <a:lnTo>
                    <a:pt x="299" y="167"/>
                  </a:lnTo>
                  <a:lnTo>
                    <a:pt x="299" y="164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7" y="162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2"/>
                  </a:lnTo>
                  <a:close/>
                  <a:moveTo>
                    <a:pt x="317" y="164"/>
                  </a:moveTo>
                  <a:lnTo>
                    <a:pt x="315" y="169"/>
                  </a:lnTo>
                  <a:lnTo>
                    <a:pt x="315" y="169"/>
                  </a:lnTo>
                  <a:lnTo>
                    <a:pt x="315" y="169"/>
                  </a:lnTo>
                  <a:lnTo>
                    <a:pt x="315" y="169"/>
                  </a:lnTo>
                  <a:lnTo>
                    <a:pt x="315" y="169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2" y="167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5" y="167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2"/>
                  </a:lnTo>
                  <a:lnTo>
                    <a:pt x="317" y="162"/>
                  </a:lnTo>
                  <a:lnTo>
                    <a:pt x="317" y="162"/>
                  </a:lnTo>
                  <a:lnTo>
                    <a:pt x="317" y="160"/>
                  </a:lnTo>
                  <a:lnTo>
                    <a:pt x="317" y="160"/>
                  </a:lnTo>
                  <a:lnTo>
                    <a:pt x="319" y="160"/>
                  </a:lnTo>
                  <a:lnTo>
                    <a:pt x="317" y="162"/>
                  </a:lnTo>
                  <a:lnTo>
                    <a:pt x="317" y="162"/>
                  </a:lnTo>
                  <a:lnTo>
                    <a:pt x="317" y="164"/>
                  </a:lnTo>
                  <a:close/>
                  <a:moveTo>
                    <a:pt x="391" y="162"/>
                  </a:moveTo>
                  <a:lnTo>
                    <a:pt x="389" y="162"/>
                  </a:lnTo>
                  <a:lnTo>
                    <a:pt x="389" y="162"/>
                  </a:lnTo>
                  <a:lnTo>
                    <a:pt x="389" y="162"/>
                  </a:lnTo>
                  <a:lnTo>
                    <a:pt x="386" y="162"/>
                  </a:lnTo>
                  <a:lnTo>
                    <a:pt x="384" y="162"/>
                  </a:lnTo>
                  <a:lnTo>
                    <a:pt x="384" y="160"/>
                  </a:lnTo>
                  <a:lnTo>
                    <a:pt x="384" y="160"/>
                  </a:lnTo>
                  <a:lnTo>
                    <a:pt x="384" y="160"/>
                  </a:lnTo>
                  <a:lnTo>
                    <a:pt x="384" y="158"/>
                  </a:lnTo>
                  <a:lnTo>
                    <a:pt x="384" y="158"/>
                  </a:lnTo>
                  <a:lnTo>
                    <a:pt x="384" y="158"/>
                  </a:lnTo>
                  <a:lnTo>
                    <a:pt x="384" y="158"/>
                  </a:lnTo>
                  <a:lnTo>
                    <a:pt x="384" y="158"/>
                  </a:lnTo>
                  <a:lnTo>
                    <a:pt x="384" y="155"/>
                  </a:lnTo>
                  <a:lnTo>
                    <a:pt x="384" y="155"/>
                  </a:lnTo>
                  <a:lnTo>
                    <a:pt x="384" y="155"/>
                  </a:lnTo>
                  <a:lnTo>
                    <a:pt x="384" y="158"/>
                  </a:lnTo>
                  <a:lnTo>
                    <a:pt x="386" y="158"/>
                  </a:lnTo>
                  <a:lnTo>
                    <a:pt x="386" y="158"/>
                  </a:lnTo>
                  <a:lnTo>
                    <a:pt x="386" y="158"/>
                  </a:lnTo>
                  <a:lnTo>
                    <a:pt x="389" y="158"/>
                  </a:lnTo>
                  <a:lnTo>
                    <a:pt x="389" y="158"/>
                  </a:lnTo>
                  <a:lnTo>
                    <a:pt x="389" y="158"/>
                  </a:lnTo>
                  <a:lnTo>
                    <a:pt x="389" y="160"/>
                  </a:lnTo>
                  <a:lnTo>
                    <a:pt x="389" y="160"/>
                  </a:lnTo>
                  <a:lnTo>
                    <a:pt x="389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0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lnTo>
                    <a:pt x="391" y="162"/>
                  </a:lnTo>
                  <a:close/>
                  <a:moveTo>
                    <a:pt x="274" y="153"/>
                  </a:moveTo>
                  <a:lnTo>
                    <a:pt x="274" y="153"/>
                  </a:lnTo>
                  <a:lnTo>
                    <a:pt x="274" y="153"/>
                  </a:lnTo>
                  <a:lnTo>
                    <a:pt x="274" y="153"/>
                  </a:lnTo>
                  <a:lnTo>
                    <a:pt x="274" y="153"/>
                  </a:lnTo>
                  <a:lnTo>
                    <a:pt x="274" y="155"/>
                  </a:lnTo>
                  <a:lnTo>
                    <a:pt x="274" y="155"/>
                  </a:lnTo>
                  <a:lnTo>
                    <a:pt x="274" y="155"/>
                  </a:lnTo>
                  <a:lnTo>
                    <a:pt x="274" y="155"/>
                  </a:lnTo>
                  <a:lnTo>
                    <a:pt x="274" y="155"/>
                  </a:lnTo>
                  <a:lnTo>
                    <a:pt x="274" y="155"/>
                  </a:lnTo>
                  <a:lnTo>
                    <a:pt x="274" y="155"/>
                  </a:lnTo>
                  <a:lnTo>
                    <a:pt x="272" y="155"/>
                  </a:lnTo>
                  <a:lnTo>
                    <a:pt x="272" y="153"/>
                  </a:lnTo>
                  <a:lnTo>
                    <a:pt x="272" y="153"/>
                  </a:lnTo>
                  <a:lnTo>
                    <a:pt x="272" y="153"/>
                  </a:lnTo>
                  <a:lnTo>
                    <a:pt x="272" y="153"/>
                  </a:lnTo>
                  <a:lnTo>
                    <a:pt x="274" y="153"/>
                  </a:lnTo>
                  <a:close/>
                  <a:moveTo>
                    <a:pt x="306" y="149"/>
                  </a:moveTo>
                  <a:lnTo>
                    <a:pt x="308" y="151"/>
                  </a:lnTo>
                  <a:lnTo>
                    <a:pt x="308" y="151"/>
                  </a:lnTo>
                  <a:lnTo>
                    <a:pt x="308" y="151"/>
                  </a:lnTo>
                  <a:lnTo>
                    <a:pt x="308" y="151"/>
                  </a:lnTo>
                  <a:lnTo>
                    <a:pt x="308" y="151"/>
                  </a:lnTo>
                  <a:lnTo>
                    <a:pt x="308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08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08" y="153"/>
                  </a:lnTo>
                  <a:lnTo>
                    <a:pt x="308" y="153"/>
                  </a:lnTo>
                  <a:lnTo>
                    <a:pt x="308" y="153"/>
                  </a:lnTo>
                  <a:lnTo>
                    <a:pt x="308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2" y="153"/>
                  </a:lnTo>
                  <a:lnTo>
                    <a:pt x="312" y="153"/>
                  </a:lnTo>
                  <a:lnTo>
                    <a:pt x="312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0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0" y="149"/>
                  </a:lnTo>
                  <a:lnTo>
                    <a:pt x="310" y="149"/>
                  </a:lnTo>
                  <a:lnTo>
                    <a:pt x="312" y="149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2" y="151"/>
                  </a:lnTo>
                  <a:lnTo>
                    <a:pt x="315" y="151"/>
                  </a:lnTo>
                  <a:lnTo>
                    <a:pt x="315" y="153"/>
                  </a:lnTo>
                  <a:lnTo>
                    <a:pt x="315" y="153"/>
                  </a:lnTo>
                  <a:lnTo>
                    <a:pt x="315" y="153"/>
                  </a:lnTo>
                  <a:lnTo>
                    <a:pt x="312" y="153"/>
                  </a:lnTo>
                  <a:lnTo>
                    <a:pt x="312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0" y="153"/>
                  </a:lnTo>
                  <a:lnTo>
                    <a:pt x="312" y="153"/>
                  </a:lnTo>
                  <a:lnTo>
                    <a:pt x="312" y="153"/>
                  </a:lnTo>
                  <a:lnTo>
                    <a:pt x="312" y="153"/>
                  </a:lnTo>
                  <a:lnTo>
                    <a:pt x="315" y="155"/>
                  </a:lnTo>
                  <a:lnTo>
                    <a:pt x="315" y="155"/>
                  </a:lnTo>
                  <a:lnTo>
                    <a:pt x="315" y="155"/>
                  </a:lnTo>
                  <a:lnTo>
                    <a:pt x="315" y="158"/>
                  </a:lnTo>
                  <a:lnTo>
                    <a:pt x="315" y="158"/>
                  </a:lnTo>
                  <a:lnTo>
                    <a:pt x="315" y="155"/>
                  </a:lnTo>
                  <a:lnTo>
                    <a:pt x="315" y="155"/>
                  </a:lnTo>
                  <a:lnTo>
                    <a:pt x="315" y="155"/>
                  </a:lnTo>
                  <a:lnTo>
                    <a:pt x="315" y="158"/>
                  </a:lnTo>
                  <a:lnTo>
                    <a:pt x="315" y="158"/>
                  </a:lnTo>
                  <a:lnTo>
                    <a:pt x="315" y="158"/>
                  </a:lnTo>
                  <a:lnTo>
                    <a:pt x="315" y="158"/>
                  </a:lnTo>
                  <a:lnTo>
                    <a:pt x="315" y="158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2"/>
                  </a:lnTo>
                  <a:lnTo>
                    <a:pt x="315" y="162"/>
                  </a:lnTo>
                  <a:lnTo>
                    <a:pt x="315" y="162"/>
                  </a:lnTo>
                  <a:lnTo>
                    <a:pt x="315" y="162"/>
                  </a:lnTo>
                  <a:lnTo>
                    <a:pt x="315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10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6" y="162"/>
                  </a:lnTo>
                  <a:lnTo>
                    <a:pt x="306" y="162"/>
                  </a:lnTo>
                  <a:lnTo>
                    <a:pt x="306" y="162"/>
                  </a:lnTo>
                  <a:lnTo>
                    <a:pt x="306" y="162"/>
                  </a:lnTo>
                  <a:lnTo>
                    <a:pt x="306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9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7" y="155"/>
                  </a:lnTo>
                  <a:lnTo>
                    <a:pt x="299" y="155"/>
                  </a:lnTo>
                  <a:lnTo>
                    <a:pt x="299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9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7" y="153"/>
                  </a:lnTo>
                  <a:lnTo>
                    <a:pt x="294" y="153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9" y="151"/>
                  </a:lnTo>
                  <a:lnTo>
                    <a:pt x="299" y="151"/>
                  </a:lnTo>
                  <a:lnTo>
                    <a:pt x="299" y="151"/>
                  </a:lnTo>
                  <a:lnTo>
                    <a:pt x="299" y="151"/>
                  </a:lnTo>
                  <a:lnTo>
                    <a:pt x="299" y="151"/>
                  </a:lnTo>
                  <a:lnTo>
                    <a:pt x="301" y="151"/>
                  </a:lnTo>
                  <a:lnTo>
                    <a:pt x="303" y="151"/>
                  </a:lnTo>
                  <a:lnTo>
                    <a:pt x="303" y="149"/>
                  </a:lnTo>
                  <a:lnTo>
                    <a:pt x="306" y="149"/>
                  </a:lnTo>
                  <a:lnTo>
                    <a:pt x="306" y="149"/>
                  </a:lnTo>
                  <a:lnTo>
                    <a:pt x="306" y="149"/>
                  </a:lnTo>
                  <a:lnTo>
                    <a:pt x="306" y="149"/>
                  </a:lnTo>
                  <a:lnTo>
                    <a:pt x="306" y="151"/>
                  </a:lnTo>
                  <a:lnTo>
                    <a:pt x="306" y="151"/>
                  </a:lnTo>
                  <a:lnTo>
                    <a:pt x="306" y="151"/>
                  </a:lnTo>
                  <a:lnTo>
                    <a:pt x="306" y="151"/>
                  </a:lnTo>
                  <a:lnTo>
                    <a:pt x="306" y="149"/>
                  </a:lnTo>
                  <a:lnTo>
                    <a:pt x="306" y="149"/>
                  </a:lnTo>
                  <a:lnTo>
                    <a:pt x="306" y="149"/>
                  </a:lnTo>
                  <a:close/>
                  <a:moveTo>
                    <a:pt x="346" y="151"/>
                  </a:moveTo>
                  <a:lnTo>
                    <a:pt x="346" y="151"/>
                  </a:lnTo>
                  <a:lnTo>
                    <a:pt x="344" y="151"/>
                  </a:lnTo>
                  <a:lnTo>
                    <a:pt x="344" y="151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6" y="149"/>
                  </a:lnTo>
                  <a:lnTo>
                    <a:pt x="346" y="149"/>
                  </a:lnTo>
                  <a:lnTo>
                    <a:pt x="346" y="149"/>
                  </a:lnTo>
                  <a:lnTo>
                    <a:pt x="346" y="149"/>
                  </a:lnTo>
                  <a:lnTo>
                    <a:pt x="346" y="146"/>
                  </a:lnTo>
                  <a:lnTo>
                    <a:pt x="346" y="149"/>
                  </a:lnTo>
                  <a:lnTo>
                    <a:pt x="346" y="149"/>
                  </a:lnTo>
                  <a:lnTo>
                    <a:pt x="346" y="149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6" y="151"/>
                  </a:lnTo>
                  <a:close/>
                  <a:moveTo>
                    <a:pt x="310" y="144"/>
                  </a:move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2"/>
                  </a:lnTo>
                  <a:lnTo>
                    <a:pt x="310" y="144"/>
                  </a:lnTo>
                  <a:lnTo>
                    <a:pt x="310" y="144"/>
                  </a:lnTo>
                  <a:close/>
                  <a:moveTo>
                    <a:pt x="339" y="137"/>
                  </a:moveTo>
                  <a:lnTo>
                    <a:pt x="342" y="140"/>
                  </a:lnTo>
                  <a:lnTo>
                    <a:pt x="344" y="140"/>
                  </a:lnTo>
                  <a:lnTo>
                    <a:pt x="344" y="140"/>
                  </a:lnTo>
                  <a:lnTo>
                    <a:pt x="344" y="140"/>
                  </a:lnTo>
                  <a:lnTo>
                    <a:pt x="344" y="140"/>
                  </a:lnTo>
                  <a:lnTo>
                    <a:pt x="346" y="140"/>
                  </a:lnTo>
                  <a:lnTo>
                    <a:pt x="346" y="140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2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6"/>
                  </a:lnTo>
                  <a:lnTo>
                    <a:pt x="346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4" y="149"/>
                  </a:lnTo>
                  <a:lnTo>
                    <a:pt x="342" y="149"/>
                  </a:lnTo>
                  <a:lnTo>
                    <a:pt x="342" y="151"/>
                  </a:lnTo>
                  <a:lnTo>
                    <a:pt x="339" y="151"/>
                  </a:lnTo>
                  <a:lnTo>
                    <a:pt x="339" y="153"/>
                  </a:lnTo>
                  <a:lnTo>
                    <a:pt x="339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2" y="153"/>
                  </a:lnTo>
                  <a:lnTo>
                    <a:pt x="344" y="155"/>
                  </a:lnTo>
                  <a:lnTo>
                    <a:pt x="344" y="155"/>
                  </a:lnTo>
                  <a:lnTo>
                    <a:pt x="344" y="155"/>
                  </a:lnTo>
                  <a:lnTo>
                    <a:pt x="344" y="155"/>
                  </a:lnTo>
                  <a:lnTo>
                    <a:pt x="344" y="155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44" y="158"/>
                  </a:lnTo>
                  <a:lnTo>
                    <a:pt x="339" y="158"/>
                  </a:lnTo>
                  <a:lnTo>
                    <a:pt x="339" y="158"/>
                  </a:lnTo>
                  <a:lnTo>
                    <a:pt x="339" y="158"/>
                  </a:lnTo>
                  <a:lnTo>
                    <a:pt x="339" y="160"/>
                  </a:lnTo>
                  <a:lnTo>
                    <a:pt x="339" y="160"/>
                  </a:lnTo>
                  <a:lnTo>
                    <a:pt x="339" y="160"/>
                  </a:lnTo>
                  <a:lnTo>
                    <a:pt x="339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7" y="160"/>
                  </a:lnTo>
                  <a:lnTo>
                    <a:pt x="339" y="160"/>
                  </a:lnTo>
                  <a:lnTo>
                    <a:pt x="339" y="160"/>
                  </a:lnTo>
                  <a:lnTo>
                    <a:pt x="339" y="160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2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9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4"/>
                  </a:lnTo>
                  <a:lnTo>
                    <a:pt x="337" y="167"/>
                  </a:lnTo>
                  <a:lnTo>
                    <a:pt x="337" y="167"/>
                  </a:lnTo>
                  <a:lnTo>
                    <a:pt x="337" y="164"/>
                  </a:lnTo>
                  <a:lnTo>
                    <a:pt x="339" y="164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69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1"/>
                  </a:lnTo>
                  <a:lnTo>
                    <a:pt x="337" y="173"/>
                  </a:lnTo>
                  <a:lnTo>
                    <a:pt x="337" y="173"/>
                  </a:lnTo>
                  <a:lnTo>
                    <a:pt x="337" y="173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71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5" y="169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7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3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4"/>
                  </a:lnTo>
                  <a:lnTo>
                    <a:pt x="335" y="162"/>
                  </a:lnTo>
                  <a:lnTo>
                    <a:pt x="335" y="162"/>
                  </a:lnTo>
                  <a:lnTo>
                    <a:pt x="333" y="162"/>
                  </a:lnTo>
                  <a:lnTo>
                    <a:pt x="333" y="162"/>
                  </a:lnTo>
                  <a:lnTo>
                    <a:pt x="333" y="162"/>
                  </a:lnTo>
                  <a:lnTo>
                    <a:pt x="333" y="162"/>
                  </a:lnTo>
                  <a:lnTo>
                    <a:pt x="333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0" y="162"/>
                  </a:lnTo>
                  <a:lnTo>
                    <a:pt x="333" y="162"/>
                  </a:lnTo>
                  <a:lnTo>
                    <a:pt x="333" y="162"/>
                  </a:lnTo>
                  <a:lnTo>
                    <a:pt x="333" y="162"/>
                  </a:lnTo>
                  <a:lnTo>
                    <a:pt x="333" y="160"/>
                  </a:lnTo>
                  <a:lnTo>
                    <a:pt x="330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0" y="160"/>
                  </a:lnTo>
                  <a:lnTo>
                    <a:pt x="333" y="160"/>
                  </a:lnTo>
                  <a:lnTo>
                    <a:pt x="333" y="160"/>
                  </a:lnTo>
                  <a:lnTo>
                    <a:pt x="333" y="158"/>
                  </a:lnTo>
                  <a:lnTo>
                    <a:pt x="330" y="158"/>
                  </a:lnTo>
                  <a:lnTo>
                    <a:pt x="330" y="158"/>
                  </a:lnTo>
                  <a:lnTo>
                    <a:pt x="330" y="158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28" y="158"/>
                  </a:lnTo>
                  <a:lnTo>
                    <a:pt x="328" y="158"/>
                  </a:lnTo>
                  <a:lnTo>
                    <a:pt x="328" y="158"/>
                  </a:lnTo>
                  <a:lnTo>
                    <a:pt x="326" y="158"/>
                  </a:lnTo>
                  <a:lnTo>
                    <a:pt x="326" y="158"/>
                  </a:lnTo>
                  <a:lnTo>
                    <a:pt x="326" y="158"/>
                  </a:lnTo>
                  <a:lnTo>
                    <a:pt x="326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1" y="158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5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3"/>
                  </a:lnTo>
                  <a:lnTo>
                    <a:pt x="321" y="151"/>
                  </a:lnTo>
                  <a:lnTo>
                    <a:pt x="321" y="151"/>
                  </a:lnTo>
                  <a:lnTo>
                    <a:pt x="321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19" y="151"/>
                  </a:lnTo>
                  <a:lnTo>
                    <a:pt x="321" y="151"/>
                  </a:lnTo>
                  <a:lnTo>
                    <a:pt x="321" y="151"/>
                  </a:lnTo>
                  <a:lnTo>
                    <a:pt x="321" y="151"/>
                  </a:lnTo>
                  <a:lnTo>
                    <a:pt x="321" y="151"/>
                  </a:lnTo>
                  <a:lnTo>
                    <a:pt x="319" y="149"/>
                  </a:lnTo>
                  <a:lnTo>
                    <a:pt x="319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9" y="149"/>
                  </a:lnTo>
                  <a:lnTo>
                    <a:pt x="319" y="149"/>
                  </a:lnTo>
                  <a:lnTo>
                    <a:pt x="319" y="149"/>
                  </a:lnTo>
                  <a:lnTo>
                    <a:pt x="317" y="146"/>
                  </a:lnTo>
                  <a:lnTo>
                    <a:pt x="317" y="146"/>
                  </a:lnTo>
                  <a:lnTo>
                    <a:pt x="317" y="146"/>
                  </a:lnTo>
                  <a:lnTo>
                    <a:pt x="317" y="146"/>
                  </a:lnTo>
                  <a:lnTo>
                    <a:pt x="317" y="146"/>
                  </a:lnTo>
                  <a:lnTo>
                    <a:pt x="317" y="146"/>
                  </a:lnTo>
                  <a:lnTo>
                    <a:pt x="315" y="146"/>
                  </a:lnTo>
                  <a:lnTo>
                    <a:pt x="315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19" y="146"/>
                  </a:lnTo>
                  <a:lnTo>
                    <a:pt x="319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1" y="146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24" y="146"/>
                  </a:lnTo>
                  <a:lnTo>
                    <a:pt x="324" y="144"/>
                  </a:lnTo>
                  <a:lnTo>
                    <a:pt x="324" y="144"/>
                  </a:lnTo>
                  <a:lnTo>
                    <a:pt x="324" y="144"/>
                  </a:lnTo>
                  <a:lnTo>
                    <a:pt x="324" y="144"/>
                  </a:lnTo>
                  <a:lnTo>
                    <a:pt x="324" y="144"/>
                  </a:lnTo>
                  <a:lnTo>
                    <a:pt x="324" y="144"/>
                  </a:lnTo>
                  <a:lnTo>
                    <a:pt x="324" y="144"/>
                  </a:lnTo>
                  <a:lnTo>
                    <a:pt x="326" y="144"/>
                  </a:lnTo>
                  <a:lnTo>
                    <a:pt x="326" y="144"/>
                  </a:lnTo>
                  <a:lnTo>
                    <a:pt x="326" y="144"/>
                  </a:lnTo>
                  <a:lnTo>
                    <a:pt x="326" y="144"/>
                  </a:lnTo>
                  <a:lnTo>
                    <a:pt x="326" y="142"/>
                  </a:lnTo>
                  <a:lnTo>
                    <a:pt x="326" y="142"/>
                  </a:lnTo>
                  <a:lnTo>
                    <a:pt x="326" y="142"/>
                  </a:lnTo>
                  <a:lnTo>
                    <a:pt x="324" y="142"/>
                  </a:lnTo>
                  <a:lnTo>
                    <a:pt x="324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4" y="142"/>
                  </a:lnTo>
                  <a:lnTo>
                    <a:pt x="326" y="142"/>
                  </a:lnTo>
                  <a:lnTo>
                    <a:pt x="328" y="142"/>
                  </a:lnTo>
                  <a:lnTo>
                    <a:pt x="328" y="142"/>
                  </a:lnTo>
                  <a:lnTo>
                    <a:pt x="328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30" y="142"/>
                  </a:lnTo>
                  <a:lnTo>
                    <a:pt x="328" y="142"/>
                  </a:lnTo>
                  <a:lnTo>
                    <a:pt x="330" y="144"/>
                  </a:lnTo>
                  <a:lnTo>
                    <a:pt x="330" y="144"/>
                  </a:lnTo>
                  <a:lnTo>
                    <a:pt x="330" y="144"/>
                  </a:lnTo>
                  <a:lnTo>
                    <a:pt x="330" y="144"/>
                  </a:lnTo>
                  <a:lnTo>
                    <a:pt x="330" y="144"/>
                  </a:lnTo>
                  <a:lnTo>
                    <a:pt x="328" y="144"/>
                  </a:lnTo>
                  <a:lnTo>
                    <a:pt x="328" y="146"/>
                  </a:lnTo>
                  <a:lnTo>
                    <a:pt x="328" y="146"/>
                  </a:lnTo>
                  <a:lnTo>
                    <a:pt x="328" y="146"/>
                  </a:lnTo>
                  <a:lnTo>
                    <a:pt x="328" y="146"/>
                  </a:lnTo>
                  <a:lnTo>
                    <a:pt x="328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0" y="146"/>
                  </a:lnTo>
                  <a:lnTo>
                    <a:pt x="333" y="146"/>
                  </a:lnTo>
                  <a:lnTo>
                    <a:pt x="333" y="149"/>
                  </a:lnTo>
                  <a:lnTo>
                    <a:pt x="333" y="149"/>
                  </a:lnTo>
                  <a:lnTo>
                    <a:pt x="333" y="149"/>
                  </a:lnTo>
                  <a:lnTo>
                    <a:pt x="333" y="149"/>
                  </a:lnTo>
                  <a:lnTo>
                    <a:pt x="333" y="149"/>
                  </a:lnTo>
                  <a:lnTo>
                    <a:pt x="333" y="149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3" y="146"/>
                  </a:lnTo>
                  <a:lnTo>
                    <a:pt x="333" y="144"/>
                  </a:lnTo>
                  <a:lnTo>
                    <a:pt x="333" y="144"/>
                  </a:lnTo>
                  <a:lnTo>
                    <a:pt x="333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3" y="142"/>
                  </a:lnTo>
                  <a:lnTo>
                    <a:pt x="333" y="142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7" y="146"/>
                  </a:lnTo>
                  <a:lnTo>
                    <a:pt x="337" y="146"/>
                  </a:lnTo>
                  <a:lnTo>
                    <a:pt x="335" y="146"/>
                  </a:lnTo>
                  <a:lnTo>
                    <a:pt x="335" y="146"/>
                  </a:lnTo>
                  <a:lnTo>
                    <a:pt x="335" y="146"/>
                  </a:lnTo>
                  <a:lnTo>
                    <a:pt x="335" y="146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7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5" y="149"/>
                  </a:lnTo>
                  <a:lnTo>
                    <a:pt x="337" y="149"/>
                  </a:lnTo>
                  <a:lnTo>
                    <a:pt x="337" y="149"/>
                  </a:lnTo>
                  <a:lnTo>
                    <a:pt x="337" y="146"/>
                  </a:lnTo>
                  <a:lnTo>
                    <a:pt x="337" y="146"/>
                  </a:lnTo>
                  <a:lnTo>
                    <a:pt x="337" y="144"/>
                  </a:lnTo>
                  <a:lnTo>
                    <a:pt x="335" y="144"/>
                  </a:lnTo>
                  <a:lnTo>
                    <a:pt x="335" y="144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5" y="142"/>
                  </a:lnTo>
                  <a:lnTo>
                    <a:pt x="333" y="142"/>
                  </a:lnTo>
                  <a:lnTo>
                    <a:pt x="333" y="142"/>
                  </a:lnTo>
                  <a:lnTo>
                    <a:pt x="333" y="142"/>
                  </a:lnTo>
                  <a:lnTo>
                    <a:pt x="333" y="142"/>
                  </a:lnTo>
                  <a:lnTo>
                    <a:pt x="333" y="142"/>
                  </a:lnTo>
                  <a:lnTo>
                    <a:pt x="335" y="140"/>
                  </a:lnTo>
                  <a:lnTo>
                    <a:pt x="337" y="137"/>
                  </a:lnTo>
                  <a:lnTo>
                    <a:pt x="339" y="137"/>
                  </a:lnTo>
                  <a:lnTo>
                    <a:pt x="339" y="137"/>
                  </a:lnTo>
                  <a:close/>
                  <a:moveTo>
                    <a:pt x="279" y="119"/>
                  </a:moveTo>
                  <a:lnTo>
                    <a:pt x="279" y="119"/>
                  </a:lnTo>
                  <a:lnTo>
                    <a:pt x="279" y="119"/>
                  </a:lnTo>
                  <a:lnTo>
                    <a:pt x="281" y="119"/>
                  </a:lnTo>
                  <a:lnTo>
                    <a:pt x="281" y="119"/>
                  </a:lnTo>
                  <a:lnTo>
                    <a:pt x="281" y="119"/>
                  </a:lnTo>
                  <a:lnTo>
                    <a:pt x="281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2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6" y="122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81" y="119"/>
                  </a:lnTo>
                  <a:lnTo>
                    <a:pt x="281" y="119"/>
                  </a:lnTo>
                  <a:lnTo>
                    <a:pt x="281" y="119"/>
                  </a:lnTo>
                  <a:lnTo>
                    <a:pt x="279" y="119"/>
                  </a:lnTo>
                  <a:close/>
                  <a:moveTo>
                    <a:pt x="319" y="110"/>
                  </a:moveTo>
                  <a:lnTo>
                    <a:pt x="319" y="113"/>
                  </a:lnTo>
                  <a:lnTo>
                    <a:pt x="319" y="110"/>
                  </a:lnTo>
                  <a:lnTo>
                    <a:pt x="319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5" y="113"/>
                  </a:lnTo>
                  <a:lnTo>
                    <a:pt x="315" y="113"/>
                  </a:lnTo>
                  <a:lnTo>
                    <a:pt x="315" y="113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12" y="113"/>
                  </a:lnTo>
                  <a:lnTo>
                    <a:pt x="315" y="113"/>
                  </a:lnTo>
                  <a:lnTo>
                    <a:pt x="315" y="113"/>
                  </a:lnTo>
                  <a:lnTo>
                    <a:pt x="315" y="113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5" y="110"/>
                  </a:lnTo>
                  <a:lnTo>
                    <a:pt x="317" y="110"/>
                  </a:lnTo>
                  <a:lnTo>
                    <a:pt x="319" y="110"/>
                  </a:lnTo>
                  <a:lnTo>
                    <a:pt x="319" y="110"/>
                  </a:lnTo>
                  <a:lnTo>
                    <a:pt x="319" y="110"/>
                  </a:lnTo>
                  <a:lnTo>
                    <a:pt x="319" y="110"/>
                  </a:lnTo>
                  <a:close/>
                  <a:moveTo>
                    <a:pt x="306" y="104"/>
                  </a:moveTo>
                  <a:lnTo>
                    <a:pt x="306" y="106"/>
                  </a:lnTo>
                  <a:lnTo>
                    <a:pt x="306" y="106"/>
                  </a:lnTo>
                  <a:lnTo>
                    <a:pt x="306" y="108"/>
                  </a:lnTo>
                  <a:lnTo>
                    <a:pt x="308" y="108"/>
                  </a:lnTo>
                  <a:lnTo>
                    <a:pt x="308" y="110"/>
                  </a:lnTo>
                  <a:lnTo>
                    <a:pt x="308" y="110"/>
                  </a:lnTo>
                  <a:lnTo>
                    <a:pt x="308" y="113"/>
                  </a:lnTo>
                  <a:lnTo>
                    <a:pt x="308" y="113"/>
                  </a:lnTo>
                  <a:lnTo>
                    <a:pt x="306" y="115"/>
                  </a:lnTo>
                  <a:lnTo>
                    <a:pt x="306" y="115"/>
                  </a:lnTo>
                  <a:lnTo>
                    <a:pt x="306" y="115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297" y="117"/>
                  </a:lnTo>
                  <a:lnTo>
                    <a:pt x="297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9"/>
                  </a:lnTo>
                  <a:lnTo>
                    <a:pt x="301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19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22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4"/>
                  </a:lnTo>
                  <a:lnTo>
                    <a:pt x="303" y="126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299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4"/>
                  </a:lnTo>
                  <a:lnTo>
                    <a:pt x="301" y="126"/>
                  </a:lnTo>
                  <a:lnTo>
                    <a:pt x="301" y="126"/>
                  </a:lnTo>
                  <a:lnTo>
                    <a:pt x="303" y="126"/>
                  </a:lnTo>
                  <a:lnTo>
                    <a:pt x="303" y="126"/>
                  </a:lnTo>
                  <a:lnTo>
                    <a:pt x="303" y="126"/>
                  </a:lnTo>
                  <a:lnTo>
                    <a:pt x="306" y="126"/>
                  </a:lnTo>
                  <a:lnTo>
                    <a:pt x="306" y="126"/>
                  </a:lnTo>
                  <a:lnTo>
                    <a:pt x="306" y="126"/>
                  </a:lnTo>
                  <a:lnTo>
                    <a:pt x="306" y="126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31"/>
                  </a:lnTo>
                  <a:lnTo>
                    <a:pt x="303" y="131"/>
                  </a:lnTo>
                  <a:lnTo>
                    <a:pt x="303" y="131"/>
                  </a:lnTo>
                  <a:lnTo>
                    <a:pt x="303" y="131"/>
                  </a:lnTo>
                  <a:lnTo>
                    <a:pt x="303" y="131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3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6" y="128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12" y="128"/>
                  </a:lnTo>
                  <a:lnTo>
                    <a:pt x="312" y="128"/>
                  </a:lnTo>
                  <a:lnTo>
                    <a:pt x="315" y="128"/>
                  </a:lnTo>
                  <a:lnTo>
                    <a:pt x="315" y="128"/>
                  </a:lnTo>
                  <a:lnTo>
                    <a:pt x="315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5" y="131"/>
                  </a:lnTo>
                  <a:lnTo>
                    <a:pt x="315" y="131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2" y="135"/>
                  </a:lnTo>
                  <a:lnTo>
                    <a:pt x="312" y="135"/>
                  </a:lnTo>
                  <a:lnTo>
                    <a:pt x="312" y="135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0" y="137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2" y="135"/>
                  </a:lnTo>
                  <a:lnTo>
                    <a:pt x="312" y="135"/>
                  </a:lnTo>
                  <a:lnTo>
                    <a:pt x="312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40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6" y="135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37"/>
                  </a:lnTo>
                  <a:lnTo>
                    <a:pt x="303" y="140"/>
                  </a:lnTo>
                  <a:lnTo>
                    <a:pt x="306" y="140"/>
                  </a:lnTo>
                  <a:lnTo>
                    <a:pt x="303" y="140"/>
                  </a:lnTo>
                  <a:lnTo>
                    <a:pt x="303" y="140"/>
                  </a:lnTo>
                  <a:lnTo>
                    <a:pt x="303" y="140"/>
                  </a:lnTo>
                  <a:lnTo>
                    <a:pt x="303" y="140"/>
                  </a:lnTo>
                  <a:lnTo>
                    <a:pt x="306" y="140"/>
                  </a:lnTo>
                  <a:lnTo>
                    <a:pt x="306" y="140"/>
                  </a:lnTo>
                  <a:lnTo>
                    <a:pt x="303" y="142"/>
                  </a:lnTo>
                  <a:lnTo>
                    <a:pt x="303" y="142"/>
                  </a:lnTo>
                  <a:lnTo>
                    <a:pt x="303" y="142"/>
                  </a:lnTo>
                  <a:lnTo>
                    <a:pt x="303" y="142"/>
                  </a:lnTo>
                  <a:lnTo>
                    <a:pt x="303" y="142"/>
                  </a:lnTo>
                  <a:lnTo>
                    <a:pt x="303" y="142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299" y="149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4" y="146"/>
                  </a:lnTo>
                  <a:lnTo>
                    <a:pt x="294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6"/>
                  </a:lnTo>
                  <a:lnTo>
                    <a:pt x="292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4" y="149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7" y="149"/>
                  </a:lnTo>
                  <a:lnTo>
                    <a:pt x="299" y="149"/>
                  </a:lnTo>
                  <a:lnTo>
                    <a:pt x="297" y="149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7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4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3"/>
                  </a:lnTo>
                  <a:lnTo>
                    <a:pt x="292" y="153"/>
                  </a:lnTo>
                  <a:lnTo>
                    <a:pt x="292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3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5"/>
                  </a:lnTo>
                  <a:lnTo>
                    <a:pt x="294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7" y="158"/>
                  </a:lnTo>
                  <a:lnTo>
                    <a:pt x="294" y="160"/>
                  </a:lnTo>
                  <a:lnTo>
                    <a:pt x="294" y="160"/>
                  </a:lnTo>
                  <a:lnTo>
                    <a:pt x="294" y="160"/>
                  </a:lnTo>
                  <a:lnTo>
                    <a:pt x="294" y="160"/>
                  </a:lnTo>
                  <a:lnTo>
                    <a:pt x="294" y="160"/>
                  </a:lnTo>
                  <a:lnTo>
                    <a:pt x="294" y="160"/>
                  </a:lnTo>
                  <a:lnTo>
                    <a:pt x="294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2" y="160"/>
                  </a:lnTo>
                  <a:lnTo>
                    <a:pt x="294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2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4" y="162"/>
                  </a:lnTo>
                  <a:lnTo>
                    <a:pt x="297" y="162"/>
                  </a:lnTo>
                  <a:lnTo>
                    <a:pt x="297" y="162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4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7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4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4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2" y="167"/>
                  </a:lnTo>
                  <a:lnTo>
                    <a:pt x="290" y="167"/>
                  </a:lnTo>
                  <a:lnTo>
                    <a:pt x="290" y="167"/>
                  </a:lnTo>
                  <a:lnTo>
                    <a:pt x="290" y="167"/>
                  </a:lnTo>
                  <a:lnTo>
                    <a:pt x="290" y="167"/>
                  </a:lnTo>
                  <a:lnTo>
                    <a:pt x="290" y="167"/>
                  </a:lnTo>
                  <a:lnTo>
                    <a:pt x="290" y="167"/>
                  </a:lnTo>
                  <a:lnTo>
                    <a:pt x="288" y="167"/>
                  </a:lnTo>
                  <a:lnTo>
                    <a:pt x="288" y="167"/>
                  </a:lnTo>
                  <a:lnTo>
                    <a:pt x="288" y="167"/>
                  </a:lnTo>
                  <a:lnTo>
                    <a:pt x="288" y="167"/>
                  </a:lnTo>
                  <a:lnTo>
                    <a:pt x="288" y="167"/>
                  </a:lnTo>
                  <a:lnTo>
                    <a:pt x="288" y="167"/>
                  </a:lnTo>
                  <a:lnTo>
                    <a:pt x="283" y="167"/>
                  </a:lnTo>
                  <a:lnTo>
                    <a:pt x="283" y="164"/>
                  </a:lnTo>
                  <a:lnTo>
                    <a:pt x="281" y="164"/>
                  </a:lnTo>
                  <a:lnTo>
                    <a:pt x="281" y="164"/>
                  </a:lnTo>
                  <a:lnTo>
                    <a:pt x="279" y="167"/>
                  </a:lnTo>
                  <a:lnTo>
                    <a:pt x="279" y="167"/>
                  </a:lnTo>
                  <a:lnTo>
                    <a:pt x="279" y="167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4"/>
                  </a:lnTo>
                  <a:lnTo>
                    <a:pt x="279" y="162"/>
                  </a:lnTo>
                  <a:lnTo>
                    <a:pt x="279" y="162"/>
                  </a:lnTo>
                  <a:lnTo>
                    <a:pt x="279" y="162"/>
                  </a:lnTo>
                  <a:lnTo>
                    <a:pt x="279" y="162"/>
                  </a:lnTo>
                  <a:lnTo>
                    <a:pt x="279" y="160"/>
                  </a:lnTo>
                  <a:lnTo>
                    <a:pt x="279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2"/>
                  </a:lnTo>
                  <a:lnTo>
                    <a:pt x="276" y="162"/>
                  </a:lnTo>
                  <a:lnTo>
                    <a:pt x="276" y="162"/>
                  </a:lnTo>
                  <a:lnTo>
                    <a:pt x="276" y="162"/>
                  </a:lnTo>
                  <a:lnTo>
                    <a:pt x="276" y="162"/>
                  </a:lnTo>
                  <a:lnTo>
                    <a:pt x="274" y="162"/>
                  </a:lnTo>
                  <a:lnTo>
                    <a:pt x="274" y="162"/>
                  </a:lnTo>
                  <a:lnTo>
                    <a:pt x="274" y="162"/>
                  </a:lnTo>
                  <a:lnTo>
                    <a:pt x="274" y="160"/>
                  </a:lnTo>
                  <a:lnTo>
                    <a:pt x="274" y="160"/>
                  </a:lnTo>
                  <a:lnTo>
                    <a:pt x="274" y="160"/>
                  </a:lnTo>
                  <a:lnTo>
                    <a:pt x="274" y="160"/>
                  </a:lnTo>
                  <a:lnTo>
                    <a:pt x="274" y="158"/>
                  </a:lnTo>
                  <a:lnTo>
                    <a:pt x="276" y="158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9" y="160"/>
                  </a:lnTo>
                  <a:lnTo>
                    <a:pt x="279" y="160"/>
                  </a:lnTo>
                  <a:lnTo>
                    <a:pt x="279" y="160"/>
                  </a:lnTo>
                  <a:lnTo>
                    <a:pt x="279" y="160"/>
                  </a:lnTo>
                  <a:lnTo>
                    <a:pt x="279" y="158"/>
                  </a:lnTo>
                  <a:lnTo>
                    <a:pt x="276" y="158"/>
                  </a:lnTo>
                  <a:lnTo>
                    <a:pt x="276" y="158"/>
                  </a:lnTo>
                  <a:lnTo>
                    <a:pt x="279" y="155"/>
                  </a:lnTo>
                  <a:lnTo>
                    <a:pt x="279" y="155"/>
                  </a:lnTo>
                  <a:lnTo>
                    <a:pt x="279" y="155"/>
                  </a:lnTo>
                  <a:lnTo>
                    <a:pt x="276" y="155"/>
                  </a:lnTo>
                  <a:lnTo>
                    <a:pt x="276" y="155"/>
                  </a:lnTo>
                  <a:lnTo>
                    <a:pt x="276" y="153"/>
                  </a:lnTo>
                  <a:lnTo>
                    <a:pt x="276" y="153"/>
                  </a:lnTo>
                  <a:lnTo>
                    <a:pt x="276" y="153"/>
                  </a:lnTo>
                  <a:lnTo>
                    <a:pt x="276" y="153"/>
                  </a:lnTo>
                  <a:lnTo>
                    <a:pt x="274" y="153"/>
                  </a:lnTo>
                  <a:lnTo>
                    <a:pt x="274" y="153"/>
                  </a:lnTo>
                  <a:lnTo>
                    <a:pt x="272" y="153"/>
                  </a:lnTo>
                  <a:lnTo>
                    <a:pt x="272" y="151"/>
                  </a:lnTo>
                  <a:lnTo>
                    <a:pt x="272" y="151"/>
                  </a:lnTo>
                  <a:lnTo>
                    <a:pt x="272" y="151"/>
                  </a:lnTo>
                  <a:lnTo>
                    <a:pt x="272" y="151"/>
                  </a:lnTo>
                  <a:lnTo>
                    <a:pt x="272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72" y="151"/>
                  </a:lnTo>
                  <a:lnTo>
                    <a:pt x="272" y="153"/>
                  </a:lnTo>
                  <a:lnTo>
                    <a:pt x="272" y="153"/>
                  </a:lnTo>
                  <a:lnTo>
                    <a:pt x="272" y="153"/>
                  </a:lnTo>
                  <a:lnTo>
                    <a:pt x="270" y="151"/>
                  </a:lnTo>
                  <a:lnTo>
                    <a:pt x="270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7" y="149"/>
                  </a:lnTo>
                  <a:lnTo>
                    <a:pt x="270" y="149"/>
                  </a:lnTo>
                  <a:lnTo>
                    <a:pt x="270" y="146"/>
                  </a:lnTo>
                  <a:lnTo>
                    <a:pt x="270" y="146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0" y="144"/>
                  </a:lnTo>
                  <a:lnTo>
                    <a:pt x="272" y="144"/>
                  </a:lnTo>
                  <a:lnTo>
                    <a:pt x="272" y="144"/>
                  </a:lnTo>
                  <a:lnTo>
                    <a:pt x="272" y="144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2"/>
                  </a:lnTo>
                  <a:lnTo>
                    <a:pt x="272" y="140"/>
                  </a:lnTo>
                  <a:lnTo>
                    <a:pt x="270" y="140"/>
                  </a:lnTo>
                  <a:lnTo>
                    <a:pt x="270" y="140"/>
                  </a:lnTo>
                  <a:lnTo>
                    <a:pt x="270" y="140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2"/>
                  </a:lnTo>
                  <a:lnTo>
                    <a:pt x="267" y="142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7" y="135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2" y="128"/>
                  </a:lnTo>
                  <a:lnTo>
                    <a:pt x="272" y="128"/>
                  </a:lnTo>
                  <a:lnTo>
                    <a:pt x="272" y="128"/>
                  </a:lnTo>
                  <a:lnTo>
                    <a:pt x="272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31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9" y="131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9" y="128"/>
                  </a:lnTo>
                  <a:lnTo>
                    <a:pt x="276" y="128"/>
                  </a:lnTo>
                  <a:lnTo>
                    <a:pt x="276" y="128"/>
                  </a:lnTo>
                  <a:lnTo>
                    <a:pt x="276" y="128"/>
                  </a:lnTo>
                  <a:lnTo>
                    <a:pt x="276" y="128"/>
                  </a:lnTo>
                  <a:lnTo>
                    <a:pt x="276" y="128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6" y="126"/>
                  </a:lnTo>
                  <a:lnTo>
                    <a:pt x="279" y="126"/>
                  </a:lnTo>
                  <a:lnTo>
                    <a:pt x="279" y="126"/>
                  </a:lnTo>
                  <a:lnTo>
                    <a:pt x="279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79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1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2"/>
                  </a:lnTo>
                  <a:lnTo>
                    <a:pt x="283" y="122"/>
                  </a:lnTo>
                  <a:lnTo>
                    <a:pt x="283" y="122"/>
                  </a:lnTo>
                  <a:lnTo>
                    <a:pt x="283" y="122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3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3" y="128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5" y="128"/>
                  </a:lnTo>
                  <a:lnTo>
                    <a:pt x="285" y="128"/>
                  </a:lnTo>
                  <a:lnTo>
                    <a:pt x="285" y="128"/>
                  </a:lnTo>
                  <a:lnTo>
                    <a:pt x="285" y="128"/>
                  </a:lnTo>
                  <a:lnTo>
                    <a:pt x="285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8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4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5" y="122"/>
                  </a:lnTo>
                  <a:lnTo>
                    <a:pt x="283" y="122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90" y="117"/>
                  </a:lnTo>
                  <a:lnTo>
                    <a:pt x="290" y="117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9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7" y="117"/>
                  </a:lnTo>
                  <a:lnTo>
                    <a:pt x="297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4" y="117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92" y="117"/>
                  </a:lnTo>
                  <a:lnTo>
                    <a:pt x="290" y="117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5" y="119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3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7"/>
                  </a:lnTo>
                  <a:lnTo>
                    <a:pt x="281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9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6" y="119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2" y="124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8"/>
                  </a:lnTo>
                  <a:lnTo>
                    <a:pt x="274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2" y="126"/>
                  </a:lnTo>
                  <a:lnTo>
                    <a:pt x="270" y="126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67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70" y="122"/>
                  </a:lnTo>
                  <a:lnTo>
                    <a:pt x="270" y="122"/>
                  </a:lnTo>
                  <a:lnTo>
                    <a:pt x="272" y="119"/>
                  </a:lnTo>
                  <a:lnTo>
                    <a:pt x="272" y="117"/>
                  </a:lnTo>
                  <a:lnTo>
                    <a:pt x="274" y="117"/>
                  </a:lnTo>
                  <a:lnTo>
                    <a:pt x="274" y="115"/>
                  </a:lnTo>
                  <a:lnTo>
                    <a:pt x="274" y="115"/>
                  </a:lnTo>
                  <a:lnTo>
                    <a:pt x="276" y="117"/>
                  </a:lnTo>
                  <a:lnTo>
                    <a:pt x="276" y="117"/>
                  </a:lnTo>
                  <a:lnTo>
                    <a:pt x="279" y="115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5"/>
                  </a:lnTo>
                  <a:lnTo>
                    <a:pt x="285" y="115"/>
                  </a:lnTo>
                  <a:lnTo>
                    <a:pt x="288" y="115"/>
                  </a:lnTo>
                  <a:lnTo>
                    <a:pt x="288" y="115"/>
                  </a:lnTo>
                  <a:lnTo>
                    <a:pt x="290" y="115"/>
                  </a:lnTo>
                  <a:lnTo>
                    <a:pt x="290" y="113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7" y="106"/>
                  </a:lnTo>
                  <a:lnTo>
                    <a:pt x="297" y="106"/>
                  </a:lnTo>
                  <a:lnTo>
                    <a:pt x="297" y="106"/>
                  </a:lnTo>
                  <a:lnTo>
                    <a:pt x="297" y="106"/>
                  </a:lnTo>
                  <a:lnTo>
                    <a:pt x="299" y="106"/>
                  </a:lnTo>
                  <a:lnTo>
                    <a:pt x="299" y="106"/>
                  </a:lnTo>
                  <a:lnTo>
                    <a:pt x="301" y="106"/>
                  </a:lnTo>
                  <a:lnTo>
                    <a:pt x="303" y="104"/>
                  </a:lnTo>
                  <a:lnTo>
                    <a:pt x="303" y="104"/>
                  </a:lnTo>
                  <a:lnTo>
                    <a:pt x="306" y="104"/>
                  </a:lnTo>
                  <a:lnTo>
                    <a:pt x="306" y="101"/>
                  </a:lnTo>
                  <a:lnTo>
                    <a:pt x="308" y="101"/>
                  </a:lnTo>
                  <a:lnTo>
                    <a:pt x="308" y="101"/>
                  </a:lnTo>
                  <a:lnTo>
                    <a:pt x="308" y="101"/>
                  </a:lnTo>
                  <a:lnTo>
                    <a:pt x="308" y="101"/>
                  </a:lnTo>
                  <a:lnTo>
                    <a:pt x="308" y="101"/>
                  </a:lnTo>
                  <a:lnTo>
                    <a:pt x="308" y="104"/>
                  </a:lnTo>
                  <a:lnTo>
                    <a:pt x="306" y="104"/>
                  </a:lnTo>
                  <a:close/>
                  <a:moveTo>
                    <a:pt x="11" y="18"/>
                  </a:moveTo>
                  <a:lnTo>
                    <a:pt x="11" y="18"/>
                  </a:lnTo>
                  <a:lnTo>
                    <a:pt x="14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1" y="20"/>
                  </a:lnTo>
                  <a:lnTo>
                    <a:pt x="14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close/>
                  <a:moveTo>
                    <a:pt x="14" y="11"/>
                  </a:move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2" y="7"/>
                  </a:move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9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23" y="5"/>
                  </a:moveTo>
                  <a:lnTo>
                    <a:pt x="23" y="5"/>
                  </a:lnTo>
                  <a:lnTo>
                    <a:pt x="23" y="5"/>
                  </a:lnTo>
                  <a:lnTo>
                    <a:pt x="20" y="5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close/>
                  <a:moveTo>
                    <a:pt x="9" y="2"/>
                  </a:move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close/>
                  <a:moveTo>
                    <a:pt x="14" y="2"/>
                  </a:moveTo>
                  <a:lnTo>
                    <a:pt x="14" y="2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4" y="7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close/>
                  <a:moveTo>
                    <a:pt x="20" y="2"/>
                  </a:move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2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6" y="5"/>
                  </a:move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5"/>
                  </a:lnTo>
                  <a:lnTo>
                    <a:pt x="16" y="5"/>
                  </a:lnTo>
                  <a:close/>
                  <a:moveTo>
                    <a:pt x="20" y="2"/>
                  </a:move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6" name="Freeform 613"/>
            <p:cNvSpPr>
              <a:spLocks/>
            </p:cNvSpPr>
            <p:nvPr/>
          </p:nvSpPr>
          <p:spPr bwMode="auto">
            <a:xfrm>
              <a:off x="6011952" y="1943328"/>
              <a:ext cx="207257" cy="98614"/>
            </a:xfrm>
            <a:custGeom>
              <a:avLst/>
              <a:gdLst>
                <a:gd name="T0" fmla="*/ 45 w 124"/>
                <a:gd name="T1" fmla="*/ 2 h 59"/>
                <a:gd name="T2" fmla="*/ 45 w 124"/>
                <a:gd name="T3" fmla="*/ 7 h 59"/>
                <a:gd name="T4" fmla="*/ 52 w 124"/>
                <a:gd name="T5" fmla="*/ 5 h 59"/>
                <a:gd name="T6" fmla="*/ 52 w 124"/>
                <a:gd name="T7" fmla="*/ 2 h 59"/>
                <a:gd name="T8" fmla="*/ 56 w 124"/>
                <a:gd name="T9" fmla="*/ 2 h 59"/>
                <a:gd name="T10" fmla="*/ 58 w 124"/>
                <a:gd name="T11" fmla="*/ 7 h 59"/>
                <a:gd name="T12" fmla="*/ 67 w 124"/>
                <a:gd name="T13" fmla="*/ 9 h 59"/>
                <a:gd name="T14" fmla="*/ 70 w 124"/>
                <a:gd name="T15" fmla="*/ 11 h 59"/>
                <a:gd name="T16" fmla="*/ 79 w 124"/>
                <a:gd name="T17" fmla="*/ 11 h 59"/>
                <a:gd name="T18" fmla="*/ 76 w 124"/>
                <a:gd name="T19" fmla="*/ 14 h 59"/>
                <a:gd name="T20" fmla="*/ 76 w 124"/>
                <a:gd name="T21" fmla="*/ 16 h 59"/>
                <a:gd name="T22" fmla="*/ 81 w 124"/>
                <a:gd name="T23" fmla="*/ 18 h 59"/>
                <a:gd name="T24" fmla="*/ 85 w 124"/>
                <a:gd name="T25" fmla="*/ 20 h 59"/>
                <a:gd name="T26" fmla="*/ 90 w 124"/>
                <a:gd name="T27" fmla="*/ 20 h 59"/>
                <a:gd name="T28" fmla="*/ 88 w 124"/>
                <a:gd name="T29" fmla="*/ 16 h 59"/>
                <a:gd name="T30" fmla="*/ 92 w 124"/>
                <a:gd name="T31" fmla="*/ 18 h 59"/>
                <a:gd name="T32" fmla="*/ 97 w 124"/>
                <a:gd name="T33" fmla="*/ 20 h 59"/>
                <a:gd name="T34" fmla="*/ 101 w 124"/>
                <a:gd name="T35" fmla="*/ 18 h 59"/>
                <a:gd name="T36" fmla="*/ 103 w 124"/>
                <a:gd name="T37" fmla="*/ 20 h 59"/>
                <a:gd name="T38" fmla="*/ 103 w 124"/>
                <a:gd name="T39" fmla="*/ 23 h 59"/>
                <a:gd name="T40" fmla="*/ 106 w 124"/>
                <a:gd name="T41" fmla="*/ 25 h 59"/>
                <a:gd name="T42" fmla="*/ 110 w 124"/>
                <a:gd name="T43" fmla="*/ 25 h 59"/>
                <a:gd name="T44" fmla="*/ 115 w 124"/>
                <a:gd name="T45" fmla="*/ 27 h 59"/>
                <a:gd name="T46" fmla="*/ 119 w 124"/>
                <a:gd name="T47" fmla="*/ 29 h 59"/>
                <a:gd name="T48" fmla="*/ 124 w 124"/>
                <a:gd name="T49" fmla="*/ 34 h 59"/>
                <a:gd name="T50" fmla="*/ 121 w 124"/>
                <a:gd name="T51" fmla="*/ 36 h 59"/>
                <a:gd name="T52" fmla="*/ 112 w 124"/>
                <a:gd name="T53" fmla="*/ 43 h 59"/>
                <a:gd name="T54" fmla="*/ 108 w 124"/>
                <a:gd name="T55" fmla="*/ 50 h 59"/>
                <a:gd name="T56" fmla="*/ 97 w 124"/>
                <a:gd name="T57" fmla="*/ 52 h 59"/>
                <a:gd name="T58" fmla="*/ 90 w 124"/>
                <a:gd name="T59" fmla="*/ 54 h 59"/>
                <a:gd name="T60" fmla="*/ 83 w 124"/>
                <a:gd name="T61" fmla="*/ 52 h 59"/>
                <a:gd name="T62" fmla="*/ 76 w 124"/>
                <a:gd name="T63" fmla="*/ 54 h 59"/>
                <a:gd name="T64" fmla="*/ 72 w 124"/>
                <a:gd name="T65" fmla="*/ 52 h 59"/>
                <a:gd name="T66" fmla="*/ 63 w 124"/>
                <a:gd name="T67" fmla="*/ 50 h 59"/>
                <a:gd name="T68" fmla="*/ 58 w 124"/>
                <a:gd name="T69" fmla="*/ 50 h 59"/>
                <a:gd name="T70" fmla="*/ 54 w 124"/>
                <a:gd name="T71" fmla="*/ 52 h 59"/>
                <a:gd name="T72" fmla="*/ 52 w 124"/>
                <a:gd name="T73" fmla="*/ 54 h 59"/>
                <a:gd name="T74" fmla="*/ 49 w 124"/>
                <a:gd name="T75" fmla="*/ 56 h 59"/>
                <a:gd name="T76" fmla="*/ 43 w 124"/>
                <a:gd name="T77" fmla="*/ 59 h 59"/>
                <a:gd name="T78" fmla="*/ 38 w 124"/>
                <a:gd name="T79" fmla="*/ 56 h 59"/>
                <a:gd name="T80" fmla="*/ 31 w 124"/>
                <a:gd name="T81" fmla="*/ 52 h 59"/>
                <a:gd name="T82" fmla="*/ 27 w 124"/>
                <a:gd name="T83" fmla="*/ 50 h 59"/>
                <a:gd name="T84" fmla="*/ 20 w 124"/>
                <a:gd name="T85" fmla="*/ 43 h 59"/>
                <a:gd name="T86" fmla="*/ 16 w 124"/>
                <a:gd name="T87" fmla="*/ 41 h 59"/>
                <a:gd name="T88" fmla="*/ 11 w 124"/>
                <a:gd name="T89" fmla="*/ 36 h 59"/>
                <a:gd name="T90" fmla="*/ 9 w 124"/>
                <a:gd name="T91" fmla="*/ 34 h 59"/>
                <a:gd name="T92" fmla="*/ 9 w 124"/>
                <a:gd name="T93" fmla="*/ 29 h 59"/>
                <a:gd name="T94" fmla="*/ 2 w 124"/>
                <a:gd name="T95" fmla="*/ 25 h 59"/>
                <a:gd name="T96" fmla="*/ 0 w 124"/>
                <a:gd name="T97" fmla="*/ 20 h 59"/>
                <a:gd name="T98" fmla="*/ 2 w 124"/>
                <a:gd name="T99" fmla="*/ 18 h 59"/>
                <a:gd name="T100" fmla="*/ 2 w 124"/>
                <a:gd name="T101" fmla="*/ 20 h 59"/>
                <a:gd name="T102" fmla="*/ 5 w 124"/>
                <a:gd name="T103" fmla="*/ 18 h 59"/>
                <a:gd name="T104" fmla="*/ 7 w 124"/>
                <a:gd name="T105" fmla="*/ 16 h 59"/>
                <a:gd name="T106" fmla="*/ 14 w 124"/>
                <a:gd name="T107" fmla="*/ 16 h 59"/>
                <a:gd name="T108" fmla="*/ 18 w 124"/>
                <a:gd name="T109" fmla="*/ 14 h 59"/>
                <a:gd name="T110" fmla="*/ 22 w 124"/>
                <a:gd name="T111" fmla="*/ 11 h 59"/>
                <a:gd name="T112" fmla="*/ 25 w 124"/>
                <a:gd name="T113" fmla="*/ 11 h 59"/>
                <a:gd name="T114" fmla="*/ 31 w 124"/>
                <a:gd name="T115" fmla="*/ 9 h 59"/>
                <a:gd name="T116" fmla="*/ 34 w 124"/>
                <a:gd name="T117" fmla="*/ 7 h 59"/>
                <a:gd name="T118" fmla="*/ 38 w 124"/>
                <a:gd name="T119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4" h="59">
                  <a:moveTo>
                    <a:pt x="40" y="2"/>
                  </a:moveTo>
                  <a:lnTo>
                    <a:pt x="40" y="2"/>
                  </a:lnTo>
                  <a:lnTo>
                    <a:pt x="40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1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2" y="11"/>
                  </a:lnTo>
                  <a:lnTo>
                    <a:pt x="72" y="9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9"/>
                  </a:lnTo>
                  <a:lnTo>
                    <a:pt x="76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1" y="18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20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6" y="50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3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4" y="54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52" y="56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38" y="59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0" y="45"/>
                  </a:lnTo>
                  <a:lnTo>
                    <a:pt x="20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7" name="Freeform 614"/>
            <p:cNvSpPr>
              <a:spLocks noEditPoints="1"/>
            </p:cNvSpPr>
            <p:nvPr/>
          </p:nvSpPr>
          <p:spPr bwMode="auto">
            <a:xfrm>
              <a:off x="6713950" y="2566770"/>
              <a:ext cx="60171" cy="23400"/>
            </a:xfrm>
            <a:custGeom>
              <a:avLst/>
              <a:gdLst>
                <a:gd name="T0" fmla="*/ 34 w 36"/>
                <a:gd name="T1" fmla="*/ 3 h 14"/>
                <a:gd name="T2" fmla="*/ 34 w 36"/>
                <a:gd name="T3" fmla="*/ 3 h 14"/>
                <a:gd name="T4" fmla="*/ 36 w 36"/>
                <a:gd name="T5" fmla="*/ 5 h 14"/>
                <a:gd name="T6" fmla="*/ 34 w 36"/>
                <a:gd name="T7" fmla="*/ 5 h 14"/>
                <a:gd name="T8" fmla="*/ 32 w 36"/>
                <a:gd name="T9" fmla="*/ 5 h 14"/>
                <a:gd name="T10" fmla="*/ 32 w 36"/>
                <a:gd name="T11" fmla="*/ 5 h 14"/>
                <a:gd name="T12" fmla="*/ 29 w 36"/>
                <a:gd name="T13" fmla="*/ 5 h 14"/>
                <a:gd name="T14" fmla="*/ 29 w 36"/>
                <a:gd name="T15" fmla="*/ 3 h 14"/>
                <a:gd name="T16" fmla="*/ 32 w 36"/>
                <a:gd name="T17" fmla="*/ 3 h 14"/>
                <a:gd name="T18" fmla="*/ 7 w 36"/>
                <a:gd name="T19" fmla="*/ 0 h 14"/>
                <a:gd name="T20" fmla="*/ 9 w 36"/>
                <a:gd name="T21" fmla="*/ 3 h 14"/>
                <a:gd name="T22" fmla="*/ 9 w 36"/>
                <a:gd name="T23" fmla="*/ 3 h 14"/>
                <a:gd name="T24" fmla="*/ 11 w 36"/>
                <a:gd name="T25" fmla="*/ 3 h 14"/>
                <a:gd name="T26" fmla="*/ 11 w 36"/>
                <a:gd name="T27" fmla="*/ 3 h 14"/>
                <a:gd name="T28" fmla="*/ 14 w 36"/>
                <a:gd name="T29" fmla="*/ 3 h 14"/>
                <a:gd name="T30" fmla="*/ 16 w 36"/>
                <a:gd name="T31" fmla="*/ 3 h 14"/>
                <a:gd name="T32" fmla="*/ 16 w 36"/>
                <a:gd name="T33" fmla="*/ 0 h 14"/>
                <a:gd name="T34" fmla="*/ 18 w 36"/>
                <a:gd name="T35" fmla="*/ 0 h 14"/>
                <a:gd name="T36" fmla="*/ 20 w 36"/>
                <a:gd name="T37" fmla="*/ 3 h 14"/>
                <a:gd name="T38" fmla="*/ 20 w 36"/>
                <a:gd name="T39" fmla="*/ 0 h 14"/>
                <a:gd name="T40" fmla="*/ 23 w 36"/>
                <a:gd name="T41" fmla="*/ 0 h 14"/>
                <a:gd name="T42" fmla="*/ 23 w 36"/>
                <a:gd name="T43" fmla="*/ 3 h 14"/>
                <a:gd name="T44" fmla="*/ 23 w 36"/>
                <a:gd name="T45" fmla="*/ 5 h 14"/>
                <a:gd name="T46" fmla="*/ 23 w 36"/>
                <a:gd name="T47" fmla="*/ 5 h 14"/>
                <a:gd name="T48" fmla="*/ 25 w 36"/>
                <a:gd name="T49" fmla="*/ 5 h 14"/>
                <a:gd name="T50" fmla="*/ 25 w 36"/>
                <a:gd name="T51" fmla="*/ 5 h 14"/>
                <a:gd name="T52" fmla="*/ 27 w 36"/>
                <a:gd name="T53" fmla="*/ 5 h 14"/>
                <a:gd name="T54" fmla="*/ 27 w 36"/>
                <a:gd name="T55" fmla="*/ 5 h 14"/>
                <a:gd name="T56" fmla="*/ 27 w 36"/>
                <a:gd name="T57" fmla="*/ 7 h 14"/>
                <a:gd name="T58" fmla="*/ 27 w 36"/>
                <a:gd name="T59" fmla="*/ 7 h 14"/>
                <a:gd name="T60" fmla="*/ 25 w 36"/>
                <a:gd name="T61" fmla="*/ 9 h 14"/>
                <a:gd name="T62" fmla="*/ 25 w 36"/>
                <a:gd name="T63" fmla="*/ 9 h 14"/>
                <a:gd name="T64" fmla="*/ 23 w 36"/>
                <a:gd name="T65" fmla="*/ 9 h 14"/>
                <a:gd name="T66" fmla="*/ 20 w 36"/>
                <a:gd name="T67" fmla="*/ 12 h 14"/>
                <a:gd name="T68" fmla="*/ 16 w 36"/>
                <a:gd name="T69" fmla="*/ 12 h 14"/>
                <a:gd name="T70" fmla="*/ 14 w 36"/>
                <a:gd name="T71" fmla="*/ 14 h 14"/>
                <a:gd name="T72" fmla="*/ 14 w 36"/>
                <a:gd name="T73" fmla="*/ 14 h 14"/>
                <a:gd name="T74" fmla="*/ 14 w 36"/>
                <a:gd name="T75" fmla="*/ 12 h 14"/>
                <a:gd name="T76" fmla="*/ 11 w 36"/>
                <a:gd name="T77" fmla="*/ 12 h 14"/>
                <a:gd name="T78" fmla="*/ 11 w 36"/>
                <a:gd name="T79" fmla="*/ 12 h 14"/>
                <a:gd name="T80" fmla="*/ 9 w 36"/>
                <a:gd name="T81" fmla="*/ 12 h 14"/>
                <a:gd name="T82" fmla="*/ 9 w 36"/>
                <a:gd name="T83" fmla="*/ 14 h 14"/>
                <a:gd name="T84" fmla="*/ 5 w 36"/>
                <a:gd name="T85" fmla="*/ 12 h 14"/>
                <a:gd name="T86" fmla="*/ 2 w 36"/>
                <a:gd name="T87" fmla="*/ 9 h 14"/>
                <a:gd name="T88" fmla="*/ 2 w 36"/>
                <a:gd name="T89" fmla="*/ 7 h 14"/>
                <a:gd name="T90" fmla="*/ 0 w 36"/>
                <a:gd name="T91" fmla="*/ 7 h 14"/>
                <a:gd name="T92" fmla="*/ 0 w 36"/>
                <a:gd name="T93" fmla="*/ 5 h 14"/>
                <a:gd name="T94" fmla="*/ 0 w 36"/>
                <a:gd name="T95" fmla="*/ 3 h 14"/>
                <a:gd name="T96" fmla="*/ 2 w 36"/>
                <a:gd name="T97" fmla="*/ 3 h 14"/>
                <a:gd name="T98" fmla="*/ 5 w 36"/>
                <a:gd name="T99" fmla="*/ 0 h 14"/>
                <a:gd name="T100" fmla="*/ 5 w 36"/>
                <a:gd name="T101" fmla="*/ 0 h 14"/>
                <a:gd name="T102" fmla="*/ 5 w 36"/>
                <a:gd name="T103" fmla="*/ 0 h 14"/>
                <a:gd name="T104" fmla="*/ 7 w 36"/>
                <a:gd name="T10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6" h="14">
                  <a:moveTo>
                    <a:pt x="32" y="3"/>
                  </a:move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5" y="5"/>
                  </a:lnTo>
                  <a:lnTo>
                    <a:pt x="25" y="3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2" y="12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8" name="Freeform 615"/>
            <p:cNvSpPr>
              <a:spLocks noEditPoints="1"/>
            </p:cNvSpPr>
            <p:nvPr/>
          </p:nvSpPr>
          <p:spPr bwMode="auto">
            <a:xfrm>
              <a:off x="2722587" y="3044797"/>
              <a:ext cx="364371" cy="135385"/>
            </a:xfrm>
            <a:custGeom>
              <a:avLst/>
              <a:gdLst>
                <a:gd name="T0" fmla="*/ 49 w 218"/>
                <a:gd name="T1" fmla="*/ 34 h 81"/>
                <a:gd name="T2" fmla="*/ 38 w 218"/>
                <a:gd name="T3" fmla="*/ 40 h 81"/>
                <a:gd name="T4" fmla="*/ 40 w 218"/>
                <a:gd name="T5" fmla="*/ 38 h 81"/>
                <a:gd name="T6" fmla="*/ 83 w 218"/>
                <a:gd name="T7" fmla="*/ 2 h 81"/>
                <a:gd name="T8" fmla="*/ 94 w 218"/>
                <a:gd name="T9" fmla="*/ 2 h 81"/>
                <a:gd name="T10" fmla="*/ 106 w 218"/>
                <a:gd name="T11" fmla="*/ 7 h 81"/>
                <a:gd name="T12" fmla="*/ 110 w 218"/>
                <a:gd name="T13" fmla="*/ 11 h 81"/>
                <a:gd name="T14" fmla="*/ 121 w 218"/>
                <a:gd name="T15" fmla="*/ 20 h 81"/>
                <a:gd name="T16" fmla="*/ 133 w 218"/>
                <a:gd name="T17" fmla="*/ 20 h 81"/>
                <a:gd name="T18" fmla="*/ 142 w 218"/>
                <a:gd name="T19" fmla="*/ 25 h 81"/>
                <a:gd name="T20" fmla="*/ 148 w 218"/>
                <a:gd name="T21" fmla="*/ 29 h 81"/>
                <a:gd name="T22" fmla="*/ 153 w 218"/>
                <a:gd name="T23" fmla="*/ 34 h 81"/>
                <a:gd name="T24" fmla="*/ 157 w 218"/>
                <a:gd name="T25" fmla="*/ 36 h 81"/>
                <a:gd name="T26" fmla="*/ 153 w 218"/>
                <a:gd name="T27" fmla="*/ 31 h 81"/>
                <a:gd name="T28" fmla="*/ 157 w 218"/>
                <a:gd name="T29" fmla="*/ 38 h 81"/>
                <a:gd name="T30" fmla="*/ 160 w 218"/>
                <a:gd name="T31" fmla="*/ 40 h 81"/>
                <a:gd name="T32" fmla="*/ 166 w 218"/>
                <a:gd name="T33" fmla="*/ 45 h 81"/>
                <a:gd name="T34" fmla="*/ 169 w 218"/>
                <a:gd name="T35" fmla="*/ 45 h 81"/>
                <a:gd name="T36" fmla="*/ 171 w 218"/>
                <a:gd name="T37" fmla="*/ 47 h 81"/>
                <a:gd name="T38" fmla="*/ 180 w 218"/>
                <a:gd name="T39" fmla="*/ 49 h 81"/>
                <a:gd name="T40" fmla="*/ 184 w 218"/>
                <a:gd name="T41" fmla="*/ 49 h 81"/>
                <a:gd name="T42" fmla="*/ 189 w 218"/>
                <a:gd name="T43" fmla="*/ 54 h 81"/>
                <a:gd name="T44" fmla="*/ 191 w 218"/>
                <a:gd name="T45" fmla="*/ 56 h 81"/>
                <a:gd name="T46" fmla="*/ 189 w 218"/>
                <a:gd name="T47" fmla="*/ 58 h 81"/>
                <a:gd name="T48" fmla="*/ 193 w 218"/>
                <a:gd name="T49" fmla="*/ 61 h 81"/>
                <a:gd name="T50" fmla="*/ 200 w 218"/>
                <a:gd name="T51" fmla="*/ 61 h 81"/>
                <a:gd name="T52" fmla="*/ 207 w 218"/>
                <a:gd name="T53" fmla="*/ 63 h 81"/>
                <a:gd name="T54" fmla="*/ 218 w 218"/>
                <a:gd name="T55" fmla="*/ 67 h 81"/>
                <a:gd name="T56" fmla="*/ 202 w 218"/>
                <a:gd name="T57" fmla="*/ 76 h 81"/>
                <a:gd name="T58" fmla="*/ 195 w 218"/>
                <a:gd name="T59" fmla="*/ 76 h 81"/>
                <a:gd name="T60" fmla="*/ 189 w 218"/>
                <a:gd name="T61" fmla="*/ 79 h 81"/>
                <a:gd name="T62" fmla="*/ 162 w 218"/>
                <a:gd name="T63" fmla="*/ 76 h 81"/>
                <a:gd name="T64" fmla="*/ 144 w 218"/>
                <a:gd name="T65" fmla="*/ 81 h 81"/>
                <a:gd name="T66" fmla="*/ 148 w 218"/>
                <a:gd name="T67" fmla="*/ 72 h 81"/>
                <a:gd name="T68" fmla="*/ 157 w 218"/>
                <a:gd name="T69" fmla="*/ 63 h 81"/>
                <a:gd name="T70" fmla="*/ 151 w 218"/>
                <a:gd name="T71" fmla="*/ 58 h 81"/>
                <a:gd name="T72" fmla="*/ 139 w 218"/>
                <a:gd name="T73" fmla="*/ 58 h 81"/>
                <a:gd name="T74" fmla="*/ 130 w 218"/>
                <a:gd name="T75" fmla="*/ 52 h 81"/>
                <a:gd name="T76" fmla="*/ 128 w 218"/>
                <a:gd name="T77" fmla="*/ 38 h 81"/>
                <a:gd name="T78" fmla="*/ 121 w 218"/>
                <a:gd name="T79" fmla="*/ 38 h 81"/>
                <a:gd name="T80" fmla="*/ 110 w 218"/>
                <a:gd name="T81" fmla="*/ 36 h 81"/>
                <a:gd name="T82" fmla="*/ 101 w 218"/>
                <a:gd name="T83" fmla="*/ 34 h 81"/>
                <a:gd name="T84" fmla="*/ 94 w 218"/>
                <a:gd name="T85" fmla="*/ 27 h 81"/>
                <a:gd name="T86" fmla="*/ 88 w 218"/>
                <a:gd name="T87" fmla="*/ 27 h 81"/>
                <a:gd name="T88" fmla="*/ 76 w 218"/>
                <a:gd name="T89" fmla="*/ 25 h 81"/>
                <a:gd name="T90" fmla="*/ 70 w 218"/>
                <a:gd name="T91" fmla="*/ 22 h 81"/>
                <a:gd name="T92" fmla="*/ 61 w 218"/>
                <a:gd name="T93" fmla="*/ 20 h 81"/>
                <a:gd name="T94" fmla="*/ 70 w 218"/>
                <a:gd name="T95" fmla="*/ 13 h 81"/>
                <a:gd name="T96" fmla="*/ 47 w 218"/>
                <a:gd name="T97" fmla="*/ 13 h 81"/>
                <a:gd name="T98" fmla="*/ 34 w 218"/>
                <a:gd name="T99" fmla="*/ 22 h 81"/>
                <a:gd name="T100" fmla="*/ 25 w 218"/>
                <a:gd name="T101" fmla="*/ 25 h 81"/>
                <a:gd name="T102" fmla="*/ 20 w 218"/>
                <a:gd name="T103" fmla="*/ 29 h 81"/>
                <a:gd name="T104" fmla="*/ 7 w 218"/>
                <a:gd name="T105" fmla="*/ 29 h 81"/>
                <a:gd name="T106" fmla="*/ 2 w 218"/>
                <a:gd name="T107" fmla="*/ 31 h 81"/>
                <a:gd name="T108" fmla="*/ 13 w 218"/>
                <a:gd name="T109" fmla="*/ 25 h 81"/>
                <a:gd name="T110" fmla="*/ 16 w 218"/>
                <a:gd name="T111" fmla="*/ 18 h 81"/>
                <a:gd name="T112" fmla="*/ 22 w 218"/>
                <a:gd name="T113" fmla="*/ 11 h 81"/>
                <a:gd name="T114" fmla="*/ 31 w 218"/>
                <a:gd name="T115" fmla="*/ 9 h 81"/>
                <a:gd name="T116" fmla="*/ 36 w 218"/>
                <a:gd name="T117" fmla="*/ 7 h 81"/>
                <a:gd name="T118" fmla="*/ 43 w 218"/>
                <a:gd name="T119" fmla="*/ 4 h 81"/>
                <a:gd name="T120" fmla="*/ 54 w 218"/>
                <a:gd name="T121" fmla="*/ 2 h 81"/>
                <a:gd name="T122" fmla="*/ 74 w 218"/>
                <a:gd name="T123" fmla="*/ 0 h 81"/>
                <a:gd name="T124" fmla="*/ 83 w 218"/>
                <a:gd name="T125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" h="81">
                  <a:moveTo>
                    <a:pt x="191" y="58"/>
                  </a:move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8"/>
                  </a:lnTo>
                  <a:lnTo>
                    <a:pt x="191" y="58"/>
                  </a:lnTo>
                  <a:close/>
                  <a:moveTo>
                    <a:pt x="43" y="29"/>
                  </a:moveTo>
                  <a:lnTo>
                    <a:pt x="45" y="29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40"/>
                  </a:lnTo>
                  <a:lnTo>
                    <a:pt x="45" y="40"/>
                  </a:lnTo>
                  <a:lnTo>
                    <a:pt x="43" y="40"/>
                  </a:lnTo>
                  <a:lnTo>
                    <a:pt x="40" y="43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3" y="29"/>
                  </a:lnTo>
                  <a:close/>
                  <a:moveTo>
                    <a:pt x="81" y="2"/>
                  </a:move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4" y="2"/>
                  </a:lnTo>
                  <a:lnTo>
                    <a:pt x="92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2" y="2"/>
                  </a:lnTo>
                  <a:lnTo>
                    <a:pt x="94" y="2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3" y="7"/>
                  </a:lnTo>
                  <a:lnTo>
                    <a:pt x="101" y="4"/>
                  </a:lnTo>
                  <a:lnTo>
                    <a:pt x="103" y="4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5" y="13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4" y="20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6" y="18"/>
                  </a:lnTo>
                  <a:lnTo>
                    <a:pt x="128" y="18"/>
                  </a:lnTo>
                  <a:lnTo>
                    <a:pt x="128" y="18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0" y="18"/>
                  </a:lnTo>
                  <a:lnTo>
                    <a:pt x="130" y="18"/>
                  </a:lnTo>
                  <a:lnTo>
                    <a:pt x="130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39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1"/>
                  </a:lnTo>
                  <a:lnTo>
                    <a:pt x="153" y="31"/>
                  </a:lnTo>
                  <a:lnTo>
                    <a:pt x="153" y="31"/>
                  </a:lnTo>
                  <a:lnTo>
                    <a:pt x="151" y="31"/>
                  </a:lnTo>
                  <a:lnTo>
                    <a:pt x="151" y="31"/>
                  </a:lnTo>
                  <a:lnTo>
                    <a:pt x="151" y="31"/>
                  </a:lnTo>
                  <a:lnTo>
                    <a:pt x="153" y="29"/>
                  </a:lnTo>
                  <a:lnTo>
                    <a:pt x="153" y="29"/>
                  </a:lnTo>
                  <a:lnTo>
                    <a:pt x="153" y="29"/>
                  </a:lnTo>
                  <a:lnTo>
                    <a:pt x="153" y="31"/>
                  </a:lnTo>
                  <a:lnTo>
                    <a:pt x="153" y="31"/>
                  </a:lnTo>
                  <a:lnTo>
                    <a:pt x="153" y="31"/>
                  </a:lnTo>
                  <a:lnTo>
                    <a:pt x="153" y="31"/>
                  </a:lnTo>
                  <a:lnTo>
                    <a:pt x="155" y="34"/>
                  </a:lnTo>
                  <a:lnTo>
                    <a:pt x="155" y="34"/>
                  </a:lnTo>
                  <a:lnTo>
                    <a:pt x="157" y="34"/>
                  </a:lnTo>
                  <a:lnTo>
                    <a:pt x="157" y="34"/>
                  </a:lnTo>
                  <a:lnTo>
                    <a:pt x="157" y="34"/>
                  </a:lnTo>
                  <a:lnTo>
                    <a:pt x="157" y="36"/>
                  </a:lnTo>
                  <a:lnTo>
                    <a:pt x="157" y="36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6"/>
                  </a:lnTo>
                  <a:lnTo>
                    <a:pt x="160" y="38"/>
                  </a:lnTo>
                  <a:lnTo>
                    <a:pt x="162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60" y="40"/>
                  </a:lnTo>
                  <a:lnTo>
                    <a:pt x="157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0" y="38"/>
                  </a:lnTo>
                  <a:lnTo>
                    <a:pt x="162" y="38"/>
                  </a:lnTo>
                  <a:lnTo>
                    <a:pt x="162" y="38"/>
                  </a:lnTo>
                  <a:lnTo>
                    <a:pt x="162" y="38"/>
                  </a:lnTo>
                  <a:lnTo>
                    <a:pt x="162" y="38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0"/>
                  </a:lnTo>
                  <a:lnTo>
                    <a:pt x="164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7"/>
                  </a:lnTo>
                  <a:lnTo>
                    <a:pt x="171" y="47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69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1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3" y="47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3" y="45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7" y="47"/>
                  </a:lnTo>
                  <a:lnTo>
                    <a:pt x="177" y="47"/>
                  </a:lnTo>
                  <a:lnTo>
                    <a:pt x="180" y="47"/>
                  </a:lnTo>
                  <a:lnTo>
                    <a:pt x="180" y="47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0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4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6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89" y="49"/>
                  </a:lnTo>
                  <a:lnTo>
                    <a:pt x="191" y="49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1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9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6" y="54"/>
                  </a:lnTo>
                  <a:lnTo>
                    <a:pt x="186" y="56"/>
                  </a:lnTo>
                  <a:lnTo>
                    <a:pt x="186" y="56"/>
                  </a:lnTo>
                  <a:lnTo>
                    <a:pt x="189" y="56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89" y="54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91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9" y="56"/>
                  </a:lnTo>
                  <a:lnTo>
                    <a:pt x="186" y="56"/>
                  </a:lnTo>
                  <a:lnTo>
                    <a:pt x="186" y="56"/>
                  </a:lnTo>
                  <a:lnTo>
                    <a:pt x="186" y="56"/>
                  </a:lnTo>
                  <a:lnTo>
                    <a:pt x="186" y="56"/>
                  </a:lnTo>
                  <a:lnTo>
                    <a:pt x="186" y="56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6" y="58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89" y="56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91" y="58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1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1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3" y="58"/>
                  </a:lnTo>
                  <a:lnTo>
                    <a:pt x="193" y="58"/>
                  </a:lnTo>
                  <a:lnTo>
                    <a:pt x="193" y="61"/>
                  </a:lnTo>
                  <a:lnTo>
                    <a:pt x="195" y="61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5" y="61"/>
                  </a:lnTo>
                  <a:lnTo>
                    <a:pt x="195" y="61"/>
                  </a:lnTo>
                  <a:lnTo>
                    <a:pt x="195" y="61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5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0" y="58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58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61"/>
                  </a:lnTo>
                  <a:lnTo>
                    <a:pt x="202" y="61"/>
                  </a:lnTo>
                  <a:lnTo>
                    <a:pt x="202" y="61"/>
                  </a:lnTo>
                  <a:lnTo>
                    <a:pt x="204" y="61"/>
                  </a:lnTo>
                  <a:lnTo>
                    <a:pt x="204" y="61"/>
                  </a:lnTo>
                  <a:lnTo>
                    <a:pt x="204" y="61"/>
                  </a:lnTo>
                  <a:lnTo>
                    <a:pt x="204" y="61"/>
                  </a:lnTo>
                  <a:lnTo>
                    <a:pt x="207" y="61"/>
                  </a:lnTo>
                  <a:lnTo>
                    <a:pt x="207" y="61"/>
                  </a:lnTo>
                  <a:lnTo>
                    <a:pt x="207" y="61"/>
                  </a:lnTo>
                  <a:lnTo>
                    <a:pt x="207" y="61"/>
                  </a:lnTo>
                  <a:lnTo>
                    <a:pt x="207" y="61"/>
                  </a:lnTo>
                  <a:lnTo>
                    <a:pt x="207" y="63"/>
                  </a:lnTo>
                  <a:lnTo>
                    <a:pt x="207" y="63"/>
                  </a:lnTo>
                  <a:lnTo>
                    <a:pt x="207" y="63"/>
                  </a:lnTo>
                  <a:lnTo>
                    <a:pt x="207" y="63"/>
                  </a:lnTo>
                  <a:lnTo>
                    <a:pt x="207" y="63"/>
                  </a:lnTo>
                  <a:lnTo>
                    <a:pt x="207" y="63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3" y="67"/>
                  </a:lnTo>
                  <a:lnTo>
                    <a:pt x="213" y="67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3" y="70"/>
                  </a:lnTo>
                  <a:lnTo>
                    <a:pt x="216" y="70"/>
                  </a:lnTo>
                  <a:lnTo>
                    <a:pt x="216" y="70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8" y="67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4"/>
                  </a:lnTo>
                  <a:lnTo>
                    <a:pt x="216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1" y="74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7" y="74"/>
                  </a:lnTo>
                  <a:lnTo>
                    <a:pt x="204" y="74"/>
                  </a:lnTo>
                  <a:lnTo>
                    <a:pt x="204" y="74"/>
                  </a:lnTo>
                  <a:lnTo>
                    <a:pt x="202" y="74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6"/>
                  </a:lnTo>
                  <a:lnTo>
                    <a:pt x="200" y="79"/>
                  </a:lnTo>
                  <a:lnTo>
                    <a:pt x="200" y="79"/>
                  </a:lnTo>
                  <a:lnTo>
                    <a:pt x="198" y="79"/>
                  </a:lnTo>
                  <a:lnTo>
                    <a:pt x="198" y="79"/>
                  </a:lnTo>
                  <a:lnTo>
                    <a:pt x="198" y="79"/>
                  </a:lnTo>
                  <a:lnTo>
                    <a:pt x="198" y="79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4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4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8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6"/>
                  </a:lnTo>
                  <a:lnTo>
                    <a:pt x="195" y="79"/>
                  </a:lnTo>
                  <a:lnTo>
                    <a:pt x="193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91" y="79"/>
                  </a:lnTo>
                  <a:lnTo>
                    <a:pt x="189" y="79"/>
                  </a:lnTo>
                  <a:lnTo>
                    <a:pt x="189" y="79"/>
                  </a:lnTo>
                  <a:lnTo>
                    <a:pt x="189" y="79"/>
                  </a:lnTo>
                  <a:lnTo>
                    <a:pt x="189" y="79"/>
                  </a:lnTo>
                  <a:lnTo>
                    <a:pt x="186" y="79"/>
                  </a:lnTo>
                  <a:lnTo>
                    <a:pt x="186" y="79"/>
                  </a:lnTo>
                  <a:lnTo>
                    <a:pt x="186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2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77" y="76"/>
                  </a:lnTo>
                  <a:lnTo>
                    <a:pt x="175" y="76"/>
                  </a:lnTo>
                  <a:lnTo>
                    <a:pt x="175" y="76"/>
                  </a:lnTo>
                  <a:lnTo>
                    <a:pt x="173" y="76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71" y="76"/>
                  </a:lnTo>
                  <a:lnTo>
                    <a:pt x="169" y="76"/>
                  </a:lnTo>
                  <a:lnTo>
                    <a:pt x="169" y="76"/>
                  </a:lnTo>
                  <a:lnTo>
                    <a:pt x="166" y="76"/>
                  </a:lnTo>
                  <a:lnTo>
                    <a:pt x="164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57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3" y="79"/>
                  </a:lnTo>
                  <a:lnTo>
                    <a:pt x="153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51" y="79"/>
                  </a:lnTo>
                  <a:lnTo>
                    <a:pt x="148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6"/>
                  </a:lnTo>
                  <a:lnTo>
                    <a:pt x="144" y="76"/>
                  </a:lnTo>
                  <a:lnTo>
                    <a:pt x="144" y="76"/>
                  </a:lnTo>
                  <a:lnTo>
                    <a:pt x="144" y="76"/>
                  </a:lnTo>
                  <a:lnTo>
                    <a:pt x="144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6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8" y="72"/>
                  </a:lnTo>
                  <a:lnTo>
                    <a:pt x="148" y="72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1" y="72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7"/>
                  </a:lnTo>
                  <a:lnTo>
                    <a:pt x="157" y="65"/>
                  </a:lnTo>
                  <a:lnTo>
                    <a:pt x="157" y="65"/>
                  </a:lnTo>
                  <a:lnTo>
                    <a:pt x="157" y="65"/>
                  </a:lnTo>
                  <a:lnTo>
                    <a:pt x="157" y="65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7" y="61"/>
                  </a:lnTo>
                  <a:lnTo>
                    <a:pt x="157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58"/>
                  </a:lnTo>
                  <a:lnTo>
                    <a:pt x="155" y="58"/>
                  </a:lnTo>
                  <a:lnTo>
                    <a:pt x="153" y="58"/>
                  </a:lnTo>
                  <a:lnTo>
                    <a:pt x="153" y="58"/>
                  </a:lnTo>
                  <a:lnTo>
                    <a:pt x="153" y="58"/>
                  </a:lnTo>
                  <a:lnTo>
                    <a:pt x="153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58"/>
                  </a:lnTo>
                  <a:lnTo>
                    <a:pt x="151" y="61"/>
                  </a:lnTo>
                  <a:lnTo>
                    <a:pt x="151" y="61"/>
                  </a:lnTo>
                  <a:lnTo>
                    <a:pt x="151" y="61"/>
                  </a:lnTo>
                  <a:lnTo>
                    <a:pt x="151" y="61"/>
                  </a:lnTo>
                  <a:lnTo>
                    <a:pt x="148" y="58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8" y="58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6" y="58"/>
                  </a:lnTo>
                  <a:lnTo>
                    <a:pt x="144" y="58"/>
                  </a:lnTo>
                  <a:lnTo>
                    <a:pt x="144" y="58"/>
                  </a:lnTo>
                  <a:lnTo>
                    <a:pt x="144" y="58"/>
                  </a:lnTo>
                  <a:lnTo>
                    <a:pt x="144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42" y="58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7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3" y="52"/>
                  </a:lnTo>
                  <a:lnTo>
                    <a:pt x="133" y="52"/>
                  </a:lnTo>
                  <a:lnTo>
                    <a:pt x="133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0" y="49"/>
                  </a:lnTo>
                  <a:lnTo>
                    <a:pt x="130" y="49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6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4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5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0" y="38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7" y="31"/>
                  </a:lnTo>
                  <a:lnTo>
                    <a:pt x="97" y="29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2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0" y="27"/>
                  </a:lnTo>
                  <a:lnTo>
                    <a:pt x="88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0" y="25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5"/>
                  </a:lnTo>
                  <a:lnTo>
                    <a:pt x="67" y="22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3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58" y="20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67" y="13"/>
                  </a:lnTo>
                  <a:lnTo>
                    <a:pt x="67" y="11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5" y="13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0" y="16"/>
                  </a:lnTo>
                  <a:lnTo>
                    <a:pt x="40" y="1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1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7" y="29"/>
                  </a:lnTo>
                  <a:lnTo>
                    <a:pt x="7" y="31"/>
                  </a:lnTo>
                  <a:lnTo>
                    <a:pt x="5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5" y="29"/>
                  </a:lnTo>
                  <a:lnTo>
                    <a:pt x="7" y="29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9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20" y="16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0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1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9" name="Freeform 616"/>
            <p:cNvSpPr>
              <a:spLocks noEditPoints="1"/>
            </p:cNvSpPr>
            <p:nvPr/>
          </p:nvSpPr>
          <p:spPr bwMode="auto">
            <a:xfrm>
              <a:off x="6068780" y="2120499"/>
              <a:ext cx="187200" cy="160457"/>
            </a:xfrm>
            <a:custGeom>
              <a:avLst/>
              <a:gdLst>
                <a:gd name="T0" fmla="*/ 83 w 112"/>
                <a:gd name="T1" fmla="*/ 87 h 96"/>
                <a:gd name="T2" fmla="*/ 65 w 112"/>
                <a:gd name="T3" fmla="*/ 85 h 96"/>
                <a:gd name="T4" fmla="*/ 81 w 112"/>
                <a:gd name="T5" fmla="*/ 83 h 96"/>
                <a:gd name="T6" fmla="*/ 87 w 112"/>
                <a:gd name="T7" fmla="*/ 87 h 96"/>
                <a:gd name="T8" fmla="*/ 92 w 112"/>
                <a:gd name="T9" fmla="*/ 90 h 96"/>
                <a:gd name="T10" fmla="*/ 85 w 112"/>
                <a:gd name="T11" fmla="*/ 87 h 96"/>
                <a:gd name="T12" fmla="*/ 56 w 112"/>
                <a:gd name="T13" fmla="*/ 81 h 96"/>
                <a:gd name="T14" fmla="*/ 65 w 112"/>
                <a:gd name="T15" fmla="*/ 78 h 96"/>
                <a:gd name="T16" fmla="*/ 60 w 112"/>
                <a:gd name="T17" fmla="*/ 78 h 96"/>
                <a:gd name="T18" fmla="*/ 58 w 112"/>
                <a:gd name="T19" fmla="*/ 74 h 96"/>
                <a:gd name="T20" fmla="*/ 56 w 112"/>
                <a:gd name="T21" fmla="*/ 72 h 96"/>
                <a:gd name="T22" fmla="*/ 36 w 112"/>
                <a:gd name="T23" fmla="*/ 63 h 96"/>
                <a:gd name="T24" fmla="*/ 38 w 112"/>
                <a:gd name="T25" fmla="*/ 58 h 96"/>
                <a:gd name="T26" fmla="*/ 33 w 112"/>
                <a:gd name="T27" fmla="*/ 58 h 96"/>
                <a:gd name="T28" fmla="*/ 31 w 112"/>
                <a:gd name="T29" fmla="*/ 58 h 96"/>
                <a:gd name="T30" fmla="*/ 24 w 112"/>
                <a:gd name="T31" fmla="*/ 51 h 96"/>
                <a:gd name="T32" fmla="*/ 27 w 112"/>
                <a:gd name="T33" fmla="*/ 49 h 96"/>
                <a:gd name="T34" fmla="*/ 27 w 112"/>
                <a:gd name="T35" fmla="*/ 45 h 96"/>
                <a:gd name="T36" fmla="*/ 33 w 112"/>
                <a:gd name="T37" fmla="*/ 49 h 96"/>
                <a:gd name="T38" fmla="*/ 31 w 112"/>
                <a:gd name="T39" fmla="*/ 49 h 96"/>
                <a:gd name="T40" fmla="*/ 20 w 112"/>
                <a:gd name="T41" fmla="*/ 47 h 96"/>
                <a:gd name="T42" fmla="*/ 24 w 112"/>
                <a:gd name="T43" fmla="*/ 40 h 96"/>
                <a:gd name="T44" fmla="*/ 18 w 112"/>
                <a:gd name="T45" fmla="*/ 38 h 96"/>
                <a:gd name="T46" fmla="*/ 18 w 112"/>
                <a:gd name="T47" fmla="*/ 40 h 96"/>
                <a:gd name="T48" fmla="*/ 15 w 112"/>
                <a:gd name="T49" fmla="*/ 33 h 96"/>
                <a:gd name="T50" fmla="*/ 24 w 112"/>
                <a:gd name="T51" fmla="*/ 36 h 96"/>
                <a:gd name="T52" fmla="*/ 20 w 112"/>
                <a:gd name="T53" fmla="*/ 31 h 96"/>
                <a:gd name="T54" fmla="*/ 58 w 112"/>
                <a:gd name="T55" fmla="*/ 2 h 96"/>
                <a:gd name="T56" fmla="*/ 69 w 112"/>
                <a:gd name="T57" fmla="*/ 11 h 96"/>
                <a:gd name="T58" fmla="*/ 81 w 112"/>
                <a:gd name="T59" fmla="*/ 15 h 96"/>
                <a:gd name="T60" fmla="*/ 94 w 112"/>
                <a:gd name="T61" fmla="*/ 15 h 96"/>
                <a:gd name="T62" fmla="*/ 99 w 112"/>
                <a:gd name="T63" fmla="*/ 15 h 96"/>
                <a:gd name="T64" fmla="*/ 105 w 112"/>
                <a:gd name="T65" fmla="*/ 24 h 96"/>
                <a:gd name="T66" fmla="*/ 108 w 112"/>
                <a:gd name="T67" fmla="*/ 31 h 96"/>
                <a:gd name="T68" fmla="*/ 103 w 112"/>
                <a:gd name="T69" fmla="*/ 38 h 96"/>
                <a:gd name="T70" fmla="*/ 96 w 112"/>
                <a:gd name="T71" fmla="*/ 33 h 96"/>
                <a:gd name="T72" fmla="*/ 85 w 112"/>
                <a:gd name="T73" fmla="*/ 31 h 96"/>
                <a:gd name="T74" fmla="*/ 74 w 112"/>
                <a:gd name="T75" fmla="*/ 31 h 96"/>
                <a:gd name="T76" fmla="*/ 63 w 112"/>
                <a:gd name="T77" fmla="*/ 29 h 96"/>
                <a:gd name="T78" fmla="*/ 47 w 112"/>
                <a:gd name="T79" fmla="*/ 31 h 96"/>
                <a:gd name="T80" fmla="*/ 45 w 112"/>
                <a:gd name="T81" fmla="*/ 42 h 96"/>
                <a:gd name="T82" fmla="*/ 51 w 112"/>
                <a:gd name="T83" fmla="*/ 47 h 96"/>
                <a:gd name="T84" fmla="*/ 58 w 112"/>
                <a:gd name="T85" fmla="*/ 58 h 96"/>
                <a:gd name="T86" fmla="*/ 81 w 112"/>
                <a:gd name="T87" fmla="*/ 83 h 96"/>
                <a:gd name="T88" fmla="*/ 72 w 112"/>
                <a:gd name="T89" fmla="*/ 76 h 96"/>
                <a:gd name="T90" fmla="*/ 56 w 112"/>
                <a:gd name="T91" fmla="*/ 69 h 96"/>
                <a:gd name="T92" fmla="*/ 49 w 112"/>
                <a:gd name="T93" fmla="*/ 69 h 96"/>
                <a:gd name="T94" fmla="*/ 47 w 112"/>
                <a:gd name="T95" fmla="*/ 65 h 96"/>
                <a:gd name="T96" fmla="*/ 38 w 112"/>
                <a:gd name="T97" fmla="*/ 58 h 96"/>
                <a:gd name="T98" fmla="*/ 36 w 112"/>
                <a:gd name="T99" fmla="*/ 51 h 96"/>
                <a:gd name="T100" fmla="*/ 27 w 112"/>
                <a:gd name="T101" fmla="*/ 40 h 96"/>
                <a:gd name="T102" fmla="*/ 13 w 112"/>
                <a:gd name="T103" fmla="*/ 31 h 96"/>
                <a:gd name="T104" fmla="*/ 11 w 112"/>
                <a:gd name="T105" fmla="*/ 33 h 96"/>
                <a:gd name="T106" fmla="*/ 9 w 112"/>
                <a:gd name="T107" fmla="*/ 38 h 96"/>
                <a:gd name="T108" fmla="*/ 6 w 112"/>
                <a:gd name="T109" fmla="*/ 38 h 96"/>
                <a:gd name="T110" fmla="*/ 4 w 112"/>
                <a:gd name="T111" fmla="*/ 31 h 96"/>
                <a:gd name="T112" fmla="*/ 2 w 112"/>
                <a:gd name="T113" fmla="*/ 27 h 96"/>
                <a:gd name="T114" fmla="*/ 9 w 112"/>
                <a:gd name="T115" fmla="*/ 22 h 96"/>
                <a:gd name="T116" fmla="*/ 20 w 112"/>
                <a:gd name="T117" fmla="*/ 22 h 96"/>
                <a:gd name="T118" fmla="*/ 33 w 112"/>
                <a:gd name="T119" fmla="*/ 22 h 96"/>
                <a:gd name="T120" fmla="*/ 36 w 112"/>
                <a:gd name="T121" fmla="*/ 15 h 96"/>
                <a:gd name="T122" fmla="*/ 40 w 112"/>
                <a:gd name="T123" fmla="*/ 6 h 96"/>
                <a:gd name="T124" fmla="*/ 49 w 112"/>
                <a:gd name="T125" fmla="*/ 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2" h="96">
                  <a:moveTo>
                    <a:pt x="69" y="87"/>
                  </a:moveTo>
                  <a:lnTo>
                    <a:pt x="69" y="87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9" y="87"/>
                  </a:lnTo>
                  <a:lnTo>
                    <a:pt x="69" y="87"/>
                  </a:lnTo>
                  <a:close/>
                  <a:moveTo>
                    <a:pt x="78" y="87"/>
                  </a:move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81" y="87"/>
                  </a:lnTo>
                  <a:lnTo>
                    <a:pt x="81" y="87"/>
                  </a:lnTo>
                  <a:lnTo>
                    <a:pt x="81" y="87"/>
                  </a:lnTo>
                  <a:lnTo>
                    <a:pt x="83" y="87"/>
                  </a:lnTo>
                  <a:lnTo>
                    <a:pt x="83" y="87"/>
                  </a:lnTo>
                  <a:lnTo>
                    <a:pt x="83" y="87"/>
                  </a:lnTo>
                  <a:lnTo>
                    <a:pt x="81" y="87"/>
                  </a:lnTo>
                  <a:lnTo>
                    <a:pt x="83" y="87"/>
                  </a:lnTo>
                  <a:lnTo>
                    <a:pt x="83" y="87"/>
                  </a:lnTo>
                  <a:lnTo>
                    <a:pt x="83" y="87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lnTo>
                    <a:pt x="78" y="87"/>
                  </a:lnTo>
                  <a:close/>
                  <a:moveTo>
                    <a:pt x="65" y="83"/>
                  </a:move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9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5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2" y="85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5" y="85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close/>
                  <a:moveTo>
                    <a:pt x="72" y="81"/>
                  </a:moveTo>
                  <a:lnTo>
                    <a:pt x="72" y="81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3"/>
                  </a:lnTo>
                  <a:lnTo>
                    <a:pt x="83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90" y="87"/>
                  </a:lnTo>
                  <a:lnTo>
                    <a:pt x="90" y="87"/>
                  </a:lnTo>
                  <a:lnTo>
                    <a:pt x="90" y="90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9" y="92"/>
                  </a:lnTo>
                  <a:lnTo>
                    <a:pt x="99" y="92"/>
                  </a:lnTo>
                  <a:lnTo>
                    <a:pt x="99" y="92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2" y="92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2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5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3" y="87"/>
                  </a:lnTo>
                  <a:lnTo>
                    <a:pt x="83" y="87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6" y="83"/>
                  </a:lnTo>
                  <a:lnTo>
                    <a:pt x="76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72" y="81"/>
                  </a:lnTo>
                  <a:close/>
                  <a:moveTo>
                    <a:pt x="54" y="81"/>
                  </a:moveTo>
                  <a:lnTo>
                    <a:pt x="54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close/>
                  <a:moveTo>
                    <a:pt x="60" y="76"/>
                  </a:move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3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4" y="78"/>
                  </a:lnTo>
                  <a:lnTo>
                    <a:pt x="65" y="78"/>
                  </a:lnTo>
                  <a:lnTo>
                    <a:pt x="63" y="78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3" y="78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close/>
                  <a:moveTo>
                    <a:pt x="65" y="74"/>
                  </a:moveTo>
                  <a:lnTo>
                    <a:pt x="65" y="74"/>
                  </a:lnTo>
                  <a:lnTo>
                    <a:pt x="65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5" y="76"/>
                  </a:lnTo>
                  <a:lnTo>
                    <a:pt x="63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60" y="74"/>
                  </a:lnTo>
                  <a:lnTo>
                    <a:pt x="63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close/>
                  <a:moveTo>
                    <a:pt x="56" y="72"/>
                  </a:moveTo>
                  <a:lnTo>
                    <a:pt x="56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6" y="72"/>
                  </a:lnTo>
                  <a:lnTo>
                    <a:pt x="56" y="72"/>
                  </a:lnTo>
                  <a:close/>
                  <a:moveTo>
                    <a:pt x="56" y="69"/>
                  </a:moveTo>
                  <a:lnTo>
                    <a:pt x="58" y="72"/>
                  </a:lnTo>
                  <a:lnTo>
                    <a:pt x="58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close/>
                  <a:moveTo>
                    <a:pt x="45" y="67"/>
                  </a:move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5" y="67"/>
                  </a:lnTo>
                  <a:close/>
                  <a:moveTo>
                    <a:pt x="38" y="63"/>
                  </a:moveTo>
                  <a:lnTo>
                    <a:pt x="38" y="65"/>
                  </a:lnTo>
                  <a:lnTo>
                    <a:pt x="38" y="65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0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close/>
                  <a:moveTo>
                    <a:pt x="38" y="60"/>
                  </a:move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8" y="58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close/>
                  <a:moveTo>
                    <a:pt x="33" y="58"/>
                  </a:move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3" y="58"/>
                  </a:lnTo>
                  <a:close/>
                  <a:moveTo>
                    <a:pt x="27" y="56"/>
                  </a:move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4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close/>
                  <a:moveTo>
                    <a:pt x="27" y="56"/>
                  </a:moveTo>
                  <a:lnTo>
                    <a:pt x="27" y="56"/>
                  </a:lnTo>
                  <a:lnTo>
                    <a:pt x="27" y="56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3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7" y="56"/>
                  </a:lnTo>
                  <a:close/>
                  <a:moveTo>
                    <a:pt x="24" y="51"/>
                  </a:move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4" y="51"/>
                  </a:lnTo>
                  <a:lnTo>
                    <a:pt x="24" y="51"/>
                  </a:lnTo>
                  <a:close/>
                  <a:moveTo>
                    <a:pt x="22" y="51"/>
                  </a:moveTo>
                  <a:lnTo>
                    <a:pt x="22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1"/>
                  </a:lnTo>
                  <a:close/>
                  <a:moveTo>
                    <a:pt x="27" y="51"/>
                  </a:moveTo>
                  <a:lnTo>
                    <a:pt x="27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7" y="51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15" y="45"/>
                  </a:move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close/>
                  <a:moveTo>
                    <a:pt x="27" y="45"/>
                  </a:move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7" y="45"/>
                  </a:lnTo>
                  <a:lnTo>
                    <a:pt x="27" y="47"/>
                  </a:lnTo>
                  <a:lnTo>
                    <a:pt x="29" y="47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29" y="49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7" y="45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24" y="38"/>
                  </a:moveTo>
                  <a:lnTo>
                    <a:pt x="24" y="38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5"/>
                  </a:lnTo>
                  <a:lnTo>
                    <a:pt x="20" y="42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8" y="33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20" y="29"/>
                  </a:move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2" y="36"/>
                  </a:lnTo>
                  <a:lnTo>
                    <a:pt x="20" y="36"/>
                  </a:lnTo>
                  <a:lnTo>
                    <a:pt x="20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close/>
                  <a:moveTo>
                    <a:pt x="51" y="0"/>
                  </a:move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8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4" y="18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5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3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99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6" y="31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4" y="33"/>
                  </a:lnTo>
                  <a:lnTo>
                    <a:pt x="76" y="33"/>
                  </a:lnTo>
                  <a:lnTo>
                    <a:pt x="76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5" y="31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58" y="29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1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5"/>
                  </a:lnTo>
                  <a:lnTo>
                    <a:pt x="65" y="65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2" y="69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4"/>
                  </a:lnTo>
                  <a:lnTo>
                    <a:pt x="74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81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3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6" y="81"/>
                  </a:lnTo>
                  <a:lnTo>
                    <a:pt x="76" y="78"/>
                  </a:lnTo>
                  <a:lnTo>
                    <a:pt x="74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5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4" y="69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7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6" y="51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3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6" y="51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22" y="31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1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4" y="36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8" y="24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7" y="24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3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0" name="Freeform 617"/>
            <p:cNvSpPr>
              <a:spLocks noEditPoints="1"/>
            </p:cNvSpPr>
            <p:nvPr/>
          </p:nvSpPr>
          <p:spPr bwMode="auto">
            <a:xfrm>
              <a:off x="5343381" y="3541210"/>
              <a:ext cx="213942" cy="255728"/>
            </a:xfrm>
            <a:custGeom>
              <a:avLst/>
              <a:gdLst>
                <a:gd name="T0" fmla="*/ 50 w 128"/>
                <a:gd name="T1" fmla="*/ 2 h 153"/>
                <a:gd name="T2" fmla="*/ 50 w 128"/>
                <a:gd name="T3" fmla="*/ 6 h 153"/>
                <a:gd name="T4" fmla="*/ 52 w 128"/>
                <a:gd name="T5" fmla="*/ 13 h 153"/>
                <a:gd name="T6" fmla="*/ 65 w 128"/>
                <a:gd name="T7" fmla="*/ 9 h 153"/>
                <a:gd name="T8" fmla="*/ 72 w 128"/>
                <a:gd name="T9" fmla="*/ 11 h 153"/>
                <a:gd name="T10" fmla="*/ 74 w 128"/>
                <a:gd name="T11" fmla="*/ 13 h 153"/>
                <a:gd name="T12" fmla="*/ 77 w 128"/>
                <a:gd name="T13" fmla="*/ 20 h 153"/>
                <a:gd name="T14" fmla="*/ 81 w 128"/>
                <a:gd name="T15" fmla="*/ 22 h 153"/>
                <a:gd name="T16" fmla="*/ 83 w 128"/>
                <a:gd name="T17" fmla="*/ 24 h 153"/>
                <a:gd name="T18" fmla="*/ 88 w 128"/>
                <a:gd name="T19" fmla="*/ 27 h 153"/>
                <a:gd name="T20" fmla="*/ 94 w 128"/>
                <a:gd name="T21" fmla="*/ 22 h 153"/>
                <a:gd name="T22" fmla="*/ 103 w 128"/>
                <a:gd name="T23" fmla="*/ 18 h 153"/>
                <a:gd name="T24" fmla="*/ 112 w 128"/>
                <a:gd name="T25" fmla="*/ 20 h 153"/>
                <a:gd name="T26" fmla="*/ 124 w 128"/>
                <a:gd name="T27" fmla="*/ 31 h 153"/>
                <a:gd name="T28" fmla="*/ 124 w 128"/>
                <a:gd name="T29" fmla="*/ 40 h 153"/>
                <a:gd name="T30" fmla="*/ 126 w 128"/>
                <a:gd name="T31" fmla="*/ 60 h 153"/>
                <a:gd name="T32" fmla="*/ 121 w 128"/>
                <a:gd name="T33" fmla="*/ 69 h 153"/>
                <a:gd name="T34" fmla="*/ 112 w 128"/>
                <a:gd name="T35" fmla="*/ 94 h 153"/>
                <a:gd name="T36" fmla="*/ 121 w 128"/>
                <a:gd name="T37" fmla="*/ 121 h 153"/>
                <a:gd name="T38" fmla="*/ 119 w 128"/>
                <a:gd name="T39" fmla="*/ 132 h 153"/>
                <a:gd name="T40" fmla="*/ 115 w 128"/>
                <a:gd name="T41" fmla="*/ 128 h 153"/>
                <a:gd name="T42" fmla="*/ 110 w 128"/>
                <a:gd name="T43" fmla="*/ 130 h 153"/>
                <a:gd name="T44" fmla="*/ 110 w 128"/>
                <a:gd name="T45" fmla="*/ 132 h 153"/>
                <a:gd name="T46" fmla="*/ 97 w 128"/>
                <a:gd name="T47" fmla="*/ 130 h 153"/>
                <a:gd name="T48" fmla="*/ 101 w 128"/>
                <a:gd name="T49" fmla="*/ 128 h 153"/>
                <a:gd name="T50" fmla="*/ 99 w 128"/>
                <a:gd name="T51" fmla="*/ 128 h 153"/>
                <a:gd name="T52" fmla="*/ 97 w 128"/>
                <a:gd name="T53" fmla="*/ 128 h 153"/>
                <a:gd name="T54" fmla="*/ 90 w 128"/>
                <a:gd name="T55" fmla="*/ 130 h 153"/>
                <a:gd name="T56" fmla="*/ 86 w 128"/>
                <a:gd name="T57" fmla="*/ 128 h 153"/>
                <a:gd name="T58" fmla="*/ 81 w 128"/>
                <a:gd name="T59" fmla="*/ 130 h 153"/>
                <a:gd name="T60" fmla="*/ 79 w 128"/>
                <a:gd name="T61" fmla="*/ 132 h 153"/>
                <a:gd name="T62" fmla="*/ 86 w 128"/>
                <a:gd name="T63" fmla="*/ 130 h 153"/>
                <a:gd name="T64" fmla="*/ 94 w 128"/>
                <a:gd name="T65" fmla="*/ 130 h 153"/>
                <a:gd name="T66" fmla="*/ 74 w 128"/>
                <a:gd name="T67" fmla="*/ 130 h 153"/>
                <a:gd name="T68" fmla="*/ 68 w 128"/>
                <a:gd name="T69" fmla="*/ 130 h 153"/>
                <a:gd name="T70" fmla="*/ 68 w 128"/>
                <a:gd name="T71" fmla="*/ 132 h 153"/>
                <a:gd name="T72" fmla="*/ 72 w 128"/>
                <a:gd name="T73" fmla="*/ 132 h 153"/>
                <a:gd name="T74" fmla="*/ 45 w 128"/>
                <a:gd name="T75" fmla="*/ 139 h 153"/>
                <a:gd name="T76" fmla="*/ 27 w 128"/>
                <a:gd name="T77" fmla="*/ 148 h 153"/>
                <a:gd name="T78" fmla="*/ 20 w 128"/>
                <a:gd name="T79" fmla="*/ 139 h 153"/>
                <a:gd name="T80" fmla="*/ 23 w 128"/>
                <a:gd name="T81" fmla="*/ 130 h 153"/>
                <a:gd name="T82" fmla="*/ 25 w 128"/>
                <a:gd name="T83" fmla="*/ 126 h 153"/>
                <a:gd name="T84" fmla="*/ 23 w 128"/>
                <a:gd name="T85" fmla="*/ 117 h 153"/>
                <a:gd name="T86" fmla="*/ 18 w 128"/>
                <a:gd name="T87" fmla="*/ 114 h 153"/>
                <a:gd name="T88" fmla="*/ 16 w 128"/>
                <a:gd name="T89" fmla="*/ 108 h 153"/>
                <a:gd name="T90" fmla="*/ 7 w 128"/>
                <a:gd name="T91" fmla="*/ 105 h 153"/>
                <a:gd name="T92" fmla="*/ 5 w 128"/>
                <a:gd name="T93" fmla="*/ 101 h 153"/>
                <a:gd name="T94" fmla="*/ 0 w 128"/>
                <a:gd name="T95" fmla="*/ 99 h 153"/>
                <a:gd name="T96" fmla="*/ 5 w 128"/>
                <a:gd name="T97" fmla="*/ 85 h 153"/>
                <a:gd name="T98" fmla="*/ 9 w 128"/>
                <a:gd name="T99" fmla="*/ 74 h 153"/>
                <a:gd name="T100" fmla="*/ 11 w 128"/>
                <a:gd name="T101" fmla="*/ 65 h 153"/>
                <a:gd name="T102" fmla="*/ 7 w 128"/>
                <a:gd name="T103" fmla="*/ 58 h 153"/>
                <a:gd name="T104" fmla="*/ 14 w 128"/>
                <a:gd name="T105" fmla="*/ 54 h 153"/>
                <a:gd name="T106" fmla="*/ 18 w 128"/>
                <a:gd name="T107" fmla="*/ 49 h 153"/>
                <a:gd name="T108" fmla="*/ 14 w 128"/>
                <a:gd name="T109" fmla="*/ 40 h 153"/>
                <a:gd name="T110" fmla="*/ 11 w 128"/>
                <a:gd name="T111" fmla="*/ 31 h 153"/>
                <a:gd name="T112" fmla="*/ 9 w 128"/>
                <a:gd name="T113" fmla="*/ 18 h 153"/>
                <a:gd name="T114" fmla="*/ 16 w 128"/>
                <a:gd name="T115" fmla="*/ 11 h 153"/>
                <a:gd name="T116" fmla="*/ 20 w 128"/>
                <a:gd name="T117" fmla="*/ 6 h 153"/>
                <a:gd name="T118" fmla="*/ 25 w 128"/>
                <a:gd name="T119" fmla="*/ 11 h 153"/>
                <a:gd name="T120" fmla="*/ 38 w 128"/>
                <a:gd name="T121" fmla="*/ 9 h 153"/>
                <a:gd name="T122" fmla="*/ 41 w 128"/>
                <a:gd name="T123" fmla="*/ 2 h 153"/>
                <a:gd name="T124" fmla="*/ 47 w 128"/>
                <a:gd name="T125" fmla="*/ 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" h="153">
                  <a:moveTo>
                    <a:pt x="112" y="132"/>
                  </a:moveTo>
                  <a:lnTo>
                    <a:pt x="112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5"/>
                  </a:lnTo>
                  <a:lnTo>
                    <a:pt x="112" y="135"/>
                  </a:lnTo>
                  <a:lnTo>
                    <a:pt x="112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lnTo>
                    <a:pt x="112" y="132"/>
                  </a:lnTo>
                  <a:close/>
                  <a:moveTo>
                    <a:pt x="50" y="0"/>
                  </a:move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2" y="6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9" y="6"/>
                  </a:lnTo>
                  <a:lnTo>
                    <a:pt x="61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2"/>
                  </a:lnTo>
                  <a:lnTo>
                    <a:pt x="81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20"/>
                  </a:lnTo>
                  <a:lnTo>
                    <a:pt x="106" y="18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9" y="24"/>
                  </a:lnTo>
                  <a:lnTo>
                    <a:pt x="119" y="27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4" y="31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1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0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5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1" y="67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19" y="74"/>
                  </a:lnTo>
                  <a:lnTo>
                    <a:pt x="119" y="74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5"/>
                  </a:lnTo>
                  <a:lnTo>
                    <a:pt x="117" y="85"/>
                  </a:lnTo>
                  <a:lnTo>
                    <a:pt x="117" y="87"/>
                  </a:lnTo>
                  <a:lnTo>
                    <a:pt x="117" y="87"/>
                  </a:lnTo>
                  <a:lnTo>
                    <a:pt x="115" y="87"/>
                  </a:lnTo>
                  <a:lnTo>
                    <a:pt x="115" y="87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105"/>
                  </a:lnTo>
                  <a:lnTo>
                    <a:pt x="112" y="105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12"/>
                  </a:lnTo>
                  <a:lnTo>
                    <a:pt x="115" y="112"/>
                  </a:lnTo>
                  <a:lnTo>
                    <a:pt x="117" y="114"/>
                  </a:lnTo>
                  <a:lnTo>
                    <a:pt x="117" y="117"/>
                  </a:lnTo>
                  <a:lnTo>
                    <a:pt x="117" y="117"/>
                  </a:lnTo>
                  <a:lnTo>
                    <a:pt x="117" y="119"/>
                  </a:lnTo>
                  <a:lnTo>
                    <a:pt x="117" y="119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19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1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6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28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0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21" y="132"/>
                  </a:lnTo>
                  <a:lnTo>
                    <a:pt x="119" y="132"/>
                  </a:lnTo>
                  <a:lnTo>
                    <a:pt x="119" y="132"/>
                  </a:lnTo>
                  <a:lnTo>
                    <a:pt x="119" y="132"/>
                  </a:lnTo>
                  <a:lnTo>
                    <a:pt x="119" y="132"/>
                  </a:lnTo>
                  <a:lnTo>
                    <a:pt x="119" y="132"/>
                  </a:lnTo>
                  <a:lnTo>
                    <a:pt x="119" y="132"/>
                  </a:lnTo>
                  <a:lnTo>
                    <a:pt x="117" y="132"/>
                  </a:lnTo>
                  <a:lnTo>
                    <a:pt x="117" y="132"/>
                  </a:lnTo>
                  <a:lnTo>
                    <a:pt x="117" y="132"/>
                  </a:lnTo>
                  <a:lnTo>
                    <a:pt x="117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5" y="132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28"/>
                  </a:lnTo>
                  <a:lnTo>
                    <a:pt x="112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2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0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10" y="132"/>
                  </a:lnTo>
                  <a:lnTo>
                    <a:pt x="103" y="132"/>
                  </a:lnTo>
                  <a:lnTo>
                    <a:pt x="103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2"/>
                  </a:lnTo>
                  <a:lnTo>
                    <a:pt x="101" y="130"/>
                  </a:lnTo>
                  <a:lnTo>
                    <a:pt x="99" y="132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99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99" y="130"/>
                  </a:lnTo>
                  <a:lnTo>
                    <a:pt x="99" y="128"/>
                  </a:lnTo>
                  <a:lnTo>
                    <a:pt x="99" y="130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7" y="130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90" y="128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3" y="128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79" y="130"/>
                  </a:lnTo>
                  <a:lnTo>
                    <a:pt x="79" y="130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81" y="132"/>
                  </a:lnTo>
                  <a:lnTo>
                    <a:pt x="81" y="132"/>
                  </a:lnTo>
                  <a:lnTo>
                    <a:pt x="81" y="132"/>
                  </a:lnTo>
                  <a:lnTo>
                    <a:pt x="81" y="132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1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2"/>
                  </a:lnTo>
                  <a:lnTo>
                    <a:pt x="83" y="132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6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88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94" y="130"/>
                  </a:lnTo>
                  <a:lnTo>
                    <a:pt x="97" y="130"/>
                  </a:lnTo>
                  <a:lnTo>
                    <a:pt x="83" y="132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7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4" y="130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2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0" y="130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0" y="130"/>
                  </a:lnTo>
                  <a:lnTo>
                    <a:pt x="72" y="130"/>
                  </a:lnTo>
                  <a:lnTo>
                    <a:pt x="72" y="132"/>
                  </a:lnTo>
                  <a:lnTo>
                    <a:pt x="72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65" y="135"/>
                  </a:lnTo>
                  <a:lnTo>
                    <a:pt x="63" y="135"/>
                  </a:lnTo>
                  <a:lnTo>
                    <a:pt x="63" y="132"/>
                  </a:lnTo>
                  <a:lnTo>
                    <a:pt x="63" y="135"/>
                  </a:lnTo>
                  <a:lnTo>
                    <a:pt x="63" y="135"/>
                  </a:lnTo>
                  <a:lnTo>
                    <a:pt x="63" y="135"/>
                  </a:lnTo>
                  <a:lnTo>
                    <a:pt x="61" y="135"/>
                  </a:lnTo>
                  <a:lnTo>
                    <a:pt x="56" y="135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45" y="139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38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4" y="144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2" y="146"/>
                  </a:lnTo>
                  <a:lnTo>
                    <a:pt x="32" y="148"/>
                  </a:lnTo>
                  <a:lnTo>
                    <a:pt x="29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5" y="150"/>
                  </a:lnTo>
                  <a:lnTo>
                    <a:pt x="25" y="150"/>
                  </a:lnTo>
                  <a:lnTo>
                    <a:pt x="23" y="153"/>
                  </a:lnTo>
                  <a:lnTo>
                    <a:pt x="23" y="153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50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41"/>
                  </a:lnTo>
                  <a:lnTo>
                    <a:pt x="20" y="139"/>
                  </a:lnTo>
                  <a:lnTo>
                    <a:pt x="20" y="139"/>
                  </a:lnTo>
                  <a:lnTo>
                    <a:pt x="20" y="139"/>
                  </a:lnTo>
                  <a:lnTo>
                    <a:pt x="20" y="139"/>
                  </a:lnTo>
                  <a:lnTo>
                    <a:pt x="20" y="139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3" y="139"/>
                  </a:lnTo>
                  <a:lnTo>
                    <a:pt x="23" y="139"/>
                  </a:lnTo>
                  <a:lnTo>
                    <a:pt x="23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3" y="130"/>
                  </a:lnTo>
                  <a:lnTo>
                    <a:pt x="23" y="130"/>
                  </a:lnTo>
                  <a:lnTo>
                    <a:pt x="23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1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2" y="96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7" y="90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78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6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9" y="60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5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1" name="Freeform 618"/>
            <p:cNvSpPr>
              <a:spLocks noEditPoints="1"/>
            </p:cNvSpPr>
            <p:nvPr/>
          </p:nvSpPr>
          <p:spPr bwMode="auto">
            <a:xfrm>
              <a:off x="2640687" y="3521153"/>
              <a:ext cx="115329" cy="125356"/>
            </a:xfrm>
            <a:custGeom>
              <a:avLst/>
              <a:gdLst>
                <a:gd name="T0" fmla="*/ 15 w 69"/>
                <a:gd name="T1" fmla="*/ 27 h 75"/>
                <a:gd name="T2" fmla="*/ 22 w 69"/>
                <a:gd name="T3" fmla="*/ 7 h 75"/>
                <a:gd name="T4" fmla="*/ 31 w 69"/>
                <a:gd name="T5" fmla="*/ 5 h 75"/>
                <a:gd name="T6" fmla="*/ 33 w 69"/>
                <a:gd name="T7" fmla="*/ 5 h 75"/>
                <a:gd name="T8" fmla="*/ 36 w 69"/>
                <a:gd name="T9" fmla="*/ 9 h 75"/>
                <a:gd name="T10" fmla="*/ 40 w 69"/>
                <a:gd name="T11" fmla="*/ 9 h 75"/>
                <a:gd name="T12" fmla="*/ 42 w 69"/>
                <a:gd name="T13" fmla="*/ 12 h 75"/>
                <a:gd name="T14" fmla="*/ 49 w 69"/>
                <a:gd name="T15" fmla="*/ 7 h 75"/>
                <a:gd name="T16" fmla="*/ 49 w 69"/>
                <a:gd name="T17" fmla="*/ 12 h 75"/>
                <a:gd name="T18" fmla="*/ 56 w 69"/>
                <a:gd name="T19" fmla="*/ 25 h 75"/>
                <a:gd name="T20" fmla="*/ 62 w 69"/>
                <a:gd name="T21" fmla="*/ 32 h 75"/>
                <a:gd name="T22" fmla="*/ 69 w 69"/>
                <a:gd name="T23" fmla="*/ 39 h 75"/>
                <a:gd name="T24" fmla="*/ 67 w 69"/>
                <a:gd name="T25" fmla="*/ 41 h 75"/>
                <a:gd name="T26" fmla="*/ 62 w 69"/>
                <a:gd name="T27" fmla="*/ 41 h 75"/>
                <a:gd name="T28" fmla="*/ 62 w 69"/>
                <a:gd name="T29" fmla="*/ 50 h 75"/>
                <a:gd name="T30" fmla="*/ 65 w 69"/>
                <a:gd name="T31" fmla="*/ 57 h 75"/>
                <a:gd name="T32" fmla="*/ 62 w 69"/>
                <a:gd name="T33" fmla="*/ 61 h 75"/>
                <a:gd name="T34" fmla="*/ 58 w 69"/>
                <a:gd name="T35" fmla="*/ 68 h 75"/>
                <a:gd name="T36" fmla="*/ 60 w 69"/>
                <a:gd name="T37" fmla="*/ 75 h 75"/>
                <a:gd name="T38" fmla="*/ 56 w 69"/>
                <a:gd name="T39" fmla="*/ 68 h 75"/>
                <a:gd name="T40" fmla="*/ 56 w 69"/>
                <a:gd name="T41" fmla="*/ 63 h 75"/>
                <a:gd name="T42" fmla="*/ 56 w 69"/>
                <a:gd name="T43" fmla="*/ 61 h 75"/>
                <a:gd name="T44" fmla="*/ 51 w 69"/>
                <a:gd name="T45" fmla="*/ 61 h 75"/>
                <a:gd name="T46" fmla="*/ 51 w 69"/>
                <a:gd name="T47" fmla="*/ 59 h 75"/>
                <a:gd name="T48" fmla="*/ 51 w 69"/>
                <a:gd name="T49" fmla="*/ 63 h 75"/>
                <a:gd name="T50" fmla="*/ 54 w 69"/>
                <a:gd name="T51" fmla="*/ 66 h 75"/>
                <a:gd name="T52" fmla="*/ 51 w 69"/>
                <a:gd name="T53" fmla="*/ 66 h 75"/>
                <a:gd name="T54" fmla="*/ 45 w 69"/>
                <a:gd name="T55" fmla="*/ 63 h 75"/>
                <a:gd name="T56" fmla="*/ 47 w 69"/>
                <a:gd name="T57" fmla="*/ 59 h 75"/>
                <a:gd name="T58" fmla="*/ 47 w 69"/>
                <a:gd name="T59" fmla="*/ 57 h 75"/>
                <a:gd name="T60" fmla="*/ 47 w 69"/>
                <a:gd name="T61" fmla="*/ 54 h 75"/>
                <a:gd name="T62" fmla="*/ 47 w 69"/>
                <a:gd name="T63" fmla="*/ 52 h 75"/>
                <a:gd name="T64" fmla="*/ 38 w 69"/>
                <a:gd name="T65" fmla="*/ 43 h 75"/>
                <a:gd name="T66" fmla="*/ 33 w 69"/>
                <a:gd name="T67" fmla="*/ 41 h 75"/>
                <a:gd name="T68" fmla="*/ 29 w 69"/>
                <a:gd name="T69" fmla="*/ 41 h 75"/>
                <a:gd name="T70" fmla="*/ 27 w 69"/>
                <a:gd name="T71" fmla="*/ 39 h 75"/>
                <a:gd name="T72" fmla="*/ 27 w 69"/>
                <a:gd name="T73" fmla="*/ 34 h 75"/>
                <a:gd name="T74" fmla="*/ 24 w 69"/>
                <a:gd name="T75" fmla="*/ 30 h 75"/>
                <a:gd name="T76" fmla="*/ 20 w 69"/>
                <a:gd name="T77" fmla="*/ 27 h 75"/>
                <a:gd name="T78" fmla="*/ 18 w 69"/>
                <a:gd name="T79" fmla="*/ 25 h 75"/>
                <a:gd name="T80" fmla="*/ 13 w 69"/>
                <a:gd name="T81" fmla="*/ 23 h 75"/>
                <a:gd name="T82" fmla="*/ 15 w 69"/>
                <a:gd name="T83" fmla="*/ 27 h 75"/>
                <a:gd name="T84" fmla="*/ 18 w 69"/>
                <a:gd name="T85" fmla="*/ 30 h 75"/>
                <a:gd name="T86" fmla="*/ 20 w 69"/>
                <a:gd name="T87" fmla="*/ 32 h 75"/>
                <a:gd name="T88" fmla="*/ 20 w 69"/>
                <a:gd name="T89" fmla="*/ 34 h 75"/>
                <a:gd name="T90" fmla="*/ 18 w 69"/>
                <a:gd name="T91" fmla="*/ 36 h 75"/>
                <a:gd name="T92" fmla="*/ 13 w 69"/>
                <a:gd name="T93" fmla="*/ 34 h 75"/>
                <a:gd name="T94" fmla="*/ 9 w 69"/>
                <a:gd name="T95" fmla="*/ 32 h 75"/>
                <a:gd name="T96" fmla="*/ 4 w 69"/>
                <a:gd name="T97" fmla="*/ 32 h 75"/>
                <a:gd name="T98" fmla="*/ 2 w 69"/>
                <a:gd name="T99" fmla="*/ 21 h 75"/>
                <a:gd name="T100" fmla="*/ 2 w 69"/>
                <a:gd name="T101" fmla="*/ 18 h 75"/>
                <a:gd name="T102" fmla="*/ 4 w 69"/>
                <a:gd name="T103" fmla="*/ 16 h 75"/>
                <a:gd name="T104" fmla="*/ 6 w 69"/>
                <a:gd name="T105" fmla="*/ 14 h 75"/>
                <a:gd name="T106" fmla="*/ 6 w 69"/>
                <a:gd name="T107" fmla="*/ 14 h 75"/>
                <a:gd name="T108" fmla="*/ 6 w 69"/>
                <a:gd name="T109" fmla="*/ 9 h 75"/>
                <a:gd name="T110" fmla="*/ 2 w 69"/>
                <a:gd name="T111" fmla="*/ 9 h 75"/>
                <a:gd name="T112" fmla="*/ 4 w 69"/>
                <a:gd name="T113" fmla="*/ 7 h 75"/>
                <a:gd name="T114" fmla="*/ 4 w 69"/>
                <a:gd name="T115" fmla="*/ 7 h 75"/>
                <a:gd name="T116" fmla="*/ 6 w 69"/>
                <a:gd name="T117" fmla="*/ 5 h 75"/>
                <a:gd name="T118" fmla="*/ 6 w 69"/>
                <a:gd name="T119" fmla="*/ 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9" h="75">
                  <a:moveTo>
                    <a:pt x="15" y="27"/>
                  </a:moveTo>
                  <a:lnTo>
                    <a:pt x="15" y="27"/>
                  </a:lnTo>
                  <a:lnTo>
                    <a:pt x="15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15" y="27"/>
                  </a:lnTo>
                  <a:lnTo>
                    <a:pt x="15" y="27"/>
                  </a:lnTo>
                  <a:close/>
                  <a:moveTo>
                    <a:pt x="15" y="3"/>
                  </a:moveTo>
                  <a:lnTo>
                    <a:pt x="18" y="5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4" y="5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2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12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1" y="14"/>
                  </a:lnTo>
                  <a:lnTo>
                    <a:pt x="51" y="16"/>
                  </a:lnTo>
                  <a:lnTo>
                    <a:pt x="54" y="21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58" y="27"/>
                  </a:lnTo>
                  <a:lnTo>
                    <a:pt x="58" y="30"/>
                  </a:lnTo>
                  <a:lnTo>
                    <a:pt x="60" y="27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7" y="36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39"/>
                  </a:lnTo>
                  <a:lnTo>
                    <a:pt x="67" y="41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3"/>
                  </a:lnTo>
                  <a:lnTo>
                    <a:pt x="60" y="45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0"/>
                  </a:lnTo>
                  <a:lnTo>
                    <a:pt x="62" y="50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5" y="52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3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68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2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61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5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4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8" y="45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2" y="32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18" y="34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1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3"/>
                  </a:lnTo>
                  <a:lnTo>
                    <a:pt x="15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2" name="Freeform 619"/>
            <p:cNvSpPr>
              <a:spLocks noEditPoints="1"/>
            </p:cNvSpPr>
            <p:nvPr/>
          </p:nvSpPr>
          <p:spPr bwMode="auto">
            <a:xfrm>
              <a:off x="10777184" y="4607579"/>
              <a:ext cx="228986" cy="244028"/>
            </a:xfrm>
            <a:custGeom>
              <a:avLst/>
              <a:gdLst>
                <a:gd name="T0" fmla="*/ 119 w 137"/>
                <a:gd name="T1" fmla="*/ 146 h 146"/>
                <a:gd name="T2" fmla="*/ 119 w 137"/>
                <a:gd name="T3" fmla="*/ 146 h 146"/>
                <a:gd name="T4" fmla="*/ 126 w 137"/>
                <a:gd name="T5" fmla="*/ 144 h 146"/>
                <a:gd name="T6" fmla="*/ 126 w 137"/>
                <a:gd name="T7" fmla="*/ 144 h 146"/>
                <a:gd name="T8" fmla="*/ 88 w 137"/>
                <a:gd name="T9" fmla="*/ 140 h 146"/>
                <a:gd name="T10" fmla="*/ 88 w 137"/>
                <a:gd name="T11" fmla="*/ 140 h 146"/>
                <a:gd name="T12" fmla="*/ 88 w 137"/>
                <a:gd name="T13" fmla="*/ 140 h 146"/>
                <a:gd name="T14" fmla="*/ 88 w 137"/>
                <a:gd name="T15" fmla="*/ 140 h 146"/>
                <a:gd name="T16" fmla="*/ 88 w 137"/>
                <a:gd name="T17" fmla="*/ 137 h 146"/>
                <a:gd name="T18" fmla="*/ 88 w 137"/>
                <a:gd name="T19" fmla="*/ 137 h 146"/>
                <a:gd name="T20" fmla="*/ 88 w 137"/>
                <a:gd name="T21" fmla="*/ 137 h 146"/>
                <a:gd name="T22" fmla="*/ 90 w 137"/>
                <a:gd name="T23" fmla="*/ 137 h 146"/>
                <a:gd name="T24" fmla="*/ 90 w 137"/>
                <a:gd name="T25" fmla="*/ 137 h 146"/>
                <a:gd name="T26" fmla="*/ 88 w 137"/>
                <a:gd name="T27" fmla="*/ 137 h 146"/>
                <a:gd name="T28" fmla="*/ 88 w 137"/>
                <a:gd name="T29" fmla="*/ 137 h 146"/>
                <a:gd name="T30" fmla="*/ 88 w 137"/>
                <a:gd name="T31" fmla="*/ 137 h 146"/>
                <a:gd name="T32" fmla="*/ 88 w 137"/>
                <a:gd name="T33" fmla="*/ 137 h 146"/>
                <a:gd name="T34" fmla="*/ 88 w 137"/>
                <a:gd name="T35" fmla="*/ 137 h 146"/>
                <a:gd name="T36" fmla="*/ 94 w 137"/>
                <a:gd name="T37" fmla="*/ 133 h 146"/>
                <a:gd name="T38" fmla="*/ 94 w 137"/>
                <a:gd name="T39" fmla="*/ 133 h 146"/>
                <a:gd name="T40" fmla="*/ 137 w 137"/>
                <a:gd name="T41" fmla="*/ 124 h 146"/>
                <a:gd name="T42" fmla="*/ 137 w 137"/>
                <a:gd name="T43" fmla="*/ 124 h 146"/>
                <a:gd name="T44" fmla="*/ 137 w 137"/>
                <a:gd name="T45" fmla="*/ 124 h 146"/>
                <a:gd name="T46" fmla="*/ 137 w 137"/>
                <a:gd name="T47" fmla="*/ 124 h 146"/>
                <a:gd name="T48" fmla="*/ 137 w 137"/>
                <a:gd name="T49" fmla="*/ 124 h 146"/>
                <a:gd name="T50" fmla="*/ 110 w 137"/>
                <a:gd name="T51" fmla="*/ 117 h 146"/>
                <a:gd name="T52" fmla="*/ 110 w 137"/>
                <a:gd name="T53" fmla="*/ 117 h 146"/>
                <a:gd name="T54" fmla="*/ 7 w 137"/>
                <a:gd name="T55" fmla="*/ 43 h 146"/>
                <a:gd name="T56" fmla="*/ 7 w 137"/>
                <a:gd name="T57" fmla="*/ 43 h 146"/>
                <a:gd name="T58" fmla="*/ 7 w 137"/>
                <a:gd name="T59" fmla="*/ 43 h 146"/>
                <a:gd name="T60" fmla="*/ 7 w 137"/>
                <a:gd name="T61" fmla="*/ 43 h 146"/>
                <a:gd name="T62" fmla="*/ 7 w 137"/>
                <a:gd name="T63" fmla="*/ 43 h 146"/>
                <a:gd name="T64" fmla="*/ 4 w 137"/>
                <a:gd name="T65" fmla="*/ 38 h 146"/>
                <a:gd name="T66" fmla="*/ 4 w 137"/>
                <a:gd name="T67" fmla="*/ 38 h 146"/>
                <a:gd name="T68" fmla="*/ 4 w 137"/>
                <a:gd name="T69" fmla="*/ 38 h 146"/>
                <a:gd name="T70" fmla="*/ 4 w 137"/>
                <a:gd name="T71" fmla="*/ 36 h 146"/>
                <a:gd name="T72" fmla="*/ 40 w 137"/>
                <a:gd name="T73" fmla="*/ 21 h 146"/>
                <a:gd name="T74" fmla="*/ 40 w 137"/>
                <a:gd name="T75" fmla="*/ 21 h 146"/>
                <a:gd name="T76" fmla="*/ 38 w 137"/>
                <a:gd name="T77" fmla="*/ 21 h 146"/>
                <a:gd name="T78" fmla="*/ 38 w 137"/>
                <a:gd name="T79" fmla="*/ 21 h 146"/>
                <a:gd name="T80" fmla="*/ 40 w 137"/>
                <a:gd name="T81" fmla="*/ 21 h 146"/>
                <a:gd name="T82" fmla="*/ 40 w 137"/>
                <a:gd name="T83" fmla="*/ 21 h 146"/>
                <a:gd name="T84" fmla="*/ 40 w 137"/>
                <a:gd name="T85" fmla="*/ 21 h 146"/>
                <a:gd name="T86" fmla="*/ 0 w 137"/>
                <a:gd name="T87" fmla="*/ 9 h 146"/>
                <a:gd name="T88" fmla="*/ 0 w 137"/>
                <a:gd name="T89" fmla="*/ 9 h 146"/>
                <a:gd name="T90" fmla="*/ 0 w 137"/>
                <a:gd name="T91" fmla="*/ 9 h 146"/>
                <a:gd name="T92" fmla="*/ 0 w 137"/>
                <a:gd name="T93" fmla="*/ 9 h 146"/>
                <a:gd name="T94" fmla="*/ 43 w 137"/>
                <a:gd name="T95" fmla="*/ 5 h 146"/>
                <a:gd name="T96" fmla="*/ 43 w 137"/>
                <a:gd name="T97" fmla="*/ 5 h 146"/>
                <a:gd name="T98" fmla="*/ 45 w 137"/>
                <a:gd name="T99" fmla="*/ 3 h 146"/>
                <a:gd name="T100" fmla="*/ 45 w 137"/>
                <a:gd name="T101" fmla="*/ 3 h 146"/>
                <a:gd name="T102" fmla="*/ 45 w 137"/>
                <a:gd name="T103" fmla="*/ 3 h 146"/>
                <a:gd name="T104" fmla="*/ 45 w 137"/>
                <a:gd name="T105" fmla="*/ 0 h 146"/>
                <a:gd name="T106" fmla="*/ 45 w 137"/>
                <a:gd name="T107" fmla="*/ 0 h 146"/>
                <a:gd name="T108" fmla="*/ 45 w 137"/>
                <a:gd name="T109" fmla="*/ 0 h 146"/>
                <a:gd name="T110" fmla="*/ 45 w 137"/>
                <a:gd name="T111" fmla="*/ 0 h 146"/>
                <a:gd name="T112" fmla="*/ 45 w 137"/>
                <a:gd name="T113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7" h="146">
                  <a:moveTo>
                    <a:pt x="119" y="146"/>
                  </a:moveTo>
                  <a:lnTo>
                    <a:pt x="119" y="146"/>
                  </a:lnTo>
                  <a:lnTo>
                    <a:pt x="119" y="146"/>
                  </a:lnTo>
                  <a:lnTo>
                    <a:pt x="119" y="146"/>
                  </a:lnTo>
                  <a:close/>
                  <a:moveTo>
                    <a:pt x="126" y="144"/>
                  </a:moveTo>
                  <a:lnTo>
                    <a:pt x="126" y="144"/>
                  </a:lnTo>
                  <a:lnTo>
                    <a:pt x="126" y="144"/>
                  </a:lnTo>
                  <a:lnTo>
                    <a:pt x="126" y="144"/>
                  </a:lnTo>
                  <a:lnTo>
                    <a:pt x="126" y="144"/>
                  </a:lnTo>
                  <a:close/>
                  <a:moveTo>
                    <a:pt x="88" y="140"/>
                  </a:move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close/>
                  <a:moveTo>
                    <a:pt x="88" y="140"/>
                  </a:moveTo>
                  <a:lnTo>
                    <a:pt x="88" y="140"/>
                  </a:lnTo>
                  <a:lnTo>
                    <a:pt x="88" y="140"/>
                  </a:lnTo>
                  <a:lnTo>
                    <a:pt x="88" y="140"/>
                  </a:lnTo>
                  <a:close/>
                  <a:moveTo>
                    <a:pt x="88" y="137"/>
                  </a:move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close/>
                  <a:moveTo>
                    <a:pt x="90" y="137"/>
                  </a:moveTo>
                  <a:lnTo>
                    <a:pt x="90" y="137"/>
                  </a:lnTo>
                  <a:lnTo>
                    <a:pt x="90" y="137"/>
                  </a:lnTo>
                  <a:lnTo>
                    <a:pt x="90" y="137"/>
                  </a:lnTo>
                  <a:close/>
                  <a:moveTo>
                    <a:pt x="88" y="137"/>
                  </a:move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lnTo>
                    <a:pt x="88" y="137"/>
                  </a:lnTo>
                  <a:close/>
                  <a:moveTo>
                    <a:pt x="94" y="133"/>
                  </a:moveTo>
                  <a:lnTo>
                    <a:pt x="94" y="133"/>
                  </a:lnTo>
                  <a:lnTo>
                    <a:pt x="94" y="133"/>
                  </a:lnTo>
                  <a:lnTo>
                    <a:pt x="94" y="133"/>
                  </a:lnTo>
                  <a:lnTo>
                    <a:pt x="94" y="133"/>
                  </a:lnTo>
                  <a:close/>
                  <a:moveTo>
                    <a:pt x="137" y="124"/>
                  </a:move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close/>
                  <a:moveTo>
                    <a:pt x="137" y="124"/>
                  </a:move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lnTo>
                    <a:pt x="137" y="124"/>
                  </a:lnTo>
                  <a:close/>
                  <a:moveTo>
                    <a:pt x="110" y="117"/>
                  </a:move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close/>
                  <a:moveTo>
                    <a:pt x="7" y="43"/>
                  </a:move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close/>
                  <a:moveTo>
                    <a:pt x="4" y="38"/>
                  </a:move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close/>
                  <a:moveTo>
                    <a:pt x="4" y="36"/>
                  </a:move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6"/>
                  </a:lnTo>
                  <a:close/>
                  <a:moveTo>
                    <a:pt x="40" y="21"/>
                  </a:move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40" y="21"/>
                  </a:lnTo>
                  <a:close/>
                  <a:moveTo>
                    <a:pt x="40" y="21"/>
                  </a:move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43" y="5"/>
                  </a:move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close/>
                  <a:moveTo>
                    <a:pt x="45" y="3"/>
                  </a:move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close/>
                  <a:moveTo>
                    <a:pt x="45" y="0"/>
                  </a:move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close/>
                  <a:moveTo>
                    <a:pt x="45" y="0"/>
                  </a:move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3" name="Freeform 620"/>
            <p:cNvSpPr>
              <a:spLocks/>
            </p:cNvSpPr>
            <p:nvPr/>
          </p:nvSpPr>
          <p:spPr bwMode="auto">
            <a:xfrm>
              <a:off x="6035351" y="3818667"/>
              <a:ext cx="262414" cy="349327"/>
            </a:xfrm>
            <a:custGeom>
              <a:avLst/>
              <a:gdLst>
                <a:gd name="T0" fmla="*/ 143 w 157"/>
                <a:gd name="T1" fmla="*/ 5 h 209"/>
                <a:gd name="T2" fmla="*/ 150 w 157"/>
                <a:gd name="T3" fmla="*/ 5 h 209"/>
                <a:gd name="T4" fmla="*/ 157 w 157"/>
                <a:gd name="T5" fmla="*/ 9 h 209"/>
                <a:gd name="T6" fmla="*/ 150 w 157"/>
                <a:gd name="T7" fmla="*/ 27 h 209"/>
                <a:gd name="T8" fmla="*/ 146 w 157"/>
                <a:gd name="T9" fmla="*/ 43 h 209"/>
                <a:gd name="T10" fmla="*/ 141 w 157"/>
                <a:gd name="T11" fmla="*/ 74 h 209"/>
                <a:gd name="T12" fmla="*/ 137 w 157"/>
                <a:gd name="T13" fmla="*/ 104 h 209"/>
                <a:gd name="T14" fmla="*/ 123 w 157"/>
                <a:gd name="T15" fmla="*/ 115 h 209"/>
                <a:gd name="T16" fmla="*/ 116 w 157"/>
                <a:gd name="T17" fmla="*/ 130 h 209"/>
                <a:gd name="T18" fmla="*/ 105 w 157"/>
                <a:gd name="T19" fmla="*/ 142 h 209"/>
                <a:gd name="T20" fmla="*/ 105 w 157"/>
                <a:gd name="T21" fmla="*/ 166 h 209"/>
                <a:gd name="T22" fmla="*/ 98 w 157"/>
                <a:gd name="T23" fmla="*/ 184 h 209"/>
                <a:gd name="T24" fmla="*/ 83 w 157"/>
                <a:gd name="T25" fmla="*/ 196 h 209"/>
                <a:gd name="T26" fmla="*/ 71 w 157"/>
                <a:gd name="T27" fmla="*/ 205 h 209"/>
                <a:gd name="T28" fmla="*/ 67 w 157"/>
                <a:gd name="T29" fmla="*/ 200 h 209"/>
                <a:gd name="T30" fmla="*/ 69 w 157"/>
                <a:gd name="T31" fmla="*/ 191 h 209"/>
                <a:gd name="T32" fmla="*/ 58 w 157"/>
                <a:gd name="T33" fmla="*/ 196 h 209"/>
                <a:gd name="T34" fmla="*/ 53 w 157"/>
                <a:gd name="T35" fmla="*/ 202 h 209"/>
                <a:gd name="T36" fmla="*/ 47 w 157"/>
                <a:gd name="T37" fmla="*/ 202 h 209"/>
                <a:gd name="T38" fmla="*/ 35 w 157"/>
                <a:gd name="T39" fmla="*/ 193 h 209"/>
                <a:gd name="T40" fmla="*/ 26 w 157"/>
                <a:gd name="T41" fmla="*/ 198 h 209"/>
                <a:gd name="T42" fmla="*/ 15 w 157"/>
                <a:gd name="T43" fmla="*/ 205 h 209"/>
                <a:gd name="T44" fmla="*/ 6 w 157"/>
                <a:gd name="T45" fmla="*/ 189 h 209"/>
                <a:gd name="T46" fmla="*/ 6 w 157"/>
                <a:gd name="T47" fmla="*/ 173 h 209"/>
                <a:gd name="T48" fmla="*/ 15 w 157"/>
                <a:gd name="T49" fmla="*/ 173 h 209"/>
                <a:gd name="T50" fmla="*/ 13 w 157"/>
                <a:gd name="T51" fmla="*/ 162 h 209"/>
                <a:gd name="T52" fmla="*/ 8 w 157"/>
                <a:gd name="T53" fmla="*/ 148 h 209"/>
                <a:gd name="T54" fmla="*/ 17 w 157"/>
                <a:gd name="T55" fmla="*/ 144 h 209"/>
                <a:gd name="T56" fmla="*/ 29 w 157"/>
                <a:gd name="T57" fmla="*/ 135 h 209"/>
                <a:gd name="T58" fmla="*/ 35 w 157"/>
                <a:gd name="T59" fmla="*/ 137 h 209"/>
                <a:gd name="T60" fmla="*/ 38 w 157"/>
                <a:gd name="T61" fmla="*/ 142 h 209"/>
                <a:gd name="T62" fmla="*/ 42 w 157"/>
                <a:gd name="T63" fmla="*/ 146 h 209"/>
                <a:gd name="T64" fmla="*/ 51 w 157"/>
                <a:gd name="T65" fmla="*/ 146 h 209"/>
                <a:gd name="T66" fmla="*/ 56 w 157"/>
                <a:gd name="T67" fmla="*/ 139 h 209"/>
                <a:gd name="T68" fmla="*/ 58 w 157"/>
                <a:gd name="T69" fmla="*/ 148 h 209"/>
                <a:gd name="T70" fmla="*/ 62 w 157"/>
                <a:gd name="T71" fmla="*/ 146 h 209"/>
                <a:gd name="T72" fmla="*/ 65 w 157"/>
                <a:gd name="T73" fmla="*/ 137 h 209"/>
                <a:gd name="T74" fmla="*/ 69 w 157"/>
                <a:gd name="T75" fmla="*/ 128 h 209"/>
                <a:gd name="T76" fmla="*/ 71 w 157"/>
                <a:gd name="T77" fmla="*/ 122 h 209"/>
                <a:gd name="T78" fmla="*/ 69 w 157"/>
                <a:gd name="T79" fmla="*/ 115 h 209"/>
                <a:gd name="T80" fmla="*/ 67 w 157"/>
                <a:gd name="T81" fmla="*/ 99 h 209"/>
                <a:gd name="T82" fmla="*/ 58 w 157"/>
                <a:gd name="T83" fmla="*/ 95 h 209"/>
                <a:gd name="T84" fmla="*/ 58 w 157"/>
                <a:gd name="T85" fmla="*/ 88 h 209"/>
                <a:gd name="T86" fmla="*/ 65 w 157"/>
                <a:gd name="T87" fmla="*/ 77 h 209"/>
                <a:gd name="T88" fmla="*/ 67 w 157"/>
                <a:gd name="T89" fmla="*/ 63 h 209"/>
                <a:gd name="T90" fmla="*/ 60 w 157"/>
                <a:gd name="T91" fmla="*/ 56 h 209"/>
                <a:gd name="T92" fmla="*/ 53 w 157"/>
                <a:gd name="T93" fmla="*/ 56 h 209"/>
                <a:gd name="T94" fmla="*/ 42 w 157"/>
                <a:gd name="T95" fmla="*/ 61 h 209"/>
                <a:gd name="T96" fmla="*/ 44 w 157"/>
                <a:gd name="T97" fmla="*/ 54 h 209"/>
                <a:gd name="T98" fmla="*/ 42 w 157"/>
                <a:gd name="T99" fmla="*/ 45 h 209"/>
                <a:gd name="T100" fmla="*/ 44 w 157"/>
                <a:gd name="T101" fmla="*/ 38 h 209"/>
                <a:gd name="T102" fmla="*/ 71 w 157"/>
                <a:gd name="T103" fmla="*/ 36 h 209"/>
                <a:gd name="T104" fmla="*/ 76 w 157"/>
                <a:gd name="T105" fmla="*/ 41 h 209"/>
                <a:gd name="T106" fmla="*/ 83 w 157"/>
                <a:gd name="T107" fmla="*/ 41 h 209"/>
                <a:gd name="T108" fmla="*/ 87 w 157"/>
                <a:gd name="T109" fmla="*/ 43 h 209"/>
                <a:gd name="T110" fmla="*/ 98 w 157"/>
                <a:gd name="T111" fmla="*/ 45 h 209"/>
                <a:gd name="T112" fmla="*/ 103 w 157"/>
                <a:gd name="T113" fmla="*/ 47 h 209"/>
                <a:gd name="T114" fmla="*/ 103 w 157"/>
                <a:gd name="T115" fmla="*/ 41 h 209"/>
                <a:gd name="T116" fmla="*/ 107 w 157"/>
                <a:gd name="T117" fmla="*/ 32 h 209"/>
                <a:gd name="T118" fmla="*/ 114 w 157"/>
                <a:gd name="T119" fmla="*/ 9 h 209"/>
                <a:gd name="T120" fmla="*/ 123 w 157"/>
                <a:gd name="T121" fmla="*/ 5 h 209"/>
                <a:gd name="T122" fmla="*/ 128 w 157"/>
                <a:gd name="T123" fmla="*/ 2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7" h="209">
                  <a:moveTo>
                    <a:pt x="134" y="2"/>
                  </a:moveTo>
                  <a:lnTo>
                    <a:pt x="137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1" y="5"/>
                  </a:lnTo>
                  <a:lnTo>
                    <a:pt x="141" y="5"/>
                  </a:lnTo>
                  <a:lnTo>
                    <a:pt x="141" y="5"/>
                  </a:lnTo>
                  <a:lnTo>
                    <a:pt x="141" y="5"/>
                  </a:lnTo>
                  <a:lnTo>
                    <a:pt x="141" y="5"/>
                  </a:lnTo>
                  <a:lnTo>
                    <a:pt x="141" y="5"/>
                  </a:lnTo>
                  <a:lnTo>
                    <a:pt x="143" y="5"/>
                  </a:lnTo>
                  <a:lnTo>
                    <a:pt x="143" y="5"/>
                  </a:lnTo>
                  <a:lnTo>
                    <a:pt x="143" y="5"/>
                  </a:lnTo>
                  <a:lnTo>
                    <a:pt x="143" y="5"/>
                  </a:lnTo>
                  <a:lnTo>
                    <a:pt x="143" y="5"/>
                  </a:lnTo>
                  <a:lnTo>
                    <a:pt x="143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5" y="5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9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7" y="16"/>
                  </a:lnTo>
                  <a:lnTo>
                    <a:pt x="157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5" y="20"/>
                  </a:lnTo>
                  <a:lnTo>
                    <a:pt x="155" y="20"/>
                  </a:lnTo>
                  <a:lnTo>
                    <a:pt x="155" y="20"/>
                  </a:lnTo>
                  <a:lnTo>
                    <a:pt x="152" y="23"/>
                  </a:lnTo>
                  <a:lnTo>
                    <a:pt x="152" y="23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48" y="29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6" y="43"/>
                  </a:lnTo>
                  <a:lnTo>
                    <a:pt x="146" y="43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52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9"/>
                  </a:lnTo>
                  <a:lnTo>
                    <a:pt x="143" y="61"/>
                  </a:lnTo>
                  <a:lnTo>
                    <a:pt x="143" y="61"/>
                  </a:lnTo>
                  <a:lnTo>
                    <a:pt x="143" y="63"/>
                  </a:lnTo>
                  <a:lnTo>
                    <a:pt x="141" y="63"/>
                  </a:lnTo>
                  <a:lnTo>
                    <a:pt x="141" y="65"/>
                  </a:lnTo>
                  <a:lnTo>
                    <a:pt x="141" y="65"/>
                  </a:lnTo>
                  <a:lnTo>
                    <a:pt x="141" y="68"/>
                  </a:lnTo>
                  <a:lnTo>
                    <a:pt x="141" y="68"/>
                  </a:lnTo>
                  <a:lnTo>
                    <a:pt x="143" y="72"/>
                  </a:lnTo>
                  <a:lnTo>
                    <a:pt x="143" y="72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41" y="74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3" y="79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1" y="83"/>
                  </a:lnTo>
                  <a:lnTo>
                    <a:pt x="139" y="88"/>
                  </a:lnTo>
                  <a:lnTo>
                    <a:pt x="139" y="90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9" y="95"/>
                  </a:lnTo>
                  <a:lnTo>
                    <a:pt x="139" y="97"/>
                  </a:lnTo>
                  <a:lnTo>
                    <a:pt x="139" y="101"/>
                  </a:lnTo>
                  <a:lnTo>
                    <a:pt x="139" y="101"/>
                  </a:lnTo>
                  <a:lnTo>
                    <a:pt x="139" y="101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4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2" y="110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3"/>
                  </a:lnTo>
                  <a:lnTo>
                    <a:pt x="130" y="113"/>
                  </a:lnTo>
                  <a:lnTo>
                    <a:pt x="130" y="113"/>
                  </a:lnTo>
                  <a:lnTo>
                    <a:pt x="130" y="113"/>
                  </a:lnTo>
                  <a:lnTo>
                    <a:pt x="130" y="113"/>
                  </a:lnTo>
                  <a:lnTo>
                    <a:pt x="128" y="113"/>
                  </a:lnTo>
                  <a:lnTo>
                    <a:pt x="128" y="115"/>
                  </a:lnTo>
                  <a:lnTo>
                    <a:pt x="128" y="115"/>
                  </a:lnTo>
                  <a:lnTo>
                    <a:pt x="125" y="115"/>
                  </a:lnTo>
                  <a:lnTo>
                    <a:pt x="125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5"/>
                  </a:lnTo>
                  <a:lnTo>
                    <a:pt x="123" y="117"/>
                  </a:lnTo>
                  <a:lnTo>
                    <a:pt x="121" y="117"/>
                  </a:lnTo>
                  <a:lnTo>
                    <a:pt x="121" y="117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19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16" y="124"/>
                  </a:lnTo>
                  <a:lnTo>
                    <a:pt x="116" y="126"/>
                  </a:lnTo>
                  <a:lnTo>
                    <a:pt x="116" y="126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6" y="128"/>
                  </a:lnTo>
                  <a:lnTo>
                    <a:pt x="116" y="130"/>
                  </a:lnTo>
                  <a:lnTo>
                    <a:pt x="114" y="130"/>
                  </a:lnTo>
                  <a:lnTo>
                    <a:pt x="114" y="130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2" y="135"/>
                  </a:lnTo>
                  <a:lnTo>
                    <a:pt x="110" y="137"/>
                  </a:lnTo>
                  <a:lnTo>
                    <a:pt x="110" y="137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7" y="139"/>
                  </a:lnTo>
                  <a:lnTo>
                    <a:pt x="105" y="142"/>
                  </a:lnTo>
                  <a:lnTo>
                    <a:pt x="105" y="142"/>
                  </a:lnTo>
                  <a:lnTo>
                    <a:pt x="105" y="142"/>
                  </a:lnTo>
                  <a:lnTo>
                    <a:pt x="105" y="142"/>
                  </a:lnTo>
                  <a:lnTo>
                    <a:pt x="105" y="142"/>
                  </a:lnTo>
                  <a:lnTo>
                    <a:pt x="105" y="144"/>
                  </a:lnTo>
                  <a:lnTo>
                    <a:pt x="105" y="144"/>
                  </a:lnTo>
                  <a:lnTo>
                    <a:pt x="105" y="144"/>
                  </a:lnTo>
                  <a:lnTo>
                    <a:pt x="105" y="144"/>
                  </a:lnTo>
                  <a:lnTo>
                    <a:pt x="105" y="144"/>
                  </a:lnTo>
                  <a:lnTo>
                    <a:pt x="105" y="144"/>
                  </a:lnTo>
                  <a:lnTo>
                    <a:pt x="105" y="146"/>
                  </a:lnTo>
                  <a:lnTo>
                    <a:pt x="107" y="151"/>
                  </a:lnTo>
                  <a:lnTo>
                    <a:pt x="107" y="155"/>
                  </a:lnTo>
                  <a:lnTo>
                    <a:pt x="105" y="157"/>
                  </a:lnTo>
                  <a:lnTo>
                    <a:pt x="105" y="157"/>
                  </a:lnTo>
                  <a:lnTo>
                    <a:pt x="105" y="157"/>
                  </a:lnTo>
                  <a:lnTo>
                    <a:pt x="105" y="160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4"/>
                  </a:lnTo>
                  <a:lnTo>
                    <a:pt x="105" y="166"/>
                  </a:lnTo>
                  <a:lnTo>
                    <a:pt x="105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9"/>
                  </a:lnTo>
                  <a:lnTo>
                    <a:pt x="107" y="169"/>
                  </a:lnTo>
                  <a:lnTo>
                    <a:pt x="107" y="169"/>
                  </a:lnTo>
                  <a:lnTo>
                    <a:pt x="105" y="171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3" y="175"/>
                  </a:lnTo>
                  <a:lnTo>
                    <a:pt x="103" y="178"/>
                  </a:lnTo>
                  <a:lnTo>
                    <a:pt x="103" y="178"/>
                  </a:lnTo>
                  <a:lnTo>
                    <a:pt x="103" y="178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1" y="182"/>
                  </a:lnTo>
                  <a:lnTo>
                    <a:pt x="98" y="182"/>
                  </a:lnTo>
                  <a:lnTo>
                    <a:pt x="98" y="184"/>
                  </a:lnTo>
                  <a:lnTo>
                    <a:pt x="98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4" y="184"/>
                  </a:lnTo>
                  <a:lnTo>
                    <a:pt x="92" y="184"/>
                  </a:lnTo>
                  <a:lnTo>
                    <a:pt x="92" y="187"/>
                  </a:lnTo>
                  <a:lnTo>
                    <a:pt x="92" y="187"/>
                  </a:lnTo>
                  <a:lnTo>
                    <a:pt x="92" y="189"/>
                  </a:lnTo>
                  <a:lnTo>
                    <a:pt x="92" y="189"/>
                  </a:lnTo>
                  <a:lnTo>
                    <a:pt x="92" y="189"/>
                  </a:lnTo>
                  <a:lnTo>
                    <a:pt x="92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5" y="191"/>
                  </a:lnTo>
                  <a:lnTo>
                    <a:pt x="85" y="191"/>
                  </a:lnTo>
                  <a:lnTo>
                    <a:pt x="85" y="193"/>
                  </a:lnTo>
                  <a:lnTo>
                    <a:pt x="85" y="193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0" y="200"/>
                  </a:lnTo>
                  <a:lnTo>
                    <a:pt x="78" y="202"/>
                  </a:lnTo>
                  <a:lnTo>
                    <a:pt x="78" y="202"/>
                  </a:lnTo>
                  <a:lnTo>
                    <a:pt x="78" y="205"/>
                  </a:lnTo>
                  <a:lnTo>
                    <a:pt x="76" y="205"/>
                  </a:lnTo>
                  <a:lnTo>
                    <a:pt x="76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4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9" y="202"/>
                  </a:lnTo>
                  <a:lnTo>
                    <a:pt x="69" y="200"/>
                  </a:lnTo>
                  <a:lnTo>
                    <a:pt x="69" y="200"/>
                  </a:lnTo>
                  <a:lnTo>
                    <a:pt x="69" y="200"/>
                  </a:lnTo>
                  <a:lnTo>
                    <a:pt x="69" y="200"/>
                  </a:lnTo>
                  <a:lnTo>
                    <a:pt x="67" y="200"/>
                  </a:lnTo>
                  <a:lnTo>
                    <a:pt x="67" y="200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3"/>
                  </a:lnTo>
                  <a:lnTo>
                    <a:pt x="69" y="193"/>
                  </a:lnTo>
                  <a:lnTo>
                    <a:pt x="69" y="193"/>
                  </a:lnTo>
                  <a:lnTo>
                    <a:pt x="69" y="193"/>
                  </a:lnTo>
                  <a:lnTo>
                    <a:pt x="69" y="193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69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7" y="191"/>
                  </a:lnTo>
                  <a:lnTo>
                    <a:pt x="65" y="191"/>
                  </a:lnTo>
                  <a:lnTo>
                    <a:pt x="65" y="191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2" y="193"/>
                  </a:lnTo>
                  <a:lnTo>
                    <a:pt x="60" y="193"/>
                  </a:lnTo>
                  <a:lnTo>
                    <a:pt x="60" y="193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56" y="196"/>
                  </a:lnTo>
                  <a:lnTo>
                    <a:pt x="56" y="196"/>
                  </a:lnTo>
                  <a:lnTo>
                    <a:pt x="56" y="193"/>
                  </a:lnTo>
                  <a:lnTo>
                    <a:pt x="56" y="193"/>
                  </a:lnTo>
                  <a:lnTo>
                    <a:pt x="53" y="196"/>
                  </a:lnTo>
                  <a:lnTo>
                    <a:pt x="53" y="196"/>
                  </a:lnTo>
                  <a:lnTo>
                    <a:pt x="53" y="196"/>
                  </a:lnTo>
                  <a:lnTo>
                    <a:pt x="53" y="198"/>
                  </a:lnTo>
                  <a:lnTo>
                    <a:pt x="53" y="198"/>
                  </a:lnTo>
                  <a:lnTo>
                    <a:pt x="53" y="198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0"/>
                  </a:lnTo>
                  <a:lnTo>
                    <a:pt x="53" y="202"/>
                  </a:lnTo>
                  <a:lnTo>
                    <a:pt x="53" y="202"/>
                  </a:lnTo>
                  <a:lnTo>
                    <a:pt x="53" y="202"/>
                  </a:lnTo>
                  <a:lnTo>
                    <a:pt x="53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51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2"/>
                  </a:lnTo>
                  <a:lnTo>
                    <a:pt x="49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5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200"/>
                  </a:lnTo>
                  <a:lnTo>
                    <a:pt x="42" y="198"/>
                  </a:lnTo>
                  <a:lnTo>
                    <a:pt x="42" y="198"/>
                  </a:lnTo>
                  <a:lnTo>
                    <a:pt x="42" y="198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0" y="200"/>
                  </a:lnTo>
                  <a:lnTo>
                    <a:pt x="40" y="198"/>
                  </a:lnTo>
                  <a:lnTo>
                    <a:pt x="38" y="198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5" y="193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3" y="193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8"/>
                  </a:lnTo>
                  <a:lnTo>
                    <a:pt x="31" y="198"/>
                  </a:lnTo>
                  <a:lnTo>
                    <a:pt x="31" y="198"/>
                  </a:lnTo>
                  <a:lnTo>
                    <a:pt x="29" y="198"/>
                  </a:lnTo>
                  <a:lnTo>
                    <a:pt x="26" y="198"/>
                  </a:lnTo>
                  <a:lnTo>
                    <a:pt x="26" y="198"/>
                  </a:lnTo>
                  <a:lnTo>
                    <a:pt x="26" y="198"/>
                  </a:lnTo>
                  <a:lnTo>
                    <a:pt x="26" y="198"/>
                  </a:lnTo>
                  <a:lnTo>
                    <a:pt x="26" y="200"/>
                  </a:lnTo>
                  <a:lnTo>
                    <a:pt x="26" y="200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4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2" y="202"/>
                  </a:lnTo>
                  <a:lnTo>
                    <a:pt x="22" y="205"/>
                  </a:lnTo>
                  <a:lnTo>
                    <a:pt x="20" y="207"/>
                  </a:lnTo>
                  <a:lnTo>
                    <a:pt x="17" y="209"/>
                  </a:lnTo>
                  <a:lnTo>
                    <a:pt x="17" y="209"/>
                  </a:lnTo>
                  <a:lnTo>
                    <a:pt x="17" y="207"/>
                  </a:lnTo>
                  <a:lnTo>
                    <a:pt x="17" y="207"/>
                  </a:lnTo>
                  <a:lnTo>
                    <a:pt x="15" y="205"/>
                  </a:lnTo>
                  <a:lnTo>
                    <a:pt x="15" y="205"/>
                  </a:lnTo>
                  <a:lnTo>
                    <a:pt x="15" y="205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2"/>
                  </a:lnTo>
                  <a:lnTo>
                    <a:pt x="13" y="200"/>
                  </a:lnTo>
                  <a:lnTo>
                    <a:pt x="13" y="200"/>
                  </a:lnTo>
                  <a:lnTo>
                    <a:pt x="13" y="200"/>
                  </a:lnTo>
                  <a:lnTo>
                    <a:pt x="13" y="200"/>
                  </a:lnTo>
                  <a:lnTo>
                    <a:pt x="13" y="198"/>
                  </a:lnTo>
                  <a:lnTo>
                    <a:pt x="13" y="198"/>
                  </a:lnTo>
                  <a:lnTo>
                    <a:pt x="11" y="196"/>
                  </a:lnTo>
                  <a:lnTo>
                    <a:pt x="8" y="193"/>
                  </a:lnTo>
                  <a:lnTo>
                    <a:pt x="6" y="191"/>
                  </a:lnTo>
                  <a:lnTo>
                    <a:pt x="6" y="191"/>
                  </a:lnTo>
                  <a:lnTo>
                    <a:pt x="6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7"/>
                  </a:lnTo>
                  <a:lnTo>
                    <a:pt x="4" y="187"/>
                  </a:lnTo>
                  <a:lnTo>
                    <a:pt x="4" y="187"/>
                  </a:lnTo>
                  <a:lnTo>
                    <a:pt x="2" y="18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2" y="178"/>
                  </a:lnTo>
                  <a:lnTo>
                    <a:pt x="2" y="178"/>
                  </a:lnTo>
                  <a:lnTo>
                    <a:pt x="2" y="175"/>
                  </a:lnTo>
                  <a:lnTo>
                    <a:pt x="2" y="175"/>
                  </a:lnTo>
                  <a:lnTo>
                    <a:pt x="4" y="175"/>
                  </a:lnTo>
                  <a:lnTo>
                    <a:pt x="4" y="175"/>
                  </a:lnTo>
                  <a:lnTo>
                    <a:pt x="4" y="175"/>
                  </a:lnTo>
                  <a:lnTo>
                    <a:pt x="6" y="175"/>
                  </a:lnTo>
                  <a:lnTo>
                    <a:pt x="6" y="173"/>
                  </a:lnTo>
                  <a:lnTo>
                    <a:pt x="6" y="173"/>
                  </a:lnTo>
                  <a:lnTo>
                    <a:pt x="6" y="173"/>
                  </a:lnTo>
                  <a:lnTo>
                    <a:pt x="8" y="173"/>
                  </a:lnTo>
                  <a:lnTo>
                    <a:pt x="8" y="173"/>
                  </a:lnTo>
                  <a:lnTo>
                    <a:pt x="11" y="175"/>
                  </a:lnTo>
                  <a:lnTo>
                    <a:pt x="11" y="178"/>
                  </a:lnTo>
                  <a:lnTo>
                    <a:pt x="11" y="178"/>
                  </a:lnTo>
                  <a:lnTo>
                    <a:pt x="13" y="178"/>
                  </a:lnTo>
                  <a:lnTo>
                    <a:pt x="13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5"/>
                  </a:lnTo>
                  <a:lnTo>
                    <a:pt x="15" y="175"/>
                  </a:lnTo>
                  <a:lnTo>
                    <a:pt x="15" y="175"/>
                  </a:lnTo>
                  <a:lnTo>
                    <a:pt x="15" y="175"/>
                  </a:lnTo>
                  <a:lnTo>
                    <a:pt x="15" y="175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5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4"/>
                  </a:lnTo>
                  <a:lnTo>
                    <a:pt x="11" y="162"/>
                  </a:lnTo>
                  <a:lnTo>
                    <a:pt x="11" y="162"/>
                  </a:lnTo>
                  <a:lnTo>
                    <a:pt x="11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11" y="155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11" y="153"/>
                  </a:lnTo>
                  <a:lnTo>
                    <a:pt x="11" y="153"/>
                  </a:lnTo>
                  <a:lnTo>
                    <a:pt x="11" y="151"/>
                  </a:lnTo>
                  <a:lnTo>
                    <a:pt x="11" y="151"/>
                  </a:lnTo>
                  <a:lnTo>
                    <a:pt x="11" y="151"/>
                  </a:lnTo>
                  <a:lnTo>
                    <a:pt x="11" y="151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6"/>
                  </a:lnTo>
                  <a:lnTo>
                    <a:pt x="11" y="146"/>
                  </a:lnTo>
                  <a:lnTo>
                    <a:pt x="11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3" y="146"/>
                  </a:lnTo>
                  <a:lnTo>
                    <a:pt x="15" y="146"/>
                  </a:lnTo>
                  <a:lnTo>
                    <a:pt x="15" y="146"/>
                  </a:lnTo>
                  <a:lnTo>
                    <a:pt x="15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7" y="146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9" y="144"/>
                  </a:lnTo>
                  <a:lnTo>
                    <a:pt x="26" y="144"/>
                  </a:lnTo>
                  <a:lnTo>
                    <a:pt x="29" y="144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6" y="137"/>
                  </a:lnTo>
                  <a:lnTo>
                    <a:pt x="26" y="137"/>
                  </a:lnTo>
                  <a:lnTo>
                    <a:pt x="26" y="135"/>
                  </a:lnTo>
                  <a:lnTo>
                    <a:pt x="26" y="133"/>
                  </a:lnTo>
                  <a:lnTo>
                    <a:pt x="26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3" y="133"/>
                  </a:lnTo>
                  <a:lnTo>
                    <a:pt x="33" y="135"/>
                  </a:lnTo>
                  <a:lnTo>
                    <a:pt x="35" y="135"/>
                  </a:lnTo>
                  <a:lnTo>
                    <a:pt x="35" y="135"/>
                  </a:lnTo>
                  <a:lnTo>
                    <a:pt x="35" y="135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5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39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2" y="146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51" y="146"/>
                  </a:lnTo>
                  <a:lnTo>
                    <a:pt x="51" y="146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1" y="144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3" y="142"/>
                  </a:lnTo>
                  <a:lnTo>
                    <a:pt x="53" y="139"/>
                  </a:lnTo>
                  <a:lnTo>
                    <a:pt x="53" y="139"/>
                  </a:lnTo>
                  <a:lnTo>
                    <a:pt x="53" y="139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6" y="139"/>
                  </a:lnTo>
                  <a:lnTo>
                    <a:pt x="56" y="142"/>
                  </a:lnTo>
                  <a:lnTo>
                    <a:pt x="56" y="142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8" y="146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58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5" y="146"/>
                  </a:lnTo>
                  <a:lnTo>
                    <a:pt x="65" y="146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2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7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7" y="135"/>
                  </a:lnTo>
                  <a:lnTo>
                    <a:pt x="69" y="135"/>
                  </a:lnTo>
                  <a:lnTo>
                    <a:pt x="69" y="135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7" y="128"/>
                  </a:lnTo>
                  <a:lnTo>
                    <a:pt x="67" y="128"/>
                  </a:lnTo>
                  <a:lnTo>
                    <a:pt x="67" y="128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71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22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4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6" y="95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1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5" y="59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1" y="56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9" y="38"/>
                  </a:lnTo>
                  <a:lnTo>
                    <a:pt x="51" y="38"/>
                  </a:lnTo>
                  <a:lnTo>
                    <a:pt x="56" y="38"/>
                  </a:lnTo>
                  <a:lnTo>
                    <a:pt x="60" y="38"/>
                  </a:lnTo>
                  <a:lnTo>
                    <a:pt x="62" y="38"/>
                  </a:lnTo>
                  <a:lnTo>
                    <a:pt x="65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4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50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5"/>
                  </a:lnTo>
                  <a:lnTo>
                    <a:pt x="105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4"/>
                  </a:lnTo>
                  <a:lnTo>
                    <a:pt x="107" y="32"/>
                  </a:lnTo>
                  <a:lnTo>
                    <a:pt x="110" y="29"/>
                  </a:lnTo>
                  <a:lnTo>
                    <a:pt x="110" y="27"/>
                  </a:lnTo>
                  <a:lnTo>
                    <a:pt x="112" y="25"/>
                  </a:lnTo>
                  <a:lnTo>
                    <a:pt x="112" y="23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20"/>
                  </a:lnTo>
                  <a:lnTo>
                    <a:pt x="112" y="18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4" y="9"/>
                  </a:lnTo>
                  <a:lnTo>
                    <a:pt x="114" y="7"/>
                  </a:lnTo>
                  <a:lnTo>
                    <a:pt x="114" y="7"/>
                  </a:lnTo>
                  <a:lnTo>
                    <a:pt x="114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5" y="5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4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4" name="Freeform 621"/>
            <p:cNvSpPr>
              <a:spLocks noEditPoints="1"/>
            </p:cNvSpPr>
            <p:nvPr/>
          </p:nvSpPr>
          <p:spPr bwMode="auto">
            <a:xfrm>
              <a:off x="6072123" y="3755152"/>
              <a:ext cx="671913" cy="747126"/>
            </a:xfrm>
            <a:custGeom>
              <a:avLst/>
              <a:gdLst>
                <a:gd name="T0" fmla="*/ 285 w 402"/>
                <a:gd name="T1" fmla="*/ 2 h 447"/>
                <a:gd name="T2" fmla="*/ 292 w 402"/>
                <a:gd name="T3" fmla="*/ 2 h 447"/>
                <a:gd name="T4" fmla="*/ 301 w 402"/>
                <a:gd name="T5" fmla="*/ 7 h 447"/>
                <a:gd name="T6" fmla="*/ 319 w 402"/>
                <a:gd name="T7" fmla="*/ 7 h 447"/>
                <a:gd name="T8" fmla="*/ 330 w 402"/>
                <a:gd name="T9" fmla="*/ 18 h 447"/>
                <a:gd name="T10" fmla="*/ 344 w 402"/>
                <a:gd name="T11" fmla="*/ 22 h 447"/>
                <a:gd name="T12" fmla="*/ 362 w 402"/>
                <a:gd name="T13" fmla="*/ 20 h 447"/>
                <a:gd name="T14" fmla="*/ 373 w 402"/>
                <a:gd name="T15" fmla="*/ 25 h 447"/>
                <a:gd name="T16" fmla="*/ 386 w 402"/>
                <a:gd name="T17" fmla="*/ 40 h 447"/>
                <a:gd name="T18" fmla="*/ 391 w 402"/>
                <a:gd name="T19" fmla="*/ 56 h 447"/>
                <a:gd name="T20" fmla="*/ 395 w 402"/>
                <a:gd name="T21" fmla="*/ 72 h 447"/>
                <a:gd name="T22" fmla="*/ 380 w 402"/>
                <a:gd name="T23" fmla="*/ 103 h 447"/>
                <a:gd name="T24" fmla="*/ 366 w 402"/>
                <a:gd name="T25" fmla="*/ 142 h 447"/>
                <a:gd name="T26" fmla="*/ 362 w 402"/>
                <a:gd name="T27" fmla="*/ 162 h 447"/>
                <a:gd name="T28" fmla="*/ 350 w 402"/>
                <a:gd name="T29" fmla="*/ 189 h 447"/>
                <a:gd name="T30" fmla="*/ 357 w 402"/>
                <a:gd name="T31" fmla="*/ 207 h 447"/>
                <a:gd name="T32" fmla="*/ 386 w 402"/>
                <a:gd name="T33" fmla="*/ 315 h 447"/>
                <a:gd name="T34" fmla="*/ 341 w 402"/>
                <a:gd name="T35" fmla="*/ 355 h 447"/>
                <a:gd name="T36" fmla="*/ 344 w 402"/>
                <a:gd name="T37" fmla="*/ 378 h 447"/>
                <a:gd name="T38" fmla="*/ 339 w 402"/>
                <a:gd name="T39" fmla="*/ 393 h 447"/>
                <a:gd name="T40" fmla="*/ 344 w 402"/>
                <a:gd name="T41" fmla="*/ 414 h 447"/>
                <a:gd name="T42" fmla="*/ 359 w 402"/>
                <a:gd name="T43" fmla="*/ 423 h 447"/>
                <a:gd name="T44" fmla="*/ 362 w 402"/>
                <a:gd name="T45" fmla="*/ 445 h 447"/>
                <a:gd name="T46" fmla="*/ 348 w 402"/>
                <a:gd name="T47" fmla="*/ 445 h 447"/>
                <a:gd name="T48" fmla="*/ 337 w 402"/>
                <a:gd name="T49" fmla="*/ 425 h 447"/>
                <a:gd name="T50" fmla="*/ 312 w 402"/>
                <a:gd name="T51" fmla="*/ 402 h 447"/>
                <a:gd name="T52" fmla="*/ 292 w 402"/>
                <a:gd name="T53" fmla="*/ 411 h 447"/>
                <a:gd name="T54" fmla="*/ 274 w 402"/>
                <a:gd name="T55" fmla="*/ 405 h 447"/>
                <a:gd name="T56" fmla="*/ 258 w 402"/>
                <a:gd name="T57" fmla="*/ 398 h 447"/>
                <a:gd name="T58" fmla="*/ 247 w 402"/>
                <a:gd name="T59" fmla="*/ 389 h 447"/>
                <a:gd name="T60" fmla="*/ 218 w 402"/>
                <a:gd name="T61" fmla="*/ 391 h 447"/>
                <a:gd name="T62" fmla="*/ 209 w 402"/>
                <a:gd name="T63" fmla="*/ 375 h 447"/>
                <a:gd name="T64" fmla="*/ 202 w 402"/>
                <a:gd name="T65" fmla="*/ 346 h 447"/>
                <a:gd name="T66" fmla="*/ 200 w 402"/>
                <a:gd name="T67" fmla="*/ 312 h 447"/>
                <a:gd name="T68" fmla="*/ 193 w 402"/>
                <a:gd name="T69" fmla="*/ 301 h 447"/>
                <a:gd name="T70" fmla="*/ 155 w 402"/>
                <a:gd name="T71" fmla="*/ 294 h 447"/>
                <a:gd name="T72" fmla="*/ 137 w 402"/>
                <a:gd name="T73" fmla="*/ 317 h 447"/>
                <a:gd name="T74" fmla="*/ 110 w 402"/>
                <a:gd name="T75" fmla="*/ 317 h 447"/>
                <a:gd name="T76" fmla="*/ 106 w 402"/>
                <a:gd name="T77" fmla="*/ 310 h 447"/>
                <a:gd name="T78" fmla="*/ 99 w 402"/>
                <a:gd name="T79" fmla="*/ 294 h 447"/>
                <a:gd name="T80" fmla="*/ 94 w 402"/>
                <a:gd name="T81" fmla="*/ 279 h 447"/>
                <a:gd name="T82" fmla="*/ 85 w 402"/>
                <a:gd name="T83" fmla="*/ 267 h 447"/>
                <a:gd name="T84" fmla="*/ 22 w 402"/>
                <a:gd name="T85" fmla="*/ 267 h 447"/>
                <a:gd name="T86" fmla="*/ 4 w 402"/>
                <a:gd name="T87" fmla="*/ 270 h 447"/>
                <a:gd name="T88" fmla="*/ 11 w 402"/>
                <a:gd name="T89" fmla="*/ 240 h 447"/>
                <a:gd name="T90" fmla="*/ 31 w 402"/>
                <a:gd name="T91" fmla="*/ 238 h 447"/>
                <a:gd name="T92" fmla="*/ 47 w 402"/>
                <a:gd name="T93" fmla="*/ 231 h 447"/>
                <a:gd name="T94" fmla="*/ 52 w 402"/>
                <a:gd name="T95" fmla="*/ 243 h 447"/>
                <a:gd name="T96" fmla="*/ 83 w 402"/>
                <a:gd name="T97" fmla="*/ 211 h 447"/>
                <a:gd name="T98" fmla="*/ 90 w 402"/>
                <a:gd name="T99" fmla="*/ 173 h 447"/>
                <a:gd name="T100" fmla="*/ 115 w 402"/>
                <a:gd name="T101" fmla="*/ 142 h 447"/>
                <a:gd name="T102" fmla="*/ 124 w 402"/>
                <a:gd name="T103" fmla="*/ 81 h 447"/>
                <a:gd name="T104" fmla="*/ 135 w 402"/>
                <a:gd name="T105" fmla="*/ 38 h 447"/>
                <a:gd name="T106" fmla="*/ 144 w 402"/>
                <a:gd name="T107" fmla="*/ 11 h 447"/>
                <a:gd name="T108" fmla="*/ 173 w 402"/>
                <a:gd name="T109" fmla="*/ 16 h 447"/>
                <a:gd name="T110" fmla="*/ 193 w 402"/>
                <a:gd name="T111" fmla="*/ 25 h 447"/>
                <a:gd name="T112" fmla="*/ 216 w 402"/>
                <a:gd name="T113" fmla="*/ 29 h 447"/>
                <a:gd name="T114" fmla="*/ 222 w 402"/>
                <a:gd name="T115" fmla="*/ 16 h 447"/>
                <a:gd name="T116" fmla="*/ 236 w 402"/>
                <a:gd name="T117" fmla="*/ 18 h 447"/>
                <a:gd name="T118" fmla="*/ 252 w 402"/>
                <a:gd name="T119" fmla="*/ 11 h 447"/>
                <a:gd name="T120" fmla="*/ 261 w 402"/>
                <a:gd name="T121" fmla="*/ 9 h 447"/>
                <a:gd name="T122" fmla="*/ 276 w 402"/>
                <a:gd name="T123" fmla="*/ 7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02" h="447">
                  <a:moveTo>
                    <a:pt x="13" y="265"/>
                  </a:moveTo>
                  <a:lnTo>
                    <a:pt x="16" y="267"/>
                  </a:lnTo>
                  <a:lnTo>
                    <a:pt x="16" y="265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3" y="267"/>
                  </a:lnTo>
                  <a:lnTo>
                    <a:pt x="13" y="267"/>
                  </a:lnTo>
                  <a:lnTo>
                    <a:pt x="13" y="267"/>
                  </a:lnTo>
                  <a:lnTo>
                    <a:pt x="11" y="267"/>
                  </a:lnTo>
                  <a:lnTo>
                    <a:pt x="11" y="270"/>
                  </a:lnTo>
                  <a:lnTo>
                    <a:pt x="11" y="270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3" y="267"/>
                  </a:lnTo>
                  <a:lnTo>
                    <a:pt x="13" y="265"/>
                  </a:lnTo>
                  <a:close/>
                  <a:moveTo>
                    <a:pt x="281" y="0"/>
                  </a:move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4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5" y="2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88" y="4"/>
                  </a:lnTo>
                  <a:lnTo>
                    <a:pt x="288" y="4"/>
                  </a:lnTo>
                  <a:lnTo>
                    <a:pt x="288" y="4"/>
                  </a:lnTo>
                  <a:lnTo>
                    <a:pt x="288" y="2"/>
                  </a:lnTo>
                  <a:lnTo>
                    <a:pt x="288" y="2"/>
                  </a:lnTo>
                  <a:lnTo>
                    <a:pt x="290" y="2"/>
                  </a:lnTo>
                  <a:lnTo>
                    <a:pt x="288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2"/>
                  </a:lnTo>
                  <a:lnTo>
                    <a:pt x="294" y="4"/>
                  </a:lnTo>
                  <a:lnTo>
                    <a:pt x="294" y="4"/>
                  </a:lnTo>
                  <a:lnTo>
                    <a:pt x="294" y="4"/>
                  </a:lnTo>
                  <a:lnTo>
                    <a:pt x="294" y="4"/>
                  </a:lnTo>
                  <a:lnTo>
                    <a:pt x="294" y="4"/>
                  </a:lnTo>
                  <a:lnTo>
                    <a:pt x="294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299" y="7"/>
                  </a:lnTo>
                  <a:lnTo>
                    <a:pt x="299" y="7"/>
                  </a:lnTo>
                  <a:lnTo>
                    <a:pt x="299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3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6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08" y="7"/>
                  </a:lnTo>
                  <a:lnTo>
                    <a:pt x="310" y="4"/>
                  </a:lnTo>
                  <a:lnTo>
                    <a:pt x="310" y="4"/>
                  </a:lnTo>
                  <a:lnTo>
                    <a:pt x="310" y="4"/>
                  </a:lnTo>
                  <a:lnTo>
                    <a:pt x="310" y="4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4" y="4"/>
                  </a:lnTo>
                  <a:lnTo>
                    <a:pt x="314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7" y="4"/>
                  </a:lnTo>
                  <a:lnTo>
                    <a:pt x="317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9"/>
                  </a:lnTo>
                  <a:lnTo>
                    <a:pt x="319" y="9"/>
                  </a:lnTo>
                  <a:lnTo>
                    <a:pt x="319" y="9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9"/>
                  </a:lnTo>
                  <a:lnTo>
                    <a:pt x="321" y="11"/>
                  </a:lnTo>
                  <a:lnTo>
                    <a:pt x="321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6" y="11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3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28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0" y="18"/>
                  </a:lnTo>
                  <a:lnTo>
                    <a:pt x="332" y="18"/>
                  </a:lnTo>
                  <a:lnTo>
                    <a:pt x="332" y="18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2" y="20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0"/>
                  </a:lnTo>
                  <a:lnTo>
                    <a:pt x="335" y="20"/>
                  </a:lnTo>
                  <a:lnTo>
                    <a:pt x="335" y="22"/>
                  </a:lnTo>
                  <a:lnTo>
                    <a:pt x="335" y="22"/>
                  </a:lnTo>
                  <a:lnTo>
                    <a:pt x="335" y="22"/>
                  </a:lnTo>
                  <a:lnTo>
                    <a:pt x="335" y="22"/>
                  </a:lnTo>
                  <a:lnTo>
                    <a:pt x="335" y="22"/>
                  </a:lnTo>
                  <a:lnTo>
                    <a:pt x="337" y="25"/>
                  </a:lnTo>
                  <a:lnTo>
                    <a:pt x="337" y="22"/>
                  </a:lnTo>
                  <a:lnTo>
                    <a:pt x="339" y="22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39" y="25"/>
                  </a:lnTo>
                  <a:lnTo>
                    <a:pt x="341" y="25"/>
                  </a:lnTo>
                  <a:lnTo>
                    <a:pt x="341" y="25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4" y="22"/>
                  </a:lnTo>
                  <a:lnTo>
                    <a:pt x="346" y="22"/>
                  </a:lnTo>
                  <a:lnTo>
                    <a:pt x="346" y="22"/>
                  </a:lnTo>
                  <a:lnTo>
                    <a:pt x="346" y="20"/>
                  </a:lnTo>
                  <a:lnTo>
                    <a:pt x="346" y="20"/>
                  </a:lnTo>
                  <a:lnTo>
                    <a:pt x="346" y="20"/>
                  </a:lnTo>
                  <a:lnTo>
                    <a:pt x="346" y="20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18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48" y="20"/>
                  </a:lnTo>
                  <a:lnTo>
                    <a:pt x="350" y="20"/>
                  </a:lnTo>
                  <a:lnTo>
                    <a:pt x="350" y="20"/>
                  </a:lnTo>
                  <a:lnTo>
                    <a:pt x="350" y="20"/>
                  </a:lnTo>
                  <a:lnTo>
                    <a:pt x="353" y="20"/>
                  </a:lnTo>
                  <a:lnTo>
                    <a:pt x="353" y="20"/>
                  </a:lnTo>
                  <a:lnTo>
                    <a:pt x="353" y="20"/>
                  </a:lnTo>
                  <a:lnTo>
                    <a:pt x="355" y="20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7" y="22"/>
                  </a:lnTo>
                  <a:lnTo>
                    <a:pt x="357" y="25"/>
                  </a:lnTo>
                  <a:lnTo>
                    <a:pt x="357" y="25"/>
                  </a:lnTo>
                  <a:lnTo>
                    <a:pt x="357" y="22"/>
                  </a:lnTo>
                  <a:lnTo>
                    <a:pt x="357" y="22"/>
                  </a:lnTo>
                  <a:lnTo>
                    <a:pt x="357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2"/>
                  </a:lnTo>
                  <a:lnTo>
                    <a:pt x="359" y="20"/>
                  </a:lnTo>
                  <a:lnTo>
                    <a:pt x="362" y="20"/>
                  </a:lnTo>
                  <a:lnTo>
                    <a:pt x="362" y="20"/>
                  </a:lnTo>
                  <a:lnTo>
                    <a:pt x="362" y="20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8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2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4" y="16"/>
                  </a:lnTo>
                  <a:lnTo>
                    <a:pt x="366" y="16"/>
                  </a:lnTo>
                  <a:lnTo>
                    <a:pt x="366" y="16"/>
                  </a:lnTo>
                  <a:lnTo>
                    <a:pt x="366" y="18"/>
                  </a:lnTo>
                  <a:lnTo>
                    <a:pt x="366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8" y="20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71" y="22"/>
                  </a:lnTo>
                  <a:lnTo>
                    <a:pt x="371" y="22"/>
                  </a:lnTo>
                  <a:lnTo>
                    <a:pt x="371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5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3" y="27"/>
                  </a:lnTo>
                  <a:lnTo>
                    <a:pt x="375" y="29"/>
                  </a:lnTo>
                  <a:lnTo>
                    <a:pt x="375" y="29"/>
                  </a:lnTo>
                  <a:lnTo>
                    <a:pt x="375" y="29"/>
                  </a:lnTo>
                  <a:lnTo>
                    <a:pt x="375" y="29"/>
                  </a:lnTo>
                  <a:lnTo>
                    <a:pt x="377" y="29"/>
                  </a:lnTo>
                  <a:lnTo>
                    <a:pt x="377" y="29"/>
                  </a:lnTo>
                  <a:lnTo>
                    <a:pt x="377" y="31"/>
                  </a:lnTo>
                  <a:lnTo>
                    <a:pt x="377" y="31"/>
                  </a:lnTo>
                  <a:lnTo>
                    <a:pt x="377" y="31"/>
                  </a:lnTo>
                  <a:lnTo>
                    <a:pt x="377" y="31"/>
                  </a:lnTo>
                  <a:lnTo>
                    <a:pt x="377" y="31"/>
                  </a:lnTo>
                  <a:lnTo>
                    <a:pt x="377" y="31"/>
                  </a:lnTo>
                  <a:lnTo>
                    <a:pt x="377" y="34"/>
                  </a:lnTo>
                  <a:lnTo>
                    <a:pt x="377" y="34"/>
                  </a:lnTo>
                  <a:lnTo>
                    <a:pt x="377" y="34"/>
                  </a:lnTo>
                  <a:lnTo>
                    <a:pt x="380" y="34"/>
                  </a:lnTo>
                  <a:lnTo>
                    <a:pt x="382" y="34"/>
                  </a:lnTo>
                  <a:lnTo>
                    <a:pt x="382" y="34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4" y="36"/>
                  </a:lnTo>
                  <a:lnTo>
                    <a:pt x="386" y="38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6" y="40"/>
                  </a:lnTo>
                  <a:lnTo>
                    <a:pt x="389" y="40"/>
                  </a:lnTo>
                  <a:lnTo>
                    <a:pt x="389" y="40"/>
                  </a:lnTo>
                  <a:lnTo>
                    <a:pt x="389" y="40"/>
                  </a:lnTo>
                  <a:lnTo>
                    <a:pt x="389" y="40"/>
                  </a:lnTo>
                  <a:lnTo>
                    <a:pt x="389" y="40"/>
                  </a:lnTo>
                  <a:lnTo>
                    <a:pt x="389" y="40"/>
                  </a:lnTo>
                  <a:lnTo>
                    <a:pt x="391" y="40"/>
                  </a:lnTo>
                  <a:lnTo>
                    <a:pt x="391" y="40"/>
                  </a:lnTo>
                  <a:lnTo>
                    <a:pt x="391" y="40"/>
                  </a:lnTo>
                  <a:lnTo>
                    <a:pt x="391" y="40"/>
                  </a:lnTo>
                  <a:lnTo>
                    <a:pt x="391" y="40"/>
                  </a:lnTo>
                  <a:lnTo>
                    <a:pt x="391" y="43"/>
                  </a:lnTo>
                  <a:lnTo>
                    <a:pt x="391" y="43"/>
                  </a:lnTo>
                  <a:lnTo>
                    <a:pt x="391" y="43"/>
                  </a:lnTo>
                  <a:lnTo>
                    <a:pt x="391" y="45"/>
                  </a:lnTo>
                  <a:lnTo>
                    <a:pt x="393" y="43"/>
                  </a:lnTo>
                  <a:lnTo>
                    <a:pt x="393" y="43"/>
                  </a:lnTo>
                  <a:lnTo>
                    <a:pt x="393" y="43"/>
                  </a:lnTo>
                  <a:lnTo>
                    <a:pt x="393" y="43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3" y="45"/>
                  </a:lnTo>
                  <a:lnTo>
                    <a:pt x="393" y="47"/>
                  </a:lnTo>
                  <a:lnTo>
                    <a:pt x="393" y="47"/>
                  </a:lnTo>
                  <a:lnTo>
                    <a:pt x="393" y="47"/>
                  </a:lnTo>
                  <a:lnTo>
                    <a:pt x="391" y="47"/>
                  </a:lnTo>
                  <a:lnTo>
                    <a:pt x="391" y="49"/>
                  </a:lnTo>
                  <a:lnTo>
                    <a:pt x="391" y="49"/>
                  </a:lnTo>
                  <a:lnTo>
                    <a:pt x="391" y="49"/>
                  </a:lnTo>
                  <a:lnTo>
                    <a:pt x="391" y="49"/>
                  </a:lnTo>
                  <a:lnTo>
                    <a:pt x="391" y="49"/>
                  </a:lnTo>
                  <a:lnTo>
                    <a:pt x="391" y="49"/>
                  </a:lnTo>
                  <a:lnTo>
                    <a:pt x="391" y="49"/>
                  </a:lnTo>
                  <a:lnTo>
                    <a:pt x="391" y="54"/>
                  </a:lnTo>
                  <a:lnTo>
                    <a:pt x="389" y="54"/>
                  </a:lnTo>
                  <a:lnTo>
                    <a:pt x="389" y="54"/>
                  </a:lnTo>
                  <a:lnTo>
                    <a:pt x="391" y="56"/>
                  </a:lnTo>
                  <a:lnTo>
                    <a:pt x="391" y="56"/>
                  </a:lnTo>
                  <a:lnTo>
                    <a:pt x="391" y="56"/>
                  </a:lnTo>
                  <a:lnTo>
                    <a:pt x="391" y="56"/>
                  </a:lnTo>
                  <a:lnTo>
                    <a:pt x="393" y="58"/>
                  </a:lnTo>
                  <a:lnTo>
                    <a:pt x="393" y="58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1"/>
                  </a:lnTo>
                  <a:lnTo>
                    <a:pt x="391" y="63"/>
                  </a:lnTo>
                  <a:lnTo>
                    <a:pt x="391" y="65"/>
                  </a:lnTo>
                  <a:lnTo>
                    <a:pt x="391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9" y="67"/>
                  </a:lnTo>
                  <a:lnTo>
                    <a:pt x="389" y="67"/>
                  </a:lnTo>
                  <a:lnTo>
                    <a:pt x="389" y="67"/>
                  </a:lnTo>
                  <a:lnTo>
                    <a:pt x="389" y="67"/>
                  </a:lnTo>
                  <a:lnTo>
                    <a:pt x="389" y="67"/>
                  </a:lnTo>
                  <a:lnTo>
                    <a:pt x="389" y="70"/>
                  </a:lnTo>
                  <a:lnTo>
                    <a:pt x="389" y="70"/>
                  </a:lnTo>
                  <a:lnTo>
                    <a:pt x="391" y="70"/>
                  </a:lnTo>
                  <a:lnTo>
                    <a:pt x="391" y="70"/>
                  </a:lnTo>
                  <a:lnTo>
                    <a:pt x="391" y="70"/>
                  </a:lnTo>
                  <a:lnTo>
                    <a:pt x="391" y="70"/>
                  </a:lnTo>
                  <a:lnTo>
                    <a:pt x="391" y="70"/>
                  </a:lnTo>
                  <a:lnTo>
                    <a:pt x="391" y="70"/>
                  </a:lnTo>
                  <a:lnTo>
                    <a:pt x="391" y="72"/>
                  </a:lnTo>
                  <a:lnTo>
                    <a:pt x="393" y="72"/>
                  </a:lnTo>
                  <a:lnTo>
                    <a:pt x="393" y="72"/>
                  </a:lnTo>
                  <a:lnTo>
                    <a:pt x="393" y="72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5" y="70"/>
                  </a:lnTo>
                  <a:lnTo>
                    <a:pt x="395" y="70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5" y="72"/>
                  </a:lnTo>
                  <a:lnTo>
                    <a:pt x="398" y="72"/>
                  </a:lnTo>
                  <a:lnTo>
                    <a:pt x="398" y="72"/>
                  </a:lnTo>
                  <a:lnTo>
                    <a:pt x="398" y="72"/>
                  </a:lnTo>
                  <a:lnTo>
                    <a:pt x="400" y="72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6"/>
                  </a:lnTo>
                  <a:lnTo>
                    <a:pt x="402" y="76"/>
                  </a:lnTo>
                  <a:lnTo>
                    <a:pt x="400" y="76"/>
                  </a:lnTo>
                  <a:lnTo>
                    <a:pt x="400" y="79"/>
                  </a:lnTo>
                  <a:lnTo>
                    <a:pt x="400" y="81"/>
                  </a:lnTo>
                  <a:lnTo>
                    <a:pt x="398" y="81"/>
                  </a:lnTo>
                  <a:lnTo>
                    <a:pt x="395" y="85"/>
                  </a:lnTo>
                  <a:lnTo>
                    <a:pt x="395" y="85"/>
                  </a:lnTo>
                  <a:lnTo>
                    <a:pt x="391" y="88"/>
                  </a:lnTo>
                  <a:lnTo>
                    <a:pt x="389" y="92"/>
                  </a:lnTo>
                  <a:lnTo>
                    <a:pt x="386" y="94"/>
                  </a:lnTo>
                  <a:lnTo>
                    <a:pt x="384" y="97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4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2" y="99"/>
                  </a:lnTo>
                  <a:lnTo>
                    <a:pt x="380" y="99"/>
                  </a:lnTo>
                  <a:lnTo>
                    <a:pt x="380" y="99"/>
                  </a:lnTo>
                  <a:lnTo>
                    <a:pt x="380" y="99"/>
                  </a:lnTo>
                  <a:lnTo>
                    <a:pt x="380" y="99"/>
                  </a:lnTo>
                  <a:lnTo>
                    <a:pt x="380" y="99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80" y="103"/>
                  </a:lnTo>
                  <a:lnTo>
                    <a:pt x="377" y="103"/>
                  </a:lnTo>
                  <a:lnTo>
                    <a:pt x="377" y="103"/>
                  </a:lnTo>
                  <a:lnTo>
                    <a:pt x="377" y="103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5" y="106"/>
                  </a:lnTo>
                  <a:lnTo>
                    <a:pt x="375" y="106"/>
                  </a:lnTo>
                  <a:lnTo>
                    <a:pt x="373" y="108"/>
                  </a:lnTo>
                  <a:lnTo>
                    <a:pt x="373" y="108"/>
                  </a:lnTo>
                  <a:lnTo>
                    <a:pt x="373" y="108"/>
                  </a:lnTo>
                  <a:lnTo>
                    <a:pt x="373" y="108"/>
                  </a:lnTo>
                  <a:lnTo>
                    <a:pt x="373" y="110"/>
                  </a:lnTo>
                  <a:lnTo>
                    <a:pt x="373" y="112"/>
                  </a:lnTo>
                  <a:lnTo>
                    <a:pt x="373" y="112"/>
                  </a:lnTo>
                  <a:lnTo>
                    <a:pt x="373" y="115"/>
                  </a:lnTo>
                  <a:lnTo>
                    <a:pt x="373" y="115"/>
                  </a:lnTo>
                  <a:lnTo>
                    <a:pt x="373" y="117"/>
                  </a:lnTo>
                  <a:lnTo>
                    <a:pt x="371" y="119"/>
                  </a:lnTo>
                  <a:lnTo>
                    <a:pt x="371" y="119"/>
                  </a:lnTo>
                  <a:lnTo>
                    <a:pt x="371" y="119"/>
                  </a:lnTo>
                  <a:lnTo>
                    <a:pt x="371" y="124"/>
                  </a:lnTo>
                  <a:lnTo>
                    <a:pt x="371" y="124"/>
                  </a:lnTo>
                  <a:lnTo>
                    <a:pt x="371" y="124"/>
                  </a:lnTo>
                  <a:lnTo>
                    <a:pt x="371" y="124"/>
                  </a:lnTo>
                  <a:lnTo>
                    <a:pt x="371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6"/>
                  </a:lnTo>
                  <a:lnTo>
                    <a:pt x="368" y="126"/>
                  </a:lnTo>
                  <a:lnTo>
                    <a:pt x="368" y="126"/>
                  </a:lnTo>
                  <a:lnTo>
                    <a:pt x="368" y="128"/>
                  </a:lnTo>
                  <a:lnTo>
                    <a:pt x="368" y="128"/>
                  </a:lnTo>
                  <a:lnTo>
                    <a:pt x="368" y="128"/>
                  </a:lnTo>
                  <a:lnTo>
                    <a:pt x="368" y="130"/>
                  </a:lnTo>
                  <a:lnTo>
                    <a:pt x="366" y="135"/>
                  </a:lnTo>
                  <a:lnTo>
                    <a:pt x="366" y="137"/>
                  </a:lnTo>
                  <a:lnTo>
                    <a:pt x="366" y="137"/>
                  </a:lnTo>
                  <a:lnTo>
                    <a:pt x="366" y="139"/>
                  </a:lnTo>
                  <a:lnTo>
                    <a:pt x="366" y="139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2"/>
                  </a:lnTo>
                  <a:lnTo>
                    <a:pt x="366" y="144"/>
                  </a:lnTo>
                  <a:lnTo>
                    <a:pt x="366" y="144"/>
                  </a:lnTo>
                  <a:lnTo>
                    <a:pt x="366" y="146"/>
                  </a:lnTo>
                  <a:lnTo>
                    <a:pt x="366" y="146"/>
                  </a:lnTo>
                  <a:lnTo>
                    <a:pt x="366" y="148"/>
                  </a:lnTo>
                  <a:lnTo>
                    <a:pt x="366" y="148"/>
                  </a:lnTo>
                  <a:lnTo>
                    <a:pt x="366" y="148"/>
                  </a:lnTo>
                  <a:lnTo>
                    <a:pt x="366" y="148"/>
                  </a:lnTo>
                  <a:lnTo>
                    <a:pt x="366" y="148"/>
                  </a:lnTo>
                  <a:lnTo>
                    <a:pt x="364" y="148"/>
                  </a:lnTo>
                  <a:lnTo>
                    <a:pt x="364" y="148"/>
                  </a:lnTo>
                  <a:lnTo>
                    <a:pt x="366" y="151"/>
                  </a:lnTo>
                  <a:lnTo>
                    <a:pt x="366" y="151"/>
                  </a:lnTo>
                  <a:lnTo>
                    <a:pt x="366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5"/>
                  </a:lnTo>
                  <a:lnTo>
                    <a:pt x="366" y="155"/>
                  </a:lnTo>
                  <a:lnTo>
                    <a:pt x="366" y="155"/>
                  </a:lnTo>
                  <a:lnTo>
                    <a:pt x="366" y="155"/>
                  </a:lnTo>
                  <a:lnTo>
                    <a:pt x="366" y="157"/>
                  </a:lnTo>
                  <a:lnTo>
                    <a:pt x="366" y="157"/>
                  </a:lnTo>
                  <a:lnTo>
                    <a:pt x="366" y="157"/>
                  </a:lnTo>
                  <a:lnTo>
                    <a:pt x="366" y="157"/>
                  </a:lnTo>
                  <a:lnTo>
                    <a:pt x="366" y="157"/>
                  </a:lnTo>
                  <a:lnTo>
                    <a:pt x="366" y="157"/>
                  </a:lnTo>
                  <a:lnTo>
                    <a:pt x="366" y="160"/>
                  </a:lnTo>
                  <a:lnTo>
                    <a:pt x="366" y="160"/>
                  </a:lnTo>
                  <a:lnTo>
                    <a:pt x="364" y="160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2"/>
                  </a:lnTo>
                  <a:lnTo>
                    <a:pt x="362" y="164"/>
                  </a:lnTo>
                  <a:lnTo>
                    <a:pt x="359" y="164"/>
                  </a:lnTo>
                  <a:lnTo>
                    <a:pt x="359" y="164"/>
                  </a:lnTo>
                  <a:lnTo>
                    <a:pt x="359" y="164"/>
                  </a:lnTo>
                  <a:lnTo>
                    <a:pt x="359" y="164"/>
                  </a:lnTo>
                  <a:lnTo>
                    <a:pt x="359" y="166"/>
                  </a:lnTo>
                  <a:lnTo>
                    <a:pt x="357" y="166"/>
                  </a:lnTo>
                  <a:lnTo>
                    <a:pt x="357" y="168"/>
                  </a:lnTo>
                  <a:lnTo>
                    <a:pt x="357" y="171"/>
                  </a:lnTo>
                  <a:lnTo>
                    <a:pt x="355" y="171"/>
                  </a:lnTo>
                  <a:lnTo>
                    <a:pt x="355" y="171"/>
                  </a:lnTo>
                  <a:lnTo>
                    <a:pt x="355" y="173"/>
                  </a:lnTo>
                  <a:lnTo>
                    <a:pt x="357" y="175"/>
                  </a:lnTo>
                  <a:lnTo>
                    <a:pt x="357" y="177"/>
                  </a:lnTo>
                  <a:lnTo>
                    <a:pt x="357" y="177"/>
                  </a:lnTo>
                  <a:lnTo>
                    <a:pt x="357" y="180"/>
                  </a:lnTo>
                  <a:lnTo>
                    <a:pt x="355" y="180"/>
                  </a:lnTo>
                  <a:lnTo>
                    <a:pt x="355" y="182"/>
                  </a:lnTo>
                  <a:lnTo>
                    <a:pt x="355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2"/>
                  </a:lnTo>
                  <a:lnTo>
                    <a:pt x="353" y="184"/>
                  </a:lnTo>
                  <a:lnTo>
                    <a:pt x="350" y="184"/>
                  </a:lnTo>
                  <a:lnTo>
                    <a:pt x="350" y="184"/>
                  </a:lnTo>
                  <a:lnTo>
                    <a:pt x="350" y="184"/>
                  </a:lnTo>
                  <a:lnTo>
                    <a:pt x="350" y="184"/>
                  </a:lnTo>
                  <a:lnTo>
                    <a:pt x="350" y="184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50" y="189"/>
                  </a:lnTo>
                  <a:lnTo>
                    <a:pt x="350" y="189"/>
                  </a:lnTo>
                  <a:lnTo>
                    <a:pt x="350" y="191"/>
                  </a:lnTo>
                  <a:lnTo>
                    <a:pt x="350" y="191"/>
                  </a:lnTo>
                  <a:lnTo>
                    <a:pt x="353" y="191"/>
                  </a:lnTo>
                  <a:lnTo>
                    <a:pt x="353" y="191"/>
                  </a:lnTo>
                  <a:lnTo>
                    <a:pt x="353" y="191"/>
                  </a:lnTo>
                  <a:lnTo>
                    <a:pt x="353" y="191"/>
                  </a:lnTo>
                  <a:lnTo>
                    <a:pt x="353" y="191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3" y="193"/>
                  </a:lnTo>
                  <a:lnTo>
                    <a:pt x="355" y="193"/>
                  </a:lnTo>
                  <a:lnTo>
                    <a:pt x="355" y="193"/>
                  </a:lnTo>
                  <a:lnTo>
                    <a:pt x="355" y="195"/>
                  </a:lnTo>
                  <a:lnTo>
                    <a:pt x="355" y="195"/>
                  </a:lnTo>
                  <a:lnTo>
                    <a:pt x="355" y="195"/>
                  </a:lnTo>
                  <a:lnTo>
                    <a:pt x="355" y="195"/>
                  </a:lnTo>
                  <a:lnTo>
                    <a:pt x="355" y="195"/>
                  </a:lnTo>
                  <a:lnTo>
                    <a:pt x="355" y="198"/>
                  </a:lnTo>
                  <a:lnTo>
                    <a:pt x="355" y="198"/>
                  </a:lnTo>
                  <a:lnTo>
                    <a:pt x="355" y="198"/>
                  </a:lnTo>
                  <a:lnTo>
                    <a:pt x="355" y="198"/>
                  </a:lnTo>
                  <a:lnTo>
                    <a:pt x="357" y="198"/>
                  </a:lnTo>
                  <a:lnTo>
                    <a:pt x="357" y="198"/>
                  </a:lnTo>
                  <a:lnTo>
                    <a:pt x="357" y="198"/>
                  </a:lnTo>
                  <a:lnTo>
                    <a:pt x="357" y="198"/>
                  </a:lnTo>
                  <a:lnTo>
                    <a:pt x="357" y="198"/>
                  </a:lnTo>
                  <a:lnTo>
                    <a:pt x="357" y="200"/>
                  </a:lnTo>
                  <a:lnTo>
                    <a:pt x="357" y="200"/>
                  </a:lnTo>
                  <a:lnTo>
                    <a:pt x="357" y="200"/>
                  </a:lnTo>
                  <a:lnTo>
                    <a:pt x="357" y="200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7" y="204"/>
                  </a:lnTo>
                  <a:lnTo>
                    <a:pt x="357" y="204"/>
                  </a:lnTo>
                  <a:lnTo>
                    <a:pt x="357" y="204"/>
                  </a:lnTo>
                  <a:lnTo>
                    <a:pt x="357" y="207"/>
                  </a:lnTo>
                  <a:lnTo>
                    <a:pt x="357" y="207"/>
                  </a:lnTo>
                  <a:lnTo>
                    <a:pt x="357" y="213"/>
                  </a:lnTo>
                  <a:lnTo>
                    <a:pt x="357" y="213"/>
                  </a:lnTo>
                  <a:lnTo>
                    <a:pt x="357" y="218"/>
                  </a:lnTo>
                  <a:lnTo>
                    <a:pt x="357" y="220"/>
                  </a:lnTo>
                  <a:lnTo>
                    <a:pt x="357" y="220"/>
                  </a:lnTo>
                  <a:lnTo>
                    <a:pt x="357" y="220"/>
                  </a:lnTo>
                  <a:lnTo>
                    <a:pt x="359" y="222"/>
                  </a:lnTo>
                  <a:lnTo>
                    <a:pt x="359" y="225"/>
                  </a:lnTo>
                  <a:lnTo>
                    <a:pt x="362" y="227"/>
                  </a:lnTo>
                  <a:lnTo>
                    <a:pt x="362" y="234"/>
                  </a:lnTo>
                  <a:lnTo>
                    <a:pt x="362" y="234"/>
                  </a:lnTo>
                  <a:lnTo>
                    <a:pt x="362" y="234"/>
                  </a:lnTo>
                  <a:lnTo>
                    <a:pt x="362" y="236"/>
                  </a:lnTo>
                  <a:lnTo>
                    <a:pt x="359" y="240"/>
                  </a:lnTo>
                  <a:lnTo>
                    <a:pt x="359" y="243"/>
                  </a:lnTo>
                  <a:lnTo>
                    <a:pt x="359" y="245"/>
                  </a:lnTo>
                  <a:lnTo>
                    <a:pt x="359" y="247"/>
                  </a:lnTo>
                  <a:lnTo>
                    <a:pt x="359" y="247"/>
                  </a:lnTo>
                  <a:lnTo>
                    <a:pt x="362" y="252"/>
                  </a:lnTo>
                  <a:lnTo>
                    <a:pt x="364" y="256"/>
                  </a:lnTo>
                  <a:lnTo>
                    <a:pt x="364" y="261"/>
                  </a:lnTo>
                  <a:lnTo>
                    <a:pt x="366" y="263"/>
                  </a:lnTo>
                  <a:lnTo>
                    <a:pt x="364" y="265"/>
                  </a:lnTo>
                  <a:lnTo>
                    <a:pt x="364" y="265"/>
                  </a:lnTo>
                  <a:lnTo>
                    <a:pt x="362" y="267"/>
                  </a:lnTo>
                  <a:lnTo>
                    <a:pt x="362" y="270"/>
                  </a:lnTo>
                  <a:lnTo>
                    <a:pt x="362" y="272"/>
                  </a:lnTo>
                  <a:lnTo>
                    <a:pt x="364" y="274"/>
                  </a:lnTo>
                  <a:lnTo>
                    <a:pt x="364" y="276"/>
                  </a:lnTo>
                  <a:lnTo>
                    <a:pt x="364" y="276"/>
                  </a:lnTo>
                  <a:lnTo>
                    <a:pt x="364" y="279"/>
                  </a:lnTo>
                  <a:lnTo>
                    <a:pt x="366" y="281"/>
                  </a:lnTo>
                  <a:lnTo>
                    <a:pt x="366" y="283"/>
                  </a:lnTo>
                  <a:lnTo>
                    <a:pt x="366" y="285"/>
                  </a:lnTo>
                  <a:lnTo>
                    <a:pt x="368" y="285"/>
                  </a:lnTo>
                  <a:lnTo>
                    <a:pt x="371" y="288"/>
                  </a:lnTo>
                  <a:lnTo>
                    <a:pt x="373" y="290"/>
                  </a:lnTo>
                  <a:lnTo>
                    <a:pt x="375" y="292"/>
                  </a:lnTo>
                  <a:lnTo>
                    <a:pt x="377" y="294"/>
                  </a:lnTo>
                  <a:lnTo>
                    <a:pt x="380" y="297"/>
                  </a:lnTo>
                  <a:lnTo>
                    <a:pt x="380" y="301"/>
                  </a:lnTo>
                  <a:lnTo>
                    <a:pt x="382" y="303"/>
                  </a:lnTo>
                  <a:lnTo>
                    <a:pt x="382" y="306"/>
                  </a:lnTo>
                  <a:lnTo>
                    <a:pt x="382" y="308"/>
                  </a:lnTo>
                  <a:lnTo>
                    <a:pt x="386" y="315"/>
                  </a:lnTo>
                  <a:lnTo>
                    <a:pt x="389" y="319"/>
                  </a:lnTo>
                  <a:lnTo>
                    <a:pt x="389" y="321"/>
                  </a:lnTo>
                  <a:lnTo>
                    <a:pt x="384" y="324"/>
                  </a:lnTo>
                  <a:lnTo>
                    <a:pt x="380" y="324"/>
                  </a:lnTo>
                  <a:lnTo>
                    <a:pt x="375" y="324"/>
                  </a:lnTo>
                  <a:lnTo>
                    <a:pt x="368" y="326"/>
                  </a:lnTo>
                  <a:lnTo>
                    <a:pt x="364" y="326"/>
                  </a:lnTo>
                  <a:lnTo>
                    <a:pt x="359" y="328"/>
                  </a:lnTo>
                  <a:lnTo>
                    <a:pt x="355" y="328"/>
                  </a:lnTo>
                  <a:lnTo>
                    <a:pt x="353" y="328"/>
                  </a:lnTo>
                  <a:lnTo>
                    <a:pt x="350" y="328"/>
                  </a:lnTo>
                  <a:lnTo>
                    <a:pt x="348" y="328"/>
                  </a:lnTo>
                  <a:lnTo>
                    <a:pt x="348" y="330"/>
                  </a:lnTo>
                  <a:lnTo>
                    <a:pt x="350" y="333"/>
                  </a:lnTo>
                  <a:lnTo>
                    <a:pt x="350" y="333"/>
                  </a:lnTo>
                  <a:lnTo>
                    <a:pt x="348" y="335"/>
                  </a:lnTo>
                  <a:lnTo>
                    <a:pt x="346" y="339"/>
                  </a:lnTo>
                  <a:lnTo>
                    <a:pt x="344" y="344"/>
                  </a:lnTo>
                  <a:lnTo>
                    <a:pt x="341" y="346"/>
                  </a:lnTo>
                  <a:lnTo>
                    <a:pt x="339" y="346"/>
                  </a:lnTo>
                  <a:lnTo>
                    <a:pt x="337" y="346"/>
                  </a:lnTo>
                  <a:lnTo>
                    <a:pt x="337" y="348"/>
                  </a:lnTo>
                  <a:lnTo>
                    <a:pt x="337" y="348"/>
                  </a:lnTo>
                  <a:lnTo>
                    <a:pt x="339" y="348"/>
                  </a:lnTo>
                  <a:lnTo>
                    <a:pt x="339" y="348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1" y="351"/>
                  </a:lnTo>
                  <a:lnTo>
                    <a:pt x="341" y="353"/>
                  </a:lnTo>
                  <a:lnTo>
                    <a:pt x="341" y="353"/>
                  </a:lnTo>
                  <a:lnTo>
                    <a:pt x="341" y="353"/>
                  </a:lnTo>
                  <a:lnTo>
                    <a:pt x="341" y="353"/>
                  </a:lnTo>
                  <a:lnTo>
                    <a:pt x="341" y="353"/>
                  </a:lnTo>
                  <a:lnTo>
                    <a:pt x="341" y="353"/>
                  </a:lnTo>
                  <a:lnTo>
                    <a:pt x="341" y="353"/>
                  </a:lnTo>
                  <a:lnTo>
                    <a:pt x="341" y="355"/>
                  </a:lnTo>
                  <a:lnTo>
                    <a:pt x="341" y="355"/>
                  </a:lnTo>
                  <a:lnTo>
                    <a:pt x="344" y="355"/>
                  </a:lnTo>
                  <a:lnTo>
                    <a:pt x="344" y="355"/>
                  </a:lnTo>
                  <a:lnTo>
                    <a:pt x="341" y="355"/>
                  </a:lnTo>
                  <a:lnTo>
                    <a:pt x="341" y="355"/>
                  </a:lnTo>
                  <a:lnTo>
                    <a:pt x="341" y="355"/>
                  </a:lnTo>
                  <a:lnTo>
                    <a:pt x="341" y="355"/>
                  </a:lnTo>
                  <a:lnTo>
                    <a:pt x="344" y="355"/>
                  </a:lnTo>
                  <a:lnTo>
                    <a:pt x="344" y="355"/>
                  </a:lnTo>
                  <a:lnTo>
                    <a:pt x="344" y="357"/>
                  </a:lnTo>
                  <a:lnTo>
                    <a:pt x="344" y="357"/>
                  </a:lnTo>
                  <a:lnTo>
                    <a:pt x="344" y="357"/>
                  </a:lnTo>
                  <a:lnTo>
                    <a:pt x="344" y="357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0"/>
                  </a:lnTo>
                  <a:lnTo>
                    <a:pt x="344" y="362"/>
                  </a:lnTo>
                  <a:lnTo>
                    <a:pt x="344" y="362"/>
                  </a:lnTo>
                  <a:lnTo>
                    <a:pt x="344" y="364"/>
                  </a:lnTo>
                  <a:lnTo>
                    <a:pt x="344" y="364"/>
                  </a:lnTo>
                  <a:lnTo>
                    <a:pt x="344" y="366"/>
                  </a:lnTo>
                  <a:lnTo>
                    <a:pt x="344" y="369"/>
                  </a:lnTo>
                  <a:lnTo>
                    <a:pt x="344" y="369"/>
                  </a:lnTo>
                  <a:lnTo>
                    <a:pt x="341" y="369"/>
                  </a:lnTo>
                  <a:lnTo>
                    <a:pt x="341" y="371"/>
                  </a:lnTo>
                  <a:lnTo>
                    <a:pt x="341" y="371"/>
                  </a:lnTo>
                  <a:lnTo>
                    <a:pt x="341" y="371"/>
                  </a:lnTo>
                  <a:lnTo>
                    <a:pt x="341" y="371"/>
                  </a:lnTo>
                  <a:lnTo>
                    <a:pt x="341" y="371"/>
                  </a:lnTo>
                  <a:lnTo>
                    <a:pt x="341" y="371"/>
                  </a:lnTo>
                  <a:lnTo>
                    <a:pt x="341" y="371"/>
                  </a:lnTo>
                  <a:lnTo>
                    <a:pt x="344" y="371"/>
                  </a:lnTo>
                  <a:lnTo>
                    <a:pt x="344" y="371"/>
                  </a:lnTo>
                  <a:lnTo>
                    <a:pt x="344" y="373"/>
                  </a:lnTo>
                  <a:lnTo>
                    <a:pt x="344" y="373"/>
                  </a:lnTo>
                  <a:lnTo>
                    <a:pt x="341" y="373"/>
                  </a:lnTo>
                  <a:lnTo>
                    <a:pt x="341" y="373"/>
                  </a:lnTo>
                  <a:lnTo>
                    <a:pt x="341" y="373"/>
                  </a:lnTo>
                  <a:lnTo>
                    <a:pt x="344" y="375"/>
                  </a:lnTo>
                  <a:lnTo>
                    <a:pt x="344" y="375"/>
                  </a:lnTo>
                  <a:lnTo>
                    <a:pt x="344" y="375"/>
                  </a:lnTo>
                  <a:lnTo>
                    <a:pt x="344" y="375"/>
                  </a:lnTo>
                  <a:lnTo>
                    <a:pt x="344" y="375"/>
                  </a:lnTo>
                  <a:lnTo>
                    <a:pt x="344" y="375"/>
                  </a:lnTo>
                  <a:lnTo>
                    <a:pt x="344" y="375"/>
                  </a:lnTo>
                  <a:lnTo>
                    <a:pt x="344" y="378"/>
                  </a:lnTo>
                  <a:lnTo>
                    <a:pt x="344" y="378"/>
                  </a:lnTo>
                  <a:lnTo>
                    <a:pt x="344" y="378"/>
                  </a:lnTo>
                  <a:lnTo>
                    <a:pt x="344" y="378"/>
                  </a:lnTo>
                  <a:lnTo>
                    <a:pt x="344" y="378"/>
                  </a:lnTo>
                  <a:lnTo>
                    <a:pt x="344" y="378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4" y="380"/>
                  </a:lnTo>
                  <a:lnTo>
                    <a:pt x="344" y="382"/>
                  </a:lnTo>
                  <a:lnTo>
                    <a:pt x="344" y="382"/>
                  </a:lnTo>
                  <a:lnTo>
                    <a:pt x="344" y="382"/>
                  </a:lnTo>
                  <a:lnTo>
                    <a:pt x="344" y="382"/>
                  </a:lnTo>
                  <a:lnTo>
                    <a:pt x="344" y="382"/>
                  </a:lnTo>
                  <a:lnTo>
                    <a:pt x="341" y="382"/>
                  </a:lnTo>
                  <a:lnTo>
                    <a:pt x="341" y="382"/>
                  </a:lnTo>
                  <a:lnTo>
                    <a:pt x="341" y="382"/>
                  </a:lnTo>
                  <a:lnTo>
                    <a:pt x="341" y="384"/>
                  </a:lnTo>
                  <a:lnTo>
                    <a:pt x="341" y="384"/>
                  </a:lnTo>
                  <a:lnTo>
                    <a:pt x="341" y="384"/>
                  </a:lnTo>
                  <a:lnTo>
                    <a:pt x="341" y="384"/>
                  </a:lnTo>
                  <a:lnTo>
                    <a:pt x="341" y="384"/>
                  </a:lnTo>
                  <a:lnTo>
                    <a:pt x="341" y="387"/>
                  </a:lnTo>
                  <a:lnTo>
                    <a:pt x="341" y="387"/>
                  </a:lnTo>
                  <a:lnTo>
                    <a:pt x="341" y="387"/>
                  </a:lnTo>
                  <a:lnTo>
                    <a:pt x="341" y="387"/>
                  </a:lnTo>
                  <a:lnTo>
                    <a:pt x="341" y="387"/>
                  </a:lnTo>
                  <a:lnTo>
                    <a:pt x="339" y="389"/>
                  </a:lnTo>
                  <a:lnTo>
                    <a:pt x="339" y="389"/>
                  </a:lnTo>
                  <a:lnTo>
                    <a:pt x="339" y="389"/>
                  </a:lnTo>
                  <a:lnTo>
                    <a:pt x="339" y="389"/>
                  </a:lnTo>
                  <a:lnTo>
                    <a:pt x="339" y="389"/>
                  </a:lnTo>
                  <a:lnTo>
                    <a:pt x="339" y="389"/>
                  </a:lnTo>
                  <a:lnTo>
                    <a:pt x="339" y="389"/>
                  </a:lnTo>
                  <a:lnTo>
                    <a:pt x="339" y="391"/>
                  </a:lnTo>
                  <a:lnTo>
                    <a:pt x="339" y="391"/>
                  </a:lnTo>
                  <a:lnTo>
                    <a:pt x="339" y="391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39" y="393"/>
                  </a:lnTo>
                  <a:lnTo>
                    <a:pt x="339" y="396"/>
                  </a:lnTo>
                  <a:lnTo>
                    <a:pt x="339" y="396"/>
                  </a:lnTo>
                  <a:lnTo>
                    <a:pt x="339" y="396"/>
                  </a:lnTo>
                  <a:lnTo>
                    <a:pt x="337" y="396"/>
                  </a:lnTo>
                  <a:lnTo>
                    <a:pt x="339" y="398"/>
                  </a:lnTo>
                  <a:lnTo>
                    <a:pt x="337" y="398"/>
                  </a:lnTo>
                  <a:lnTo>
                    <a:pt x="337" y="398"/>
                  </a:lnTo>
                  <a:lnTo>
                    <a:pt x="337" y="398"/>
                  </a:lnTo>
                  <a:lnTo>
                    <a:pt x="337" y="400"/>
                  </a:lnTo>
                  <a:lnTo>
                    <a:pt x="337" y="400"/>
                  </a:lnTo>
                  <a:lnTo>
                    <a:pt x="337" y="402"/>
                  </a:lnTo>
                  <a:lnTo>
                    <a:pt x="337" y="402"/>
                  </a:lnTo>
                  <a:lnTo>
                    <a:pt x="337" y="402"/>
                  </a:lnTo>
                  <a:lnTo>
                    <a:pt x="337" y="402"/>
                  </a:lnTo>
                  <a:lnTo>
                    <a:pt x="337" y="402"/>
                  </a:lnTo>
                  <a:lnTo>
                    <a:pt x="337" y="402"/>
                  </a:lnTo>
                  <a:lnTo>
                    <a:pt x="337" y="402"/>
                  </a:lnTo>
                  <a:lnTo>
                    <a:pt x="337" y="405"/>
                  </a:lnTo>
                  <a:lnTo>
                    <a:pt x="337" y="405"/>
                  </a:lnTo>
                  <a:lnTo>
                    <a:pt x="337" y="405"/>
                  </a:lnTo>
                  <a:lnTo>
                    <a:pt x="337" y="405"/>
                  </a:lnTo>
                  <a:lnTo>
                    <a:pt x="337" y="405"/>
                  </a:lnTo>
                  <a:lnTo>
                    <a:pt x="337" y="407"/>
                  </a:lnTo>
                  <a:lnTo>
                    <a:pt x="339" y="407"/>
                  </a:lnTo>
                  <a:lnTo>
                    <a:pt x="339" y="407"/>
                  </a:lnTo>
                  <a:lnTo>
                    <a:pt x="339" y="407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39" y="409"/>
                  </a:lnTo>
                  <a:lnTo>
                    <a:pt x="341" y="411"/>
                  </a:lnTo>
                  <a:lnTo>
                    <a:pt x="341" y="411"/>
                  </a:lnTo>
                  <a:lnTo>
                    <a:pt x="341" y="411"/>
                  </a:lnTo>
                  <a:lnTo>
                    <a:pt x="341" y="411"/>
                  </a:lnTo>
                  <a:lnTo>
                    <a:pt x="341" y="411"/>
                  </a:lnTo>
                  <a:lnTo>
                    <a:pt x="341" y="411"/>
                  </a:lnTo>
                  <a:lnTo>
                    <a:pt x="344" y="411"/>
                  </a:lnTo>
                  <a:lnTo>
                    <a:pt x="344" y="411"/>
                  </a:lnTo>
                  <a:lnTo>
                    <a:pt x="344" y="411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4" y="414"/>
                  </a:lnTo>
                  <a:lnTo>
                    <a:pt x="346" y="414"/>
                  </a:lnTo>
                  <a:lnTo>
                    <a:pt x="346" y="414"/>
                  </a:lnTo>
                  <a:lnTo>
                    <a:pt x="346" y="416"/>
                  </a:lnTo>
                  <a:lnTo>
                    <a:pt x="346" y="416"/>
                  </a:lnTo>
                  <a:lnTo>
                    <a:pt x="346" y="416"/>
                  </a:lnTo>
                  <a:lnTo>
                    <a:pt x="346" y="416"/>
                  </a:lnTo>
                  <a:lnTo>
                    <a:pt x="348" y="416"/>
                  </a:lnTo>
                  <a:lnTo>
                    <a:pt x="348" y="418"/>
                  </a:lnTo>
                  <a:lnTo>
                    <a:pt x="350" y="420"/>
                  </a:lnTo>
                  <a:lnTo>
                    <a:pt x="350" y="420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0" y="423"/>
                  </a:lnTo>
                  <a:lnTo>
                    <a:pt x="353" y="423"/>
                  </a:lnTo>
                  <a:lnTo>
                    <a:pt x="353" y="423"/>
                  </a:lnTo>
                  <a:lnTo>
                    <a:pt x="353" y="423"/>
                  </a:lnTo>
                  <a:lnTo>
                    <a:pt x="355" y="420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5" y="423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7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3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18"/>
                  </a:lnTo>
                  <a:lnTo>
                    <a:pt x="359" y="418"/>
                  </a:lnTo>
                  <a:lnTo>
                    <a:pt x="359" y="418"/>
                  </a:lnTo>
                  <a:lnTo>
                    <a:pt x="359" y="418"/>
                  </a:lnTo>
                  <a:lnTo>
                    <a:pt x="362" y="418"/>
                  </a:lnTo>
                  <a:lnTo>
                    <a:pt x="362" y="418"/>
                  </a:lnTo>
                  <a:lnTo>
                    <a:pt x="362" y="418"/>
                  </a:lnTo>
                  <a:lnTo>
                    <a:pt x="362" y="418"/>
                  </a:lnTo>
                  <a:lnTo>
                    <a:pt x="362" y="418"/>
                  </a:lnTo>
                  <a:lnTo>
                    <a:pt x="362" y="418"/>
                  </a:lnTo>
                  <a:lnTo>
                    <a:pt x="362" y="418"/>
                  </a:lnTo>
                  <a:lnTo>
                    <a:pt x="364" y="418"/>
                  </a:lnTo>
                  <a:lnTo>
                    <a:pt x="364" y="418"/>
                  </a:lnTo>
                  <a:lnTo>
                    <a:pt x="364" y="416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6"/>
                  </a:lnTo>
                  <a:lnTo>
                    <a:pt x="366" y="418"/>
                  </a:lnTo>
                  <a:lnTo>
                    <a:pt x="366" y="423"/>
                  </a:lnTo>
                  <a:lnTo>
                    <a:pt x="366" y="425"/>
                  </a:lnTo>
                  <a:lnTo>
                    <a:pt x="366" y="429"/>
                  </a:lnTo>
                  <a:lnTo>
                    <a:pt x="366" y="434"/>
                  </a:lnTo>
                  <a:lnTo>
                    <a:pt x="366" y="436"/>
                  </a:lnTo>
                  <a:lnTo>
                    <a:pt x="366" y="441"/>
                  </a:lnTo>
                  <a:lnTo>
                    <a:pt x="366" y="445"/>
                  </a:lnTo>
                  <a:lnTo>
                    <a:pt x="366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4" y="447"/>
                  </a:lnTo>
                  <a:lnTo>
                    <a:pt x="362" y="447"/>
                  </a:lnTo>
                  <a:lnTo>
                    <a:pt x="362" y="447"/>
                  </a:lnTo>
                  <a:lnTo>
                    <a:pt x="362" y="447"/>
                  </a:lnTo>
                  <a:lnTo>
                    <a:pt x="362" y="447"/>
                  </a:lnTo>
                  <a:lnTo>
                    <a:pt x="362" y="447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5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62" y="443"/>
                  </a:lnTo>
                  <a:lnTo>
                    <a:pt x="359" y="443"/>
                  </a:lnTo>
                  <a:lnTo>
                    <a:pt x="359" y="443"/>
                  </a:lnTo>
                  <a:lnTo>
                    <a:pt x="359" y="443"/>
                  </a:lnTo>
                  <a:lnTo>
                    <a:pt x="357" y="443"/>
                  </a:lnTo>
                  <a:lnTo>
                    <a:pt x="355" y="445"/>
                  </a:lnTo>
                  <a:lnTo>
                    <a:pt x="353" y="445"/>
                  </a:lnTo>
                  <a:lnTo>
                    <a:pt x="353" y="445"/>
                  </a:lnTo>
                  <a:lnTo>
                    <a:pt x="353" y="447"/>
                  </a:lnTo>
                  <a:lnTo>
                    <a:pt x="353" y="447"/>
                  </a:lnTo>
                  <a:lnTo>
                    <a:pt x="353" y="447"/>
                  </a:lnTo>
                  <a:lnTo>
                    <a:pt x="353" y="447"/>
                  </a:lnTo>
                  <a:lnTo>
                    <a:pt x="353" y="447"/>
                  </a:lnTo>
                  <a:lnTo>
                    <a:pt x="353" y="447"/>
                  </a:lnTo>
                  <a:lnTo>
                    <a:pt x="350" y="445"/>
                  </a:lnTo>
                  <a:lnTo>
                    <a:pt x="350" y="445"/>
                  </a:lnTo>
                  <a:lnTo>
                    <a:pt x="350" y="445"/>
                  </a:lnTo>
                  <a:lnTo>
                    <a:pt x="350" y="445"/>
                  </a:lnTo>
                  <a:lnTo>
                    <a:pt x="350" y="445"/>
                  </a:lnTo>
                  <a:lnTo>
                    <a:pt x="348" y="445"/>
                  </a:lnTo>
                  <a:lnTo>
                    <a:pt x="348" y="445"/>
                  </a:lnTo>
                  <a:lnTo>
                    <a:pt x="348" y="445"/>
                  </a:lnTo>
                  <a:lnTo>
                    <a:pt x="348" y="445"/>
                  </a:lnTo>
                  <a:lnTo>
                    <a:pt x="348" y="445"/>
                  </a:lnTo>
                  <a:lnTo>
                    <a:pt x="348" y="445"/>
                  </a:lnTo>
                  <a:lnTo>
                    <a:pt x="346" y="441"/>
                  </a:lnTo>
                  <a:lnTo>
                    <a:pt x="346" y="441"/>
                  </a:lnTo>
                  <a:lnTo>
                    <a:pt x="346" y="441"/>
                  </a:lnTo>
                  <a:lnTo>
                    <a:pt x="346" y="441"/>
                  </a:lnTo>
                  <a:lnTo>
                    <a:pt x="346" y="441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6" y="438"/>
                  </a:lnTo>
                  <a:lnTo>
                    <a:pt x="344" y="438"/>
                  </a:lnTo>
                  <a:lnTo>
                    <a:pt x="344" y="436"/>
                  </a:lnTo>
                  <a:lnTo>
                    <a:pt x="344" y="436"/>
                  </a:lnTo>
                  <a:lnTo>
                    <a:pt x="344" y="436"/>
                  </a:lnTo>
                  <a:lnTo>
                    <a:pt x="344" y="434"/>
                  </a:lnTo>
                  <a:lnTo>
                    <a:pt x="341" y="434"/>
                  </a:lnTo>
                  <a:lnTo>
                    <a:pt x="341" y="434"/>
                  </a:lnTo>
                  <a:lnTo>
                    <a:pt x="341" y="434"/>
                  </a:lnTo>
                  <a:lnTo>
                    <a:pt x="341" y="434"/>
                  </a:lnTo>
                  <a:lnTo>
                    <a:pt x="339" y="434"/>
                  </a:lnTo>
                  <a:lnTo>
                    <a:pt x="339" y="434"/>
                  </a:lnTo>
                  <a:lnTo>
                    <a:pt x="339" y="434"/>
                  </a:lnTo>
                  <a:lnTo>
                    <a:pt x="339" y="434"/>
                  </a:lnTo>
                  <a:lnTo>
                    <a:pt x="339" y="432"/>
                  </a:lnTo>
                  <a:lnTo>
                    <a:pt x="339" y="432"/>
                  </a:lnTo>
                  <a:lnTo>
                    <a:pt x="339" y="432"/>
                  </a:lnTo>
                  <a:lnTo>
                    <a:pt x="339" y="432"/>
                  </a:lnTo>
                  <a:lnTo>
                    <a:pt x="337" y="429"/>
                  </a:lnTo>
                  <a:lnTo>
                    <a:pt x="339" y="429"/>
                  </a:lnTo>
                  <a:lnTo>
                    <a:pt x="339" y="429"/>
                  </a:lnTo>
                  <a:lnTo>
                    <a:pt x="339" y="429"/>
                  </a:lnTo>
                  <a:lnTo>
                    <a:pt x="339" y="429"/>
                  </a:lnTo>
                  <a:lnTo>
                    <a:pt x="339" y="429"/>
                  </a:lnTo>
                  <a:lnTo>
                    <a:pt x="337" y="427"/>
                  </a:lnTo>
                  <a:lnTo>
                    <a:pt x="337" y="427"/>
                  </a:lnTo>
                  <a:lnTo>
                    <a:pt x="337" y="425"/>
                  </a:lnTo>
                  <a:lnTo>
                    <a:pt x="337" y="425"/>
                  </a:lnTo>
                  <a:lnTo>
                    <a:pt x="335" y="423"/>
                  </a:lnTo>
                  <a:lnTo>
                    <a:pt x="335" y="423"/>
                  </a:lnTo>
                  <a:lnTo>
                    <a:pt x="335" y="423"/>
                  </a:lnTo>
                  <a:lnTo>
                    <a:pt x="335" y="423"/>
                  </a:lnTo>
                  <a:lnTo>
                    <a:pt x="335" y="423"/>
                  </a:lnTo>
                  <a:lnTo>
                    <a:pt x="332" y="423"/>
                  </a:lnTo>
                  <a:lnTo>
                    <a:pt x="332" y="423"/>
                  </a:lnTo>
                  <a:lnTo>
                    <a:pt x="332" y="423"/>
                  </a:lnTo>
                  <a:lnTo>
                    <a:pt x="332" y="423"/>
                  </a:lnTo>
                  <a:lnTo>
                    <a:pt x="332" y="423"/>
                  </a:lnTo>
                  <a:lnTo>
                    <a:pt x="332" y="423"/>
                  </a:lnTo>
                  <a:lnTo>
                    <a:pt x="330" y="423"/>
                  </a:lnTo>
                  <a:lnTo>
                    <a:pt x="330" y="423"/>
                  </a:lnTo>
                  <a:lnTo>
                    <a:pt x="330" y="423"/>
                  </a:lnTo>
                  <a:lnTo>
                    <a:pt x="330" y="423"/>
                  </a:lnTo>
                  <a:lnTo>
                    <a:pt x="330" y="423"/>
                  </a:lnTo>
                  <a:lnTo>
                    <a:pt x="330" y="423"/>
                  </a:lnTo>
                  <a:lnTo>
                    <a:pt x="328" y="423"/>
                  </a:lnTo>
                  <a:lnTo>
                    <a:pt x="328" y="423"/>
                  </a:lnTo>
                  <a:lnTo>
                    <a:pt x="328" y="423"/>
                  </a:lnTo>
                  <a:lnTo>
                    <a:pt x="328" y="423"/>
                  </a:lnTo>
                  <a:lnTo>
                    <a:pt x="328" y="420"/>
                  </a:lnTo>
                  <a:lnTo>
                    <a:pt x="328" y="420"/>
                  </a:lnTo>
                  <a:lnTo>
                    <a:pt x="328" y="420"/>
                  </a:lnTo>
                  <a:lnTo>
                    <a:pt x="326" y="418"/>
                  </a:lnTo>
                  <a:lnTo>
                    <a:pt x="326" y="418"/>
                  </a:lnTo>
                  <a:lnTo>
                    <a:pt x="326" y="418"/>
                  </a:lnTo>
                  <a:lnTo>
                    <a:pt x="323" y="418"/>
                  </a:lnTo>
                  <a:lnTo>
                    <a:pt x="323" y="420"/>
                  </a:lnTo>
                  <a:lnTo>
                    <a:pt x="323" y="420"/>
                  </a:lnTo>
                  <a:lnTo>
                    <a:pt x="323" y="420"/>
                  </a:lnTo>
                  <a:lnTo>
                    <a:pt x="321" y="420"/>
                  </a:lnTo>
                  <a:lnTo>
                    <a:pt x="321" y="420"/>
                  </a:lnTo>
                  <a:lnTo>
                    <a:pt x="321" y="420"/>
                  </a:lnTo>
                  <a:lnTo>
                    <a:pt x="319" y="418"/>
                  </a:lnTo>
                  <a:lnTo>
                    <a:pt x="319" y="418"/>
                  </a:lnTo>
                  <a:lnTo>
                    <a:pt x="319" y="418"/>
                  </a:lnTo>
                  <a:lnTo>
                    <a:pt x="317" y="414"/>
                  </a:lnTo>
                  <a:lnTo>
                    <a:pt x="317" y="414"/>
                  </a:lnTo>
                  <a:lnTo>
                    <a:pt x="317" y="411"/>
                  </a:lnTo>
                  <a:lnTo>
                    <a:pt x="312" y="409"/>
                  </a:lnTo>
                  <a:lnTo>
                    <a:pt x="312" y="407"/>
                  </a:lnTo>
                  <a:lnTo>
                    <a:pt x="312" y="405"/>
                  </a:lnTo>
                  <a:lnTo>
                    <a:pt x="312" y="405"/>
                  </a:lnTo>
                  <a:lnTo>
                    <a:pt x="312" y="402"/>
                  </a:lnTo>
                  <a:lnTo>
                    <a:pt x="312" y="402"/>
                  </a:lnTo>
                  <a:lnTo>
                    <a:pt x="312" y="402"/>
                  </a:lnTo>
                  <a:lnTo>
                    <a:pt x="310" y="402"/>
                  </a:lnTo>
                  <a:lnTo>
                    <a:pt x="310" y="402"/>
                  </a:lnTo>
                  <a:lnTo>
                    <a:pt x="310" y="402"/>
                  </a:lnTo>
                  <a:lnTo>
                    <a:pt x="310" y="402"/>
                  </a:lnTo>
                  <a:lnTo>
                    <a:pt x="308" y="402"/>
                  </a:lnTo>
                  <a:lnTo>
                    <a:pt x="308" y="402"/>
                  </a:lnTo>
                  <a:lnTo>
                    <a:pt x="308" y="405"/>
                  </a:lnTo>
                  <a:lnTo>
                    <a:pt x="308" y="405"/>
                  </a:lnTo>
                  <a:lnTo>
                    <a:pt x="308" y="405"/>
                  </a:lnTo>
                  <a:lnTo>
                    <a:pt x="308" y="405"/>
                  </a:lnTo>
                  <a:lnTo>
                    <a:pt x="308" y="407"/>
                  </a:lnTo>
                  <a:lnTo>
                    <a:pt x="308" y="407"/>
                  </a:lnTo>
                  <a:lnTo>
                    <a:pt x="308" y="407"/>
                  </a:lnTo>
                  <a:lnTo>
                    <a:pt x="308" y="407"/>
                  </a:lnTo>
                  <a:lnTo>
                    <a:pt x="308" y="409"/>
                  </a:lnTo>
                  <a:lnTo>
                    <a:pt x="306" y="411"/>
                  </a:lnTo>
                  <a:lnTo>
                    <a:pt x="306" y="411"/>
                  </a:lnTo>
                  <a:lnTo>
                    <a:pt x="306" y="411"/>
                  </a:lnTo>
                  <a:lnTo>
                    <a:pt x="303" y="411"/>
                  </a:lnTo>
                  <a:lnTo>
                    <a:pt x="303" y="411"/>
                  </a:lnTo>
                  <a:lnTo>
                    <a:pt x="303" y="411"/>
                  </a:lnTo>
                  <a:lnTo>
                    <a:pt x="303" y="411"/>
                  </a:lnTo>
                  <a:lnTo>
                    <a:pt x="301" y="414"/>
                  </a:lnTo>
                  <a:lnTo>
                    <a:pt x="301" y="414"/>
                  </a:lnTo>
                  <a:lnTo>
                    <a:pt x="301" y="414"/>
                  </a:lnTo>
                  <a:lnTo>
                    <a:pt x="301" y="414"/>
                  </a:lnTo>
                  <a:lnTo>
                    <a:pt x="301" y="414"/>
                  </a:lnTo>
                  <a:lnTo>
                    <a:pt x="301" y="411"/>
                  </a:lnTo>
                  <a:lnTo>
                    <a:pt x="299" y="411"/>
                  </a:lnTo>
                  <a:lnTo>
                    <a:pt x="299" y="411"/>
                  </a:lnTo>
                  <a:lnTo>
                    <a:pt x="297" y="411"/>
                  </a:lnTo>
                  <a:lnTo>
                    <a:pt x="297" y="411"/>
                  </a:lnTo>
                  <a:lnTo>
                    <a:pt x="297" y="411"/>
                  </a:lnTo>
                  <a:lnTo>
                    <a:pt x="297" y="411"/>
                  </a:lnTo>
                  <a:lnTo>
                    <a:pt x="297" y="411"/>
                  </a:lnTo>
                  <a:lnTo>
                    <a:pt x="294" y="411"/>
                  </a:lnTo>
                  <a:lnTo>
                    <a:pt x="294" y="411"/>
                  </a:lnTo>
                  <a:lnTo>
                    <a:pt x="294" y="411"/>
                  </a:lnTo>
                  <a:lnTo>
                    <a:pt x="294" y="411"/>
                  </a:lnTo>
                  <a:lnTo>
                    <a:pt x="292" y="411"/>
                  </a:lnTo>
                  <a:lnTo>
                    <a:pt x="292" y="411"/>
                  </a:lnTo>
                  <a:lnTo>
                    <a:pt x="292" y="411"/>
                  </a:lnTo>
                  <a:lnTo>
                    <a:pt x="292" y="411"/>
                  </a:lnTo>
                  <a:lnTo>
                    <a:pt x="292" y="411"/>
                  </a:lnTo>
                  <a:lnTo>
                    <a:pt x="290" y="411"/>
                  </a:lnTo>
                  <a:lnTo>
                    <a:pt x="290" y="411"/>
                  </a:lnTo>
                  <a:lnTo>
                    <a:pt x="288" y="411"/>
                  </a:lnTo>
                  <a:lnTo>
                    <a:pt x="288" y="411"/>
                  </a:lnTo>
                  <a:lnTo>
                    <a:pt x="285" y="411"/>
                  </a:lnTo>
                  <a:lnTo>
                    <a:pt x="285" y="409"/>
                  </a:lnTo>
                  <a:lnTo>
                    <a:pt x="285" y="409"/>
                  </a:lnTo>
                  <a:lnTo>
                    <a:pt x="285" y="409"/>
                  </a:lnTo>
                  <a:lnTo>
                    <a:pt x="283" y="409"/>
                  </a:lnTo>
                  <a:lnTo>
                    <a:pt x="283" y="407"/>
                  </a:lnTo>
                  <a:lnTo>
                    <a:pt x="283" y="407"/>
                  </a:lnTo>
                  <a:lnTo>
                    <a:pt x="283" y="407"/>
                  </a:lnTo>
                  <a:lnTo>
                    <a:pt x="283" y="407"/>
                  </a:lnTo>
                  <a:lnTo>
                    <a:pt x="283" y="409"/>
                  </a:lnTo>
                  <a:lnTo>
                    <a:pt x="283" y="409"/>
                  </a:lnTo>
                  <a:lnTo>
                    <a:pt x="281" y="409"/>
                  </a:lnTo>
                  <a:lnTo>
                    <a:pt x="281" y="409"/>
                  </a:lnTo>
                  <a:lnTo>
                    <a:pt x="281" y="407"/>
                  </a:lnTo>
                  <a:lnTo>
                    <a:pt x="281" y="407"/>
                  </a:lnTo>
                  <a:lnTo>
                    <a:pt x="279" y="407"/>
                  </a:lnTo>
                  <a:lnTo>
                    <a:pt x="279" y="407"/>
                  </a:lnTo>
                  <a:lnTo>
                    <a:pt x="279" y="407"/>
                  </a:lnTo>
                  <a:lnTo>
                    <a:pt x="279" y="407"/>
                  </a:lnTo>
                  <a:lnTo>
                    <a:pt x="279" y="407"/>
                  </a:lnTo>
                  <a:lnTo>
                    <a:pt x="279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7"/>
                  </a:lnTo>
                  <a:lnTo>
                    <a:pt x="276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4" y="405"/>
                  </a:lnTo>
                  <a:lnTo>
                    <a:pt x="272" y="405"/>
                  </a:lnTo>
                  <a:lnTo>
                    <a:pt x="272" y="402"/>
                  </a:lnTo>
                  <a:lnTo>
                    <a:pt x="272" y="402"/>
                  </a:lnTo>
                  <a:lnTo>
                    <a:pt x="272" y="400"/>
                  </a:lnTo>
                  <a:lnTo>
                    <a:pt x="272" y="400"/>
                  </a:lnTo>
                  <a:lnTo>
                    <a:pt x="272" y="400"/>
                  </a:lnTo>
                  <a:lnTo>
                    <a:pt x="272" y="400"/>
                  </a:lnTo>
                  <a:lnTo>
                    <a:pt x="272" y="400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8"/>
                  </a:lnTo>
                  <a:lnTo>
                    <a:pt x="272" y="396"/>
                  </a:lnTo>
                  <a:lnTo>
                    <a:pt x="272" y="396"/>
                  </a:lnTo>
                  <a:lnTo>
                    <a:pt x="272" y="396"/>
                  </a:lnTo>
                  <a:lnTo>
                    <a:pt x="272" y="396"/>
                  </a:lnTo>
                  <a:lnTo>
                    <a:pt x="272" y="396"/>
                  </a:lnTo>
                  <a:lnTo>
                    <a:pt x="274" y="396"/>
                  </a:lnTo>
                  <a:lnTo>
                    <a:pt x="274" y="396"/>
                  </a:lnTo>
                  <a:lnTo>
                    <a:pt x="274" y="396"/>
                  </a:lnTo>
                  <a:lnTo>
                    <a:pt x="274" y="393"/>
                  </a:lnTo>
                  <a:lnTo>
                    <a:pt x="274" y="393"/>
                  </a:lnTo>
                  <a:lnTo>
                    <a:pt x="272" y="393"/>
                  </a:lnTo>
                  <a:lnTo>
                    <a:pt x="272" y="393"/>
                  </a:lnTo>
                  <a:lnTo>
                    <a:pt x="270" y="396"/>
                  </a:lnTo>
                  <a:lnTo>
                    <a:pt x="270" y="396"/>
                  </a:lnTo>
                  <a:lnTo>
                    <a:pt x="265" y="396"/>
                  </a:lnTo>
                  <a:lnTo>
                    <a:pt x="265" y="396"/>
                  </a:lnTo>
                  <a:lnTo>
                    <a:pt x="265" y="396"/>
                  </a:lnTo>
                  <a:lnTo>
                    <a:pt x="263" y="396"/>
                  </a:lnTo>
                  <a:lnTo>
                    <a:pt x="263" y="398"/>
                  </a:lnTo>
                  <a:lnTo>
                    <a:pt x="261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398"/>
                  </a:lnTo>
                  <a:lnTo>
                    <a:pt x="258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6" y="400"/>
                  </a:lnTo>
                  <a:lnTo>
                    <a:pt x="256" y="400"/>
                  </a:lnTo>
                  <a:lnTo>
                    <a:pt x="256" y="400"/>
                  </a:lnTo>
                  <a:lnTo>
                    <a:pt x="256" y="400"/>
                  </a:lnTo>
                  <a:lnTo>
                    <a:pt x="256" y="400"/>
                  </a:lnTo>
                  <a:lnTo>
                    <a:pt x="254" y="400"/>
                  </a:lnTo>
                  <a:lnTo>
                    <a:pt x="254" y="400"/>
                  </a:lnTo>
                  <a:lnTo>
                    <a:pt x="254" y="400"/>
                  </a:lnTo>
                  <a:lnTo>
                    <a:pt x="254" y="398"/>
                  </a:lnTo>
                  <a:lnTo>
                    <a:pt x="252" y="398"/>
                  </a:lnTo>
                  <a:lnTo>
                    <a:pt x="252" y="398"/>
                  </a:lnTo>
                  <a:lnTo>
                    <a:pt x="252" y="398"/>
                  </a:lnTo>
                  <a:lnTo>
                    <a:pt x="252" y="398"/>
                  </a:lnTo>
                  <a:lnTo>
                    <a:pt x="252" y="398"/>
                  </a:lnTo>
                  <a:lnTo>
                    <a:pt x="252" y="398"/>
                  </a:lnTo>
                  <a:lnTo>
                    <a:pt x="252" y="398"/>
                  </a:lnTo>
                  <a:lnTo>
                    <a:pt x="254" y="396"/>
                  </a:lnTo>
                  <a:lnTo>
                    <a:pt x="254" y="396"/>
                  </a:lnTo>
                  <a:lnTo>
                    <a:pt x="254" y="396"/>
                  </a:lnTo>
                  <a:lnTo>
                    <a:pt x="254" y="396"/>
                  </a:lnTo>
                  <a:lnTo>
                    <a:pt x="254" y="393"/>
                  </a:lnTo>
                  <a:lnTo>
                    <a:pt x="254" y="393"/>
                  </a:lnTo>
                  <a:lnTo>
                    <a:pt x="254" y="393"/>
                  </a:lnTo>
                  <a:lnTo>
                    <a:pt x="254" y="393"/>
                  </a:lnTo>
                  <a:lnTo>
                    <a:pt x="254" y="393"/>
                  </a:lnTo>
                  <a:lnTo>
                    <a:pt x="254" y="393"/>
                  </a:lnTo>
                  <a:lnTo>
                    <a:pt x="254" y="393"/>
                  </a:lnTo>
                  <a:lnTo>
                    <a:pt x="254" y="391"/>
                  </a:lnTo>
                  <a:lnTo>
                    <a:pt x="254" y="391"/>
                  </a:lnTo>
                  <a:lnTo>
                    <a:pt x="254" y="391"/>
                  </a:lnTo>
                  <a:lnTo>
                    <a:pt x="252" y="391"/>
                  </a:lnTo>
                  <a:lnTo>
                    <a:pt x="252" y="391"/>
                  </a:lnTo>
                  <a:lnTo>
                    <a:pt x="252" y="391"/>
                  </a:lnTo>
                  <a:lnTo>
                    <a:pt x="252" y="391"/>
                  </a:lnTo>
                  <a:lnTo>
                    <a:pt x="249" y="391"/>
                  </a:lnTo>
                  <a:lnTo>
                    <a:pt x="249" y="391"/>
                  </a:lnTo>
                  <a:lnTo>
                    <a:pt x="249" y="389"/>
                  </a:lnTo>
                  <a:lnTo>
                    <a:pt x="249" y="389"/>
                  </a:lnTo>
                  <a:lnTo>
                    <a:pt x="249" y="389"/>
                  </a:lnTo>
                  <a:lnTo>
                    <a:pt x="247" y="391"/>
                  </a:lnTo>
                  <a:lnTo>
                    <a:pt x="247" y="389"/>
                  </a:lnTo>
                  <a:lnTo>
                    <a:pt x="247" y="389"/>
                  </a:lnTo>
                  <a:lnTo>
                    <a:pt x="247" y="389"/>
                  </a:lnTo>
                  <a:lnTo>
                    <a:pt x="247" y="389"/>
                  </a:lnTo>
                  <a:lnTo>
                    <a:pt x="247" y="389"/>
                  </a:lnTo>
                  <a:lnTo>
                    <a:pt x="247" y="387"/>
                  </a:lnTo>
                  <a:lnTo>
                    <a:pt x="247" y="387"/>
                  </a:lnTo>
                  <a:lnTo>
                    <a:pt x="247" y="387"/>
                  </a:lnTo>
                  <a:lnTo>
                    <a:pt x="247" y="387"/>
                  </a:lnTo>
                  <a:lnTo>
                    <a:pt x="247" y="387"/>
                  </a:lnTo>
                  <a:lnTo>
                    <a:pt x="245" y="387"/>
                  </a:lnTo>
                  <a:lnTo>
                    <a:pt x="245" y="387"/>
                  </a:lnTo>
                  <a:lnTo>
                    <a:pt x="245" y="387"/>
                  </a:lnTo>
                  <a:lnTo>
                    <a:pt x="245" y="387"/>
                  </a:lnTo>
                  <a:lnTo>
                    <a:pt x="245" y="387"/>
                  </a:lnTo>
                  <a:lnTo>
                    <a:pt x="245" y="387"/>
                  </a:lnTo>
                  <a:lnTo>
                    <a:pt x="245" y="389"/>
                  </a:lnTo>
                  <a:lnTo>
                    <a:pt x="243" y="389"/>
                  </a:lnTo>
                  <a:lnTo>
                    <a:pt x="243" y="389"/>
                  </a:lnTo>
                  <a:lnTo>
                    <a:pt x="243" y="389"/>
                  </a:lnTo>
                  <a:lnTo>
                    <a:pt x="243" y="389"/>
                  </a:lnTo>
                  <a:lnTo>
                    <a:pt x="243" y="389"/>
                  </a:lnTo>
                  <a:lnTo>
                    <a:pt x="243" y="389"/>
                  </a:lnTo>
                  <a:lnTo>
                    <a:pt x="240" y="389"/>
                  </a:lnTo>
                  <a:lnTo>
                    <a:pt x="240" y="389"/>
                  </a:lnTo>
                  <a:lnTo>
                    <a:pt x="240" y="389"/>
                  </a:lnTo>
                  <a:lnTo>
                    <a:pt x="238" y="389"/>
                  </a:lnTo>
                  <a:lnTo>
                    <a:pt x="238" y="389"/>
                  </a:lnTo>
                  <a:lnTo>
                    <a:pt x="236" y="389"/>
                  </a:lnTo>
                  <a:lnTo>
                    <a:pt x="236" y="389"/>
                  </a:lnTo>
                  <a:lnTo>
                    <a:pt x="234" y="389"/>
                  </a:lnTo>
                  <a:lnTo>
                    <a:pt x="234" y="389"/>
                  </a:lnTo>
                  <a:lnTo>
                    <a:pt x="231" y="389"/>
                  </a:lnTo>
                  <a:lnTo>
                    <a:pt x="231" y="389"/>
                  </a:lnTo>
                  <a:lnTo>
                    <a:pt x="229" y="391"/>
                  </a:lnTo>
                  <a:lnTo>
                    <a:pt x="227" y="391"/>
                  </a:lnTo>
                  <a:lnTo>
                    <a:pt x="225" y="391"/>
                  </a:lnTo>
                  <a:lnTo>
                    <a:pt x="225" y="391"/>
                  </a:lnTo>
                  <a:lnTo>
                    <a:pt x="222" y="391"/>
                  </a:lnTo>
                  <a:lnTo>
                    <a:pt x="222" y="391"/>
                  </a:lnTo>
                  <a:lnTo>
                    <a:pt x="222" y="391"/>
                  </a:lnTo>
                  <a:lnTo>
                    <a:pt x="222" y="391"/>
                  </a:lnTo>
                  <a:lnTo>
                    <a:pt x="220" y="391"/>
                  </a:lnTo>
                  <a:lnTo>
                    <a:pt x="220" y="391"/>
                  </a:lnTo>
                  <a:lnTo>
                    <a:pt x="220" y="391"/>
                  </a:lnTo>
                  <a:lnTo>
                    <a:pt x="220" y="391"/>
                  </a:lnTo>
                  <a:lnTo>
                    <a:pt x="218" y="391"/>
                  </a:lnTo>
                  <a:lnTo>
                    <a:pt x="218" y="391"/>
                  </a:lnTo>
                  <a:lnTo>
                    <a:pt x="218" y="391"/>
                  </a:lnTo>
                  <a:lnTo>
                    <a:pt x="216" y="391"/>
                  </a:lnTo>
                  <a:lnTo>
                    <a:pt x="216" y="389"/>
                  </a:lnTo>
                  <a:lnTo>
                    <a:pt x="213" y="391"/>
                  </a:lnTo>
                  <a:lnTo>
                    <a:pt x="213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3"/>
                  </a:lnTo>
                  <a:lnTo>
                    <a:pt x="209" y="396"/>
                  </a:lnTo>
                  <a:lnTo>
                    <a:pt x="209" y="396"/>
                  </a:lnTo>
                  <a:lnTo>
                    <a:pt x="209" y="396"/>
                  </a:lnTo>
                  <a:lnTo>
                    <a:pt x="209" y="393"/>
                  </a:lnTo>
                  <a:lnTo>
                    <a:pt x="209" y="393"/>
                  </a:lnTo>
                  <a:lnTo>
                    <a:pt x="209" y="391"/>
                  </a:lnTo>
                  <a:lnTo>
                    <a:pt x="209" y="391"/>
                  </a:lnTo>
                  <a:lnTo>
                    <a:pt x="209" y="389"/>
                  </a:lnTo>
                  <a:lnTo>
                    <a:pt x="209" y="389"/>
                  </a:lnTo>
                  <a:lnTo>
                    <a:pt x="209" y="389"/>
                  </a:lnTo>
                  <a:lnTo>
                    <a:pt x="209" y="389"/>
                  </a:lnTo>
                  <a:lnTo>
                    <a:pt x="207" y="389"/>
                  </a:lnTo>
                  <a:lnTo>
                    <a:pt x="207" y="389"/>
                  </a:lnTo>
                  <a:lnTo>
                    <a:pt x="207" y="387"/>
                  </a:lnTo>
                  <a:lnTo>
                    <a:pt x="207" y="387"/>
                  </a:lnTo>
                  <a:lnTo>
                    <a:pt x="207" y="384"/>
                  </a:lnTo>
                  <a:lnTo>
                    <a:pt x="207" y="384"/>
                  </a:lnTo>
                  <a:lnTo>
                    <a:pt x="209" y="384"/>
                  </a:lnTo>
                  <a:lnTo>
                    <a:pt x="209" y="384"/>
                  </a:lnTo>
                  <a:lnTo>
                    <a:pt x="209" y="384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2"/>
                  </a:lnTo>
                  <a:lnTo>
                    <a:pt x="211" y="382"/>
                  </a:lnTo>
                  <a:lnTo>
                    <a:pt x="211" y="382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11" y="378"/>
                  </a:lnTo>
                  <a:lnTo>
                    <a:pt x="209" y="378"/>
                  </a:lnTo>
                  <a:lnTo>
                    <a:pt x="209" y="378"/>
                  </a:lnTo>
                  <a:lnTo>
                    <a:pt x="209" y="378"/>
                  </a:lnTo>
                  <a:lnTo>
                    <a:pt x="209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1" y="375"/>
                  </a:lnTo>
                  <a:lnTo>
                    <a:pt x="211" y="373"/>
                  </a:lnTo>
                  <a:lnTo>
                    <a:pt x="211" y="373"/>
                  </a:lnTo>
                  <a:lnTo>
                    <a:pt x="211" y="373"/>
                  </a:lnTo>
                  <a:lnTo>
                    <a:pt x="211" y="373"/>
                  </a:lnTo>
                  <a:lnTo>
                    <a:pt x="209" y="373"/>
                  </a:lnTo>
                  <a:lnTo>
                    <a:pt x="209" y="371"/>
                  </a:lnTo>
                  <a:lnTo>
                    <a:pt x="209" y="371"/>
                  </a:lnTo>
                  <a:lnTo>
                    <a:pt x="209" y="369"/>
                  </a:lnTo>
                  <a:lnTo>
                    <a:pt x="209" y="369"/>
                  </a:lnTo>
                  <a:lnTo>
                    <a:pt x="209" y="369"/>
                  </a:lnTo>
                  <a:lnTo>
                    <a:pt x="209" y="366"/>
                  </a:lnTo>
                  <a:lnTo>
                    <a:pt x="209" y="366"/>
                  </a:lnTo>
                  <a:lnTo>
                    <a:pt x="207" y="364"/>
                  </a:lnTo>
                  <a:lnTo>
                    <a:pt x="207" y="364"/>
                  </a:lnTo>
                  <a:lnTo>
                    <a:pt x="207" y="364"/>
                  </a:lnTo>
                  <a:lnTo>
                    <a:pt x="207" y="364"/>
                  </a:lnTo>
                  <a:lnTo>
                    <a:pt x="207" y="362"/>
                  </a:lnTo>
                  <a:lnTo>
                    <a:pt x="207" y="362"/>
                  </a:lnTo>
                  <a:lnTo>
                    <a:pt x="207" y="362"/>
                  </a:lnTo>
                  <a:lnTo>
                    <a:pt x="207" y="362"/>
                  </a:lnTo>
                  <a:lnTo>
                    <a:pt x="204" y="362"/>
                  </a:lnTo>
                  <a:lnTo>
                    <a:pt x="204" y="362"/>
                  </a:lnTo>
                  <a:lnTo>
                    <a:pt x="204" y="360"/>
                  </a:lnTo>
                  <a:lnTo>
                    <a:pt x="204" y="360"/>
                  </a:lnTo>
                  <a:lnTo>
                    <a:pt x="204" y="360"/>
                  </a:lnTo>
                  <a:lnTo>
                    <a:pt x="204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2" y="360"/>
                  </a:lnTo>
                  <a:lnTo>
                    <a:pt x="202" y="357"/>
                  </a:lnTo>
                  <a:lnTo>
                    <a:pt x="202" y="355"/>
                  </a:lnTo>
                  <a:lnTo>
                    <a:pt x="200" y="355"/>
                  </a:lnTo>
                  <a:lnTo>
                    <a:pt x="200" y="353"/>
                  </a:lnTo>
                  <a:lnTo>
                    <a:pt x="200" y="353"/>
                  </a:lnTo>
                  <a:lnTo>
                    <a:pt x="200" y="353"/>
                  </a:lnTo>
                  <a:lnTo>
                    <a:pt x="200" y="351"/>
                  </a:lnTo>
                  <a:lnTo>
                    <a:pt x="200" y="351"/>
                  </a:lnTo>
                  <a:lnTo>
                    <a:pt x="200" y="351"/>
                  </a:lnTo>
                  <a:lnTo>
                    <a:pt x="200" y="351"/>
                  </a:lnTo>
                  <a:lnTo>
                    <a:pt x="200" y="348"/>
                  </a:lnTo>
                  <a:lnTo>
                    <a:pt x="200" y="348"/>
                  </a:lnTo>
                  <a:lnTo>
                    <a:pt x="202" y="346"/>
                  </a:lnTo>
                  <a:lnTo>
                    <a:pt x="202" y="346"/>
                  </a:lnTo>
                  <a:lnTo>
                    <a:pt x="202" y="344"/>
                  </a:lnTo>
                  <a:lnTo>
                    <a:pt x="202" y="342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2" y="337"/>
                  </a:lnTo>
                  <a:lnTo>
                    <a:pt x="202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2" y="333"/>
                  </a:lnTo>
                  <a:lnTo>
                    <a:pt x="202" y="333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4" y="328"/>
                  </a:lnTo>
                  <a:lnTo>
                    <a:pt x="204" y="328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2" y="324"/>
                  </a:lnTo>
                  <a:lnTo>
                    <a:pt x="202" y="324"/>
                  </a:lnTo>
                  <a:lnTo>
                    <a:pt x="202" y="324"/>
                  </a:lnTo>
                  <a:lnTo>
                    <a:pt x="202" y="321"/>
                  </a:lnTo>
                  <a:lnTo>
                    <a:pt x="202" y="321"/>
                  </a:lnTo>
                  <a:lnTo>
                    <a:pt x="202" y="321"/>
                  </a:lnTo>
                  <a:lnTo>
                    <a:pt x="202" y="321"/>
                  </a:lnTo>
                  <a:lnTo>
                    <a:pt x="200" y="319"/>
                  </a:lnTo>
                  <a:lnTo>
                    <a:pt x="200" y="319"/>
                  </a:lnTo>
                  <a:lnTo>
                    <a:pt x="200" y="319"/>
                  </a:lnTo>
                  <a:lnTo>
                    <a:pt x="200" y="319"/>
                  </a:lnTo>
                  <a:lnTo>
                    <a:pt x="200" y="319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5"/>
                  </a:lnTo>
                  <a:lnTo>
                    <a:pt x="200" y="315"/>
                  </a:lnTo>
                  <a:lnTo>
                    <a:pt x="200" y="315"/>
                  </a:lnTo>
                  <a:lnTo>
                    <a:pt x="200" y="315"/>
                  </a:lnTo>
                  <a:lnTo>
                    <a:pt x="200" y="315"/>
                  </a:lnTo>
                  <a:lnTo>
                    <a:pt x="200" y="312"/>
                  </a:lnTo>
                  <a:lnTo>
                    <a:pt x="200" y="312"/>
                  </a:lnTo>
                  <a:lnTo>
                    <a:pt x="200" y="312"/>
                  </a:lnTo>
                  <a:lnTo>
                    <a:pt x="200" y="312"/>
                  </a:lnTo>
                  <a:lnTo>
                    <a:pt x="200" y="310"/>
                  </a:lnTo>
                  <a:lnTo>
                    <a:pt x="202" y="310"/>
                  </a:lnTo>
                  <a:lnTo>
                    <a:pt x="202" y="308"/>
                  </a:lnTo>
                  <a:lnTo>
                    <a:pt x="202" y="308"/>
                  </a:lnTo>
                  <a:lnTo>
                    <a:pt x="202" y="308"/>
                  </a:lnTo>
                  <a:lnTo>
                    <a:pt x="202" y="308"/>
                  </a:lnTo>
                  <a:lnTo>
                    <a:pt x="202" y="308"/>
                  </a:lnTo>
                  <a:lnTo>
                    <a:pt x="202" y="308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6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3"/>
                  </a:lnTo>
                  <a:lnTo>
                    <a:pt x="202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200" y="301"/>
                  </a:lnTo>
                  <a:lnTo>
                    <a:pt x="198" y="301"/>
                  </a:lnTo>
                  <a:lnTo>
                    <a:pt x="195" y="301"/>
                  </a:lnTo>
                  <a:lnTo>
                    <a:pt x="195" y="301"/>
                  </a:lnTo>
                  <a:lnTo>
                    <a:pt x="193" y="301"/>
                  </a:lnTo>
                  <a:lnTo>
                    <a:pt x="191" y="301"/>
                  </a:lnTo>
                  <a:lnTo>
                    <a:pt x="191" y="301"/>
                  </a:lnTo>
                  <a:lnTo>
                    <a:pt x="189" y="301"/>
                  </a:lnTo>
                  <a:lnTo>
                    <a:pt x="186" y="301"/>
                  </a:lnTo>
                  <a:lnTo>
                    <a:pt x="186" y="301"/>
                  </a:lnTo>
                  <a:lnTo>
                    <a:pt x="184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0" y="301"/>
                  </a:lnTo>
                  <a:lnTo>
                    <a:pt x="177" y="301"/>
                  </a:lnTo>
                  <a:lnTo>
                    <a:pt x="177" y="301"/>
                  </a:lnTo>
                  <a:lnTo>
                    <a:pt x="175" y="301"/>
                  </a:lnTo>
                  <a:lnTo>
                    <a:pt x="173" y="301"/>
                  </a:lnTo>
                  <a:lnTo>
                    <a:pt x="173" y="299"/>
                  </a:lnTo>
                  <a:lnTo>
                    <a:pt x="173" y="299"/>
                  </a:lnTo>
                  <a:lnTo>
                    <a:pt x="173" y="297"/>
                  </a:lnTo>
                  <a:lnTo>
                    <a:pt x="175" y="297"/>
                  </a:lnTo>
                  <a:lnTo>
                    <a:pt x="175" y="294"/>
                  </a:lnTo>
                  <a:lnTo>
                    <a:pt x="175" y="292"/>
                  </a:lnTo>
                  <a:lnTo>
                    <a:pt x="175" y="292"/>
                  </a:lnTo>
                  <a:lnTo>
                    <a:pt x="175" y="292"/>
                  </a:lnTo>
                  <a:lnTo>
                    <a:pt x="173" y="292"/>
                  </a:lnTo>
                  <a:lnTo>
                    <a:pt x="171" y="292"/>
                  </a:lnTo>
                  <a:lnTo>
                    <a:pt x="171" y="292"/>
                  </a:lnTo>
                  <a:lnTo>
                    <a:pt x="171" y="292"/>
                  </a:lnTo>
                  <a:lnTo>
                    <a:pt x="171" y="292"/>
                  </a:lnTo>
                  <a:lnTo>
                    <a:pt x="168" y="292"/>
                  </a:lnTo>
                  <a:lnTo>
                    <a:pt x="168" y="292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8" y="294"/>
                  </a:lnTo>
                  <a:lnTo>
                    <a:pt x="166" y="294"/>
                  </a:lnTo>
                  <a:lnTo>
                    <a:pt x="166" y="294"/>
                  </a:lnTo>
                  <a:lnTo>
                    <a:pt x="164" y="294"/>
                  </a:lnTo>
                  <a:lnTo>
                    <a:pt x="164" y="294"/>
                  </a:lnTo>
                  <a:lnTo>
                    <a:pt x="164" y="294"/>
                  </a:lnTo>
                  <a:lnTo>
                    <a:pt x="162" y="294"/>
                  </a:lnTo>
                  <a:lnTo>
                    <a:pt x="162" y="294"/>
                  </a:lnTo>
                  <a:lnTo>
                    <a:pt x="159" y="294"/>
                  </a:lnTo>
                  <a:lnTo>
                    <a:pt x="159" y="294"/>
                  </a:lnTo>
                  <a:lnTo>
                    <a:pt x="159" y="294"/>
                  </a:lnTo>
                  <a:lnTo>
                    <a:pt x="157" y="294"/>
                  </a:lnTo>
                  <a:lnTo>
                    <a:pt x="157" y="294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3" y="294"/>
                  </a:lnTo>
                  <a:lnTo>
                    <a:pt x="153" y="294"/>
                  </a:lnTo>
                  <a:lnTo>
                    <a:pt x="153" y="294"/>
                  </a:lnTo>
                  <a:lnTo>
                    <a:pt x="153" y="294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301"/>
                  </a:lnTo>
                  <a:lnTo>
                    <a:pt x="153" y="301"/>
                  </a:lnTo>
                  <a:lnTo>
                    <a:pt x="153" y="303"/>
                  </a:lnTo>
                  <a:lnTo>
                    <a:pt x="153" y="303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3" y="306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08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0"/>
                  </a:lnTo>
                  <a:lnTo>
                    <a:pt x="150" y="312"/>
                  </a:lnTo>
                  <a:lnTo>
                    <a:pt x="148" y="312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8" y="315"/>
                  </a:lnTo>
                  <a:lnTo>
                    <a:pt x="148" y="317"/>
                  </a:lnTo>
                  <a:lnTo>
                    <a:pt x="148" y="317"/>
                  </a:lnTo>
                  <a:lnTo>
                    <a:pt x="146" y="317"/>
                  </a:lnTo>
                  <a:lnTo>
                    <a:pt x="144" y="317"/>
                  </a:lnTo>
                  <a:lnTo>
                    <a:pt x="142" y="317"/>
                  </a:lnTo>
                  <a:lnTo>
                    <a:pt x="137" y="317"/>
                  </a:lnTo>
                  <a:lnTo>
                    <a:pt x="137" y="317"/>
                  </a:lnTo>
                  <a:lnTo>
                    <a:pt x="137" y="317"/>
                  </a:lnTo>
                  <a:lnTo>
                    <a:pt x="137" y="317"/>
                  </a:lnTo>
                  <a:lnTo>
                    <a:pt x="137" y="317"/>
                  </a:lnTo>
                  <a:lnTo>
                    <a:pt x="137" y="317"/>
                  </a:lnTo>
                  <a:lnTo>
                    <a:pt x="135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3" y="317"/>
                  </a:lnTo>
                  <a:lnTo>
                    <a:pt x="130" y="317"/>
                  </a:lnTo>
                  <a:lnTo>
                    <a:pt x="130" y="317"/>
                  </a:lnTo>
                  <a:lnTo>
                    <a:pt x="130" y="317"/>
                  </a:lnTo>
                  <a:lnTo>
                    <a:pt x="130" y="317"/>
                  </a:lnTo>
                  <a:lnTo>
                    <a:pt x="128" y="317"/>
                  </a:lnTo>
                  <a:lnTo>
                    <a:pt x="128" y="317"/>
                  </a:lnTo>
                  <a:lnTo>
                    <a:pt x="128" y="317"/>
                  </a:lnTo>
                  <a:lnTo>
                    <a:pt x="128" y="317"/>
                  </a:lnTo>
                  <a:lnTo>
                    <a:pt x="126" y="317"/>
                  </a:lnTo>
                  <a:lnTo>
                    <a:pt x="126" y="317"/>
                  </a:lnTo>
                  <a:lnTo>
                    <a:pt x="124" y="317"/>
                  </a:lnTo>
                  <a:lnTo>
                    <a:pt x="124" y="317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4" y="319"/>
                  </a:lnTo>
                  <a:lnTo>
                    <a:pt x="121" y="319"/>
                  </a:lnTo>
                  <a:lnTo>
                    <a:pt x="121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9" y="319"/>
                  </a:lnTo>
                  <a:lnTo>
                    <a:pt x="117" y="319"/>
                  </a:lnTo>
                  <a:lnTo>
                    <a:pt x="117" y="319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5" y="319"/>
                  </a:lnTo>
                  <a:lnTo>
                    <a:pt x="112" y="319"/>
                  </a:lnTo>
                  <a:lnTo>
                    <a:pt x="112" y="319"/>
                  </a:lnTo>
                  <a:lnTo>
                    <a:pt x="112" y="319"/>
                  </a:lnTo>
                  <a:lnTo>
                    <a:pt x="112" y="319"/>
                  </a:lnTo>
                  <a:lnTo>
                    <a:pt x="110" y="319"/>
                  </a:lnTo>
                  <a:lnTo>
                    <a:pt x="112" y="319"/>
                  </a:lnTo>
                  <a:lnTo>
                    <a:pt x="112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7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10" y="315"/>
                  </a:lnTo>
                  <a:lnTo>
                    <a:pt x="108" y="315"/>
                  </a:lnTo>
                  <a:lnTo>
                    <a:pt x="108" y="315"/>
                  </a:lnTo>
                  <a:lnTo>
                    <a:pt x="108" y="315"/>
                  </a:lnTo>
                  <a:lnTo>
                    <a:pt x="108" y="315"/>
                  </a:lnTo>
                  <a:lnTo>
                    <a:pt x="108" y="315"/>
                  </a:lnTo>
                  <a:lnTo>
                    <a:pt x="108" y="315"/>
                  </a:lnTo>
                  <a:lnTo>
                    <a:pt x="108" y="315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8" y="312"/>
                  </a:lnTo>
                  <a:lnTo>
                    <a:pt x="106" y="312"/>
                  </a:lnTo>
                  <a:lnTo>
                    <a:pt x="106" y="312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10"/>
                  </a:lnTo>
                  <a:lnTo>
                    <a:pt x="106" y="308"/>
                  </a:lnTo>
                  <a:lnTo>
                    <a:pt x="106" y="308"/>
                  </a:lnTo>
                  <a:lnTo>
                    <a:pt x="106" y="308"/>
                  </a:lnTo>
                  <a:lnTo>
                    <a:pt x="103" y="308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6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3" y="303"/>
                  </a:lnTo>
                  <a:lnTo>
                    <a:pt x="101" y="303"/>
                  </a:lnTo>
                  <a:lnTo>
                    <a:pt x="101" y="303"/>
                  </a:lnTo>
                  <a:lnTo>
                    <a:pt x="101" y="301"/>
                  </a:lnTo>
                  <a:lnTo>
                    <a:pt x="101" y="301"/>
                  </a:lnTo>
                  <a:lnTo>
                    <a:pt x="101" y="301"/>
                  </a:lnTo>
                  <a:lnTo>
                    <a:pt x="101" y="301"/>
                  </a:lnTo>
                  <a:lnTo>
                    <a:pt x="101" y="301"/>
                  </a:lnTo>
                  <a:lnTo>
                    <a:pt x="99" y="301"/>
                  </a:lnTo>
                  <a:lnTo>
                    <a:pt x="99" y="301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9"/>
                  </a:lnTo>
                  <a:lnTo>
                    <a:pt x="99" y="297"/>
                  </a:lnTo>
                  <a:lnTo>
                    <a:pt x="99" y="297"/>
                  </a:lnTo>
                  <a:lnTo>
                    <a:pt x="99" y="294"/>
                  </a:lnTo>
                  <a:lnTo>
                    <a:pt x="99" y="294"/>
                  </a:lnTo>
                  <a:lnTo>
                    <a:pt x="99" y="294"/>
                  </a:lnTo>
                  <a:lnTo>
                    <a:pt x="99" y="294"/>
                  </a:lnTo>
                  <a:lnTo>
                    <a:pt x="99" y="294"/>
                  </a:lnTo>
                  <a:lnTo>
                    <a:pt x="99" y="294"/>
                  </a:lnTo>
                  <a:lnTo>
                    <a:pt x="99" y="294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9" y="290"/>
                  </a:lnTo>
                  <a:lnTo>
                    <a:pt x="97" y="290"/>
                  </a:lnTo>
                  <a:lnTo>
                    <a:pt x="97" y="290"/>
                  </a:lnTo>
                  <a:lnTo>
                    <a:pt x="97" y="290"/>
                  </a:lnTo>
                  <a:lnTo>
                    <a:pt x="97" y="290"/>
                  </a:lnTo>
                  <a:lnTo>
                    <a:pt x="97" y="290"/>
                  </a:lnTo>
                  <a:lnTo>
                    <a:pt x="97" y="288"/>
                  </a:lnTo>
                  <a:lnTo>
                    <a:pt x="97" y="288"/>
                  </a:lnTo>
                  <a:lnTo>
                    <a:pt x="94" y="285"/>
                  </a:lnTo>
                  <a:lnTo>
                    <a:pt x="94" y="285"/>
                  </a:lnTo>
                  <a:lnTo>
                    <a:pt x="94" y="285"/>
                  </a:lnTo>
                  <a:lnTo>
                    <a:pt x="94" y="285"/>
                  </a:lnTo>
                  <a:lnTo>
                    <a:pt x="94" y="283"/>
                  </a:lnTo>
                  <a:lnTo>
                    <a:pt x="94" y="283"/>
                  </a:lnTo>
                  <a:lnTo>
                    <a:pt x="94" y="283"/>
                  </a:lnTo>
                  <a:lnTo>
                    <a:pt x="94" y="283"/>
                  </a:lnTo>
                  <a:lnTo>
                    <a:pt x="94" y="283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81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9"/>
                  </a:lnTo>
                  <a:lnTo>
                    <a:pt x="94" y="276"/>
                  </a:lnTo>
                  <a:lnTo>
                    <a:pt x="94" y="276"/>
                  </a:lnTo>
                  <a:lnTo>
                    <a:pt x="94" y="276"/>
                  </a:lnTo>
                  <a:lnTo>
                    <a:pt x="94" y="276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4" y="274"/>
                  </a:lnTo>
                  <a:lnTo>
                    <a:pt x="94" y="272"/>
                  </a:lnTo>
                  <a:lnTo>
                    <a:pt x="94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2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2" y="270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90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3" y="267"/>
                  </a:lnTo>
                  <a:lnTo>
                    <a:pt x="81" y="267"/>
                  </a:lnTo>
                  <a:lnTo>
                    <a:pt x="79" y="267"/>
                  </a:lnTo>
                  <a:lnTo>
                    <a:pt x="76" y="267"/>
                  </a:lnTo>
                  <a:lnTo>
                    <a:pt x="76" y="267"/>
                  </a:lnTo>
                  <a:lnTo>
                    <a:pt x="74" y="267"/>
                  </a:lnTo>
                  <a:lnTo>
                    <a:pt x="72" y="267"/>
                  </a:lnTo>
                  <a:lnTo>
                    <a:pt x="70" y="267"/>
                  </a:lnTo>
                  <a:lnTo>
                    <a:pt x="67" y="267"/>
                  </a:lnTo>
                  <a:lnTo>
                    <a:pt x="65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1" y="267"/>
                  </a:lnTo>
                  <a:lnTo>
                    <a:pt x="58" y="267"/>
                  </a:lnTo>
                  <a:lnTo>
                    <a:pt x="56" y="267"/>
                  </a:lnTo>
                  <a:lnTo>
                    <a:pt x="54" y="267"/>
                  </a:lnTo>
                  <a:lnTo>
                    <a:pt x="52" y="267"/>
                  </a:lnTo>
                  <a:lnTo>
                    <a:pt x="49" y="267"/>
                  </a:lnTo>
                  <a:lnTo>
                    <a:pt x="49" y="267"/>
                  </a:lnTo>
                  <a:lnTo>
                    <a:pt x="47" y="267"/>
                  </a:lnTo>
                  <a:lnTo>
                    <a:pt x="47" y="267"/>
                  </a:lnTo>
                  <a:lnTo>
                    <a:pt x="45" y="267"/>
                  </a:lnTo>
                  <a:lnTo>
                    <a:pt x="43" y="267"/>
                  </a:lnTo>
                  <a:lnTo>
                    <a:pt x="43" y="267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38" y="267"/>
                  </a:lnTo>
                  <a:lnTo>
                    <a:pt x="38" y="267"/>
                  </a:lnTo>
                  <a:lnTo>
                    <a:pt x="38" y="267"/>
                  </a:lnTo>
                  <a:lnTo>
                    <a:pt x="36" y="265"/>
                  </a:lnTo>
                  <a:lnTo>
                    <a:pt x="34" y="267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7" y="267"/>
                  </a:lnTo>
                  <a:lnTo>
                    <a:pt x="27" y="267"/>
                  </a:lnTo>
                  <a:lnTo>
                    <a:pt x="25" y="267"/>
                  </a:lnTo>
                  <a:lnTo>
                    <a:pt x="25" y="267"/>
                  </a:lnTo>
                  <a:lnTo>
                    <a:pt x="25" y="267"/>
                  </a:lnTo>
                  <a:lnTo>
                    <a:pt x="25" y="267"/>
                  </a:lnTo>
                  <a:lnTo>
                    <a:pt x="25" y="267"/>
                  </a:lnTo>
                  <a:lnTo>
                    <a:pt x="22" y="267"/>
                  </a:lnTo>
                  <a:lnTo>
                    <a:pt x="22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5"/>
                  </a:lnTo>
                  <a:lnTo>
                    <a:pt x="18" y="265"/>
                  </a:lnTo>
                  <a:lnTo>
                    <a:pt x="16" y="265"/>
                  </a:lnTo>
                  <a:lnTo>
                    <a:pt x="16" y="265"/>
                  </a:lnTo>
                  <a:lnTo>
                    <a:pt x="16" y="265"/>
                  </a:lnTo>
                  <a:lnTo>
                    <a:pt x="16" y="265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67"/>
                  </a:lnTo>
                  <a:lnTo>
                    <a:pt x="11" y="270"/>
                  </a:lnTo>
                  <a:lnTo>
                    <a:pt x="9" y="270"/>
                  </a:lnTo>
                  <a:lnTo>
                    <a:pt x="9" y="270"/>
                  </a:lnTo>
                  <a:lnTo>
                    <a:pt x="7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4" y="270"/>
                  </a:lnTo>
                  <a:lnTo>
                    <a:pt x="2" y="270"/>
                  </a:lnTo>
                  <a:lnTo>
                    <a:pt x="2" y="270"/>
                  </a:lnTo>
                  <a:lnTo>
                    <a:pt x="2" y="267"/>
                  </a:lnTo>
                  <a:lnTo>
                    <a:pt x="2" y="267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7" y="263"/>
                  </a:lnTo>
                  <a:lnTo>
                    <a:pt x="7" y="261"/>
                  </a:lnTo>
                  <a:lnTo>
                    <a:pt x="7" y="261"/>
                  </a:lnTo>
                  <a:lnTo>
                    <a:pt x="7" y="256"/>
                  </a:lnTo>
                  <a:lnTo>
                    <a:pt x="7" y="254"/>
                  </a:lnTo>
                  <a:lnTo>
                    <a:pt x="7" y="252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7" y="249"/>
                  </a:lnTo>
                  <a:lnTo>
                    <a:pt x="4" y="249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4" y="247"/>
                  </a:lnTo>
                  <a:lnTo>
                    <a:pt x="7" y="247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11" y="245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3"/>
                  </a:lnTo>
                  <a:lnTo>
                    <a:pt x="11" y="240"/>
                  </a:lnTo>
                  <a:lnTo>
                    <a:pt x="11" y="240"/>
                  </a:lnTo>
                  <a:lnTo>
                    <a:pt x="11" y="240"/>
                  </a:lnTo>
                  <a:lnTo>
                    <a:pt x="13" y="240"/>
                  </a:lnTo>
                  <a:lnTo>
                    <a:pt x="13" y="240"/>
                  </a:lnTo>
                  <a:lnTo>
                    <a:pt x="18" y="238"/>
                  </a:lnTo>
                  <a:lnTo>
                    <a:pt x="18" y="238"/>
                  </a:lnTo>
                  <a:lnTo>
                    <a:pt x="18" y="238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8"/>
                  </a:lnTo>
                  <a:lnTo>
                    <a:pt x="20" y="238"/>
                  </a:lnTo>
                  <a:lnTo>
                    <a:pt x="20" y="238"/>
                  </a:lnTo>
                  <a:lnTo>
                    <a:pt x="20" y="238"/>
                  </a:lnTo>
                  <a:lnTo>
                    <a:pt x="22" y="240"/>
                  </a:lnTo>
                  <a:lnTo>
                    <a:pt x="22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0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5" y="243"/>
                  </a:lnTo>
                  <a:lnTo>
                    <a:pt x="27" y="243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7" y="240"/>
                  </a:lnTo>
                  <a:lnTo>
                    <a:pt x="29" y="240"/>
                  </a:lnTo>
                  <a:lnTo>
                    <a:pt x="29" y="240"/>
                  </a:lnTo>
                  <a:lnTo>
                    <a:pt x="29" y="240"/>
                  </a:lnTo>
                  <a:lnTo>
                    <a:pt x="29" y="240"/>
                  </a:lnTo>
                  <a:lnTo>
                    <a:pt x="29" y="240"/>
                  </a:lnTo>
                  <a:lnTo>
                    <a:pt x="29" y="240"/>
                  </a:lnTo>
                  <a:lnTo>
                    <a:pt x="31" y="240"/>
                  </a:lnTo>
                  <a:lnTo>
                    <a:pt x="31" y="240"/>
                  </a:lnTo>
                  <a:lnTo>
                    <a:pt x="31" y="240"/>
                  </a:lnTo>
                  <a:lnTo>
                    <a:pt x="31" y="240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34" y="231"/>
                  </a:lnTo>
                  <a:lnTo>
                    <a:pt x="34" y="231"/>
                  </a:lnTo>
                  <a:lnTo>
                    <a:pt x="34" y="234"/>
                  </a:lnTo>
                  <a:lnTo>
                    <a:pt x="34" y="234"/>
                  </a:lnTo>
                  <a:lnTo>
                    <a:pt x="36" y="234"/>
                  </a:lnTo>
                  <a:lnTo>
                    <a:pt x="36" y="234"/>
                  </a:lnTo>
                  <a:lnTo>
                    <a:pt x="36" y="234"/>
                  </a:lnTo>
                  <a:lnTo>
                    <a:pt x="36" y="234"/>
                  </a:lnTo>
                  <a:lnTo>
                    <a:pt x="36" y="234"/>
                  </a:lnTo>
                  <a:lnTo>
                    <a:pt x="36" y="234"/>
                  </a:lnTo>
                  <a:lnTo>
                    <a:pt x="36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1"/>
                  </a:lnTo>
                  <a:lnTo>
                    <a:pt x="38" y="231"/>
                  </a:lnTo>
                  <a:lnTo>
                    <a:pt x="40" y="231"/>
                  </a:lnTo>
                  <a:lnTo>
                    <a:pt x="43" y="231"/>
                  </a:lnTo>
                  <a:lnTo>
                    <a:pt x="43" y="231"/>
                  </a:lnTo>
                  <a:lnTo>
                    <a:pt x="43" y="229"/>
                  </a:lnTo>
                  <a:lnTo>
                    <a:pt x="43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7" y="229"/>
                  </a:lnTo>
                  <a:lnTo>
                    <a:pt x="47" y="229"/>
                  </a:lnTo>
                  <a:lnTo>
                    <a:pt x="47" y="229"/>
                  </a:lnTo>
                  <a:lnTo>
                    <a:pt x="47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7" y="234"/>
                  </a:lnTo>
                  <a:lnTo>
                    <a:pt x="45" y="236"/>
                  </a:lnTo>
                  <a:lnTo>
                    <a:pt x="45" y="236"/>
                  </a:lnTo>
                  <a:lnTo>
                    <a:pt x="45" y="236"/>
                  </a:lnTo>
                  <a:lnTo>
                    <a:pt x="45" y="236"/>
                  </a:lnTo>
                  <a:lnTo>
                    <a:pt x="45" y="236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47" y="238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7" y="240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7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49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6" y="243"/>
                  </a:lnTo>
                  <a:lnTo>
                    <a:pt x="56" y="240"/>
                  </a:lnTo>
                  <a:lnTo>
                    <a:pt x="56" y="240"/>
                  </a:lnTo>
                  <a:lnTo>
                    <a:pt x="58" y="238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58" y="236"/>
                  </a:lnTo>
                  <a:lnTo>
                    <a:pt x="61" y="234"/>
                  </a:lnTo>
                  <a:lnTo>
                    <a:pt x="61" y="234"/>
                  </a:lnTo>
                  <a:lnTo>
                    <a:pt x="63" y="231"/>
                  </a:lnTo>
                  <a:lnTo>
                    <a:pt x="63" y="231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5" y="229"/>
                  </a:lnTo>
                  <a:lnTo>
                    <a:pt x="65" y="229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5"/>
                  </a:lnTo>
                  <a:lnTo>
                    <a:pt x="70" y="225"/>
                  </a:lnTo>
                  <a:lnTo>
                    <a:pt x="70" y="222"/>
                  </a:lnTo>
                  <a:lnTo>
                    <a:pt x="72" y="222"/>
                  </a:lnTo>
                  <a:lnTo>
                    <a:pt x="74" y="222"/>
                  </a:lnTo>
                  <a:lnTo>
                    <a:pt x="74" y="222"/>
                  </a:lnTo>
                  <a:lnTo>
                    <a:pt x="76" y="222"/>
                  </a:lnTo>
                  <a:lnTo>
                    <a:pt x="76" y="222"/>
                  </a:lnTo>
                  <a:lnTo>
                    <a:pt x="79" y="220"/>
                  </a:lnTo>
                  <a:lnTo>
                    <a:pt x="79" y="220"/>
                  </a:lnTo>
                  <a:lnTo>
                    <a:pt x="79" y="218"/>
                  </a:lnTo>
                  <a:lnTo>
                    <a:pt x="79" y="218"/>
                  </a:lnTo>
                  <a:lnTo>
                    <a:pt x="79" y="218"/>
                  </a:lnTo>
                  <a:lnTo>
                    <a:pt x="79" y="218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81" y="216"/>
                  </a:lnTo>
                  <a:lnTo>
                    <a:pt x="81" y="213"/>
                  </a:lnTo>
                  <a:lnTo>
                    <a:pt x="83" y="211"/>
                  </a:lnTo>
                  <a:lnTo>
                    <a:pt x="83" y="211"/>
                  </a:lnTo>
                  <a:lnTo>
                    <a:pt x="83" y="209"/>
                  </a:lnTo>
                  <a:lnTo>
                    <a:pt x="85" y="207"/>
                  </a:lnTo>
                  <a:lnTo>
                    <a:pt x="85" y="207"/>
                  </a:lnTo>
                  <a:lnTo>
                    <a:pt x="85" y="207"/>
                  </a:lnTo>
                  <a:lnTo>
                    <a:pt x="85" y="204"/>
                  </a:lnTo>
                  <a:lnTo>
                    <a:pt x="85" y="204"/>
                  </a:lnTo>
                  <a:lnTo>
                    <a:pt x="85" y="204"/>
                  </a:lnTo>
                  <a:lnTo>
                    <a:pt x="85" y="204"/>
                  </a:lnTo>
                  <a:lnTo>
                    <a:pt x="83" y="204"/>
                  </a:lnTo>
                  <a:lnTo>
                    <a:pt x="85" y="202"/>
                  </a:lnTo>
                  <a:lnTo>
                    <a:pt x="85" y="202"/>
                  </a:lnTo>
                  <a:lnTo>
                    <a:pt x="83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0"/>
                  </a:lnTo>
                  <a:lnTo>
                    <a:pt x="83" y="198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5" y="193"/>
                  </a:lnTo>
                  <a:lnTo>
                    <a:pt x="85" y="189"/>
                  </a:lnTo>
                  <a:lnTo>
                    <a:pt x="83" y="184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5" y="180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2" y="173"/>
                  </a:lnTo>
                  <a:lnTo>
                    <a:pt x="92" y="171"/>
                  </a:lnTo>
                  <a:lnTo>
                    <a:pt x="92" y="171"/>
                  </a:lnTo>
                  <a:lnTo>
                    <a:pt x="92" y="168"/>
                  </a:lnTo>
                  <a:lnTo>
                    <a:pt x="92" y="168"/>
                  </a:lnTo>
                  <a:lnTo>
                    <a:pt x="94" y="168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6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7" y="162"/>
                  </a:lnTo>
                  <a:lnTo>
                    <a:pt x="97" y="160"/>
                  </a:lnTo>
                  <a:lnTo>
                    <a:pt x="97" y="160"/>
                  </a:lnTo>
                  <a:lnTo>
                    <a:pt x="97" y="160"/>
                  </a:lnTo>
                  <a:lnTo>
                    <a:pt x="97" y="157"/>
                  </a:lnTo>
                  <a:lnTo>
                    <a:pt x="97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7"/>
                  </a:lnTo>
                  <a:lnTo>
                    <a:pt x="99" y="155"/>
                  </a:lnTo>
                  <a:lnTo>
                    <a:pt x="101" y="155"/>
                  </a:lnTo>
                  <a:lnTo>
                    <a:pt x="101" y="155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1" y="153"/>
                  </a:lnTo>
                  <a:lnTo>
                    <a:pt x="103" y="153"/>
                  </a:lnTo>
                  <a:lnTo>
                    <a:pt x="103" y="153"/>
                  </a:lnTo>
                  <a:lnTo>
                    <a:pt x="106" y="153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10" y="151"/>
                  </a:lnTo>
                  <a:lnTo>
                    <a:pt x="110" y="148"/>
                  </a:lnTo>
                  <a:lnTo>
                    <a:pt x="110" y="148"/>
                  </a:lnTo>
                  <a:lnTo>
                    <a:pt x="115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5" y="142"/>
                  </a:lnTo>
                  <a:lnTo>
                    <a:pt x="117" y="139"/>
                  </a:lnTo>
                  <a:lnTo>
                    <a:pt x="117" y="139"/>
                  </a:lnTo>
                  <a:lnTo>
                    <a:pt x="117" y="139"/>
                  </a:lnTo>
                  <a:lnTo>
                    <a:pt x="117" y="135"/>
                  </a:lnTo>
                  <a:lnTo>
                    <a:pt x="117" y="133"/>
                  </a:lnTo>
                  <a:lnTo>
                    <a:pt x="117" y="133"/>
                  </a:lnTo>
                  <a:lnTo>
                    <a:pt x="117" y="133"/>
                  </a:lnTo>
                  <a:lnTo>
                    <a:pt x="117" y="128"/>
                  </a:lnTo>
                  <a:lnTo>
                    <a:pt x="117" y="126"/>
                  </a:lnTo>
                  <a:lnTo>
                    <a:pt x="119" y="121"/>
                  </a:lnTo>
                  <a:lnTo>
                    <a:pt x="121" y="119"/>
                  </a:lnTo>
                  <a:lnTo>
                    <a:pt x="121" y="119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5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9" y="112"/>
                  </a:lnTo>
                  <a:lnTo>
                    <a:pt x="121" y="110"/>
                  </a:lnTo>
                  <a:lnTo>
                    <a:pt x="121" y="110"/>
                  </a:lnTo>
                  <a:lnTo>
                    <a:pt x="119" y="106"/>
                  </a:lnTo>
                  <a:lnTo>
                    <a:pt x="119" y="103"/>
                  </a:lnTo>
                  <a:lnTo>
                    <a:pt x="119" y="103"/>
                  </a:lnTo>
                  <a:lnTo>
                    <a:pt x="119" y="101"/>
                  </a:lnTo>
                  <a:lnTo>
                    <a:pt x="119" y="101"/>
                  </a:lnTo>
                  <a:lnTo>
                    <a:pt x="121" y="101"/>
                  </a:lnTo>
                  <a:lnTo>
                    <a:pt x="121" y="99"/>
                  </a:lnTo>
                  <a:lnTo>
                    <a:pt x="121" y="99"/>
                  </a:lnTo>
                  <a:lnTo>
                    <a:pt x="121" y="97"/>
                  </a:lnTo>
                  <a:lnTo>
                    <a:pt x="121" y="94"/>
                  </a:lnTo>
                  <a:lnTo>
                    <a:pt x="124" y="94"/>
                  </a:lnTo>
                  <a:lnTo>
                    <a:pt x="124" y="92"/>
                  </a:lnTo>
                  <a:lnTo>
                    <a:pt x="124" y="90"/>
                  </a:lnTo>
                  <a:lnTo>
                    <a:pt x="124" y="90"/>
                  </a:lnTo>
                  <a:lnTo>
                    <a:pt x="124" y="83"/>
                  </a:lnTo>
                  <a:lnTo>
                    <a:pt x="124" y="83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4" y="79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4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6" y="70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5"/>
                  </a:lnTo>
                  <a:lnTo>
                    <a:pt x="128" y="65"/>
                  </a:lnTo>
                  <a:lnTo>
                    <a:pt x="128" y="65"/>
                  </a:lnTo>
                  <a:lnTo>
                    <a:pt x="130" y="63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0" y="61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3" y="54"/>
                  </a:lnTo>
                  <a:lnTo>
                    <a:pt x="133" y="54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47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5" y="38"/>
                  </a:lnTo>
                  <a:lnTo>
                    <a:pt x="135" y="36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5" y="31"/>
                  </a:lnTo>
                  <a:lnTo>
                    <a:pt x="135" y="31"/>
                  </a:lnTo>
                  <a:lnTo>
                    <a:pt x="135" y="29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25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5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9" y="22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42" y="18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50" y="7"/>
                  </a:lnTo>
                  <a:lnTo>
                    <a:pt x="150" y="4"/>
                  </a:lnTo>
                  <a:lnTo>
                    <a:pt x="150" y="4"/>
                  </a:lnTo>
                  <a:lnTo>
                    <a:pt x="153" y="4"/>
                  </a:lnTo>
                  <a:lnTo>
                    <a:pt x="153" y="4"/>
                  </a:lnTo>
                  <a:lnTo>
                    <a:pt x="153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5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7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6" y="9"/>
                  </a:lnTo>
                  <a:lnTo>
                    <a:pt x="166" y="11"/>
                  </a:lnTo>
                  <a:lnTo>
                    <a:pt x="168" y="11"/>
                  </a:lnTo>
                  <a:lnTo>
                    <a:pt x="168" y="11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3" y="16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20"/>
                  </a:lnTo>
                  <a:lnTo>
                    <a:pt x="175" y="22"/>
                  </a:lnTo>
                  <a:lnTo>
                    <a:pt x="175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80" y="22"/>
                  </a:lnTo>
                  <a:lnTo>
                    <a:pt x="180" y="22"/>
                  </a:lnTo>
                  <a:lnTo>
                    <a:pt x="182" y="22"/>
                  </a:lnTo>
                  <a:lnTo>
                    <a:pt x="182" y="20"/>
                  </a:lnTo>
                  <a:lnTo>
                    <a:pt x="182" y="20"/>
                  </a:lnTo>
                  <a:lnTo>
                    <a:pt x="182" y="20"/>
                  </a:lnTo>
                  <a:lnTo>
                    <a:pt x="184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2"/>
                  </a:lnTo>
                  <a:lnTo>
                    <a:pt x="186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89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95" y="25"/>
                  </a:lnTo>
                  <a:lnTo>
                    <a:pt x="195" y="25"/>
                  </a:lnTo>
                  <a:lnTo>
                    <a:pt x="195" y="25"/>
                  </a:lnTo>
                  <a:lnTo>
                    <a:pt x="195" y="25"/>
                  </a:lnTo>
                  <a:lnTo>
                    <a:pt x="195" y="25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5" y="27"/>
                  </a:lnTo>
                  <a:lnTo>
                    <a:pt x="198" y="25"/>
                  </a:lnTo>
                  <a:lnTo>
                    <a:pt x="198" y="25"/>
                  </a:lnTo>
                  <a:lnTo>
                    <a:pt x="200" y="25"/>
                  </a:lnTo>
                  <a:lnTo>
                    <a:pt x="200" y="25"/>
                  </a:lnTo>
                  <a:lnTo>
                    <a:pt x="200" y="25"/>
                  </a:lnTo>
                  <a:lnTo>
                    <a:pt x="200" y="25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5"/>
                  </a:lnTo>
                  <a:lnTo>
                    <a:pt x="202" y="27"/>
                  </a:lnTo>
                  <a:lnTo>
                    <a:pt x="204" y="27"/>
                  </a:lnTo>
                  <a:lnTo>
                    <a:pt x="204" y="27"/>
                  </a:lnTo>
                  <a:lnTo>
                    <a:pt x="204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7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09" y="27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9"/>
                  </a:lnTo>
                  <a:lnTo>
                    <a:pt x="216" y="27"/>
                  </a:lnTo>
                  <a:lnTo>
                    <a:pt x="216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7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5"/>
                  </a:lnTo>
                  <a:lnTo>
                    <a:pt x="218" y="22"/>
                  </a:lnTo>
                  <a:lnTo>
                    <a:pt x="218" y="22"/>
                  </a:lnTo>
                  <a:lnTo>
                    <a:pt x="218" y="22"/>
                  </a:lnTo>
                  <a:lnTo>
                    <a:pt x="218" y="22"/>
                  </a:lnTo>
                  <a:lnTo>
                    <a:pt x="218" y="22"/>
                  </a:lnTo>
                  <a:lnTo>
                    <a:pt x="218" y="22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18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20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0" y="18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2" y="13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5" y="16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3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7" y="13"/>
                  </a:lnTo>
                  <a:lnTo>
                    <a:pt x="229" y="13"/>
                  </a:lnTo>
                  <a:lnTo>
                    <a:pt x="229" y="16"/>
                  </a:lnTo>
                  <a:lnTo>
                    <a:pt x="229" y="16"/>
                  </a:lnTo>
                  <a:lnTo>
                    <a:pt x="229" y="16"/>
                  </a:lnTo>
                  <a:lnTo>
                    <a:pt x="231" y="13"/>
                  </a:lnTo>
                  <a:lnTo>
                    <a:pt x="231" y="13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34" y="16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4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8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38" y="16"/>
                  </a:lnTo>
                  <a:lnTo>
                    <a:pt x="238" y="16"/>
                  </a:lnTo>
                  <a:lnTo>
                    <a:pt x="238" y="16"/>
                  </a:lnTo>
                  <a:lnTo>
                    <a:pt x="238" y="13"/>
                  </a:lnTo>
                  <a:lnTo>
                    <a:pt x="240" y="13"/>
                  </a:lnTo>
                  <a:lnTo>
                    <a:pt x="240" y="13"/>
                  </a:lnTo>
                  <a:lnTo>
                    <a:pt x="240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3" y="13"/>
                  </a:lnTo>
                  <a:lnTo>
                    <a:pt x="245" y="11"/>
                  </a:lnTo>
                  <a:lnTo>
                    <a:pt x="245" y="13"/>
                  </a:lnTo>
                  <a:lnTo>
                    <a:pt x="245" y="13"/>
                  </a:lnTo>
                  <a:lnTo>
                    <a:pt x="245" y="13"/>
                  </a:lnTo>
                  <a:lnTo>
                    <a:pt x="245" y="13"/>
                  </a:lnTo>
                  <a:lnTo>
                    <a:pt x="245" y="11"/>
                  </a:lnTo>
                  <a:lnTo>
                    <a:pt x="245" y="11"/>
                  </a:lnTo>
                  <a:lnTo>
                    <a:pt x="247" y="13"/>
                  </a:lnTo>
                  <a:lnTo>
                    <a:pt x="247" y="13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7" y="11"/>
                  </a:lnTo>
                  <a:lnTo>
                    <a:pt x="249" y="11"/>
                  </a:lnTo>
                  <a:lnTo>
                    <a:pt x="249" y="11"/>
                  </a:lnTo>
                  <a:lnTo>
                    <a:pt x="249" y="9"/>
                  </a:lnTo>
                  <a:lnTo>
                    <a:pt x="249" y="9"/>
                  </a:lnTo>
                  <a:lnTo>
                    <a:pt x="249" y="9"/>
                  </a:lnTo>
                  <a:lnTo>
                    <a:pt x="252" y="11"/>
                  </a:lnTo>
                  <a:lnTo>
                    <a:pt x="252" y="11"/>
                  </a:lnTo>
                  <a:lnTo>
                    <a:pt x="252" y="11"/>
                  </a:lnTo>
                  <a:lnTo>
                    <a:pt x="252" y="9"/>
                  </a:lnTo>
                  <a:lnTo>
                    <a:pt x="252" y="9"/>
                  </a:lnTo>
                  <a:lnTo>
                    <a:pt x="252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4" y="9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6" y="7"/>
                  </a:lnTo>
                  <a:lnTo>
                    <a:pt x="258" y="4"/>
                  </a:lnTo>
                  <a:lnTo>
                    <a:pt x="258" y="7"/>
                  </a:lnTo>
                  <a:lnTo>
                    <a:pt x="258" y="7"/>
                  </a:lnTo>
                  <a:lnTo>
                    <a:pt x="258" y="7"/>
                  </a:lnTo>
                  <a:lnTo>
                    <a:pt x="258" y="7"/>
                  </a:lnTo>
                  <a:lnTo>
                    <a:pt x="258" y="7"/>
                  </a:lnTo>
                  <a:lnTo>
                    <a:pt x="258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7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3" y="9"/>
                  </a:lnTo>
                  <a:lnTo>
                    <a:pt x="261" y="9"/>
                  </a:lnTo>
                  <a:lnTo>
                    <a:pt x="261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3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5" y="9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67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0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9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7"/>
                  </a:lnTo>
                  <a:lnTo>
                    <a:pt x="272" y="9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4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6" y="7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6" y="4"/>
                  </a:lnTo>
                  <a:lnTo>
                    <a:pt x="274" y="4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79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5" name="Freeform 622"/>
            <p:cNvSpPr>
              <a:spLocks noEditPoints="1"/>
            </p:cNvSpPr>
            <p:nvPr/>
          </p:nvSpPr>
          <p:spPr bwMode="auto">
            <a:xfrm>
              <a:off x="2869672" y="3472682"/>
              <a:ext cx="422871" cy="661884"/>
            </a:xfrm>
            <a:custGeom>
              <a:avLst/>
              <a:gdLst>
                <a:gd name="T0" fmla="*/ 24 w 253"/>
                <a:gd name="T1" fmla="*/ 232 h 396"/>
                <a:gd name="T2" fmla="*/ 33 w 253"/>
                <a:gd name="T3" fmla="*/ 194 h 396"/>
                <a:gd name="T4" fmla="*/ 170 w 253"/>
                <a:gd name="T5" fmla="*/ 11 h 396"/>
                <a:gd name="T6" fmla="*/ 139 w 253"/>
                <a:gd name="T7" fmla="*/ 43 h 396"/>
                <a:gd name="T8" fmla="*/ 132 w 253"/>
                <a:gd name="T9" fmla="*/ 77 h 396"/>
                <a:gd name="T10" fmla="*/ 143 w 253"/>
                <a:gd name="T11" fmla="*/ 99 h 396"/>
                <a:gd name="T12" fmla="*/ 150 w 253"/>
                <a:gd name="T13" fmla="*/ 128 h 396"/>
                <a:gd name="T14" fmla="*/ 166 w 253"/>
                <a:gd name="T15" fmla="*/ 131 h 396"/>
                <a:gd name="T16" fmla="*/ 195 w 253"/>
                <a:gd name="T17" fmla="*/ 137 h 396"/>
                <a:gd name="T18" fmla="*/ 236 w 253"/>
                <a:gd name="T19" fmla="*/ 146 h 396"/>
                <a:gd name="T20" fmla="*/ 240 w 253"/>
                <a:gd name="T21" fmla="*/ 167 h 396"/>
                <a:gd name="T22" fmla="*/ 236 w 253"/>
                <a:gd name="T23" fmla="*/ 187 h 396"/>
                <a:gd name="T24" fmla="*/ 245 w 253"/>
                <a:gd name="T25" fmla="*/ 212 h 396"/>
                <a:gd name="T26" fmla="*/ 242 w 253"/>
                <a:gd name="T27" fmla="*/ 234 h 396"/>
                <a:gd name="T28" fmla="*/ 251 w 253"/>
                <a:gd name="T29" fmla="*/ 252 h 396"/>
                <a:gd name="T30" fmla="*/ 233 w 253"/>
                <a:gd name="T31" fmla="*/ 254 h 396"/>
                <a:gd name="T32" fmla="*/ 193 w 253"/>
                <a:gd name="T33" fmla="*/ 254 h 396"/>
                <a:gd name="T34" fmla="*/ 206 w 253"/>
                <a:gd name="T35" fmla="*/ 277 h 396"/>
                <a:gd name="T36" fmla="*/ 191 w 253"/>
                <a:gd name="T37" fmla="*/ 281 h 396"/>
                <a:gd name="T38" fmla="*/ 197 w 253"/>
                <a:gd name="T39" fmla="*/ 315 h 396"/>
                <a:gd name="T40" fmla="*/ 193 w 253"/>
                <a:gd name="T41" fmla="*/ 385 h 396"/>
                <a:gd name="T42" fmla="*/ 186 w 253"/>
                <a:gd name="T43" fmla="*/ 360 h 396"/>
                <a:gd name="T44" fmla="*/ 175 w 253"/>
                <a:gd name="T45" fmla="*/ 353 h 396"/>
                <a:gd name="T46" fmla="*/ 157 w 253"/>
                <a:gd name="T47" fmla="*/ 351 h 396"/>
                <a:gd name="T48" fmla="*/ 134 w 253"/>
                <a:gd name="T49" fmla="*/ 351 h 396"/>
                <a:gd name="T50" fmla="*/ 123 w 253"/>
                <a:gd name="T51" fmla="*/ 344 h 396"/>
                <a:gd name="T52" fmla="*/ 114 w 253"/>
                <a:gd name="T53" fmla="*/ 329 h 396"/>
                <a:gd name="T54" fmla="*/ 105 w 253"/>
                <a:gd name="T55" fmla="*/ 322 h 396"/>
                <a:gd name="T56" fmla="*/ 92 w 253"/>
                <a:gd name="T57" fmla="*/ 304 h 396"/>
                <a:gd name="T58" fmla="*/ 72 w 253"/>
                <a:gd name="T59" fmla="*/ 295 h 396"/>
                <a:gd name="T60" fmla="*/ 54 w 253"/>
                <a:gd name="T61" fmla="*/ 290 h 396"/>
                <a:gd name="T62" fmla="*/ 24 w 253"/>
                <a:gd name="T63" fmla="*/ 277 h 396"/>
                <a:gd name="T64" fmla="*/ 2 w 253"/>
                <a:gd name="T65" fmla="*/ 259 h 396"/>
                <a:gd name="T66" fmla="*/ 9 w 253"/>
                <a:gd name="T67" fmla="*/ 250 h 396"/>
                <a:gd name="T68" fmla="*/ 9 w 253"/>
                <a:gd name="T69" fmla="*/ 239 h 396"/>
                <a:gd name="T70" fmla="*/ 22 w 253"/>
                <a:gd name="T71" fmla="*/ 234 h 396"/>
                <a:gd name="T72" fmla="*/ 27 w 253"/>
                <a:gd name="T73" fmla="*/ 230 h 396"/>
                <a:gd name="T74" fmla="*/ 29 w 253"/>
                <a:gd name="T75" fmla="*/ 225 h 396"/>
                <a:gd name="T76" fmla="*/ 33 w 253"/>
                <a:gd name="T77" fmla="*/ 218 h 396"/>
                <a:gd name="T78" fmla="*/ 38 w 253"/>
                <a:gd name="T79" fmla="*/ 214 h 396"/>
                <a:gd name="T80" fmla="*/ 40 w 253"/>
                <a:gd name="T81" fmla="*/ 207 h 396"/>
                <a:gd name="T82" fmla="*/ 40 w 253"/>
                <a:gd name="T83" fmla="*/ 205 h 396"/>
                <a:gd name="T84" fmla="*/ 38 w 253"/>
                <a:gd name="T85" fmla="*/ 200 h 396"/>
                <a:gd name="T86" fmla="*/ 36 w 253"/>
                <a:gd name="T87" fmla="*/ 189 h 396"/>
                <a:gd name="T88" fmla="*/ 36 w 253"/>
                <a:gd name="T89" fmla="*/ 167 h 396"/>
                <a:gd name="T90" fmla="*/ 38 w 253"/>
                <a:gd name="T91" fmla="*/ 162 h 396"/>
                <a:gd name="T92" fmla="*/ 38 w 253"/>
                <a:gd name="T93" fmla="*/ 142 h 396"/>
                <a:gd name="T94" fmla="*/ 31 w 253"/>
                <a:gd name="T95" fmla="*/ 128 h 396"/>
                <a:gd name="T96" fmla="*/ 40 w 253"/>
                <a:gd name="T97" fmla="*/ 113 h 396"/>
                <a:gd name="T98" fmla="*/ 40 w 253"/>
                <a:gd name="T99" fmla="*/ 90 h 396"/>
                <a:gd name="T100" fmla="*/ 51 w 253"/>
                <a:gd name="T101" fmla="*/ 104 h 396"/>
                <a:gd name="T102" fmla="*/ 51 w 253"/>
                <a:gd name="T103" fmla="*/ 101 h 396"/>
                <a:gd name="T104" fmla="*/ 63 w 253"/>
                <a:gd name="T105" fmla="*/ 81 h 396"/>
                <a:gd name="T106" fmla="*/ 76 w 253"/>
                <a:gd name="T107" fmla="*/ 72 h 396"/>
                <a:gd name="T108" fmla="*/ 78 w 253"/>
                <a:gd name="T109" fmla="*/ 54 h 396"/>
                <a:gd name="T110" fmla="*/ 81 w 253"/>
                <a:gd name="T111" fmla="*/ 45 h 396"/>
                <a:gd name="T112" fmla="*/ 87 w 253"/>
                <a:gd name="T113" fmla="*/ 41 h 396"/>
                <a:gd name="T114" fmla="*/ 103 w 253"/>
                <a:gd name="T115" fmla="*/ 34 h 396"/>
                <a:gd name="T116" fmla="*/ 105 w 253"/>
                <a:gd name="T117" fmla="*/ 41 h 396"/>
                <a:gd name="T118" fmla="*/ 112 w 253"/>
                <a:gd name="T119" fmla="*/ 25 h 396"/>
                <a:gd name="T120" fmla="*/ 143 w 253"/>
                <a:gd name="T121" fmla="*/ 16 h 396"/>
                <a:gd name="T122" fmla="*/ 159 w 253"/>
                <a:gd name="T123" fmla="*/ 5 h 396"/>
                <a:gd name="T124" fmla="*/ 164 w 253"/>
                <a:gd name="T125" fmla="*/ 0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3" h="396">
                  <a:moveTo>
                    <a:pt x="20" y="236"/>
                  </a:move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2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18" y="234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6"/>
                  </a:lnTo>
                  <a:lnTo>
                    <a:pt x="20" y="236"/>
                  </a:lnTo>
                  <a:close/>
                  <a:moveTo>
                    <a:pt x="24" y="234"/>
                  </a:move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2" y="232"/>
                  </a:lnTo>
                  <a:lnTo>
                    <a:pt x="22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4" y="234"/>
                  </a:lnTo>
                  <a:close/>
                  <a:moveTo>
                    <a:pt x="24" y="232"/>
                  </a:move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4" y="232"/>
                  </a:lnTo>
                  <a:close/>
                  <a:moveTo>
                    <a:pt x="36" y="194"/>
                  </a:moveTo>
                  <a:lnTo>
                    <a:pt x="36" y="194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3" y="196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3" y="196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6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3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close/>
                  <a:moveTo>
                    <a:pt x="164" y="0"/>
                  </a:moveTo>
                  <a:lnTo>
                    <a:pt x="166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0" y="0"/>
                  </a:lnTo>
                  <a:lnTo>
                    <a:pt x="170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5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5" y="7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0" y="11"/>
                  </a:lnTo>
                  <a:lnTo>
                    <a:pt x="170" y="11"/>
                  </a:lnTo>
                  <a:lnTo>
                    <a:pt x="170" y="14"/>
                  </a:lnTo>
                  <a:lnTo>
                    <a:pt x="170" y="14"/>
                  </a:lnTo>
                  <a:lnTo>
                    <a:pt x="170" y="14"/>
                  </a:lnTo>
                  <a:lnTo>
                    <a:pt x="170" y="14"/>
                  </a:lnTo>
                  <a:lnTo>
                    <a:pt x="168" y="14"/>
                  </a:lnTo>
                  <a:lnTo>
                    <a:pt x="168" y="16"/>
                  </a:lnTo>
                  <a:lnTo>
                    <a:pt x="168" y="16"/>
                  </a:lnTo>
                  <a:lnTo>
                    <a:pt x="166" y="16"/>
                  </a:lnTo>
                  <a:lnTo>
                    <a:pt x="166" y="16"/>
                  </a:lnTo>
                  <a:lnTo>
                    <a:pt x="164" y="16"/>
                  </a:lnTo>
                  <a:lnTo>
                    <a:pt x="161" y="16"/>
                  </a:lnTo>
                  <a:lnTo>
                    <a:pt x="161" y="18"/>
                  </a:lnTo>
                  <a:lnTo>
                    <a:pt x="159" y="18"/>
                  </a:lnTo>
                  <a:lnTo>
                    <a:pt x="159" y="18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5" y="20"/>
                  </a:lnTo>
                  <a:lnTo>
                    <a:pt x="155" y="20"/>
                  </a:lnTo>
                  <a:lnTo>
                    <a:pt x="155" y="23"/>
                  </a:lnTo>
                  <a:lnTo>
                    <a:pt x="155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6" y="32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39" y="41"/>
                  </a:lnTo>
                  <a:lnTo>
                    <a:pt x="139" y="43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4" y="47"/>
                  </a:lnTo>
                  <a:lnTo>
                    <a:pt x="134" y="47"/>
                  </a:lnTo>
                  <a:lnTo>
                    <a:pt x="134" y="47"/>
                  </a:lnTo>
                  <a:lnTo>
                    <a:pt x="134" y="47"/>
                  </a:lnTo>
                  <a:lnTo>
                    <a:pt x="134" y="54"/>
                  </a:lnTo>
                  <a:lnTo>
                    <a:pt x="132" y="59"/>
                  </a:lnTo>
                  <a:lnTo>
                    <a:pt x="132" y="59"/>
                  </a:lnTo>
                  <a:lnTo>
                    <a:pt x="132" y="59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68"/>
                  </a:lnTo>
                  <a:lnTo>
                    <a:pt x="130" y="70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25" y="72"/>
                  </a:lnTo>
                  <a:lnTo>
                    <a:pt x="125" y="74"/>
                  </a:lnTo>
                  <a:lnTo>
                    <a:pt x="125" y="77"/>
                  </a:lnTo>
                  <a:lnTo>
                    <a:pt x="125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8" y="77"/>
                  </a:lnTo>
                  <a:lnTo>
                    <a:pt x="128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9"/>
                  </a:lnTo>
                  <a:lnTo>
                    <a:pt x="132" y="79"/>
                  </a:lnTo>
                  <a:lnTo>
                    <a:pt x="132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4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1"/>
                  </a:lnTo>
                  <a:lnTo>
                    <a:pt x="137" y="83"/>
                  </a:lnTo>
                  <a:lnTo>
                    <a:pt x="137" y="83"/>
                  </a:lnTo>
                  <a:lnTo>
                    <a:pt x="137" y="86"/>
                  </a:lnTo>
                  <a:lnTo>
                    <a:pt x="137" y="86"/>
                  </a:lnTo>
                  <a:lnTo>
                    <a:pt x="137" y="88"/>
                  </a:lnTo>
                  <a:lnTo>
                    <a:pt x="137" y="88"/>
                  </a:lnTo>
                  <a:lnTo>
                    <a:pt x="139" y="88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41" y="92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99"/>
                  </a:lnTo>
                  <a:lnTo>
                    <a:pt x="143" y="101"/>
                  </a:lnTo>
                  <a:lnTo>
                    <a:pt x="146" y="104"/>
                  </a:lnTo>
                  <a:lnTo>
                    <a:pt x="146" y="104"/>
                  </a:lnTo>
                  <a:lnTo>
                    <a:pt x="143" y="104"/>
                  </a:lnTo>
                  <a:lnTo>
                    <a:pt x="143" y="104"/>
                  </a:lnTo>
                  <a:lnTo>
                    <a:pt x="143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6"/>
                  </a:lnTo>
                  <a:lnTo>
                    <a:pt x="143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6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08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0"/>
                  </a:lnTo>
                  <a:lnTo>
                    <a:pt x="141" y="115"/>
                  </a:lnTo>
                  <a:lnTo>
                    <a:pt x="141" y="115"/>
                  </a:lnTo>
                  <a:lnTo>
                    <a:pt x="141" y="115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9"/>
                  </a:lnTo>
                  <a:lnTo>
                    <a:pt x="141" y="119"/>
                  </a:lnTo>
                  <a:lnTo>
                    <a:pt x="143" y="119"/>
                  </a:lnTo>
                  <a:lnTo>
                    <a:pt x="143" y="119"/>
                  </a:lnTo>
                  <a:lnTo>
                    <a:pt x="146" y="119"/>
                  </a:lnTo>
                  <a:lnTo>
                    <a:pt x="146" y="119"/>
                  </a:lnTo>
                  <a:lnTo>
                    <a:pt x="148" y="122"/>
                  </a:lnTo>
                  <a:lnTo>
                    <a:pt x="148" y="122"/>
                  </a:lnTo>
                  <a:lnTo>
                    <a:pt x="148" y="122"/>
                  </a:lnTo>
                  <a:lnTo>
                    <a:pt x="148" y="122"/>
                  </a:lnTo>
                  <a:lnTo>
                    <a:pt x="148" y="122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8" y="124"/>
                  </a:lnTo>
                  <a:lnTo>
                    <a:pt x="148" y="126"/>
                  </a:lnTo>
                  <a:lnTo>
                    <a:pt x="148" y="128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50" y="128"/>
                  </a:lnTo>
                  <a:lnTo>
                    <a:pt x="152" y="131"/>
                  </a:lnTo>
                  <a:lnTo>
                    <a:pt x="155" y="131"/>
                  </a:lnTo>
                  <a:lnTo>
                    <a:pt x="155" y="131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5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4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31"/>
                  </a:lnTo>
                  <a:lnTo>
                    <a:pt x="166" y="131"/>
                  </a:lnTo>
                  <a:lnTo>
                    <a:pt x="166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70" y="131"/>
                  </a:lnTo>
                  <a:lnTo>
                    <a:pt x="170" y="131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3" y="128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5" y="128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6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79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28"/>
                  </a:lnTo>
                  <a:lnTo>
                    <a:pt x="184" y="131"/>
                  </a:lnTo>
                  <a:lnTo>
                    <a:pt x="184" y="131"/>
                  </a:lnTo>
                  <a:lnTo>
                    <a:pt x="186" y="131"/>
                  </a:lnTo>
                  <a:lnTo>
                    <a:pt x="186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91" y="131"/>
                  </a:lnTo>
                  <a:lnTo>
                    <a:pt x="191" y="131"/>
                  </a:lnTo>
                  <a:lnTo>
                    <a:pt x="191" y="131"/>
                  </a:lnTo>
                  <a:lnTo>
                    <a:pt x="193" y="133"/>
                  </a:lnTo>
                  <a:lnTo>
                    <a:pt x="193" y="135"/>
                  </a:lnTo>
                  <a:lnTo>
                    <a:pt x="195" y="137"/>
                  </a:lnTo>
                  <a:lnTo>
                    <a:pt x="197" y="140"/>
                  </a:lnTo>
                  <a:lnTo>
                    <a:pt x="197" y="142"/>
                  </a:lnTo>
                  <a:lnTo>
                    <a:pt x="200" y="144"/>
                  </a:lnTo>
                  <a:lnTo>
                    <a:pt x="202" y="146"/>
                  </a:lnTo>
                  <a:lnTo>
                    <a:pt x="202" y="149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6" y="149"/>
                  </a:lnTo>
                  <a:lnTo>
                    <a:pt x="206" y="151"/>
                  </a:lnTo>
                  <a:lnTo>
                    <a:pt x="209" y="151"/>
                  </a:lnTo>
                  <a:lnTo>
                    <a:pt x="209" y="151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11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3" y="149"/>
                  </a:lnTo>
                  <a:lnTo>
                    <a:pt x="215" y="149"/>
                  </a:lnTo>
                  <a:lnTo>
                    <a:pt x="215" y="149"/>
                  </a:lnTo>
                  <a:lnTo>
                    <a:pt x="215" y="149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20" y="149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2" y="149"/>
                  </a:lnTo>
                  <a:lnTo>
                    <a:pt x="222" y="149"/>
                  </a:lnTo>
                  <a:lnTo>
                    <a:pt x="222" y="149"/>
                  </a:lnTo>
                  <a:lnTo>
                    <a:pt x="224" y="149"/>
                  </a:lnTo>
                  <a:lnTo>
                    <a:pt x="224" y="149"/>
                  </a:lnTo>
                  <a:lnTo>
                    <a:pt x="224" y="149"/>
                  </a:lnTo>
                  <a:lnTo>
                    <a:pt x="227" y="149"/>
                  </a:lnTo>
                  <a:lnTo>
                    <a:pt x="227" y="149"/>
                  </a:lnTo>
                  <a:lnTo>
                    <a:pt x="229" y="149"/>
                  </a:lnTo>
                  <a:lnTo>
                    <a:pt x="231" y="149"/>
                  </a:lnTo>
                  <a:lnTo>
                    <a:pt x="233" y="149"/>
                  </a:lnTo>
                  <a:lnTo>
                    <a:pt x="233" y="149"/>
                  </a:lnTo>
                  <a:lnTo>
                    <a:pt x="236" y="149"/>
                  </a:lnTo>
                  <a:lnTo>
                    <a:pt x="236" y="149"/>
                  </a:lnTo>
                  <a:lnTo>
                    <a:pt x="236" y="149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6" y="146"/>
                  </a:lnTo>
                  <a:lnTo>
                    <a:pt x="238" y="146"/>
                  </a:lnTo>
                  <a:lnTo>
                    <a:pt x="238" y="146"/>
                  </a:lnTo>
                  <a:lnTo>
                    <a:pt x="238" y="146"/>
                  </a:lnTo>
                  <a:lnTo>
                    <a:pt x="238" y="146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6"/>
                  </a:lnTo>
                  <a:lnTo>
                    <a:pt x="245" y="149"/>
                  </a:lnTo>
                  <a:lnTo>
                    <a:pt x="245" y="149"/>
                  </a:lnTo>
                  <a:lnTo>
                    <a:pt x="245" y="149"/>
                  </a:lnTo>
                  <a:lnTo>
                    <a:pt x="245" y="149"/>
                  </a:lnTo>
                  <a:lnTo>
                    <a:pt x="245" y="149"/>
                  </a:lnTo>
                  <a:lnTo>
                    <a:pt x="245" y="149"/>
                  </a:lnTo>
                  <a:lnTo>
                    <a:pt x="245" y="151"/>
                  </a:lnTo>
                  <a:lnTo>
                    <a:pt x="245" y="151"/>
                  </a:lnTo>
                  <a:lnTo>
                    <a:pt x="245" y="153"/>
                  </a:lnTo>
                  <a:lnTo>
                    <a:pt x="247" y="153"/>
                  </a:lnTo>
                  <a:lnTo>
                    <a:pt x="247" y="153"/>
                  </a:lnTo>
                  <a:lnTo>
                    <a:pt x="245" y="153"/>
                  </a:lnTo>
                  <a:lnTo>
                    <a:pt x="245" y="153"/>
                  </a:lnTo>
                  <a:lnTo>
                    <a:pt x="245" y="155"/>
                  </a:lnTo>
                  <a:lnTo>
                    <a:pt x="245" y="155"/>
                  </a:lnTo>
                  <a:lnTo>
                    <a:pt x="242" y="155"/>
                  </a:lnTo>
                  <a:lnTo>
                    <a:pt x="242" y="155"/>
                  </a:lnTo>
                  <a:lnTo>
                    <a:pt x="242" y="158"/>
                  </a:lnTo>
                  <a:lnTo>
                    <a:pt x="242" y="158"/>
                  </a:lnTo>
                  <a:lnTo>
                    <a:pt x="240" y="160"/>
                  </a:lnTo>
                  <a:lnTo>
                    <a:pt x="240" y="160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0" y="162"/>
                  </a:lnTo>
                  <a:lnTo>
                    <a:pt x="240" y="164"/>
                  </a:lnTo>
                  <a:lnTo>
                    <a:pt x="242" y="164"/>
                  </a:lnTo>
                  <a:lnTo>
                    <a:pt x="242" y="164"/>
                  </a:lnTo>
                  <a:lnTo>
                    <a:pt x="242" y="164"/>
                  </a:lnTo>
                  <a:lnTo>
                    <a:pt x="240" y="164"/>
                  </a:lnTo>
                  <a:lnTo>
                    <a:pt x="240" y="164"/>
                  </a:lnTo>
                  <a:lnTo>
                    <a:pt x="240" y="164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40" y="167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8" y="167"/>
                  </a:lnTo>
                  <a:lnTo>
                    <a:pt x="238" y="169"/>
                  </a:lnTo>
                  <a:lnTo>
                    <a:pt x="236" y="169"/>
                  </a:lnTo>
                  <a:lnTo>
                    <a:pt x="236" y="169"/>
                  </a:lnTo>
                  <a:lnTo>
                    <a:pt x="236" y="171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38" y="171"/>
                  </a:lnTo>
                  <a:lnTo>
                    <a:pt x="238" y="173"/>
                  </a:lnTo>
                  <a:lnTo>
                    <a:pt x="238" y="173"/>
                  </a:lnTo>
                  <a:lnTo>
                    <a:pt x="236" y="173"/>
                  </a:lnTo>
                  <a:lnTo>
                    <a:pt x="236" y="173"/>
                  </a:lnTo>
                  <a:lnTo>
                    <a:pt x="236" y="173"/>
                  </a:lnTo>
                  <a:lnTo>
                    <a:pt x="236" y="173"/>
                  </a:lnTo>
                  <a:lnTo>
                    <a:pt x="236" y="173"/>
                  </a:lnTo>
                  <a:lnTo>
                    <a:pt x="236" y="176"/>
                  </a:lnTo>
                  <a:lnTo>
                    <a:pt x="238" y="176"/>
                  </a:lnTo>
                  <a:lnTo>
                    <a:pt x="238" y="176"/>
                  </a:lnTo>
                  <a:lnTo>
                    <a:pt x="238" y="176"/>
                  </a:lnTo>
                  <a:lnTo>
                    <a:pt x="238" y="176"/>
                  </a:lnTo>
                  <a:lnTo>
                    <a:pt x="238" y="176"/>
                  </a:lnTo>
                  <a:lnTo>
                    <a:pt x="238" y="176"/>
                  </a:lnTo>
                  <a:lnTo>
                    <a:pt x="238" y="176"/>
                  </a:lnTo>
                  <a:lnTo>
                    <a:pt x="238" y="178"/>
                  </a:lnTo>
                  <a:lnTo>
                    <a:pt x="238" y="178"/>
                  </a:lnTo>
                  <a:lnTo>
                    <a:pt x="236" y="178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2"/>
                  </a:lnTo>
                  <a:lnTo>
                    <a:pt x="236" y="185"/>
                  </a:lnTo>
                  <a:lnTo>
                    <a:pt x="236" y="185"/>
                  </a:lnTo>
                  <a:lnTo>
                    <a:pt x="236" y="185"/>
                  </a:lnTo>
                  <a:lnTo>
                    <a:pt x="236" y="185"/>
                  </a:lnTo>
                  <a:lnTo>
                    <a:pt x="236" y="187"/>
                  </a:lnTo>
                  <a:lnTo>
                    <a:pt x="236" y="187"/>
                  </a:lnTo>
                  <a:lnTo>
                    <a:pt x="236" y="187"/>
                  </a:lnTo>
                  <a:lnTo>
                    <a:pt x="236" y="187"/>
                  </a:lnTo>
                  <a:lnTo>
                    <a:pt x="236" y="187"/>
                  </a:lnTo>
                  <a:lnTo>
                    <a:pt x="236" y="187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89"/>
                  </a:lnTo>
                  <a:lnTo>
                    <a:pt x="236" y="191"/>
                  </a:lnTo>
                  <a:lnTo>
                    <a:pt x="236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36" y="191"/>
                  </a:lnTo>
                  <a:lnTo>
                    <a:pt x="236" y="191"/>
                  </a:lnTo>
                  <a:lnTo>
                    <a:pt x="236" y="191"/>
                  </a:lnTo>
                  <a:lnTo>
                    <a:pt x="238" y="191"/>
                  </a:lnTo>
                  <a:lnTo>
                    <a:pt x="238" y="191"/>
                  </a:lnTo>
                  <a:lnTo>
                    <a:pt x="238" y="194"/>
                  </a:lnTo>
                  <a:lnTo>
                    <a:pt x="236" y="194"/>
                  </a:lnTo>
                  <a:lnTo>
                    <a:pt x="236" y="194"/>
                  </a:lnTo>
                  <a:lnTo>
                    <a:pt x="236" y="196"/>
                  </a:lnTo>
                  <a:lnTo>
                    <a:pt x="236" y="196"/>
                  </a:lnTo>
                  <a:lnTo>
                    <a:pt x="238" y="196"/>
                  </a:lnTo>
                  <a:lnTo>
                    <a:pt x="238" y="198"/>
                  </a:lnTo>
                  <a:lnTo>
                    <a:pt x="238" y="198"/>
                  </a:lnTo>
                  <a:lnTo>
                    <a:pt x="238" y="198"/>
                  </a:lnTo>
                  <a:lnTo>
                    <a:pt x="238" y="198"/>
                  </a:lnTo>
                  <a:lnTo>
                    <a:pt x="238" y="198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40" y="205"/>
                  </a:lnTo>
                  <a:lnTo>
                    <a:pt x="240" y="205"/>
                  </a:lnTo>
                  <a:lnTo>
                    <a:pt x="240" y="205"/>
                  </a:lnTo>
                  <a:lnTo>
                    <a:pt x="240" y="207"/>
                  </a:lnTo>
                  <a:lnTo>
                    <a:pt x="240" y="207"/>
                  </a:lnTo>
                  <a:lnTo>
                    <a:pt x="240" y="207"/>
                  </a:lnTo>
                  <a:lnTo>
                    <a:pt x="240" y="207"/>
                  </a:lnTo>
                  <a:lnTo>
                    <a:pt x="242" y="207"/>
                  </a:lnTo>
                  <a:lnTo>
                    <a:pt x="242" y="207"/>
                  </a:lnTo>
                  <a:lnTo>
                    <a:pt x="242" y="207"/>
                  </a:lnTo>
                  <a:lnTo>
                    <a:pt x="242" y="209"/>
                  </a:lnTo>
                  <a:lnTo>
                    <a:pt x="245" y="212"/>
                  </a:lnTo>
                  <a:lnTo>
                    <a:pt x="245" y="214"/>
                  </a:lnTo>
                  <a:lnTo>
                    <a:pt x="245" y="214"/>
                  </a:lnTo>
                  <a:lnTo>
                    <a:pt x="247" y="214"/>
                  </a:lnTo>
                  <a:lnTo>
                    <a:pt x="247" y="214"/>
                  </a:lnTo>
                  <a:lnTo>
                    <a:pt x="247" y="216"/>
                  </a:lnTo>
                  <a:lnTo>
                    <a:pt x="247" y="216"/>
                  </a:lnTo>
                  <a:lnTo>
                    <a:pt x="245" y="218"/>
                  </a:lnTo>
                  <a:lnTo>
                    <a:pt x="245" y="218"/>
                  </a:lnTo>
                  <a:lnTo>
                    <a:pt x="245" y="218"/>
                  </a:lnTo>
                  <a:lnTo>
                    <a:pt x="245" y="218"/>
                  </a:lnTo>
                  <a:lnTo>
                    <a:pt x="242" y="218"/>
                  </a:lnTo>
                  <a:lnTo>
                    <a:pt x="242" y="218"/>
                  </a:lnTo>
                  <a:lnTo>
                    <a:pt x="242" y="221"/>
                  </a:lnTo>
                  <a:lnTo>
                    <a:pt x="240" y="221"/>
                  </a:lnTo>
                  <a:lnTo>
                    <a:pt x="240" y="223"/>
                  </a:lnTo>
                  <a:lnTo>
                    <a:pt x="240" y="223"/>
                  </a:lnTo>
                  <a:lnTo>
                    <a:pt x="238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6" y="227"/>
                  </a:lnTo>
                  <a:lnTo>
                    <a:pt x="236" y="227"/>
                  </a:lnTo>
                  <a:lnTo>
                    <a:pt x="236" y="227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6" y="230"/>
                  </a:lnTo>
                  <a:lnTo>
                    <a:pt x="238" y="227"/>
                  </a:lnTo>
                  <a:lnTo>
                    <a:pt x="238" y="230"/>
                  </a:lnTo>
                  <a:lnTo>
                    <a:pt x="238" y="230"/>
                  </a:lnTo>
                  <a:lnTo>
                    <a:pt x="238" y="230"/>
                  </a:lnTo>
                  <a:lnTo>
                    <a:pt x="238" y="230"/>
                  </a:lnTo>
                  <a:lnTo>
                    <a:pt x="238" y="230"/>
                  </a:lnTo>
                  <a:lnTo>
                    <a:pt x="240" y="230"/>
                  </a:lnTo>
                  <a:lnTo>
                    <a:pt x="240" y="230"/>
                  </a:lnTo>
                  <a:lnTo>
                    <a:pt x="240" y="230"/>
                  </a:lnTo>
                  <a:lnTo>
                    <a:pt x="240" y="230"/>
                  </a:lnTo>
                  <a:lnTo>
                    <a:pt x="240" y="232"/>
                  </a:lnTo>
                  <a:lnTo>
                    <a:pt x="240" y="232"/>
                  </a:lnTo>
                  <a:lnTo>
                    <a:pt x="240" y="232"/>
                  </a:lnTo>
                  <a:lnTo>
                    <a:pt x="242" y="232"/>
                  </a:lnTo>
                  <a:lnTo>
                    <a:pt x="242" y="232"/>
                  </a:lnTo>
                  <a:lnTo>
                    <a:pt x="242" y="232"/>
                  </a:lnTo>
                  <a:lnTo>
                    <a:pt x="242" y="232"/>
                  </a:lnTo>
                  <a:lnTo>
                    <a:pt x="242" y="234"/>
                  </a:lnTo>
                  <a:lnTo>
                    <a:pt x="242" y="234"/>
                  </a:lnTo>
                  <a:lnTo>
                    <a:pt x="242" y="234"/>
                  </a:lnTo>
                  <a:lnTo>
                    <a:pt x="242" y="234"/>
                  </a:lnTo>
                  <a:lnTo>
                    <a:pt x="242" y="234"/>
                  </a:lnTo>
                  <a:lnTo>
                    <a:pt x="242" y="234"/>
                  </a:lnTo>
                  <a:lnTo>
                    <a:pt x="245" y="234"/>
                  </a:lnTo>
                  <a:lnTo>
                    <a:pt x="245" y="234"/>
                  </a:lnTo>
                  <a:lnTo>
                    <a:pt x="245" y="234"/>
                  </a:lnTo>
                  <a:lnTo>
                    <a:pt x="245" y="234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7" y="236"/>
                  </a:lnTo>
                  <a:lnTo>
                    <a:pt x="247" y="236"/>
                  </a:lnTo>
                  <a:lnTo>
                    <a:pt x="247" y="239"/>
                  </a:lnTo>
                  <a:lnTo>
                    <a:pt x="247" y="239"/>
                  </a:lnTo>
                  <a:lnTo>
                    <a:pt x="247" y="239"/>
                  </a:lnTo>
                  <a:lnTo>
                    <a:pt x="247" y="239"/>
                  </a:lnTo>
                  <a:lnTo>
                    <a:pt x="249" y="239"/>
                  </a:lnTo>
                  <a:lnTo>
                    <a:pt x="249" y="239"/>
                  </a:lnTo>
                  <a:lnTo>
                    <a:pt x="249" y="239"/>
                  </a:lnTo>
                  <a:lnTo>
                    <a:pt x="249" y="241"/>
                  </a:lnTo>
                  <a:lnTo>
                    <a:pt x="249" y="241"/>
                  </a:lnTo>
                  <a:lnTo>
                    <a:pt x="249" y="241"/>
                  </a:lnTo>
                  <a:lnTo>
                    <a:pt x="249" y="241"/>
                  </a:lnTo>
                  <a:lnTo>
                    <a:pt x="249" y="241"/>
                  </a:lnTo>
                  <a:lnTo>
                    <a:pt x="247" y="241"/>
                  </a:lnTo>
                  <a:lnTo>
                    <a:pt x="247" y="243"/>
                  </a:lnTo>
                  <a:lnTo>
                    <a:pt x="249" y="243"/>
                  </a:lnTo>
                  <a:lnTo>
                    <a:pt x="249" y="243"/>
                  </a:lnTo>
                  <a:lnTo>
                    <a:pt x="249" y="245"/>
                  </a:lnTo>
                  <a:lnTo>
                    <a:pt x="249" y="245"/>
                  </a:lnTo>
                  <a:lnTo>
                    <a:pt x="249" y="245"/>
                  </a:lnTo>
                  <a:lnTo>
                    <a:pt x="249" y="245"/>
                  </a:lnTo>
                  <a:lnTo>
                    <a:pt x="249" y="245"/>
                  </a:lnTo>
                  <a:lnTo>
                    <a:pt x="249" y="245"/>
                  </a:lnTo>
                  <a:lnTo>
                    <a:pt x="249" y="248"/>
                  </a:lnTo>
                  <a:lnTo>
                    <a:pt x="249" y="248"/>
                  </a:lnTo>
                  <a:lnTo>
                    <a:pt x="249" y="248"/>
                  </a:lnTo>
                  <a:lnTo>
                    <a:pt x="249" y="248"/>
                  </a:lnTo>
                  <a:lnTo>
                    <a:pt x="249" y="248"/>
                  </a:lnTo>
                  <a:lnTo>
                    <a:pt x="249" y="250"/>
                  </a:lnTo>
                  <a:lnTo>
                    <a:pt x="249" y="250"/>
                  </a:lnTo>
                  <a:lnTo>
                    <a:pt x="249" y="250"/>
                  </a:lnTo>
                  <a:lnTo>
                    <a:pt x="251" y="250"/>
                  </a:lnTo>
                  <a:lnTo>
                    <a:pt x="251" y="250"/>
                  </a:lnTo>
                  <a:lnTo>
                    <a:pt x="251" y="250"/>
                  </a:lnTo>
                  <a:lnTo>
                    <a:pt x="251" y="252"/>
                  </a:lnTo>
                  <a:lnTo>
                    <a:pt x="253" y="257"/>
                  </a:lnTo>
                  <a:lnTo>
                    <a:pt x="253" y="257"/>
                  </a:lnTo>
                  <a:lnTo>
                    <a:pt x="253" y="259"/>
                  </a:lnTo>
                  <a:lnTo>
                    <a:pt x="253" y="259"/>
                  </a:lnTo>
                  <a:lnTo>
                    <a:pt x="253" y="259"/>
                  </a:lnTo>
                  <a:lnTo>
                    <a:pt x="253" y="259"/>
                  </a:lnTo>
                  <a:lnTo>
                    <a:pt x="253" y="261"/>
                  </a:lnTo>
                  <a:lnTo>
                    <a:pt x="253" y="261"/>
                  </a:lnTo>
                  <a:lnTo>
                    <a:pt x="253" y="261"/>
                  </a:lnTo>
                  <a:lnTo>
                    <a:pt x="253" y="261"/>
                  </a:lnTo>
                  <a:lnTo>
                    <a:pt x="253" y="263"/>
                  </a:lnTo>
                  <a:lnTo>
                    <a:pt x="253" y="263"/>
                  </a:lnTo>
                  <a:lnTo>
                    <a:pt x="253" y="263"/>
                  </a:lnTo>
                  <a:lnTo>
                    <a:pt x="253" y="263"/>
                  </a:lnTo>
                  <a:lnTo>
                    <a:pt x="253" y="263"/>
                  </a:lnTo>
                  <a:lnTo>
                    <a:pt x="253" y="266"/>
                  </a:lnTo>
                  <a:lnTo>
                    <a:pt x="253" y="266"/>
                  </a:lnTo>
                  <a:lnTo>
                    <a:pt x="253" y="266"/>
                  </a:lnTo>
                  <a:lnTo>
                    <a:pt x="253" y="268"/>
                  </a:lnTo>
                  <a:lnTo>
                    <a:pt x="253" y="268"/>
                  </a:lnTo>
                  <a:lnTo>
                    <a:pt x="251" y="268"/>
                  </a:lnTo>
                  <a:lnTo>
                    <a:pt x="251" y="268"/>
                  </a:lnTo>
                  <a:lnTo>
                    <a:pt x="249" y="268"/>
                  </a:lnTo>
                  <a:lnTo>
                    <a:pt x="249" y="268"/>
                  </a:lnTo>
                  <a:lnTo>
                    <a:pt x="249" y="266"/>
                  </a:lnTo>
                  <a:lnTo>
                    <a:pt x="251" y="259"/>
                  </a:lnTo>
                  <a:lnTo>
                    <a:pt x="251" y="259"/>
                  </a:lnTo>
                  <a:lnTo>
                    <a:pt x="249" y="254"/>
                  </a:lnTo>
                  <a:lnTo>
                    <a:pt x="249" y="254"/>
                  </a:lnTo>
                  <a:lnTo>
                    <a:pt x="247" y="250"/>
                  </a:lnTo>
                  <a:lnTo>
                    <a:pt x="247" y="250"/>
                  </a:lnTo>
                  <a:lnTo>
                    <a:pt x="245" y="248"/>
                  </a:lnTo>
                  <a:lnTo>
                    <a:pt x="245" y="245"/>
                  </a:lnTo>
                  <a:lnTo>
                    <a:pt x="245" y="245"/>
                  </a:lnTo>
                  <a:lnTo>
                    <a:pt x="245" y="245"/>
                  </a:lnTo>
                  <a:lnTo>
                    <a:pt x="242" y="245"/>
                  </a:lnTo>
                  <a:lnTo>
                    <a:pt x="242" y="245"/>
                  </a:lnTo>
                  <a:lnTo>
                    <a:pt x="242" y="245"/>
                  </a:lnTo>
                  <a:lnTo>
                    <a:pt x="242" y="245"/>
                  </a:lnTo>
                  <a:lnTo>
                    <a:pt x="242" y="245"/>
                  </a:lnTo>
                  <a:lnTo>
                    <a:pt x="242" y="245"/>
                  </a:lnTo>
                  <a:lnTo>
                    <a:pt x="240" y="245"/>
                  </a:lnTo>
                  <a:lnTo>
                    <a:pt x="240" y="248"/>
                  </a:lnTo>
                  <a:lnTo>
                    <a:pt x="240" y="248"/>
                  </a:lnTo>
                  <a:lnTo>
                    <a:pt x="238" y="250"/>
                  </a:lnTo>
                  <a:lnTo>
                    <a:pt x="236" y="252"/>
                  </a:lnTo>
                  <a:lnTo>
                    <a:pt x="236" y="254"/>
                  </a:lnTo>
                  <a:lnTo>
                    <a:pt x="233" y="254"/>
                  </a:lnTo>
                  <a:lnTo>
                    <a:pt x="233" y="254"/>
                  </a:lnTo>
                  <a:lnTo>
                    <a:pt x="233" y="254"/>
                  </a:lnTo>
                  <a:lnTo>
                    <a:pt x="231" y="254"/>
                  </a:lnTo>
                  <a:lnTo>
                    <a:pt x="231" y="254"/>
                  </a:lnTo>
                  <a:lnTo>
                    <a:pt x="231" y="254"/>
                  </a:lnTo>
                  <a:lnTo>
                    <a:pt x="229" y="252"/>
                  </a:lnTo>
                  <a:lnTo>
                    <a:pt x="229" y="252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7" y="250"/>
                  </a:lnTo>
                  <a:lnTo>
                    <a:pt x="227" y="250"/>
                  </a:lnTo>
                  <a:lnTo>
                    <a:pt x="227" y="250"/>
                  </a:lnTo>
                  <a:lnTo>
                    <a:pt x="227" y="250"/>
                  </a:lnTo>
                  <a:lnTo>
                    <a:pt x="227" y="248"/>
                  </a:lnTo>
                  <a:lnTo>
                    <a:pt x="227" y="248"/>
                  </a:lnTo>
                  <a:lnTo>
                    <a:pt x="227" y="248"/>
                  </a:lnTo>
                  <a:lnTo>
                    <a:pt x="227" y="252"/>
                  </a:lnTo>
                  <a:lnTo>
                    <a:pt x="224" y="252"/>
                  </a:lnTo>
                  <a:lnTo>
                    <a:pt x="224" y="252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7" y="254"/>
                  </a:lnTo>
                  <a:lnTo>
                    <a:pt x="224" y="254"/>
                  </a:lnTo>
                  <a:lnTo>
                    <a:pt x="222" y="254"/>
                  </a:lnTo>
                  <a:lnTo>
                    <a:pt x="218" y="254"/>
                  </a:lnTo>
                  <a:lnTo>
                    <a:pt x="215" y="254"/>
                  </a:lnTo>
                  <a:lnTo>
                    <a:pt x="211" y="254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2" y="254"/>
                  </a:lnTo>
                  <a:lnTo>
                    <a:pt x="202" y="254"/>
                  </a:lnTo>
                  <a:lnTo>
                    <a:pt x="200" y="254"/>
                  </a:lnTo>
                  <a:lnTo>
                    <a:pt x="200" y="254"/>
                  </a:lnTo>
                  <a:lnTo>
                    <a:pt x="197" y="254"/>
                  </a:lnTo>
                  <a:lnTo>
                    <a:pt x="197" y="254"/>
                  </a:lnTo>
                  <a:lnTo>
                    <a:pt x="195" y="254"/>
                  </a:lnTo>
                  <a:lnTo>
                    <a:pt x="195" y="254"/>
                  </a:lnTo>
                  <a:lnTo>
                    <a:pt x="195" y="254"/>
                  </a:lnTo>
                  <a:lnTo>
                    <a:pt x="195" y="254"/>
                  </a:lnTo>
                  <a:lnTo>
                    <a:pt x="193" y="254"/>
                  </a:lnTo>
                  <a:lnTo>
                    <a:pt x="193" y="254"/>
                  </a:lnTo>
                  <a:lnTo>
                    <a:pt x="193" y="254"/>
                  </a:lnTo>
                  <a:lnTo>
                    <a:pt x="193" y="257"/>
                  </a:lnTo>
                  <a:lnTo>
                    <a:pt x="193" y="259"/>
                  </a:lnTo>
                  <a:lnTo>
                    <a:pt x="193" y="259"/>
                  </a:lnTo>
                  <a:lnTo>
                    <a:pt x="193" y="261"/>
                  </a:lnTo>
                  <a:lnTo>
                    <a:pt x="193" y="263"/>
                  </a:lnTo>
                  <a:lnTo>
                    <a:pt x="193" y="266"/>
                  </a:lnTo>
                  <a:lnTo>
                    <a:pt x="193" y="266"/>
                  </a:lnTo>
                  <a:lnTo>
                    <a:pt x="193" y="268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3" y="270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7" y="270"/>
                  </a:lnTo>
                  <a:lnTo>
                    <a:pt x="197" y="270"/>
                  </a:lnTo>
                  <a:lnTo>
                    <a:pt x="197" y="270"/>
                  </a:lnTo>
                  <a:lnTo>
                    <a:pt x="200" y="270"/>
                  </a:lnTo>
                  <a:lnTo>
                    <a:pt x="200" y="270"/>
                  </a:lnTo>
                  <a:lnTo>
                    <a:pt x="200" y="270"/>
                  </a:lnTo>
                  <a:lnTo>
                    <a:pt x="200" y="270"/>
                  </a:lnTo>
                  <a:lnTo>
                    <a:pt x="200" y="270"/>
                  </a:lnTo>
                  <a:lnTo>
                    <a:pt x="200" y="270"/>
                  </a:lnTo>
                  <a:lnTo>
                    <a:pt x="200" y="272"/>
                  </a:lnTo>
                  <a:lnTo>
                    <a:pt x="200" y="272"/>
                  </a:lnTo>
                  <a:lnTo>
                    <a:pt x="202" y="272"/>
                  </a:lnTo>
                  <a:lnTo>
                    <a:pt x="202" y="272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2" y="270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4" y="272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6" y="277"/>
                  </a:lnTo>
                  <a:lnTo>
                    <a:pt x="206" y="277"/>
                  </a:lnTo>
                  <a:lnTo>
                    <a:pt x="206" y="277"/>
                  </a:lnTo>
                  <a:lnTo>
                    <a:pt x="206" y="277"/>
                  </a:lnTo>
                  <a:lnTo>
                    <a:pt x="206" y="277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6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2" y="281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200" y="279"/>
                  </a:lnTo>
                  <a:lnTo>
                    <a:pt x="197" y="279"/>
                  </a:lnTo>
                  <a:lnTo>
                    <a:pt x="197" y="279"/>
                  </a:lnTo>
                  <a:lnTo>
                    <a:pt x="197" y="279"/>
                  </a:lnTo>
                  <a:lnTo>
                    <a:pt x="197" y="281"/>
                  </a:lnTo>
                  <a:lnTo>
                    <a:pt x="197" y="281"/>
                  </a:lnTo>
                  <a:lnTo>
                    <a:pt x="195" y="281"/>
                  </a:lnTo>
                  <a:lnTo>
                    <a:pt x="195" y="281"/>
                  </a:lnTo>
                  <a:lnTo>
                    <a:pt x="195" y="279"/>
                  </a:lnTo>
                  <a:lnTo>
                    <a:pt x="195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3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88" y="281"/>
                  </a:lnTo>
                  <a:lnTo>
                    <a:pt x="188" y="281"/>
                  </a:lnTo>
                  <a:lnTo>
                    <a:pt x="188" y="281"/>
                  </a:lnTo>
                  <a:lnTo>
                    <a:pt x="188" y="281"/>
                  </a:lnTo>
                  <a:lnTo>
                    <a:pt x="188" y="281"/>
                  </a:lnTo>
                  <a:lnTo>
                    <a:pt x="188" y="284"/>
                  </a:lnTo>
                  <a:lnTo>
                    <a:pt x="188" y="284"/>
                  </a:lnTo>
                  <a:lnTo>
                    <a:pt x="188" y="286"/>
                  </a:lnTo>
                  <a:lnTo>
                    <a:pt x="188" y="288"/>
                  </a:lnTo>
                  <a:lnTo>
                    <a:pt x="188" y="290"/>
                  </a:lnTo>
                  <a:lnTo>
                    <a:pt x="188" y="293"/>
                  </a:lnTo>
                  <a:lnTo>
                    <a:pt x="188" y="295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9"/>
                  </a:lnTo>
                  <a:lnTo>
                    <a:pt x="188" y="299"/>
                  </a:lnTo>
                  <a:lnTo>
                    <a:pt x="188" y="299"/>
                  </a:lnTo>
                  <a:lnTo>
                    <a:pt x="188" y="302"/>
                  </a:lnTo>
                  <a:lnTo>
                    <a:pt x="191" y="302"/>
                  </a:lnTo>
                  <a:lnTo>
                    <a:pt x="191" y="304"/>
                  </a:lnTo>
                  <a:lnTo>
                    <a:pt x="191" y="304"/>
                  </a:lnTo>
                  <a:lnTo>
                    <a:pt x="191" y="304"/>
                  </a:lnTo>
                  <a:lnTo>
                    <a:pt x="191" y="304"/>
                  </a:lnTo>
                  <a:lnTo>
                    <a:pt x="193" y="304"/>
                  </a:lnTo>
                  <a:lnTo>
                    <a:pt x="193" y="304"/>
                  </a:lnTo>
                  <a:lnTo>
                    <a:pt x="193" y="304"/>
                  </a:lnTo>
                  <a:lnTo>
                    <a:pt x="193" y="306"/>
                  </a:lnTo>
                  <a:lnTo>
                    <a:pt x="193" y="306"/>
                  </a:lnTo>
                  <a:lnTo>
                    <a:pt x="193" y="306"/>
                  </a:lnTo>
                  <a:lnTo>
                    <a:pt x="193" y="306"/>
                  </a:lnTo>
                  <a:lnTo>
                    <a:pt x="193" y="306"/>
                  </a:lnTo>
                  <a:lnTo>
                    <a:pt x="195" y="306"/>
                  </a:lnTo>
                  <a:lnTo>
                    <a:pt x="195" y="308"/>
                  </a:lnTo>
                  <a:lnTo>
                    <a:pt x="197" y="308"/>
                  </a:lnTo>
                  <a:lnTo>
                    <a:pt x="197" y="308"/>
                  </a:lnTo>
                  <a:lnTo>
                    <a:pt x="197" y="308"/>
                  </a:lnTo>
                  <a:lnTo>
                    <a:pt x="197" y="308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7" y="311"/>
                  </a:lnTo>
                  <a:lnTo>
                    <a:pt x="197" y="313"/>
                  </a:lnTo>
                  <a:lnTo>
                    <a:pt x="197" y="313"/>
                  </a:lnTo>
                  <a:lnTo>
                    <a:pt x="197" y="313"/>
                  </a:lnTo>
                  <a:lnTo>
                    <a:pt x="197" y="315"/>
                  </a:lnTo>
                  <a:lnTo>
                    <a:pt x="197" y="315"/>
                  </a:lnTo>
                  <a:lnTo>
                    <a:pt x="197" y="315"/>
                  </a:lnTo>
                  <a:lnTo>
                    <a:pt x="197" y="315"/>
                  </a:lnTo>
                  <a:lnTo>
                    <a:pt x="197" y="317"/>
                  </a:lnTo>
                  <a:lnTo>
                    <a:pt x="197" y="317"/>
                  </a:lnTo>
                  <a:lnTo>
                    <a:pt x="197" y="317"/>
                  </a:lnTo>
                  <a:lnTo>
                    <a:pt x="197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02" y="320"/>
                  </a:lnTo>
                  <a:lnTo>
                    <a:pt x="200" y="320"/>
                  </a:lnTo>
                  <a:lnTo>
                    <a:pt x="202" y="322"/>
                  </a:lnTo>
                  <a:lnTo>
                    <a:pt x="202" y="322"/>
                  </a:lnTo>
                  <a:lnTo>
                    <a:pt x="200" y="322"/>
                  </a:lnTo>
                  <a:lnTo>
                    <a:pt x="200" y="322"/>
                  </a:lnTo>
                  <a:lnTo>
                    <a:pt x="202" y="324"/>
                  </a:lnTo>
                  <a:lnTo>
                    <a:pt x="202" y="324"/>
                  </a:lnTo>
                  <a:lnTo>
                    <a:pt x="202" y="326"/>
                  </a:lnTo>
                  <a:lnTo>
                    <a:pt x="202" y="326"/>
                  </a:lnTo>
                  <a:lnTo>
                    <a:pt x="202" y="329"/>
                  </a:lnTo>
                  <a:lnTo>
                    <a:pt x="202" y="331"/>
                  </a:lnTo>
                  <a:lnTo>
                    <a:pt x="200" y="331"/>
                  </a:lnTo>
                  <a:lnTo>
                    <a:pt x="200" y="333"/>
                  </a:lnTo>
                  <a:lnTo>
                    <a:pt x="200" y="333"/>
                  </a:lnTo>
                  <a:lnTo>
                    <a:pt x="200" y="335"/>
                  </a:lnTo>
                  <a:lnTo>
                    <a:pt x="200" y="337"/>
                  </a:lnTo>
                  <a:lnTo>
                    <a:pt x="200" y="342"/>
                  </a:lnTo>
                  <a:lnTo>
                    <a:pt x="197" y="346"/>
                  </a:lnTo>
                  <a:lnTo>
                    <a:pt x="197" y="351"/>
                  </a:lnTo>
                  <a:lnTo>
                    <a:pt x="197" y="353"/>
                  </a:lnTo>
                  <a:lnTo>
                    <a:pt x="197" y="358"/>
                  </a:lnTo>
                  <a:lnTo>
                    <a:pt x="195" y="362"/>
                  </a:lnTo>
                  <a:lnTo>
                    <a:pt x="195" y="364"/>
                  </a:lnTo>
                  <a:lnTo>
                    <a:pt x="195" y="369"/>
                  </a:lnTo>
                  <a:lnTo>
                    <a:pt x="195" y="373"/>
                  </a:lnTo>
                  <a:lnTo>
                    <a:pt x="195" y="378"/>
                  </a:lnTo>
                  <a:lnTo>
                    <a:pt x="193" y="380"/>
                  </a:lnTo>
                  <a:lnTo>
                    <a:pt x="193" y="385"/>
                  </a:lnTo>
                  <a:lnTo>
                    <a:pt x="193" y="389"/>
                  </a:lnTo>
                  <a:lnTo>
                    <a:pt x="193" y="391"/>
                  </a:lnTo>
                  <a:lnTo>
                    <a:pt x="191" y="396"/>
                  </a:lnTo>
                  <a:lnTo>
                    <a:pt x="191" y="396"/>
                  </a:lnTo>
                  <a:lnTo>
                    <a:pt x="191" y="396"/>
                  </a:lnTo>
                  <a:lnTo>
                    <a:pt x="191" y="396"/>
                  </a:lnTo>
                  <a:lnTo>
                    <a:pt x="191" y="394"/>
                  </a:lnTo>
                  <a:lnTo>
                    <a:pt x="188" y="394"/>
                  </a:lnTo>
                  <a:lnTo>
                    <a:pt x="186" y="394"/>
                  </a:lnTo>
                  <a:lnTo>
                    <a:pt x="186" y="391"/>
                  </a:lnTo>
                  <a:lnTo>
                    <a:pt x="186" y="391"/>
                  </a:lnTo>
                  <a:lnTo>
                    <a:pt x="186" y="389"/>
                  </a:lnTo>
                  <a:lnTo>
                    <a:pt x="186" y="389"/>
                  </a:lnTo>
                  <a:lnTo>
                    <a:pt x="186" y="389"/>
                  </a:lnTo>
                  <a:lnTo>
                    <a:pt x="184" y="387"/>
                  </a:lnTo>
                  <a:lnTo>
                    <a:pt x="184" y="387"/>
                  </a:lnTo>
                  <a:lnTo>
                    <a:pt x="184" y="387"/>
                  </a:lnTo>
                  <a:lnTo>
                    <a:pt x="182" y="387"/>
                  </a:lnTo>
                  <a:lnTo>
                    <a:pt x="182" y="387"/>
                  </a:lnTo>
                  <a:lnTo>
                    <a:pt x="182" y="389"/>
                  </a:lnTo>
                  <a:lnTo>
                    <a:pt x="179" y="389"/>
                  </a:lnTo>
                  <a:lnTo>
                    <a:pt x="179" y="389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5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7" y="382"/>
                  </a:lnTo>
                  <a:lnTo>
                    <a:pt x="179" y="378"/>
                  </a:lnTo>
                  <a:lnTo>
                    <a:pt x="179" y="376"/>
                  </a:lnTo>
                  <a:lnTo>
                    <a:pt x="182" y="373"/>
                  </a:lnTo>
                  <a:lnTo>
                    <a:pt x="184" y="371"/>
                  </a:lnTo>
                  <a:lnTo>
                    <a:pt x="184" y="367"/>
                  </a:lnTo>
                  <a:lnTo>
                    <a:pt x="186" y="364"/>
                  </a:lnTo>
                  <a:lnTo>
                    <a:pt x="188" y="362"/>
                  </a:lnTo>
                  <a:lnTo>
                    <a:pt x="188" y="360"/>
                  </a:lnTo>
                  <a:lnTo>
                    <a:pt x="188" y="360"/>
                  </a:lnTo>
                  <a:lnTo>
                    <a:pt x="188" y="360"/>
                  </a:lnTo>
                  <a:lnTo>
                    <a:pt x="188" y="360"/>
                  </a:lnTo>
                  <a:lnTo>
                    <a:pt x="188" y="360"/>
                  </a:lnTo>
                  <a:lnTo>
                    <a:pt x="188" y="360"/>
                  </a:lnTo>
                  <a:lnTo>
                    <a:pt x="188" y="358"/>
                  </a:lnTo>
                  <a:lnTo>
                    <a:pt x="186" y="358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60"/>
                  </a:lnTo>
                  <a:lnTo>
                    <a:pt x="186" y="358"/>
                  </a:lnTo>
                  <a:lnTo>
                    <a:pt x="186" y="358"/>
                  </a:lnTo>
                  <a:lnTo>
                    <a:pt x="186" y="358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5"/>
                  </a:lnTo>
                  <a:lnTo>
                    <a:pt x="184" y="355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3"/>
                  </a:lnTo>
                  <a:lnTo>
                    <a:pt x="179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3"/>
                  </a:lnTo>
                  <a:lnTo>
                    <a:pt x="177" y="355"/>
                  </a:lnTo>
                  <a:lnTo>
                    <a:pt x="175" y="355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5" y="353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5" y="351"/>
                  </a:lnTo>
                  <a:lnTo>
                    <a:pt x="173" y="351"/>
                  </a:lnTo>
                  <a:lnTo>
                    <a:pt x="173" y="351"/>
                  </a:lnTo>
                  <a:lnTo>
                    <a:pt x="173" y="351"/>
                  </a:lnTo>
                  <a:lnTo>
                    <a:pt x="170" y="349"/>
                  </a:lnTo>
                  <a:lnTo>
                    <a:pt x="170" y="349"/>
                  </a:lnTo>
                  <a:lnTo>
                    <a:pt x="170" y="349"/>
                  </a:lnTo>
                  <a:lnTo>
                    <a:pt x="170" y="349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68" y="351"/>
                  </a:lnTo>
                  <a:lnTo>
                    <a:pt x="168" y="351"/>
                  </a:lnTo>
                  <a:lnTo>
                    <a:pt x="168" y="351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66" y="349"/>
                  </a:lnTo>
                  <a:lnTo>
                    <a:pt x="166" y="351"/>
                  </a:lnTo>
                  <a:lnTo>
                    <a:pt x="166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4" y="351"/>
                  </a:lnTo>
                  <a:lnTo>
                    <a:pt x="161" y="351"/>
                  </a:lnTo>
                  <a:lnTo>
                    <a:pt x="161" y="351"/>
                  </a:lnTo>
                  <a:lnTo>
                    <a:pt x="161" y="351"/>
                  </a:lnTo>
                  <a:lnTo>
                    <a:pt x="159" y="353"/>
                  </a:lnTo>
                  <a:lnTo>
                    <a:pt x="159" y="353"/>
                  </a:lnTo>
                  <a:lnTo>
                    <a:pt x="159" y="351"/>
                  </a:lnTo>
                  <a:lnTo>
                    <a:pt x="159" y="351"/>
                  </a:lnTo>
                  <a:lnTo>
                    <a:pt x="159" y="351"/>
                  </a:lnTo>
                  <a:lnTo>
                    <a:pt x="159" y="351"/>
                  </a:lnTo>
                  <a:lnTo>
                    <a:pt x="159" y="351"/>
                  </a:lnTo>
                  <a:lnTo>
                    <a:pt x="159" y="351"/>
                  </a:lnTo>
                  <a:lnTo>
                    <a:pt x="159" y="349"/>
                  </a:lnTo>
                  <a:lnTo>
                    <a:pt x="159" y="349"/>
                  </a:lnTo>
                  <a:lnTo>
                    <a:pt x="159" y="351"/>
                  </a:lnTo>
                  <a:lnTo>
                    <a:pt x="157" y="351"/>
                  </a:lnTo>
                  <a:lnTo>
                    <a:pt x="157" y="351"/>
                  </a:lnTo>
                  <a:lnTo>
                    <a:pt x="157" y="351"/>
                  </a:lnTo>
                  <a:lnTo>
                    <a:pt x="157" y="351"/>
                  </a:lnTo>
                  <a:lnTo>
                    <a:pt x="157" y="349"/>
                  </a:lnTo>
                  <a:lnTo>
                    <a:pt x="157" y="349"/>
                  </a:lnTo>
                  <a:lnTo>
                    <a:pt x="157" y="349"/>
                  </a:lnTo>
                  <a:lnTo>
                    <a:pt x="155" y="349"/>
                  </a:lnTo>
                  <a:lnTo>
                    <a:pt x="155" y="349"/>
                  </a:lnTo>
                  <a:lnTo>
                    <a:pt x="155" y="349"/>
                  </a:lnTo>
                  <a:lnTo>
                    <a:pt x="155" y="349"/>
                  </a:lnTo>
                  <a:lnTo>
                    <a:pt x="155" y="349"/>
                  </a:lnTo>
                  <a:lnTo>
                    <a:pt x="152" y="349"/>
                  </a:lnTo>
                  <a:lnTo>
                    <a:pt x="152" y="349"/>
                  </a:lnTo>
                  <a:lnTo>
                    <a:pt x="152" y="349"/>
                  </a:lnTo>
                  <a:lnTo>
                    <a:pt x="152" y="346"/>
                  </a:lnTo>
                  <a:lnTo>
                    <a:pt x="152" y="346"/>
                  </a:lnTo>
                  <a:lnTo>
                    <a:pt x="152" y="346"/>
                  </a:lnTo>
                  <a:lnTo>
                    <a:pt x="150" y="349"/>
                  </a:lnTo>
                  <a:lnTo>
                    <a:pt x="150" y="349"/>
                  </a:lnTo>
                  <a:lnTo>
                    <a:pt x="150" y="349"/>
                  </a:lnTo>
                  <a:lnTo>
                    <a:pt x="150" y="349"/>
                  </a:lnTo>
                  <a:lnTo>
                    <a:pt x="148" y="351"/>
                  </a:lnTo>
                  <a:lnTo>
                    <a:pt x="148" y="351"/>
                  </a:lnTo>
                  <a:lnTo>
                    <a:pt x="148" y="351"/>
                  </a:lnTo>
                  <a:lnTo>
                    <a:pt x="148" y="351"/>
                  </a:lnTo>
                  <a:lnTo>
                    <a:pt x="148" y="351"/>
                  </a:lnTo>
                  <a:lnTo>
                    <a:pt x="146" y="351"/>
                  </a:lnTo>
                  <a:lnTo>
                    <a:pt x="146" y="351"/>
                  </a:lnTo>
                  <a:lnTo>
                    <a:pt x="146" y="351"/>
                  </a:lnTo>
                  <a:lnTo>
                    <a:pt x="146" y="353"/>
                  </a:lnTo>
                  <a:lnTo>
                    <a:pt x="143" y="353"/>
                  </a:lnTo>
                  <a:lnTo>
                    <a:pt x="143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41" y="353"/>
                  </a:lnTo>
                  <a:lnTo>
                    <a:pt x="139" y="353"/>
                  </a:lnTo>
                  <a:lnTo>
                    <a:pt x="139" y="353"/>
                  </a:lnTo>
                  <a:lnTo>
                    <a:pt x="139" y="353"/>
                  </a:lnTo>
                  <a:lnTo>
                    <a:pt x="139" y="353"/>
                  </a:lnTo>
                  <a:lnTo>
                    <a:pt x="139" y="353"/>
                  </a:lnTo>
                  <a:lnTo>
                    <a:pt x="139" y="353"/>
                  </a:lnTo>
                  <a:lnTo>
                    <a:pt x="139" y="353"/>
                  </a:lnTo>
                  <a:lnTo>
                    <a:pt x="137" y="353"/>
                  </a:lnTo>
                  <a:lnTo>
                    <a:pt x="134" y="353"/>
                  </a:lnTo>
                  <a:lnTo>
                    <a:pt x="134" y="351"/>
                  </a:lnTo>
                  <a:lnTo>
                    <a:pt x="134" y="351"/>
                  </a:lnTo>
                  <a:lnTo>
                    <a:pt x="134" y="351"/>
                  </a:lnTo>
                  <a:lnTo>
                    <a:pt x="134" y="351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2" y="353"/>
                  </a:lnTo>
                  <a:lnTo>
                    <a:pt x="130" y="353"/>
                  </a:lnTo>
                  <a:lnTo>
                    <a:pt x="130" y="353"/>
                  </a:lnTo>
                  <a:lnTo>
                    <a:pt x="130" y="353"/>
                  </a:lnTo>
                  <a:lnTo>
                    <a:pt x="130" y="353"/>
                  </a:lnTo>
                  <a:lnTo>
                    <a:pt x="130" y="353"/>
                  </a:lnTo>
                  <a:lnTo>
                    <a:pt x="128" y="353"/>
                  </a:lnTo>
                  <a:lnTo>
                    <a:pt x="128" y="353"/>
                  </a:lnTo>
                  <a:lnTo>
                    <a:pt x="128" y="353"/>
                  </a:lnTo>
                  <a:lnTo>
                    <a:pt x="128" y="353"/>
                  </a:lnTo>
                  <a:lnTo>
                    <a:pt x="128" y="353"/>
                  </a:lnTo>
                  <a:lnTo>
                    <a:pt x="128" y="351"/>
                  </a:lnTo>
                  <a:lnTo>
                    <a:pt x="128" y="351"/>
                  </a:lnTo>
                  <a:lnTo>
                    <a:pt x="128" y="351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3" y="351"/>
                  </a:lnTo>
                  <a:lnTo>
                    <a:pt x="123" y="351"/>
                  </a:lnTo>
                  <a:lnTo>
                    <a:pt x="123" y="351"/>
                  </a:lnTo>
                  <a:lnTo>
                    <a:pt x="123" y="351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9"/>
                  </a:lnTo>
                  <a:lnTo>
                    <a:pt x="123" y="346"/>
                  </a:lnTo>
                  <a:lnTo>
                    <a:pt x="123" y="346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3" y="342"/>
                  </a:lnTo>
                  <a:lnTo>
                    <a:pt x="123" y="340"/>
                  </a:lnTo>
                  <a:lnTo>
                    <a:pt x="123" y="340"/>
                  </a:lnTo>
                  <a:lnTo>
                    <a:pt x="121" y="340"/>
                  </a:lnTo>
                  <a:lnTo>
                    <a:pt x="123" y="340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21" y="337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40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9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6" y="337"/>
                  </a:lnTo>
                  <a:lnTo>
                    <a:pt x="114" y="335"/>
                  </a:lnTo>
                  <a:lnTo>
                    <a:pt x="114" y="335"/>
                  </a:lnTo>
                  <a:lnTo>
                    <a:pt x="114" y="333"/>
                  </a:lnTo>
                  <a:lnTo>
                    <a:pt x="116" y="333"/>
                  </a:lnTo>
                  <a:lnTo>
                    <a:pt x="116" y="333"/>
                  </a:lnTo>
                  <a:lnTo>
                    <a:pt x="116" y="333"/>
                  </a:lnTo>
                  <a:lnTo>
                    <a:pt x="116" y="333"/>
                  </a:lnTo>
                  <a:lnTo>
                    <a:pt x="116" y="331"/>
                  </a:lnTo>
                  <a:lnTo>
                    <a:pt x="116" y="331"/>
                  </a:lnTo>
                  <a:lnTo>
                    <a:pt x="116" y="331"/>
                  </a:lnTo>
                  <a:lnTo>
                    <a:pt x="116" y="331"/>
                  </a:lnTo>
                  <a:lnTo>
                    <a:pt x="114" y="331"/>
                  </a:lnTo>
                  <a:lnTo>
                    <a:pt x="114" y="331"/>
                  </a:lnTo>
                  <a:lnTo>
                    <a:pt x="114" y="331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9"/>
                  </a:lnTo>
                  <a:lnTo>
                    <a:pt x="114" y="326"/>
                  </a:lnTo>
                  <a:lnTo>
                    <a:pt x="114" y="326"/>
                  </a:lnTo>
                  <a:lnTo>
                    <a:pt x="114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2" y="326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10" y="324"/>
                  </a:lnTo>
                  <a:lnTo>
                    <a:pt x="107" y="324"/>
                  </a:lnTo>
                  <a:lnTo>
                    <a:pt x="107" y="324"/>
                  </a:lnTo>
                  <a:lnTo>
                    <a:pt x="107" y="324"/>
                  </a:lnTo>
                  <a:lnTo>
                    <a:pt x="107" y="324"/>
                  </a:lnTo>
                  <a:lnTo>
                    <a:pt x="107" y="324"/>
                  </a:lnTo>
                  <a:lnTo>
                    <a:pt x="107" y="322"/>
                  </a:lnTo>
                  <a:lnTo>
                    <a:pt x="107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5" y="322"/>
                  </a:lnTo>
                  <a:lnTo>
                    <a:pt x="103" y="322"/>
                  </a:lnTo>
                  <a:lnTo>
                    <a:pt x="103" y="320"/>
                  </a:lnTo>
                  <a:lnTo>
                    <a:pt x="103" y="320"/>
                  </a:lnTo>
                  <a:lnTo>
                    <a:pt x="103" y="320"/>
                  </a:lnTo>
                  <a:lnTo>
                    <a:pt x="103" y="320"/>
                  </a:lnTo>
                  <a:lnTo>
                    <a:pt x="101" y="320"/>
                  </a:lnTo>
                  <a:lnTo>
                    <a:pt x="101" y="320"/>
                  </a:lnTo>
                  <a:lnTo>
                    <a:pt x="98" y="320"/>
                  </a:lnTo>
                  <a:lnTo>
                    <a:pt x="98" y="320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8" y="315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11"/>
                  </a:lnTo>
                  <a:lnTo>
                    <a:pt x="96" y="308"/>
                  </a:lnTo>
                  <a:lnTo>
                    <a:pt x="96" y="308"/>
                  </a:lnTo>
                  <a:lnTo>
                    <a:pt x="96" y="308"/>
                  </a:lnTo>
                  <a:lnTo>
                    <a:pt x="96" y="308"/>
                  </a:lnTo>
                  <a:lnTo>
                    <a:pt x="96" y="308"/>
                  </a:lnTo>
                  <a:lnTo>
                    <a:pt x="96" y="308"/>
                  </a:lnTo>
                  <a:lnTo>
                    <a:pt x="94" y="308"/>
                  </a:lnTo>
                  <a:lnTo>
                    <a:pt x="94" y="308"/>
                  </a:lnTo>
                  <a:lnTo>
                    <a:pt x="94" y="306"/>
                  </a:lnTo>
                  <a:lnTo>
                    <a:pt x="94" y="306"/>
                  </a:lnTo>
                  <a:lnTo>
                    <a:pt x="92" y="306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9" y="304"/>
                  </a:lnTo>
                  <a:lnTo>
                    <a:pt x="87" y="304"/>
                  </a:lnTo>
                  <a:lnTo>
                    <a:pt x="87" y="304"/>
                  </a:lnTo>
                  <a:lnTo>
                    <a:pt x="89" y="302"/>
                  </a:lnTo>
                  <a:lnTo>
                    <a:pt x="87" y="302"/>
                  </a:lnTo>
                  <a:lnTo>
                    <a:pt x="87" y="302"/>
                  </a:lnTo>
                  <a:lnTo>
                    <a:pt x="87" y="299"/>
                  </a:lnTo>
                  <a:lnTo>
                    <a:pt x="87" y="299"/>
                  </a:lnTo>
                  <a:lnTo>
                    <a:pt x="87" y="302"/>
                  </a:lnTo>
                  <a:lnTo>
                    <a:pt x="87" y="302"/>
                  </a:lnTo>
                  <a:lnTo>
                    <a:pt x="87" y="302"/>
                  </a:lnTo>
                  <a:lnTo>
                    <a:pt x="85" y="302"/>
                  </a:lnTo>
                  <a:lnTo>
                    <a:pt x="85" y="302"/>
                  </a:lnTo>
                  <a:lnTo>
                    <a:pt x="85" y="302"/>
                  </a:lnTo>
                  <a:lnTo>
                    <a:pt x="85" y="302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7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8" y="297"/>
                  </a:lnTo>
                  <a:lnTo>
                    <a:pt x="78" y="299"/>
                  </a:lnTo>
                  <a:lnTo>
                    <a:pt x="78" y="299"/>
                  </a:lnTo>
                  <a:lnTo>
                    <a:pt x="78" y="299"/>
                  </a:lnTo>
                  <a:lnTo>
                    <a:pt x="76" y="297"/>
                  </a:lnTo>
                  <a:lnTo>
                    <a:pt x="76" y="297"/>
                  </a:lnTo>
                  <a:lnTo>
                    <a:pt x="74" y="297"/>
                  </a:lnTo>
                  <a:lnTo>
                    <a:pt x="74" y="297"/>
                  </a:lnTo>
                  <a:lnTo>
                    <a:pt x="74" y="297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72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9" y="295"/>
                  </a:lnTo>
                  <a:lnTo>
                    <a:pt x="67" y="295"/>
                  </a:lnTo>
                  <a:lnTo>
                    <a:pt x="67" y="295"/>
                  </a:lnTo>
                  <a:lnTo>
                    <a:pt x="67" y="295"/>
                  </a:lnTo>
                  <a:lnTo>
                    <a:pt x="67" y="293"/>
                  </a:lnTo>
                  <a:lnTo>
                    <a:pt x="65" y="293"/>
                  </a:lnTo>
                  <a:lnTo>
                    <a:pt x="65" y="293"/>
                  </a:lnTo>
                  <a:lnTo>
                    <a:pt x="65" y="293"/>
                  </a:lnTo>
                  <a:lnTo>
                    <a:pt x="65" y="290"/>
                  </a:lnTo>
                  <a:lnTo>
                    <a:pt x="63" y="290"/>
                  </a:lnTo>
                  <a:lnTo>
                    <a:pt x="63" y="290"/>
                  </a:lnTo>
                  <a:lnTo>
                    <a:pt x="63" y="290"/>
                  </a:lnTo>
                  <a:lnTo>
                    <a:pt x="63" y="288"/>
                  </a:lnTo>
                  <a:lnTo>
                    <a:pt x="63" y="288"/>
                  </a:lnTo>
                  <a:lnTo>
                    <a:pt x="63" y="288"/>
                  </a:lnTo>
                  <a:lnTo>
                    <a:pt x="60" y="288"/>
                  </a:lnTo>
                  <a:lnTo>
                    <a:pt x="60" y="288"/>
                  </a:lnTo>
                  <a:lnTo>
                    <a:pt x="60" y="288"/>
                  </a:lnTo>
                  <a:lnTo>
                    <a:pt x="60" y="288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60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8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6" y="286"/>
                  </a:lnTo>
                  <a:lnTo>
                    <a:pt x="54" y="286"/>
                  </a:lnTo>
                  <a:lnTo>
                    <a:pt x="54" y="286"/>
                  </a:lnTo>
                  <a:lnTo>
                    <a:pt x="54" y="286"/>
                  </a:lnTo>
                  <a:lnTo>
                    <a:pt x="54" y="288"/>
                  </a:lnTo>
                  <a:lnTo>
                    <a:pt x="54" y="290"/>
                  </a:lnTo>
                  <a:lnTo>
                    <a:pt x="54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51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7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2" y="288"/>
                  </a:lnTo>
                  <a:lnTo>
                    <a:pt x="42" y="288"/>
                  </a:lnTo>
                  <a:lnTo>
                    <a:pt x="42" y="288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8" y="288"/>
                  </a:lnTo>
                  <a:lnTo>
                    <a:pt x="36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3" y="284"/>
                  </a:lnTo>
                  <a:lnTo>
                    <a:pt x="33" y="281"/>
                  </a:lnTo>
                  <a:lnTo>
                    <a:pt x="31" y="281"/>
                  </a:lnTo>
                  <a:lnTo>
                    <a:pt x="31" y="281"/>
                  </a:lnTo>
                  <a:lnTo>
                    <a:pt x="31" y="281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0" y="275"/>
                  </a:lnTo>
                  <a:lnTo>
                    <a:pt x="20" y="275"/>
                  </a:lnTo>
                  <a:lnTo>
                    <a:pt x="18" y="275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6"/>
                  </a:lnTo>
                  <a:lnTo>
                    <a:pt x="9" y="266"/>
                  </a:lnTo>
                  <a:lnTo>
                    <a:pt x="9" y="266"/>
                  </a:lnTo>
                  <a:lnTo>
                    <a:pt x="9" y="266"/>
                  </a:lnTo>
                  <a:lnTo>
                    <a:pt x="9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3"/>
                  </a:lnTo>
                  <a:lnTo>
                    <a:pt x="4" y="263"/>
                  </a:lnTo>
                  <a:lnTo>
                    <a:pt x="4" y="263"/>
                  </a:lnTo>
                  <a:lnTo>
                    <a:pt x="4" y="261"/>
                  </a:lnTo>
                  <a:lnTo>
                    <a:pt x="4" y="261"/>
                  </a:lnTo>
                  <a:lnTo>
                    <a:pt x="4" y="261"/>
                  </a:lnTo>
                  <a:lnTo>
                    <a:pt x="4" y="261"/>
                  </a:lnTo>
                  <a:lnTo>
                    <a:pt x="4" y="261"/>
                  </a:lnTo>
                  <a:lnTo>
                    <a:pt x="4" y="261"/>
                  </a:lnTo>
                  <a:lnTo>
                    <a:pt x="4" y="261"/>
                  </a:lnTo>
                  <a:lnTo>
                    <a:pt x="4" y="259"/>
                  </a:lnTo>
                  <a:lnTo>
                    <a:pt x="4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2" y="259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59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7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0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4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lnTo>
                    <a:pt x="6" y="252"/>
                  </a:lnTo>
                  <a:lnTo>
                    <a:pt x="6" y="252"/>
                  </a:lnTo>
                  <a:lnTo>
                    <a:pt x="6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9" y="254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2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48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9" y="245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5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6" y="243"/>
                  </a:lnTo>
                  <a:lnTo>
                    <a:pt x="9" y="243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9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9"/>
                  </a:lnTo>
                  <a:lnTo>
                    <a:pt x="11" y="236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3" y="236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3" y="239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5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0" y="234"/>
                  </a:lnTo>
                  <a:lnTo>
                    <a:pt x="20" y="234"/>
                  </a:lnTo>
                  <a:lnTo>
                    <a:pt x="20" y="236"/>
                  </a:lnTo>
                  <a:lnTo>
                    <a:pt x="20" y="236"/>
                  </a:lnTo>
                  <a:lnTo>
                    <a:pt x="22" y="236"/>
                  </a:lnTo>
                  <a:lnTo>
                    <a:pt x="22" y="236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2" y="232"/>
                  </a:lnTo>
                  <a:lnTo>
                    <a:pt x="22" y="232"/>
                  </a:lnTo>
                  <a:lnTo>
                    <a:pt x="22" y="234"/>
                  </a:lnTo>
                  <a:lnTo>
                    <a:pt x="22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4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2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7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7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9" y="225"/>
                  </a:lnTo>
                  <a:lnTo>
                    <a:pt x="29" y="225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29" y="223"/>
                  </a:lnTo>
                  <a:lnTo>
                    <a:pt x="31" y="223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21"/>
                  </a:lnTo>
                  <a:lnTo>
                    <a:pt x="31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8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6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4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6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6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12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7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0" y="205"/>
                  </a:lnTo>
                  <a:lnTo>
                    <a:pt x="42" y="205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2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3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40" y="200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40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3" y="200"/>
                  </a:lnTo>
                  <a:lnTo>
                    <a:pt x="36" y="200"/>
                  </a:lnTo>
                  <a:lnTo>
                    <a:pt x="36" y="200"/>
                  </a:lnTo>
                  <a:lnTo>
                    <a:pt x="33" y="198"/>
                  </a:lnTo>
                  <a:lnTo>
                    <a:pt x="33" y="198"/>
                  </a:lnTo>
                  <a:lnTo>
                    <a:pt x="33" y="198"/>
                  </a:lnTo>
                  <a:lnTo>
                    <a:pt x="33" y="198"/>
                  </a:lnTo>
                  <a:lnTo>
                    <a:pt x="33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6" y="189"/>
                  </a:lnTo>
                  <a:lnTo>
                    <a:pt x="38" y="189"/>
                  </a:lnTo>
                  <a:lnTo>
                    <a:pt x="38" y="187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5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8" y="182"/>
                  </a:lnTo>
                  <a:lnTo>
                    <a:pt x="36" y="180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36" y="173"/>
                  </a:lnTo>
                  <a:lnTo>
                    <a:pt x="36" y="173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69"/>
                  </a:lnTo>
                  <a:lnTo>
                    <a:pt x="38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3" y="162"/>
                  </a:lnTo>
                  <a:lnTo>
                    <a:pt x="33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60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38" y="155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6" y="151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6"/>
                  </a:lnTo>
                  <a:lnTo>
                    <a:pt x="36" y="149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8" y="140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8" y="137"/>
                  </a:lnTo>
                  <a:lnTo>
                    <a:pt x="36" y="137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6" y="137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3" y="135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9" y="122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1" y="113"/>
                  </a:lnTo>
                  <a:lnTo>
                    <a:pt x="31" y="113"/>
                  </a:lnTo>
                  <a:lnTo>
                    <a:pt x="31" y="113"/>
                  </a:lnTo>
                  <a:lnTo>
                    <a:pt x="31" y="113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6" y="117"/>
                  </a:lnTo>
                  <a:lnTo>
                    <a:pt x="36" y="115"/>
                  </a:lnTo>
                  <a:lnTo>
                    <a:pt x="38" y="113"/>
                  </a:lnTo>
                  <a:lnTo>
                    <a:pt x="40" y="113"/>
                  </a:lnTo>
                  <a:lnTo>
                    <a:pt x="40" y="113"/>
                  </a:lnTo>
                  <a:lnTo>
                    <a:pt x="38" y="113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40" y="110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4"/>
                  </a:lnTo>
                  <a:lnTo>
                    <a:pt x="42" y="101"/>
                  </a:lnTo>
                  <a:lnTo>
                    <a:pt x="40" y="101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51" y="104"/>
                  </a:lnTo>
                  <a:lnTo>
                    <a:pt x="51" y="106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51" y="108"/>
                  </a:lnTo>
                  <a:lnTo>
                    <a:pt x="51" y="108"/>
                  </a:lnTo>
                  <a:lnTo>
                    <a:pt x="51" y="108"/>
                  </a:lnTo>
                  <a:lnTo>
                    <a:pt x="51" y="108"/>
                  </a:lnTo>
                  <a:lnTo>
                    <a:pt x="51" y="108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7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51" y="95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4" y="90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60" y="86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0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78" y="52"/>
                  </a:lnTo>
                  <a:lnTo>
                    <a:pt x="78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2"/>
                  </a:lnTo>
                  <a:lnTo>
                    <a:pt x="78" y="50"/>
                  </a:lnTo>
                  <a:lnTo>
                    <a:pt x="78" y="52"/>
                  </a:lnTo>
                  <a:lnTo>
                    <a:pt x="81" y="52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05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6" y="27"/>
                  </a:lnTo>
                  <a:lnTo>
                    <a:pt x="116" y="27"/>
                  </a:lnTo>
                  <a:lnTo>
                    <a:pt x="116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5" y="27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7" y="20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1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2" y="14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5" y="9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2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5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5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2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7" y="5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6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6" name="Freeform 624"/>
            <p:cNvSpPr>
              <a:spLocks noEditPoints="1"/>
            </p:cNvSpPr>
            <p:nvPr/>
          </p:nvSpPr>
          <p:spPr bwMode="auto">
            <a:xfrm>
              <a:off x="3207300" y="4664408"/>
              <a:ext cx="491399" cy="1510968"/>
            </a:xfrm>
            <a:custGeom>
              <a:avLst/>
              <a:gdLst>
                <a:gd name="T0" fmla="*/ 231 w 294"/>
                <a:gd name="T1" fmla="*/ 890 h 904"/>
                <a:gd name="T2" fmla="*/ 272 w 294"/>
                <a:gd name="T3" fmla="*/ 897 h 904"/>
                <a:gd name="T4" fmla="*/ 242 w 294"/>
                <a:gd name="T5" fmla="*/ 890 h 904"/>
                <a:gd name="T6" fmla="*/ 220 w 294"/>
                <a:gd name="T7" fmla="*/ 884 h 904"/>
                <a:gd name="T8" fmla="*/ 233 w 294"/>
                <a:gd name="T9" fmla="*/ 881 h 904"/>
                <a:gd name="T10" fmla="*/ 180 w 294"/>
                <a:gd name="T11" fmla="*/ 866 h 904"/>
                <a:gd name="T12" fmla="*/ 195 w 294"/>
                <a:gd name="T13" fmla="*/ 863 h 904"/>
                <a:gd name="T14" fmla="*/ 204 w 294"/>
                <a:gd name="T15" fmla="*/ 857 h 904"/>
                <a:gd name="T16" fmla="*/ 180 w 294"/>
                <a:gd name="T17" fmla="*/ 857 h 904"/>
                <a:gd name="T18" fmla="*/ 162 w 294"/>
                <a:gd name="T19" fmla="*/ 852 h 904"/>
                <a:gd name="T20" fmla="*/ 150 w 294"/>
                <a:gd name="T21" fmla="*/ 841 h 904"/>
                <a:gd name="T22" fmla="*/ 227 w 294"/>
                <a:gd name="T23" fmla="*/ 877 h 904"/>
                <a:gd name="T24" fmla="*/ 195 w 294"/>
                <a:gd name="T25" fmla="*/ 875 h 904"/>
                <a:gd name="T26" fmla="*/ 207 w 294"/>
                <a:gd name="T27" fmla="*/ 866 h 904"/>
                <a:gd name="T28" fmla="*/ 202 w 294"/>
                <a:gd name="T29" fmla="*/ 841 h 904"/>
                <a:gd name="T30" fmla="*/ 135 w 294"/>
                <a:gd name="T31" fmla="*/ 823 h 904"/>
                <a:gd name="T32" fmla="*/ 112 w 294"/>
                <a:gd name="T33" fmla="*/ 812 h 904"/>
                <a:gd name="T34" fmla="*/ 121 w 294"/>
                <a:gd name="T35" fmla="*/ 807 h 904"/>
                <a:gd name="T36" fmla="*/ 105 w 294"/>
                <a:gd name="T37" fmla="*/ 800 h 904"/>
                <a:gd name="T38" fmla="*/ 99 w 294"/>
                <a:gd name="T39" fmla="*/ 785 h 904"/>
                <a:gd name="T40" fmla="*/ 105 w 294"/>
                <a:gd name="T41" fmla="*/ 782 h 904"/>
                <a:gd name="T42" fmla="*/ 83 w 294"/>
                <a:gd name="T43" fmla="*/ 769 h 904"/>
                <a:gd name="T44" fmla="*/ 74 w 294"/>
                <a:gd name="T45" fmla="*/ 747 h 904"/>
                <a:gd name="T46" fmla="*/ 99 w 294"/>
                <a:gd name="T47" fmla="*/ 767 h 904"/>
                <a:gd name="T48" fmla="*/ 81 w 294"/>
                <a:gd name="T49" fmla="*/ 758 h 904"/>
                <a:gd name="T50" fmla="*/ 69 w 294"/>
                <a:gd name="T51" fmla="*/ 740 h 904"/>
                <a:gd name="T52" fmla="*/ 78 w 294"/>
                <a:gd name="T53" fmla="*/ 726 h 904"/>
                <a:gd name="T54" fmla="*/ 65 w 294"/>
                <a:gd name="T55" fmla="*/ 729 h 904"/>
                <a:gd name="T56" fmla="*/ 81 w 294"/>
                <a:gd name="T57" fmla="*/ 702 h 904"/>
                <a:gd name="T58" fmla="*/ 56 w 294"/>
                <a:gd name="T59" fmla="*/ 668 h 904"/>
                <a:gd name="T60" fmla="*/ 58 w 294"/>
                <a:gd name="T61" fmla="*/ 659 h 904"/>
                <a:gd name="T62" fmla="*/ 63 w 294"/>
                <a:gd name="T63" fmla="*/ 645 h 904"/>
                <a:gd name="T64" fmla="*/ 76 w 294"/>
                <a:gd name="T65" fmla="*/ 645 h 904"/>
                <a:gd name="T66" fmla="*/ 63 w 294"/>
                <a:gd name="T67" fmla="*/ 630 h 904"/>
                <a:gd name="T68" fmla="*/ 49 w 294"/>
                <a:gd name="T69" fmla="*/ 582 h 904"/>
                <a:gd name="T70" fmla="*/ 38 w 294"/>
                <a:gd name="T71" fmla="*/ 578 h 904"/>
                <a:gd name="T72" fmla="*/ 58 w 294"/>
                <a:gd name="T73" fmla="*/ 175 h 904"/>
                <a:gd name="T74" fmla="*/ 43 w 294"/>
                <a:gd name="T75" fmla="*/ 324 h 904"/>
                <a:gd name="T76" fmla="*/ 65 w 294"/>
                <a:gd name="T77" fmla="*/ 447 h 904"/>
                <a:gd name="T78" fmla="*/ 74 w 294"/>
                <a:gd name="T79" fmla="*/ 562 h 904"/>
                <a:gd name="T80" fmla="*/ 117 w 294"/>
                <a:gd name="T81" fmla="*/ 659 h 904"/>
                <a:gd name="T82" fmla="*/ 126 w 294"/>
                <a:gd name="T83" fmla="*/ 780 h 904"/>
                <a:gd name="T84" fmla="*/ 191 w 294"/>
                <a:gd name="T85" fmla="*/ 857 h 904"/>
                <a:gd name="T86" fmla="*/ 168 w 294"/>
                <a:gd name="T87" fmla="*/ 843 h 904"/>
                <a:gd name="T88" fmla="*/ 164 w 294"/>
                <a:gd name="T89" fmla="*/ 830 h 904"/>
                <a:gd name="T90" fmla="*/ 148 w 294"/>
                <a:gd name="T91" fmla="*/ 825 h 904"/>
                <a:gd name="T92" fmla="*/ 148 w 294"/>
                <a:gd name="T93" fmla="*/ 814 h 904"/>
                <a:gd name="T94" fmla="*/ 139 w 294"/>
                <a:gd name="T95" fmla="*/ 807 h 904"/>
                <a:gd name="T96" fmla="*/ 126 w 294"/>
                <a:gd name="T97" fmla="*/ 798 h 904"/>
                <a:gd name="T98" fmla="*/ 110 w 294"/>
                <a:gd name="T99" fmla="*/ 778 h 904"/>
                <a:gd name="T100" fmla="*/ 105 w 294"/>
                <a:gd name="T101" fmla="*/ 758 h 904"/>
                <a:gd name="T102" fmla="*/ 96 w 294"/>
                <a:gd name="T103" fmla="*/ 735 h 904"/>
                <a:gd name="T104" fmla="*/ 99 w 294"/>
                <a:gd name="T105" fmla="*/ 720 h 904"/>
                <a:gd name="T106" fmla="*/ 81 w 294"/>
                <a:gd name="T107" fmla="*/ 706 h 904"/>
                <a:gd name="T108" fmla="*/ 51 w 294"/>
                <a:gd name="T109" fmla="*/ 686 h 904"/>
                <a:gd name="T110" fmla="*/ 78 w 294"/>
                <a:gd name="T111" fmla="*/ 686 h 904"/>
                <a:gd name="T112" fmla="*/ 85 w 294"/>
                <a:gd name="T113" fmla="*/ 639 h 904"/>
                <a:gd name="T114" fmla="*/ 69 w 294"/>
                <a:gd name="T115" fmla="*/ 585 h 904"/>
                <a:gd name="T116" fmla="*/ 31 w 294"/>
                <a:gd name="T117" fmla="*/ 546 h 904"/>
                <a:gd name="T118" fmla="*/ 22 w 294"/>
                <a:gd name="T119" fmla="*/ 445 h 904"/>
                <a:gd name="T120" fmla="*/ 18 w 294"/>
                <a:gd name="T121" fmla="*/ 304 h 904"/>
                <a:gd name="T122" fmla="*/ 18 w 294"/>
                <a:gd name="T123" fmla="*/ 207 h 904"/>
                <a:gd name="T124" fmla="*/ 16 w 294"/>
                <a:gd name="T125" fmla="*/ 94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94" h="904">
                  <a:moveTo>
                    <a:pt x="283" y="902"/>
                  </a:moveTo>
                  <a:lnTo>
                    <a:pt x="281" y="902"/>
                  </a:lnTo>
                  <a:lnTo>
                    <a:pt x="281" y="902"/>
                  </a:lnTo>
                  <a:lnTo>
                    <a:pt x="283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4"/>
                  </a:lnTo>
                  <a:lnTo>
                    <a:pt x="281" y="904"/>
                  </a:lnTo>
                  <a:lnTo>
                    <a:pt x="281" y="904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8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6" y="902"/>
                  </a:lnTo>
                  <a:lnTo>
                    <a:pt x="278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1" y="902"/>
                  </a:lnTo>
                  <a:lnTo>
                    <a:pt x="283" y="902"/>
                  </a:lnTo>
                  <a:lnTo>
                    <a:pt x="283" y="902"/>
                  </a:lnTo>
                  <a:close/>
                  <a:moveTo>
                    <a:pt x="285" y="902"/>
                  </a:moveTo>
                  <a:lnTo>
                    <a:pt x="285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4"/>
                  </a:lnTo>
                  <a:lnTo>
                    <a:pt x="287" y="902"/>
                  </a:lnTo>
                  <a:lnTo>
                    <a:pt x="285" y="902"/>
                  </a:lnTo>
                  <a:lnTo>
                    <a:pt x="285" y="902"/>
                  </a:lnTo>
                  <a:lnTo>
                    <a:pt x="285" y="902"/>
                  </a:lnTo>
                  <a:lnTo>
                    <a:pt x="285" y="902"/>
                  </a:lnTo>
                  <a:lnTo>
                    <a:pt x="285" y="902"/>
                  </a:lnTo>
                  <a:lnTo>
                    <a:pt x="283" y="902"/>
                  </a:lnTo>
                  <a:lnTo>
                    <a:pt x="283" y="902"/>
                  </a:lnTo>
                  <a:lnTo>
                    <a:pt x="283" y="902"/>
                  </a:lnTo>
                  <a:lnTo>
                    <a:pt x="283" y="902"/>
                  </a:lnTo>
                  <a:lnTo>
                    <a:pt x="283" y="902"/>
                  </a:lnTo>
                  <a:lnTo>
                    <a:pt x="283" y="902"/>
                  </a:lnTo>
                  <a:lnTo>
                    <a:pt x="285" y="902"/>
                  </a:lnTo>
                  <a:lnTo>
                    <a:pt x="285" y="902"/>
                  </a:lnTo>
                  <a:close/>
                  <a:moveTo>
                    <a:pt x="290" y="904"/>
                  </a:moveTo>
                  <a:lnTo>
                    <a:pt x="290" y="904"/>
                  </a:lnTo>
                  <a:lnTo>
                    <a:pt x="290" y="904"/>
                  </a:lnTo>
                  <a:lnTo>
                    <a:pt x="290" y="904"/>
                  </a:lnTo>
                  <a:lnTo>
                    <a:pt x="290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87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2"/>
                  </a:lnTo>
                  <a:lnTo>
                    <a:pt x="290" y="904"/>
                  </a:lnTo>
                  <a:lnTo>
                    <a:pt x="290" y="904"/>
                  </a:lnTo>
                  <a:lnTo>
                    <a:pt x="290" y="904"/>
                  </a:lnTo>
                  <a:lnTo>
                    <a:pt x="290" y="904"/>
                  </a:lnTo>
                  <a:close/>
                  <a:moveTo>
                    <a:pt x="287" y="899"/>
                  </a:moveTo>
                  <a:lnTo>
                    <a:pt x="287" y="899"/>
                  </a:lnTo>
                  <a:lnTo>
                    <a:pt x="287" y="899"/>
                  </a:lnTo>
                  <a:lnTo>
                    <a:pt x="287" y="899"/>
                  </a:lnTo>
                  <a:lnTo>
                    <a:pt x="287" y="899"/>
                  </a:lnTo>
                  <a:lnTo>
                    <a:pt x="287" y="902"/>
                  </a:lnTo>
                  <a:lnTo>
                    <a:pt x="285" y="902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7" y="899"/>
                  </a:lnTo>
                  <a:lnTo>
                    <a:pt x="287" y="899"/>
                  </a:lnTo>
                  <a:lnTo>
                    <a:pt x="287" y="899"/>
                  </a:lnTo>
                  <a:close/>
                  <a:moveTo>
                    <a:pt x="283" y="897"/>
                  </a:move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7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899"/>
                  </a:lnTo>
                  <a:lnTo>
                    <a:pt x="285" y="902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1" y="899"/>
                  </a:lnTo>
                  <a:lnTo>
                    <a:pt x="281" y="899"/>
                  </a:lnTo>
                  <a:lnTo>
                    <a:pt x="281" y="899"/>
                  </a:lnTo>
                  <a:lnTo>
                    <a:pt x="281" y="899"/>
                  </a:lnTo>
                  <a:lnTo>
                    <a:pt x="281" y="899"/>
                  </a:lnTo>
                  <a:lnTo>
                    <a:pt x="281" y="899"/>
                  </a:lnTo>
                  <a:lnTo>
                    <a:pt x="278" y="899"/>
                  </a:lnTo>
                  <a:lnTo>
                    <a:pt x="278" y="899"/>
                  </a:lnTo>
                  <a:lnTo>
                    <a:pt x="278" y="899"/>
                  </a:lnTo>
                  <a:lnTo>
                    <a:pt x="281" y="899"/>
                  </a:lnTo>
                  <a:lnTo>
                    <a:pt x="278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9"/>
                  </a:lnTo>
                  <a:lnTo>
                    <a:pt x="283" y="899"/>
                  </a:lnTo>
                  <a:lnTo>
                    <a:pt x="283" y="899"/>
                  </a:lnTo>
                  <a:lnTo>
                    <a:pt x="283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7"/>
                  </a:lnTo>
                  <a:lnTo>
                    <a:pt x="281" y="895"/>
                  </a:lnTo>
                  <a:lnTo>
                    <a:pt x="281" y="895"/>
                  </a:lnTo>
                  <a:lnTo>
                    <a:pt x="283" y="895"/>
                  </a:lnTo>
                  <a:lnTo>
                    <a:pt x="283" y="895"/>
                  </a:lnTo>
                  <a:lnTo>
                    <a:pt x="283" y="895"/>
                  </a:lnTo>
                  <a:lnTo>
                    <a:pt x="283" y="897"/>
                  </a:lnTo>
                  <a:close/>
                  <a:moveTo>
                    <a:pt x="276" y="897"/>
                  </a:moveTo>
                  <a:lnTo>
                    <a:pt x="276" y="897"/>
                  </a:lnTo>
                  <a:lnTo>
                    <a:pt x="276" y="897"/>
                  </a:lnTo>
                  <a:lnTo>
                    <a:pt x="276" y="897"/>
                  </a:lnTo>
                  <a:lnTo>
                    <a:pt x="276" y="897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4" y="895"/>
                  </a:lnTo>
                  <a:lnTo>
                    <a:pt x="274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3"/>
                  </a:lnTo>
                  <a:lnTo>
                    <a:pt x="276" y="893"/>
                  </a:lnTo>
                  <a:lnTo>
                    <a:pt x="276" y="893"/>
                  </a:lnTo>
                  <a:lnTo>
                    <a:pt x="276" y="893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6" y="895"/>
                  </a:lnTo>
                  <a:lnTo>
                    <a:pt x="278" y="895"/>
                  </a:lnTo>
                  <a:lnTo>
                    <a:pt x="278" y="895"/>
                  </a:lnTo>
                  <a:lnTo>
                    <a:pt x="278" y="895"/>
                  </a:lnTo>
                  <a:lnTo>
                    <a:pt x="278" y="895"/>
                  </a:lnTo>
                  <a:lnTo>
                    <a:pt x="276" y="895"/>
                  </a:lnTo>
                  <a:lnTo>
                    <a:pt x="276" y="897"/>
                  </a:lnTo>
                  <a:lnTo>
                    <a:pt x="276" y="897"/>
                  </a:lnTo>
                  <a:close/>
                  <a:moveTo>
                    <a:pt x="240" y="890"/>
                  </a:move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40" y="893"/>
                  </a:lnTo>
                  <a:lnTo>
                    <a:pt x="240" y="893"/>
                  </a:lnTo>
                  <a:lnTo>
                    <a:pt x="238" y="893"/>
                  </a:lnTo>
                  <a:lnTo>
                    <a:pt x="238" y="893"/>
                  </a:lnTo>
                  <a:lnTo>
                    <a:pt x="238" y="893"/>
                  </a:lnTo>
                  <a:lnTo>
                    <a:pt x="238" y="893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6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40" y="890"/>
                  </a:lnTo>
                  <a:close/>
                  <a:moveTo>
                    <a:pt x="233" y="890"/>
                  </a:move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1" y="890"/>
                  </a:lnTo>
                  <a:lnTo>
                    <a:pt x="231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3" y="890"/>
                  </a:lnTo>
                  <a:lnTo>
                    <a:pt x="231" y="890"/>
                  </a:lnTo>
                  <a:lnTo>
                    <a:pt x="231" y="890"/>
                  </a:lnTo>
                  <a:lnTo>
                    <a:pt x="231" y="890"/>
                  </a:lnTo>
                  <a:lnTo>
                    <a:pt x="231" y="890"/>
                  </a:lnTo>
                  <a:lnTo>
                    <a:pt x="231" y="890"/>
                  </a:lnTo>
                  <a:lnTo>
                    <a:pt x="231" y="888"/>
                  </a:lnTo>
                  <a:lnTo>
                    <a:pt x="231" y="888"/>
                  </a:lnTo>
                  <a:lnTo>
                    <a:pt x="231" y="888"/>
                  </a:lnTo>
                  <a:lnTo>
                    <a:pt x="231" y="890"/>
                  </a:lnTo>
                  <a:lnTo>
                    <a:pt x="233" y="890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90"/>
                  </a:lnTo>
                  <a:close/>
                  <a:moveTo>
                    <a:pt x="287" y="890"/>
                  </a:moveTo>
                  <a:lnTo>
                    <a:pt x="287" y="890"/>
                  </a:lnTo>
                  <a:lnTo>
                    <a:pt x="285" y="890"/>
                  </a:lnTo>
                  <a:lnTo>
                    <a:pt x="285" y="890"/>
                  </a:lnTo>
                  <a:lnTo>
                    <a:pt x="285" y="890"/>
                  </a:lnTo>
                  <a:lnTo>
                    <a:pt x="283" y="890"/>
                  </a:lnTo>
                  <a:lnTo>
                    <a:pt x="283" y="888"/>
                  </a:lnTo>
                  <a:lnTo>
                    <a:pt x="283" y="888"/>
                  </a:lnTo>
                  <a:lnTo>
                    <a:pt x="283" y="888"/>
                  </a:lnTo>
                  <a:lnTo>
                    <a:pt x="283" y="888"/>
                  </a:lnTo>
                  <a:lnTo>
                    <a:pt x="285" y="888"/>
                  </a:lnTo>
                  <a:lnTo>
                    <a:pt x="285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88"/>
                  </a:lnTo>
                  <a:lnTo>
                    <a:pt x="287" y="890"/>
                  </a:lnTo>
                  <a:lnTo>
                    <a:pt x="287" y="890"/>
                  </a:lnTo>
                  <a:lnTo>
                    <a:pt x="287" y="890"/>
                  </a:lnTo>
                  <a:close/>
                  <a:moveTo>
                    <a:pt x="294" y="886"/>
                  </a:moveTo>
                  <a:lnTo>
                    <a:pt x="294" y="886"/>
                  </a:lnTo>
                  <a:lnTo>
                    <a:pt x="294" y="886"/>
                  </a:lnTo>
                  <a:lnTo>
                    <a:pt x="294" y="886"/>
                  </a:lnTo>
                  <a:lnTo>
                    <a:pt x="294" y="888"/>
                  </a:lnTo>
                  <a:lnTo>
                    <a:pt x="294" y="888"/>
                  </a:lnTo>
                  <a:lnTo>
                    <a:pt x="294" y="888"/>
                  </a:lnTo>
                  <a:lnTo>
                    <a:pt x="294" y="888"/>
                  </a:lnTo>
                  <a:lnTo>
                    <a:pt x="294" y="888"/>
                  </a:lnTo>
                  <a:lnTo>
                    <a:pt x="294" y="888"/>
                  </a:lnTo>
                  <a:lnTo>
                    <a:pt x="294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2" y="888"/>
                  </a:lnTo>
                  <a:lnTo>
                    <a:pt x="290" y="888"/>
                  </a:lnTo>
                  <a:lnTo>
                    <a:pt x="290" y="888"/>
                  </a:lnTo>
                  <a:lnTo>
                    <a:pt x="292" y="888"/>
                  </a:lnTo>
                  <a:lnTo>
                    <a:pt x="292" y="886"/>
                  </a:lnTo>
                  <a:lnTo>
                    <a:pt x="292" y="886"/>
                  </a:lnTo>
                  <a:lnTo>
                    <a:pt x="292" y="886"/>
                  </a:lnTo>
                  <a:lnTo>
                    <a:pt x="292" y="886"/>
                  </a:lnTo>
                  <a:lnTo>
                    <a:pt x="292" y="886"/>
                  </a:lnTo>
                  <a:lnTo>
                    <a:pt x="292" y="886"/>
                  </a:lnTo>
                  <a:lnTo>
                    <a:pt x="294" y="886"/>
                  </a:lnTo>
                  <a:close/>
                  <a:moveTo>
                    <a:pt x="285" y="884"/>
                  </a:moveTo>
                  <a:lnTo>
                    <a:pt x="287" y="886"/>
                  </a:lnTo>
                  <a:lnTo>
                    <a:pt x="285" y="886"/>
                  </a:lnTo>
                  <a:lnTo>
                    <a:pt x="285" y="884"/>
                  </a:lnTo>
                  <a:lnTo>
                    <a:pt x="283" y="884"/>
                  </a:lnTo>
                  <a:lnTo>
                    <a:pt x="283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3" y="884"/>
                  </a:lnTo>
                  <a:lnTo>
                    <a:pt x="285" y="884"/>
                  </a:lnTo>
                  <a:lnTo>
                    <a:pt x="285" y="884"/>
                  </a:lnTo>
                  <a:lnTo>
                    <a:pt x="285" y="884"/>
                  </a:lnTo>
                  <a:lnTo>
                    <a:pt x="285" y="884"/>
                  </a:lnTo>
                  <a:close/>
                  <a:moveTo>
                    <a:pt x="258" y="884"/>
                  </a:moveTo>
                  <a:lnTo>
                    <a:pt x="258" y="884"/>
                  </a:lnTo>
                  <a:lnTo>
                    <a:pt x="258" y="884"/>
                  </a:lnTo>
                  <a:lnTo>
                    <a:pt x="260" y="884"/>
                  </a:lnTo>
                  <a:lnTo>
                    <a:pt x="260" y="884"/>
                  </a:lnTo>
                  <a:lnTo>
                    <a:pt x="260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4"/>
                  </a:lnTo>
                  <a:lnTo>
                    <a:pt x="254" y="884"/>
                  </a:lnTo>
                  <a:lnTo>
                    <a:pt x="254" y="884"/>
                  </a:lnTo>
                  <a:lnTo>
                    <a:pt x="254" y="884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4" y="886"/>
                  </a:lnTo>
                  <a:lnTo>
                    <a:pt x="254" y="886"/>
                  </a:lnTo>
                  <a:lnTo>
                    <a:pt x="251" y="886"/>
                  </a:lnTo>
                  <a:lnTo>
                    <a:pt x="251" y="886"/>
                  </a:lnTo>
                  <a:lnTo>
                    <a:pt x="251" y="886"/>
                  </a:lnTo>
                  <a:lnTo>
                    <a:pt x="249" y="884"/>
                  </a:lnTo>
                  <a:lnTo>
                    <a:pt x="249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9" y="884"/>
                  </a:lnTo>
                  <a:lnTo>
                    <a:pt x="249" y="884"/>
                  </a:lnTo>
                  <a:lnTo>
                    <a:pt x="249" y="886"/>
                  </a:lnTo>
                  <a:lnTo>
                    <a:pt x="249" y="886"/>
                  </a:lnTo>
                  <a:lnTo>
                    <a:pt x="254" y="886"/>
                  </a:lnTo>
                  <a:lnTo>
                    <a:pt x="254" y="886"/>
                  </a:lnTo>
                  <a:lnTo>
                    <a:pt x="254" y="886"/>
                  </a:lnTo>
                  <a:lnTo>
                    <a:pt x="256" y="886"/>
                  </a:lnTo>
                  <a:lnTo>
                    <a:pt x="256" y="886"/>
                  </a:lnTo>
                  <a:lnTo>
                    <a:pt x="256" y="888"/>
                  </a:lnTo>
                  <a:lnTo>
                    <a:pt x="258" y="886"/>
                  </a:lnTo>
                  <a:lnTo>
                    <a:pt x="260" y="886"/>
                  </a:lnTo>
                  <a:lnTo>
                    <a:pt x="260" y="888"/>
                  </a:lnTo>
                  <a:lnTo>
                    <a:pt x="263" y="888"/>
                  </a:lnTo>
                  <a:lnTo>
                    <a:pt x="263" y="888"/>
                  </a:lnTo>
                  <a:lnTo>
                    <a:pt x="263" y="888"/>
                  </a:lnTo>
                  <a:lnTo>
                    <a:pt x="260" y="888"/>
                  </a:lnTo>
                  <a:lnTo>
                    <a:pt x="263" y="888"/>
                  </a:lnTo>
                  <a:lnTo>
                    <a:pt x="263" y="888"/>
                  </a:lnTo>
                  <a:lnTo>
                    <a:pt x="263" y="888"/>
                  </a:lnTo>
                  <a:lnTo>
                    <a:pt x="265" y="888"/>
                  </a:lnTo>
                  <a:lnTo>
                    <a:pt x="265" y="888"/>
                  </a:lnTo>
                  <a:lnTo>
                    <a:pt x="265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88"/>
                  </a:lnTo>
                  <a:lnTo>
                    <a:pt x="263" y="888"/>
                  </a:lnTo>
                  <a:lnTo>
                    <a:pt x="263" y="888"/>
                  </a:lnTo>
                  <a:lnTo>
                    <a:pt x="263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88"/>
                  </a:lnTo>
                  <a:lnTo>
                    <a:pt x="256" y="888"/>
                  </a:lnTo>
                  <a:lnTo>
                    <a:pt x="256" y="888"/>
                  </a:lnTo>
                  <a:lnTo>
                    <a:pt x="254" y="888"/>
                  </a:lnTo>
                  <a:lnTo>
                    <a:pt x="254" y="888"/>
                  </a:lnTo>
                  <a:lnTo>
                    <a:pt x="256" y="888"/>
                  </a:lnTo>
                  <a:lnTo>
                    <a:pt x="256" y="888"/>
                  </a:lnTo>
                  <a:lnTo>
                    <a:pt x="256" y="888"/>
                  </a:lnTo>
                  <a:lnTo>
                    <a:pt x="256" y="888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58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0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3"/>
                  </a:lnTo>
                  <a:lnTo>
                    <a:pt x="263" y="893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3" y="890"/>
                  </a:lnTo>
                  <a:lnTo>
                    <a:pt x="265" y="890"/>
                  </a:lnTo>
                  <a:lnTo>
                    <a:pt x="265" y="890"/>
                  </a:lnTo>
                  <a:lnTo>
                    <a:pt x="265" y="893"/>
                  </a:lnTo>
                  <a:lnTo>
                    <a:pt x="265" y="893"/>
                  </a:lnTo>
                  <a:lnTo>
                    <a:pt x="265" y="893"/>
                  </a:lnTo>
                  <a:lnTo>
                    <a:pt x="265" y="893"/>
                  </a:lnTo>
                  <a:lnTo>
                    <a:pt x="265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7" y="893"/>
                  </a:lnTo>
                  <a:lnTo>
                    <a:pt x="269" y="893"/>
                  </a:lnTo>
                  <a:lnTo>
                    <a:pt x="269" y="893"/>
                  </a:lnTo>
                  <a:lnTo>
                    <a:pt x="267" y="895"/>
                  </a:lnTo>
                  <a:lnTo>
                    <a:pt x="267" y="895"/>
                  </a:lnTo>
                  <a:lnTo>
                    <a:pt x="269" y="895"/>
                  </a:lnTo>
                  <a:lnTo>
                    <a:pt x="269" y="895"/>
                  </a:lnTo>
                  <a:lnTo>
                    <a:pt x="269" y="895"/>
                  </a:lnTo>
                  <a:lnTo>
                    <a:pt x="269" y="895"/>
                  </a:lnTo>
                  <a:lnTo>
                    <a:pt x="269" y="895"/>
                  </a:lnTo>
                  <a:lnTo>
                    <a:pt x="269" y="895"/>
                  </a:lnTo>
                  <a:lnTo>
                    <a:pt x="269" y="895"/>
                  </a:lnTo>
                  <a:lnTo>
                    <a:pt x="269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7"/>
                  </a:lnTo>
                  <a:lnTo>
                    <a:pt x="272" y="899"/>
                  </a:lnTo>
                  <a:lnTo>
                    <a:pt x="272" y="899"/>
                  </a:lnTo>
                  <a:lnTo>
                    <a:pt x="272" y="899"/>
                  </a:lnTo>
                  <a:lnTo>
                    <a:pt x="269" y="899"/>
                  </a:lnTo>
                  <a:lnTo>
                    <a:pt x="269" y="899"/>
                  </a:lnTo>
                  <a:lnTo>
                    <a:pt x="269" y="899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9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7" y="897"/>
                  </a:lnTo>
                  <a:lnTo>
                    <a:pt x="265" y="897"/>
                  </a:lnTo>
                  <a:lnTo>
                    <a:pt x="265" y="897"/>
                  </a:lnTo>
                  <a:lnTo>
                    <a:pt x="265" y="895"/>
                  </a:lnTo>
                  <a:lnTo>
                    <a:pt x="265" y="895"/>
                  </a:lnTo>
                  <a:lnTo>
                    <a:pt x="265" y="895"/>
                  </a:lnTo>
                  <a:lnTo>
                    <a:pt x="265" y="895"/>
                  </a:lnTo>
                  <a:lnTo>
                    <a:pt x="265" y="895"/>
                  </a:lnTo>
                  <a:lnTo>
                    <a:pt x="263" y="895"/>
                  </a:lnTo>
                  <a:lnTo>
                    <a:pt x="263" y="893"/>
                  </a:lnTo>
                  <a:lnTo>
                    <a:pt x="263" y="893"/>
                  </a:lnTo>
                  <a:lnTo>
                    <a:pt x="263" y="895"/>
                  </a:lnTo>
                  <a:lnTo>
                    <a:pt x="263" y="895"/>
                  </a:lnTo>
                  <a:lnTo>
                    <a:pt x="260" y="895"/>
                  </a:lnTo>
                  <a:lnTo>
                    <a:pt x="260" y="893"/>
                  </a:lnTo>
                  <a:lnTo>
                    <a:pt x="260" y="893"/>
                  </a:lnTo>
                  <a:lnTo>
                    <a:pt x="260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8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3"/>
                  </a:lnTo>
                  <a:lnTo>
                    <a:pt x="256" y="895"/>
                  </a:lnTo>
                  <a:lnTo>
                    <a:pt x="256" y="895"/>
                  </a:lnTo>
                  <a:lnTo>
                    <a:pt x="256" y="895"/>
                  </a:lnTo>
                  <a:lnTo>
                    <a:pt x="256" y="895"/>
                  </a:lnTo>
                  <a:lnTo>
                    <a:pt x="256" y="895"/>
                  </a:lnTo>
                  <a:lnTo>
                    <a:pt x="254" y="895"/>
                  </a:lnTo>
                  <a:lnTo>
                    <a:pt x="254" y="895"/>
                  </a:lnTo>
                  <a:lnTo>
                    <a:pt x="254" y="893"/>
                  </a:lnTo>
                  <a:lnTo>
                    <a:pt x="254" y="893"/>
                  </a:lnTo>
                  <a:lnTo>
                    <a:pt x="254" y="893"/>
                  </a:lnTo>
                  <a:lnTo>
                    <a:pt x="254" y="893"/>
                  </a:lnTo>
                  <a:lnTo>
                    <a:pt x="254" y="893"/>
                  </a:lnTo>
                  <a:lnTo>
                    <a:pt x="251" y="893"/>
                  </a:lnTo>
                  <a:lnTo>
                    <a:pt x="251" y="893"/>
                  </a:lnTo>
                  <a:lnTo>
                    <a:pt x="251" y="893"/>
                  </a:lnTo>
                  <a:lnTo>
                    <a:pt x="251" y="893"/>
                  </a:lnTo>
                  <a:lnTo>
                    <a:pt x="254" y="890"/>
                  </a:lnTo>
                  <a:lnTo>
                    <a:pt x="254" y="890"/>
                  </a:lnTo>
                  <a:lnTo>
                    <a:pt x="254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6" y="890"/>
                  </a:lnTo>
                  <a:lnTo>
                    <a:pt x="254" y="890"/>
                  </a:lnTo>
                  <a:lnTo>
                    <a:pt x="254" y="890"/>
                  </a:lnTo>
                  <a:lnTo>
                    <a:pt x="254" y="890"/>
                  </a:lnTo>
                  <a:lnTo>
                    <a:pt x="254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90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51" y="886"/>
                  </a:lnTo>
                  <a:lnTo>
                    <a:pt x="251" y="886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49" y="888"/>
                  </a:lnTo>
                  <a:lnTo>
                    <a:pt x="251" y="888"/>
                  </a:lnTo>
                  <a:lnTo>
                    <a:pt x="251" y="888"/>
                  </a:lnTo>
                  <a:lnTo>
                    <a:pt x="249" y="888"/>
                  </a:lnTo>
                  <a:lnTo>
                    <a:pt x="249" y="888"/>
                  </a:lnTo>
                  <a:lnTo>
                    <a:pt x="249" y="888"/>
                  </a:lnTo>
                  <a:lnTo>
                    <a:pt x="249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6"/>
                  </a:lnTo>
                  <a:lnTo>
                    <a:pt x="247" y="886"/>
                  </a:lnTo>
                  <a:lnTo>
                    <a:pt x="247" y="886"/>
                  </a:lnTo>
                  <a:lnTo>
                    <a:pt x="247" y="886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7" y="888"/>
                  </a:lnTo>
                  <a:lnTo>
                    <a:pt x="245" y="888"/>
                  </a:lnTo>
                  <a:lnTo>
                    <a:pt x="245" y="888"/>
                  </a:lnTo>
                  <a:lnTo>
                    <a:pt x="245" y="888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2" y="886"/>
                  </a:lnTo>
                  <a:lnTo>
                    <a:pt x="242" y="886"/>
                  </a:lnTo>
                  <a:lnTo>
                    <a:pt x="242" y="886"/>
                  </a:lnTo>
                  <a:lnTo>
                    <a:pt x="240" y="886"/>
                  </a:lnTo>
                  <a:lnTo>
                    <a:pt x="242" y="886"/>
                  </a:lnTo>
                  <a:lnTo>
                    <a:pt x="242" y="886"/>
                  </a:lnTo>
                  <a:lnTo>
                    <a:pt x="242" y="886"/>
                  </a:lnTo>
                  <a:lnTo>
                    <a:pt x="242" y="886"/>
                  </a:lnTo>
                  <a:lnTo>
                    <a:pt x="242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6"/>
                  </a:lnTo>
                  <a:lnTo>
                    <a:pt x="245" y="888"/>
                  </a:lnTo>
                  <a:lnTo>
                    <a:pt x="245" y="888"/>
                  </a:lnTo>
                  <a:lnTo>
                    <a:pt x="245" y="888"/>
                  </a:lnTo>
                  <a:lnTo>
                    <a:pt x="245" y="888"/>
                  </a:lnTo>
                  <a:lnTo>
                    <a:pt x="245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0" y="888"/>
                  </a:lnTo>
                  <a:lnTo>
                    <a:pt x="240" y="888"/>
                  </a:lnTo>
                  <a:lnTo>
                    <a:pt x="240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88"/>
                  </a:lnTo>
                  <a:lnTo>
                    <a:pt x="242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5" y="890"/>
                  </a:lnTo>
                  <a:lnTo>
                    <a:pt x="247" y="890"/>
                  </a:lnTo>
                  <a:lnTo>
                    <a:pt x="247" y="890"/>
                  </a:lnTo>
                  <a:lnTo>
                    <a:pt x="247" y="890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9" y="893"/>
                  </a:lnTo>
                  <a:lnTo>
                    <a:pt x="249" y="893"/>
                  </a:lnTo>
                  <a:lnTo>
                    <a:pt x="249" y="893"/>
                  </a:lnTo>
                  <a:lnTo>
                    <a:pt x="249" y="893"/>
                  </a:lnTo>
                  <a:lnTo>
                    <a:pt x="249" y="893"/>
                  </a:lnTo>
                  <a:lnTo>
                    <a:pt x="249" y="893"/>
                  </a:lnTo>
                  <a:lnTo>
                    <a:pt x="249" y="893"/>
                  </a:lnTo>
                  <a:lnTo>
                    <a:pt x="249" y="895"/>
                  </a:lnTo>
                  <a:lnTo>
                    <a:pt x="249" y="895"/>
                  </a:lnTo>
                  <a:lnTo>
                    <a:pt x="249" y="895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7" y="895"/>
                  </a:lnTo>
                  <a:lnTo>
                    <a:pt x="247" y="895"/>
                  </a:lnTo>
                  <a:lnTo>
                    <a:pt x="247" y="893"/>
                  </a:lnTo>
                  <a:lnTo>
                    <a:pt x="247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5" y="895"/>
                  </a:lnTo>
                  <a:lnTo>
                    <a:pt x="245" y="895"/>
                  </a:lnTo>
                  <a:lnTo>
                    <a:pt x="245" y="895"/>
                  </a:lnTo>
                  <a:lnTo>
                    <a:pt x="245" y="893"/>
                  </a:lnTo>
                  <a:lnTo>
                    <a:pt x="245" y="893"/>
                  </a:lnTo>
                  <a:lnTo>
                    <a:pt x="242" y="893"/>
                  </a:lnTo>
                  <a:lnTo>
                    <a:pt x="242" y="893"/>
                  </a:lnTo>
                  <a:lnTo>
                    <a:pt x="242" y="893"/>
                  </a:lnTo>
                  <a:lnTo>
                    <a:pt x="242" y="890"/>
                  </a:lnTo>
                  <a:lnTo>
                    <a:pt x="245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2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40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6" y="890"/>
                  </a:lnTo>
                  <a:lnTo>
                    <a:pt x="236" y="890"/>
                  </a:lnTo>
                  <a:lnTo>
                    <a:pt x="236" y="890"/>
                  </a:lnTo>
                  <a:lnTo>
                    <a:pt x="238" y="890"/>
                  </a:lnTo>
                  <a:lnTo>
                    <a:pt x="238" y="890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40" y="888"/>
                  </a:lnTo>
                  <a:lnTo>
                    <a:pt x="240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40" y="888"/>
                  </a:lnTo>
                  <a:lnTo>
                    <a:pt x="240" y="888"/>
                  </a:lnTo>
                  <a:lnTo>
                    <a:pt x="240" y="886"/>
                  </a:lnTo>
                  <a:lnTo>
                    <a:pt x="240" y="886"/>
                  </a:lnTo>
                  <a:lnTo>
                    <a:pt x="240" y="886"/>
                  </a:lnTo>
                  <a:lnTo>
                    <a:pt x="240" y="886"/>
                  </a:lnTo>
                  <a:lnTo>
                    <a:pt x="238" y="886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8" y="888"/>
                  </a:lnTo>
                  <a:lnTo>
                    <a:pt x="236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8"/>
                  </a:lnTo>
                  <a:lnTo>
                    <a:pt x="233" y="886"/>
                  </a:lnTo>
                  <a:lnTo>
                    <a:pt x="233" y="886"/>
                  </a:lnTo>
                  <a:lnTo>
                    <a:pt x="233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6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3" y="884"/>
                  </a:lnTo>
                  <a:lnTo>
                    <a:pt x="233" y="884"/>
                  </a:lnTo>
                  <a:lnTo>
                    <a:pt x="236" y="884"/>
                  </a:lnTo>
                  <a:lnTo>
                    <a:pt x="236" y="884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38" y="886"/>
                  </a:lnTo>
                  <a:lnTo>
                    <a:pt x="238" y="886"/>
                  </a:lnTo>
                  <a:lnTo>
                    <a:pt x="238" y="886"/>
                  </a:lnTo>
                  <a:lnTo>
                    <a:pt x="240" y="886"/>
                  </a:lnTo>
                  <a:lnTo>
                    <a:pt x="238" y="886"/>
                  </a:lnTo>
                  <a:lnTo>
                    <a:pt x="238" y="886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2" y="884"/>
                  </a:lnTo>
                  <a:lnTo>
                    <a:pt x="242" y="884"/>
                  </a:lnTo>
                  <a:lnTo>
                    <a:pt x="242" y="884"/>
                  </a:lnTo>
                  <a:lnTo>
                    <a:pt x="240" y="884"/>
                  </a:lnTo>
                  <a:lnTo>
                    <a:pt x="242" y="884"/>
                  </a:lnTo>
                  <a:lnTo>
                    <a:pt x="242" y="881"/>
                  </a:lnTo>
                  <a:lnTo>
                    <a:pt x="242" y="884"/>
                  </a:lnTo>
                  <a:lnTo>
                    <a:pt x="242" y="884"/>
                  </a:lnTo>
                  <a:lnTo>
                    <a:pt x="245" y="884"/>
                  </a:lnTo>
                  <a:lnTo>
                    <a:pt x="245" y="884"/>
                  </a:lnTo>
                  <a:lnTo>
                    <a:pt x="245" y="884"/>
                  </a:lnTo>
                  <a:lnTo>
                    <a:pt x="245" y="884"/>
                  </a:lnTo>
                  <a:lnTo>
                    <a:pt x="242" y="884"/>
                  </a:lnTo>
                  <a:lnTo>
                    <a:pt x="245" y="884"/>
                  </a:lnTo>
                  <a:lnTo>
                    <a:pt x="245" y="884"/>
                  </a:lnTo>
                  <a:lnTo>
                    <a:pt x="245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4"/>
                  </a:lnTo>
                  <a:lnTo>
                    <a:pt x="247" y="881"/>
                  </a:lnTo>
                  <a:lnTo>
                    <a:pt x="247" y="881"/>
                  </a:lnTo>
                  <a:lnTo>
                    <a:pt x="249" y="881"/>
                  </a:lnTo>
                  <a:lnTo>
                    <a:pt x="251" y="881"/>
                  </a:lnTo>
                  <a:lnTo>
                    <a:pt x="251" y="881"/>
                  </a:lnTo>
                  <a:lnTo>
                    <a:pt x="254" y="881"/>
                  </a:lnTo>
                  <a:lnTo>
                    <a:pt x="254" y="881"/>
                  </a:lnTo>
                  <a:lnTo>
                    <a:pt x="254" y="881"/>
                  </a:lnTo>
                  <a:lnTo>
                    <a:pt x="254" y="881"/>
                  </a:lnTo>
                  <a:lnTo>
                    <a:pt x="256" y="881"/>
                  </a:lnTo>
                  <a:lnTo>
                    <a:pt x="256" y="881"/>
                  </a:lnTo>
                  <a:lnTo>
                    <a:pt x="256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4"/>
                  </a:lnTo>
                  <a:close/>
                  <a:moveTo>
                    <a:pt x="267" y="881"/>
                  </a:moveTo>
                  <a:lnTo>
                    <a:pt x="269" y="881"/>
                  </a:lnTo>
                  <a:lnTo>
                    <a:pt x="269" y="881"/>
                  </a:lnTo>
                  <a:lnTo>
                    <a:pt x="269" y="881"/>
                  </a:lnTo>
                  <a:lnTo>
                    <a:pt x="269" y="881"/>
                  </a:lnTo>
                  <a:lnTo>
                    <a:pt x="274" y="881"/>
                  </a:lnTo>
                  <a:lnTo>
                    <a:pt x="276" y="881"/>
                  </a:lnTo>
                  <a:lnTo>
                    <a:pt x="278" y="881"/>
                  </a:lnTo>
                  <a:lnTo>
                    <a:pt x="278" y="881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1" y="884"/>
                  </a:lnTo>
                  <a:lnTo>
                    <a:pt x="283" y="884"/>
                  </a:lnTo>
                  <a:lnTo>
                    <a:pt x="283" y="886"/>
                  </a:lnTo>
                  <a:lnTo>
                    <a:pt x="283" y="886"/>
                  </a:lnTo>
                  <a:lnTo>
                    <a:pt x="283" y="886"/>
                  </a:lnTo>
                  <a:lnTo>
                    <a:pt x="283" y="886"/>
                  </a:lnTo>
                  <a:lnTo>
                    <a:pt x="283" y="886"/>
                  </a:lnTo>
                  <a:lnTo>
                    <a:pt x="283" y="886"/>
                  </a:lnTo>
                  <a:lnTo>
                    <a:pt x="283" y="886"/>
                  </a:lnTo>
                  <a:lnTo>
                    <a:pt x="283" y="888"/>
                  </a:lnTo>
                  <a:lnTo>
                    <a:pt x="281" y="890"/>
                  </a:lnTo>
                  <a:lnTo>
                    <a:pt x="281" y="890"/>
                  </a:lnTo>
                  <a:lnTo>
                    <a:pt x="278" y="890"/>
                  </a:lnTo>
                  <a:lnTo>
                    <a:pt x="278" y="890"/>
                  </a:lnTo>
                  <a:lnTo>
                    <a:pt x="278" y="888"/>
                  </a:lnTo>
                  <a:lnTo>
                    <a:pt x="276" y="888"/>
                  </a:lnTo>
                  <a:lnTo>
                    <a:pt x="276" y="888"/>
                  </a:lnTo>
                  <a:lnTo>
                    <a:pt x="276" y="888"/>
                  </a:lnTo>
                  <a:lnTo>
                    <a:pt x="276" y="888"/>
                  </a:lnTo>
                  <a:lnTo>
                    <a:pt x="276" y="888"/>
                  </a:lnTo>
                  <a:lnTo>
                    <a:pt x="276" y="888"/>
                  </a:lnTo>
                  <a:lnTo>
                    <a:pt x="276" y="888"/>
                  </a:lnTo>
                  <a:lnTo>
                    <a:pt x="276" y="886"/>
                  </a:lnTo>
                  <a:lnTo>
                    <a:pt x="276" y="886"/>
                  </a:lnTo>
                  <a:lnTo>
                    <a:pt x="274" y="886"/>
                  </a:lnTo>
                  <a:lnTo>
                    <a:pt x="274" y="886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4" y="888"/>
                  </a:lnTo>
                  <a:lnTo>
                    <a:pt x="272" y="888"/>
                  </a:lnTo>
                  <a:lnTo>
                    <a:pt x="272" y="888"/>
                  </a:lnTo>
                  <a:lnTo>
                    <a:pt x="272" y="888"/>
                  </a:lnTo>
                  <a:lnTo>
                    <a:pt x="269" y="888"/>
                  </a:lnTo>
                  <a:lnTo>
                    <a:pt x="269" y="888"/>
                  </a:lnTo>
                  <a:lnTo>
                    <a:pt x="269" y="888"/>
                  </a:lnTo>
                  <a:lnTo>
                    <a:pt x="272" y="888"/>
                  </a:lnTo>
                  <a:lnTo>
                    <a:pt x="272" y="888"/>
                  </a:lnTo>
                  <a:lnTo>
                    <a:pt x="269" y="888"/>
                  </a:lnTo>
                  <a:lnTo>
                    <a:pt x="269" y="888"/>
                  </a:lnTo>
                  <a:lnTo>
                    <a:pt x="269" y="886"/>
                  </a:lnTo>
                  <a:lnTo>
                    <a:pt x="267" y="886"/>
                  </a:lnTo>
                  <a:lnTo>
                    <a:pt x="267" y="886"/>
                  </a:lnTo>
                  <a:lnTo>
                    <a:pt x="267" y="886"/>
                  </a:lnTo>
                  <a:lnTo>
                    <a:pt x="267" y="888"/>
                  </a:lnTo>
                  <a:lnTo>
                    <a:pt x="267" y="888"/>
                  </a:lnTo>
                  <a:lnTo>
                    <a:pt x="267" y="886"/>
                  </a:lnTo>
                  <a:lnTo>
                    <a:pt x="267" y="886"/>
                  </a:lnTo>
                  <a:lnTo>
                    <a:pt x="267" y="888"/>
                  </a:lnTo>
                  <a:lnTo>
                    <a:pt x="267" y="888"/>
                  </a:lnTo>
                  <a:lnTo>
                    <a:pt x="265" y="888"/>
                  </a:lnTo>
                  <a:lnTo>
                    <a:pt x="265" y="888"/>
                  </a:lnTo>
                  <a:lnTo>
                    <a:pt x="265" y="888"/>
                  </a:lnTo>
                  <a:lnTo>
                    <a:pt x="265" y="888"/>
                  </a:lnTo>
                  <a:lnTo>
                    <a:pt x="265" y="886"/>
                  </a:lnTo>
                  <a:lnTo>
                    <a:pt x="265" y="886"/>
                  </a:lnTo>
                  <a:lnTo>
                    <a:pt x="265" y="886"/>
                  </a:lnTo>
                  <a:lnTo>
                    <a:pt x="263" y="886"/>
                  </a:lnTo>
                  <a:lnTo>
                    <a:pt x="263" y="886"/>
                  </a:lnTo>
                  <a:lnTo>
                    <a:pt x="263" y="886"/>
                  </a:lnTo>
                  <a:lnTo>
                    <a:pt x="263" y="886"/>
                  </a:lnTo>
                  <a:lnTo>
                    <a:pt x="263" y="886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3" y="884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0" y="884"/>
                  </a:lnTo>
                  <a:lnTo>
                    <a:pt x="260" y="884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0" y="881"/>
                  </a:lnTo>
                  <a:lnTo>
                    <a:pt x="265" y="881"/>
                  </a:lnTo>
                  <a:lnTo>
                    <a:pt x="267" y="881"/>
                  </a:lnTo>
                  <a:close/>
                  <a:moveTo>
                    <a:pt x="220" y="881"/>
                  </a:moveTo>
                  <a:lnTo>
                    <a:pt x="220" y="881"/>
                  </a:lnTo>
                  <a:lnTo>
                    <a:pt x="220" y="884"/>
                  </a:lnTo>
                  <a:lnTo>
                    <a:pt x="220" y="881"/>
                  </a:lnTo>
                  <a:lnTo>
                    <a:pt x="220" y="881"/>
                  </a:lnTo>
                  <a:lnTo>
                    <a:pt x="220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1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2" y="884"/>
                  </a:lnTo>
                  <a:lnTo>
                    <a:pt x="222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2" y="884"/>
                  </a:lnTo>
                  <a:lnTo>
                    <a:pt x="222" y="884"/>
                  </a:lnTo>
                  <a:lnTo>
                    <a:pt x="222" y="884"/>
                  </a:lnTo>
                  <a:lnTo>
                    <a:pt x="222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4"/>
                  </a:lnTo>
                  <a:lnTo>
                    <a:pt x="224" y="886"/>
                  </a:lnTo>
                  <a:lnTo>
                    <a:pt x="227" y="886"/>
                  </a:lnTo>
                  <a:lnTo>
                    <a:pt x="227" y="886"/>
                  </a:lnTo>
                  <a:lnTo>
                    <a:pt x="227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4"/>
                  </a:lnTo>
                  <a:lnTo>
                    <a:pt x="222" y="884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4" y="886"/>
                  </a:lnTo>
                  <a:lnTo>
                    <a:pt x="222" y="888"/>
                  </a:lnTo>
                  <a:lnTo>
                    <a:pt x="222" y="888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8"/>
                  </a:lnTo>
                  <a:lnTo>
                    <a:pt x="222" y="888"/>
                  </a:lnTo>
                  <a:lnTo>
                    <a:pt x="222" y="888"/>
                  </a:lnTo>
                  <a:lnTo>
                    <a:pt x="222" y="888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2" y="886"/>
                  </a:lnTo>
                  <a:lnTo>
                    <a:pt x="220" y="886"/>
                  </a:lnTo>
                  <a:lnTo>
                    <a:pt x="220" y="886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4"/>
                  </a:lnTo>
                  <a:lnTo>
                    <a:pt x="220" y="886"/>
                  </a:lnTo>
                  <a:lnTo>
                    <a:pt x="218" y="886"/>
                  </a:lnTo>
                  <a:lnTo>
                    <a:pt x="218" y="886"/>
                  </a:lnTo>
                  <a:lnTo>
                    <a:pt x="218" y="886"/>
                  </a:lnTo>
                  <a:lnTo>
                    <a:pt x="218" y="886"/>
                  </a:lnTo>
                  <a:lnTo>
                    <a:pt x="218" y="886"/>
                  </a:lnTo>
                  <a:lnTo>
                    <a:pt x="218" y="886"/>
                  </a:lnTo>
                  <a:lnTo>
                    <a:pt x="218" y="886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8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6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5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3" y="884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5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20" y="881"/>
                  </a:lnTo>
                  <a:lnTo>
                    <a:pt x="220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20" y="881"/>
                  </a:lnTo>
                  <a:lnTo>
                    <a:pt x="220" y="881"/>
                  </a:lnTo>
                  <a:lnTo>
                    <a:pt x="222" y="881"/>
                  </a:lnTo>
                  <a:lnTo>
                    <a:pt x="222" y="881"/>
                  </a:lnTo>
                  <a:lnTo>
                    <a:pt x="222" y="881"/>
                  </a:lnTo>
                  <a:lnTo>
                    <a:pt x="222" y="881"/>
                  </a:lnTo>
                  <a:lnTo>
                    <a:pt x="220" y="881"/>
                  </a:lnTo>
                  <a:lnTo>
                    <a:pt x="220" y="881"/>
                  </a:lnTo>
                  <a:lnTo>
                    <a:pt x="220" y="881"/>
                  </a:lnTo>
                  <a:close/>
                  <a:moveTo>
                    <a:pt x="238" y="881"/>
                  </a:move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2" y="881"/>
                  </a:lnTo>
                  <a:lnTo>
                    <a:pt x="245" y="881"/>
                  </a:lnTo>
                  <a:lnTo>
                    <a:pt x="245" y="881"/>
                  </a:lnTo>
                  <a:lnTo>
                    <a:pt x="242" y="881"/>
                  </a:lnTo>
                  <a:lnTo>
                    <a:pt x="242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0" y="881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40" y="884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38" y="884"/>
                  </a:lnTo>
                  <a:lnTo>
                    <a:pt x="236" y="884"/>
                  </a:lnTo>
                  <a:lnTo>
                    <a:pt x="236" y="884"/>
                  </a:lnTo>
                  <a:lnTo>
                    <a:pt x="236" y="884"/>
                  </a:lnTo>
                  <a:lnTo>
                    <a:pt x="236" y="884"/>
                  </a:lnTo>
                  <a:lnTo>
                    <a:pt x="236" y="884"/>
                  </a:lnTo>
                  <a:lnTo>
                    <a:pt x="233" y="884"/>
                  </a:lnTo>
                  <a:lnTo>
                    <a:pt x="233" y="884"/>
                  </a:lnTo>
                  <a:lnTo>
                    <a:pt x="233" y="884"/>
                  </a:lnTo>
                  <a:lnTo>
                    <a:pt x="233" y="884"/>
                  </a:lnTo>
                  <a:lnTo>
                    <a:pt x="233" y="884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1" y="884"/>
                  </a:lnTo>
                  <a:lnTo>
                    <a:pt x="231" y="881"/>
                  </a:lnTo>
                  <a:lnTo>
                    <a:pt x="231" y="881"/>
                  </a:lnTo>
                  <a:lnTo>
                    <a:pt x="231" y="881"/>
                  </a:lnTo>
                  <a:lnTo>
                    <a:pt x="231" y="881"/>
                  </a:lnTo>
                  <a:lnTo>
                    <a:pt x="229" y="881"/>
                  </a:lnTo>
                  <a:lnTo>
                    <a:pt x="231" y="881"/>
                  </a:lnTo>
                  <a:lnTo>
                    <a:pt x="231" y="881"/>
                  </a:lnTo>
                  <a:lnTo>
                    <a:pt x="231" y="881"/>
                  </a:lnTo>
                  <a:lnTo>
                    <a:pt x="231" y="881"/>
                  </a:lnTo>
                  <a:lnTo>
                    <a:pt x="229" y="881"/>
                  </a:lnTo>
                  <a:lnTo>
                    <a:pt x="229" y="881"/>
                  </a:lnTo>
                  <a:lnTo>
                    <a:pt x="229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81"/>
                  </a:lnTo>
                  <a:lnTo>
                    <a:pt x="233" y="879"/>
                  </a:lnTo>
                  <a:lnTo>
                    <a:pt x="231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8" y="881"/>
                  </a:lnTo>
                  <a:lnTo>
                    <a:pt x="238" y="881"/>
                  </a:lnTo>
                  <a:lnTo>
                    <a:pt x="238" y="881"/>
                  </a:lnTo>
                  <a:close/>
                  <a:moveTo>
                    <a:pt x="220" y="879"/>
                  </a:move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0" y="879"/>
                  </a:lnTo>
                  <a:lnTo>
                    <a:pt x="220" y="879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8" y="881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8" y="879"/>
                  </a:lnTo>
                  <a:lnTo>
                    <a:pt x="218" y="879"/>
                  </a:lnTo>
                  <a:lnTo>
                    <a:pt x="218" y="879"/>
                  </a:lnTo>
                  <a:lnTo>
                    <a:pt x="218" y="879"/>
                  </a:lnTo>
                  <a:lnTo>
                    <a:pt x="220" y="879"/>
                  </a:lnTo>
                  <a:lnTo>
                    <a:pt x="220" y="879"/>
                  </a:lnTo>
                  <a:close/>
                  <a:moveTo>
                    <a:pt x="204" y="879"/>
                  </a:moveTo>
                  <a:lnTo>
                    <a:pt x="204" y="879"/>
                  </a:lnTo>
                  <a:lnTo>
                    <a:pt x="204" y="879"/>
                  </a:lnTo>
                  <a:lnTo>
                    <a:pt x="204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9" y="879"/>
                  </a:lnTo>
                  <a:lnTo>
                    <a:pt x="209" y="879"/>
                  </a:lnTo>
                  <a:lnTo>
                    <a:pt x="209" y="879"/>
                  </a:lnTo>
                  <a:lnTo>
                    <a:pt x="209" y="879"/>
                  </a:lnTo>
                  <a:lnTo>
                    <a:pt x="209" y="879"/>
                  </a:lnTo>
                  <a:lnTo>
                    <a:pt x="209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79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3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11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9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79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7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4" y="881"/>
                  </a:lnTo>
                  <a:lnTo>
                    <a:pt x="202" y="879"/>
                  </a:lnTo>
                  <a:lnTo>
                    <a:pt x="204" y="879"/>
                  </a:lnTo>
                  <a:lnTo>
                    <a:pt x="202" y="879"/>
                  </a:lnTo>
                  <a:lnTo>
                    <a:pt x="204" y="879"/>
                  </a:lnTo>
                  <a:lnTo>
                    <a:pt x="204" y="879"/>
                  </a:lnTo>
                  <a:lnTo>
                    <a:pt x="204" y="879"/>
                  </a:lnTo>
                  <a:lnTo>
                    <a:pt x="204" y="879"/>
                  </a:lnTo>
                  <a:lnTo>
                    <a:pt x="204" y="879"/>
                  </a:lnTo>
                  <a:close/>
                  <a:moveTo>
                    <a:pt x="191" y="875"/>
                  </a:move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3" y="875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3" y="877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1" y="877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89" y="875"/>
                  </a:lnTo>
                  <a:lnTo>
                    <a:pt x="189" y="875"/>
                  </a:lnTo>
                  <a:lnTo>
                    <a:pt x="189" y="875"/>
                  </a:lnTo>
                  <a:lnTo>
                    <a:pt x="189" y="875"/>
                  </a:lnTo>
                  <a:lnTo>
                    <a:pt x="189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close/>
                  <a:moveTo>
                    <a:pt x="182" y="868"/>
                  </a:move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2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70"/>
                  </a:lnTo>
                  <a:lnTo>
                    <a:pt x="180" y="870"/>
                  </a:lnTo>
                  <a:lnTo>
                    <a:pt x="180" y="870"/>
                  </a:lnTo>
                  <a:lnTo>
                    <a:pt x="180" y="870"/>
                  </a:lnTo>
                  <a:lnTo>
                    <a:pt x="177" y="868"/>
                  </a:lnTo>
                  <a:lnTo>
                    <a:pt x="177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0" y="868"/>
                  </a:lnTo>
                  <a:lnTo>
                    <a:pt x="182" y="868"/>
                  </a:lnTo>
                  <a:close/>
                  <a:moveTo>
                    <a:pt x="215" y="863"/>
                  </a:moveTo>
                  <a:lnTo>
                    <a:pt x="215" y="863"/>
                  </a:lnTo>
                  <a:lnTo>
                    <a:pt x="215" y="863"/>
                  </a:lnTo>
                  <a:lnTo>
                    <a:pt x="215" y="863"/>
                  </a:lnTo>
                  <a:lnTo>
                    <a:pt x="215" y="863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8" y="866"/>
                  </a:lnTo>
                  <a:lnTo>
                    <a:pt x="215" y="866"/>
                  </a:lnTo>
                  <a:lnTo>
                    <a:pt x="215" y="866"/>
                  </a:lnTo>
                  <a:lnTo>
                    <a:pt x="215" y="866"/>
                  </a:lnTo>
                  <a:lnTo>
                    <a:pt x="213" y="866"/>
                  </a:lnTo>
                  <a:lnTo>
                    <a:pt x="213" y="866"/>
                  </a:lnTo>
                  <a:lnTo>
                    <a:pt x="213" y="866"/>
                  </a:lnTo>
                  <a:lnTo>
                    <a:pt x="213" y="866"/>
                  </a:lnTo>
                  <a:lnTo>
                    <a:pt x="213" y="866"/>
                  </a:lnTo>
                  <a:lnTo>
                    <a:pt x="211" y="863"/>
                  </a:lnTo>
                  <a:lnTo>
                    <a:pt x="213" y="863"/>
                  </a:lnTo>
                  <a:lnTo>
                    <a:pt x="213" y="863"/>
                  </a:lnTo>
                  <a:lnTo>
                    <a:pt x="215" y="863"/>
                  </a:lnTo>
                  <a:close/>
                  <a:moveTo>
                    <a:pt x="180" y="863"/>
                  </a:move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2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80" y="866"/>
                  </a:lnTo>
                  <a:lnTo>
                    <a:pt x="177" y="866"/>
                  </a:lnTo>
                  <a:lnTo>
                    <a:pt x="177" y="866"/>
                  </a:lnTo>
                  <a:lnTo>
                    <a:pt x="177" y="866"/>
                  </a:lnTo>
                  <a:lnTo>
                    <a:pt x="177" y="866"/>
                  </a:lnTo>
                  <a:lnTo>
                    <a:pt x="177" y="866"/>
                  </a:lnTo>
                  <a:lnTo>
                    <a:pt x="177" y="866"/>
                  </a:lnTo>
                  <a:lnTo>
                    <a:pt x="177" y="866"/>
                  </a:lnTo>
                  <a:lnTo>
                    <a:pt x="177" y="863"/>
                  </a:lnTo>
                  <a:lnTo>
                    <a:pt x="177" y="863"/>
                  </a:lnTo>
                  <a:lnTo>
                    <a:pt x="177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80" y="863"/>
                  </a:lnTo>
                  <a:lnTo>
                    <a:pt x="177" y="863"/>
                  </a:lnTo>
                  <a:lnTo>
                    <a:pt x="177" y="863"/>
                  </a:lnTo>
                  <a:lnTo>
                    <a:pt x="177" y="861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80" y="863"/>
                  </a:lnTo>
                  <a:close/>
                  <a:moveTo>
                    <a:pt x="162" y="861"/>
                  </a:moveTo>
                  <a:lnTo>
                    <a:pt x="162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4" y="863"/>
                  </a:lnTo>
                  <a:lnTo>
                    <a:pt x="162" y="863"/>
                  </a:lnTo>
                  <a:lnTo>
                    <a:pt x="162" y="863"/>
                  </a:lnTo>
                  <a:lnTo>
                    <a:pt x="162" y="863"/>
                  </a:lnTo>
                  <a:lnTo>
                    <a:pt x="162" y="863"/>
                  </a:lnTo>
                  <a:lnTo>
                    <a:pt x="162" y="861"/>
                  </a:lnTo>
                  <a:lnTo>
                    <a:pt x="162" y="861"/>
                  </a:lnTo>
                  <a:lnTo>
                    <a:pt x="162" y="861"/>
                  </a:lnTo>
                  <a:lnTo>
                    <a:pt x="162" y="861"/>
                  </a:lnTo>
                  <a:lnTo>
                    <a:pt x="162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59" y="861"/>
                  </a:lnTo>
                  <a:lnTo>
                    <a:pt x="162" y="861"/>
                  </a:lnTo>
                  <a:lnTo>
                    <a:pt x="162" y="861"/>
                  </a:lnTo>
                  <a:close/>
                  <a:moveTo>
                    <a:pt x="193" y="859"/>
                  </a:move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59"/>
                  </a:lnTo>
                  <a:lnTo>
                    <a:pt x="193" y="861"/>
                  </a:lnTo>
                  <a:lnTo>
                    <a:pt x="195" y="861"/>
                  </a:lnTo>
                  <a:lnTo>
                    <a:pt x="195" y="861"/>
                  </a:lnTo>
                  <a:lnTo>
                    <a:pt x="195" y="861"/>
                  </a:lnTo>
                  <a:lnTo>
                    <a:pt x="195" y="861"/>
                  </a:lnTo>
                  <a:lnTo>
                    <a:pt x="195" y="859"/>
                  </a:lnTo>
                  <a:lnTo>
                    <a:pt x="195" y="859"/>
                  </a:lnTo>
                  <a:lnTo>
                    <a:pt x="195" y="859"/>
                  </a:lnTo>
                  <a:lnTo>
                    <a:pt x="195" y="859"/>
                  </a:lnTo>
                  <a:lnTo>
                    <a:pt x="198" y="861"/>
                  </a:lnTo>
                  <a:lnTo>
                    <a:pt x="198" y="861"/>
                  </a:lnTo>
                  <a:lnTo>
                    <a:pt x="198" y="861"/>
                  </a:lnTo>
                  <a:lnTo>
                    <a:pt x="198" y="861"/>
                  </a:lnTo>
                  <a:lnTo>
                    <a:pt x="198" y="861"/>
                  </a:lnTo>
                  <a:lnTo>
                    <a:pt x="198" y="861"/>
                  </a:lnTo>
                  <a:lnTo>
                    <a:pt x="198" y="863"/>
                  </a:lnTo>
                  <a:lnTo>
                    <a:pt x="198" y="863"/>
                  </a:lnTo>
                  <a:lnTo>
                    <a:pt x="198" y="863"/>
                  </a:lnTo>
                  <a:lnTo>
                    <a:pt x="198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1"/>
                  </a:lnTo>
                  <a:lnTo>
                    <a:pt x="200" y="861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3"/>
                  </a:lnTo>
                  <a:lnTo>
                    <a:pt x="200" y="861"/>
                  </a:lnTo>
                  <a:lnTo>
                    <a:pt x="200" y="861"/>
                  </a:lnTo>
                  <a:lnTo>
                    <a:pt x="200" y="861"/>
                  </a:lnTo>
                  <a:lnTo>
                    <a:pt x="202" y="861"/>
                  </a:lnTo>
                  <a:lnTo>
                    <a:pt x="202" y="861"/>
                  </a:lnTo>
                  <a:lnTo>
                    <a:pt x="202" y="863"/>
                  </a:lnTo>
                  <a:lnTo>
                    <a:pt x="202" y="863"/>
                  </a:lnTo>
                  <a:lnTo>
                    <a:pt x="202" y="863"/>
                  </a:lnTo>
                  <a:lnTo>
                    <a:pt x="202" y="863"/>
                  </a:lnTo>
                  <a:lnTo>
                    <a:pt x="202" y="863"/>
                  </a:lnTo>
                  <a:lnTo>
                    <a:pt x="202" y="866"/>
                  </a:lnTo>
                  <a:lnTo>
                    <a:pt x="202" y="866"/>
                  </a:lnTo>
                  <a:lnTo>
                    <a:pt x="202" y="866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6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4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2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198" y="868"/>
                  </a:lnTo>
                  <a:lnTo>
                    <a:pt x="198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200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5" y="866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8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3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3"/>
                  </a:lnTo>
                  <a:lnTo>
                    <a:pt x="195" y="866"/>
                  </a:lnTo>
                  <a:lnTo>
                    <a:pt x="195" y="866"/>
                  </a:lnTo>
                  <a:lnTo>
                    <a:pt x="195" y="866"/>
                  </a:lnTo>
                  <a:lnTo>
                    <a:pt x="195" y="866"/>
                  </a:lnTo>
                  <a:lnTo>
                    <a:pt x="195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3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3" y="866"/>
                  </a:lnTo>
                  <a:lnTo>
                    <a:pt x="191" y="866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93" y="863"/>
                  </a:lnTo>
                  <a:lnTo>
                    <a:pt x="193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59"/>
                  </a:lnTo>
                  <a:lnTo>
                    <a:pt x="191" y="859"/>
                  </a:lnTo>
                  <a:lnTo>
                    <a:pt x="191" y="859"/>
                  </a:lnTo>
                  <a:lnTo>
                    <a:pt x="191" y="859"/>
                  </a:lnTo>
                  <a:lnTo>
                    <a:pt x="191" y="859"/>
                  </a:lnTo>
                  <a:lnTo>
                    <a:pt x="191" y="859"/>
                  </a:lnTo>
                  <a:lnTo>
                    <a:pt x="191" y="859"/>
                  </a:lnTo>
                  <a:lnTo>
                    <a:pt x="193" y="859"/>
                  </a:lnTo>
                  <a:lnTo>
                    <a:pt x="193" y="859"/>
                  </a:lnTo>
                  <a:close/>
                  <a:moveTo>
                    <a:pt x="186" y="857"/>
                  </a:move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6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59"/>
                  </a:lnTo>
                  <a:lnTo>
                    <a:pt x="189" y="859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89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61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91" y="863"/>
                  </a:lnTo>
                  <a:lnTo>
                    <a:pt x="189" y="863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4" y="861"/>
                  </a:lnTo>
                  <a:lnTo>
                    <a:pt x="184" y="861"/>
                  </a:lnTo>
                  <a:lnTo>
                    <a:pt x="184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1"/>
                  </a:lnTo>
                  <a:lnTo>
                    <a:pt x="186" y="863"/>
                  </a:lnTo>
                  <a:lnTo>
                    <a:pt x="186" y="863"/>
                  </a:lnTo>
                  <a:lnTo>
                    <a:pt x="186" y="863"/>
                  </a:lnTo>
                  <a:lnTo>
                    <a:pt x="189" y="863"/>
                  </a:lnTo>
                  <a:lnTo>
                    <a:pt x="189" y="863"/>
                  </a:lnTo>
                  <a:lnTo>
                    <a:pt x="189" y="866"/>
                  </a:lnTo>
                  <a:lnTo>
                    <a:pt x="191" y="866"/>
                  </a:lnTo>
                  <a:lnTo>
                    <a:pt x="191" y="866"/>
                  </a:lnTo>
                  <a:lnTo>
                    <a:pt x="191" y="866"/>
                  </a:lnTo>
                  <a:lnTo>
                    <a:pt x="191" y="866"/>
                  </a:lnTo>
                  <a:lnTo>
                    <a:pt x="191" y="866"/>
                  </a:lnTo>
                  <a:lnTo>
                    <a:pt x="191" y="866"/>
                  </a:lnTo>
                  <a:lnTo>
                    <a:pt x="191" y="866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91" y="868"/>
                  </a:lnTo>
                  <a:lnTo>
                    <a:pt x="189" y="868"/>
                  </a:lnTo>
                  <a:lnTo>
                    <a:pt x="189" y="868"/>
                  </a:lnTo>
                  <a:lnTo>
                    <a:pt x="189" y="868"/>
                  </a:lnTo>
                  <a:lnTo>
                    <a:pt x="189" y="868"/>
                  </a:lnTo>
                  <a:lnTo>
                    <a:pt x="189" y="868"/>
                  </a:lnTo>
                  <a:lnTo>
                    <a:pt x="189" y="868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89" y="866"/>
                  </a:lnTo>
                  <a:lnTo>
                    <a:pt x="186" y="866"/>
                  </a:lnTo>
                  <a:lnTo>
                    <a:pt x="186" y="866"/>
                  </a:lnTo>
                  <a:lnTo>
                    <a:pt x="186" y="866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3"/>
                  </a:lnTo>
                  <a:lnTo>
                    <a:pt x="184" y="861"/>
                  </a:lnTo>
                  <a:lnTo>
                    <a:pt x="184" y="861"/>
                  </a:lnTo>
                  <a:lnTo>
                    <a:pt x="182" y="861"/>
                  </a:lnTo>
                  <a:lnTo>
                    <a:pt x="182" y="861"/>
                  </a:lnTo>
                  <a:lnTo>
                    <a:pt x="182" y="861"/>
                  </a:lnTo>
                  <a:lnTo>
                    <a:pt x="182" y="863"/>
                  </a:lnTo>
                  <a:lnTo>
                    <a:pt x="182" y="863"/>
                  </a:lnTo>
                  <a:lnTo>
                    <a:pt x="182" y="861"/>
                  </a:lnTo>
                  <a:lnTo>
                    <a:pt x="182" y="861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80" y="859"/>
                  </a:lnTo>
                  <a:lnTo>
                    <a:pt x="180" y="859"/>
                  </a:lnTo>
                  <a:lnTo>
                    <a:pt x="180" y="859"/>
                  </a:lnTo>
                  <a:lnTo>
                    <a:pt x="180" y="859"/>
                  </a:lnTo>
                  <a:lnTo>
                    <a:pt x="180" y="859"/>
                  </a:lnTo>
                  <a:lnTo>
                    <a:pt x="180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2" y="859"/>
                  </a:lnTo>
                  <a:lnTo>
                    <a:pt x="184" y="859"/>
                  </a:lnTo>
                  <a:lnTo>
                    <a:pt x="184" y="859"/>
                  </a:lnTo>
                  <a:lnTo>
                    <a:pt x="182" y="857"/>
                  </a:lnTo>
                  <a:lnTo>
                    <a:pt x="184" y="857"/>
                  </a:lnTo>
                  <a:lnTo>
                    <a:pt x="184" y="857"/>
                  </a:lnTo>
                  <a:lnTo>
                    <a:pt x="184" y="857"/>
                  </a:lnTo>
                  <a:lnTo>
                    <a:pt x="184" y="857"/>
                  </a:lnTo>
                  <a:lnTo>
                    <a:pt x="184" y="857"/>
                  </a:lnTo>
                  <a:lnTo>
                    <a:pt x="184" y="857"/>
                  </a:lnTo>
                  <a:lnTo>
                    <a:pt x="182" y="857"/>
                  </a:lnTo>
                  <a:lnTo>
                    <a:pt x="184" y="857"/>
                  </a:lnTo>
                  <a:lnTo>
                    <a:pt x="184" y="857"/>
                  </a:lnTo>
                  <a:lnTo>
                    <a:pt x="186" y="857"/>
                  </a:lnTo>
                  <a:close/>
                  <a:moveTo>
                    <a:pt x="209" y="854"/>
                  </a:moveTo>
                  <a:lnTo>
                    <a:pt x="211" y="857"/>
                  </a:lnTo>
                  <a:lnTo>
                    <a:pt x="211" y="857"/>
                  </a:lnTo>
                  <a:lnTo>
                    <a:pt x="211" y="859"/>
                  </a:lnTo>
                  <a:lnTo>
                    <a:pt x="211" y="859"/>
                  </a:lnTo>
                  <a:lnTo>
                    <a:pt x="211" y="859"/>
                  </a:lnTo>
                  <a:lnTo>
                    <a:pt x="211" y="859"/>
                  </a:lnTo>
                  <a:lnTo>
                    <a:pt x="213" y="859"/>
                  </a:lnTo>
                  <a:lnTo>
                    <a:pt x="213" y="861"/>
                  </a:lnTo>
                  <a:lnTo>
                    <a:pt x="213" y="861"/>
                  </a:lnTo>
                  <a:lnTo>
                    <a:pt x="213" y="861"/>
                  </a:lnTo>
                  <a:lnTo>
                    <a:pt x="211" y="861"/>
                  </a:lnTo>
                  <a:lnTo>
                    <a:pt x="211" y="861"/>
                  </a:lnTo>
                  <a:lnTo>
                    <a:pt x="209" y="859"/>
                  </a:lnTo>
                  <a:lnTo>
                    <a:pt x="207" y="859"/>
                  </a:lnTo>
                  <a:lnTo>
                    <a:pt x="207" y="859"/>
                  </a:lnTo>
                  <a:lnTo>
                    <a:pt x="207" y="859"/>
                  </a:lnTo>
                  <a:lnTo>
                    <a:pt x="209" y="861"/>
                  </a:lnTo>
                  <a:lnTo>
                    <a:pt x="209" y="861"/>
                  </a:lnTo>
                  <a:lnTo>
                    <a:pt x="211" y="861"/>
                  </a:lnTo>
                  <a:lnTo>
                    <a:pt x="211" y="861"/>
                  </a:lnTo>
                  <a:lnTo>
                    <a:pt x="211" y="861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3"/>
                  </a:lnTo>
                  <a:lnTo>
                    <a:pt x="211" y="866"/>
                  </a:lnTo>
                  <a:lnTo>
                    <a:pt x="211" y="866"/>
                  </a:lnTo>
                  <a:lnTo>
                    <a:pt x="211" y="866"/>
                  </a:lnTo>
                  <a:lnTo>
                    <a:pt x="213" y="866"/>
                  </a:lnTo>
                  <a:lnTo>
                    <a:pt x="213" y="866"/>
                  </a:lnTo>
                  <a:lnTo>
                    <a:pt x="211" y="866"/>
                  </a:lnTo>
                  <a:lnTo>
                    <a:pt x="211" y="866"/>
                  </a:lnTo>
                  <a:lnTo>
                    <a:pt x="209" y="863"/>
                  </a:lnTo>
                  <a:lnTo>
                    <a:pt x="207" y="863"/>
                  </a:lnTo>
                  <a:lnTo>
                    <a:pt x="207" y="863"/>
                  </a:lnTo>
                  <a:lnTo>
                    <a:pt x="207" y="861"/>
                  </a:lnTo>
                  <a:lnTo>
                    <a:pt x="204" y="861"/>
                  </a:lnTo>
                  <a:lnTo>
                    <a:pt x="204" y="861"/>
                  </a:lnTo>
                  <a:lnTo>
                    <a:pt x="204" y="861"/>
                  </a:lnTo>
                  <a:lnTo>
                    <a:pt x="202" y="859"/>
                  </a:lnTo>
                  <a:lnTo>
                    <a:pt x="202" y="859"/>
                  </a:lnTo>
                  <a:lnTo>
                    <a:pt x="202" y="859"/>
                  </a:lnTo>
                  <a:lnTo>
                    <a:pt x="204" y="859"/>
                  </a:lnTo>
                  <a:lnTo>
                    <a:pt x="202" y="857"/>
                  </a:lnTo>
                  <a:lnTo>
                    <a:pt x="202" y="857"/>
                  </a:lnTo>
                  <a:lnTo>
                    <a:pt x="202" y="857"/>
                  </a:lnTo>
                  <a:lnTo>
                    <a:pt x="202" y="857"/>
                  </a:lnTo>
                  <a:lnTo>
                    <a:pt x="204" y="857"/>
                  </a:lnTo>
                  <a:lnTo>
                    <a:pt x="204" y="857"/>
                  </a:lnTo>
                  <a:lnTo>
                    <a:pt x="207" y="857"/>
                  </a:lnTo>
                  <a:lnTo>
                    <a:pt x="207" y="857"/>
                  </a:lnTo>
                  <a:lnTo>
                    <a:pt x="207" y="857"/>
                  </a:lnTo>
                  <a:lnTo>
                    <a:pt x="207" y="857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4"/>
                  </a:lnTo>
                  <a:lnTo>
                    <a:pt x="204" y="852"/>
                  </a:lnTo>
                  <a:lnTo>
                    <a:pt x="204" y="852"/>
                  </a:lnTo>
                  <a:lnTo>
                    <a:pt x="204" y="852"/>
                  </a:lnTo>
                  <a:lnTo>
                    <a:pt x="204" y="852"/>
                  </a:lnTo>
                  <a:lnTo>
                    <a:pt x="204" y="852"/>
                  </a:lnTo>
                  <a:lnTo>
                    <a:pt x="204" y="850"/>
                  </a:lnTo>
                  <a:lnTo>
                    <a:pt x="204" y="850"/>
                  </a:lnTo>
                  <a:lnTo>
                    <a:pt x="207" y="850"/>
                  </a:lnTo>
                  <a:lnTo>
                    <a:pt x="207" y="850"/>
                  </a:lnTo>
                  <a:lnTo>
                    <a:pt x="207" y="850"/>
                  </a:lnTo>
                  <a:lnTo>
                    <a:pt x="207" y="850"/>
                  </a:lnTo>
                  <a:lnTo>
                    <a:pt x="207" y="850"/>
                  </a:lnTo>
                  <a:lnTo>
                    <a:pt x="207" y="852"/>
                  </a:lnTo>
                  <a:lnTo>
                    <a:pt x="207" y="852"/>
                  </a:lnTo>
                  <a:lnTo>
                    <a:pt x="207" y="852"/>
                  </a:lnTo>
                  <a:lnTo>
                    <a:pt x="207" y="852"/>
                  </a:lnTo>
                  <a:lnTo>
                    <a:pt x="207" y="852"/>
                  </a:lnTo>
                  <a:lnTo>
                    <a:pt x="207" y="852"/>
                  </a:lnTo>
                  <a:lnTo>
                    <a:pt x="209" y="854"/>
                  </a:lnTo>
                  <a:close/>
                  <a:moveTo>
                    <a:pt x="148" y="850"/>
                  </a:move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50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8" y="850"/>
                  </a:lnTo>
                  <a:lnTo>
                    <a:pt x="148" y="850"/>
                  </a:lnTo>
                  <a:lnTo>
                    <a:pt x="148" y="850"/>
                  </a:lnTo>
                  <a:close/>
                  <a:moveTo>
                    <a:pt x="150" y="848"/>
                  </a:moveTo>
                  <a:lnTo>
                    <a:pt x="150" y="848"/>
                  </a:lnTo>
                  <a:lnTo>
                    <a:pt x="150" y="848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3" y="845"/>
                  </a:lnTo>
                  <a:lnTo>
                    <a:pt x="153" y="845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5" y="850"/>
                  </a:lnTo>
                  <a:lnTo>
                    <a:pt x="155" y="850"/>
                  </a:lnTo>
                  <a:lnTo>
                    <a:pt x="155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0" y="850"/>
                  </a:lnTo>
                  <a:lnTo>
                    <a:pt x="150" y="850"/>
                  </a:lnTo>
                  <a:lnTo>
                    <a:pt x="150" y="850"/>
                  </a:lnTo>
                  <a:lnTo>
                    <a:pt x="150" y="850"/>
                  </a:lnTo>
                  <a:lnTo>
                    <a:pt x="150" y="850"/>
                  </a:lnTo>
                  <a:lnTo>
                    <a:pt x="148" y="848"/>
                  </a:lnTo>
                  <a:lnTo>
                    <a:pt x="148" y="848"/>
                  </a:lnTo>
                  <a:lnTo>
                    <a:pt x="148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6" y="848"/>
                  </a:lnTo>
                  <a:lnTo>
                    <a:pt x="148" y="848"/>
                  </a:lnTo>
                  <a:lnTo>
                    <a:pt x="148" y="848"/>
                  </a:lnTo>
                  <a:lnTo>
                    <a:pt x="148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8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0" y="848"/>
                  </a:lnTo>
                  <a:close/>
                  <a:moveTo>
                    <a:pt x="162" y="848"/>
                  </a:moveTo>
                  <a:lnTo>
                    <a:pt x="162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62" y="848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6" y="852"/>
                  </a:lnTo>
                  <a:lnTo>
                    <a:pt x="166" y="852"/>
                  </a:lnTo>
                  <a:lnTo>
                    <a:pt x="166" y="852"/>
                  </a:lnTo>
                  <a:lnTo>
                    <a:pt x="166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6" y="852"/>
                  </a:lnTo>
                  <a:lnTo>
                    <a:pt x="166" y="852"/>
                  </a:lnTo>
                  <a:lnTo>
                    <a:pt x="166" y="852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50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6" y="850"/>
                  </a:lnTo>
                  <a:lnTo>
                    <a:pt x="168" y="850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2"/>
                  </a:lnTo>
                  <a:lnTo>
                    <a:pt x="168" y="850"/>
                  </a:lnTo>
                  <a:lnTo>
                    <a:pt x="168" y="850"/>
                  </a:lnTo>
                  <a:lnTo>
                    <a:pt x="168" y="850"/>
                  </a:lnTo>
                  <a:lnTo>
                    <a:pt x="168" y="850"/>
                  </a:lnTo>
                  <a:lnTo>
                    <a:pt x="168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3" y="850"/>
                  </a:lnTo>
                  <a:lnTo>
                    <a:pt x="173" y="850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2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3" y="854"/>
                  </a:lnTo>
                  <a:lnTo>
                    <a:pt x="175" y="854"/>
                  </a:lnTo>
                  <a:lnTo>
                    <a:pt x="175" y="852"/>
                  </a:lnTo>
                  <a:lnTo>
                    <a:pt x="175" y="852"/>
                  </a:lnTo>
                  <a:lnTo>
                    <a:pt x="175" y="854"/>
                  </a:lnTo>
                  <a:lnTo>
                    <a:pt x="177" y="854"/>
                  </a:lnTo>
                  <a:lnTo>
                    <a:pt x="177" y="854"/>
                  </a:lnTo>
                  <a:lnTo>
                    <a:pt x="177" y="854"/>
                  </a:lnTo>
                  <a:lnTo>
                    <a:pt x="177" y="854"/>
                  </a:lnTo>
                  <a:lnTo>
                    <a:pt x="177" y="854"/>
                  </a:lnTo>
                  <a:lnTo>
                    <a:pt x="180" y="857"/>
                  </a:lnTo>
                  <a:lnTo>
                    <a:pt x="180" y="857"/>
                  </a:lnTo>
                  <a:lnTo>
                    <a:pt x="180" y="857"/>
                  </a:lnTo>
                  <a:lnTo>
                    <a:pt x="180" y="857"/>
                  </a:lnTo>
                  <a:lnTo>
                    <a:pt x="177" y="857"/>
                  </a:lnTo>
                  <a:lnTo>
                    <a:pt x="177" y="857"/>
                  </a:lnTo>
                  <a:lnTo>
                    <a:pt x="180" y="857"/>
                  </a:lnTo>
                  <a:lnTo>
                    <a:pt x="180" y="857"/>
                  </a:lnTo>
                  <a:lnTo>
                    <a:pt x="177" y="857"/>
                  </a:lnTo>
                  <a:lnTo>
                    <a:pt x="177" y="857"/>
                  </a:lnTo>
                  <a:lnTo>
                    <a:pt x="177" y="857"/>
                  </a:lnTo>
                  <a:lnTo>
                    <a:pt x="177" y="857"/>
                  </a:lnTo>
                  <a:lnTo>
                    <a:pt x="175" y="857"/>
                  </a:lnTo>
                  <a:lnTo>
                    <a:pt x="175" y="857"/>
                  </a:lnTo>
                  <a:lnTo>
                    <a:pt x="175" y="857"/>
                  </a:lnTo>
                  <a:lnTo>
                    <a:pt x="177" y="857"/>
                  </a:lnTo>
                  <a:lnTo>
                    <a:pt x="177" y="857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5" y="857"/>
                  </a:lnTo>
                  <a:lnTo>
                    <a:pt x="175" y="859"/>
                  </a:lnTo>
                  <a:lnTo>
                    <a:pt x="175" y="859"/>
                  </a:lnTo>
                  <a:lnTo>
                    <a:pt x="175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77" y="859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80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7" y="861"/>
                  </a:lnTo>
                  <a:lnTo>
                    <a:pt x="175" y="859"/>
                  </a:lnTo>
                  <a:lnTo>
                    <a:pt x="175" y="861"/>
                  </a:lnTo>
                  <a:lnTo>
                    <a:pt x="175" y="861"/>
                  </a:lnTo>
                  <a:lnTo>
                    <a:pt x="175" y="859"/>
                  </a:lnTo>
                  <a:lnTo>
                    <a:pt x="175" y="859"/>
                  </a:lnTo>
                  <a:lnTo>
                    <a:pt x="175" y="861"/>
                  </a:lnTo>
                  <a:lnTo>
                    <a:pt x="175" y="861"/>
                  </a:lnTo>
                  <a:lnTo>
                    <a:pt x="175" y="861"/>
                  </a:lnTo>
                  <a:lnTo>
                    <a:pt x="175" y="861"/>
                  </a:lnTo>
                  <a:lnTo>
                    <a:pt x="175" y="861"/>
                  </a:lnTo>
                  <a:lnTo>
                    <a:pt x="175" y="861"/>
                  </a:lnTo>
                  <a:lnTo>
                    <a:pt x="175" y="863"/>
                  </a:lnTo>
                  <a:lnTo>
                    <a:pt x="175" y="863"/>
                  </a:lnTo>
                  <a:lnTo>
                    <a:pt x="175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1"/>
                  </a:lnTo>
                  <a:lnTo>
                    <a:pt x="173" y="863"/>
                  </a:lnTo>
                  <a:lnTo>
                    <a:pt x="173" y="863"/>
                  </a:lnTo>
                  <a:lnTo>
                    <a:pt x="173" y="863"/>
                  </a:lnTo>
                  <a:lnTo>
                    <a:pt x="173" y="863"/>
                  </a:lnTo>
                  <a:lnTo>
                    <a:pt x="173" y="863"/>
                  </a:lnTo>
                  <a:lnTo>
                    <a:pt x="171" y="863"/>
                  </a:lnTo>
                  <a:lnTo>
                    <a:pt x="171" y="863"/>
                  </a:lnTo>
                  <a:lnTo>
                    <a:pt x="171" y="863"/>
                  </a:lnTo>
                  <a:lnTo>
                    <a:pt x="171" y="863"/>
                  </a:lnTo>
                  <a:lnTo>
                    <a:pt x="168" y="863"/>
                  </a:lnTo>
                  <a:lnTo>
                    <a:pt x="168" y="863"/>
                  </a:lnTo>
                  <a:lnTo>
                    <a:pt x="168" y="863"/>
                  </a:lnTo>
                  <a:lnTo>
                    <a:pt x="171" y="863"/>
                  </a:lnTo>
                  <a:lnTo>
                    <a:pt x="168" y="863"/>
                  </a:lnTo>
                  <a:lnTo>
                    <a:pt x="168" y="861"/>
                  </a:lnTo>
                  <a:lnTo>
                    <a:pt x="168" y="861"/>
                  </a:lnTo>
                  <a:lnTo>
                    <a:pt x="168" y="863"/>
                  </a:lnTo>
                  <a:lnTo>
                    <a:pt x="168" y="863"/>
                  </a:lnTo>
                  <a:lnTo>
                    <a:pt x="168" y="863"/>
                  </a:lnTo>
                  <a:lnTo>
                    <a:pt x="168" y="861"/>
                  </a:lnTo>
                  <a:lnTo>
                    <a:pt x="168" y="861"/>
                  </a:lnTo>
                  <a:lnTo>
                    <a:pt x="168" y="861"/>
                  </a:lnTo>
                  <a:lnTo>
                    <a:pt x="168" y="861"/>
                  </a:lnTo>
                  <a:lnTo>
                    <a:pt x="168" y="863"/>
                  </a:lnTo>
                  <a:lnTo>
                    <a:pt x="168" y="863"/>
                  </a:lnTo>
                  <a:lnTo>
                    <a:pt x="166" y="863"/>
                  </a:lnTo>
                  <a:lnTo>
                    <a:pt x="166" y="861"/>
                  </a:lnTo>
                  <a:lnTo>
                    <a:pt x="166" y="861"/>
                  </a:lnTo>
                  <a:lnTo>
                    <a:pt x="168" y="861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68" y="861"/>
                  </a:lnTo>
                  <a:lnTo>
                    <a:pt x="168" y="861"/>
                  </a:lnTo>
                  <a:lnTo>
                    <a:pt x="168" y="861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68" y="861"/>
                  </a:lnTo>
                  <a:lnTo>
                    <a:pt x="171" y="861"/>
                  </a:lnTo>
                  <a:lnTo>
                    <a:pt x="171" y="861"/>
                  </a:lnTo>
                  <a:lnTo>
                    <a:pt x="171" y="859"/>
                  </a:lnTo>
                  <a:lnTo>
                    <a:pt x="171" y="859"/>
                  </a:lnTo>
                  <a:lnTo>
                    <a:pt x="168" y="859"/>
                  </a:lnTo>
                  <a:lnTo>
                    <a:pt x="168" y="859"/>
                  </a:lnTo>
                  <a:lnTo>
                    <a:pt x="168" y="859"/>
                  </a:lnTo>
                  <a:lnTo>
                    <a:pt x="168" y="859"/>
                  </a:lnTo>
                  <a:lnTo>
                    <a:pt x="171" y="859"/>
                  </a:lnTo>
                  <a:lnTo>
                    <a:pt x="171" y="859"/>
                  </a:lnTo>
                  <a:lnTo>
                    <a:pt x="171" y="857"/>
                  </a:lnTo>
                  <a:lnTo>
                    <a:pt x="171" y="857"/>
                  </a:lnTo>
                  <a:lnTo>
                    <a:pt x="171" y="857"/>
                  </a:lnTo>
                  <a:lnTo>
                    <a:pt x="171" y="857"/>
                  </a:lnTo>
                  <a:lnTo>
                    <a:pt x="171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71" y="857"/>
                  </a:lnTo>
                  <a:lnTo>
                    <a:pt x="171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8" y="857"/>
                  </a:lnTo>
                  <a:lnTo>
                    <a:pt x="166" y="857"/>
                  </a:lnTo>
                  <a:lnTo>
                    <a:pt x="166" y="857"/>
                  </a:lnTo>
                  <a:lnTo>
                    <a:pt x="166" y="857"/>
                  </a:lnTo>
                  <a:lnTo>
                    <a:pt x="166" y="857"/>
                  </a:lnTo>
                  <a:lnTo>
                    <a:pt x="166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7"/>
                  </a:lnTo>
                  <a:lnTo>
                    <a:pt x="164" y="859"/>
                  </a:lnTo>
                  <a:lnTo>
                    <a:pt x="164" y="859"/>
                  </a:lnTo>
                  <a:lnTo>
                    <a:pt x="164" y="859"/>
                  </a:lnTo>
                  <a:lnTo>
                    <a:pt x="166" y="859"/>
                  </a:lnTo>
                  <a:lnTo>
                    <a:pt x="166" y="859"/>
                  </a:lnTo>
                  <a:lnTo>
                    <a:pt x="166" y="861"/>
                  </a:lnTo>
                  <a:lnTo>
                    <a:pt x="166" y="861"/>
                  </a:lnTo>
                  <a:lnTo>
                    <a:pt x="166" y="861"/>
                  </a:lnTo>
                  <a:lnTo>
                    <a:pt x="166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61"/>
                  </a:lnTo>
                  <a:lnTo>
                    <a:pt x="164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59" y="859"/>
                  </a:lnTo>
                  <a:lnTo>
                    <a:pt x="159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9"/>
                  </a:lnTo>
                  <a:lnTo>
                    <a:pt x="162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7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7" y="854"/>
                  </a:lnTo>
                  <a:lnTo>
                    <a:pt x="157" y="854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9" y="854"/>
                  </a:lnTo>
                  <a:lnTo>
                    <a:pt x="157" y="854"/>
                  </a:lnTo>
                  <a:lnTo>
                    <a:pt x="157" y="854"/>
                  </a:lnTo>
                  <a:lnTo>
                    <a:pt x="157" y="854"/>
                  </a:lnTo>
                  <a:lnTo>
                    <a:pt x="155" y="854"/>
                  </a:lnTo>
                  <a:lnTo>
                    <a:pt x="153" y="854"/>
                  </a:lnTo>
                  <a:lnTo>
                    <a:pt x="153" y="854"/>
                  </a:lnTo>
                  <a:lnTo>
                    <a:pt x="155" y="854"/>
                  </a:lnTo>
                  <a:lnTo>
                    <a:pt x="155" y="854"/>
                  </a:lnTo>
                  <a:lnTo>
                    <a:pt x="155" y="852"/>
                  </a:lnTo>
                  <a:lnTo>
                    <a:pt x="155" y="852"/>
                  </a:lnTo>
                  <a:lnTo>
                    <a:pt x="153" y="852"/>
                  </a:lnTo>
                  <a:lnTo>
                    <a:pt x="153" y="852"/>
                  </a:lnTo>
                  <a:lnTo>
                    <a:pt x="153" y="852"/>
                  </a:lnTo>
                  <a:lnTo>
                    <a:pt x="153" y="852"/>
                  </a:lnTo>
                  <a:lnTo>
                    <a:pt x="153" y="852"/>
                  </a:lnTo>
                  <a:lnTo>
                    <a:pt x="153" y="852"/>
                  </a:lnTo>
                  <a:lnTo>
                    <a:pt x="153" y="852"/>
                  </a:lnTo>
                  <a:lnTo>
                    <a:pt x="150" y="852"/>
                  </a:lnTo>
                  <a:lnTo>
                    <a:pt x="150" y="852"/>
                  </a:lnTo>
                  <a:lnTo>
                    <a:pt x="150" y="852"/>
                  </a:lnTo>
                  <a:lnTo>
                    <a:pt x="150" y="852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3" y="850"/>
                  </a:lnTo>
                  <a:lnTo>
                    <a:pt x="155" y="850"/>
                  </a:lnTo>
                  <a:lnTo>
                    <a:pt x="155" y="850"/>
                  </a:lnTo>
                  <a:lnTo>
                    <a:pt x="155" y="850"/>
                  </a:lnTo>
                  <a:lnTo>
                    <a:pt x="155" y="850"/>
                  </a:lnTo>
                  <a:lnTo>
                    <a:pt x="157" y="850"/>
                  </a:lnTo>
                  <a:lnTo>
                    <a:pt x="157" y="852"/>
                  </a:lnTo>
                  <a:lnTo>
                    <a:pt x="157" y="852"/>
                  </a:lnTo>
                  <a:lnTo>
                    <a:pt x="157" y="852"/>
                  </a:lnTo>
                  <a:lnTo>
                    <a:pt x="157" y="852"/>
                  </a:lnTo>
                  <a:lnTo>
                    <a:pt x="157" y="852"/>
                  </a:lnTo>
                  <a:lnTo>
                    <a:pt x="159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4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2" y="850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62" y="852"/>
                  </a:lnTo>
                  <a:lnTo>
                    <a:pt x="159" y="852"/>
                  </a:lnTo>
                  <a:lnTo>
                    <a:pt x="159" y="852"/>
                  </a:lnTo>
                  <a:lnTo>
                    <a:pt x="159" y="852"/>
                  </a:lnTo>
                  <a:lnTo>
                    <a:pt x="157" y="852"/>
                  </a:lnTo>
                  <a:lnTo>
                    <a:pt x="157" y="852"/>
                  </a:lnTo>
                  <a:lnTo>
                    <a:pt x="157" y="852"/>
                  </a:lnTo>
                  <a:lnTo>
                    <a:pt x="157" y="850"/>
                  </a:lnTo>
                  <a:lnTo>
                    <a:pt x="157" y="850"/>
                  </a:lnTo>
                  <a:lnTo>
                    <a:pt x="157" y="850"/>
                  </a:lnTo>
                  <a:lnTo>
                    <a:pt x="155" y="850"/>
                  </a:lnTo>
                  <a:lnTo>
                    <a:pt x="155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3" y="848"/>
                  </a:lnTo>
                  <a:lnTo>
                    <a:pt x="155" y="848"/>
                  </a:lnTo>
                  <a:lnTo>
                    <a:pt x="155" y="848"/>
                  </a:lnTo>
                  <a:lnTo>
                    <a:pt x="155" y="848"/>
                  </a:lnTo>
                  <a:lnTo>
                    <a:pt x="157" y="848"/>
                  </a:lnTo>
                  <a:lnTo>
                    <a:pt x="157" y="850"/>
                  </a:lnTo>
                  <a:lnTo>
                    <a:pt x="157" y="848"/>
                  </a:lnTo>
                  <a:lnTo>
                    <a:pt x="157" y="850"/>
                  </a:lnTo>
                  <a:lnTo>
                    <a:pt x="159" y="850"/>
                  </a:lnTo>
                  <a:lnTo>
                    <a:pt x="159" y="850"/>
                  </a:lnTo>
                  <a:lnTo>
                    <a:pt x="159" y="850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7" y="848"/>
                  </a:lnTo>
                  <a:lnTo>
                    <a:pt x="159" y="848"/>
                  </a:lnTo>
                  <a:lnTo>
                    <a:pt x="159" y="845"/>
                  </a:lnTo>
                  <a:lnTo>
                    <a:pt x="159" y="845"/>
                  </a:lnTo>
                  <a:lnTo>
                    <a:pt x="159" y="845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59" y="848"/>
                  </a:lnTo>
                  <a:lnTo>
                    <a:pt x="162" y="848"/>
                  </a:lnTo>
                  <a:close/>
                  <a:moveTo>
                    <a:pt x="139" y="845"/>
                  </a:moveTo>
                  <a:lnTo>
                    <a:pt x="139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3"/>
                  </a:lnTo>
                  <a:lnTo>
                    <a:pt x="137" y="843"/>
                  </a:lnTo>
                  <a:lnTo>
                    <a:pt x="137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3"/>
                  </a:lnTo>
                  <a:lnTo>
                    <a:pt x="139" y="845"/>
                  </a:lnTo>
                  <a:lnTo>
                    <a:pt x="139" y="845"/>
                  </a:lnTo>
                  <a:lnTo>
                    <a:pt x="139" y="845"/>
                  </a:lnTo>
                  <a:lnTo>
                    <a:pt x="139" y="845"/>
                  </a:lnTo>
                  <a:lnTo>
                    <a:pt x="139" y="845"/>
                  </a:lnTo>
                  <a:close/>
                  <a:moveTo>
                    <a:pt x="144" y="834"/>
                  </a:moveTo>
                  <a:lnTo>
                    <a:pt x="144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8" y="834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6" y="836"/>
                  </a:lnTo>
                  <a:lnTo>
                    <a:pt x="146" y="836"/>
                  </a:lnTo>
                  <a:lnTo>
                    <a:pt x="146" y="836"/>
                  </a:lnTo>
                  <a:lnTo>
                    <a:pt x="146" y="836"/>
                  </a:lnTo>
                  <a:lnTo>
                    <a:pt x="146" y="836"/>
                  </a:lnTo>
                  <a:lnTo>
                    <a:pt x="146" y="836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6"/>
                  </a:lnTo>
                  <a:lnTo>
                    <a:pt x="141" y="836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1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lnTo>
                    <a:pt x="144" y="834"/>
                  </a:lnTo>
                  <a:close/>
                  <a:moveTo>
                    <a:pt x="123" y="832"/>
                  </a:moveTo>
                  <a:lnTo>
                    <a:pt x="123" y="832"/>
                  </a:lnTo>
                  <a:lnTo>
                    <a:pt x="126" y="832"/>
                  </a:lnTo>
                  <a:lnTo>
                    <a:pt x="126" y="832"/>
                  </a:lnTo>
                  <a:lnTo>
                    <a:pt x="128" y="832"/>
                  </a:lnTo>
                  <a:lnTo>
                    <a:pt x="128" y="834"/>
                  </a:lnTo>
                  <a:lnTo>
                    <a:pt x="128" y="834"/>
                  </a:lnTo>
                  <a:lnTo>
                    <a:pt x="128" y="834"/>
                  </a:lnTo>
                  <a:lnTo>
                    <a:pt x="128" y="834"/>
                  </a:lnTo>
                  <a:lnTo>
                    <a:pt x="128" y="834"/>
                  </a:lnTo>
                  <a:lnTo>
                    <a:pt x="128" y="834"/>
                  </a:lnTo>
                  <a:lnTo>
                    <a:pt x="128" y="834"/>
                  </a:lnTo>
                  <a:lnTo>
                    <a:pt x="130" y="834"/>
                  </a:lnTo>
                  <a:lnTo>
                    <a:pt x="130" y="834"/>
                  </a:lnTo>
                  <a:lnTo>
                    <a:pt x="130" y="834"/>
                  </a:lnTo>
                  <a:lnTo>
                    <a:pt x="130" y="834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2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7" y="836"/>
                  </a:lnTo>
                  <a:lnTo>
                    <a:pt x="137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5" y="836"/>
                  </a:lnTo>
                  <a:lnTo>
                    <a:pt x="137" y="836"/>
                  </a:lnTo>
                  <a:lnTo>
                    <a:pt x="137" y="836"/>
                  </a:lnTo>
                  <a:lnTo>
                    <a:pt x="137" y="836"/>
                  </a:lnTo>
                  <a:lnTo>
                    <a:pt x="137" y="836"/>
                  </a:lnTo>
                  <a:lnTo>
                    <a:pt x="137" y="836"/>
                  </a:lnTo>
                  <a:lnTo>
                    <a:pt x="139" y="836"/>
                  </a:lnTo>
                  <a:lnTo>
                    <a:pt x="139" y="836"/>
                  </a:lnTo>
                  <a:lnTo>
                    <a:pt x="139" y="836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41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4" y="839"/>
                  </a:lnTo>
                  <a:lnTo>
                    <a:pt x="144" y="839"/>
                  </a:lnTo>
                  <a:lnTo>
                    <a:pt x="144" y="839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39"/>
                  </a:lnTo>
                  <a:lnTo>
                    <a:pt x="146" y="839"/>
                  </a:lnTo>
                  <a:lnTo>
                    <a:pt x="146" y="839"/>
                  </a:lnTo>
                  <a:lnTo>
                    <a:pt x="146" y="839"/>
                  </a:lnTo>
                  <a:lnTo>
                    <a:pt x="146" y="839"/>
                  </a:lnTo>
                  <a:lnTo>
                    <a:pt x="146" y="839"/>
                  </a:lnTo>
                  <a:lnTo>
                    <a:pt x="146" y="839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39"/>
                  </a:lnTo>
                  <a:lnTo>
                    <a:pt x="146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48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0" y="841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3" y="843"/>
                  </a:lnTo>
                  <a:lnTo>
                    <a:pt x="155" y="843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7" y="845"/>
                  </a:lnTo>
                  <a:lnTo>
                    <a:pt x="157" y="845"/>
                  </a:lnTo>
                  <a:lnTo>
                    <a:pt x="157" y="845"/>
                  </a:lnTo>
                  <a:lnTo>
                    <a:pt x="157" y="845"/>
                  </a:lnTo>
                  <a:lnTo>
                    <a:pt x="157" y="845"/>
                  </a:lnTo>
                  <a:lnTo>
                    <a:pt x="157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5" y="845"/>
                  </a:lnTo>
                  <a:lnTo>
                    <a:pt x="153" y="845"/>
                  </a:lnTo>
                  <a:lnTo>
                    <a:pt x="153" y="845"/>
                  </a:lnTo>
                  <a:lnTo>
                    <a:pt x="153" y="845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48" y="845"/>
                  </a:lnTo>
                  <a:lnTo>
                    <a:pt x="148" y="845"/>
                  </a:lnTo>
                  <a:lnTo>
                    <a:pt x="148" y="845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50" y="845"/>
                  </a:lnTo>
                  <a:lnTo>
                    <a:pt x="150" y="845"/>
                  </a:lnTo>
                  <a:lnTo>
                    <a:pt x="150" y="843"/>
                  </a:lnTo>
                  <a:lnTo>
                    <a:pt x="150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3"/>
                  </a:lnTo>
                  <a:lnTo>
                    <a:pt x="148" y="841"/>
                  </a:lnTo>
                  <a:lnTo>
                    <a:pt x="146" y="841"/>
                  </a:lnTo>
                  <a:lnTo>
                    <a:pt x="146" y="843"/>
                  </a:lnTo>
                  <a:lnTo>
                    <a:pt x="146" y="843"/>
                  </a:lnTo>
                  <a:lnTo>
                    <a:pt x="146" y="843"/>
                  </a:lnTo>
                  <a:lnTo>
                    <a:pt x="146" y="843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6" y="841"/>
                  </a:lnTo>
                  <a:lnTo>
                    <a:pt x="144" y="841"/>
                  </a:lnTo>
                  <a:lnTo>
                    <a:pt x="144" y="841"/>
                  </a:lnTo>
                  <a:lnTo>
                    <a:pt x="146" y="841"/>
                  </a:lnTo>
                  <a:lnTo>
                    <a:pt x="144" y="841"/>
                  </a:lnTo>
                  <a:lnTo>
                    <a:pt x="144" y="841"/>
                  </a:lnTo>
                  <a:lnTo>
                    <a:pt x="144" y="841"/>
                  </a:lnTo>
                  <a:lnTo>
                    <a:pt x="144" y="841"/>
                  </a:lnTo>
                  <a:lnTo>
                    <a:pt x="144" y="841"/>
                  </a:lnTo>
                  <a:lnTo>
                    <a:pt x="144" y="841"/>
                  </a:lnTo>
                  <a:lnTo>
                    <a:pt x="141" y="841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41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39"/>
                  </a:lnTo>
                  <a:lnTo>
                    <a:pt x="139" y="841"/>
                  </a:lnTo>
                  <a:lnTo>
                    <a:pt x="139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7" y="841"/>
                  </a:lnTo>
                  <a:lnTo>
                    <a:pt x="137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41"/>
                  </a:lnTo>
                  <a:lnTo>
                    <a:pt x="135" y="841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2" y="839"/>
                  </a:lnTo>
                  <a:lnTo>
                    <a:pt x="130" y="839"/>
                  </a:lnTo>
                  <a:lnTo>
                    <a:pt x="130" y="839"/>
                  </a:lnTo>
                  <a:lnTo>
                    <a:pt x="130" y="839"/>
                  </a:lnTo>
                  <a:lnTo>
                    <a:pt x="130" y="839"/>
                  </a:lnTo>
                  <a:lnTo>
                    <a:pt x="130" y="839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8" y="836"/>
                  </a:lnTo>
                  <a:lnTo>
                    <a:pt x="126" y="836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6" y="834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1" y="832"/>
                  </a:lnTo>
                  <a:lnTo>
                    <a:pt x="121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lnTo>
                    <a:pt x="123" y="832"/>
                  </a:lnTo>
                  <a:close/>
                  <a:moveTo>
                    <a:pt x="146" y="832"/>
                  </a:moveTo>
                  <a:lnTo>
                    <a:pt x="146" y="832"/>
                  </a:lnTo>
                  <a:lnTo>
                    <a:pt x="146" y="832"/>
                  </a:lnTo>
                  <a:lnTo>
                    <a:pt x="146" y="832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6" y="832"/>
                  </a:lnTo>
                  <a:close/>
                  <a:moveTo>
                    <a:pt x="251" y="879"/>
                  </a:moveTo>
                  <a:lnTo>
                    <a:pt x="251" y="879"/>
                  </a:lnTo>
                  <a:lnTo>
                    <a:pt x="251" y="879"/>
                  </a:lnTo>
                  <a:lnTo>
                    <a:pt x="251" y="879"/>
                  </a:lnTo>
                  <a:lnTo>
                    <a:pt x="251" y="879"/>
                  </a:lnTo>
                  <a:lnTo>
                    <a:pt x="251" y="879"/>
                  </a:lnTo>
                  <a:lnTo>
                    <a:pt x="249" y="879"/>
                  </a:lnTo>
                  <a:lnTo>
                    <a:pt x="247" y="877"/>
                  </a:lnTo>
                  <a:lnTo>
                    <a:pt x="245" y="877"/>
                  </a:lnTo>
                  <a:lnTo>
                    <a:pt x="245" y="879"/>
                  </a:lnTo>
                  <a:lnTo>
                    <a:pt x="247" y="879"/>
                  </a:lnTo>
                  <a:lnTo>
                    <a:pt x="247" y="879"/>
                  </a:lnTo>
                  <a:lnTo>
                    <a:pt x="247" y="879"/>
                  </a:lnTo>
                  <a:lnTo>
                    <a:pt x="249" y="879"/>
                  </a:lnTo>
                  <a:lnTo>
                    <a:pt x="249" y="879"/>
                  </a:lnTo>
                  <a:lnTo>
                    <a:pt x="249" y="879"/>
                  </a:lnTo>
                  <a:lnTo>
                    <a:pt x="251" y="879"/>
                  </a:lnTo>
                  <a:lnTo>
                    <a:pt x="251" y="881"/>
                  </a:lnTo>
                  <a:lnTo>
                    <a:pt x="251" y="881"/>
                  </a:lnTo>
                  <a:lnTo>
                    <a:pt x="249" y="881"/>
                  </a:lnTo>
                  <a:lnTo>
                    <a:pt x="245" y="881"/>
                  </a:lnTo>
                  <a:lnTo>
                    <a:pt x="245" y="881"/>
                  </a:lnTo>
                  <a:lnTo>
                    <a:pt x="240" y="881"/>
                  </a:lnTo>
                  <a:lnTo>
                    <a:pt x="238" y="879"/>
                  </a:lnTo>
                  <a:lnTo>
                    <a:pt x="236" y="879"/>
                  </a:lnTo>
                  <a:lnTo>
                    <a:pt x="236" y="879"/>
                  </a:lnTo>
                  <a:lnTo>
                    <a:pt x="236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3" y="877"/>
                  </a:lnTo>
                  <a:lnTo>
                    <a:pt x="231" y="877"/>
                  </a:lnTo>
                  <a:lnTo>
                    <a:pt x="231" y="875"/>
                  </a:lnTo>
                  <a:lnTo>
                    <a:pt x="231" y="877"/>
                  </a:lnTo>
                  <a:lnTo>
                    <a:pt x="231" y="877"/>
                  </a:lnTo>
                  <a:lnTo>
                    <a:pt x="233" y="877"/>
                  </a:lnTo>
                  <a:lnTo>
                    <a:pt x="233" y="879"/>
                  </a:lnTo>
                  <a:lnTo>
                    <a:pt x="233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31" y="877"/>
                  </a:lnTo>
                  <a:lnTo>
                    <a:pt x="231" y="877"/>
                  </a:lnTo>
                  <a:lnTo>
                    <a:pt x="231" y="877"/>
                  </a:lnTo>
                  <a:lnTo>
                    <a:pt x="231" y="877"/>
                  </a:lnTo>
                  <a:lnTo>
                    <a:pt x="231" y="877"/>
                  </a:lnTo>
                  <a:lnTo>
                    <a:pt x="231" y="877"/>
                  </a:lnTo>
                  <a:lnTo>
                    <a:pt x="231" y="879"/>
                  </a:lnTo>
                  <a:lnTo>
                    <a:pt x="231" y="879"/>
                  </a:lnTo>
                  <a:lnTo>
                    <a:pt x="229" y="879"/>
                  </a:lnTo>
                  <a:lnTo>
                    <a:pt x="229" y="879"/>
                  </a:lnTo>
                  <a:lnTo>
                    <a:pt x="229" y="879"/>
                  </a:lnTo>
                  <a:lnTo>
                    <a:pt x="229" y="879"/>
                  </a:lnTo>
                  <a:lnTo>
                    <a:pt x="229" y="877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5"/>
                  </a:lnTo>
                  <a:lnTo>
                    <a:pt x="227" y="875"/>
                  </a:lnTo>
                  <a:lnTo>
                    <a:pt x="227" y="875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9" y="879"/>
                  </a:lnTo>
                  <a:lnTo>
                    <a:pt x="229" y="879"/>
                  </a:lnTo>
                  <a:lnTo>
                    <a:pt x="229" y="879"/>
                  </a:lnTo>
                  <a:lnTo>
                    <a:pt x="229" y="879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27" y="877"/>
                  </a:lnTo>
                  <a:lnTo>
                    <a:pt x="227" y="877"/>
                  </a:lnTo>
                  <a:lnTo>
                    <a:pt x="227" y="879"/>
                  </a:lnTo>
                  <a:lnTo>
                    <a:pt x="227" y="879"/>
                  </a:lnTo>
                  <a:lnTo>
                    <a:pt x="224" y="879"/>
                  </a:lnTo>
                  <a:lnTo>
                    <a:pt x="224" y="879"/>
                  </a:lnTo>
                  <a:lnTo>
                    <a:pt x="224" y="879"/>
                  </a:lnTo>
                  <a:lnTo>
                    <a:pt x="224" y="879"/>
                  </a:lnTo>
                  <a:lnTo>
                    <a:pt x="224" y="879"/>
                  </a:lnTo>
                  <a:lnTo>
                    <a:pt x="224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5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7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2" y="879"/>
                  </a:lnTo>
                  <a:lnTo>
                    <a:pt x="220" y="879"/>
                  </a:lnTo>
                  <a:lnTo>
                    <a:pt x="220" y="879"/>
                  </a:lnTo>
                  <a:lnTo>
                    <a:pt x="220" y="879"/>
                  </a:lnTo>
                  <a:lnTo>
                    <a:pt x="218" y="879"/>
                  </a:lnTo>
                  <a:lnTo>
                    <a:pt x="218" y="877"/>
                  </a:lnTo>
                  <a:lnTo>
                    <a:pt x="218" y="877"/>
                  </a:lnTo>
                  <a:lnTo>
                    <a:pt x="218" y="877"/>
                  </a:lnTo>
                  <a:lnTo>
                    <a:pt x="218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5" y="879"/>
                  </a:lnTo>
                  <a:lnTo>
                    <a:pt x="213" y="879"/>
                  </a:lnTo>
                  <a:lnTo>
                    <a:pt x="213" y="879"/>
                  </a:lnTo>
                  <a:lnTo>
                    <a:pt x="213" y="879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5" y="877"/>
                  </a:lnTo>
                  <a:lnTo>
                    <a:pt x="215" y="877"/>
                  </a:lnTo>
                  <a:lnTo>
                    <a:pt x="218" y="877"/>
                  </a:lnTo>
                  <a:lnTo>
                    <a:pt x="218" y="875"/>
                  </a:lnTo>
                  <a:lnTo>
                    <a:pt x="218" y="875"/>
                  </a:lnTo>
                  <a:lnTo>
                    <a:pt x="215" y="875"/>
                  </a:lnTo>
                  <a:lnTo>
                    <a:pt x="215" y="875"/>
                  </a:lnTo>
                  <a:lnTo>
                    <a:pt x="215" y="875"/>
                  </a:lnTo>
                  <a:lnTo>
                    <a:pt x="215" y="875"/>
                  </a:lnTo>
                  <a:lnTo>
                    <a:pt x="215" y="875"/>
                  </a:lnTo>
                  <a:lnTo>
                    <a:pt x="215" y="877"/>
                  </a:lnTo>
                  <a:lnTo>
                    <a:pt x="215" y="877"/>
                  </a:lnTo>
                  <a:lnTo>
                    <a:pt x="215" y="877"/>
                  </a:lnTo>
                  <a:lnTo>
                    <a:pt x="215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3" y="877"/>
                  </a:lnTo>
                  <a:lnTo>
                    <a:pt x="211" y="877"/>
                  </a:lnTo>
                  <a:lnTo>
                    <a:pt x="211" y="877"/>
                  </a:lnTo>
                  <a:lnTo>
                    <a:pt x="211" y="877"/>
                  </a:lnTo>
                  <a:lnTo>
                    <a:pt x="211" y="877"/>
                  </a:lnTo>
                  <a:lnTo>
                    <a:pt x="213" y="877"/>
                  </a:lnTo>
                  <a:lnTo>
                    <a:pt x="213" y="875"/>
                  </a:lnTo>
                  <a:lnTo>
                    <a:pt x="213" y="875"/>
                  </a:lnTo>
                  <a:lnTo>
                    <a:pt x="211" y="875"/>
                  </a:lnTo>
                  <a:lnTo>
                    <a:pt x="211" y="875"/>
                  </a:lnTo>
                  <a:lnTo>
                    <a:pt x="211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11" y="877"/>
                  </a:lnTo>
                  <a:lnTo>
                    <a:pt x="211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7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9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5"/>
                  </a:lnTo>
                  <a:lnTo>
                    <a:pt x="207" y="877"/>
                  </a:lnTo>
                  <a:lnTo>
                    <a:pt x="207" y="877"/>
                  </a:lnTo>
                  <a:lnTo>
                    <a:pt x="207" y="877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2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4" y="875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0" y="872"/>
                  </a:lnTo>
                  <a:lnTo>
                    <a:pt x="200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2" y="872"/>
                  </a:lnTo>
                  <a:lnTo>
                    <a:pt x="200" y="872"/>
                  </a:lnTo>
                  <a:lnTo>
                    <a:pt x="200" y="872"/>
                  </a:lnTo>
                  <a:lnTo>
                    <a:pt x="200" y="872"/>
                  </a:lnTo>
                  <a:lnTo>
                    <a:pt x="202" y="872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2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5"/>
                  </a:lnTo>
                  <a:lnTo>
                    <a:pt x="200" y="872"/>
                  </a:lnTo>
                  <a:lnTo>
                    <a:pt x="200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200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2"/>
                  </a:lnTo>
                  <a:lnTo>
                    <a:pt x="198" y="872"/>
                  </a:lnTo>
                  <a:lnTo>
                    <a:pt x="198" y="872"/>
                  </a:lnTo>
                  <a:lnTo>
                    <a:pt x="198" y="872"/>
                  </a:lnTo>
                  <a:lnTo>
                    <a:pt x="198" y="875"/>
                  </a:lnTo>
                  <a:lnTo>
                    <a:pt x="198" y="872"/>
                  </a:lnTo>
                  <a:lnTo>
                    <a:pt x="198" y="872"/>
                  </a:lnTo>
                  <a:lnTo>
                    <a:pt x="198" y="872"/>
                  </a:lnTo>
                  <a:lnTo>
                    <a:pt x="198" y="872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8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5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3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3" y="875"/>
                  </a:lnTo>
                  <a:lnTo>
                    <a:pt x="191" y="875"/>
                  </a:lnTo>
                  <a:lnTo>
                    <a:pt x="191" y="875"/>
                  </a:lnTo>
                  <a:lnTo>
                    <a:pt x="193" y="872"/>
                  </a:lnTo>
                  <a:lnTo>
                    <a:pt x="193" y="872"/>
                  </a:lnTo>
                  <a:lnTo>
                    <a:pt x="193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89" y="872"/>
                  </a:lnTo>
                  <a:lnTo>
                    <a:pt x="189" y="872"/>
                  </a:lnTo>
                  <a:lnTo>
                    <a:pt x="189" y="872"/>
                  </a:lnTo>
                  <a:lnTo>
                    <a:pt x="189" y="872"/>
                  </a:lnTo>
                  <a:lnTo>
                    <a:pt x="189" y="872"/>
                  </a:lnTo>
                  <a:lnTo>
                    <a:pt x="189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89" y="870"/>
                  </a:lnTo>
                  <a:lnTo>
                    <a:pt x="189" y="870"/>
                  </a:lnTo>
                  <a:lnTo>
                    <a:pt x="189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2"/>
                  </a:lnTo>
                  <a:lnTo>
                    <a:pt x="191" y="872"/>
                  </a:lnTo>
                  <a:lnTo>
                    <a:pt x="193" y="872"/>
                  </a:lnTo>
                  <a:lnTo>
                    <a:pt x="193" y="872"/>
                  </a:lnTo>
                  <a:lnTo>
                    <a:pt x="193" y="872"/>
                  </a:lnTo>
                  <a:lnTo>
                    <a:pt x="193" y="872"/>
                  </a:lnTo>
                  <a:lnTo>
                    <a:pt x="195" y="872"/>
                  </a:lnTo>
                  <a:lnTo>
                    <a:pt x="195" y="872"/>
                  </a:lnTo>
                  <a:lnTo>
                    <a:pt x="195" y="872"/>
                  </a:lnTo>
                  <a:lnTo>
                    <a:pt x="195" y="872"/>
                  </a:lnTo>
                  <a:lnTo>
                    <a:pt x="195" y="872"/>
                  </a:lnTo>
                  <a:lnTo>
                    <a:pt x="193" y="872"/>
                  </a:lnTo>
                  <a:lnTo>
                    <a:pt x="193" y="872"/>
                  </a:lnTo>
                  <a:lnTo>
                    <a:pt x="195" y="872"/>
                  </a:lnTo>
                  <a:lnTo>
                    <a:pt x="195" y="872"/>
                  </a:lnTo>
                  <a:lnTo>
                    <a:pt x="198" y="872"/>
                  </a:lnTo>
                  <a:lnTo>
                    <a:pt x="195" y="872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1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3" y="870"/>
                  </a:lnTo>
                  <a:lnTo>
                    <a:pt x="195" y="872"/>
                  </a:lnTo>
                  <a:lnTo>
                    <a:pt x="198" y="872"/>
                  </a:lnTo>
                  <a:lnTo>
                    <a:pt x="198" y="870"/>
                  </a:lnTo>
                  <a:lnTo>
                    <a:pt x="198" y="872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5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5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200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70"/>
                  </a:lnTo>
                  <a:lnTo>
                    <a:pt x="198" y="868"/>
                  </a:lnTo>
                  <a:lnTo>
                    <a:pt x="198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0" y="868"/>
                  </a:lnTo>
                  <a:lnTo>
                    <a:pt x="202" y="870"/>
                  </a:lnTo>
                  <a:lnTo>
                    <a:pt x="204" y="870"/>
                  </a:lnTo>
                  <a:lnTo>
                    <a:pt x="204" y="870"/>
                  </a:lnTo>
                  <a:lnTo>
                    <a:pt x="204" y="870"/>
                  </a:lnTo>
                  <a:lnTo>
                    <a:pt x="204" y="872"/>
                  </a:lnTo>
                  <a:lnTo>
                    <a:pt x="204" y="870"/>
                  </a:lnTo>
                  <a:lnTo>
                    <a:pt x="204" y="870"/>
                  </a:lnTo>
                  <a:lnTo>
                    <a:pt x="204" y="870"/>
                  </a:lnTo>
                  <a:lnTo>
                    <a:pt x="207" y="870"/>
                  </a:lnTo>
                  <a:lnTo>
                    <a:pt x="207" y="870"/>
                  </a:lnTo>
                  <a:lnTo>
                    <a:pt x="207" y="870"/>
                  </a:lnTo>
                  <a:lnTo>
                    <a:pt x="207" y="870"/>
                  </a:lnTo>
                  <a:lnTo>
                    <a:pt x="207" y="870"/>
                  </a:lnTo>
                  <a:lnTo>
                    <a:pt x="207" y="870"/>
                  </a:lnTo>
                  <a:lnTo>
                    <a:pt x="207" y="870"/>
                  </a:lnTo>
                  <a:lnTo>
                    <a:pt x="207" y="868"/>
                  </a:lnTo>
                  <a:lnTo>
                    <a:pt x="207" y="868"/>
                  </a:lnTo>
                  <a:lnTo>
                    <a:pt x="207" y="868"/>
                  </a:lnTo>
                  <a:lnTo>
                    <a:pt x="207" y="868"/>
                  </a:lnTo>
                  <a:lnTo>
                    <a:pt x="207" y="868"/>
                  </a:lnTo>
                  <a:lnTo>
                    <a:pt x="207" y="868"/>
                  </a:lnTo>
                  <a:lnTo>
                    <a:pt x="209" y="868"/>
                  </a:lnTo>
                  <a:lnTo>
                    <a:pt x="209" y="868"/>
                  </a:lnTo>
                  <a:lnTo>
                    <a:pt x="209" y="868"/>
                  </a:lnTo>
                  <a:lnTo>
                    <a:pt x="209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68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0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1" y="875"/>
                  </a:lnTo>
                  <a:lnTo>
                    <a:pt x="211" y="875"/>
                  </a:lnTo>
                  <a:lnTo>
                    <a:pt x="211" y="875"/>
                  </a:lnTo>
                  <a:lnTo>
                    <a:pt x="211" y="872"/>
                  </a:lnTo>
                  <a:lnTo>
                    <a:pt x="211" y="872"/>
                  </a:lnTo>
                  <a:lnTo>
                    <a:pt x="213" y="872"/>
                  </a:lnTo>
                  <a:lnTo>
                    <a:pt x="213" y="875"/>
                  </a:lnTo>
                  <a:lnTo>
                    <a:pt x="213" y="875"/>
                  </a:lnTo>
                  <a:lnTo>
                    <a:pt x="213" y="875"/>
                  </a:lnTo>
                  <a:lnTo>
                    <a:pt x="213" y="872"/>
                  </a:lnTo>
                  <a:lnTo>
                    <a:pt x="213" y="872"/>
                  </a:lnTo>
                  <a:lnTo>
                    <a:pt x="213" y="872"/>
                  </a:lnTo>
                  <a:lnTo>
                    <a:pt x="213" y="872"/>
                  </a:lnTo>
                  <a:lnTo>
                    <a:pt x="211" y="872"/>
                  </a:lnTo>
                  <a:lnTo>
                    <a:pt x="211" y="870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3" y="868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3" y="870"/>
                  </a:lnTo>
                  <a:lnTo>
                    <a:pt x="215" y="870"/>
                  </a:lnTo>
                  <a:lnTo>
                    <a:pt x="215" y="870"/>
                  </a:lnTo>
                  <a:lnTo>
                    <a:pt x="215" y="870"/>
                  </a:lnTo>
                  <a:lnTo>
                    <a:pt x="215" y="870"/>
                  </a:lnTo>
                  <a:lnTo>
                    <a:pt x="218" y="870"/>
                  </a:lnTo>
                  <a:lnTo>
                    <a:pt x="218" y="872"/>
                  </a:lnTo>
                  <a:lnTo>
                    <a:pt x="218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0" y="872"/>
                  </a:lnTo>
                  <a:lnTo>
                    <a:pt x="222" y="872"/>
                  </a:lnTo>
                  <a:lnTo>
                    <a:pt x="222" y="872"/>
                  </a:lnTo>
                  <a:lnTo>
                    <a:pt x="222" y="872"/>
                  </a:lnTo>
                  <a:lnTo>
                    <a:pt x="220" y="872"/>
                  </a:lnTo>
                  <a:lnTo>
                    <a:pt x="220" y="870"/>
                  </a:lnTo>
                  <a:lnTo>
                    <a:pt x="215" y="870"/>
                  </a:lnTo>
                  <a:lnTo>
                    <a:pt x="215" y="870"/>
                  </a:lnTo>
                  <a:lnTo>
                    <a:pt x="215" y="870"/>
                  </a:lnTo>
                  <a:lnTo>
                    <a:pt x="215" y="870"/>
                  </a:lnTo>
                  <a:lnTo>
                    <a:pt x="215" y="868"/>
                  </a:lnTo>
                  <a:lnTo>
                    <a:pt x="213" y="868"/>
                  </a:lnTo>
                  <a:lnTo>
                    <a:pt x="213" y="868"/>
                  </a:lnTo>
                  <a:lnTo>
                    <a:pt x="213" y="868"/>
                  </a:lnTo>
                  <a:lnTo>
                    <a:pt x="213" y="868"/>
                  </a:lnTo>
                  <a:lnTo>
                    <a:pt x="213" y="866"/>
                  </a:lnTo>
                  <a:lnTo>
                    <a:pt x="211" y="866"/>
                  </a:lnTo>
                  <a:lnTo>
                    <a:pt x="211" y="866"/>
                  </a:lnTo>
                  <a:lnTo>
                    <a:pt x="209" y="866"/>
                  </a:lnTo>
                  <a:lnTo>
                    <a:pt x="207" y="866"/>
                  </a:lnTo>
                  <a:lnTo>
                    <a:pt x="207" y="866"/>
                  </a:lnTo>
                  <a:lnTo>
                    <a:pt x="207" y="866"/>
                  </a:lnTo>
                  <a:lnTo>
                    <a:pt x="207" y="866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7" y="863"/>
                  </a:lnTo>
                  <a:lnTo>
                    <a:pt x="207" y="863"/>
                  </a:lnTo>
                  <a:lnTo>
                    <a:pt x="207" y="866"/>
                  </a:lnTo>
                  <a:lnTo>
                    <a:pt x="207" y="863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04" y="863"/>
                  </a:lnTo>
                  <a:lnTo>
                    <a:pt x="213" y="866"/>
                  </a:lnTo>
                  <a:lnTo>
                    <a:pt x="215" y="866"/>
                  </a:lnTo>
                  <a:lnTo>
                    <a:pt x="218" y="868"/>
                  </a:lnTo>
                  <a:lnTo>
                    <a:pt x="218" y="868"/>
                  </a:lnTo>
                  <a:lnTo>
                    <a:pt x="218" y="868"/>
                  </a:lnTo>
                  <a:lnTo>
                    <a:pt x="218" y="868"/>
                  </a:lnTo>
                  <a:lnTo>
                    <a:pt x="218" y="868"/>
                  </a:lnTo>
                  <a:lnTo>
                    <a:pt x="220" y="868"/>
                  </a:lnTo>
                  <a:lnTo>
                    <a:pt x="220" y="870"/>
                  </a:lnTo>
                  <a:lnTo>
                    <a:pt x="220" y="870"/>
                  </a:lnTo>
                  <a:lnTo>
                    <a:pt x="222" y="870"/>
                  </a:lnTo>
                  <a:lnTo>
                    <a:pt x="220" y="868"/>
                  </a:lnTo>
                  <a:lnTo>
                    <a:pt x="220" y="868"/>
                  </a:lnTo>
                  <a:lnTo>
                    <a:pt x="222" y="868"/>
                  </a:lnTo>
                  <a:lnTo>
                    <a:pt x="222" y="868"/>
                  </a:lnTo>
                  <a:lnTo>
                    <a:pt x="222" y="868"/>
                  </a:lnTo>
                  <a:lnTo>
                    <a:pt x="222" y="868"/>
                  </a:lnTo>
                  <a:lnTo>
                    <a:pt x="220" y="868"/>
                  </a:lnTo>
                  <a:lnTo>
                    <a:pt x="220" y="868"/>
                  </a:lnTo>
                  <a:lnTo>
                    <a:pt x="220" y="868"/>
                  </a:lnTo>
                  <a:lnTo>
                    <a:pt x="220" y="868"/>
                  </a:lnTo>
                  <a:lnTo>
                    <a:pt x="220" y="868"/>
                  </a:lnTo>
                  <a:lnTo>
                    <a:pt x="220" y="868"/>
                  </a:lnTo>
                  <a:lnTo>
                    <a:pt x="220" y="866"/>
                  </a:lnTo>
                  <a:lnTo>
                    <a:pt x="220" y="866"/>
                  </a:lnTo>
                  <a:lnTo>
                    <a:pt x="220" y="866"/>
                  </a:lnTo>
                  <a:lnTo>
                    <a:pt x="220" y="866"/>
                  </a:lnTo>
                  <a:lnTo>
                    <a:pt x="220" y="866"/>
                  </a:lnTo>
                  <a:lnTo>
                    <a:pt x="220" y="866"/>
                  </a:lnTo>
                  <a:lnTo>
                    <a:pt x="222" y="866"/>
                  </a:lnTo>
                  <a:lnTo>
                    <a:pt x="222" y="866"/>
                  </a:lnTo>
                  <a:lnTo>
                    <a:pt x="222" y="866"/>
                  </a:lnTo>
                  <a:lnTo>
                    <a:pt x="222" y="868"/>
                  </a:lnTo>
                  <a:lnTo>
                    <a:pt x="222" y="868"/>
                  </a:lnTo>
                  <a:lnTo>
                    <a:pt x="222" y="868"/>
                  </a:lnTo>
                  <a:lnTo>
                    <a:pt x="222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70"/>
                  </a:lnTo>
                  <a:lnTo>
                    <a:pt x="224" y="870"/>
                  </a:lnTo>
                  <a:lnTo>
                    <a:pt x="224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2"/>
                  </a:lnTo>
                  <a:lnTo>
                    <a:pt x="227" y="872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9" y="870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2"/>
                  </a:lnTo>
                  <a:lnTo>
                    <a:pt x="229" y="870"/>
                  </a:lnTo>
                  <a:lnTo>
                    <a:pt x="229" y="870"/>
                  </a:lnTo>
                  <a:lnTo>
                    <a:pt x="229" y="870"/>
                  </a:lnTo>
                  <a:lnTo>
                    <a:pt x="229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70"/>
                  </a:lnTo>
                  <a:lnTo>
                    <a:pt x="227" y="868"/>
                  </a:lnTo>
                  <a:lnTo>
                    <a:pt x="227" y="868"/>
                  </a:lnTo>
                  <a:lnTo>
                    <a:pt x="227" y="868"/>
                  </a:lnTo>
                  <a:lnTo>
                    <a:pt x="227" y="868"/>
                  </a:lnTo>
                  <a:lnTo>
                    <a:pt x="227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8"/>
                  </a:lnTo>
                  <a:lnTo>
                    <a:pt x="224" y="866"/>
                  </a:lnTo>
                  <a:lnTo>
                    <a:pt x="224" y="866"/>
                  </a:lnTo>
                  <a:lnTo>
                    <a:pt x="227" y="866"/>
                  </a:lnTo>
                  <a:lnTo>
                    <a:pt x="227" y="868"/>
                  </a:lnTo>
                  <a:lnTo>
                    <a:pt x="229" y="868"/>
                  </a:lnTo>
                  <a:lnTo>
                    <a:pt x="229" y="868"/>
                  </a:lnTo>
                  <a:lnTo>
                    <a:pt x="229" y="868"/>
                  </a:lnTo>
                  <a:lnTo>
                    <a:pt x="229" y="868"/>
                  </a:lnTo>
                  <a:lnTo>
                    <a:pt x="229" y="868"/>
                  </a:lnTo>
                  <a:lnTo>
                    <a:pt x="229" y="868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70"/>
                  </a:lnTo>
                  <a:lnTo>
                    <a:pt x="231" y="868"/>
                  </a:lnTo>
                  <a:lnTo>
                    <a:pt x="231" y="868"/>
                  </a:lnTo>
                  <a:lnTo>
                    <a:pt x="231" y="868"/>
                  </a:lnTo>
                  <a:lnTo>
                    <a:pt x="231" y="868"/>
                  </a:lnTo>
                  <a:lnTo>
                    <a:pt x="231" y="868"/>
                  </a:lnTo>
                  <a:lnTo>
                    <a:pt x="231" y="868"/>
                  </a:lnTo>
                  <a:lnTo>
                    <a:pt x="236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6" y="872"/>
                  </a:lnTo>
                  <a:lnTo>
                    <a:pt x="236" y="872"/>
                  </a:lnTo>
                  <a:lnTo>
                    <a:pt x="236" y="872"/>
                  </a:lnTo>
                  <a:lnTo>
                    <a:pt x="236" y="872"/>
                  </a:lnTo>
                  <a:lnTo>
                    <a:pt x="236" y="872"/>
                  </a:lnTo>
                  <a:lnTo>
                    <a:pt x="236" y="875"/>
                  </a:lnTo>
                  <a:lnTo>
                    <a:pt x="236" y="875"/>
                  </a:lnTo>
                  <a:lnTo>
                    <a:pt x="236" y="875"/>
                  </a:lnTo>
                  <a:lnTo>
                    <a:pt x="236" y="875"/>
                  </a:lnTo>
                  <a:lnTo>
                    <a:pt x="238" y="875"/>
                  </a:lnTo>
                  <a:lnTo>
                    <a:pt x="238" y="875"/>
                  </a:lnTo>
                  <a:lnTo>
                    <a:pt x="238" y="875"/>
                  </a:lnTo>
                  <a:lnTo>
                    <a:pt x="238" y="875"/>
                  </a:lnTo>
                  <a:lnTo>
                    <a:pt x="236" y="875"/>
                  </a:lnTo>
                  <a:lnTo>
                    <a:pt x="238" y="875"/>
                  </a:lnTo>
                  <a:lnTo>
                    <a:pt x="238" y="875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38" y="872"/>
                  </a:lnTo>
                  <a:lnTo>
                    <a:pt x="240" y="872"/>
                  </a:lnTo>
                  <a:lnTo>
                    <a:pt x="240" y="872"/>
                  </a:lnTo>
                  <a:lnTo>
                    <a:pt x="240" y="872"/>
                  </a:lnTo>
                  <a:lnTo>
                    <a:pt x="240" y="872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38" y="870"/>
                  </a:lnTo>
                  <a:lnTo>
                    <a:pt x="240" y="870"/>
                  </a:lnTo>
                  <a:lnTo>
                    <a:pt x="240" y="870"/>
                  </a:lnTo>
                  <a:lnTo>
                    <a:pt x="240" y="870"/>
                  </a:lnTo>
                  <a:lnTo>
                    <a:pt x="240" y="870"/>
                  </a:lnTo>
                  <a:lnTo>
                    <a:pt x="242" y="870"/>
                  </a:lnTo>
                  <a:lnTo>
                    <a:pt x="242" y="870"/>
                  </a:lnTo>
                  <a:lnTo>
                    <a:pt x="242" y="870"/>
                  </a:lnTo>
                  <a:lnTo>
                    <a:pt x="242" y="870"/>
                  </a:lnTo>
                  <a:lnTo>
                    <a:pt x="242" y="870"/>
                  </a:lnTo>
                  <a:lnTo>
                    <a:pt x="242" y="870"/>
                  </a:lnTo>
                  <a:lnTo>
                    <a:pt x="240" y="870"/>
                  </a:lnTo>
                  <a:lnTo>
                    <a:pt x="240" y="868"/>
                  </a:lnTo>
                  <a:lnTo>
                    <a:pt x="238" y="868"/>
                  </a:lnTo>
                  <a:lnTo>
                    <a:pt x="238" y="868"/>
                  </a:lnTo>
                  <a:lnTo>
                    <a:pt x="236" y="868"/>
                  </a:lnTo>
                  <a:lnTo>
                    <a:pt x="236" y="868"/>
                  </a:lnTo>
                  <a:lnTo>
                    <a:pt x="231" y="866"/>
                  </a:lnTo>
                  <a:lnTo>
                    <a:pt x="231" y="866"/>
                  </a:lnTo>
                  <a:lnTo>
                    <a:pt x="229" y="866"/>
                  </a:lnTo>
                  <a:lnTo>
                    <a:pt x="229" y="866"/>
                  </a:lnTo>
                  <a:lnTo>
                    <a:pt x="229" y="866"/>
                  </a:lnTo>
                  <a:lnTo>
                    <a:pt x="229" y="866"/>
                  </a:lnTo>
                  <a:lnTo>
                    <a:pt x="229" y="866"/>
                  </a:lnTo>
                  <a:lnTo>
                    <a:pt x="222" y="863"/>
                  </a:lnTo>
                  <a:lnTo>
                    <a:pt x="222" y="863"/>
                  </a:lnTo>
                  <a:lnTo>
                    <a:pt x="222" y="863"/>
                  </a:lnTo>
                  <a:lnTo>
                    <a:pt x="222" y="863"/>
                  </a:lnTo>
                  <a:lnTo>
                    <a:pt x="220" y="863"/>
                  </a:lnTo>
                  <a:lnTo>
                    <a:pt x="220" y="863"/>
                  </a:lnTo>
                  <a:lnTo>
                    <a:pt x="220" y="861"/>
                  </a:lnTo>
                  <a:lnTo>
                    <a:pt x="218" y="861"/>
                  </a:lnTo>
                  <a:lnTo>
                    <a:pt x="218" y="861"/>
                  </a:lnTo>
                  <a:lnTo>
                    <a:pt x="218" y="859"/>
                  </a:lnTo>
                  <a:lnTo>
                    <a:pt x="218" y="859"/>
                  </a:lnTo>
                  <a:lnTo>
                    <a:pt x="215" y="859"/>
                  </a:lnTo>
                  <a:lnTo>
                    <a:pt x="215" y="859"/>
                  </a:lnTo>
                  <a:lnTo>
                    <a:pt x="215" y="857"/>
                  </a:lnTo>
                  <a:lnTo>
                    <a:pt x="215" y="857"/>
                  </a:lnTo>
                  <a:lnTo>
                    <a:pt x="213" y="857"/>
                  </a:lnTo>
                  <a:lnTo>
                    <a:pt x="213" y="854"/>
                  </a:lnTo>
                  <a:lnTo>
                    <a:pt x="213" y="854"/>
                  </a:lnTo>
                  <a:lnTo>
                    <a:pt x="215" y="854"/>
                  </a:lnTo>
                  <a:lnTo>
                    <a:pt x="215" y="852"/>
                  </a:lnTo>
                  <a:lnTo>
                    <a:pt x="218" y="852"/>
                  </a:lnTo>
                  <a:lnTo>
                    <a:pt x="218" y="852"/>
                  </a:lnTo>
                  <a:lnTo>
                    <a:pt x="218" y="852"/>
                  </a:lnTo>
                  <a:lnTo>
                    <a:pt x="220" y="852"/>
                  </a:lnTo>
                  <a:lnTo>
                    <a:pt x="227" y="850"/>
                  </a:lnTo>
                  <a:lnTo>
                    <a:pt x="227" y="848"/>
                  </a:lnTo>
                  <a:lnTo>
                    <a:pt x="224" y="848"/>
                  </a:lnTo>
                  <a:lnTo>
                    <a:pt x="224" y="848"/>
                  </a:lnTo>
                  <a:lnTo>
                    <a:pt x="224" y="848"/>
                  </a:lnTo>
                  <a:lnTo>
                    <a:pt x="224" y="845"/>
                  </a:lnTo>
                  <a:lnTo>
                    <a:pt x="224" y="845"/>
                  </a:lnTo>
                  <a:lnTo>
                    <a:pt x="224" y="845"/>
                  </a:lnTo>
                  <a:lnTo>
                    <a:pt x="224" y="845"/>
                  </a:lnTo>
                  <a:lnTo>
                    <a:pt x="218" y="845"/>
                  </a:lnTo>
                  <a:lnTo>
                    <a:pt x="213" y="845"/>
                  </a:lnTo>
                  <a:lnTo>
                    <a:pt x="213" y="845"/>
                  </a:lnTo>
                  <a:lnTo>
                    <a:pt x="213" y="845"/>
                  </a:lnTo>
                  <a:lnTo>
                    <a:pt x="213" y="845"/>
                  </a:lnTo>
                  <a:lnTo>
                    <a:pt x="213" y="848"/>
                  </a:lnTo>
                  <a:lnTo>
                    <a:pt x="213" y="848"/>
                  </a:lnTo>
                  <a:lnTo>
                    <a:pt x="211" y="848"/>
                  </a:lnTo>
                  <a:lnTo>
                    <a:pt x="211" y="848"/>
                  </a:lnTo>
                  <a:lnTo>
                    <a:pt x="211" y="848"/>
                  </a:lnTo>
                  <a:lnTo>
                    <a:pt x="211" y="848"/>
                  </a:lnTo>
                  <a:lnTo>
                    <a:pt x="209" y="848"/>
                  </a:lnTo>
                  <a:lnTo>
                    <a:pt x="209" y="848"/>
                  </a:lnTo>
                  <a:lnTo>
                    <a:pt x="209" y="848"/>
                  </a:lnTo>
                  <a:lnTo>
                    <a:pt x="209" y="848"/>
                  </a:lnTo>
                  <a:lnTo>
                    <a:pt x="207" y="848"/>
                  </a:lnTo>
                  <a:lnTo>
                    <a:pt x="207" y="845"/>
                  </a:lnTo>
                  <a:lnTo>
                    <a:pt x="207" y="845"/>
                  </a:lnTo>
                  <a:lnTo>
                    <a:pt x="207" y="845"/>
                  </a:lnTo>
                  <a:lnTo>
                    <a:pt x="207" y="845"/>
                  </a:lnTo>
                  <a:lnTo>
                    <a:pt x="204" y="845"/>
                  </a:lnTo>
                  <a:lnTo>
                    <a:pt x="204" y="845"/>
                  </a:lnTo>
                  <a:lnTo>
                    <a:pt x="204" y="845"/>
                  </a:lnTo>
                  <a:lnTo>
                    <a:pt x="204" y="845"/>
                  </a:lnTo>
                  <a:lnTo>
                    <a:pt x="204" y="843"/>
                  </a:lnTo>
                  <a:lnTo>
                    <a:pt x="202" y="843"/>
                  </a:lnTo>
                  <a:lnTo>
                    <a:pt x="202" y="841"/>
                  </a:lnTo>
                  <a:lnTo>
                    <a:pt x="202" y="841"/>
                  </a:lnTo>
                  <a:lnTo>
                    <a:pt x="202" y="841"/>
                  </a:lnTo>
                  <a:lnTo>
                    <a:pt x="202" y="841"/>
                  </a:lnTo>
                  <a:lnTo>
                    <a:pt x="202" y="841"/>
                  </a:lnTo>
                  <a:lnTo>
                    <a:pt x="202" y="841"/>
                  </a:lnTo>
                  <a:lnTo>
                    <a:pt x="202" y="839"/>
                  </a:lnTo>
                  <a:lnTo>
                    <a:pt x="202" y="839"/>
                  </a:lnTo>
                  <a:lnTo>
                    <a:pt x="202" y="839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2" y="836"/>
                  </a:lnTo>
                  <a:lnTo>
                    <a:pt x="204" y="839"/>
                  </a:lnTo>
                  <a:lnTo>
                    <a:pt x="204" y="839"/>
                  </a:lnTo>
                  <a:lnTo>
                    <a:pt x="204" y="839"/>
                  </a:lnTo>
                  <a:lnTo>
                    <a:pt x="204" y="839"/>
                  </a:lnTo>
                  <a:lnTo>
                    <a:pt x="207" y="839"/>
                  </a:lnTo>
                  <a:lnTo>
                    <a:pt x="207" y="836"/>
                  </a:lnTo>
                  <a:lnTo>
                    <a:pt x="207" y="836"/>
                  </a:lnTo>
                  <a:lnTo>
                    <a:pt x="207" y="836"/>
                  </a:lnTo>
                  <a:lnTo>
                    <a:pt x="207" y="836"/>
                  </a:lnTo>
                  <a:lnTo>
                    <a:pt x="207" y="834"/>
                  </a:lnTo>
                  <a:lnTo>
                    <a:pt x="207" y="834"/>
                  </a:lnTo>
                  <a:lnTo>
                    <a:pt x="207" y="834"/>
                  </a:lnTo>
                  <a:lnTo>
                    <a:pt x="207" y="834"/>
                  </a:lnTo>
                  <a:lnTo>
                    <a:pt x="207" y="834"/>
                  </a:lnTo>
                  <a:lnTo>
                    <a:pt x="207" y="834"/>
                  </a:lnTo>
                  <a:lnTo>
                    <a:pt x="207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4" y="834"/>
                  </a:lnTo>
                  <a:lnTo>
                    <a:pt x="202" y="834"/>
                  </a:lnTo>
                  <a:lnTo>
                    <a:pt x="202" y="834"/>
                  </a:lnTo>
                  <a:lnTo>
                    <a:pt x="202" y="834"/>
                  </a:lnTo>
                  <a:lnTo>
                    <a:pt x="202" y="832"/>
                  </a:lnTo>
                  <a:lnTo>
                    <a:pt x="202" y="832"/>
                  </a:lnTo>
                  <a:lnTo>
                    <a:pt x="202" y="832"/>
                  </a:lnTo>
                  <a:lnTo>
                    <a:pt x="202" y="832"/>
                  </a:lnTo>
                  <a:lnTo>
                    <a:pt x="200" y="832"/>
                  </a:lnTo>
                  <a:lnTo>
                    <a:pt x="200" y="832"/>
                  </a:lnTo>
                  <a:lnTo>
                    <a:pt x="200" y="832"/>
                  </a:lnTo>
                  <a:lnTo>
                    <a:pt x="200" y="832"/>
                  </a:lnTo>
                  <a:lnTo>
                    <a:pt x="200" y="832"/>
                  </a:lnTo>
                  <a:lnTo>
                    <a:pt x="202" y="832"/>
                  </a:lnTo>
                  <a:lnTo>
                    <a:pt x="204" y="832"/>
                  </a:lnTo>
                  <a:lnTo>
                    <a:pt x="204" y="832"/>
                  </a:lnTo>
                  <a:lnTo>
                    <a:pt x="204" y="832"/>
                  </a:lnTo>
                  <a:lnTo>
                    <a:pt x="204" y="832"/>
                  </a:lnTo>
                  <a:lnTo>
                    <a:pt x="207" y="832"/>
                  </a:lnTo>
                  <a:lnTo>
                    <a:pt x="207" y="834"/>
                  </a:lnTo>
                  <a:lnTo>
                    <a:pt x="209" y="834"/>
                  </a:lnTo>
                  <a:lnTo>
                    <a:pt x="209" y="834"/>
                  </a:lnTo>
                  <a:lnTo>
                    <a:pt x="209" y="832"/>
                  </a:lnTo>
                  <a:lnTo>
                    <a:pt x="211" y="832"/>
                  </a:lnTo>
                  <a:lnTo>
                    <a:pt x="211" y="832"/>
                  </a:lnTo>
                  <a:lnTo>
                    <a:pt x="211" y="832"/>
                  </a:lnTo>
                  <a:lnTo>
                    <a:pt x="211" y="832"/>
                  </a:lnTo>
                  <a:lnTo>
                    <a:pt x="211" y="832"/>
                  </a:lnTo>
                  <a:lnTo>
                    <a:pt x="213" y="832"/>
                  </a:lnTo>
                  <a:lnTo>
                    <a:pt x="213" y="832"/>
                  </a:lnTo>
                  <a:lnTo>
                    <a:pt x="213" y="830"/>
                  </a:lnTo>
                  <a:lnTo>
                    <a:pt x="213" y="830"/>
                  </a:lnTo>
                  <a:lnTo>
                    <a:pt x="213" y="830"/>
                  </a:lnTo>
                  <a:lnTo>
                    <a:pt x="213" y="830"/>
                  </a:lnTo>
                  <a:lnTo>
                    <a:pt x="213" y="830"/>
                  </a:lnTo>
                  <a:lnTo>
                    <a:pt x="213" y="827"/>
                  </a:lnTo>
                  <a:lnTo>
                    <a:pt x="213" y="827"/>
                  </a:lnTo>
                  <a:lnTo>
                    <a:pt x="211" y="827"/>
                  </a:lnTo>
                  <a:lnTo>
                    <a:pt x="211" y="827"/>
                  </a:lnTo>
                  <a:lnTo>
                    <a:pt x="211" y="827"/>
                  </a:lnTo>
                  <a:lnTo>
                    <a:pt x="211" y="827"/>
                  </a:lnTo>
                  <a:lnTo>
                    <a:pt x="213" y="825"/>
                  </a:lnTo>
                  <a:lnTo>
                    <a:pt x="213" y="825"/>
                  </a:lnTo>
                  <a:lnTo>
                    <a:pt x="213" y="825"/>
                  </a:lnTo>
                  <a:lnTo>
                    <a:pt x="213" y="825"/>
                  </a:lnTo>
                  <a:lnTo>
                    <a:pt x="213" y="825"/>
                  </a:lnTo>
                  <a:lnTo>
                    <a:pt x="215" y="825"/>
                  </a:lnTo>
                  <a:lnTo>
                    <a:pt x="215" y="825"/>
                  </a:lnTo>
                  <a:lnTo>
                    <a:pt x="215" y="827"/>
                  </a:lnTo>
                  <a:lnTo>
                    <a:pt x="215" y="827"/>
                  </a:lnTo>
                  <a:lnTo>
                    <a:pt x="218" y="827"/>
                  </a:lnTo>
                  <a:lnTo>
                    <a:pt x="218" y="827"/>
                  </a:lnTo>
                  <a:lnTo>
                    <a:pt x="218" y="827"/>
                  </a:lnTo>
                  <a:lnTo>
                    <a:pt x="218" y="827"/>
                  </a:lnTo>
                  <a:lnTo>
                    <a:pt x="218" y="827"/>
                  </a:lnTo>
                  <a:lnTo>
                    <a:pt x="220" y="830"/>
                  </a:lnTo>
                  <a:lnTo>
                    <a:pt x="220" y="830"/>
                  </a:lnTo>
                  <a:lnTo>
                    <a:pt x="222" y="830"/>
                  </a:lnTo>
                  <a:lnTo>
                    <a:pt x="222" y="830"/>
                  </a:lnTo>
                  <a:lnTo>
                    <a:pt x="224" y="830"/>
                  </a:lnTo>
                  <a:lnTo>
                    <a:pt x="224" y="830"/>
                  </a:lnTo>
                  <a:lnTo>
                    <a:pt x="224" y="830"/>
                  </a:lnTo>
                  <a:lnTo>
                    <a:pt x="224" y="830"/>
                  </a:lnTo>
                  <a:lnTo>
                    <a:pt x="227" y="827"/>
                  </a:lnTo>
                  <a:lnTo>
                    <a:pt x="227" y="827"/>
                  </a:lnTo>
                  <a:lnTo>
                    <a:pt x="227" y="827"/>
                  </a:lnTo>
                  <a:lnTo>
                    <a:pt x="227" y="827"/>
                  </a:lnTo>
                  <a:lnTo>
                    <a:pt x="227" y="827"/>
                  </a:lnTo>
                  <a:lnTo>
                    <a:pt x="227" y="827"/>
                  </a:lnTo>
                  <a:lnTo>
                    <a:pt x="227" y="827"/>
                  </a:lnTo>
                  <a:lnTo>
                    <a:pt x="229" y="830"/>
                  </a:lnTo>
                  <a:lnTo>
                    <a:pt x="231" y="830"/>
                  </a:lnTo>
                  <a:lnTo>
                    <a:pt x="233" y="836"/>
                  </a:lnTo>
                  <a:lnTo>
                    <a:pt x="233" y="836"/>
                  </a:lnTo>
                  <a:lnTo>
                    <a:pt x="251" y="879"/>
                  </a:lnTo>
                  <a:close/>
                  <a:moveTo>
                    <a:pt x="251" y="877"/>
                  </a:moveTo>
                  <a:lnTo>
                    <a:pt x="233" y="836"/>
                  </a:lnTo>
                  <a:lnTo>
                    <a:pt x="236" y="841"/>
                  </a:lnTo>
                  <a:lnTo>
                    <a:pt x="238" y="848"/>
                  </a:lnTo>
                  <a:lnTo>
                    <a:pt x="240" y="854"/>
                  </a:lnTo>
                  <a:lnTo>
                    <a:pt x="242" y="859"/>
                  </a:lnTo>
                  <a:lnTo>
                    <a:pt x="247" y="866"/>
                  </a:lnTo>
                  <a:lnTo>
                    <a:pt x="249" y="872"/>
                  </a:lnTo>
                  <a:lnTo>
                    <a:pt x="251" y="877"/>
                  </a:lnTo>
                  <a:lnTo>
                    <a:pt x="251" y="877"/>
                  </a:lnTo>
                  <a:lnTo>
                    <a:pt x="251" y="877"/>
                  </a:lnTo>
                  <a:close/>
                  <a:moveTo>
                    <a:pt x="137" y="823"/>
                  </a:moveTo>
                  <a:lnTo>
                    <a:pt x="137" y="825"/>
                  </a:lnTo>
                  <a:lnTo>
                    <a:pt x="139" y="825"/>
                  </a:lnTo>
                  <a:lnTo>
                    <a:pt x="139" y="825"/>
                  </a:lnTo>
                  <a:lnTo>
                    <a:pt x="139" y="825"/>
                  </a:lnTo>
                  <a:lnTo>
                    <a:pt x="139" y="825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7" y="827"/>
                  </a:lnTo>
                  <a:lnTo>
                    <a:pt x="137" y="827"/>
                  </a:lnTo>
                  <a:lnTo>
                    <a:pt x="137" y="827"/>
                  </a:lnTo>
                  <a:lnTo>
                    <a:pt x="137" y="827"/>
                  </a:lnTo>
                  <a:lnTo>
                    <a:pt x="137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30"/>
                  </a:lnTo>
                  <a:lnTo>
                    <a:pt x="139" y="830"/>
                  </a:lnTo>
                  <a:lnTo>
                    <a:pt x="139" y="830"/>
                  </a:lnTo>
                  <a:lnTo>
                    <a:pt x="139" y="830"/>
                  </a:lnTo>
                  <a:lnTo>
                    <a:pt x="137" y="830"/>
                  </a:lnTo>
                  <a:lnTo>
                    <a:pt x="137" y="830"/>
                  </a:lnTo>
                  <a:lnTo>
                    <a:pt x="137" y="830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2"/>
                  </a:lnTo>
                  <a:lnTo>
                    <a:pt x="137" y="830"/>
                  </a:lnTo>
                  <a:lnTo>
                    <a:pt x="137" y="830"/>
                  </a:lnTo>
                  <a:lnTo>
                    <a:pt x="137" y="830"/>
                  </a:lnTo>
                  <a:lnTo>
                    <a:pt x="137" y="830"/>
                  </a:lnTo>
                  <a:lnTo>
                    <a:pt x="137" y="827"/>
                  </a:lnTo>
                  <a:lnTo>
                    <a:pt x="137" y="830"/>
                  </a:lnTo>
                  <a:lnTo>
                    <a:pt x="135" y="830"/>
                  </a:lnTo>
                  <a:lnTo>
                    <a:pt x="135" y="830"/>
                  </a:lnTo>
                  <a:lnTo>
                    <a:pt x="135" y="830"/>
                  </a:lnTo>
                  <a:lnTo>
                    <a:pt x="135" y="830"/>
                  </a:lnTo>
                  <a:lnTo>
                    <a:pt x="135" y="827"/>
                  </a:lnTo>
                  <a:lnTo>
                    <a:pt x="137" y="827"/>
                  </a:lnTo>
                  <a:lnTo>
                    <a:pt x="135" y="827"/>
                  </a:lnTo>
                  <a:lnTo>
                    <a:pt x="135" y="830"/>
                  </a:lnTo>
                  <a:lnTo>
                    <a:pt x="135" y="830"/>
                  </a:lnTo>
                  <a:lnTo>
                    <a:pt x="135" y="830"/>
                  </a:lnTo>
                  <a:lnTo>
                    <a:pt x="132" y="830"/>
                  </a:lnTo>
                  <a:lnTo>
                    <a:pt x="132" y="830"/>
                  </a:lnTo>
                  <a:lnTo>
                    <a:pt x="132" y="827"/>
                  </a:lnTo>
                  <a:lnTo>
                    <a:pt x="132" y="827"/>
                  </a:lnTo>
                  <a:lnTo>
                    <a:pt x="132" y="827"/>
                  </a:lnTo>
                  <a:lnTo>
                    <a:pt x="132" y="827"/>
                  </a:lnTo>
                  <a:lnTo>
                    <a:pt x="135" y="827"/>
                  </a:lnTo>
                  <a:lnTo>
                    <a:pt x="135" y="825"/>
                  </a:lnTo>
                  <a:lnTo>
                    <a:pt x="135" y="825"/>
                  </a:lnTo>
                  <a:lnTo>
                    <a:pt x="135" y="825"/>
                  </a:lnTo>
                  <a:lnTo>
                    <a:pt x="137" y="825"/>
                  </a:lnTo>
                  <a:lnTo>
                    <a:pt x="137" y="823"/>
                  </a:lnTo>
                  <a:lnTo>
                    <a:pt x="137" y="823"/>
                  </a:lnTo>
                  <a:lnTo>
                    <a:pt x="137" y="823"/>
                  </a:lnTo>
                  <a:close/>
                  <a:moveTo>
                    <a:pt x="114" y="821"/>
                  </a:moveTo>
                  <a:lnTo>
                    <a:pt x="117" y="821"/>
                  </a:lnTo>
                  <a:lnTo>
                    <a:pt x="117" y="821"/>
                  </a:lnTo>
                  <a:lnTo>
                    <a:pt x="117" y="821"/>
                  </a:lnTo>
                  <a:lnTo>
                    <a:pt x="117" y="821"/>
                  </a:lnTo>
                  <a:lnTo>
                    <a:pt x="119" y="818"/>
                  </a:lnTo>
                  <a:lnTo>
                    <a:pt x="119" y="818"/>
                  </a:lnTo>
                  <a:lnTo>
                    <a:pt x="119" y="818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9" y="821"/>
                  </a:lnTo>
                  <a:lnTo>
                    <a:pt x="117" y="823"/>
                  </a:lnTo>
                  <a:lnTo>
                    <a:pt x="117" y="823"/>
                  </a:lnTo>
                  <a:lnTo>
                    <a:pt x="117" y="821"/>
                  </a:lnTo>
                  <a:lnTo>
                    <a:pt x="117" y="821"/>
                  </a:lnTo>
                  <a:lnTo>
                    <a:pt x="114" y="821"/>
                  </a:lnTo>
                  <a:lnTo>
                    <a:pt x="114" y="821"/>
                  </a:lnTo>
                  <a:lnTo>
                    <a:pt x="114" y="821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21"/>
                  </a:lnTo>
                  <a:close/>
                  <a:moveTo>
                    <a:pt x="130" y="818"/>
                  </a:move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0" y="818"/>
                  </a:lnTo>
                  <a:lnTo>
                    <a:pt x="132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7" y="823"/>
                  </a:lnTo>
                  <a:lnTo>
                    <a:pt x="137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5" y="823"/>
                  </a:lnTo>
                  <a:lnTo>
                    <a:pt x="132" y="821"/>
                  </a:lnTo>
                  <a:lnTo>
                    <a:pt x="132" y="821"/>
                  </a:lnTo>
                  <a:lnTo>
                    <a:pt x="132" y="821"/>
                  </a:lnTo>
                  <a:lnTo>
                    <a:pt x="132" y="821"/>
                  </a:lnTo>
                  <a:lnTo>
                    <a:pt x="130" y="821"/>
                  </a:lnTo>
                  <a:lnTo>
                    <a:pt x="130" y="821"/>
                  </a:lnTo>
                  <a:lnTo>
                    <a:pt x="130" y="821"/>
                  </a:lnTo>
                  <a:lnTo>
                    <a:pt x="130" y="821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30" y="818"/>
                  </a:lnTo>
                  <a:close/>
                  <a:moveTo>
                    <a:pt x="126" y="816"/>
                  </a:moveTo>
                  <a:lnTo>
                    <a:pt x="128" y="818"/>
                  </a:lnTo>
                  <a:lnTo>
                    <a:pt x="128" y="818"/>
                  </a:lnTo>
                  <a:lnTo>
                    <a:pt x="130" y="821"/>
                  </a:lnTo>
                  <a:lnTo>
                    <a:pt x="130" y="821"/>
                  </a:lnTo>
                  <a:lnTo>
                    <a:pt x="130" y="821"/>
                  </a:lnTo>
                  <a:lnTo>
                    <a:pt x="132" y="821"/>
                  </a:lnTo>
                  <a:lnTo>
                    <a:pt x="132" y="823"/>
                  </a:lnTo>
                  <a:lnTo>
                    <a:pt x="132" y="823"/>
                  </a:lnTo>
                  <a:lnTo>
                    <a:pt x="132" y="823"/>
                  </a:lnTo>
                  <a:lnTo>
                    <a:pt x="132" y="823"/>
                  </a:lnTo>
                  <a:lnTo>
                    <a:pt x="132" y="823"/>
                  </a:lnTo>
                  <a:lnTo>
                    <a:pt x="130" y="823"/>
                  </a:lnTo>
                  <a:lnTo>
                    <a:pt x="130" y="823"/>
                  </a:lnTo>
                  <a:lnTo>
                    <a:pt x="130" y="823"/>
                  </a:lnTo>
                  <a:lnTo>
                    <a:pt x="130" y="823"/>
                  </a:lnTo>
                  <a:lnTo>
                    <a:pt x="130" y="823"/>
                  </a:lnTo>
                  <a:lnTo>
                    <a:pt x="130" y="823"/>
                  </a:lnTo>
                  <a:lnTo>
                    <a:pt x="130" y="823"/>
                  </a:lnTo>
                  <a:lnTo>
                    <a:pt x="128" y="823"/>
                  </a:lnTo>
                  <a:lnTo>
                    <a:pt x="128" y="823"/>
                  </a:lnTo>
                  <a:lnTo>
                    <a:pt x="128" y="823"/>
                  </a:lnTo>
                  <a:lnTo>
                    <a:pt x="128" y="823"/>
                  </a:lnTo>
                  <a:lnTo>
                    <a:pt x="128" y="823"/>
                  </a:lnTo>
                  <a:lnTo>
                    <a:pt x="128" y="823"/>
                  </a:lnTo>
                  <a:lnTo>
                    <a:pt x="126" y="823"/>
                  </a:lnTo>
                  <a:lnTo>
                    <a:pt x="126" y="821"/>
                  </a:lnTo>
                  <a:lnTo>
                    <a:pt x="126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6" y="821"/>
                  </a:lnTo>
                  <a:lnTo>
                    <a:pt x="126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8" y="821"/>
                  </a:lnTo>
                  <a:lnTo>
                    <a:pt x="126" y="818"/>
                  </a:lnTo>
                  <a:lnTo>
                    <a:pt x="126" y="818"/>
                  </a:lnTo>
                  <a:lnTo>
                    <a:pt x="126" y="818"/>
                  </a:lnTo>
                  <a:lnTo>
                    <a:pt x="128" y="818"/>
                  </a:lnTo>
                  <a:lnTo>
                    <a:pt x="128" y="818"/>
                  </a:lnTo>
                  <a:lnTo>
                    <a:pt x="126" y="818"/>
                  </a:lnTo>
                  <a:lnTo>
                    <a:pt x="126" y="818"/>
                  </a:lnTo>
                  <a:lnTo>
                    <a:pt x="126" y="818"/>
                  </a:lnTo>
                  <a:lnTo>
                    <a:pt x="123" y="818"/>
                  </a:lnTo>
                  <a:lnTo>
                    <a:pt x="123" y="818"/>
                  </a:lnTo>
                  <a:lnTo>
                    <a:pt x="123" y="818"/>
                  </a:lnTo>
                  <a:lnTo>
                    <a:pt x="123" y="818"/>
                  </a:lnTo>
                  <a:lnTo>
                    <a:pt x="123" y="818"/>
                  </a:lnTo>
                  <a:lnTo>
                    <a:pt x="123" y="818"/>
                  </a:lnTo>
                  <a:lnTo>
                    <a:pt x="123" y="818"/>
                  </a:lnTo>
                  <a:lnTo>
                    <a:pt x="121" y="818"/>
                  </a:lnTo>
                  <a:lnTo>
                    <a:pt x="121" y="818"/>
                  </a:lnTo>
                  <a:lnTo>
                    <a:pt x="121" y="818"/>
                  </a:lnTo>
                  <a:lnTo>
                    <a:pt x="123" y="816"/>
                  </a:lnTo>
                  <a:lnTo>
                    <a:pt x="123" y="816"/>
                  </a:lnTo>
                  <a:lnTo>
                    <a:pt x="123" y="816"/>
                  </a:lnTo>
                  <a:lnTo>
                    <a:pt x="123" y="816"/>
                  </a:lnTo>
                  <a:lnTo>
                    <a:pt x="123" y="816"/>
                  </a:lnTo>
                  <a:lnTo>
                    <a:pt x="123" y="816"/>
                  </a:lnTo>
                  <a:lnTo>
                    <a:pt x="126" y="816"/>
                  </a:lnTo>
                  <a:close/>
                  <a:moveTo>
                    <a:pt x="117" y="818"/>
                  </a:moveTo>
                  <a:lnTo>
                    <a:pt x="117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7" y="818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9" y="816"/>
                  </a:lnTo>
                  <a:lnTo>
                    <a:pt x="117" y="816"/>
                  </a:lnTo>
                  <a:lnTo>
                    <a:pt x="117" y="818"/>
                  </a:lnTo>
                  <a:close/>
                  <a:moveTo>
                    <a:pt x="121" y="816"/>
                  </a:moveTo>
                  <a:lnTo>
                    <a:pt x="121" y="816"/>
                  </a:lnTo>
                  <a:lnTo>
                    <a:pt x="121" y="816"/>
                  </a:lnTo>
                  <a:lnTo>
                    <a:pt x="121" y="816"/>
                  </a:lnTo>
                  <a:lnTo>
                    <a:pt x="121" y="816"/>
                  </a:lnTo>
                  <a:lnTo>
                    <a:pt x="121" y="816"/>
                  </a:lnTo>
                  <a:lnTo>
                    <a:pt x="121" y="816"/>
                  </a:lnTo>
                  <a:lnTo>
                    <a:pt x="121" y="816"/>
                  </a:lnTo>
                  <a:lnTo>
                    <a:pt x="121" y="816"/>
                  </a:lnTo>
                  <a:lnTo>
                    <a:pt x="123" y="816"/>
                  </a:lnTo>
                  <a:lnTo>
                    <a:pt x="121" y="816"/>
                  </a:lnTo>
                  <a:close/>
                  <a:moveTo>
                    <a:pt x="117" y="816"/>
                  </a:moveTo>
                  <a:lnTo>
                    <a:pt x="114" y="816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7" y="816"/>
                  </a:lnTo>
                  <a:lnTo>
                    <a:pt x="117" y="814"/>
                  </a:lnTo>
                  <a:lnTo>
                    <a:pt x="117" y="814"/>
                  </a:lnTo>
                  <a:lnTo>
                    <a:pt x="117" y="814"/>
                  </a:lnTo>
                  <a:lnTo>
                    <a:pt x="117" y="814"/>
                  </a:lnTo>
                  <a:lnTo>
                    <a:pt x="117" y="814"/>
                  </a:lnTo>
                  <a:lnTo>
                    <a:pt x="117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9" y="814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lnTo>
                    <a:pt x="117" y="816"/>
                  </a:lnTo>
                  <a:close/>
                  <a:moveTo>
                    <a:pt x="128" y="814"/>
                  </a:moveTo>
                  <a:lnTo>
                    <a:pt x="128" y="814"/>
                  </a:lnTo>
                  <a:lnTo>
                    <a:pt x="128" y="814"/>
                  </a:lnTo>
                  <a:lnTo>
                    <a:pt x="128" y="814"/>
                  </a:lnTo>
                  <a:lnTo>
                    <a:pt x="128" y="814"/>
                  </a:lnTo>
                  <a:lnTo>
                    <a:pt x="132" y="816"/>
                  </a:lnTo>
                  <a:lnTo>
                    <a:pt x="132" y="816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21"/>
                  </a:lnTo>
                  <a:lnTo>
                    <a:pt x="137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21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2" y="818"/>
                  </a:lnTo>
                  <a:lnTo>
                    <a:pt x="132" y="818"/>
                  </a:lnTo>
                  <a:lnTo>
                    <a:pt x="132" y="818"/>
                  </a:lnTo>
                  <a:lnTo>
                    <a:pt x="130" y="816"/>
                  </a:lnTo>
                  <a:lnTo>
                    <a:pt x="130" y="816"/>
                  </a:lnTo>
                  <a:lnTo>
                    <a:pt x="130" y="816"/>
                  </a:lnTo>
                  <a:lnTo>
                    <a:pt x="128" y="816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8" y="814"/>
                  </a:lnTo>
                  <a:lnTo>
                    <a:pt x="128" y="814"/>
                  </a:lnTo>
                  <a:lnTo>
                    <a:pt x="128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6" y="812"/>
                  </a:lnTo>
                  <a:lnTo>
                    <a:pt x="126" y="812"/>
                  </a:lnTo>
                  <a:lnTo>
                    <a:pt x="126" y="812"/>
                  </a:lnTo>
                  <a:lnTo>
                    <a:pt x="128" y="814"/>
                  </a:lnTo>
                  <a:close/>
                  <a:moveTo>
                    <a:pt x="114" y="812"/>
                  </a:move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2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4" y="816"/>
                  </a:lnTo>
                  <a:lnTo>
                    <a:pt x="114" y="818"/>
                  </a:lnTo>
                  <a:lnTo>
                    <a:pt x="114" y="818"/>
                  </a:lnTo>
                  <a:lnTo>
                    <a:pt x="112" y="818"/>
                  </a:lnTo>
                  <a:lnTo>
                    <a:pt x="112" y="818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4" y="816"/>
                  </a:lnTo>
                  <a:lnTo>
                    <a:pt x="114" y="814"/>
                  </a:lnTo>
                  <a:lnTo>
                    <a:pt x="114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6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4" y="812"/>
                  </a:lnTo>
                  <a:close/>
                  <a:moveTo>
                    <a:pt x="108" y="809"/>
                  </a:moveTo>
                  <a:lnTo>
                    <a:pt x="108" y="809"/>
                  </a:lnTo>
                  <a:lnTo>
                    <a:pt x="108" y="809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5" y="812"/>
                  </a:lnTo>
                  <a:lnTo>
                    <a:pt x="105" y="812"/>
                  </a:lnTo>
                  <a:lnTo>
                    <a:pt x="105" y="812"/>
                  </a:lnTo>
                  <a:lnTo>
                    <a:pt x="105" y="812"/>
                  </a:lnTo>
                  <a:lnTo>
                    <a:pt x="105" y="809"/>
                  </a:lnTo>
                  <a:lnTo>
                    <a:pt x="105" y="809"/>
                  </a:lnTo>
                  <a:lnTo>
                    <a:pt x="105" y="809"/>
                  </a:lnTo>
                  <a:lnTo>
                    <a:pt x="105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9"/>
                  </a:lnTo>
                  <a:lnTo>
                    <a:pt x="108" y="809"/>
                  </a:lnTo>
                  <a:lnTo>
                    <a:pt x="108" y="809"/>
                  </a:lnTo>
                  <a:lnTo>
                    <a:pt x="108" y="809"/>
                  </a:lnTo>
                  <a:close/>
                  <a:moveTo>
                    <a:pt x="119" y="809"/>
                  </a:moveTo>
                  <a:lnTo>
                    <a:pt x="119" y="809"/>
                  </a:lnTo>
                  <a:lnTo>
                    <a:pt x="119" y="809"/>
                  </a:lnTo>
                  <a:lnTo>
                    <a:pt x="119" y="809"/>
                  </a:lnTo>
                  <a:lnTo>
                    <a:pt x="119" y="809"/>
                  </a:lnTo>
                  <a:lnTo>
                    <a:pt x="119" y="809"/>
                  </a:lnTo>
                  <a:lnTo>
                    <a:pt x="121" y="809"/>
                  </a:lnTo>
                  <a:lnTo>
                    <a:pt x="121" y="809"/>
                  </a:lnTo>
                  <a:lnTo>
                    <a:pt x="121" y="809"/>
                  </a:lnTo>
                  <a:lnTo>
                    <a:pt x="121" y="809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09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3" y="812"/>
                  </a:lnTo>
                  <a:lnTo>
                    <a:pt x="126" y="812"/>
                  </a:lnTo>
                  <a:lnTo>
                    <a:pt x="126" y="812"/>
                  </a:lnTo>
                  <a:lnTo>
                    <a:pt x="126" y="812"/>
                  </a:lnTo>
                  <a:lnTo>
                    <a:pt x="126" y="812"/>
                  </a:lnTo>
                  <a:lnTo>
                    <a:pt x="126" y="814"/>
                  </a:lnTo>
                  <a:lnTo>
                    <a:pt x="126" y="814"/>
                  </a:lnTo>
                  <a:lnTo>
                    <a:pt x="123" y="814"/>
                  </a:lnTo>
                  <a:lnTo>
                    <a:pt x="123" y="814"/>
                  </a:lnTo>
                  <a:lnTo>
                    <a:pt x="123" y="814"/>
                  </a:lnTo>
                  <a:lnTo>
                    <a:pt x="123" y="814"/>
                  </a:lnTo>
                  <a:lnTo>
                    <a:pt x="123" y="814"/>
                  </a:lnTo>
                  <a:lnTo>
                    <a:pt x="123" y="814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21" y="812"/>
                  </a:lnTo>
                  <a:lnTo>
                    <a:pt x="119" y="812"/>
                  </a:lnTo>
                  <a:lnTo>
                    <a:pt x="119" y="812"/>
                  </a:lnTo>
                  <a:lnTo>
                    <a:pt x="119" y="812"/>
                  </a:lnTo>
                  <a:lnTo>
                    <a:pt x="119" y="812"/>
                  </a:lnTo>
                  <a:lnTo>
                    <a:pt x="119" y="812"/>
                  </a:lnTo>
                  <a:lnTo>
                    <a:pt x="119" y="812"/>
                  </a:lnTo>
                  <a:lnTo>
                    <a:pt x="119" y="809"/>
                  </a:lnTo>
                  <a:lnTo>
                    <a:pt x="119" y="809"/>
                  </a:lnTo>
                  <a:lnTo>
                    <a:pt x="117" y="809"/>
                  </a:lnTo>
                  <a:lnTo>
                    <a:pt x="117" y="809"/>
                  </a:lnTo>
                  <a:lnTo>
                    <a:pt x="117" y="809"/>
                  </a:lnTo>
                  <a:lnTo>
                    <a:pt x="117" y="809"/>
                  </a:lnTo>
                  <a:lnTo>
                    <a:pt x="117" y="809"/>
                  </a:lnTo>
                  <a:lnTo>
                    <a:pt x="117" y="809"/>
                  </a:lnTo>
                  <a:lnTo>
                    <a:pt x="117" y="807"/>
                  </a:lnTo>
                  <a:lnTo>
                    <a:pt x="117" y="807"/>
                  </a:lnTo>
                  <a:lnTo>
                    <a:pt x="117" y="809"/>
                  </a:lnTo>
                  <a:lnTo>
                    <a:pt x="119" y="809"/>
                  </a:lnTo>
                  <a:lnTo>
                    <a:pt x="119" y="809"/>
                  </a:lnTo>
                  <a:close/>
                  <a:moveTo>
                    <a:pt x="128" y="807"/>
                  </a:move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28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8" y="807"/>
                  </a:lnTo>
                  <a:close/>
                  <a:moveTo>
                    <a:pt x="110" y="807"/>
                  </a:move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09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4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2" y="818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2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6"/>
                  </a:lnTo>
                  <a:lnTo>
                    <a:pt x="110" y="814"/>
                  </a:lnTo>
                  <a:lnTo>
                    <a:pt x="108" y="814"/>
                  </a:lnTo>
                  <a:lnTo>
                    <a:pt x="108" y="814"/>
                  </a:lnTo>
                  <a:lnTo>
                    <a:pt x="108" y="814"/>
                  </a:lnTo>
                  <a:lnTo>
                    <a:pt x="110" y="814"/>
                  </a:lnTo>
                  <a:lnTo>
                    <a:pt x="110" y="814"/>
                  </a:lnTo>
                  <a:lnTo>
                    <a:pt x="110" y="814"/>
                  </a:lnTo>
                  <a:lnTo>
                    <a:pt x="110" y="814"/>
                  </a:lnTo>
                  <a:lnTo>
                    <a:pt x="110" y="814"/>
                  </a:lnTo>
                  <a:lnTo>
                    <a:pt x="110" y="814"/>
                  </a:lnTo>
                  <a:lnTo>
                    <a:pt x="110" y="814"/>
                  </a:lnTo>
                  <a:lnTo>
                    <a:pt x="108" y="814"/>
                  </a:lnTo>
                  <a:lnTo>
                    <a:pt x="108" y="814"/>
                  </a:lnTo>
                  <a:lnTo>
                    <a:pt x="108" y="812"/>
                  </a:lnTo>
                  <a:lnTo>
                    <a:pt x="108" y="812"/>
                  </a:lnTo>
                  <a:lnTo>
                    <a:pt x="108" y="809"/>
                  </a:lnTo>
                  <a:lnTo>
                    <a:pt x="110" y="812"/>
                  </a:lnTo>
                  <a:lnTo>
                    <a:pt x="110" y="812"/>
                  </a:lnTo>
                  <a:lnTo>
                    <a:pt x="110" y="812"/>
                  </a:lnTo>
                  <a:lnTo>
                    <a:pt x="110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2" y="812"/>
                  </a:lnTo>
                  <a:lnTo>
                    <a:pt x="110" y="812"/>
                  </a:lnTo>
                  <a:lnTo>
                    <a:pt x="110" y="812"/>
                  </a:lnTo>
                  <a:lnTo>
                    <a:pt x="110" y="812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9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10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08" y="805"/>
                  </a:lnTo>
                  <a:lnTo>
                    <a:pt x="108" y="807"/>
                  </a:lnTo>
                  <a:lnTo>
                    <a:pt x="108" y="807"/>
                  </a:lnTo>
                  <a:lnTo>
                    <a:pt x="110" y="807"/>
                  </a:lnTo>
                  <a:close/>
                  <a:moveTo>
                    <a:pt x="123" y="805"/>
                  </a:moveTo>
                  <a:lnTo>
                    <a:pt x="123" y="805"/>
                  </a:lnTo>
                  <a:lnTo>
                    <a:pt x="123" y="807"/>
                  </a:lnTo>
                  <a:lnTo>
                    <a:pt x="123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8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6" y="809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7"/>
                  </a:lnTo>
                  <a:lnTo>
                    <a:pt x="121" y="805"/>
                  </a:lnTo>
                  <a:lnTo>
                    <a:pt x="121" y="805"/>
                  </a:lnTo>
                  <a:lnTo>
                    <a:pt x="121" y="805"/>
                  </a:lnTo>
                  <a:lnTo>
                    <a:pt x="123" y="805"/>
                  </a:lnTo>
                  <a:lnTo>
                    <a:pt x="123" y="805"/>
                  </a:lnTo>
                  <a:lnTo>
                    <a:pt x="121" y="805"/>
                  </a:lnTo>
                  <a:lnTo>
                    <a:pt x="121" y="805"/>
                  </a:lnTo>
                  <a:lnTo>
                    <a:pt x="121" y="805"/>
                  </a:lnTo>
                  <a:lnTo>
                    <a:pt x="121" y="805"/>
                  </a:lnTo>
                  <a:lnTo>
                    <a:pt x="121" y="805"/>
                  </a:lnTo>
                  <a:lnTo>
                    <a:pt x="123" y="805"/>
                  </a:lnTo>
                  <a:lnTo>
                    <a:pt x="123" y="805"/>
                  </a:lnTo>
                  <a:lnTo>
                    <a:pt x="123" y="805"/>
                  </a:lnTo>
                  <a:lnTo>
                    <a:pt x="123" y="805"/>
                  </a:lnTo>
                  <a:close/>
                  <a:moveTo>
                    <a:pt x="119" y="798"/>
                  </a:moveTo>
                  <a:lnTo>
                    <a:pt x="119" y="798"/>
                  </a:lnTo>
                  <a:lnTo>
                    <a:pt x="119" y="798"/>
                  </a:lnTo>
                  <a:lnTo>
                    <a:pt x="119" y="798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21" y="803"/>
                  </a:lnTo>
                  <a:lnTo>
                    <a:pt x="121" y="803"/>
                  </a:lnTo>
                  <a:lnTo>
                    <a:pt x="119" y="803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19" y="800"/>
                  </a:lnTo>
                  <a:lnTo>
                    <a:pt x="119" y="803"/>
                  </a:lnTo>
                  <a:lnTo>
                    <a:pt x="119" y="800"/>
                  </a:lnTo>
                  <a:lnTo>
                    <a:pt x="117" y="800"/>
                  </a:lnTo>
                  <a:lnTo>
                    <a:pt x="117" y="800"/>
                  </a:lnTo>
                  <a:lnTo>
                    <a:pt x="117" y="800"/>
                  </a:lnTo>
                  <a:lnTo>
                    <a:pt x="117" y="800"/>
                  </a:lnTo>
                  <a:lnTo>
                    <a:pt x="117" y="800"/>
                  </a:lnTo>
                  <a:lnTo>
                    <a:pt x="117" y="800"/>
                  </a:lnTo>
                  <a:lnTo>
                    <a:pt x="117" y="798"/>
                  </a:lnTo>
                  <a:lnTo>
                    <a:pt x="117" y="798"/>
                  </a:lnTo>
                  <a:lnTo>
                    <a:pt x="117" y="798"/>
                  </a:lnTo>
                  <a:lnTo>
                    <a:pt x="117" y="798"/>
                  </a:lnTo>
                  <a:lnTo>
                    <a:pt x="117" y="798"/>
                  </a:lnTo>
                  <a:lnTo>
                    <a:pt x="117" y="798"/>
                  </a:lnTo>
                  <a:lnTo>
                    <a:pt x="117" y="798"/>
                  </a:lnTo>
                  <a:lnTo>
                    <a:pt x="119" y="798"/>
                  </a:lnTo>
                  <a:close/>
                  <a:moveTo>
                    <a:pt x="101" y="800"/>
                  </a:move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3" y="803"/>
                  </a:lnTo>
                  <a:lnTo>
                    <a:pt x="103" y="805"/>
                  </a:lnTo>
                  <a:lnTo>
                    <a:pt x="103" y="805"/>
                  </a:lnTo>
                  <a:lnTo>
                    <a:pt x="103" y="805"/>
                  </a:lnTo>
                  <a:lnTo>
                    <a:pt x="103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3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1" y="807"/>
                  </a:lnTo>
                  <a:lnTo>
                    <a:pt x="101" y="807"/>
                  </a:lnTo>
                  <a:lnTo>
                    <a:pt x="101" y="807"/>
                  </a:lnTo>
                  <a:lnTo>
                    <a:pt x="101" y="807"/>
                  </a:lnTo>
                  <a:lnTo>
                    <a:pt x="101" y="807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99" y="805"/>
                  </a:lnTo>
                  <a:lnTo>
                    <a:pt x="99" y="805"/>
                  </a:lnTo>
                  <a:lnTo>
                    <a:pt x="99" y="805"/>
                  </a:lnTo>
                  <a:lnTo>
                    <a:pt x="99" y="805"/>
                  </a:lnTo>
                  <a:lnTo>
                    <a:pt x="99" y="805"/>
                  </a:lnTo>
                  <a:lnTo>
                    <a:pt x="101" y="805"/>
                  </a:lnTo>
                  <a:lnTo>
                    <a:pt x="101" y="805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3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101" y="800"/>
                  </a:lnTo>
                  <a:lnTo>
                    <a:pt x="99" y="800"/>
                  </a:lnTo>
                  <a:lnTo>
                    <a:pt x="99" y="800"/>
                  </a:lnTo>
                  <a:lnTo>
                    <a:pt x="99" y="798"/>
                  </a:lnTo>
                  <a:lnTo>
                    <a:pt x="99" y="798"/>
                  </a:lnTo>
                  <a:lnTo>
                    <a:pt x="99" y="798"/>
                  </a:lnTo>
                  <a:lnTo>
                    <a:pt x="99" y="798"/>
                  </a:lnTo>
                  <a:lnTo>
                    <a:pt x="99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798"/>
                  </a:lnTo>
                  <a:lnTo>
                    <a:pt x="101" y="800"/>
                  </a:lnTo>
                  <a:lnTo>
                    <a:pt x="101" y="800"/>
                  </a:lnTo>
                  <a:close/>
                  <a:moveTo>
                    <a:pt x="126" y="798"/>
                  </a:moveTo>
                  <a:lnTo>
                    <a:pt x="126" y="798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798"/>
                  </a:lnTo>
                  <a:lnTo>
                    <a:pt x="123" y="800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6" y="798"/>
                  </a:lnTo>
                  <a:lnTo>
                    <a:pt x="126" y="798"/>
                  </a:lnTo>
                  <a:close/>
                  <a:moveTo>
                    <a:pt x="108" y="796"/>
                  </a:moveTo>
                  <a:lnTo>
                    <a:pt x="108" y="796"/>
                  </a:lnTo>
                  <a:lnTo>
                    <a:pt x="108" y="796"/>
                  </a:lnTo>
                  <a:lnTo>
                    <a:pt x="110" y="796"/>
                  </a:lnTo>
                  <a:lnTo>
                    <a:pt x="110" y="798"/>
                  </a:lnTo>
                  <a:lnTo>
                    <a:pt x="110" y="798"/>
                  </a:lnTo>
                  <a:lnTo>
                    <a:pt x="110" y="798"/>
                  </a:lnTo>
                  <a:lnTo>
                    <a:pt x="110" y="798"/>
                  </a:lnTo>
                  <a:lnTo>
                    <a:pt x="110" y="798"/>
                  </a:lnTo>
                  <a:lnTo>
                    <a:pt x="110" y="800"/>
                  </a:lnTo>
                  <a:lnTo>
                    <a:pt x="112" y="800"/>
                  </a:lnTo>
                  <a:lnTo>
                    <a:pt x="112" y="800"/>
                  </a:lnTo>
                  <a:lnTo>
                    <a:pt x="112" y="800"/>
                  </a:lnTo>
                  <a:lnTo>
                    <a:pt x="112" y="800"/>
                  </a:lnTo>
                  <a:lnTo>
                    <a:pt x="112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10" y="800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798"/>
                  </a:lnTo>
                  <a:lnTo>
                    <a:pt x="108" y="800"/>
                  </a:lnTo>
                  <a:lnTo>
                    <a:pt x="108" y="800"/>
                  </a:lnTo>
                  <a:lnTo>
                    <a:pt x="108" y="800"/>
                  </a:lnTo>
                  <a:lnTo>
                    <a:pt x="108" y="800"/>
                  </a:lnTo>
                  <a:lnTo>
                    <a:pt x="108" y="800"/>
                  </a:lnTo>
                  <a:lnTo>
                    <a:pt x="108" y="800"/>
                  </a:lnTo>
                  <a:lnTo>
                    <a:pt x="108" y="803"/>
                  </a:lnTo>
                  <a:lnTo>
                    <a:pt x="108" y="803"/>
                  </a:lnTo>
                  <a:lnTo>
                    <a:pt x="108" y="803"/>
                  </a:lnTo>
                  <a:lnTo>
                    <a:pt x="108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5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3" y="803"/>
                  </a:lnTo>
                  <a:lnTo>
                    <a:pt x="105" y="800"/>
                  </a:lnTo>
                  <a:lnTo>
                    <a:pt x="105" y="800"/>
                  </a:lnTo>
                  <a:lnTo>
                    <a:pt x="105" y="800"/>
                  </a:lnTo>
                  <a:lnTo>
                    <a:pt x="105" y="800"/>
                  </a:lnTo>
                  <a:lnTo>
                    <a:pt x="105" y="800"/>
                  </a:lnTo>
                  <a:lnTo>
                    <a:pt x="108" y="800"/>
                  </a:lnTo>
                  <a:lnTo>
                    <a:pt x="108" y="800"/>
                  </a:lnTo>
                  <a:lnTo>
                    <a:pt x="108" y="798"/>
                  </a:lnTo>
                  <a:lnTo>
                    <a:pt x="105" y="800"/>
                  </a:lnTo>
                  <a:lnTo>
                    <a:pt x="105" y="800"/>
                  </a:lnTo>
                  <a:lnTo>
                    <a:pt x="103" y="800"/>
                  </a:lnTo>
                  <a:lnTo>
                    <a:pt x="103" y="800"/>
                  </a:lnTo>
                  <a:lnTo>
                    <a:pt x="103" y="798"/>
                  </a:lnTo>
                  <a:lnTo>
                    <a:pt x="103" y="798"/>
                  </a:lnTo>
                  <a:lnTo>
                    <a:pt x="105" y="798"/>
                  </a:lnTo>
                  <a:lnTo>
                    <a:pt x="105" y="798"/>
                  </a:lnTo>
                  <a:lnTo>
                    <a:pt x="105" y="798"/>
                  </a:lnTo>
                  <a:lnTo>
                    <a:pt x="105" y="798"/>
                  </a:lnTo>
                  <a:lnTo>
                    <a:pt x="105" y="798"/>
                  </a:lnTo>
                  <a:lnTo>
                    <a:pt x="105" y="796"/>
                  </a:lnTo>
                  <a:lnTo>
                    <a:pt x="105" y="796"/>
                  </a:lnTo>
                  <a:lnTo>
                    <a:pt x="105" y="796"/>
                  </a:lnTo>
                  <a:lnTo>
                    <a:pt x="108" y="796"/>
                  </a:lnTo>
                  <a:lnTo>
                    <a:pt x="108" y="796"/>
                  </a:lnTo>
                  <a:lnTo>
                    <a:pt x="108" y="796"/>
                  </a:lnTo>
                  <a:lnTo>
                    <a:pt x="108" y="796"/>
                  </a:lnTo>
                  <a:lnTo>
                    <a:pt x="108" y="796"/>
                  </a:lnTo>
                  <a:close/>
                  <a:moveTo>
                    <a:pt x="103" y="796"/>
                  </a:moveTo>
                  <a:lnTo>
                    <a:pt x="103" y="796"/>
                  </a:lnTo>
                  <a:lnTo>
                    <a:pt x="103" y="796"/>
                  </a:lnTo>
                  <a:lnTo>
                    <a:pt x="103" y="796"/>
                  </a:lnTo>
                  <a:lnTo>
                    <a:pt x="101" y="796"/>
                  </a:lnTo>
                  <a:lnTo>
                    <a:pt x="101" y="796"/>
                  </a:lnTo>
                  <a:lnTo>
                    <a:pt x="101" y="796"/>
                  </a:lnTo>
                  <a:lnTo>
                    <a:pt x="101" y="796"/>
                  </a:lnTo>
                  <a:lnTo>
                    <a:pt x="101" y="796"/>
                  </a:lnTo>
                  <a:lnTo>
                    <a:pt x="101" y="794"/>
                  </a:lnTo>
                  <a:lnTo>
                    <a:pt x="101" y="794"/>
                  </a:lnTo>
                  <a:lnTo>
                    <a:pt x="101" y="794"/>
                  </a:lnTo>
                  <a:lnTo>
                    <a:pt x="101" y="794"/>
                  </a:lnTo>
                  <a:lnTo>
                    <a:pt x="101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6"/>
                  </a:lnTo>
                  <a:lnTo>
                    <a:pt x="103" y="796"/>
                  </a:lnTo>
                  <a:lnTo>
                    <a:pt x="103" y="796"/>
                  </a:lnTo>
                  <a:lnTo>
                    <a:pt x="103" y="796"/>
                  </a:lnTo>
                  <a:close/>
                  <a:moveTo>
                    <a:pt x="110" y="794"/>
                  </a:move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0" y="794"/>
                  </a:lnTo>
                  <a:lnTo>
                    <a:pt x="112" y="794"/>
                  </a:lnTo>
                  <a:lnTo>
                    <a:pt x="112" y="794"/>
                  </a:lnTo>
                  <a:lnTo>
                    <a:pt x="112" y="794"/>
                  </a:lnTo>
                  <a:lnTo>
                    <a:pt x="112" y="794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2" y="796"/>
                  </a:lnTo>
                  <a:lnTo>
                    <a:pt x="110" y="796"/>
                  </a:lnTo>
                  <a:lnTo>
                    <a:pt x="110" y="796"/>
                  </a:lnTo>
                  <a:lnTo>
                    <a:pt x="110" y="796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0" y="794"/>
                  </a:lnTo>
                  <a:lnTo>
                    <a:pt x="110" y="794"/>
                  </a:lnTo>
                  <a:close/>
                  <a:moveTo>
                    <a:pt x="117" y="798"/>
                  </a:moveTo>
                  <a:lnTo>
                    <a:pt x="114" y="798"/>
                  </a:lnTo>
                  <a:lnTo>
                    <a:pt x="114" y="798"/>
                  </a:lnTo>
                  <a:lnTo>
                    <a:pt x="114" y="796"/>
                  </a:lnTo>
                  <a:lnTo>
                    <a:pt x="114" y="796"/>
                  </a:lnTo>
                  <a:lnTo>
                    <a:pt x="114" y="796"/>
                  </a:lnTo>
                  <a:lnTo>
                    <a:pt x="114" y="794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0" y="791"/>
                  </a:lnTo>
                  <a:lnTo>
                    <a:pt x="110" y="789"/>
                  </a:lnTo>
                  <a:lnTo>
                    <a:pt x="112" y="789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4" y="794"/>
                  </a:lnTo>
                  <a:lnTo>
                    <a:pt x="114" y="794"/>
                  </a:lnTo>
                  <a:lnTo>
                    <a:pt x="117" y="796"/>
                  </a:lnTo>
                  <a:lnTo>
                    <a:pt x="117" y="796"/>
                  </a:lnTo>
                  <a:lnTo>
                    <a:pt x="117" y="796"/>
                  </a:lnTo>
                  <a:lnTo>
                    <a:pt x="117" y="798"/>
                  </a:lnTo>
                  <a:lnTo>
                    <a:pt x="117" y="798"/>
                  </a:lnTo>
                  <a:close/>
                  <a:moveTo>
                    <a:pt x="108" y="787"/>
                  </a:moveTo>
                  <a:lnTo>
                    <a:pt x="108" y="787"/>
                  </a:lnTo>
                  <a:lnTo>
                    <a:pt x="108" y="787"/>
                  </a:lnTo>
                  <a:lnTo>
                    <a:pt x="108" y="787"/>
                  </a:lnTo>
                  <a:lnTo>
                    <a:pt x="110" y="789"/>
                  </a:lnTo>
                  <a:lnTo>
                    <a:pt x="110" y="789"/>
                  </a:lnTo>
                  <a:lnTo>
                    <a:pt x="110" y="789"/>
                  </a:lnTo>
                  <a:lnTo>
                    <a:pt x="110" y="789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94"/>
                  </a:lnTo>
                  <a:lnTo>
                    <a:pt x="110" y="791"/>
                  </a:lnTo>
                  <a:lnTo>
                    <a:pt x="110" y="794"/>
                  </a:lnTo>
                  <a:lnTo>
                    <a:pt x="112" y="794"/>
                  </a:lnTo>
                  <a:lnTo>
                    <a:pt x="112" y="794"/>
                  </a:lnTo>
                  <a:lnTo>
                    <a:pt x="112" y="794"/>
                  </a:lnTo>
                  <a:lnTo>
                    <a:pt x="112" y="794"/>
                  </a:lnTo>
                  <a:lnTo>
                    <a:pt x="110" y="794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10" y="791"/>
                  </a:lnTo>
                  <a:lnTo>
                    <a:pt x="108" y="791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08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4"/>
                  </a:lnTo>
                  <a:lnTo>
                    <a:pt x="105" y="791"/>
                  </a:lnTo>
                  <a:lnTo>
                    <a:pt x="105" y="791"/>
                  </a:lnTo>
                  <a:lnTo>
                    <a:pt x="105" y="791"/>
                  </a:lnTo>
                  <a:lnTo>
                    <a:pt x="103" y="791"/>
                  </a:lnTo>
                  <a:lnTo>
                    <a:pt x="103" y="791"/>
                  </a:lnTo>
                  <a:lnTo>
                    <a:pt x="103" y="791"/>
                  </a:lnTo>
                  <a:lnTo>
                    <a:pt x="103" y="791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4"/>
                  </a:lnTo>
                  <a:lnTo>
                    <a:pt x="103" y="791"/>
                  </a:lnTo>
                  <a:lnTo>
                    <a:pt x="103" y="791"/>
                  </a:lnTo>
                  <a:lnTo>
                    <a:pt x="103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91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5" y="789"/>
                  </a:lnTo>
                  <a:lnTo>
                    <a:pt x="105" y="791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5" y="787"/>
                  </a:lnTo>
                  <a:lnTo>
                    <a:pt x="105" y="787"/>
                  </a:lnTo>
                  <a:lnTo>
                    <a:pt x="105" y="787"/>
                  </a:lnTo>
                  <a:lnTo>
                    <a:pt x="105" y="787"/>
                  </a:lnTo>
                  <a:lnTo>
                    <a:pt x="105" y="787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3" y="785"/>
                  </a:lnTo>
                  <a:lnTo>
                    <a:pt x="105" y="787"/>
                  </a:lnTo>
                  <a:lnTo>
                    <a:pt x="105" y="787"/>
                  </a:lnTo>
                  <a:lnTo>
                    <a:pt x="108" y="787"/>
                  </a:lnTo>
                  <a:lnTo>
                    <a:pt x="108" y="787"/>
                  </a:lnTo>
                  <a:close/>
                  <a:moveTo>
                    <a:pt x="101" y="785"/>
                  </a:moveTo>
                  <a:lnTo>
                    <a:pt x="101" y="785"/>
                  </a:lnTo>
                  <a:lnTo>
                    <a:pt x="101" y="785"/>
                  </a:lnTo>
                  <a:lnTo>
                    <a:pt x="101" y="787"/>
                  </a:lnTo>
                  <a:lnTo>
                    <a:pt x="101" y="787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1" y="787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3" y="789"/>
                  </a:lnTo>
                  <a:lnTo>
                    <a:pt x="103" y="789"/>
                  </a:lnTo>
                  <a:lnTo>
                    <a:pt x="103" y="789"/>
                  </a:lnTo>
                  <a:lnTo>
                    <a:pt x="103" y="789"/>
                  </a:lnTo>
                  <a:lnTo>
                    <a:pt x="103" y="789"/>
                  </a:lnTo>
                  <a:lnTo>
                    <a:pt x="103" y="787"/>
                  </a:lnTo>
                  <a:lnTo>
                    <a:pt x="103" y="787"/>
                  </a:lnTo>
                  <a:lnTo>
                    <a:pt x="105" y="789"/>
                  </a:lnTo>
                  <a:lnTo>
                    <a:pt x="105" y="789"/>
                  </a:lnTo>
                  <a:lnTo>
                    <a:pt x="103" y="789"/>
                  </a:lnTo>
                  <a:lnTo>
                    <a:pt x="103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101" y="789"/>
                  </a:lnTo>
                  <a:lnTo>
                    <a:pt x="99" y="789"/>
                  </a:lnTo>
                  <a:lnTo>
                    <a:pt x="99" y="789"/>
                  </a:lnTo>
                  <a:lnTo>
                    <a:pt x="99" y="787"/>
                  </a:lnTo>
                  <a:lnTo>
                    <a:pt x="101" y="787"/>
                  </a:lnTo>
                  <a:lnTo>
                    <a:pt x="101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5"/>
                  </a:lnTo>
                  <a:lnTo>
                    <a:pt x="99" y="785"/>
                  </a:lnTo>
                  <a:lnTo>
                    <a:pt x="101" y="787"/>
                  </a:lnTo>
                  <a:lnTo>
                    <a:pt x="99" y="785"/>
                  </a:lnTo>
                  <a:lnTo>
                    <a:pt x="99" y="785"/>
                  </a:lnTo>
                  <a:lnTo>
                    <a:pt x="99" y="785"/>
                  </a:lnTo>
                  <a:lnTo>
                    <a:pt x="99" y="785"/>
                  </a:lnTo>
                  <a:lnTo>
                    <a:pt x="99" y="785"/>
                  </a:lnTo>
                  <a:lnTo>
                    <a:pt x="101" y="785"/>
                  </a:lnTo>
                  <a:lnTo>
                    <a:pt x="101" y="785"/>
                  </a:lnTo>
                  <a:lnTo>
                    <a:pt x="99" y="785"/>
                  </a:lnTo>
                  <a:lnTo>
                    <a:pt x="99" y="785"/>
                  </a:lnTo>
                  <a:lnTo>
                    <a:pt x="101" y="785"/>
                  </a:lnTo>
                  <a:lnTo>
                    <a:pt x="101" y="785"/>
                  </a:lnTo>
                  <a:close/>
                  <a:moveTo>
                    <a:pt x="96" y="785"/>
                  </a:move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9" y="787"/>
                  </a:lnTo>
                  <a:lnTo>
                    <a:pt x="96" y="787"/>
                  </a:lnTo>
                  <a:lnTo>
                    <a:pt x="96" y="787"/>
                  </a:lnTo>
                  <a:lnTo>
                    <a:pt x="96" y="787"/>
                  </a:lnTo>
                  <a:lnTo>
                    <a:pt x="96" y="787"/>
                  </a:lnTo>
                  <a:lnTo>
                    <a:pt x="96" y="787"/>
                  </a:lnTo>
                  <a:lnTo>
                    <a:pt x="96" y="787"/>
                  </a:lnTo>
                  <a:lnTo>
                    <a:pt x="94" y="785"/>
                  </a:lnTo>
                  <a:lnTo>
                    <a:pt x="94" y="785"/>
                  </a:lnTo>
                  <a:lnTo>
                    <a:pt x="94" y="785"/>
                  </a:lnTo>
                  <a:lnTo>
                    <a:pt x="94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4" y="785"/>
                  </a:lnTo>
                  <a:lnTo>
                    <a:pt x="94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lnTo>
                    <a:pt x="96" y="785"/>
                  </a:lnTo>
                  <a:close/>
                  <a:moveTo>
                    <a:pt x="103" y="782"/>
                  </a:moveTo>
                  <a:lnTo>
                    <a:pt x="103" y="782"/>
                  </a:lnTo>
                  <a:lnTo>
                    <a:pt x="101" y="782"/>
                  </a:lnTo>
                  <a:lnTo>
                    <a:pt x="101" y="782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3" y="780"/>
                  </a:lnTo>
                  <a:lnTo>
                    <a:pt x="103" y="780"/>
                  </a:lnTo>
                  <a:lnTo>
                    <a:pt x="103" y="782"/>
                  </a:lnTo>
                  <a:close/>
                  <a:moveTo>
                    <a:pt x="87" y="780"/>
                  </a:moveTo>
                  <a:lnTo>
                    <a:pt x="87" y="780"/>
                  </a:lnTo>
                  <a:lnTo>
                    <a:pt x="90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0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2" y="780"/>
                  </a:lnTo>
                  <a:lnTo>
                    <a:pt x="94" y="780"/>
                  </a:lnTo>
                  <a:lnTo>
                    <a:pt x="94" y="780"/>
                  </a:lnTo>
                  <a:lnTo>
                    <a:pt x="94" y="780"/>
                  </a:lnTo>
                  <a:lnTo>
                    <a:pt x="92" y="780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2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92" y="782"/>
                  </a:lnTo>
                  <a:lnTo>
                    <a:pt x="92" y="785"/>
                  </a:lnTo>
                  <a:lnTo>
                    <a:pt x="92" y="782"/>
                  </a:lnTo>
                  <a:lnTo>
                    <a:pt x="90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5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2" y="787"/>
                  </a:lnTo>
                  <a:lnTo>
                    <a:pt x="90" y="787"/>
                  </a:lnTo>
                  <a:lnTo>
                    <a:pt x="90" y="787"/>
                  </a:lnTo>
                  <a:lnTo>
                    <a:pt x="90" y="787"/>
                  </a:lnTo>
                  <a:lnTo>
                    <a:pt x="90" y="787"/>
                  </a:lnTo>
                  <a:lnTo>
                    <a:pt x="90" y="787"/>
                  </a:lnTo>
                  <a:lnTo>
                    <a:pt x="90" y="787"/>
                  </a:lnTo>
                  <a:lnTo>
                    <a:pt x="90" y="787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90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5"/>
                  </a:lnTo>
                  <a:lnTo>
                    <a:pt x="87" y="782"/>
                  </a:lnTo>
                  <a:lnTo>
                    <a:pt x="87" y="782"/>
                  </a:lnTo>
                  <a:lnTo>
                    <a:pt x="87" y="782"/>
                  </a:lnTo>
                  <a:lnTo>
                    <a:pt x="87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90" y="782"/>
                  </a:lnTo>
                  <a:lnTo>
                    <a:pt x="87" y="782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lnTo>
                    <a:pt x="87" y="780"/>
                  </a:lnTo>
                  <a:close/>
                  <a:moveTo>
                    <a:pt x="103" y="780"/>
                  </a:moveTo>
                  <a:lnTo>
                    <a:pt x="103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8" y="780"/>
                  </a:lnTo>
                  <a:lnTo>
                    <a:pt x="108" y="782"/>
                  </a:lnTo>
                  <a:lnTo>
                    <a:pt x="108" y="782"/>
                  </a:lnTo>
                  <a:lnTo>
                    <a:pt x="110" y="782"/>
                  </a:lnTo>
                  <a:lnTo>
                    <a:pt x="110" y="782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08" y="785"/>
                  </a:lnTo>
                  <a:lnTo>
                    <a:pt x="108" y="785"/>
                  </a:lnTo>
                  <a:lnTo>
                    <a:pt x="108" y="785"/>
                  </a:lnTo>
                  <a:lnTo>
                    <a:pt x="108" y="785"/>
                  </a:lnTo>
                  <a:lnTo>
                    <a:pt x="108" y="785"/>
                  </a:lnTo>
                  <a:lnTo>
                    <a:pt x="108" y="785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10" y="785"/>
                  </a:lnTo>
                  <a:lnTo>
                    <a:pt x="112" y="785"/>
                  </a:lnTo>
                  <a:lnTo>
                    <a:pt x="112" y="787"/>
                  </a:lnTo>
                  <a:lnTo>
                    <a:pt x="112" y="787"/>
                  </a:lnTo>
                  <a:lnTo>
                    <a:pt x="112" y="787"/>
                  </a:lnTo>
                  <a:lnTo>
                    <a:pt x="112" y="787"/>
                  </a:lnTo>
                  <a:lnTo>
                    <a:pt x="112" y="787"/>
                  </a:lnTo>
                  <a:lnTo>
                    <a:pt x="112" y="789"/>
                  </a:lnTo>
                  <a:lnTo>
                    <a:pt x="112" y="789"/>
                  </a:lnTo>
                  <a:lnTo>
                    <a:pt x="112" y="787"/>
                  </a:lnTo>
                  <a:lnTo>
                    <a:pt x="112" y="787"/>
                  </a:lnTo>
                  <a:lnTo>
                    <a:pt x="110" y="787"/>
                  </a:lnTo>
                  <a:lnTo>
                    <a:pt x="110" y="787"/>
                  </a:lnTo>
                  <a:lnTo>
                    <a:pt x="110" y="787"/>
                  </a:lnTo>
                  <a:lnTo>
                    <a:pt x="110" y="787"/>
                  </a:lnTo>
                  <a:lnTo>
                    <a:pt x="110" y="787"/>
                  </a:lnTo>
                  <a:lnTo>
                    <a:pt x="110" y="787"/>
                  </a:lnTo>
                  <a:lnTo>
                    <a:pt x="110" y="789"/>
                  </a:lnTo>
                  <a:lnTo>
                    <a:pt x="110" y="789"/>
                  </a:lnTo>
                  <a:lnTo>
                    <a:pt x="110" y="787"/>
                  </a:lnTo>
                  <a:lnTo>
                    <a:pt x="110" y="787"/>
                  </a:lnTo>
                  <a:lnTo>
                    <a:pt x="108" y="787"/>
                  </a:lnTo>
                  <a:lnTo>
                    <a:pt x="108" y="787"/>
                  </a:lnTo>
                  <a:lnTo>
                    <a:pt x="108" y="787"/>
                  </a:lnTo>
                  <a:lnTo>
                    <a:pt x="108" y="787"/>
                  </a:lnTo>
                  <a:lnTo>
                    <a:pt x="108" y="787"/>
                  </a:lnTo>
                  <a:lnTo>
                    <a:pt x="108" y="787"/>
                  </a:lnTo>
                  <a:lnTo>
                    <a:pt x="105" y="785"/>
                  </a:lnTo>
                  <a:lnTo>
                    <a:pt x="105" y="785"/>
                  </a:lnTo>
                  <a:lnTo>
                    <a:pt x="105" y="785"/>
                  </a:lnTo>
                  <a:lnTo>
                    <a:pt x="105" y="785"/>
                  </a:lnTo>
                  <a:lnTo>
                    <a:pt x="105" y="785"/>
                  </a:lnTo>
                  <a:lnTo>
                    <a:pt x="103" y="785"/>
                  </a:lnTo>
                  <a:lnTo>
                    <a:pt x="103" y="782"/>
                  </a:lnTo>
                  <a:lnTo>
                    <a:pt x="103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2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5" y="780"/>
                  </a:lnTo>
                  <a:lnTo>
                    <a:pt x="103" y="780"/>
                  </a:lnTo>
                  <a:lnTo>
                    <a:pt x="103" y="780"/>
                  </a:lnTo>
                  <a:lnTo>
                    <a:pt x="103" y="780"/>
                  </a:lnTo>
                  <a:lnTo>
                    <a:pt x="103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3" y="778"/>
                  </a:lnTo>
                  <a:lnTo>
                    <a:pt x="103" y="778"/>
                  </a:lnTo>
                  <a:lnTo>
                    <a:pt x="103" y="778"/>
                  </a:lnTo>
                  <a:lnTo>
                    <a:pt x="103" y="780"/>
                  </a:lnTo>
                  <a:lnTo>
                    <a:pt x="103" y="780"/>
                  </a:lnTo>
                  <a:lnTo>
                    <a:pt x="103" y="780"/>
                  </a:lnTo>
                  <a:lnTo>
                    <a:pt x="103" y="780"/>
                  </a:lnTo>
                  <a:close/>
                  <a:moveTo>
                    <a:pt x="101" y="778"/>
                  </a:moveTo>
                  <a:lnTo>
                    <a:pt x="101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3" y="778"/>
                  </a:lnTo>
                  <a:lnTo>
                    <a:pt x="103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101" y="780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80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99" y="778"/>
                  </a:lnTo>
                  <a:lnTo>
                    <a:pt x="101" y="778"/>
                  </a:lnTo>
                  <a:lnTo>
                    <a:pt x="101" y="778"/>
                  </a:lnTo>
                  <a:lnTo>
                    <a:pt x="101" y="778"/>
                  </a:lnTo>
                  <a:close/>
                  <a:moveTo>
                    <a:pt x="85" y="769"/>
                  </a:moveTo>
                  <a:lnTo>
                    <a:pt x="85" y="769"/>
                  </a:lnTo>
                  <a:lnTo>
                    <a:pt x="85" y="769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7" y="769"/>
                  </a:lnTo>
                  <a:lnTo>
                    <a:pt x="87" y="769"/>
                  </a:lnTo>
                  <a:lnTo>
                    <a:pt x="87" y="769"/>
                  </a:lnTo>
                  <a:lnTo>
                    <a:pt x="87" y="769"/>
                  </a:lnTo>
                  <a:lnTo>
                    <a:pt x="87" y="769"/>
                  </a:lnTo>
                  <a:lnTo>
                    <a:pt x="87" y="771"/>
                  </a:lnTo>
                  <a:lnTo>
                    <a:pt x="87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0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2" y="771"/>
                  </a:lnTo>
                  <a:lnTo>
                    <a:pt x="90" y="773"/>
                  </a:lnTo>
                  <a:lnTo>
                    <a:pt x="90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2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4" y="771"/>
                  </a:lnTo>
                  <a:lnTo>
                    <a:pt x="96" y="773"/>
                  </a:lnTo>
                  <a:lnTo>
                    <a:pt x="94" y="773"/>
                  </a:lnTo>
                  <a:lnTo>
                    <a:pt x="96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3"/>
                  </a:lnTo>
                  <a:lnTo>
                    <a:pt x="94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6"/>
                  </a:lnTo>
                  <a:lnTo>
                    <a:pt x="92" y="778"/>
                  </a:lnTo>
                  <a:lnTo>
                    <a:pt x="92" y="778"/>
                  </a:lnTo>
                  <a:lnTo>
                    <a:pt x="92" y="778"/>
                  </a:lnTo>
                  <a:lnTo>
                    <a:pt x="92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8"/>
                  </a:lnTo>
                  <a:lnTo>
                    <a:pt x="90" y="776"/>
                  </a:lnTo>
                  <a:lnTo>
                    <a:pt x="90" y="776"/>
                  </a:lnTo>
                  <a:lnTo>
                    <a:pt x="90" y="776"/>
                  </a:lnTo>
                  <a:lnTo>
                    <a:pt x="90" y="776"/>
                  </a:lnTo>
                  <a:lnTo>
                    <a:pt x="87" y="776"/>
                  </a:lnTo>
                  <a:lnTo>
                    <a:pt x="87" y="778"/>
                  </a:lnTo>
                  <a:lnTo>
                    <a:pt x="87" y="778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7" y="776"/>
                  </a:lnTo>
                  <a:lnTo>
                    <a:pt x="85" y="776"/>
                  </a:lnTo>
                  <a:lnTo>
                    <a:pt x="85" y="778"/>
                  </a:lnTo>
                  <a:lnTo>
                    <a:pt x="85" y="778"/>
                  </a:lnTo>
                  <a:lnTo>
                    <a:pt x="85" y="778"/>
                  </a:lnTo>
                  <a:lnTo>
                    <a:pt x="85" y="778"/>
                  </a:lnTo>
                  <a:lnTo>
                    <a:pt x="85" y="776"/>
                  </a:lnTo>
                  <a:lnTo>
                    <a:pt x="85" y="776"/>
                  </a:lnTo>
                  <a:lnTo>
                    <a:pt x="85" y="776"/>
                  </a:lnTo>
                  <a:lnTo>
                    <a:pt x="85" y="776"/>
                  </a:lnTo>
                  <a:lnTo>
                    <a:pt x="85" y="776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5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5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6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90" y="776"/>
                  </a:lnTo>
                  <a:lnTo>
                    <a:pt x="90" y="776"/>
                  </a:lnTo>
                  <a:lnTo>
                    <a:pt x="90" y="776"/>
                  </a:lnTo>
                  <a:lnTo>
                    <a:pt x="90" y="773"/>
                  </a:lnTo>
                  <a:lnTo>
                    <a:pt x="90" y="773"/>
                  </a:lnTo>
                  <a:lnTo>
                    <a:pt x="90" y="773"/>
                  </a:lnTo>
                  <a:lnTo>
                    <a:pt x="90" y="773"/>
                  </a:lnTo>
                  <a:lnTo>
                    <a:pt x="90" y="771"/>
                  </a:lnTo>
                  <a:lnTo>
                    <a:pt x="90" y="773"/>
                  </a:lnTo>
                  <a:lnTo>
                    <a:pt x="87" y="773"/>
                  </a:lnTo>
                  <a:lnTo>
                    <a:pt x="87" y="773"/>
                  </a:lnTo>
                  <a:lnTo>
                    <a:pt x="87" y="771"/>
                  </a:lnTo>
                  <a:lnTo>
                    <a:pt x="87" y="771"/>
                  </a:lnTo>
                  <a:lnTo>
                    <a:pt x="87" y="771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5" y="771"/>
                  </a:lnTo>
                  <a:lnTo>
                    <a:pt x="83" y="771"/>
                  </a:lnTo>
                  <a:lnTo>
                    <a:pt x="83" y="771"/>
                  </a:lnTo>
                  <a:lnTo>
                    <a:pt x="83" y="769"/>
                  </a:lnTo>
                  <a:lnTo>
                    <a:pt x="83" y="769"/>
                  </a:lnTo>
                  <a:lnTo>
                    <a:pt x="83" y="769"/>
                  </a:lnTo>
                  <a:lnTo>
                    <a:pt x="83" y="769"/>
                  </a:lnTo>
                  <a:lnTo>
                    <a:pt x="83" y="769"/>
                  </a:lnTo>
                  <a:lnTo>
                    <a:pt x="83" y="769"/>
                  </a:lnTo>
                  <a:lnTo>
                    <a:pt x="83" y="769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5" y="769"/>
                  </a:lnTo>
                  <a:lnTo>
                    <a:pt x="85" y="769"/>
                  </a:lnTo>
                  <a:close/>
                  <a:moveTo>
                    <a:pt x="81" y="760"/>
                  </a:moveTo>
                  <a:lnTo>
                    <a:pt x="81" y="760"/>
                  </a:lnTo>
                  <a:lnTo>
                    <a:pt x="81" y="762"/>
                  </a:lnTo>
                  <a:lnTo>
                    <a:pt x="81" y="762"/>
                  </a:lnTo>
                  <a:lnTo>
                    <a:pt x="81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4"/>
                  </a:lnTo>
                  <a:lnTo>
                    <a:pt x="85" y="764"/>
                  </a:lnTo>
                  <a:lnTo>
                    <a:pt x="85" y="764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3" y="764"/>
                  </a:lnTo>
                  <a:lnTo>
                    <a:pt x="83" y="764"/>
                  </a:lnTo>
                  <a:lnTo>
                    <a:pt x="83" y="764"/>
                  </a:lnTo>
                  <a:lnTo>
                    <a:pt x="83" y="764"/>
                  </a:lnTo>
                  <a:lnTo>
                    <a:pt x="83" y="767"/>
                  </a:lnTo>
                  <a:lnTo>
                    <a:pt x="83" y="767"/>
                  </a:lnTo>
                  <a:lnTo>
                    <a:pt x="85" y="767"/>
                  </a:lnTo>
                  <a:lnTo>
                    <a:pt x="85" y="767"/>
                  </a:lnTo>
                  <a:lnTo>
                    <a:pt x="83" y="767"/>
                  </a:lnTo>
                  <a:lnTo>
                    <a:pt x="83" y="767"/>
                  </a:lnTo>
                  <a:lnTo>
                    <a:pt x="83" y="767"/>
                  </a:lnTo>
                  <a:lnTo>
                    <a:pt x="83" y="767"/>
                  </a:lnTo>
                  <a:lnTo>
                    <a:pt x="81" y="764"/>
                  </a:lnTo>
                  <a:lnTo>
                    <a:pt x="81" y="764"/>
                  </a:lnTo>
                  <a:lnTo>
                    <a:pt x="81" y="764"/>
                  </a:lnTo>
                  <a:lnTo>
                    <a:pt x="81" y="762"/>
                  </a:lnTo>
                  <a:lnTo>
                    <a:pt x="81" y="762"/>
                  </a:lnTo>
                  <a:lnTo>
                    <a:pt x="81" y="762"/>
                  </a:lnTo>
                  <a:lnTo>
                    <a:pt x="81" y="764"/>
                  </a:lnTo>
                  <a:lnTo>
                    <a:pt x="81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8" y="764"/>
                  </a:lnTo>
                  <a:lnTo>
                    <a:pt x="76" y="764"/>
                  </a:lnTo>
                  <a:lnTo>
                    <a:pt x="76" y="764"/>
                  </a:lnTo>
                  <a:lnTo>
                    <a:pt x="76" y="764"/>
                  </a:lnTo>
                  <a:lnTo>
                    <a:pt x="78" y="762"/>
                  </a:lnTo>
                  <a:lnTo>
                    <a:pt x="78" y="762"/>
                  </a:lnTo>
                  <a:lnTo>
                    <a:pt x="78" y="762"/>
                  </a:lnTo>
                  <a:lnTo>
                    <a:pt x="78" y="762"/>
                  </a:lnTo>
                  <a:lnTo>
                    <a:pt x="78" y="762"/>
                  </a:lnTo>
                  <a:lnTo>
                    <a:pt x="78" y="762"/>
                  </a:lnTo>
                  <a:lnTo>
                    <a:pt x="78" y="762"/>
                  </a:lnTo>
                  <a:lnTo>
                    <a:pt x="76" y="762"/>
                  </a:lnTo>
                  <a:lnTo>
                    <a:pt x="76" y="762"/>
                  </a:lnTo>
                  <a:lnTo>
                    <a:pt x="76" y="760"/>
                  </a:lnTo>
                  <a:lnTo>
                    <a:pt x="76" y="760"/>
                  </a:lnTo>
                  <a:lnTo>
                    <a:pt x="76" y="760"/>
                  </a:lnTo>
                  <a:lnTo>
                    <a:pt x="76" y="760"/>
                  </a:lnTo>
                  <a:lnTo>
                    <a:pt x="76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78" y="760"/>
                  </a:lnTo>
                  <a:lnTo>
                    <a:pt x="81" y="760"/>
                  </a:lnTo>
                  <a:lnTo>
                    <a:pt x="78" y="760"/>
                  </a:lnTo>
                  <a:lnTo>
                    <a:pt x="81" y="760"/>
                  </a:lnTo>
                  <a:lnTo>
                    <a:pt x="81" y="760"/>
                  </a:lnTo>
                  <a:close/>
                  <a:moveTo>
                    <a:pt x="76" y="758"/>
                  </a:move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4" y="758"/>
                  </a:lnTo>
                  <a:lnTo>
                    <a:pt x="74" y="758"/>
                  </a:lnTo>
                  <a:lnTo>
                    <a:pt x="74" y="756"/>
                  </a:lnTo>
                  <a:lnTo>
                    <a:pt x="74" y="756"/>
                  </a:lnTo>
                  <a:lnTo>
                    <a:pt x="76" y="756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lnTo>
                    <a:pt x="76" y="758"/>
                  </a:lnTo>
                  <a:close/>
                  <a:moveTo>
                    <a:pt x="96" y="760"/>
                  </a:moveTo>
                  <a:lnTo>
                    <a:pt x="96" y="760"/>
                  </a:lnTo>
                  <a:lnTo>
                    <a:pt x="96" y="760"/>
                  </a:lnTo>
                  <a:lnTo>
                    <a:pt x="96" y="760"/>
                  </a:lnTo>
                  <a:lnTo>
                    <a:pt x="96" y="760"/>
                  </a:lnTo>
                  <a:lnTo>
                    <a:pt x="96" y="758"/>
                  </a:lnTo>
                  <a:lnTo>
                    <a:pt x="96" y="758"/>
                  </a:lnTo>
                  <a:lnTo>
                    <a:pt x="96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9" y="758"/>
                  </a:lnTo>
                  <a:lnTo>
                    <a:pt x="99" y="758"/>
                  </a:lnTo>
                  <a:lnTo>
                    <a:pt x="99" y="758"/>
                  </a:lnTo>
                  <a:lnTo>
                    <a:pt x="99" y="758"/>
                  </a:lnTo>
                  <a:lnTo>
                    <a:pt x="99" y="758"/>
                  </a:lnTo>
                  <a:lnTo>
                    <a:pt x="99" y="760"/>
                  </a:lnTo>
                  <a:lnTo>
                    <a:pt x="99" y="760"/>
                  </a:lnTo>
                  <a:lnTo>
                    <a:pt x="96" y="760"/>
                  </a:lnTo>
                  <a:close/>
                  <a:moveTo>
                    <a:pt x="81" y="747"/>
                  </a:moveTo>
                  <a:lnTo>
                    <a:pt x="81" y="747"/>
                  </a:lnTo>
                  <a:lnTo>
                    <a:pt x="81" y="747"/>
                  </a:lnTo>
                  <a:lnTo>
                    <a:pt x="81" y="749"/>
                  </a:lnTo>
                  <a:lnTo>
                    <a:pt x="81" y="747"/>
                  </a:lnTo>
                  <a:lnTo>
                    <a:pt x="81" y="747"/>
                  </a:lnTo>
                  <a:lnTo>
                    <a:pt x="81" y="747"/>
                  </a:lnTo>
                  <a:lnTo>
                    <a:pt x="83" y="747"/>
                  </a:lnTo>
                  <a:lnTo>
                    <a:pt x="83" y="747"/>
                  </a:lnTo>
                  <a:lnTo>
                    <a:pt x="83" y="749"/>
                  </a:lnTo>
                  <a:lnTo>
                    <a:pt x="83" y="749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3" y="751"/>
                  </a:lnTo>
                  <a:lnTo>
                    <a:pt x="83" y="751"/>
                  </a:lnTo>
                  <a:lnTo>
                    <a:pt x="81" y="751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78" y="747"/>
                  </a:lnTo>
                  <a:lnTo>
                    <a:pt x="81" y="747"/>
                  </a:lnTo>
                  <a:close/>
                  <a:moveTo>
                    <a:pt x="74" y="747"/>
                  </a:move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9"/>
                  </a:lnTo>
                  <a:lnTo>
                    <a:pt x="76" y="749"/>
                  </a:lnTo>
                  <a:lnTo>
                    <a:pt x="76" y="749"/>
                  </a:lnTo>
                  <a:lnTo>
                    <a:pt x="76" y="749"/>
                  </a:lnTo>
                  <a:lnTo>
                    <a:pt x="76" y="749"/>
                  </a:lnTo>
                  <a:lnTo>
                    <a:pt x="76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4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69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51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2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9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4" y="747"/>
                  </a:lnTo>
                  <a:close/>
                  <a:moveTo>
                    <a:pt x="72" y="742"/>
                  </a:moveTo>
                  <a:lnTo>
                    <a:pt x="72" y="744"/>
                  </a:lnTo>
                  <a:lnTo>
                    <a:pt x="72" y="742"/>
                  </a:lnTo>
                  <a:lnTo>
                    <a:pt x="72" y="744"/>
                  </a:lnTo>
                  <a:lnTo>
                    <a:pt x="72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6" y="744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6" y="747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4"/>
                  </a:lnTo>
                  <a:lnTo>
                    <a:pt x="74" y="747"/>
                  </a:lnTo>
                  <a:lnTo>
                    <a:pt x="74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7"/>
                  </a:lnTo>
                  <a:lnTo>
                    <a:pt x="72" y="744"/>
                  </a:lnTo>
                  <a:lnTo>
                    <a:pt x="72" y="744"/>
                  </a:lnTo>
                  <a:lnTo>
                    <a:pt x="72" y="744"/>
                  </a:lnTo>
                  <a:lnTo>
                    <a:pt x="72" y="744"/>
                  </a:lnTo>
                  <a:lnTo>
                    <a:pt x="72" y="744"/>
                  </a:lnTo>
                  <a:lnTo>
                    <a:pt x="72" y="747"/>
                  </a:lnTo>
                  <a:lnTo>
                    <a:pt x="69" y="747"/>
                  </a:lnTo>
                  <a:lnTo>
                    <a:pt x="69" y="747"/>
                  </a:lnTo>
                  <a:lnTo>
                    <a:pt x="69" y="744"/>
                  </a:lnTo>
                  <a:lnTo>
                    <a:pt x="69" y="744"/>
                  </a:lnTo>
                  <a:lnTo>
                    <a:pt x="67" y="744"/>
                  </a:lnTo>
                  <a:lnTo>
                    <a:pt x="67" y="744"/>
                  </a:lnTo>
                  <a:lnTo>
                    <a:pt x="67" y="744"/>
                  </a:lnTo>
                  <a:lnTo>
                    <a:pt x="67" y="744"/>
                  </a:lnTo>
                  <a:lnTo>
                    <a:pt x="67" y="742"/>
                  </a:lnTo>
                  <a:lnTo>
                    <a:pt x="67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69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69" y="744"/>
                  </a:lnTo>
                  <a:lnTo>
                    <a:pt x="69" y="744"/>
                  </a:lnTo>
                  <a:lnTo>
                    <a:pt x="69" y="744"/>
                  </a:lnTo>
                  <a:lnTo>
                    <a:pt x="72" y="744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lnTo>
                    <a:pt x="72" y="742"/>
                  </a:lnTo>
                  <a:close/>
                  <a:moveTo>
                    <a:pt x="78" y="744"/>
                  </a:move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7"/>
                  </a:lnTo>
                  <a:lnTo>
                    <a:pt x="76" y="747"/>
                  </a:lnTo>
                  <a:lnTo>
                    <a:pt x="76" y="744"/>
                  </a:lnTo>
                  <a:lnTo>
                    <a:pt x="76" y="744"/>
                  </a:lnTo>
                  <a:lnTo>
                    <a:pt x="76" y="744"/>
                  </a:lnTo>
                  <a:lnTo>
                    <a:pt x="76" y="744"/>
                  </a:lnTo>
                  <a:lnTo>
                    <a:pt x="76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6" y="742"/>
                  </a:lnTo>
                  <a:lnTo>
                    <a:pt x="76" y="742"/>
                  </a:lnTo>
                  <a:lnTo>
                    <a:pt x="78" y="742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78" y="744"/>
                  </a:lnTo>
                  <a:close/>
                  <a:moveTo>
                    <a:pt x="85" y="740"/>
                  </a:move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7" y="742"/>
                  </a:lnTo>
                  <a:lnTo>
                    <a:pt x="87" y="742"/>
                  </a:lnTo>
                  <a:lnTo>
                    <a:pt x="87" y="742"/>
                  </a:lnTo>
                  <a:lnTo>
                    <a:pt x="85" y="742"/>
                  </a:lnTo>
                  <a:lnTo>
                    <a:pt x="85" y="742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7" y="740"/>
                  </a:lnTo>
                  <a:lnTo>
                    <a:pt x="87" y="740"/>
                  </a:lnTo>
                  <a:lnTo>
                    <a:pt x="87" y="740"/>
                  </a:lnTo>
                  <a:lnTo>
                    <a:pt x="87" y="742"/>
                  </a:lnTo>
                  <a:lnTo>
                    <a:pt x="87" y="742"/>
                  </a:lnTo>
                  <a:lnTo>
                    <a:pt x="87" y="742"/>
                  </a:lnTo>
                  <a:lnTo>
                    <a:pt x="87" y="744"/>
                  </a:lnTo>
                  <a:lnTo>
                    <a:pt x="87" y="744"/>
                  </a:lnTo>
                  <a:lnTo>
                    <a:pt x="87" y="744"/>
                  </a:lnTo>
                  <a:lnTo>
                    <a:pt x="87" y="744"/>
                  </a:lnTo>
                  <a:lnTo>
                    <a:pt x="90" y="744"/>
                  </a:lnTo>
                  <a:lnTo>
                    <a:pt x="90" y="744"/>
                  </a:lnTo>
                  <a:lnTo>
                    <a:pt x="90" y="744"/>
                  </a:lnTo>
                  <a:lnTo>
                    <a:pt x="90" y="744"/>
                  </a:lnTo>
                  <a:lnTo>
                    <a:pt x="90" y="747"/>
                  </a:lnTo>
                  <a:lnTo>
                    <a:pt x="90" y="747"/>
                  </a:lnTo>
                  <a:lnTo>
                    <a:pt x="90" y="747"/>
                  </a:lnTo>
                  <a:lnTo>
                    <a:pt x="90" y="747"/>
                  </a:lnTo>
                  <a:lnTo>
                    <a:pt x="90" y="747"/>
                  </a:lnTo>
                  <a:lnTo>
                    <a:pt x="92" y="747"/>
                  </a:lnTo>
                  <a:lnTo>
                    <a:pt x="92" y="749"/>
                  </a:lnTo>
                  <a:lnTo>
                    <a:pt x="92" y="749"/>
                  </a:lnTo>
                  <a:lnTo>
                    <a:pt x="92" y="749"/>
                  </a:lnTo>
                  <a:lnTo>
                    <a:pt x="92" y="751"/>
                  </a:lnTo>
                  <a:lnTo>
                    <a:pt x="92" y="751"/>
                  </a:lnTo>
                  <a:lnTo>
                    <a:pt x="92" y="751"/>
                  </a:lnTo>
                  <a:lnTo>
                    <a:pt x="92" y="751"/>
                  </a:lnTo>
                  <a:lnTo>
                    <a:pt x="92" y="751"/>
                  </a:lnTo>
                  <a:lnTo>
                    <a:pt x="92" y="751"/>
                  </a:lnTo>
                  <a:lnTo>
                    <a:pt x="94" y="751"/>
                  </a:lnTo>
                  <a:lnTo>
                    <a:pt x="94" y="753"/>
                  </a:lnTo>
                  <a:lnTo>
                    <a:pt x="94" y="753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58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4" y="762"/>
                  </a:lnTo>
                  <a:lnTo>
                    <a:pt x="94" y="762"/>
                  </a:lnTo>
                  <a:lnTo>
                    <a:pt x="94" y="762"/>
                  </a:lnTo>
                  <a:lnTo>
                    <a:pt x="94" y="762"/>
                  </a:lnTo>
                  <a:lnTo>
                    <a:pt x="94" y="762"/>
                  </a:lnTo>
                  <a:lnTo>
                    <a:pt x="94" y="762"/>
                  </a:lnTo>
                  <a:lnTo>
                    <a:pt x="94" y="762"/>
                  </a:lnTo>
                  <a:lnTo>
                    <a:pt x="96" y="762"/>
                  </a:lnTo>
                  <a:lnTo>
                    <a:pt x="94" y="760"/>
                  </a:lnTo>
                  <a:lnTo>
                    <a:pt x="94" y="760"/>
                  </a:lnTo>
                  <a:lnTo>
                    <a:pt x="96" y="760"/>
                  </a:lnTo>
                  <a:lnTo>
                    <a:pt x="96" y="760"/>
                  </a:lnTo>
                  <a:lnTo>
                    <a:pt x="96" y="760"/>
                  </a:lnTo>
                  <a:lnTo>
                    <a:pt x="96" y="760"/>
                  </a:lnTo>
                  <a:lnTo>
                    <a:pt x="96" y="760"/>
                  </a:lnTo>
                  <a:lnTo>
                    <a:pt x="96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9" y="762"/>
                  </a:lnTo>
                  <a:lnTo>
                    <a:pt x="96" y="762"/>
                  </a:lnTo>
                  <a:lnTo>
                    <a:pt x="96" y="762"/>
                  </a:lnTo>
                  <a:lnTo>
                    <a:pt x="96" y="762"/>
                  </a:lnTo>
                  <a:lnTo>
                    <a:pt x="96" y="762"/>
                  </a:lnTo>
                  <a:lnTo>
                    <a:pt x="96" y="762"/>
                  </a:lnTo>
                  <a:lnTo>
                    <a:pt x="96" y="762"/>
                  </a:lnTo>
                  <a:lnTo>
                    <a:pt x="96" y="762"/>
                  </a:lnTo>
                  <a:lnTo>
                    <a:pt x="99" y="764"/>
                  </a:lnTo>
                  <a:lnTo>
                    <a:pt x="99" y="764"/>
                  </a:lnTo>
                  <a:lnTo>
                    <a:pt x="99" y="764"/>
                  </a:lnTo>
                  <a:lnTo>
                    <a:pt x="99" y="764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4"/>
                  </a:lnTo>
                  <a:lnTo>
                    <a:pt x="99" y="764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6" y="764"/>
                  </a:lnTo>
                  <a:lnTo>
                    <a:pt x="96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7"/>
                  </a:lnTo>
                  <a:lnTo>
                    <a:pt x="99" y="769"/>
                  </a:lnTo>
                  <a:lnTo>
                    <a:pt x="99" y="769"/>
                  </a:lnTo>
                  <a:lnTo>
                    <a:pt x="99" y="767"/>
                  </a:lnTo>
                  <a:lnTo>
                    <a:pt x="96" y="767"/>
                  </a:lnTo>
                  <a:lnTo>
                    <a:pt x="96" y="767"/>
                  </a:lnTo>
                  <a:lnTo>
                    <a:pt x="99" y="769"/>
                  </a:lnTo>
                  <a:lnTo>
                    <a:pt x="99" y="769"/>
                  </a:lnTo>
                  <a:lnTo>
                    <a:pt x="99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6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2" y="769"/>
                  </a:lnTo>
                  <a:lnTo>
                    <a:pt x="94" y="769"/>
                  </a:lnTo>
                  <a:lnTo>
                    <a:pt x="94" y="769"/>
                  </a:lnTo>
                  <a:lnTo>
                    <a:pt x="92" y="769"/>
                  </a:lnTo>
                  <a:lnTo>
                    <a:pt x="92" y="769"/>
                  </a:lnTo>
                  <a:lnTo>
                    <a:pt x="92" y="769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6" y="767"/>
                  </a:lnTo>
                  <a:lnTo>
                    <a:pt x="96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4" y="767"/>
                  </a:lnTo>
                  <a:lnTo>
                    <a:pt x="92" y="767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0" y="767"/>
                  </a:lnTo>
                  <a:lnTo>
                    <a:pt x="90" y="767"/>
                  </a:lnTo>
                  <a:lnTo>
                    <a:pt x="90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2" y="767"/>
                  </a:lnTo>
                  <a:lnTo>
                    <a:pt x="94" y="764"/>
                  </a:lnTo>
                  <a:lnTo>
                    <a:pt x="94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2" y="764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87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2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2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90" y="760"/>
                  </a:lnTo>
                  <a:lnTo>
                    <a:pt x="87" y="760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8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2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3"/>
                  </a:lnTo>
                  <a:lnTo>
                    <a:pt x="90" y="753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87" y="756"/>
                  </a:lnTo>
                  <a:lnTo>
                    <a:pt x="87" y="756"/>
                  </a:lnTo>
                  <a:lnTo>
                    <a:pt x="87" y="756"/>
                  </a:lnTo>
                  <a:lnTo>
                    <a:pt x="87" y="756"/>
                  </a:lnTo>
                  <a:lnTo>
                    <a:pt x="87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90" y="756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7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58"/>
                  </a:lnTo>
                  <a:lnTo>
                    <a:pt x="85" y="760"/>
                  </a:lnTo>
                  <a:lnTo>
                    <a:pt x="85" y="760"/>
                  </a:lnTo>
                  <a:lnTo>
                    <a:pt x="85" y="760"/>
                  </a:lnTo>
                  <a:lnTo>
                    <a:pt x="85" y="760"/>
                  </a:lnTo>
                  <a:lnTo>
                    <a:pt x="85" y="760"/>
                  </a:lnTo>
                  <a:lnTo>
                    <a:pt x="85" y="760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87" y="760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4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2"/>
                  </a:lnTo>
                  <a:lnTo>
                    <a:pt x="87" y="764"/>
                  </a:lnTo>
                  <a:lnTo>
                    <a:pt x="90" y="764"/>
                  </a:lnTo>
                  <a:lnTo>
                    <a:pt x="90" y="764"/>
                  </a:lnTo>
                  <a:lnTo>
                    <a:pt x="87" y="764"/>
                  </a:lnTo>
                  <a:lnTo>
                    <a:pt x="87" y="764"/>
                  </a:lnTo>
                  <a:lnTo>
                    <a:pt x="87" y="764"/>
                  </a:lnTo>
                  <a:lnTo>
                    <a:pt x="87" y="764"/>
                  </a:lnTo>
                  <a:lnTo>
                    <a:pt x="87" y="764"/>
                  </a:lnTo>
                  <a:lnTo>
                    <a:pt x="87" y="764"/>
                  </a:lnTo>
                  <a:lnTo>
                    <a:pt x="87" y="764"/>
                  </a:lnTo>
                  <a:lnTo>
                    <a:pt x="90" y="767"/>
                  </a:lnTo>
                  <a:lnTo>
                    <a:pt x="90" y="767"/>
                  </a:lnTo>
                  <a:lnTo>
                    <a:pt x="87" y="767"/>
                  </a:lnTo>
                  <a:lnTo>
                    <a:pt x="87" y="767"/>
                  </a:lnTo>
                  <a:lnTo>
                    <a:pt x="87" y="767"/>
                  </a:lnTo>
                  <a:lnTo>
                    <a:pt x="87" y="767"/>
                  </a:lnTo>
                  <a:lnTo>
                    <a:pt x="87" y="767"/>
                  </a:lnTo>
                  <a:lnTo>
                    <a:pt x="85" y="767"/>
                  </a:lnTo>
                  <a:lnTo>
                    <a:pt x="85" y="764"/>
                  </a:lnTo>
                  <a:lnTo>
                    <a:pt x="85" y="764"/>
                  </a:lnTo>
                  <a:lnTo>
                    <a:pt x="85" y="764"/>
                  </a:lnTo>
                  <a:lnTo>
                    <a:pt x="83" y="764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2"/>
                  </a:lnTo>
                  <a:lnTo>
                    <a:pt x="83" y="760"/>
                  </a:lnTo>
                  <a:lnTo>
                    <a:pt x="83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60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81" y="758"/>
                  </a:lnTo>
                  <a:lnTo>
                    <a:pt x="78" y="758"/>
                  </a:lnTo>
                  <a:lnTo>
                    <a:pt x="78" y="758"/>
                  </a:lnTo>
                  <a:lnTo>
                    <a:pt x="78" y="758"/>
                  </a:lnTo>
                  <a:lnTo>
                    <a:pt x="78" y="758"/>
                  </a:lnTo>
                  <a:lnTo>
                    <a:pt x="78" y="758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8" y="756"/>
                  </a:lnTo>
                  <a:lnTo>
                    <a:pt x="76" y="756"/>
                  </a:lnTo>
                  <a:lnTo>
                    <a:pt x="76" y="756"/>
                  </a:lnTo>
                  <a:lnTo>
                    <a:pt x="76" y="756"/>
                  </a:lnTo>
                  <a:lnTo>
                    <a:pt x="76" y="756"/>
                  </a:lnTo>
                  <a:lnTo>
                    <a:pt x="76" y="756"/>
                  </a:lnTo>
                  <a:lnTo>
                    <a:pt x="76" y="756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6" y="753"/>
                  </a:lnTo>
                  <a:lnTo>
                    <a:pt x="78" y="753"/>
                  </a:lnTo>
                  <a:lnTo>
                    <a:pt x="78" y="756"/>
                  </a:lnTo>
                  <a:lnTo>
                    <a:pt x="81" y="758"/>
                  </a:lnTo>
                  <a:lnTo>
                    <a:pt x="83" y="758"/>
                  </a:lnTo>
                  <a:lnTo>
                    <a:pt x="83" y="758"/>
                  </a:lnTo>
                  <a:lnTo>
                    <a:pt x="81" y="756"/>
                  </a:lnTo>
                  <a:lnTo>
                    <a:pt x="81" y="756"/>
                  </a:lnTo>
                  <a:lnTo>
                    <a:pt x="81" y="756"/>
                  </a:lnTo>
                  <a:lnTo>
                    <a:pt x="81" y="756"/>
                  </a:lnTo>
                  <a:lnTo>
                    <a:pt x="81" y="756"/>
                  </a:lnTo>
                  <a:lnTo>
                    <a:pt x="78" y="756"/>
                  </a:lnTo>
                  <a:lnTo>
                    <a:pt x="78" y="753"/>
                  </a:lnTo>
                  <a:lnTo>
                    <a:pt x="78" y="753"/>
                  </a:lnTo>
                  <a:lnTo>
                    <a:pt x="78" y="753"/>
                  </a:lnTo>
                  <a:lnTo>
                    <a:pt x="78" y="753"/>
                  </a:lnTo>
                  <a:lnTo>
                    <a:pt x="78" y="753"/>
                  </a:lnTo>
                  <a:lnTo>
                    <a:pt x="76" y="751"/>
                  </a:lnTo>
                  <a:lnTo>
                    <a:pt x="78" y="751"/>
                  </a:lnTo>
                  <a:lnTo>
                    <a:pt x="78" y="751"/>
                  </a:lnTo>
                  <a:lnTo>
                    <a:pt x="78" y="751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6"/>
                  </a:lnTo>
                  <a:lnTo>
                    <a:pt x="81" y="756"/>
                  </a:lnTo>
                  <a:lnTo>
                    <a:pt x="83" y="756"/>
                  </a:lnTo>
                  <a:lnTo>
                    <a:pt x="83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3"/>
                  </a:lnTo>
                  <a:lnTo>
                    <a:pt x="81" y="751"/>
                  </a:lnTo>
                  <a:lnTo>
                    <a:pt x="83" y="751"/>
                  </a:lnTo>
                  <a:lnTo>
                    <a:pt x="83" y="751"/>
                  </a:lnTo>
                  <a:lnTo>
                    <a:pt x="83" y="751"/>
                  </a:lnTo>
                  <a:lnTo>
                    <a:pt x="83" y="751"/>
                  </a:lnTo>
                  <a:lnTo>
                    <a:pt x="81" y="751"/>
                  </a:lnTo>
                  <a:lnTo>
                    <a:pt x="81" y="751"/>
                  </a:lnTo>
                  <a:lnTo>
                    <a:pt x="81" y="751"/>
                  </a:lnTo>
                  <a:lnTo>
                    <a:pt x="81" y="751"/>
                  </a:lnTo>
                  <a:lnTo>
                    <a:pt x="83" y="751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3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51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5" y="749"/>
                  </a:lnTo>
                  <a:lnTo>
                    <a:pt x="81" y="747"/>
                  </a:lnTo>
                  <a:lnTo>
                    <a:pt x="83" y="747"/>
                  </a:lnTo>
                  <a:lnTo>
                    <a:pt x="83" y="744"/>
                  </a:lnTo>
                  <a:lnTo>
                    <a:pt x="83" y="744"/>
                  </a:lnTo>
                  <a:lnTo>
                    <a:pt x="85" y="747"/>
                  </a:lnTo>
                  <a:lnTo>
                    <a:pt x="83" y="744"/>
                  </a:lnTo>
                  <a:lnTo>
                    <a:pt x="83" y="744"/>
                  </a:lnTo>
                  <a:lnTo>
                    <a:pt x="83" y="744"/>
                  </a:lnTo>
                  <a:lnTo>
                    <a:pt x="83" y="744"/>
                  </a:lnTo>
                  <a:lnTo>
                    <a:pt x="83" y="744"/>
                  </a:lnTo>
                  <a:lnTo>
                    <a:pt x="81" y="747"/>
                  </a:lnTo>
                  <a:lnTo>
                    <a:pt x="81" y="747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78" y="744"/>
                  </a:lnTo>
                  <a:lnTo>
                    <a:pt x="78" y="744"/>
                  </a:lnTo>
                  <a:lnTo>
                    <a:pt x="81" y="744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78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81" y="742"/>
                  </a:lnTo>
                  <a:lnTo>
                    <a:pt x="78" y="742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81" y="740"/>
                  </a:lnTo>
                  <a:lnTo>
                    <a:pt x="81" y="740"/>
                  </a:lnTo>
                  <a:lnTo>
                    <a:pt x="81" y="740"/>
                  </a:lnTo>
                  <a:lnTo>
                    <a:pt x="81" y="738"/>
                  </a:lnTo>
                  <a:lnTo>
                    <a:pt x="81" y="740"/>
                  </a:lnTo>
                  <a:lnTo>
                    <a:pt x="83" y="740"/>
                  </a:lnTo>
                  <a:lnTo>
                    <a:pt x="83" y="740"/>
                  </a:lnTo>
                  <a:lnTo>
                    <a:pt x="83" y="740"/>
                  </a:lnTo>
                  <a:lnTo>
                    <a:pt x="83" y="740"/>
                  </a:lnTo>
                  <a:lnTo>
                    <a:pt x="81" y="740"/>
                  </a:lnTo>
                  <a:lnTo>
                    <a:pt x="81" y="740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40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40"/>
                  </a:lnTo>
                  <a:close/>
                  <a:moveTo>
                    <a:pt x="76" y="742"/>
                  </a:moveTo>
                  <a:lnTo>
                    <a:pt x="76" y="742"/>
                  </a:lnTo>
                  <a:lnTo>
                    <a:pt x="76" y="742"/>
                  </a:lnTo>
                  <a:lnTo>
                    <a:pt x="74" y="742"/>
                  </a:lnTo>
                  <a:lnTo>
                    <a:pt x="74" y="742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6" y="740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40"/>
                  </a:lnTo>
                  <a:lnTo>
                    <a:pt x="76" y="740"/>
                  </a:lnTo>
                  <a:lnTo>
                    <a:pt x="76" y="740"/>
                  </a:lnTo>
                  <a:lnTo>
                    <a:pt x="76" y="740"/>
                  </a:lnTo>
                  <a:lnTo>
                    <a:pt x="76" y="742"/>
                  </a:lnTo>
                  <a:lnTo>
                    <a:pt x="76" y="742"/>
                  </a:lnTo>
                  <a:lnTo>
                    <a:pt x="76" y="742"/>
                  </a:lnTo>
                  <a:close/>
                  <a:moveTo>
                    <a:pt x="78" y="738"/>
                  </a:moveTo>
                  <a:lnTo>
                    <a:pt x="78" y="738"/>
                  </a:lnTo>
                  <a:lnTo>
                    <a:pt x="78" y="738"/>
                  </a:lnTo>
                  <a:lnTo>
                    <a:pt x="81" y="738"/>
                  </a:lnTo>
                  <a:lnTo>
                    <a:pt x="81" y="738"/>
                  </a:lnTo>
                  <a:lnTo>
                    <a:pt x="81" y="738"/>
                  </a:lnTo>
                  <a:lnTo>
                    <a:pt x="81" y="738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40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6" y="738"/>
                  </a:lnTo>
                  <a:lnTo>
                    <a:pt x="78" y="738"/>
                  </a:lnTo>
                  <a:close/>
                  <a:moveTo>
                    <a:pt x="72" y="738"/>
                  </a:move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72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67" y="742"/>
                  </a:lnTo>
                  <a:lnTo>
                    <a:pt x="67" y="742"/>
                  </a:lnTo>
                  <a:lnTo>
                    <a:pt x="67" y="742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9" y="740"/>
                  </a:lnTo>
                  <a:lnTo>
                    <a:pt x="69" y="740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close/>
                  <a:moveTo>
                    <a:pt x="69" y="733"/>
                  </a:move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5"/>
                  </a:lnTo>
                  <a:lnTo>
                    <a:pt x="69" y="735"/>
                  </a:lnTo>
                  <a:lnTo>
                    <a:pt x="69" y="735"/>
                  </a:lnTo>
                  <a:lnTo>
                    <a:pt x="69" y="735"/>
                  </a:lnTo>
                  <a:lnTo>
                    <a:pt x="69" y="735"/>
                  </a:lnTo>
                  <a:lnTo>
                    <a:pt x="69" y="735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69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40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9" y="738"/>
                  </a:lnTo>
                  <a:lnTo>
                    <a:pt x="69" y="738"/>
                  </a:lnTo>
                  <a:lnTo>
                    <a:pt x="69" y="738"/>
                  </a:lnTo>
                  <a:lnTo>
                    <a:pt x="69" y="738"/>
                  </a:lnTo>
                  <a:lnTo>
                    <a:pt x="69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7" y="738"/>
                  </a:lnTo>
                  <a:lnTo>
                    <a:pt x="65" y="738"/>
                  </a:lnTo>
                  <a:lnTo>
                    <a:pt x="65" y="738"/>
                  </a:lnTo>
                  <a:lnTo>
                    <a:pt x="65" y="735"/>
                  </a:lnTo>
                  <a:lnTo>
                    <a:pt x="65" y="735"/>
                  </a:lnTo>
                  <a:lnTo>
                    <a:pt x="65" y="735"/>
                  </a:lnTo>
                  <a:lnTo>
                    <a:pt x="65" y="735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close/>
                  <a:moveTo>
                    <a:pt x="87" y="735"/>
                  </a:moveTo>
                  <a:lnTo>
                    <a:pt x="87" y="735"/>
                  </a:lnTo>
                  <a:lnTo>
                    <a:pt x="87" y="735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5" y="733"/>
                  </a:lnTo>
                  <a:lnTo>
                    <a:pt x="87" y="733"/>
                  </a:lnTo>
                  <a:lnTo>
                    <a:pt x="87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87" y="735"/>
                  </a:lnTo>
                  <a:lnTo>
                    <a:pt x="87" y="735"/>
                  </a:lnTo>
                  <a:close/>
                  <a:moveTo>
                    <a:pt x="94" y="733"/>
                  </a:moveTo>
                  <a:lnTo>
                    <a:pt x="94" y="733"/>
                  </a:lnTo>
                  <a:lnTo>
                    <a:pt x="92" y="733"/>
                  </a:lnTo>
                  <a:lnTo>
                    <a:pt x="92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2" y="733"/>
                  </a:lnTo>
                  <a:lnTo>
                    <a:pt x="92" y="733"/>
                  </a:lnTo>
                  <a:lnTo>
                    <a:pt x="92" y="733"/>
                  </a:lnTo>
                  <a:lnTo>
                    <a:pt x="94" y="733"/>
                  </a:lnTo>
                  <a:close/>
                  <a:moveTo>
                    <a:pt x="87" y="731"/>
                  </a:moveTo>
                  <a:lnTo>
                    <a:pt x="87" y="731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87" y="733"/>
                  </a:lnTo>
                  <a:lnTo>
                    <a:pt x="85" y="731"/>
                  </a:lnTo>
                  <a:lnTo>
                    <a:pt x="85" y="731"/>
                  </a:lnTo>
                  <a:lnTo>
                    <a:pt x="85" y="731"/>
                  </a:lnTo>
                  <a:lnTo>
                    <a:pt x="85" y="731"/>
                  </a:lnTo>
                  <a:lnTo>
                    <a:pt x="87" y="731"/>
                  </a:lnTo>
                  <a:lnTo>
                    <a:pt x="85" y="731"/>
                  </a:lnTo>
                  <a:lnTo>
                    <a:pt x="85" y="731"/>
                  </a:lnTo>
                  <a:lnTo>
                    <a:pt x="85" y="731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31"/>
                  </a:lnTo>
                  <a:lnTo>
                    <a:pt x="87" y="731"/>
                  </a:lnTo>
                  <a:lnTo>
                    <a:pt x="87" y="731"/>
                  </a:lnTo>
                  <a:close/>
                  <a:moveTo>
                    <a:pt x="78" y="729"/>
                  </a:moveTo>
                  <a:lnTo>
                    <a:pt x="78" y="729"/>
                  </a:lnTo>
                  <a:lnTo>
                    <a:pt x="78" y="729"/>
                  </a:lnTo>
                  <a:lnTo>
                    <a:pt x="78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31"/>
                  </a:lnTo>
                  <a:lnTo>
                    <a:pt x="81" y="731"/>
                  </a:lnTo>
                  <a:lnTo>
                    <a:pt x="81" y="731"/>
                  </a:lnTo>
                  <a:lnTo>
                    <a:pt x="83" y="731"/>
                  </a:lnTo>
                  <a:lnTo>
                    <a:pt x="83" y="731"/>
                  </a:lnTo>
                  <a:lnTo>
                    <a:pt x="83" y="733"/>
                  </a:lnTo>
                  <a:lnTo>
                    <a:pt x="83" y="733"/>
                  </a:lnTo>
                  <a:lnTo>
                    <a:pt x="83" y="733"/>
                  </a:lnTo>
                  <a:lnTo>
                    <a:pt x="81" y="733"/>
                  </a:lnTo>
                  <a:lnTo>
                    <a:pt x="83" y="733"/>
                  </a:lnTo>
                  <a:lnTo>
                    <a:pt x="83" y="733"/>
                  </a:lnTo>
                  <a:lnTo>
                    <a:pt x="83" y="733"/>
                  </a:lnTo>
                  <a:lnTo>
                    <a:pt x="83" y="733"/>
                  </a:lnTo>
                  <a:lnTo>
                    <a:pt x="83" y="735"/>
                  </a:lnTo>
                  <a:lnTo>
                    <a:pt x="83" y="735"/>
                  </a:lnTo>
                  <a:lnTo>
                    <a:pt x="85" y="735"/>
                  </a:lnTo>
                  <a:lnTo>
                    <a:pt x="85" y="735"/>
                  </a:lnTo>
                  <a:lnTo>
                    <a:pt x="85" y="738"/>
                  </a:lnTo>
                  <a:lnTo>
                    <a:pt x="85" y="738"/>
                  </a:lnTo>
                  <a:lnTo>
                    <a:pt x="85" y="738"/>
                  </a:lnTo>
                  <a:lnTo>
                    <a:pt x="85" y="735"/>
                  </a:lnTo>
                  <a:lnTo>
                    <a:pt x="85" y="735"/>
                  </a:lnTo>
                  <a:lnTo>
                    <a:pt x="85" y="735"/>
                  </a:lnTo>
                  <a:lnTo>
                    <a:pt x="87" y="735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85" y="738"/>
                  </a:lnTo>
                  <a:lnTo>
                    <a:pt x="85" y="738"/>
                  </a:lnTo>
                  <a:lnTo>
                    <a:pt x="85" y="740"/>
                  </a:lnTo>
                  <a:lnTo>
                    <a:pt x="85" y="740"/>
                  </a:lnTo>
                  <a:lnTo>
                    <a:pt x="85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3" y="738"/>
                  </a:lnTo>
                  <a:lnTo>
                    <a:pt x="81" y="738"/>
                  </a:lnTo>
                  <a:lnTo>
                    <a:pt x="81" y="738"/>
                  </a:lnTo>
                  <a:lnTo>
                    <a:pt x="81" y="738"/>
                  </a:lnTo>
                  <a:lnTo>
                    <a:pt x="81" y="738"/>
                  </a:lnTo>
                  <a:lnTo>
                    <a:pt x="78" y="738"/>
                  </a:lnTo>
                  <a:lnTo>
                    <a:pt x="78" y="738"/>
                  </a:lnTo>
                  <a:lnTo>
                    <a:pt x="76" y="738"/>
                  </a:lnTo>
                  <a:lnTo>
                    <a:pt x="76" y="735"/>
                  </a:lnTo>
                  <a:lnTo>
                    <a:pt x="76" y="735"/>
                  </a:lnTo>
                  <a:lnTo>
                    <a:pt x="76" y="735"/>
                  </a:lnTo>
                  <a:lnTo>
                    <a:pt x="76" y="735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8" y="733"/>
                  </a:lnTo>
                  <a:lnTo>
                    <a:pt x="78" y="733"/>
                  </a:lnTo>
                  <a:lnTo>
                    <a:pt x="78" y="731"/>
                  </a:lnTo>
                  <a:lnTo>
                    <a:pt x="78" y="731"/>
                  </a:lnTo>
                  <a:lnTo>
                    <a:pt x="78" y="733"/>
                  </a:lnTo>
                  <a:lnTo>
                    <a:pt x="78" y="733"/>
                  </a:lnTo>
                  <a:lnTo>
                    <a:pt x="78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81" y="733"/>
                  </a:lnTo>
                  <a:lnTo>
                    <a:pt x="78" y="731"/>
                  </a:lnTo>
                  <a:lnTo>
                    <a:pt x="78" y="731"/>
                  </a:lnTo>
                  <a:lnTo>
                    <a:pt x="78" y="729"/>
                  </a:lnTo>
                  <a:lnTo>
                    <a:pt x="78" y="729"/>
                  </a:lnTo>
                  <a:lnTo>
                    <a:pt x="78" y="729"/>
                  </a:lnTo>
                  <a:lnTo>
                    <a:pt x="78" y="729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6"/>
                  </a:lnTo>
                  <a:lnTo>
                    <a:pt x="78" y="729"/>
                  </a:lnTo>
                  <a:close/>
                  <a:moveTo>
                    <a:pt x="83" y="726"/>
                  </a:move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31"/>
                  </a:lnTo>
                  <a:lnTo>
                    <a:pt x="85" y="731"/>
                  </a:lnTo>
                  <a:lnTo>
                    <a:pt x="83" y="731"/>
                  </a:lnTo>
                  <a:lnTo>
                    <a:pt x="83" y="731"/>
                  </a:lnTo>
                  <a:lnTo>
                    <a:pt x="83" y="731"/>
                  </a:lnTo>
                  <a:lnTo>
                    <a:pt x="83" y="731"/>
                  </a:lnTo>
                  <a:lnTo>
                    <a:pt x="83" y="731"/>
                  </a:lnTo>
                  <a:lnTo>
                    <a:pt x="83" y="729"/>
                  </a:lnTo>
                  <a:lnTo>
                    <a:pt x="83" y="729"/>
                  </a:lnTo>
                  <a:lnTo>
                    <a:pt x="83" y="729"/>
                  </a:lnTo>
                  <a:lnTo>
                    <a:pt x="83" y="726"/>
                  </a:lnTo>
                  <a:lnTo>
                    <a:pt x="83" y="726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9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1" y="726"/>
                  </a:lnTo>
                  <a:lnTo>
                    <a:pt x="83" y="726"/>
                  </a:lnTo>
                  <a:lnTo>
                    <a:pt x="83" y="726"/>
                  </a:lnTo>
                  <a:lnTo>
                    <a:pt x="83" y="726"/>
                  </a:lnTo>
                  <a:lnTo>
                    <a:pt x="83" y="726"/>
                  </a:lnTo>
                  <a:close/>
                  <a:moveTo>
                    <a:pt x="69" y="724"/>
                  </a:moveTo>
                  <a:lnTo>
                    <a:pt x="72" y="726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4" y="726"/>
                  </a:lnTo>
                  <a:lnTo>
                    <a:pt x="74" y="726"/>
                  </a:lnTo>
                  <a:lnTo>
                    <a:pt x="76" y="726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6" y="726"/>
                  </a:lnTo>
                  <a:lnTo>
                    <a:pt x="76" y="726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6" y="729"/>
                  </a:lnTo>
                  <a:lnTo>
                    <a:pt x="78" y="731"/>
                  </a:lnTo>
                  <a:lnTo>
                    <a:pt x="78" y="731"/>
                  </a:lnTo>
                  <a:lnTo>
                    <a:pt x="78" y="731"/>
                  </a:lnTo>
                  <a:lnTo>
                    <a:pt x="78" y="731"/>
                  </a:lnTo>
                  <a:lnTo>
                    <a:pt x="78" y="731"/>
                  </a:lnTo>
                  <a:lnTo>
                    <a:pt x="76" y="731"/>
                  </a:lnTo>
                  <a:lnTo>
                    <a:pt x="76" y="731"/>
                  </a:lnTo>
                  <a:lnTo>
                    <a:pt x="76" y="731"/>
                  </a:lnTo>
                  <a:lnTo>
                    <a:pt x="76" y="731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6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1"/>
                  </a:lnTo>
                  <a:lnTo>
                    <a:pt x="74" y="731"/>
                  </a:lnTo>
                  <a:lnTo>
                    <a:pt x="74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72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9" y="726"/>
                  </a:lnTo>
                  <a:lnTo>
                    <a:pt x="67" y="726"/>
                  </a:lnTo>
                  <a:lnTo>
                    <a:pt x="67" y="726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9" y="724"/>
                  </a:lnTo>
                  <a:lnTo>
                    <a:pt x="69" y="724"/>
                  </a:lnTo>
                  <a:lnTo>
                    <a:pt x="69" y="724"/>
                  </a:lnTo>
                  <a:lnTo>
                    <a:pt x="69" y="724"/>
                  </a:lnTo>
                  <a:close/>
                  <a:moveTo>
                    <a:pt x="65" y="724"/>
                  </a:move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6"/>
                  </a:lnTo>
                  <a:lnTo>
                    <a:pt x="67" y="724"/>
                  </a:lnTo>
                  <a:lnTo>
                    <a:pt x="67" y="726"/>
                  </a:lnTo>
                  <a:lnTo>
                    <a:pt x="67" y="726"/>
                  </a:lnTo>
                  <a:lnTo>
                    <a:pt x="67" y="726"/>
                  </a:lnTo>
                  <a:lnTo>
                    <a:pt x="67" y="726"/>
                  </a:lnTo>
                  <a:lnTo>
                    <a:pt x="67" y="726"/>
                  </a:lnTo>
                  <a:lnTo>
                    <a:pt x="67" y="729"/>
                  </a:lnTo>
                  <a:lnTo>
                    <a:pt x="67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69" y="729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1"/>
                  </a:lnTo>
                  <a:lnTo>
                    <a:pt x="72" y="733"/>
                  </a:lnTo>
                  <a:lnTo>
                    <a:pt x="72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3"/>
                  </a:lnTo>
                  <a:lnTo>
                    <a:pt x="74" y="735"/>
                  </a:lnTo>
                  <a:lnTo>
                    <a:pt x="74" y="735"/>
                  </a:lnTo>
                  <a:lnTo>
                    <a:pt x="74" y="735"/>
                  </a:lnTo>
                  <a:lnTo>
                    <a:pt x="74" y="735"/>
                  </a:lnTo>
                  <a:lnTo>
                    <a:pt x="74" y="735"/>
                  </a:lnTo>
                  <a:lnTo>
                    <a:pt x="76" y="735"/>
                  </a:lnTo>
                  <a:lnTo>
                    <a:pt x="76" y="735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6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40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4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8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72" y="735"/>
                  </a:lnTo>
                  <a:lnTo>
                    <a:pt x="69" y="735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3"/>
                  </a:lnTo>
                  <a:lnTo>
                    <a:pt x="69" y="731"/>
                  </a:lnTo>
                  <a:lnTo>
                    <a:pt x="69" y="731"/>
                  </a:lnTo>
                  <a:lnTo>
                    <a:pt x="69" y="731"/>
                  </a:lnTo>
                  <a:lnTo>
                    <a:pt x="69" y="731"/>
                  </a:lnTo>
                  <a:lnTo>
                    <a:pt x="69" y="731"/>
                  </a:lnTo>
                  <a:lnTo>
                    <a:pt x="69" y="731"/>
                  </a:lnTo>
                  <a:lnTo>
                    <a:pt x="69" y="731"/>
                  </a:lnTo>
                  <a:lnTo>
                    <a:pt x="67" y="731"/>
                  </a:lnTo>
                  <a:lnTo>
                    <a:pt x="67" y="731"/>
                  </a:lnTo>
                  <a:lnTo>
                    <a:pt x="67" y="731"/>
                  </a:lnTo>
                  <a:lnTo>
                    <a:pt x="67" y="731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7" y="733"/>
                  </a:lnTo>
                  <a:lnTo>
                    <a:pt x="65" y="733"/>
                  </a:lnTo>
                  <a:lnTo>
                    <a:pt x="65" y="733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7" y="731"/>
                  </a:lnTo>
                  <a:lnTo>
                    <a:pt x="67" y="731"/>
                  </a:lnTo>
                  <a:lnTo>
                    <a:pt x="67" y="731"/>
                  </a:lnTo>
                  <a:lnTo>
                    <a:pt x="67" y="729"/>
                  </a:lnTo>
                  <a:lnTo>
                    <a:pt x="67" y="729"/>
                  </a:lnTo>
                  <a:lnTo>
                    <a:pt x="67" y="729"/>
                  </a:lnTo>
                  <a:lnTo>
                    <a:pt x="67" y="729"/>
                  </a:lnTo>
                  <a:lnTo>
                    <a:pt x="67" y="731"/>
                  </a:lnTo>
                  <a:lnTo>
                    <a:pt x="67" y="731"/>
                  </a:lnTo>
                  <a:lnTo>
                    <a:pt x="67" y="729"/>
                  </a:lnTo>
                  <a:lnTo>
                    <a:pt x="67" y="729"/>
                  </a:lnTo>
                  <a:lnTo>
                    <a:pt x="67" y="729"/>
                  </a:lnTo>
                  <a:lnTo>
                    <a:pt x="67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29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31"/>
                  </a:lnTo>
                  <a:lnTo>
                    <a:pt x="65" y="729"/>
                  </a:lnTo>
                  <a:lnTo>
                    <a:pt x="65" y="729"/>
                  </a:lnTo>
                  <a:lnTo>
                    <a:pt x="65" y="729"/>
                  </a:lnTo>
                  <a:lnTo>
                    <a:pt x="65" y="729"/>
                  </a:lnTo>
                  <a:lnTo>
                    <a:pt x="65" y="729"/>
                  </a:lnTo>
                  <a:lnTo>
                    <a:pt x="65" y="726"/>
                  </a:lnTo>
                  <a:lnTo>
                    <a:pt x="65" y="726"/>
                  </a:lnTo>
                  <a:lnTo>
                    <a:pt x="65" y="729"/>
                  </a:lnTo>
                  <a:lnTo>
                    <a:pt x="65" y="729"/>
                  </a:lnTo>
                  <a:lnTo>
                    <a:pt x="65" y="729"/>
                  </a:lnTo>
                  <a:lnTo>
                    <a:pt x="63" y="729"/>
                  </a:lnTo>
                  <a:lnTo>
                    <a:pt x="63" y="729"/>
                  </a:lnTo>
                  <a:lnTo>
                    <a:pt x="63" y="729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6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3" y="724"/>
                  </a:lnTo>
                  <a:lnTo>
                    <a:pt x="65" y="724"/>
                  </a:lnTo>
                  <a:lnTo>
                    <a:pt x="65" y="724"/>
                  </a:lnTo>
                  <a:lnTo>
                    <a:pt x="65" y="724"/>
                  </a:lnTo>
                  <a:lnTo>
                    <a:pt x="65" y="722"/>
                  </a:lnTo>
                  <a:lnTo>
                    <a:pt x="65" y="722"/>
                  </a:lnTo>
                  <a:lnTo>
                    <a:pt x="65" y="724"/>
                  </a:lnTo>
                  <a:lnTo>
                    <a:pt x="65" y="724"/>
                  </a:lnTo>
                  <a:lnTo>
                    <a:pt x="65" y="724"/>
                  </a:lnTo>
                  <a:lnTo>
                    <a:pt x="65" y="724"/>
                  </a:lnTo>
                  <a:close/>
                  <a:moveTo>
                    <a:pt x="74" y="717"/>
                  </a:moveTo>
                  <a:lnTo>
                    <a:pt x="74" y="720"/>
                  </a:lnTo>
                  <a:lnTo>
                    <a:pt x="74" y="720"/>
                  </a:lnTo>
                  <a:lnTo>
                    <a:pt x="74" y="720"/>
                  </a:lnTo>
                  <a:lnTo>
                    <a:pt x="74" y="720"/>
                  </a:lnTo>
                  <a:lnTo>
                    <a:pt x="74" y="720"/>
                  </a:lnTo>
                  <a:lnTo>
                    <a:pt x="74" y="720"/>
                  </a:lnTo>
                  <a:lnTo>
                    <a:pt x="74" y="722"/>
                  </a:lnTo>
                  <a:lnTo>
                    <a:pt x="74" y="722"/>
                  </a:lnTo>
                  <a:lnTo>
                    <a:pt x="74" y="722"/>
                  </a:lnTo>
                  <a:lnTo>
                    <a:pt x="74" y="722"/>
                  </a:lnTo>
                  <a:lnTo>
                    <a:pt x="74" y="722"/>
                  </a:lnTo>
                  <a:lnTo>
                    <a:pt x="74" y="722"/>
                  </a:lnTo>
                  <a:lnTo>
                    <a:pt x="74" y="722"/>
                  </a:lnTo>
                  <a:lnTo>
                    <a:pt x="74" y="724"/>
                  </a:lnTo>
                  <a:lnTo>
                    <a:pt x="76" y="724"/>
                  </a:lnTo>
                  <a:lnTo>
                    <a:pt x="76" y="724"/>
                  </a:lnTo>
                  <a:lnTo>
                    <a:pt x="76" y="724"/>
                  </a:lnTo>
                  <a:lnTo>
                    <a:pt x="76" y="724"/>
                  </a:lnTo>
                  <a:lnTo>
                    <a:pt x="74" y="724"/>
                  </a:lnTo>
                  <a:lnTo>
                    <a:pt x="74" y="724"/>
                  </a:lnTo>
                  <a:lnTo>
                    <a:pt x="74" y="724"/>
                  </a:lnTo>
                  <a:lnTo>
                    <a:pt x="74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4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69" y="722"/>
                  </a:lnTo>
                  <a:lnTo>
                    <a:pt x="69" y="722"/>
                  </a:lnTo>
                  <a:lnTo>
                    <a:pt x="69" y="722"/>
                  </a:lnTo>
                  <a:lnTo>
                    <a:pt x="69" y="722"/>
                  </a:lnTo>
                  <a:lnTo>
                    <a:pt x="69" y="722"/>
                  </a:lnTo>
                  <a:lnTo>
                    <a:pt x="69" y="724"/>
                  </a:lnTo>
                  <a:lnTo>
                    <a:pt x="69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4"/>
                  </a:lnTo>
                  <a:lnTo>
                    <a:pt x="67" y="722"/>
                  </a:lnTo>
                  <a:lnTo>
                    <a:pt x="67" y="722"/>
                  </a:lnTo>
                  <a:lnTo>
                    <a:pt x="67" y="722"/>
                  </a:lnTo>
                  <a:lnTo>
                    <a:pt x="67" y="722"/>
                  </a:lnTo>
                  <a:lnTo>
                    <a:pt x="69" y="722"/>
                  </a:lnTo>
                  <a:lnTo>
                    <a:pt x="69" y="722"/>
                  </a:lnTo>
                  <a:lnTo>
                    <a:pt x="69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2"/>
                  </a:lnTo>
                  <a:lnTo>
                    <a:pt x="72" y="720"/>
                  </a:lnTo>
                  <a:lnTo>
                    <a:pt x="72" y="720"/>
                  </a:lnTo>
                  <a:lnTo>
                    <a:pt x="72" y="720"/>
                  </a:lnTo>
                  <a:lnTo>
                    <a:pt x="72" y="720"/>
                  </a:lnTo>
                  <a:lnTo>
                    <a:pt x="72" y="720"/>
                  </a:lnTo>
                  <a:lnTo>
                    <a:pt x="72" y="720"/>
                  </a:lnTo>
                  <a:lnTo>
                    <a:pt x="72" y="720"/>
                  </a:lnTo>
                  <a:lnTo>
                    <a:pt x="72" y="717"/>
                  </a:lnTo>
                  <a:lnTo>
                    <a:pt x="72" y="720"/>
                  </a:lnTo>
                  <a:lnTo>
                    <a:pt x="74" y="717"/>
                  </a:lnTo>
                  <a:lnTo>
                    <a:pt x="74" y="717"/>
                  </a:lnTo>
                  <a:lnTo>
                    <a:pt x="74" y="717"/>
                  </a:lnTo>
                  <a:close/>
                  <a:moveTo>
                    <a:pt x="90" y="720"/>
                  </a:moveTo>
                  <a:lnTo>
                    <a:pt x="90" y="720"/>
                  </a:lnTo>
                  <a:lnTo>
                    <a:pt x="90" y="720"/>
                  </a:lnTo>
                  <a:lnTo>
                    <a:pt x="92" y="720"/>
                  </a:lnTo>
                  <a:lnTo>
                    <a:pt x="92" y="720"/>
                  </a:lnTo>
                  <a:lnTo>
                    <a:pt x="92" y="720"/>
                  </a:lnTo>
                  <a:lnTo>
                    <a:pt x="92" y="720"/>
                  </a:lnTo>
                  <a:lnTo>
                    <a:pt x="92" y="720"/>
                  </a:lnTo>
                  <a:lnTo>
                    <a:pt x="92" y="720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0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2" y="722"/>
                  </a:lnTo>
                  <a:lnTo>
                    <a:pt x="90" y="722"/>
                  </a:lnTo>
                  <a:lnTo>
                    <a:pt x="90" y="722"/>
                  </a:lnTo>
                  <a:lnTo>
                    <a:pt x="90" y="722"/>
                  </a:lnTo>
                  <a:lnTo>
                    <a:pt x="90" y="722"/>
                  </a:lnTo>
                  <a:lnTo>
                    <a:pt x="90" y="722"/>
                  </a:lnTo>
                  <a:lnTo>
                    <a:pt x="90" y="722"/>
                  </a:lnTo>
                  <a:lnTo>
                    <a:pt x="87" y="722"/>
                  </a:lnTo>
                  <a:lnTo>
                    <a:pt x="87" y="722"/>
                  </a:lnTo>
                  <a:lnTo>
                    <a:pt x="87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1" y="722"/>
                  </a:lnTo>
                  <a:lnTo>
                    <a:pt x="81" y="722"/>
                  </a:lnTo>
                  <a:lnTo>
                    <a:pt x="81" y="722"/>
                  </a:lnTo>
                  <a:lnTo>
                    <a:pt x="81" y="720"/>
                  </a:lnTo>
                  <a:lnTo>
                    <a:pt x="81" y="720"/>
                  </a:lnTo>
                  <a:lnTo>
                    <a:pt x="81" y="720"/>
                  </a:lnTo>
                  <a:lnTo>
                    <a:pt x="83" y="720"/>
                  </a:lnTo>
                  <a:lnTo>
                    <a:pt x="83" y="720"/>
                  </a:lnTo>
                  <a:lnTo>
                    <a:pt x="83" y="720"/>
                  </a:lnTo>
                  <a:lnTo>
                    <a:pt x="85" y="720"/>
                  </a:lnTo>
                  <a:lnTo>
                    <a:pt x="83" y="720"/>
                  </a:lnTo>
                  <a:lnTo>
                    <a:pt x="83" y="720"/>
                  </a:lnTo>
                  <a:lnTo>
                    <a:pt x="83" y="720"/>
                  </a:lnTo>
                  <a:lnTo>
                    <a:pt x="83" y="717"/>
                  </a:lnTo>
                  <a:lnTo>
                    <a:pt x="83" y="717"/>
                  </a:lnTo>
                  <a:lnTo>
                    <a:pt x="87" y="720"/>
                  </a:lnTo>
                  <a:lnTo>
                    <a:pt x="90" y="720"/>
                  </a:lnTo>
                  <a:lnTo>
                    <a:pt x="90" y="720"/>
                  </a:lnTo>
                  <a:close/>
                  <a:moveTo>
                    <a:pt x="67" y="717"/>
                  </a:move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7" y="717"/>
                  </a:lnTo>
                  <a:lnTo>
                    <a:pt x="69" y="717"/>
                  </a:lnTo>
                  <a:lnTo>
                    <a:pt x="69" y="717"/>
                  </a:lnTo>
                  <a:lnTo>
                    <a:pt x="69" y="717"/>
                  </a:lnTo>
                  <a:lnTo>
                    <a:pt x="69" y="717"/>
                  </a:lnTo>
                  <a:lnTo>
                    <a:pt x="69" y="720"/>
                  </a:lnTo>
                  <a:lnTo>
                    <a:pt x="67" y="720"/>
                  </a:lnTo>
                  <a:lnTo>
                    <a:pt x="67" y="720"/>
                  </a:lnTo>
                  <a:lnTo>
                    <a:pt x="67" y="720"/>
                  </a:lnTo>
                  <a:lnTo>
                    <a:pt x="67" y="720"/>
                  </a:lnTo>
                  <a:lnTo>
                    <a:pt x="67" y="720"/>
                  </a:lnTo>
                  <a:lnTo>
                    <a:pt x="67" y="720"/>
                  </a:lnTo>
                  <a:lnTo>
                    <a:pt x="67" y="720"/>
                  </a:lnTo>
                  <a:lnTo>
                    <a:pt x="67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5" y="717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7"/>
                  </a:lnTo>
                  <a:close/>
                  <a:moveTo>
                    <a:pt x="72" y="717"/>
                  </a:moveTo>
                  <a:lnTo>
                    <a:pt x="69" y="717"/>
                  </a:lnTo>
                  <a:lnTo>
                    <a:pt x="69" y="717"/>
                  </a:lnTo>
                  <a:lnTo>
                    <a:pt x="69" y="717"/>
                  </a:lnTo>
                  <a:lnTo>
                    <a:pt x="69" y="717"/>
                  </a:lnTo>
                  <a:lnTo>
                    <a:pt x="67" y="717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7" y="715"/>
                  </a:lnTo>
                  <a:lnTo>
                    <a:pt x="69" y="715"/>
                  </a:lnTo>
                  <a:lnTo>
                    <a:pt x="69" y="715"/>
                  </a:lnTo>
                  <a:lnTo>
                    <a:pt x="69" y="717"/>
                  </a:lnTo>
                  <a:lnTo>
                    <a:pt x="72" y="717"/>
                  </a:lnTo>
                  <a:lnTo>
                    <a:pt x="72" y="717"/>
                  </a:lnTo>
                  <a:lnTo>
                    <a:pt x="72" y="717"/>
                  </a:lnTo>
                  <a:close/>
                  <a:moveTo>
                    <a:pt x="74" y="704"/>
                  </a:moveTo>
                  <a:lnTo>
                    <a:pt x="74" y="704"/>
                  </a:lnTo>
                  <a:lnTo>
                    <a:pt x="74" y="704"/>
                  </a:lnTo>
                  <a:lnTo>
                    <a:pt x="74" y="704"/>
                  </a:lnTo>
                  <a:lnTo>
                    <a:pt x="74" y="704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4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6" y="702"/>
                  </a:lnTo>
                  <a:lnTo>
                    <a:pt x="74" y="704"/>
                  </a:lnTo>
                  <a:close/>
                  <a:moveTo>
                    <a:pt x="78" y="699"/>
                  </a:moveTo>
                  <a:lnTo>
                    <a:pt x="81" y="702"/>
                  </a:lnTo>
                  <a:lnTo>
                    <a:pt x="81" y="702"/>
                  </a:lnTo>
                  <a:lnTo>
                    <a:pt x="81" y="699"/>
                  </a:lnTo>
                  <a:lnTo>
                    <a:pt x="81" y="699"/>
                  </a:lnTo>
                  <a:lnTo>
                    <a:pt x="81" y="699"/>
                  </a:lnTo>
                  <a:lnTo>
                    <a:pt x="81" y="699"/>
                  </a:lnTo>
                  <a:lnTo>
                    <a:pt x="83" y="702"/>
                  </a:lnTo>
                  <a:lnTo>
                    <a:pt x="81" y="702"/>
                  </a:lnTo>
                  <a:lnTo>
                    <a:pt x="81" y="702"/>
                  </a:lnTo>
                  <a:lnTo>
                    <a:pt x="81" y="702"/>
                  </a:lnTo>
                  <a:lnTo>
                    <a:pt x="81" y="702"/>
                  </a:lnTo>
                  <a:lnTo>
                    <a:pt x="81" y="702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702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8" y="699"/>
                  </a:lnTo>
                  <a:close/>
                  <a:moveTo>
                    <a:pt x="76" y="677"/>
                  </a:moveTo>
                  <a:lnTo>
                    <a:pt x="76" y="677"/>
                  </a:lnTo>
                  <a:lnTo>
                    <a:pt x="78" y="677"/>
                  </a:lnTo>
                  <a:lnTo>
                    <a:pt x="78" y="677"/>
                  </a:lnTo>
                  <a:lnTo>
                    <a:pt x="78" y="677"/>
                  </a:lnTo>
                  <a:lnTo>
                    <a:pt x="78" y="677"/>
                  </a:lnTo>
                  <a:lnTo>
                    <a:pt x="78" y="677"/>
                  </a:lnTo>
                  <a:lnTo>
                    <a:pt x="78" y="677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79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8" y="679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6" y="677"/>
                  </a:lnTo>
                  <a:lnTo>
                    <a:pt x="76" y="677"/>
                  </a:lnTo>
                  <a:lnTo>
                    <a:pt x="76" y="677"/>
                  </a:lnTo>
                  <a:lnTo>
                    <a:pt x="76" y="677"/>
                  </a:lnTo>
                  <a:close/>
                  <a:moveTo>
                    <a:pt x="76" y="675"/>
                  </a:moveTo>
                  <a:lnTo>
                    <a:pt x="76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7"/>
                  </a:lnTo>
                  <a:lnTo>
                    <a:pt x="78" y="677"/>
                  </a:lnTo>
                  <a:lnTo>
                    <a:pt x="76" y="677"/>
                  </a:lnTo>
                  <a:lnTo>
                    <a:pt x="76" y="677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close/>
                  <a:moveTo>
                    <a:pt x="58" y="672"/>
                  </a:moveTo>
                  <a:lnTo>
                    <a:pt x="58" y="672"/>
                  </a:lnTo>
                  <a:lnTo>
                    <a:pt x="58" y="672"/>
                  </a:lnTo>
                  <a:lnTo>
                    <a:pt x="58" y="672"/>
                  </a:lnTo>
                  <a:lnTo>
                    <a:pt x="58" y="675"/>
                  </a:lnTo>
                  <a:lnTo>
                    <a:pt x="58" y="675"/>
                  </a:lnTo>
                  <a:lnTo>
                    <a:pt x="58" y="675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6" y="677"/>
                  </a:lnTo>
                  <a:lnTo>
                    <a:pt x="56" y="679"/>
                  </a:lnTo>
                  <a:lnTo>
                    <a:pt x="56" y="679"/>
                  </a:lnTo>
                  <a:lnTo>
                    <a:pt x="56" y="679"/>
                  </a:lnTo>
                  <a:lnTo>
                    <a:pt x="56" y="679"/>
                  </a:lnTo>
                  <a:lnTo>
                    <a:pt x="54" y="679"/>
                  </a:lnTo>
                  <a:lnTo>
                    <a:pt x="54" y="679"/>
                  </a:lnTo>
                  <a:lnTo>
                    <a:pt x="54" y="679"/>
                  </a:lnTo>
                  <a:lnTo>
                    <a:pt x="54" y="679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1" y="677"/>
                  </a:lnTo>
                  <a:lnTo>
                    <a:pt x="51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6" y="677"/>
                  </a:lnTo>
                  <a:lnTo>
                    <a:pt x="56" y="677"/>
                  </a:lnTo>
                  <a:lnTo>
                    <a:pt x="56" y="677"/>
                  </a:lnTo>
                  <a:lnTo>
                    <a:pt x="56" y="677"/>
                  </a:lnTo>
                  <a:lnTo>
                    <a:pt x="56" y="677"/>
                  </a:lnTo>
                  <a:lnTo>
                    <a:pt x="56" y="677"/>
                  </a:lnTo>
                  <a:lnTo>
                    <a:pt x="54" y="677"/>
                  </a:lnTo>
                  <a:lnTo>
                    <a:pt x="54" y="675"/>
                  </a:lnTo>
                  <a:lnTo>
                    <a:pt x="54" y="675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1" y="677"/>
                  </a:lnTo>
                  <a:lnTo>
                    <a:pt x="51" y="675"/>
                  </a:lnTo>
                  <a:lnTo>
                    <a:pt x="51" y="675"/>
                  </a:lnTo>
                  <a:lnTo>
                    <a:pt x="54" y="675"/>
                  </a:lnTo>
                  <a:lnTo>
                    <a:pt x="54" y="675"/>
                  </a:lnTo>
                  <a:lnTo>
                    <a:pt x="51" y="675"/>
                  </a:lnTo>
                  <a:lnTo>
                    <a:pt x="51" y="675"/>
                  </a:lnTo>
                  <a:lnTo>
                    <a:pt x="51" y="675"/>
                  </a:lnTo>
                  <a:lnTo>
                    <a:pt x="51" y="675"/>
                  </a:lnTo>
                  <a:lnTo>
                    <a:pt x="51" y="672"/>
                  </a:lnTo>
                  <a:lnTo>
                    <a:pt x="51" y="672"/>
                  </a:lnTo>
                  <a:lnTo>
                    <a:pt x="51" y="672"/>
                  </a:lnTo>
                  <a:lnTo>
                    <a:pt x="51" y="672"/>
                  </a:lnTo>
                  <a:lnTo>
                    <a:pt x="51" y="672"/>
                  </a:lnTo>
                  <a:lnTo>
                    <a:pt x="51" y="672"/>
                  </a:lnTo>
                  <a:lnTo>
                    <a:pt x="51" y="672"/>
                  </a:lnTo>
                  <a:lnTo>
                    <a:pt x="54" y="672"/>
                  </a:lnTo>
                  <a:lnTo>
                    <a:pt x="54" y="675"/>
                  </a:lnTo>
                  <a:lnTo>
                    <a:pt x="54" y="675"/>
                  </a:lnTo>
                  <a:lnTo>
                    <a:pt x="56" y="675"/>
                  </a:lnTo>
                  <a:lnTo>
                    <a:pt x="56" y="675"/>
                  </a:lnTo>
                  <a:lnTo>
                    <a:pt x="56" y="675"/>
                  </a:lnTo>
                  <a:lnTo>
                    <a:pt x="56" y="675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4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6" y="672"/>
                  </a:lnTo>
                  <a:lnTo>
                    <a:pt x="58" y="672"/>
                  </a:lnTo>
                  <a:lnTo>
                    <a:pt x="58" y="672"/>
                  </a:lnTo>
                  <a:close/>
                  <a:moveTo>
                    <a:pt x="76" y="672"/>
                  </a:moveTo>
                  <a:lnTo>
                    <a:pt x="78" y="675"/>
                  </a:lnTo>
                  <a:lnTo>
                    <a:pt x="76" y="675"/>
                  </a:lnTo>
                  <a:lnTo>
                    <a:pt x="76" y="672"/>
                  </a:lnTo>
                  <a:lnTo>
                    <a:pt x="76" y="672"/>
                  </a:lnTo>
                  <a:lnTo>
                    <a:pt x="76" y="672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4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6" y="675"/>
                  </a:lnTo>
                  <a:lnTo>
                    <a:pt x="74" y="675"/>
                  </a:lnTo>
                  <a:lnTo>
                    <a:pt x="74" y="677"/>
                  </a:lnTo>
                  <a:lnTo>
                    <a:pt x="74" y="675"/>
                  </a:lnTo>
                  <a:lnTo>
                    <a:pt x="74" y="675"/>
                  </a:lnTo>
                  <a:lnTo>
                    <a:pt x="74" y="675"/>
                  </a:lnTo>
                  <a:lnTo>
                    <a:pt x="74" y="675"/>
                  </a:lnTo>
                  <a:lnTo>
                    <a:pt x="74" y="675"/>
                  </a:lnTo>
                  <a:lnTo>
                    <a:pt x="74" y="672"/>
                  </a:lnTo>
                  <a:lnTo>
                    <a:pt x="74" y="672"/>
                  </a:lnTo>
                  <a:lnTo>
                    <a:pt x="74" y="672"/>
                  </a:lnTo>
                  <a:lnTo>
                    <a:pt x="74" y="672"/>
                  </a:lnTo>
                  <a:lnTo>
                    <a:pt x="74" y="672"/>
                  </a:lnTo>
                  <a:lnTo>
                    <a:pt x="76" y="672"/>
                  </a:lnTo>
                  <a:lnTo>
                    <a:pt x="76" y="672"/>
                  </a:lnTo>
                  <a:lnTo>
                    <a:pt x="76" y="672"/>
                  </a:lnTo>
                  <a:lnTo>
                    <a:pt x="76" y="672"/>
                  </a:lnTo>
                  <a:close/>
                  <a:moveTo>
                    <a:pt x="69" y="670"/>
                  </a:moveTo>
                  <a:lnTo>
                    <a:pt x="72" y="670"/>
                  </a:lnTo>
                  <a:lnTo>
                    <a:pt x="72" y="670"/>
                  </a:lnTo>
                  <a:lnTo>
                    <a:pt x="72" y="670"/>
                  </a:lnTo>
                  <a:lnTo>
                    <a:pt x="72" y="670"/>
                  </a:lnTo>
                  <a:lnTo>
                    <a:pt x="72" y="670"/>
                  </a:lnTo>
                  <a:lnTo>
                    <a:pt x="72" y="670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2"/>
                  </a:lnTo>
                  <a:lnTo>
                    <a:pt x="72" y="675"/>
                  </a:lnTo>
                  <a:lnTo>
                    <a:pt x="72" y="675"/>
                  </a:lnTo>
                  <a:lnTo>
                    <a:pt x="72" y="675"/>
                  </a:lnTo>
                  <a:lnTo>
                    <a:pt x="72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0"/>
                  </a:lnTo>
                  <a:lnTo>
                    <a:pt x="69" y="670"/>
                  </a:lnTo>
                  <a:lnTo>
                    <a:pt x="69" y="670"/>
                  </a:lnTo>
                  <a:lnTo>
                    <a:pt x="69" y="670"/>
                  </a:lnTo>
                  <a:lnTo>
                    <a:pt x="69" y="670"/>
                  </a:lnTo>
                  <a:lnTo>
                    <a:pt x="69" y="670"/>
                  </a:lnTo>
                  <a:close/>
                  <a:moveTo>
                    <a:pt x="56" y="670"/>
                  </a:moveTo>
                  <a:lnTo>
                    <a:pt x="56" y="670"/>
                  </a:lnTo>
                  <a:lnTo>
                    <a:pt x="56" y="670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6" y="670"/>
                  </a:lnTo>
                  <a:lnTo>
                    <a:pt x="56" y="670"/>
                  </a:lnTo>
                  <a:lnTo>
                    <a:pt x="56" y="670"/>
                  </a:lnTo>
                  <a:close/>
                  <a:moveTo>
                    <a:pt x="58" y="670"/>
                  </a:moveTo>
                  <a:lnTo>
                    <a:pt x="58" y="670"/>
                  </a:lnTo>
                  <a:lnTo>
                    <a:pt x="58" y="670"/>
                  </a:lnTo>
                  <a:lnTo>
                    <a:pt x="58" y="670"/>
                  </a:lnTo>
                  <a:lnTo>
                    <a:pt x="58" y="670"/>
                  </a:lnTo>
                  <a:lnTo>
                    <a:pt x="56" y="670"/>
                  </a:lnTo>
                  <a:lnTo>
                    <a:pt x="56" y="668"/>
                  </a:lnTo>
                  <a:lnTo>
                    <a:pt x="56" y="668"/>
                  </a:lnTo>
                  <a:lnTo>
                    <a:pt x="56" y="668"/>
                  </a:lnTo>
                  <a:lnTo>
                    <a:pt x="56" y="668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8"/>
                  </a:lnTo>
                  <a:lnTo>
                    <a:pt x="58" y="668"/>
                  </a:lnTo>
                  <a:lnTo>
                    <a:pt x="58" y="668"/>
                  </a:lnTo>
                  <a:lnTo>
                    <a:pt x="58" y="668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70"/>
                  </a:lnTo>
                  <a:lnTo>
                    <a:pt x="60" y="670"/>
                  </a:lnTo>
                  <a:lnTo>
                    <a:pt x="60" y="670"/>
                  </a:lnTo>
                  <a:lnTo>
                    <a:pt x="58" y="670"/>
                  </a:lnTo>
                  <a:close/>
                  <a:moveTo>
                    <a:pt x="72" y="670"/>
                  </a:moveTo>
                  <a:lnTo>
                    <a:pt x="69" y="670"/>
                  </a:lnTo>
                  <a:lnTo>
                    <a:pt x="69" y="670"/>
                  </a:lnTo>
                  <a:lnTo>
                    <a:pt x="69" y="668"/>
                  </a:lnTo>
                  <a:lnTo>
                    <a:pt x="67" y="668"/>
                  </a:lnTo>
                  <a:lnTo>
                    <a:pt x="67" y="668"/>
                  </a:lnTo>
                  <a:lnTo>
                    <a:pt x="67" y="668"/>
                  </a:lnTo>
                  <a:lnTo>
                    <a:pt x="67" y="668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72" y="666"/>
                  </a:lnTo>
                  <a:lnTo>
                    <a:pt x="72" y="668"/>
                  </a:lnTo>
                  <a:lnTo>
                    <a:pt x="72" y="668"/>
                  </a:lnTo>
                  <a:lnTo>
                    <a:pt x="72" y="670"/>
                  </a:lnTo>
                  <a:lnTo>
                    <a:pt x="72" y="670"/>
                  </a:lnTo>
                  <a:close/>
                  <a:moveTo>
                    <a:pt x="65" y="668"/>
                  </a:move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3" y="668"/>
                  </a:lnTo>
                  <a:lnTo>
                    <a:pt x="63" y="670"/>
                  </a:lnTo>
                  <a:lnTo>
                    <a:pt x="63" y="670"/>
                  </a:lnTo>
                  <a:lnTo>
                    <a:pt x="65" y="670"/>
                  </a:lnTo>
                  <a:lnTo>
                    <a:pt x="65" y="670"/>
                  </a:lnTo>
                  <a:lnTo>
                    <a:pt x="65" y="670"/>
                  </a:lnTo>
                  <a:lnTo>
                    <a:pt x="65" y="670"/>
                  </a:lnTo>
                  <a:lnTo>
                    <a:pt x="63" y="670"/>
                  </a:lnTo>
                  <a:lnTo>
                    <a:pt x="63" y="670"/>
                  </a:lnTo>
                  <a:lnTo>
                    <a:pt x="63" y="670"/>
                  </a:lnTo>
                  <a:lnTo>
                    <a:pt x="60" y="670"/>
                  </a:lnTo>
                  <a:lnTo>
                    <a:pt x="60" y="670"/>
                  </a:lnTo>
                  <a:lnTo>
                    <a:pt x="60" y="670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68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0" y="666"/>
                  </a:lnTo>
                  <a:lnTo>
                    <a:pt x="60" y="663"/>
                  </a:lnTo>
                  <a:lnTo>
                    <a:pt x="60" y="663"/>
                  </a:lnTo>
                  <a:lnTo>
                    <a:pt x="60" y="663"/>
                  </a:lnTo>
                  <a:lnTo>
                    <a:pt x="60" y="663"/>
                  </a:lnTo>
                  <a:lnTo>
                    <a:pt x="63" y="663"/>
                  </a:lnTo>
                  <a:lnTo>
                    <a:pt x="63" y="663"/>
                  </a:lnTo>
                  <a:lnTo>
                    <a:pt x="63" y="663"/>
                  </a:lnTo>
                  <a:lnTo>
                    <a:pt x="63" y="666"/>
                  </a:lnTo>
                  <a:lnTo>
                    <a:pt x="65" y="666"/>
                  </a:lnTo>
                  <a:lnTo>
                    <a:pt x="65" y="666"/>
                  </a:lnTo>
                  <a:lnTo>
                    <a:pt x="63" y="666"/>
                  </a:lnTo>
                  <a:lnTo>
                    <a:pt x="65" y="666"/>
                  </a:lnTo>
                  <a:lnTo>
                    <a:pt x="65" y="666"/>
                  </a:lnTo>
                  <a:lnTo>
                    <a:pt x="65" y="666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lnTo>
                    <a:pt x="65" y="668"/>
                  </a:lnTo>
                  <a:close/>
                  <a:moveTo>
                    <a:pt x="76" y="668"/>
                  </a:move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6" y="668"/>
                  </a:lnTo>
                  <a:lnTo>
                    <a:pt x="78" y="668"/>
                  </a:lnTo>
                  <a:lnTo>
                    <a:pt x="78" y="670"/>
                  </a:lnTo>
                  <a:lnTo>
                    <a:pt x="78" y="670"/>
                  </a:lnTo>
                  <a:lnTo>
                    <a:pt x="76" y="670"/>
                  </a:lnTo>
                  <a:lnTo>
                    <a:pt x="76" y="670"/>
                  </a:lnTo>
                  <a:lnTo>
                    <a:pt x="76" y="670"/>
                  </a:lnTo>
                  <a:lnTo>
                    <a:pt x="76" y="670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8"/>
                  </a:lnTo>
                  <a:lnTo>
                    <a:pt x="74" y="666"/>
                  </a:lnTo>
                  <a:lnTo>
                    <a:pt x="74" y="666"/>
                  </a:lnTo>
                  <a:lnTo>
                    <a:pt x="74" y="663"/>
                  </a:lnTo>
                  <a:lnTo>
                    <a:pt x="74" y="663"/>
                  </a:lnTo>
                  <a:lnTo>
                    <a:pt x="74" y="663"/>
                  </a:lnTo>
                  <a:lnTo>
                    <a:pt x="76" y="663"/>
                  </a:lnTo>
                  <a:lnTo>
                    <a:pt x="76" y="663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6"/>
                  </a:lnTo>
                  <a:lnTo>
                    <a:pt x="76" y="668"/>
                  </a:lnTo>
                  <a:lnTo>
                    <a:pt x="76" y="668"/>
                  </a:lnTo>
                  <a:close/>
                  <a:moveTo>
                    <a:pt x="69" y="663"/>
                  </a:moveTo>
                  <a:lnTo>
                    <a:pt x="69" y="663"/>
                  </a:lnTo>
                  <a:lnTo>
                    <a:pt x="72" y="663"/>
                  </a:lnTo>
                  <a:lnTo>
                    <a:pt x="72" y="663"/>
                  </a:lnTo>
                  <a:lnTo>
                    <a:pt x="72" y="663"/>
                  </a:lnTo>
                  <a:lnTo>
                    <a:pt x="72" y="663"/>
                  </a:lnTo>
                  <a:lnTo>
                    <a:pt x="72" y="666"/>
                  </a:lnTo>
                  <a:lnTo>
                    <a:pt x="72" y="666"/>
                  </a:lnTo>
                  <a:lnTo>
                    <a:pt x="72" y="666"/>
                  </a:lnTo>
                  <a:lnTo>
                    <a:pt x="72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9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6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9" y="663"/>
                  </a:lnTo>
                  <a:lnTo>
                    <a:pt x="69" y="663"/>
                  </a:lnTo>
                  <a:lnTo>
                    <a:pt x="69" y="663"/>
                  </a:lnTo>
                  <a:lnTo>
                    <a:pt x="69" y="663"/>
                  </a:lnTo>
                  <a:close/>
                  <a:moveTo>
                    <a:pt x="60" y="666"/>
                  </a:moveTo>
                  <a:lnTo>
                    <a:pt x="60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58" y="663"/>
                  </a:lnTo>
                  <a:lnTo>
                    <a:pt x="58" y="663"/>
                  </a:lnTo>
                  <a:lnTo>
                    <a:pt x="58" y="663"/>
                  </a:lnTo>
                  <a:lnTo>
                    <a:pt x="58" y="663"/>
                  </a:lnTo>
                  <a:lnTo>
                    <a:pt x="60" y="663"/>
                  </a:lnTo>
                  <a:lnTo>
                    <a:pt x="60" y="663"/>
                  </a:lnTo>
                  <a:lnTo>
                    <a:pt x="58" y="666"/>
                  </a:lnTo>
                  <a:lnTo>
                    <a:pt x="58" y="666"/>
                  </a:lnTo>
                  <a:lnTo>
                    <a:pt x="60" y="666"/>
                  </a:lnTo>
                  <a:close/>
                  <a:moveTo>
                    <a:pt x="69" y="661"/>
                  </a:moveTo>
                  <a:lnTo>
                    <a:pt x="69" y="661"/>
                  </a:lnTo>
                  <a:lnTo>
                    <a:pt x="69" y="661"/>
                  </a:lnTo>
                  <a:lnTo>
                    <a:pt x="72" y="661"/>
                  </a:lnTo>
                  <a:lnTo>
                    <a:pt x="72" y="661"/>
                  </a:lnTo>
                  <a:lnTo>
                    <a:pt x="72" y="663"/>
                  </a:lnTo>
                  <a:lnTo>
                    <a:pt x="69" y="663"/>
                  </a:lnTo>
                  <a:lnTo>
                    <a:pt x="69" y="663"/>
                  </a:lnTo>
                  <a:lnTo>
                    <a:pt x="69" y="663"/>
                  </a:lnTo>
                  <a:lnTo>
                    <a:pt x="67" y="663"/>
                  </a:lnTo>
                  <a:lnTo>
                    <a:pt x="67" y="663"/>
                  </a:lnTo>
                  <a:lnTo>
                    <a:pt x="67" y="661"/>
                  </a:lnTo>
                  <a:lnTo>
                    <a:pt x="67" y="661"/>
                  </a:lnTo>
                  <a:lnTo>
                    <a:pt x="67" y="661"/>
                  </a:lnTo>
                  <a:lnTo>
                    <a:pt x="69" y="661"/>
                  </a:lnTo>
                  <a:close/>
                  <a:moveTo>
                    <a:pt x="60" y="661"/>
                  </a:moveTo>
                  <a:lnTo>
                    <a:pt x="60" y="661"/>
                  </a:lnTo>
                  <a:lnTo>
                    <a:pt x="60" y="661"/>
                  </a:lnTo>
                  <a:lnTo>
                    <a:pt x="58" y="661"/>
                  </a:lnTo>
                  <a:lnTo>
                    <a:pt x="58" y="661"/>
                  </a:lnTo>
                  <a:lnTo>
                    <a:pt x="56" y="661"/>
                  </a:lnTo>
                  <a:lnTo>
                    <a:pt x="56" y="659"/>
                  </a:lnTo>
                  <a:lnTo>
                    <a:pt x="58" y="659"/>
                  </a:lnTo>
                  <a:lnTo>
                    <a:pt x="58" y="659"/>
                  </a:lnTo>
                  <a:lnTo>
                    <a:pt x="58" y="659"/>
                  </a:lnTo>
                  <a:lnTo>
                    <a:pt x="60" y="659"/>
                  </a:lnTo>
                  <a:lnTo>
                    <a:pt x="60" y="659"/>
                  </a:lnTo>
                  <a:lnTo>
                    <a:pt x="60" y="661"/>
                  </a:lnTo>
                  <a:lnTo>
                    <a:pt x="60" y="661"/>
                  </a:lnTo>
                  <a:lnTo>
                    <a:pt x="60" y="661"/>
                  </a:lnTo>
                  <a:lnTo>
                    <a:pt x="60" y="661"/>
                  </a:lnTo>
                  <a:lnTo>
                    <a:pt x="63" y="661"/>
                  </a:lnTo>
                  <a:lnTo>
                    <a:pt x="60" y="661"/>
                  </a:lnTo>
                  <a:lnTo>
                    <a:pt x="60" y="661"/>
                  </a:lnTo>
                  <a:lnTo>
                    <a:pt x="60" y="661"/>
                  </a:lnTo>
                  <a:close/>
                  <a:moveTo>
                    <a:pt x="65" y="659"/>
                  </a:moveTo>
                  <a:lnTo>
                    <a:pt x="67" y="659"/>
                  </a:lnTo>
                  <a:lnTo>
                    <a:pt x="69" y="659"/>
                  </a:lnTo>
                  <a:lnTo>
                    <a:pt x="69" y="659"/>
                  </a:lnTo>
                  <a:lnTo>
                    <a:pt x="69" y="659"/>
                  </a:lnTo>
                  <a:lnTo>
                    <a:pt x="72" y="659"/>
                  </a:lnTo>
                  <a:lnTo>
                    <a:pt x="72" y="661"/>
                  </a:lnTo>
                  <a:lnTo>
                    <a:pt x="72" y="661"/>
                  </a:lnTo>
                  <a:lnTo>
                    <a:pt x="72" y="661"/>
                  </a:lnTo>
                  <a:lnTo>
                    <a:pt x="69" y="661"/>
                  </a:lnTo>
                  <a:lnTo>
                    <a:pt x="67" y="661"/>
                  </a:lnTo>
                  <a:lnTo>
                    <a:pt x="67" y="661"/>
                  </a:lnTo>
                  <a:lnTo>
                    <a:pt x="67" y="661"/>
                  </a:lnTo>
                  <a:lnTo>
                    <a:pt x="65" y="661"/>
                  </a:lnTo>
                  <a:lnTo>
                    <a:pt x="65" y="661"/>
                  </a:lnTo>
                  <a:lnTo>
                    <a:pt x="65" y="661"/>
                  </a:lnTo>
                  <a:lnTo>
                    <a:pt x="65" y="661"/>
                  </a:lnTo>
                  <a:lnTo>
                    <a:pt x="65" y="659"/>
                  </a:lnTo>
                  <a:lnTo>
                    <a:pt x="63" y="659"/>
                  </a:lnTo>
                  <a:lnTo>
                    <a:pt x="63" y="659"/>
                  </a:lnTo>
                  <a:lnTo>
                    <a:pt x="63" y="659"/>
                  </a:lnTo>
                  <a:lnTo>
                    <a:pt x="63" y="659"/>
                  </a:lnTo>
                  <a:lnTo>
                    <a:pt x="65" y="659"/>
                  </a:lnTo>
                  <a:lnTo>
                    <a:pt x="65" y="657"/>
                  </a:lnTo>
                  <a:lnTo>
                    <a:pt x="65" y="659"/>
                  </a:lnTo>
                  <a:lnTo>
                    <a:pt x="65" y="659"/>
                  </a:lnTo>
                  <a:close/>
                  <a:moveTo>
                    <a:pt x="60" y="659"/>
                  </a:moveTo>
                  <a:lnTo>
                    <a:pt x="60" y="659"/>
                  </a:lnTo>
                  <a:lnTo>
                    <a:pt x="60" y="659"/>
                  </a:lnTo>
                  <a:lnTo>
                    <a:pt x="58" y="659"/>
                  </a:lnTo>
                  <a:lnTo>
                    <a:pt x="58" y="659"/>
                  </a:lnTo>
                  <a:lnTo>
                    <a:pt x="58" y="659"/>
                  </a:lnTo>
                  <a:lnTo>
                    <a:pt x="58" y="659"/>
                  </a:lnTo>
                  <a:lnTo>
                    <a:pt x="58" y="657"/>
                  </a:lnTo>
                  <a:lnTo>
                    <a:pt x="58" y="657"/>
                  </a:lnTo>
                  <a:lnTo>
                    <a:pt x="58" y="657"/>
                  </a:lnTo>
                  <a:lnTo>
                    <a:pt x="58" y="657"/>
                  </a:lnTo>
                  <a:lnTo>
                    <a:pt x="58" y="657"/>
                  </a:lnTo>
                  <a:lnTo>
                    <a:pt x="60" y="657"/>
                  </a:lnTo>
                  <a:lnTo>
                    <a:pt x="60" y="657"/>
                  </a:lnTo>
                  <a:lnTo>
                    <a:pt x="60" y="657"/>
                  </a:lnTo>
                  <a:lnTo>
                    <a:pt x="60" y="657"/>
                  </a:lnTo>
                  <a:lnTo>
                    <a:pt x="60" y="659"/>
                  </a:lnTo>
                  <a:lnTo>
                    <a:pt x="60" y="659"/>
                  </a:lnTo>
                  <a:lnTo>
                    <a:pt x="60" y="659"/>
                  </a:lnTo>
                  <a:lnTo>
                    <a:pt x="60" y="659"/>
                  </a:lnTo>
                  <a:lnTo>
                    <a:pt x="60" y="659"/>
                  </a:lnTo>
                  <a:close/>
                  <a:moveTo>
                    <a:pt x="67" y="652"/>
                  </a:move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69" y="654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9"/>
                  </a:lnTo>
                  <a:lnTo>
                    <a:pt x="72" y="659"/>
                  </a:lnTo>
                  <a:lnTo>
                    <a:pt x="72" y="659"/>
                  </a:lnTo>
                  <a:lnTo>
                    <a:pt x="72" y="659"/>
                  </a:lnTo>
                  <a:lnTo>
                    <a:pt x="72" y="659"/>
                  </a:lnTo>
                  <a:lnTo>
                    <a:pt x="69" y="659"/>
                  </a:lnTo>
                  <a:lnTo>
                    <a:pt x="69" y="659"/>
                  </a:lnTo>
                  <a:lnTo>
                    <a:pt x="69" y="659"/>
                  </a:lnTo>
                  <a:lnTo>
                    <a:pt x="69" y="659"/>
                  </a:lnTo>
                  <a:lnTo>
                    <a:pt x="69" y="659"/>
                  </a:lnTo>
                  <a:lnTo>
                    <a:pt x="67" y="659"/>
                  </a:lnTo>
                  <a:lnTo>
                    <a:pt x="67" y="659"/>
                  </a:lnTo>
                  <a:lnTo>
                    <a:pt x="65" y="659"/>
                  </a:lnTo>
                  <a:lnTo>
                    <a:pt x="65" y="657"/>
                  </a:lnTo>
                  <a:lnTo>
                    <a:pt x="65" y="657"/>
                  </a:lnTo>
                  <a:lnTo>
                    <a:pt x="65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3" y="657"/>
                  </a:lnTo>
                  <a:lnTo>
                    <a:pt x="60" y="657"/>
                  </a:lnTo>
                  <a:lnTo>
                    <a:pt x="60" y="657"/>
                  </a:lnTo>
                  <a:lnTo>
                    <a:pt x="60" y="654"/>
                  </a:lnTo>
                  <a:lnTo>
                    <a:pt x="60" y="654"/>
                  </a:lnTo>
                  <a:lnTo>
                    <a:pt x="60" y="654"/>
                  </a:lnTo>
                  <a:lnTo>
                    <a:pt x="60" y="654"/>
                  </a:lnTo>
                  <a:lnTo>
                    <a:pt x="63" y="654"/>
                  </a:lnTo>
                  <a:lnTo>
                    <a:pt x="63" y="654"/>
                  </a:lnTo>
                  <a:lnTo>
                    <a:pt x="63" y="654"/>
                  </a:lnTo>
                  <a:lnTo>
                    <a:pt x="63" y="654"/>
                  </a:lnTo>
                  <a:lnTo>
                    <a:pt x="63" y="654"/>
                  </a:lnTo>
                  <a:lnTo>
                    <a:pt x="65" y="654"/>
                  </a:lnTo>
                  <a:lnTo>
                    <a:pt x="65" y="654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7" y="652"/>
                  </a:lnTo>
                  <a:lnTo>
                    <a:pt x="67" y="652"/>
                  </a:lnTo>
                  <a:lnTo>
                    <a:pt x="67" y="652"/>
                  </a:lnTo>
                  <a:close/>
                  <a:moveTo>
                    <a:pt x="65" y="652"/>
                  </a:moveTo>
                  <a:lnTo>
                    <a:pt x="65" y="652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0" y="652"/>
                  </a:lnTo>
                  <a:lnTo>
                    <a:pt x="60" y="652"/>
                  </a:lnTo>
                  <a:lnTo>
                    <a:pt x="60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60" y="650"/>
                  </a:lnTo>
                  <a:lnTo>
                    <a:pt x="60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5" y="650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5" y="652"/>
                  </a:lnTo>
                  <a:lnTo>
                    <a:pt x="65" y="652"/>
                  </a:lnTo>
                  <a:close/>
                  <a:moveTo>
                    <a:pt x="63" y="650"/>
                  </a:moveTo>
                  <a:lnTo>
                    <a:pt x="63" y="650"/>
                  </a:lnTo>
                  <a:lnTo>
                    <a:pt x="60" y="650"/>
                  </a:lnTo>
                  <a:lnTo>
                    <a:pt x="60" y="648"/>
                  </a:lnTo>
                  <a:lnTo>
                    <a:pt x="58" y="648"/>
                  </a:lnTo>
                  <a:lnTo>
                    <a:pt x="60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close/>
                  <a:moveTo>
                    <a:pt x="43" y="652"/>
                  </a:moveTo>
                  <a:lnTo>
                    <a:pt x="43" y="652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0" y="650"/>
                  </a:lnTo>
                  <a:lnTo>
                    <a:pt x="40" y="648"/>
                  </a:lnTo>
                  <a:lnTo>
                    <a:pt x="40" y="648"/>
                  </a:lnTo>
                  <a:lnTo>
                    <a:pt x="40" y="648"/>
                  </a:lnTo>
                  <a:lnTo>
                    <a:pt x="43" y="648"/>
                  </a:lnTo>
                  <a:lnTo>
                    <a:pt x="43" y="648"/>
                  </a:lnTo>
                  <a:lnTo>
                    <a:pt x="43" y="648"/>
                  </a:lnTo>
                  <a:lnTo>
                    <a:pt x="43" y="650"/>
                  </a:lnTo>
                  <a:lnTo>
                    <a:pt x="45" y="650"/>
                  </a:lnTo>
                  <a:lnTo>
                    <a:pt x="45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2"/>
                  </a:lnTo>
                  <a:close/>
                  <a:moveTo>
                    <a:pt x="67" y="650"/>
                  </a:moveTo>
                  <a:lnTo>
                    <a:pt x="67" y="652"/>
                  </a:lnTo>
                  <a:lnTo>
                    <a:pt x="67" y="652"/>
                  </a:lnTo>
                  <a:lnTo>
                    <a:pt x="67" y="652"/>
                  </a:lnTo>
                  <a:lnTo>
                    <a:pt x="67" y="652"/>
                  </a:lnTo>
                  <a:lnTo>
                    <a:pt x="67" y="652"/>
                  </a:lnTo>
                  <a:lnTo>
                    <a:pt x="65" y="652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50"/>
                  </a:lnTo>
                  <a:lnTo>
                    <a:pt x="65" y="648"/>
                  </a:lnTo>
                  <a:lnTo>
                    <a:pt x="65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3" y="648"/>
                  </a:lnTo>
                  <a:lnTo>
                    <a:pt x="65" y="648"/>
                  </a:lnTo>
                  <a:lnTo>
                    <a:pt x="65" y="648"/>
                  </a:lnTo>
                  <a:lnTo>
                    <a:pt x="65" y="648"/>
                  </a:lnTo>
                  <a:lnTo>
                    <a:pt x="65" y="648"/>
                  </a:lnTo>
                  <a:lnTo>
                    <a:pt x="65" y="648"/>
                  </a:lnTo>
                  <a:lnTo>
                    <a:pt x="67" y="650"/>
                  </a:lnTo>
                  <a:close/>
                  <a:moveTo>
                    <a:pt x="69" y="648"/>
                  </a:moveTo>
                  <a:lnTo>
                    <a:pt x="69" y="648"/>
                  </a:lnTo>
                  <a:lnTo>
                    <a:pt x="69" y="648"/>
                  </a:lnTo>
                  <a:lnTo>
                    <a:pt x="69" y="648"/>
                  </a:lnTo>
                  <a:lnTo>
                    <a:pt x="69" y="648"/>
                  </a:lnTo>
                  <a:lnTo>
                    <a:pt x="69" y="650"/>
                  </a:lnTo>
                  <a:lnTo>
                    <a:pt x="69" y="650"/>
                  </a:lnTo>
                  <a:lnTo>
                    <a:pt x="69" y="650"/>
                  </a:lnTo>
                  <a:lnTo>
                    <a:pt x="69" y="650"/>
                  </a:lnTo>
                  <a:lnTo>
                    <a:pt x="67" y="648"/>
                  </a:lnTo>
                  <a:lnTo>
                    <a:pt x="67" y="648"/>
                  </a:lnTo>
                  <a:lnTo>
                    <a:pt x="67" y="648"/>
                  </a:lnTo>
                  <a:lnTo>
                    <a:pt x="67" y="648"/>
                  </a:lnTo>
                  <a:lnTo>
                    <a:pt x="67" y="648"/>
                  </a:lnTo>
                  <a:lnTo>
                    <a:pt x="67" y="648"/>
                  </a:lnTo>
                  <a:lnTo>
                    <a:pt x="69" y="648"/>
                  </a:lnTo>
                  <a:lnTo>
                    <a:pt x="69" y="648"/>
                  </a:lnTo>
                  <a:lnTo>
                    <a:pt x="69" y="645"/>
                  </a:lnTo>
                  <a:lnTo>
                    <a:pt x="69" y="648"/>
                  </a:lnTo>
                  <a:lnTo>
                    <a:pt x="69" y="648"/>
                  </a:lnTo>
                  <a:close/>
                  <a:moveTo>
                    <a:pt x="56" y="650"/>
                  </a:moveTo>
                  <a:lnTo>
                    <a:pt x="56" y="650"/>
                  </a:lnTo>
                  <a:lnTo>
                    <a:pt x="56" y="650"/>
                  </a:lnTo>
                  <a:lnTo>
                    <a:pt x="56" y="650"/>
                  </a:lnTo>
                  <a:lnTo>
                    <a:pt x="54" y="650"/>
                  </a:lnTo>
                  <a:lnTo>
                    <a:pt x="54" y="648"/>
                  </a:lnTo>
                  <a:lnTo>
                    <a:pt x="54" y="648"/>
                  </a:lnTo>
                  <a:lnTo>
                    <a:pt x="54" y="648"/>
                  </a:lnTo>
                  <a:lnTo>
                    <a:pt x="51" y="648"/>
                  </a:lnTo>
                  <a:lnTo>
                    <a:pt x="51" y="648"/>
                  </a:lnTo>
                  <a:lnTo>
                    <a:pt x="51" y="648"/>
                  </a:lnTo>
                  <a:lnTo>
                    <a:pt x="51" y="645"/>
                  </a:lnTo>
                  <a:lnTo>
                    <a:pt x="51" y="645"/>
                  </a:lnTo>
                  <a:lnTo>
                    <a:pt x="54" y="645"/>
                  </a:lnTo>
                  <a:lnTo>
                    <a:pt x="54" y="645"/>
                  </a:lnTo>
                  <a:lnTo>
                    <a:pt x="54" y="645"/>
                  </a:lnTo>
                  <a:lnTo>
                    <a:pt x="54" y="645"/>
                  </a:lnTo>
                  <a:lnTo>
                    <a:pt x="54" y="648"/>
                  </a:lnTo>
                  <a:lnTo>
                    <a:pt x="54" y="648"/>
                  </a:lnTo>
                  <a:lnTo>
                    <a:pt x="54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50"/>
                  </a:lnTo>
                  <a:lnTo>
                    <a:pt x="56" y="650"/>
                  </a:lnTo>
                  <a:close/>
                  <a:moveTo>
                    <a:pt x="54" y="645"/>
                  </a:moveTo>
                  <a:lnTo>
                    <a:pt x="54" y="645"/>
                  </a:lnTo>
                  <a:lnTo>
                    <a:pt x="54" y="645"/>
                  </a:lnTo>
                  <a:lnTo>
                    <a:pt x="51" y="645"/>
                  </a:lnTo>
                  <a:lnTo>
                    <a:pt x="51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5"/>
                  </a:lnTo>
                  <a:lnTo>
                    <a:pt x="49" y="643"/>
                  </a:lnTo>
                  <a:lnTo>
                    <a:pt x="49" y="643"/>
                  </a:lnTo>
                  <a:lnTo>
                    <a:pt x="49" y="643"/>
                  </a:lnTo>
                  <a:lnTo>
                    <a:pt x="51" y="643"/>
                  </a:lnTo>
                  <a:lnTo>
                    <a:pt x="51" y="643"/>
                  </a:lnTo>
                  <a:lnTo>
                    <a:pt x="51" y="645"/>
                  </a:lnTo>
                  <a:lnTo>
                    <a:pt x="51" y="645"/>
                  </a:lnTo>
                  <a:lnTo>
                    <a:pt x="51" y="645"/>
                  </a:lnTo>
                  <a:lnTo>
                    <a:pt x="54" y="645"/>
                  </a:lnTo>
                  <a:lnTo>
                    <a:pt x="54" y="645"/>
                  </a:lnTo>
                  <a:close/>
                  <a:moveTo>
                    <a:pt x="63" y="643"/>
                  </a:moveTo>
                  <a:lnTo>
                    <a:pt x="63" y="645"/>
                  </a:lnTo>
                  <a:lnTo>
                    <a:pt x="63" y="645"/>
                  </a:lnTo>
                  <a:lnTo>
                    <a:pt x="65" y="645"/>
                  </a:lnTo>
                  <a:lnTo>
                    <a:pt x="63" y="645"/>
                  </a:lnTo>
                  <a:lnTo>
                    <a:pt x="63" y="645"/>
                  </a:lnTo>
                  <a:lnTo>
                    <a:pt x="60" y="648"/>
                  </a:lnTo>
                  <a:lnTo>
                    <a:pt x="58" y="648"/>
                  </a:lnTo>
                  <a:lnTo>
                    <a:pt x="58" y="648"/>
                  </a:lnTo>
                  <a:lnTo>
                    <a:pt x="58" y="648"/>
                  </a:lnTo>
                  <a:lnTo>
                    <a:pt x="58" y="648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8"/>
                  </a:lnTo>
                  <a:lnTo>
                    <a:pt x="56" y="645"/>
                  </a:lnTo>
                  <a:lnTo>
                    <a:pt x="56" y="645"/>
                  </a:lnTo>
                  <a:lnTo>
                    <a:pt x="56" y="645"/>
                  </a:lnTo>
                  <a:lnTo>
                    <a:pt x="56" y="645"/>
                  </a:lnTo>
                  <a:lnTo>
                    <a:pt x="56" y="645"/>
                  </a:lnTo>
                  <a:lnTo>
                    <a:pt x="56" y="645"/>
                  </a:lnTo>
                  <a:lnTo>
                    <a:pt x="54" y="645"/>
                  </a:lnTo>
                  <a:lnTo>
                    <a:pt x="54" y="645"/>
                  </a:lnTo>
                  <a:lnTo>
                    <a:pt x="54" y="645"/>
                  </a:lnTo>
                  <a:lnTo>
                    <a:pt x="54" y="643"/>
                  </a:lnTo>
                  <a:lnTo>
                    <a:pt x="54" y="643"/>
                  </a:lnTo>
                  <a:lnTo>
                    <a:pt x="56" y="643"/>
                  </a:lnTo>
                  <a:lnTo>
                    <a:pt x="56" y="643"/>
                  </a:lnTo>
                  <a:lnTo>
                    <a:pt x="56" y="643"/>
                  </a:lnTo>
                  <a:lnTo>
                    <a:pt x="56" y="643"/>
                  </a:lnTo>
                  <a:lnTo>
                    <a:pt x="60" y="643"/>
                  </a:lnTo>
                  <a:lnTo>
                    <a:pt x="60" y="643"/>
                  </a:lnTo>
                  <a:lnTo>
                    <a:pt x="63" y="643"/>
                  </a:lnTo>
                  <a:close/>
                  <a:moveTo>
                    <a:pt x="45" y="643"/>
                  </a:moveTo>
                  <a:lnTo>
                    <a:pt x="47" y="643"/>
                  </a:lnTo>
                  <a:lnTo>
                    <a:pt x="47" y="643"/>
                  </a:lnTo>
                  <a:lnTo>
                    <a:pt x="47" y="643"/>
                  </a:lnTo>
                  <a:lnTo>
                    <a:pt x="47" y="643"/>
                  </a:lnTo>
                  <a:lnTo>
                    <a:pt x="47" y="645"/>
                  </a:lnTo>
                  <a:lnTo>
                    <a:pt x="47" y="645"/>
                  </a:lnTo>
                  <a:lnTo>
                    <a:pt x="47" y="645"/>
                  </a:lnTo>
                  <a:lnTo>
                    <a:pt x="47" y="645"/>
                  </a:lnTo>
                  <a:lnTo>
                    <a:pt x="47" y="645"/>
                  </a:lnTo>
                  <a:lnTo>
                    <a:pt x="45" y="645"/>
                  </a:lnTo>
                  <a:lnTo>
                    <a:pt x="45" y="643"/>
                  </a:lnTo>
                  <a:lnTo>
                    <a:pt x="45" y="643"/>
                  </a:lnTo>
                  <a:lnTo>
                    <a:pt x="45" y="643"/>
                  </a:lnTo>
                  <a:lnTo>
                    <a:pt x="45" y="643"/>
                  </a:lnTo>
                  <a:lnTo>
                    <a:pt x="45" y="643"/>
                  </a:lnTo>
                  <a:lnTo>
                    <a:pt x="45" y="643"/>
                  </a:lnTo>
                  <a:close/>
                  <a:moveTo>
                    <a:pt x="67" y="643"/>
                  </a:moveTo>
                  <a:lnTo>
                    <a:pt x="67" y="643"/>
                  </a:lnTo>
                  <a:lnTo>
                    <a:pt x="67" y="643"/>
                  </a:lnTo>
                  <a:lnTo>
                    <a:pt x="67" y="643"/>
                  </a:lnTo>
                  <a:lnTo>
                    <a:pt x="67" y="643"/>
                  </a:lnTo>
                  <a:lnTo>
                    <a:pt x="67" y="643"/>
                  </a:lnTo>
                  <a:lnTo>
                    <a:pt x="67" y="643"/>
                  </a:lnTo>
                  <a:lnTo>
                    <a:pt x="67" y="645"/>
                  </a:lnTo>
                  <a:lnTo>
                    <a:pt x="67" y="645"/>
                  </a:lnTo>
                  <a:lnTo>
                    <a:pt x="67" y="645"/>
                  </a:lnTo>
                  <a:lnTo>
                    <a:pt x="67" y="645"/>
                  </a:lnTo>
                  <a:lnTo>
                    <a:pt x="67" y="645"/>
                  </a:lnTo>
                  <a:lnTo>
                    <a:pt x="69" y="645"/>
                  </a:lnTo>
                  <a:lnTo>
                    <a:pt x="69" y="645"/>
                  </a:lnTo>
                  <a:lnTo>
                    <a:pt x="69" y="645"/>
                  </a:lnTo>
                  <a:lnTo>
                    <a:pt x="69" y="645"/>
                  </a:lnTo>
                  <a:lnTo>
                    <a:pt x="69" y="645"/>
                  </a:lnTo>
                  <a:lnTo>
                    <a:pt x="69" y="645"/>
                  </a:lnTo>
                  <a:lnTo>
                    <a:pt x="69" y="645"/>
                  </a:lnTo>
                  <a:lnTo>
                    <a:pt x="67" y="648"/>
                  </a:lnTo>
                  <a:lnTo>
                    <a:pt x="67" y="648"/>
                  </a:lnTo>
                  <a:lnTo>
                    <a:pt x="67" y="645"/>
                  </a:lnTo>
                  <a:lnTo>
                    <a:pt x="65" y="645"/>
                  </a:lnTo>
                  <a:lnTo>
                    <a:pt x="65" y="645"/>
                  </a:lnTo>
                  <a:lnTo>
                    <a:pt x="65" y="645"/>
                  </a:lnTo>
                  <a:lnTo>
                    <a:pt x="65" y="645"/>
                  </a:lnTo>
                  <a:lnTo>
                    <a:pt x="65" y="645"/>
                  </a:lnTo>
                  <a:lnTo>
                    <a:pt x="65" y="645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3"/>
                  </a:lnTo>
                  <a:lnTo>
                    <a:pt x="65" y="641"/>
                  </a:lnTo>
                  <a:lnTo>
                    <a:pt x="67" y="643"/>
                  </a:lnTo>
                  <a:close/>
                  <a:moveTo>
                    <a:pt x="56" y="641"/>
                  </a:moveTo>
                  <a:lnTo>
                    <a:pt x="58" y="641"/>
                  </a:lnTo>
                  <a:lnTo>
                    <a:pt x="58" y="643"/>
                  </a:lnTo>
                  <a:lnTo>
                    <a:pt x="58" y="643"/>
                  </a:lnTo>
                  <a:lnTo>
                    <a:pt x="56" y="643"/>
                  </a:lnTo>
                  <a:lnTo>
                    <a:pt x="56" y="643"/>
                  </a:lnTo>
                  <a:lnTo>
                    <a:pt x="54" y="643"/>
                  </a:lnTo>
                  <a:lnTo>
                    <a:pt x="54" y="643"/>
                  </a:lnTo>
                  <a:lnTo>
                    <a:pt x="54" y="643"/>
                  </a:lnTo>
                  <a:lnTo>
                    <a:pt x="54" y="643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6" y="641"/>
                  </a:lnTo>
                  <a:lnTo>
                    <a:pt x="56" y="641"/>
                  </a:lnTo>
                  <a:lnTo>
                    <a:pt x="56" y="641"/>
                  </a:lnTo>
                  <a:lnTo>
                    <a:pt x="56" y="641"/>
                  </a:lnTo>
                  <a:close/>
                  <a:moveTo>
                    <a:pt x="60" y="643"/>
                  </a:moveTo>
                  <a:lnTo>
                    <a:pt x="60" y="643"/>
                  </a:lnTo>
                  <a:lnTo>
                    <a:pt x="60" y="643"/>
                  </a:lnTo>
                  <a:lnTo>
                    <a:pt x="58" y="643"/>
                  </a:lnTo>
                  <a:lnTo>
                    <a:pt x="58" y="643"/>
                  </a:lnTo>
                  <a:lnTo>
                    <a:pt x="58" y="641"/>
                  </a:lnTo>
                  <a:lnTo>
                    <a:pt x="58" y="641"/>
                  </a:lnTo>
                  <a:lnTo>
                    <a:pt x="58" y="641"/>
                  </a:lnTo>
                  <a:lnTo>
                    <a:pt x="58" y="641"/>
                  </a:lnTo>
                  <a:lnTo>
                    <a:pt x="58" y="641"/>
                  </a:lnTo>
                  <a:lnTo>
                    <a:pt x="56" y="641"/>
                  </a:lnTo>
                  <a:lnTo>
                    <a:pt x="56" y="639"/>
                  </a:lnTo>
                  <a:lnTo>
                    <a:pt x="56" y="639"/>
                  </a:lnTo>
                  <a:lnTo>
                    <a:pt x="56" y="639"/>
                  </a:lnTo>
                  <a:lnTo>
                    <a:pt x="56" y="641"/>
                  </a:lnTo>
                  <a:lnTo>
                    <a:pt x="58" y="641"/>
                  </a:lnTo>
                  <a:lnTo>
                    <a:pt x="58" y="641"/>
                  </a:lnTo>
                  <a:lnTo>
                    <a:pt x="58" y="641"/>
                  </a:lnTo>
                  <a:lnTo>
                    <a:pt x="60" y="641"/>
                  </a:lnTo>
                  <a:lnTo>
                    <a:pt x="60" y="641"/>
                  </a:lnTo>
                  <a:lnTo>
                    <a:pt x="60" y="641"/>
                  </a:lnTo>
                  <a:lnTo>
                    <a:pt x="60" y="641"/>
                  </a:lnTo>
                  <a:lnTo>
                    <a:pt x="60" y="641"/>
                  </a:lnTo>
                  <a:lnTo>
                    <a:pt x="60" y="643"/>
                  </a:lnTo>
                  <a:lnTo>
                    <a:pt x="60" y="643"/>
                  </a:lnTo>
                  <a:close/>
                  <a:moveTo>
                    <a:pt x="56" y="641"/>
                  </a:moveTo>
                  <a:lnTo>
                    <a:pt x="56" y="641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1" y="641"/>
                  </a:lnTo>
                  <a:lnTo>
                    <a:pt x="51" y="641"/>
                  </a:lnTo>
                  <a:lnTo>
                    <a:pt x="51" y="641"/>
                  </a:lnTo>
                  <a:lnTo>
                    <a:pt x="54" y="641"/>
                  </a:lnTo>
                  <a:lnTo>
                    <a:pt x="54" y="643"/>
                  </a:lnTo>
                  <a:lnTo>
                    <a:pt x="51" y="643"/>
                  </a:lnTo>
                  <a:lnTo>
                    <a:pt x="51" y="641"/>
                  </a:lnTo>
                  <a:lnTo>
                    <a:pt x="49" y="641"/>
                  </a:lnTo>
                  <a:lnTo>
                    <a:pt x="49" y="641"/>
                  </a:lnTo>
                  <a:lnTo>
                    <a:pt x="49" y="641"/>
                  </a:lnTo>
                  <a:lnTo>
                    <a:pt x="49" y="641"/>
                  </a:lnTo>
                  <a:lnTo>
                    <a:pt x="49" y="639"/>
                  </a:lnTo>
                  <a:lnTo>
                    <a:pt x="49" y="639"/>
                  </a:lnTo>
                  <a:lnTo>
                    <a:pt x="51" y="639"/>
                  </a:lnTo>
                  <a:lnTo>
                    <a:pt x="51" y="641"/>
                  </a:lnTo>
                  <a:lnTo>
                    <a:pt x="51" y="641"/>
                  </a:lnTo>
                  <a:lnTo>
                    <a:pt x="51" y="641"/>
                  </a:lnTo>
                  <a:lnTo>
                    <a:pt x="51" y="639"/>
                  </a:lnTo>
                  <a:lnTo>
                    <a:pt x="51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6" y="639"/>
                  </a:lnTo>
                  <a:lnTo>
                    <a:pt x="56" y="641"/>
                  </a:lnTo>
                  <a:close/>
                  <a:moveTo>
                    <a:pt x="63" y="641"/>
                  </a:moveTo>
                  <a:lnTo>
                    <a:pt x="63" y="641"/>
                  </a:lnTo>
                  <a:lnTo>
                    <a:pt x="63" y="641"/>
                  </a:lnTo>
                  <a:lnTo>
                    <a:pt x="60" y="641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3" y="641"/>
                  </a:lnTo>
                  <a:lnTo>
                    <a:pt x="63" y="641"/>
                  </a:lnTo>
                  <a:close/>
                  <a:moveTo>
                    <a:pt x="81" y="641"/>
                  </a:moveTo>
                  <a:lnTo>
                    <a:pt x="78" y="641"/>
                  </a:lnTo>
                  <a:lnTo>
                    <a:pt x="81" y="641"/>
                  </a:lnTo>
                  <a:lnTo>
                    <a:pt x="81" y="641"/>
                  </a:lnTo>
                  <a:lnTo>
                    <a:pt x="81" y="639"/>
                  </a:lnTo>
                  <a:lnTo>
                    <a:pt x="81" y="639"/>
                  </a:lnTo>
                  <a:lnTo>
                    <a:pt x="83" y="641"/>
                  </a:lnTo>
                  <a:lnTo>
                    <a:pt x="83" y="641"/>
                  </a:lnTo>
                  <a:lnTo>
                    <a:pt x="83" y="641"/>
                  </a:lnTo>
                  <a:lnTo>
                    <a:pt x="83" y="641"/>
                  </a:lnTo>
                  <a:lnTo>
                    <a:pt x="85" y="641"/>
                  </a:lnTo>
                  <a:lnTo>
                    <a:pt x="85" y="641"/>
                  </a:lnTo>
                  <a:lnTo>
                    <a:pt x="85" y="643"/>
                  </a:lnTo>
                  <a:lnTo>
                    <a:pt x="85" y="643"/>
                  </a:lnTo>
                  <a:lnTo>
                    <a:pt x="83" y="643"/>
                  </a:lnTo>
                  <a:lnTo>
                    <a:pt x="83" y="645"/>
                  </a:lnTo>
                  <a:lnTo>
                    <a:pt x="83" y="643"/>
                  </a:lnTo>
                  <a:lnTo>
                    <a:pt x="81" y="643"/>
                  </a:lnTo>
                  <a:lnTo>
                    <a:pt x="81" y="643"/>
                  </a:lnTo>
                  <a:lnTo>
                    <a:pt x="81" y="643"/>
                  </a:lnTo>
                  <a:lnTo>
                    <a:pt x="81" y="643"/>
                  </a:lnTo>
                  <a:lnTo>
                    <a:pt x="81" y="645"/>
                  </a:lnTo>
                  <a:lnTo>
                    <a:pt x="81" y="645"/>
                  </a:lnTo>
                  <a:lnTo>
                    <a:pt x="83" y="645"/>
                  </a:lnTo>
                  <a:lnTo>
                    <a:pt x="83" y="645"/>
                  </a:lnTo>
                  <a:lnTo>
                    <a:pt x="83" y="645"/>
                  </a:lnTo>
                  <a:lnTo>
                    <a:pt x="83" y="645"/>
                  </a:lnTo>
                  <a:lnTo>
                    <a:pt x="83" y="648"/>
                  </a:lnTo>
                  <a:lnTo>
                    <a:pt x="83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1" y="650"/>
                  </a:lnTo>
                  <a:lnTo>
                    <a:pt x="81" y="650"/>
                  </a:lnTo>
                  <a:lnTo>
                    <a:pt x="81" y="650"/>
                  </a:lnTo>
                  <a:lnTo>
                    <a:pt x="81" y="650"/>
                  </a:lnTo>
                  <a:lnTo>
                    <a:pt x="81" y="650"/>
                  </a:lnTo>
                  <a:lnTo>
                    <a:pt x="78" y="652"/>
                  </a:lnTo>
                  <a:lnTo>
                    <a:pt x="78" y="652"/>
                  </a:lnTo>
                  <a:lnTo>
                    <a:pt x="78" y="652"/>
                  </a:lnTo>
                  <a:lnTo>
                    <a:pt x="76" y="652"/>
                  </a:lnTo>
                  <a:lnTo>
                    <a:pt x="76" y="650"/>
                  </a:lnTo>
                  <a:lnTo>
                    <a:pt x="76" y="650"/>
                  </a:lnTo>
                  <a:lnTo>
                    <a:pt x="74" y="650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8" y="648"/>
                  </a:lnTo>
                  <a:lnTo>
                    <a:pt x="78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6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4" y="648"/>
                  </a:lnTo>
                  <a:lnTo>
                    <a:pt x="72" y="645"/>
                  </a:lnTo>
                  <a:lnTo>
                    <a:pt x="72" y="645"/>
                  </a:lnTo>
                  <a:lnTo>
                    <a:pt x="72" y="645"/>
                  </a:lnTo>
                  <a:lnTo>
                    <a:pt x="72" y="645"/>
                  </a:lnTo>
                  <a:lnTo>
                    <a:pt x="72" y="643"/>
                  </a:lnTo>
                  <a:lnTo>
                    <a:pt x="72" y="643"/>
                  </a:lnTo>
                  <a:lnTo>
                    <a:pt x="72" y="643"/>
                  </a:lnTo>
                  <a:lnTo>
                    <a:pt x="72" y="643"/>
                  </a:lnTo>
                  <a:lnTo>
                    <a:pt x="72" y="643"/>
                  </a:lnTo>
                  <a:lnTo>
                    <a:pt x="72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6" y="643"/>
                  </a:lnTo>
                  <a:lnTo>
                    <a:pt x="76" y="645"/>
                  </a:lnTo>
                  <a:lnTo>
                    <a:pt x="76" y="645"/>
                  </a:lnTo>
                  <a:lnTo>
                    <a:pt x="76" y="643"/>
                  </a:lnTo>
                  <a:lnTo>
                    <a:pt x="76" y="643"/>
                  </a:lnTo>
                  <a:lnTo>
                    <a:pt x="76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3"/>
                  </a:lnTo>
                  <a:lnTo>
                    <a:pt x="74" y="641"/>
                  </a:lnTo>
                  <a:lnTo>
                    <a:pt x="74" y="641"/>
                  </a:lnTo>
                  <a:lnTo>
                    <a:pt x="76" y="643"/>
                  </a:lnTo>
                  <a:lnTo>
                    <a:pt x="76" y="643"/>
                  </a:lnTo>
                  <a:lnTo>
                    <a:pt x="76" y="643"/>
                  </a:lnTo>
                  <a:lnTo>
                    <a:pt x="76" y="643"/>
                  </a:lnTo>
                  <a:lnTo>
                    <a:pt x="76" y="643"/>
                  </a:lnTo>
                  <a:lnTo>
                    <a:pt x="76" y="641"/>
                  </a:lnTo>
                  <a:lnTo>
                    <a:pt x="76" y="641"/>
                  </a:lnTo>
                  <a:lnTo>
                    <a:pt x="76" y="641"/>
                  </a:lnTo>
                  <a:lnTo>
                    <a:pt x="74" y="641"/>
                  </a:lnTo>
                  <a:lnTo>
                    <a:pt x="74" y="641"/>
                  </a:lnTo>
                  <a:lnTo>
                    <a:pt x="74" y="641"/>
                  </a:lnTo>
                  <a:lnTo>
                    <a:pt x="74" y="639"/>
                  </a:lnTo>
                  <a:lnTo>
                    <a:pt x="74" y="639"/>
                  </a:lnTo>
                  <a:lnTo>
                    <a:pt x="74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8" y="641"/>
                  </a:lnTo>
                  <a:lnTo>
                    <a:pt x="78" y="641"/>
                  </a:lnTo>
                  <a:lnTo>
                    <a:pt x="78" y="641"/>
                  </a:lnTo>
                  <a:lnTo>
                    <a:pt x="78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6" y="639"/>
                  </a:lnTo>
                  <a:lnTo>
                    <a:pt x="78" y="639"/>
                  </a:lnTo>
                  <a:lnTo>
                    <a:pt x="78" y="639"/>
                  </a:lnTo>
                  <a:lnTo>
                    <a:pt x="78" y="639"/>
                  </a:lnTo>
                  <a:lnTo>
                    <a:pt x="78" y="639"/>
                  </a:lnTo>
                  <a:lnTo>
                    <a:pt x="78" y="639"/>
                  </a:lnTo>
                  <a:lnTo>
                    <a:pt x="81" y="639"/>
                  </a:lnTo>
                  <a:lnTo>
                    <a:pt x="81" y="641"/>
                  </a:lnTo>
                  <a:close/>
                  <a:moveTo>
                    <a:pt x="65" y="639"/>
                  </a:move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3" y="639"/>
                  </a:lnTo>
                  <a:lnTo>
                    <a:pt x="63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6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lnTo>
                    <a:pt x="65" y="639"/>
                  </a:lnTo>
                  <a:close/>
                  <a:moveTo>
                    <a:pt x="58" y="639"/>
                  </a:moveTo>
                  <a:lnTo>
                    <a:pt x="58" y="639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0" y="639"/>
                  </a:lnTo>
                  <a:lnTo>
                    <a:pt x="60" y="641"/>
                  </a:lnTo>
                  <a:lnTo>
                    <a:pt x="60" y="639"/>
                  </a:lnTo>
                  <a:lnTo>
                    <a:pt x="58" y="639"/>
                  </a:lnTo>
                  <a:lnTo>
                    <a:pt x="58" y="639"/>
                  </a:lnTo>
                  <a:lnTo>
                    <a:pt x="58" y="639"/>
                  </a:lnTo>
                  <a:lnTo>
                    <a:pt x="58" y="639"/>
                  </a:lnTo>
                  <a:lnTo>
                    <a:pt x="58" y="639"/>
                  </a:lnTo>
                  <a:lnTo>
                    <a:pt x="58" y="639"/>
                  </a:lnTo>
                  <a:lnTo>
                    <a:pt x="56" y="639"/>
                  </a:lnTo>
                  <a:lnTo>
                    <a:pt x="56" y="636"/>
                  </a:lnTo>
                  <a:lnTo>
                    <a:pt x="56" y="636"/>
                  </a:lnTo>
                  <a:lnTo>
                    <a:pt x="56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9"/>
                  </a:lnTo>
                  <a:close/>
                  <a:moveTo>
                    <a:pt x="72" y="636"/>
                  </a:moveTo>
                  <a:lnTo>
                    <a:pt x="74" y="636"/>
                  </a:lnTo>
                  <a:lnTo>
                    <a:pt x="74" y="636"/>
                  </a:lnTo>
                  <a:lnTo>
                    <a:pt x="74" y="639"/>
                  </a:lnTo>
                  <a:lnTo>
                    <a:pt x="74" y="639"/>
                  </a:lnTo>
                  <a:lnTo>
                    <a:pt x="74" y="639"/>
                  </a:lnTo>
                  <a:lnTo>
                    <a:pt x="72" y="639"/>
                  </a:lnTo>
                  <a:lnTo>
                    <a:pt x="72" y="639"/>
                  </a:lnTo>
                  <a:lnTo>
                    <a:pt x="72" y="639"/>
                  </a:lnTo>
                  <a:lnTo>
                    <a:pt x="72" y="636"/>
                  </a:lnTo>
                  <a:lnTo>
                    <a:pt x="72" y="636"/>
                  </a:lnTo>
                  <a:lnTo>
                    <a:pt x="72" y="636"/>
                  </a:lnTo>
                  <a:lnTo>
                    <a:pt x="72" y="636"/>
                  </a:lnTo>
                  <a:lnTo>
                    <a:pt x="72" y="636"/>
                  </a:lnTo>
                  <a:close/>
                  <a:moveTo>
                    <a:pt x="63" y="636"/>
                  </a:moveTo>
                  <a:lnTo>
                    <a:pt x="63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0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3" y="636"/>
                  </a:lnTo>
                  <a:close/>
                  <a:moveTo>
                    <a:pt x="54" y="636"/>
                  </a:moveTo>
                  <a:lnTo>
                    <a:pt x="54" y="636"/>
                  </a:lnTo>
                  <a:lnTo>
                    <a:pt x="51" y="636"/>
                  </a:lnTo>
                  <a:lnTo>
                    <a:pt x="51" y="636"/>
                  </a:lnTo>
                  <a:lnTo>
                    <a:pt x="51" y="636"/>
                  </a:lnTo>
                  <a:lnTo>
                    <a:pt x="51" y="636"/>
                  </a:lnTo>
                  <a:lnTo>
                    <a:pt x="49" y="636"/>
                  </a:lnTo>
                  <a:lnTo>
                    <a:pt x="49" y="636"/>
                  </a:lnTo>
                  <a:lnTo>
                    <a:pt x="49" y="636"/>
                  </a:lnTo>
                  <a:lnTo>
                    <a:pt x="51" y="634"/>
                  </a:lnTo>
                  <a:lnTo>
                    <a:pt x="51" y="634"/>
                  </a:lnTo>
                  <a:lnTo>
                    <a:pt x="51" y="634"/>
                  </a:lnTo>
                  <a:lnTo>
                    <a:pt x="51" y="634"/>
                  </a:lnTo>
                  <a:lnTo>
                    <a:pt x="51" y="636"/>
                  </a:lnTo>
                  <a:lnTo>
                    <a:pt x="54" y="636"/>
                  </a:lnTo>
                  <a:lnTo>
                    <a:pt x="54" y="636"/>
                  </a:lnTo>
                  <a:close/>
                  <a:moveTo>
                    <a:pt x="65" y="636"/>
                  </a:moveTo>
                  <a:lnTo>
                    <a:pt x="65" y="636"/>
                  </a:lnTo>
                  <a:lnTo>
                    <a:pt x="65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3" y="636"/>
                  </a:lnTo>
                  <a:lnTo>
                    <a:pt x="63" y="634"/>
                  </a:lnTo>
                  <a:lnTo>
                    <a:pt x="65" y="634"/>
                  </a:lnTo>
                  <a:lnTo>
                    <a:pt x="65" y="636"/>
                  </a:lnTo>
                  <a:close/>
                  <a:moveTo>
                    <a:pt x="56" y="634"/>
                  </a:moveTo>
                  <a:lnTo>
                    <a:pt x="58" y="634"/>
                  </a:lnTo>
                  <a:lnTo>
                    <a:pt x="58" y="634"/>
                  </a:lnTo>
                  <a:lnTo>
                    <a:pt x="58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58" y="634"/>
                  </a:lnTo>
                  <a:lnTo>
                    <a:pt x="58" y="634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8" y="636"/>
                  </a:lnTo>
                  <a:lnTo>
                    <a:pt x="56" y="636"/>
                  </a:lnTo>
                  <a:lnTo>
                    <a:pt x="56" y="636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4"/>
                  </a:lnTo>
                  <a:lnTo>
                    <a:pt x="56" y="632"/>
                  </a:lnTo>
                  <a:lnTo>
                    <a:pt x="56" y="632"/>
                  </a:lnTo>
                  <a:lnTo>
                    <a:pt x="56" y="632"/>
                  </a:lnTo>
                  <a:lnTo>
                    <a:pt x="56" y="634"/>
                  </a:lnTo>
                  <a:close/>
                  <a:moveTo>
                    <a:pt x="51" y="634"/>
                  </a:moveTo>
                  <a:lnTo>
                    <a:pt x="51" y="634"/>
                  </a:lnTo>
                  <a:lnTo>
                    <a:pt x="49" y="634"/>
                  </a:lnTo>
                  <a:lnTo>
                    <a:pt x="49" y="632"/>
                  </a:lnTo>
                  <a:lnTo>
                    <a:pt x="49" y="632"/>
                  </a:lnTo>
                  <a:lnTo>
                    <a:pt x="51" y="632"/>
                  </a:lnTo>
                  <a:lnTo>
                    <a:pt x="51" y="632"/>
                  </a:lnTo>
                  <a:lnTo>
                    <a:pt x="51" y="632"/>
                  </a:lnTo>
                  <a:lnTo>
                    <a:pt x="51" y="632"/>
                  </a:lnTo>
                  <a:lnTo>
                    <a:pt x="51" y="634"/>
                  </a:lnTo>
                  <a:lnTo>
                    <a:pt x="51" y="634"/>
                  </a:lnTo>
                  <a:lnTo>
                    <a:pt x="51" y="634"/>
                  </a:lnTo>
                  <a:close/>
                  <a:moveTo>
                    <a:pt x="60" y="632"/>
                  </a:moveTo>
                  <a:lnTo>
                    <a:pt x="60" y="634"/>
                  </a:lnTo>
                  <a:lnTo>
                    <a:pt x="60" y="634"/>
                  </a:lnTo>
                  <a:lnTo>
                    <a:pt x="60" y="632"/>
                  </a:lnTo>
                  <a:lnTo>
                    <a:pt x="60" y="632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60" y="634"/>
                  </a:lnTo>
                  <a:lnTo>
                    <a:pt x="58" y="634"/>
                  </a:lnTo>
                  <a:lnTo>
                    <a:pt x="58" y="634"/>
                  </a:lnTo>
                  <a:lnTo>
                    <a:pt x="58" y="634"/>
                  </a:lnTo>
                  <a:lnTo>
                    <a:pt x="56" y="632"/>
                  </a:lnTo>
                  <a:lnTo>
                    <a:pt x="58" y="632"/>
                  </a:lnTo>
                  <a:lnTo>
                    <a:pt x="58" y="632"/>
                  </a:lnTo>
                  <a:lnTo>
                    <a:pt x="58" y="632"/>
                  </a:lnTo>
                  <a:lnTo>
                    <a:pt x="60" y="632"/>
                  </a:lnTo>
                  <a:lnTo>
                    <a:pt x="60" y="632"/>
                  </a:lnTo>
                  <a:lnTo>
                    <a:pt x="60" y="632"/>
                  </a:lnTo>
                  <a:lnTo>
                    <a:pt x="58" y="632"/>
                  </a:lnTo>
                  <a:lnTo>
                    <a:pt x="58" y="632"/>
                  </a:lnTo>
                  <a:lnTo>
                    <a:pt x="58" y="632"/>
                  </a:lnTo>
                  <a:lnTo>
                    <a:pt x="60" y="632"/>
                  </a:lnTo>
                  <a:close/>
                  <a:moveTo>
                    <a:pt x="51" y="630"/>
                  </a:moveTo>
                  <a:lnTo>
                    <a:pt x="51" y="630"/>
                  </a:lnTo>
                  <a:lnTo>
                    <a:pt x="49" y="630"/>
                  </a:lnTo>
                  <a:lnTo>
                    <a:pt x="49" y="630"/>
                  </a:lnTo>
                  <a:lnTo>
                    <a:pt x="49" y="630"/>
                  </a:lnTo>
                  <a:lnTo>
                    <a:pt x="49" y="630"/>
                  </a:lnTo>
                  <a:lnTo>
                    <a:pt x="49" y="630"/>
                  </a:lnTo>
                  <a:lnTo>
                    <a:pt x="51" y="630"/>
                  </a:lnTo>
                  <a:lnTo>
                    <a:pt x="51" y="630"/>
                  </a:lnTo>
                  <a:close/>
                  <a:moveTo>
                    <a:pt x="63" y="632"/>
                  </a:moveTo>
                  <a:lnTo>
                    <a:pt x="63" y="632"/>
                  </a:lnTo>
                  <a:lnTo>
                    <a:pt x="63" y="632"/>
                  </a:lnTo>
                  <a:lnTo>
                    <a:pt x="63" y="632"/>
                  </a:lnTo>
                  <a:lnTo>
                    <a:pt x="63" y="632"/>
                  </a:lnTo>
                  <a:lnTo>
                    <a:pt x="63" y="632"/>
                  </a:lnTo>
                  <a:lnTo>
                    <a:pt x="63" y="632"/>
                  </a:lnTo>
                  <a:lnTo>
                    <a:pt x="63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30"/>
                  </a:lnTo>
                  <a:lnTo>
                    <a:pt x="60" y="627"/>
                  </a:lnTo>
                  <a:lnTo>
                    <a:pt x="60" y="627"/>
                  </a:lnTo>
                  <a:lnTo>
                    <a:pt x="60" y="627"/>
                  </a:lnTo>
                  <a:lnTo>
                    <a:pt x="60" y="627"/>
                  </a:lnTo>
                  <a:lnTo>
                    <a:pt x="60" y="627"/>
                  </a:lnTo>
                  <a:lnTo>
                    <a:pt x="60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2"/>
                  </a:lnTo>
                  <a:lnTo>
                    <a:pt x="65" y="632"/>
                  </a:lnTo>
                  <a:lnTo>
                    <a:pt x="65" y="632"/>
                  </a:lnTo>
                  <a:lnTo>
                    <a:pt x="63" y="632"/>
                  </a:lnTo>
                  <a:close/>
                  <a:moveTo>
                    <a:pt x="72" y="630"/>
                  </a:move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69" y="630"/>
                  </a:lnTo>
                  <a:lnTo>
                    <a:pt x="69" y="630"/>
                  </a:lnTo>
                  <a:lnTo>
                    <a:pt x="69" y="630"/>
                  </a:lnTo>
                  <a:lnTo>
                    <a:pt x="69" y="630"/>
                  </a:lnTo>
                  <a:lnTo>
                    <a:pt x="69" y="627"/>
                  </a:lnTo>
                  <a:lnTo>
                    <a:pt x="69" y="627"/>
                  </a:lnTo>
                  <a:lnTo>
                    <a:pt x="69" y="627"/>
                  </a:lnTo>
                  <a:lnTo>
                    <a:pt x="69" y="627"/>
                  </a:lnTo>
                  <a:lnTo>
                    <a:pt x="69" y="627"/>
                  </a:lnTo>
                  <a:lnTo>
                    <a:pt x="69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close/>
                  <a:moveTo>
                    <a:pt x="58" y="625"/>
                  </a:moveTo>
                  <a:lnTo>
                    <a:pt x="58" y="625"/>
                  </a:lnTo>
                  <a:lnTo>
                    <a:pt x="60" y="627"/>
                  </a:lnTo>
                  <a:lnTo>
                    <a:pt x="58" y="627"/>
                  </a:lnTo>
                  <a:lnTo>
                    <a:pt x="58" y="627"/>
                  </a:lnTo>
                  <a:lnTo>
                    <a:pt x="56" y="627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7"/>
                  </a:lnTo>
                  <a:lnTo>
                    <a:pt x="56" y="627"/>
                  </a:lnTo>
                  <a:lnTo>
                    <a:pt x="56" y="627"/>
                  </a:lnTo>
                  <a:lnTo>
                    <a:pt x="56" y="627"/>
                  </a:lnTo>
                  <a:lnTo>
                    <a:pt x="56" y="627"/>
                  </a:lnTo>
                  <a:lnTo>
                    <a:pt x="56" y="627"/>
                  </a:lnTo>
                  <a:lnTo>
                    <a:pt x="56" y="627"/>
                  </a:lnTo>
                  <a:lnTo>
                    <a:pt x="54" y="627"/>
                  </a:lnTo>
                  <a:lnTo>
                    <a:pt x="54" y="627"/>
                  </a:lnTo>
                  <a:lnTo>
                    <a:pt x="54" y="627"/>
                  </a:lnTo>
                  <a:lnTo>
                    <a:pt x="54" y="627"/>
                  </a:lnTo>
                  <a:lnTo>
                    <a:pt x="54" y="627"/>
                  </a:lnTo>
                  <a:lnTo>
                    <a:pt x="54" y="627"/>
                  </a:lnTo>
                  <a:lnTo>
                    <a:pt x="51" y="627"/>
                  </a:lnTo>
                  <a:lnTo>
                    <a:pt x="51" y="627"/>
                  </a:lnTo>
                  <a:lnTo>
                    <a:pt x="51" y="627"/>
                  </a:lnTo>
                  <a:lnTo>
                    <a:pt x="51" y="627"/>
                  </a:lnTo>
                  <a:lnTo>
                    <a:pt x="51" y="627"/>
                  </a:lnTo>
                  <a:lnTo>
                    <a:pt x="51" y="625"/>
                  </a:lnTo>
                  <a:lnTo>
                    <a:pt x="51" y="625"/>
                  </a:lnTo>
                  <a:lnTo>
                    <a:pt x="51" y="625"/>
                  </a:lnTo>
                  <a:lnTo>
                    <a:pt x="51" y="625"/>
                  </a:lnTo>
                  <a:lnTo>
                    <a:pt x="51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5"/>
                  </a:lnTo>
                  <a:lnTo>
                    <a:pt x="56" y="623"/>
                  </a:lnTo>
                  <a:lnTo>
                    <a:pt x="56" y="623"/>
                  </a:lnTo>
                  <a:lnTo>
                    <a:pt x="56" y="623"/>
                  </a:lnTo>
                  <a:lnTo>
                    <a:pt x="58" y="625"/>
                  </a:lnTo>
                  <a:close/>
                  <a:moveTo>
                    <a:pt x="58" y="605"/>
                  </a:moveTo>
                  <a:lnTo>
                    <a:pt x="60" y="605"/>
                  </a:lnTo>
                  <a:lnTo>
                    <a:pt x="60" y="605"/>
                  </a:lnTo>
                  <a:lnTo>
                    <a:pt x="60" y="605"/>
                  </a:lnTo>
                  <a:lnTo>
                    <a:pt x="58" y="605"/>
                  </a:lnTo>
                  <a:lnTo>
                    <a:pt x="58" y="605"/>
                  </a:lnTo>
                  <a:lnTo>
                    <a:pt x="58" y="605"/>
                  </a:lnTo>
                  <a:lnTo>
                    <a:pt x="58" y="605"/>
                  </a:lnTo>
                  <a:lnTo>
                    <a:pt x="58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3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8" y="605"/>
                  </a:lnTo>
                  <a:lnTo>
                    <a:pt x="58" y="605"/>
                  </a:lnTo>
                  <a:lnTo>
                    <a:pt x="58" y="605"/>
                  </a:lnTo>
                  <a:close/>
                  <a:moveTo>
                    <a:pt x="51" y="596"/>
                  </a:moveTo>
                  <a:lnTo>
                    <a:pt x="51" y="598"/>
                  </a:lnTo>
                  <a:lnTo>
                    <a:pt x="51" y="598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49" y="598"/>
                  </a:lnTo>
                  <a:lnTo>
                    <a:pt x="49" y="598"/>
                  </a:lnTo>
                  <a:lnTo>
                    <a:pt x="49" y="598"/>
                  </a:lnTo>
                  <a:lnTo>
                    <a:pt x="49" y="596"/>
                  </a:lnTo>
                  <a:lnTo>
                    <a:pt x="49" y="596"/>
                  </a:lnTo>
                  <a:lnTo>
                    <a:pt x="49" y="596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51" y="596"/>
                  </a:lnTo>
                  <a:lnTo>
                    <a:pt x="51" y="596"/>
                  </a:lnTo>
                  <a:close/>
                  <a:moveTo>
                    <a:pt x="56" y="596"/>
                  </a:moveTo>
                  <a:lnTo>
                    <a:pt x="56" y="596"/>
                  </a:lnTo>
                  <a:lnTo>
                    <a:pt x="56" y="596"/>
                  </a:lnTo>
                  <a:lnTo>
                    <a:pt x="56" y="596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1" y="594"/>
                  </a:lnTo>
                  <a:lnTo>
                    <a:pt x="51" y="594"/>
                  </a:lnTo>
                  <a:lnTo>
                    <a:pt x="51" y="594"/>
                  </a:lnTo>
                  <a:lnTo>
                    <a:pt x="51" y="594"/>
                  </a:lnTo>
                  <a:lnTo>
                    <a:pt x="51" y="594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51" y="591"/>
                  </a:lnTo>
                  <a:lnTo>
                    <a:pt x="51" y="591"/>
                  </a:lnTo>
                  <a:lnTo>
                    <a:pt x="51" y="591"/>
                  </a:lnTo>
                  <a:lnTo>
                    <a:pt x="51" y="591"/>
                  </a:lnTo>
                  <a:lnTo>
                    <a:pt x="56" y="594"/>
                  </a:lnTo>
                  <a:lnTo>
                    <a:pt x="56" y="594"/>
                  </a:lnTo>
                  <a:lnTo>
                    <a:pt x="56" y="594"/>
                  </a:lnTo>
                  <a:lnTo>
                    <a:pt x="56" y="596"/>
                  </a:lnTo>
                  <a:lnTo>
                    <a:pt x="56" y="596"/>
                  </a:lnTo>
                  <a:lnTo>
                    <a:pt x="56" y="596"/>
                  </a:lnTo>
                  <a:lnTo>
                    <a:pt x="56" y="596"/>
                  </a:lnTo>
                  <a:close/>
                  <a:moveTo>
                    <a:pt x="60" y="589"/>
                  </a:moveTo>
                  <a:lnTo>
                    <a:pt x="60" y="589"/>
                  </a:lnTo>
                  <a:lnTo>
                    <a:pt x="60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7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58" y="587"/>
                  </a:lnTo>
                  <a:lnTo>
                    <a:pt x="58" y="589"/>
                  </a:lnTo>
                  <a:lnTo>
                    <a:pt x="58" y="589"/>
                  </a:lnTo>
                  <a:lnTo>
                    <a:pt x="60" y="589"/>
                  </a:lnTo>
                  <a:lnTo>
                    <a:pt x="60" y="589"/>
                  </a:lnTo>
                  <a:close/>
                  <a:moveTo>
                    <a:pt x="69" y="585"/>
                  </a:moveTo>
                  <a:lnTo>
                    <a:pt x="69" y="587"/>
                  </a:lnTo>
                  <a:lnTo>
                    <a:pt x="69" y="585"/>
                  </a:lnTo>
                  <a:lnTo>
                    <a:pt x="67" y="585"/>
                  </a:lnTo>
                  <a:lnTo>
                    <a:pt x="67" y="585"/>
                  </a:lnTo>
                  <a:lnTo>
                    <a:pt x="67" y="585"/>
                  </a:lnTo>
                  <a:lnTo>
                    <a:pt x="67" y="585"/>
                  </a:lnTo>
                  <a:lnTo>
                    <a:pt x="67" y="585"/>
                  </a:lnTo>
                  <a:lnTo>
                    <a:pt x="67" y="582"/>
                  </a:lnTo>
                  <a:lnTo>
                    <a:pt x="67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5"/>
                  </a:lnTo>
                  <a:close/>
                  <a:moveTo>
                    <a:pt x="40" y="578"/>
                  </a:move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80"/>
                  </a:lnTo>
                  <a:lnTo>
                    <a:pt x="40" y="580"/>
                  </a:lnTo>
                  <a:lnTo>
                    <a:pt x="40" y="580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78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80"/>
                  </a:lnTo>
                  <a:lnTo>
                    <a:pt x="43" y="578"/>
                  </a:lnTo>
                  <a:lnTo>
                    <a:pt x="43" y="578"/>
                  </a:lnTo>
                  <a:lnTo>
                    <a:pt x="45" y="578"/>
                  </a:lnTo>
                  <a:lnTo>
                    <a:pt x="45" y="578"/>
                  </a:lnTo>
                  <a:lnTo>
                    <a:pt x="45" y="578"/>
                  </a:lnTo>
                  <a:lnTo>
                    <a:pt x="45" y="578"/>
                  </a:lnTo>
                  <a:lnTo>
                    <a:pt x="45" y="578"/>
                  </a:lnTo>
                  <a:lnTo>
                    <a:pt x="45" y="578"/>
                  </a:lnTo>
                  <a:lnTo>
                    <a:pt x="45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9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0"/>
                  </a:lnTo>
                  <a:lnTo>
                    <a:pt x="47" y="582"/>
                  </a:lnTo>
                  <a:lnTo>
                    <a:pt x="49" y="582"/>
                  </a:lnTo>
                  <a:lnTo>
                    <a:pt x="49" y="582"/>
                  </a:lnTo>
                  <a:lnTo>
                    <a:pt x="49" y="582"/>
                  </a:lnTo>
                  <a:lnTo>
                    <a:pt x="49" y="582"/>
                  </a:lnTo>
                  <a:lnTo>
                    <a:pt x="51" y="582"/>
                  </a:lnTo>
                  <a:lnTo>
                    <a:pt x="51" y="585"/>
                  </a:lnTo>
                  <a:lnTo>
                    <a:pt x="51" y="585"/>
                  </a:lnTo>
                  <a:lnTo>
                    <a:pt x="51" y="585"/>
                  </a:lnTo>
                  <a:lnTo>
                    <a:pt x="49" y="585"/>
                  </a:lnTo>
                  <a:lnTo>
                    <a:pt x="49" y="585"/>
                  </a:lnTo>
                  <a:lnTo>
                    <a:pt x="51" y="585"/>
                  </a:lnTo>
                  <a:lnTo>
                    <a:pt x="51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4" y="589"/>
                  </a:lnTo>
                  <a:lnTo>
                    <a:pt x="51" y="589"/>
                  </a:lnTo>
                  <a:lnTo>
                    <a:pt x="51" y="589"/>
                  </a:lnTo>
                  <a:lnTo>
                    <a:pt x="51" y="589"/>
                  </a:lnTo>
                  <a:lnTo>
                    <a:pt x="51" y="589"/>
                  </a:lnTo>
                  <a:lnTo>
                    <a:pt x="49" y="589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1"/>
                  </a:lnTo>
                  <a:lnTo>
                    <a:pt x="49" y="594"/>
                  </a:lnTo>
                  <a:lnTo>
                    <a:pt x="49" y="594"/>
                  </a:lnTo>
                  <a:lnTo>
                    <a:pt x="49" y="594"/>
                  </a:lnTo>
                  <a:lnTo>
                    <a:pt x="49" y="594"/>
                  </a:lnTo>
                  <a:lnTo>
                    <a:pt x="51" y="594"/>
                  </a:lnTo>
                  <a:lnTo>
                    <a:pt x="51" y="594"/>
                  </a:lnTo>
                  <a:lnTo>
                    <a:pt x="51" y="594"/>
                  </a:lnTo>
                  <a:lnTo>
                    <a:pt x="49" y="596"/>
                  </a:lnTo>
                  <a:lnTo>
                    <a:pt x="49" y="596"/>
                  </a:lnTo>
                  <a:lnTo>
                    <a:pt x="49" y="596"/>
                  </a:lnTo>
                  <a:lnTo>
                    <a:pt x="49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4"/>
                  </a:lnTo>
                  <a:lnTo>
                    <a:pt x="47" y="596"/>
                  </a:lnTo>
                  <a:lnTo>
                    <a:pt x="47" y="596"/>
                  </a:lnTo>
                  <a:lnTo>
                    <a:pt x="47" y="596"/>
                  </a:lnTo>
                  <a:lnTo>
                    <a:pt x="47" y="596"/>
                  </a:lnTo>
                  <a:lnTo>
                    <a:pt x="47" y="596"/>
                  </a:lnTo>
                  <a:lnTo>
                    <a:pt x="49" y="596"/>
                  </a:lnTo>
                  <a:lnTo>
                    <a:pt x="49" y="596"/>
                  </a:lnTo>
                  <a:lnTo>
                    <a:pt x="49" y="598"/>
                  </a:lnTo>
                  <a:lnTo>
                    <a:pt x="49" y="598"/>
                  </a:lnTo>
                  <a:lnTo>
                    <a:pt x="49" y="598"/>
                  </a:lnTo>
                  <a:lnTo>
                    <a:pt x="51" y="598"/>
                  </a:lnTo>
                  <a:lnTo>
                    <a:pt x="51" y="598"/>
                  </a:lnTo>
                  <a:lnTo>
                    <a:pt x="51" y="598"/>
                  </a:lnTo>
                  <a:lnTo>
                    <a:pt x="51" y="598"/>
                  </a:lnTo>
                  <a:lnTo>
                    <a:pt x="51" y="598"/>
                  </a:lnTo>
                  <a:lnTo>
                    <a:pt x="51" y="600"/>
                  </a:lnTo>
                  <a:lnTo>
                    <a:pt x="51" y="600"/>
                  </a:lnTo>
                  <a:lnTo>
                    <a:pt x="54" y="600"/>
                  </a:lnTo>
                  <a:lnTo>
                    <a:pt x="54" y="600"/>
                  </a:lnTo>
                  <a:lnTo>
                    <a:pt x="54" y="600"/>
                  </a:lnTo>
                  <a:lnTo>
                    <a:pt x="56" y="600"/>
                  </a:lnTo>
                  <a:lnTo>
                    <a:pt x="56" y="600"/>
                  </a:lnTo>
                  <a:lnTo>
                    <a:pt x="56" y="603"/>
                  </a:lnTo>
                  <a:lnTo>
                    <a:pt x="56" y="603"/>
                  </a:lnTo>
                  <a:lnTo>
                    <a:pt x="56" y="603"/>
                  </a:lnTo>
                  <a:lnTo>
                    <a:pt x="56" y="603"/>
                  </a:lnTo>
                  <a:lnTo>
                    <a:pt x="56" y="603"/>
                  </a:lnTo>
                  <a:lnTo>
                    <a:pt x="56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1" y="603"/>
                  </a:lnTo>
                  <a:lnTo>
                    <a:pt x="51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6" y="605"/>
                  </a:lnTo>
                  <a:lnTo>
                    <a:pt x="58" y="607"/>
                  </a:lnTo>
                  <a:lnTo>
                    <a:pt x="56" y="607"/>
                  </a:lnTo>
                  <a:lnTo>
                    <a:pt x="56" y="607"/>
                  </a:lnTo>
                  <a:lnTo>
                    <a:pt x="56" y="607"/>
                  </a:lnTo>
                  <a:lnTo>
                    <a:pt x="58" y="607"/>
                  </a:lnTo>
                  <a:lnTo>
                    <a:pt x="58" y="607"/>
                  </a:lnTo>
                  <a:lnTo>
                    <a:pt x="58" y="609"/>
                  </a:lnTo>
                  <a:lnTo>
                    <a:pt x="58" y="609"/>
                  </a:lnTo>
                  <a:lnTo>
                    <a:pt x="58" y="609"/>
                  </a:lnTo>
                  <a:lnTo>
                    <a:pt x="56" y="609"/>
                  </a:lnTo>
                  <a:lnTo>
                    <a:pt x="56" y="609"/>
                  </a:lnTo>
                  <a:lnTo>
                    <a:pt x="56" y="609"/>
                  </a:lnTo>
                  <a:lnTo>
                    <a:pt x="56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09"/>
                  </a:lnTo>
                  <a:lnTo>
                    <a:pt x="54" y="612"/>
                  </a:lnTo>
                  <a:lnTo>
                    <a:pt x="54" y="612"/>
                  </a:lnTo>
                  <a:lnTo>
                    <a:pt x="54" y="612"/>
                  </a:lnTo>
                  <a:lnTo>
                    <a:pt x="54" y="612"/>
                  </a:lnTo>
                  <a:lnTo>
                    <a:pt x="56" y="612"/>
                  </a:lnTo>
                  <a:lnTo>
                    <a:pt x="56" y="612"/>
                  </a:lnTo>
                  <a:lnTo>
                    <a:pt x="56" y="612"/>
                  </a:lnTo>
                  <a:lnTo>
                    <a:pt x="56" y="612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6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49" y="614"/>
                  </a:lnTo>
                  <a:lnTo>
                    <a:pt x="49" y="614"/>
                  </a:lnTo>
                  <a:lnTo>
                    <a:pt x="47" y="614"/>
                  </a:lnTo>
                  <a:lnTo>
                    <a:pt x="47" y="614"/>
                  </a:lnTo>
                  <a:lnTo>
                    <a:pt x="47" y="614"/>
                  </a:lnTo>
                  <a:lnTo>
                    <a:pt x="45" y="614"/>
                  </a:lnTo>
                  <a:lnTo>
                    <a:pt x="45" y="614"/>
                  </a:lnTo>
                  <a:lnTo>
                    <a:pt x="43" y="612"/>
                  </a:lnTo>
                  <a:lnTo>
                    <a:pt x="43" y="612"/>
                  </a:lnTo>
                  <a:lnTo>
                    <a:pt x="43" y="612"/>
                  </a:lnTo>
                  <a:lnTo>
                    <a:pt x="43" y="612"/>
                  </a:lnTo>
                  <a:lnTo>
                    <a:pt x="43" y="612"/>
                  </a:lnTo>
                  <a:lnTo>
                    <a:pt x="43" y="612"/>
                  </a:lnTo>
                  <a:lnTo>
                    <a:pt x="43" y="612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9"/>
                  </a:lnTo>
                  <a:lnTo>
                    <a:pt x="43" y="607"/>
                  </a:lnTo>
                  <a:lnTo>
                    <a:pt x="43" y="607"/>
                  </a:lnTo>
                  <a:lnTo>
                    <a:pt x="43" y="607"/>
                  </a:lnTo>
                  <a:lnTo>
                    <a:pt x="43" y="607"/>
                  </a:lnTo>
                  <a:lnTo>
                    <a:pt x="43" y="607"/>
                  </a:lnTo>
                  <a:lnTo>
                    <a:pt x="43" y="607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5"/>
                  </a:lnTo>
                  <a:lnTo>
                    <a:pt x="43" y="603"/>
                  </a:lnTo>
                  <a:lnTo>
                    <a:pt x="43" y="603"/>
                  </a:lnTo>
                  <a:lnTo>
                    <a:pt x="43" y="603"/>
                  </a:lnTo>
                  <a:lnTo>
                    <a:pt x="43" y="603"/>
                  </a:lnTo>
                  <a:lnTo>
                    <a:pt x="43" y="603"/>
                  </a:lnTo>
                  <a:lnTo>
                    <a:pt x="43" y="600"/>
                  </a:lnTo>
                  <a:lnTo>
                    <a:pt x="43" y="600"/>
                  </a:lnTo>
                  <a:lnTo>
                    <a:pt x="43" y="600"/>
                  </a:lnTo>
                  <a:lnTo>
                    <a:pt x="43" y="600"/>
                  </a:lnTo>
                  <a:lnTo>
                    <a:pt x="43" y="600"/>
                  </a:lnTo>
                  <a:lnTo>
                    <a:pt x="43" y="600"/>
                  </a:lnTo>
                  <a:lnTo>
                    <a:pt x="43" y="598"/>
                  </a:lnTo>
                  <a:lnTo>
                    <a:pt x="43" y="598"/>
                  </a:lnTo>
                  <a:lnTo>
                    <a:pt x="43" y="598"/>
                  </a:lnTo>
                  <a:lnTo>
                    <a:pt x="43" y="598"/>
                  </a:lnTo>
                  <a:lnTo>
                    <a:pt x="43" y="598"/>
                  </a:lnTo>
                  <a:lnTo>
                    <a:pt x="43" y="596"/>
                  </a:lnTo>
                  <a:lnTo>
                    <a:pt x="40" y="596"/>
                  </a:lnTo>
                  <a:lnTo>
                    <a:pt x="40" y="596"/>
                  </a:lnTo>
                  <a:lnTo>
                    <a:pt x="40" y="596"/>
                  </a:lnTo>
                  <a:lnTo>
                    <a:pt x="40" y="596"/>
                  </a:lnTo>
                  <a:lnTo>
                    <a:pt x="40" y="596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4"/>
                  </a:lnTo>
                  <a:lnTo>
                    <a:pt x="40" y="591"/>
                  </a:lnTo>
                  <a:lnTo>
                    <a:pt x="40" y="591"/>
                  </a:lnTo>
                  <a:lnTo>
                    <a:pt x="40" y="589"/>
                  </a:lnTo>
                  <a:lnTo>
                    <a:pt x="38" y="589"/>
                  </a:lnTo>
                  <a:lnTo>
                    <a:pt x="38" y="589"/>
                  </a:lnTo>
                  <a:lnTo>
                    <a:pt x="38" y="587"/>
                  </a:lnTo>
                  <a:lnTo>
                    <a:pt x="38" y="587"/>
                  </a:lnTo>
                  <a:lnTo>
                    <a:pt x="38" y="587"/>
                  </a:lnTo>
                  <a:lnTo>
                    <a:pt x="40" y="585"/>
                  </a:lnTo>
                  <a:lnTo>
                    <a:pt x="40" y="585"/>
                  </a:lnTo>
                  <a:lnTo>
                    <a:pt x="40" y="585"/>
                  </a:lnTo>
                  <a:lnTo>
                    <a:pt x="40" y="585"/>
                  </a:lnTo>
                  <a:lnTo>
                    <a:pt x="40" y="585"/>
                  </a:lnTo>
                  <a:lnTo>
                    <a:pt x="40" y="585"/>
                  </a:lnTo>
                  <a:lnTo>
                    <a:pt x="40" y="585"/>
                  </a:lnTo>
                  <a:lnTo>
                    <a:pt x="40" y="582"/>
                  </a:lnTo>
                  <a:lnTo>
                    <a:pt x="40" y="582"/>
                  </a:lnTo>
                  <a:lnTo>
                    <a:pt x="38" y="582"/>
                  </a:lnTo>
                  <a:lnTo>
                    <a:pt x="38" y="582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80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38" y="578"/>
                  </a:lnTo>
                  <a:lnTo>
                    <a:pt x="40" y="578"/>
                  </a:lnTo>
                  <a:close/>
                  <a:moveTo>
                    <a:pt x="58" y="578"/>
                  </a:moveTo>
                  <a:lnTo>
                    <a:pt x="58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8"/>
                  </a:lnTo>
                  <a:lnTo>
                    <a:pt x="56" y="576"/>
                  </a:lnTo>
                  <a:lnTo>
                    <a:pt x="56" y="576"/>
                  </a:lnTo>
                  <a:lnTo>
                    <a:pt x="56" y="576"/>
                  </a:lnTo>
                  <a:lnTo>
                    <a:pt x="56" y="578"/>
                  </a:lnTo>
                  <a:lnTo>
                    <a:pt x="58" y="578"/>
                  </a:lnTo>
                  <a:lnTo>
                    <a:pt x="58" y="578"/>
                  </a:lnTo>
                  <a:lnTo>
                    <a:pt x="58" y="578"/>
                  </a:lnTo>
                  <a:close/>
                  <a:moveTo>
                    <a:pt x="18" y="2"/>
                  </a:moveTo>
                  <a:lnTo>
                    <a:pt x="20" y="4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3" y="45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3" y="54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0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2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9" y="83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6" y="99"/>
                  </a:lnTo>
                  <a:lnTo>
                    <a:pt x="56" y="101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6"/>
                  </a:lnTo>
                  <a:lnTo>
                    <a:pt x="58" y="108"/>
                  </a:lnTo>
                  <a:lnTo>
                    <a:pt x="58" y="108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60" y="115"/>
                  </a:lnTo>
                  <a:lnTo>
                    <a:pt x="60" y="115"/>
                  </a:lnTo>
                  <a:lnTo>
                    <a:pt x="60" y="115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7" y="128"/>
                  </a:lnTo>
                  <a:lnTo>
                    <a:pt x="69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8" y="126"/>
                  </a:lnTo>
                  <a:lnTo>
                    <a:pt x="83" y="130"/>
                  </a:lnTo>
                  <a:lnTo>
                    <a:pt x="83" y="130"/>
                  </a:lnTo>
                  <a:lnTo>
                    <a:pt x="83" y="133"/>
                  </a:lnTo>
                  <a:lnTo>
                    <a:pt x="81" y="137"/>
                  </a:lnTo>
                  <a:lnTo>
                    <a:pt x="81" y="144"/>
                  </a:lnTo>
                  <a:lnTo>
                    <a:pt x="78" y="148"/>
                  </a:lnTo>
                  <a:lnTo>
                    <a:pt x="78" y="153"/>
                  </a:lnTo>
                  <a:lnTo>
                    <a:pt x="78" y="155"/>
                  </a:lnTo>
                  <a:lnTo>
                    <a:pt x="78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7"/>
                  </a:lnTo>
                  <a:lnTo>
                    <a:pt x="76" y="157"/>
                  </a:lnTo>
                  <a:lnTo>
                    <a:pt x="74" y="157"/>
                  </a:lnTo>
                  <a:lnTo>
                    <a:pt x="72" y="157"/>
                  </a:lnTo>
                  <a:lnTo>
                    <a:pt x="69" y="160"/>
                  </a:lnTo>
                  <a:lnTo>
                    <a:pt x="67" y="160"/>
                  </a:lnTo>
                  <a:lnTo>
                    <a:pt x="65" y="162"/>
                  </a:lnTo>
                  <a:lnTo>
                    <a:pt x="65" y="162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58" y="166"/>
                  </a:lnTo>
                  <a:lnTo>
                    <a:pt x="58" y="166"/>
                  </a:lnTo>
                  <a:lnTo>
                    <a:pt x="58" y="166"/>
                  </a:lnTo>
                  <a:lnTo>
                    <a:pt x="58" y="166"/>
                  </a:lnTo>
                  <a:lnTo>
                    <a:pt x="58" y="169"/>
                  </a:lnTo>
                  <a:lnTo>
                    <a:pt x="58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69"/>
                  </a:lnTo>
                  <a:lnTo>
                    <a:pt x="56" y="171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3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6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5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60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8" y="191"/>
                  </a:lnTo>
                  <a:lnTo>
                    <a:pt x="58" y="191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3"/>
                  </a:lnTo>
                  <a:lnTo>
                    <a:pt x="58" y="196"/>
                  </a:lnTo>
                  <a:lnTo>
                    <a:pt x="58" y="196"/>
                  </a:lnTo>
                  <a:lnTo>
                    <a:pt x="60" y="196"/>
                  </a:lnTo>
                  <a:lnTo>
                    <a:pt x="60" y="196"/>
                  </a:lnTo>
                  <a:lnTo>
                    <a:pt x="60" y="198"/>
                  </a:lnTo>
                  <a:lnTo>
                    <a:pt x="63" y="205"/>
                  </a:lnTo>
                  <a:lnTo>
                    <a:pt x="63" y="205"/>
                  </a:lnTo>
                  <a:lnTo>
                    <a:pt x="63" y="207"/>
                  </a:lnTo>
                  <a:lnTo>
                    <a:pt x="60" y="209"/>
                  </a:lnTo>
                  <a:lnTo>
                    <a:pt x="60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60" y="214"/>
                  </a:lnTo>
                  <a:lnTo>
                    <a:pt x="60" y="214"/>
                  </a:lnTo>
                  <a:lnTo>
                    <a:pt x="60" y="216"/>
                  </a:lnTo>
                  <a:lnTo>
                    <a:pt x="63" y="216"/>
                  </a:lnTo>
                  <a:lnTo>
                    <a:pt x="63" y="218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7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3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32"/>
                  </a:lnTo>
                  <a:lnTo>
                    <a:pt x="58" y="232"/>
                  </a:lnTo>
                  <a:lnTo>
                    <a:pt x="58" y="232"/>
                  </a:lnTo>
                  <a:lnTo>
                    <a:pt x="58" y="232"/>
                  </a:lnTo>
                  <a:lnTo>
                    <a:pt x="58" y="234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38"/>
                  </a:lnTo>
                  <a:lnTo>
                    <a:pt x="56" y="241"/>
                  </a:lnTo>
                  <a:lnTo>
                    <a:pt x="56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1"/>
                  </a:lnTo>
                  <a:lnTo>
                    <a:pt x="54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7"/>
                  </a:lnTo>
                  <a:lnTo>
                    <a:pt x="54" y="250"/>
                  </a:lnTo>
                  <a:lnTo>
                    <a:pt x="54" y="250"/>
                  </a:lnTo>
                  <a:lnTo>
                    <a:pt x="51" y="250"/>
                  </a:lnTo>
                  <a:lnTo>
                    <a:pt x="51" y="250"/>
                  </a:lnTo>
                  <a:lnTo>
                    <a:pt x="51" y="250"/>
                  </a:lnTo>
                  <a:lnTo>
                    <a:pt x="51" y="250"/>
                  </a:lnTo>
                  <a:lnTo>
                    <a:pt x="51" y="250"/>
                  </a:lnTo>
                  <a:lnTo>
                    <a:pt x="51" y="250"/>
                  </a:lnTo>
                  <a:lnTo>
                    <a:pt x="51" y="250"/>
                  </a:lnTo>
                  <a:lnTo>
                    <a:pt x="51" y="252"/>
                  </a:lnTo>
                  <a:lnTo>
                    <a:pt x="51" y="252"/>
                  </a:lnTo>
                  <a:lnTo>
                    <a:pt x="51" y="254"/>
                  </a:lnTo>
                  <a:lnTo>
                    <a:pt x="49" y="254"/>
                  </a:lnTo>
                  <a:lnTo>
                    <a:pt x="49" y="254"/>
                  </a:lnTo>
                  <a:lnTo>
                    <a:pt x="49" y="254"/>
                  </a:lnTo>
                  <a:lnTo>
                    <a:pt x="49" y="254"/>
                  </a:lnTo>
                  <a:lnTo>
                    <a:pt x="49" y="254"/>
                  </a:lnTo>
                  <a:lnTo>
                    <a:pt x="49" y="254"/>
                  </a:lnTo>
                  <a:lnTo>
                    <a:pt x="49" y="256"/>
                  </a:lnTo>
                  <a:lnTo>
                    <a:pt x="49" y="256"/>
                  </a:lnTo>
                  <a:lnTo>
                    <a:pt x="47" y="256"/>
                  </a:lnTo>
                  <a:lnTo>
                    <a:pt x="47" y="259"/>
                  </a:lnTo>
                  <a:lnTo>
                    <a:pt x="47" y="259"/>
                  </a:lnTo>
                  <a:lnTo>
                    <a:pt x="47" y="261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7" y="263"/>
                  </a:lnTo>
                  <a:lnTo>
                    <a:pt x="45" y="263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5"/>
                  </a:lnTo>
                  <a:lnTo>
                    <a:pt x="45" y="268"/>
                  </a:lnTo>
                  <a:lnTo>
                    <a:pt x="45" y="268"/>
                  </a:lnTo>
                  <a:lnTo>
                    <a:pt x="47" y="268"/>
                  </a:lnTo>
                  <a:lnTo>
                    <a:pt x="47" y="268"/>
                  </a:lnTo>
                  <a:lnTo>
                    <a:pt x="47" y="270"/>
                  </a:lnTo>
                  <a:lnTo>
                    <a:pt x="45" y="270"/>
                  </a:lnTo>
                  <a:lnTo>
                    <a:pt x="45" y="270"/>
                  </a:lnTo>
                  <a:lnTo>
                    <a:pt x="45" y="270"/>
                  </a:lnTo>
                  <a:lnTo>
                    <a:pt x="45" y="270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2"/>
                  </a:lnTo>
                  <a:lnTo>
                    <a:pt x="45" y="274"/>
                  </a:lnTo>
                  <a:lnTo>
                    <a:pt x="45" y="274"/>
                  </a:lnTo>
                  <a:lnTo>
                    <a:pt x="47" y="274"/>
                  </a:lnTo>
                  <a:lnTo>
                    <a:pt x="47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5" y="277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79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3" y="281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3"/>
                  </a:lnTo>
                  <a:lnTo>
                    <a:pt x="43" y="286"/>
                  </a:lnTo>
                  <a:lnTo>
                    <a:pt x="43" y="286"/>
                  </a:lnTo>
                  <a:lnTo>
                    <a:pt x="45" y="286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88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5" y="290"/>
                  </a:lnTo>
                  <a:lnTo>
                    <a:pt x="47" y="290"/>
                  </a:lnTo>
                  <a:lnTo>
                    <a:pt x="47" y="292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7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7" y="299"/>
                  </a:lnTo>
                  <a:lnTo>
                    <a:pt x="49" y="299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49" y="304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7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6"/>
                  </a:lnTo>
                  <a:lnTo>
                    <a:pt x="45" y="308"/>
                  </a:lnTo>
                  <a:lnTo>
                    <a:pt x="45" y="308"/>
                  </a:lnTo>
                  <a:lnTo>
                    <a:pt x="45" y="308"/>
                  </a:lnTo>
                  <a:lnTo>
                    <a:pt x="45" y="308"/>
                  </a:lnTo>
                  <a:lnTo>
                    <a:pt x="45" y="308"/>
                  </a:lnTo>
                  <a:lnTo>
                    <a:pt x="45" y="308"/>
                  </a:lnTo>
                  <a:lnTo>
                    <a:pt x="45" y="310"/>
                  </a:lnTo>
                  <a:lnTo>
                    <a:pt x="45" y="313"/>
                  </a:lnTo>
                  <a:lnTo>
                    <a:pt x="43" y="313"/>
                  </a:lnTo>
                  <a:lnTo>
                    <a:pt x="43" y="313"/>
                  </a:lnTo>
                  <a:lnTo>
                    <a:pt x="43" y="313"/>
                  </a:lnTo>
                  <a:lnTo>
                    <a:pt x="43" y="315"/>
                  </a:lnTo>
                  <a:lnTo>
                    <a:pt x="43" y="315"/>
                  </a:lnTo>
                  <a:lnTo>
                    <a:pt x="43" y="315"/>
                  </a:lnTo>
                  <a:lnTo>
                    <a:pt x="43" y="315"/>
                  </a:lnTo>
                  <a:lnTo>
                    <a:pt x="43" y="315"/>
                  </a:lnTo>
                  <a:lnTo>
                    <a:pt x="43" y="315"/>
                  </a:lnTo>
                  <a:lnTo>
                    <a:pt x="43" y="315"/>
                  </a:lnTo>
                  <a:lnTo>
                    <a:pt x="43" y="317"/>
                  </a:lnTo>
                  <a:lnTo>
                    <a:pt x="43" y="319"/>
                  </a:lnTo>
                  <a:lnTo>
                    <a:pt x="43" y="319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5" y="322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3" y="324"/>
                  </a:lnTo>
                  <a:lnTo>
                    <a:pt x="40" y="324"/>
                  </a:lnTo>
                  <a:lnTo>
                    <a:pt x="40" y="324"/>
                  </a:lnTo>
                  <a:lnTo>
                    <a:pt x="40" y="326"/>
                  </a:lnTo>
                  <a:lnTo>
                    <a:pt x="40" y="326"/>
                  </a:lnTo>
                  <a:lnTo>
                    <a:pt x="40" y="326"/>
                  </a:lnTo>
                  <a:lnTo>
                    <a:pt x="40" y="326"/>
                  </a:lnTo>
                  <a:lnTo>
                    <a:pt x="40" y="328"/>
                  </a:lnTo>
                  <a:lnTo>
                    <a:pt x="40" y="328"/>
                  </a:lnTo>
                  <a:lnTo>
                    <a:pt x="40" y="328"/>
                  </a:lnTo>
                  <a:lnTo>
                    <a:pt x="40" y="328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40" y="331"/>
                  </a:lnTo>
                  <a:lnTo>
                    <a:pt x="40" y="333"/>
                  </a:lnTo>
                  <a:lnTo>
                    <a:pt x="40" y="333"/>
                  </a:lnTo>
                  <a:lnTo>
                    <a:pt x="40" y="335"/>
                  </a:lnTo>
                  <a:lnTo>
                    <a:pt x="40" y="335"/>
                  </a:lnTo>
                  <a:lnTo>
                    <a:pt x="43" y="335"/>
                  </a:lnTo>
                  <a:lnTo>
                    <a:pt x="43" y="337"/>
                  </a:lnTo>
                  <a:lnTo>
                    <a:pt x="45" y="337"/>
                  </a:lnTo>
                  <a:lnTo>
                    <a:pt x="45" y="340"/>
                  </a:lnTo>
                  <a:lnTo>
                    <a:pt x="45" y="340"/>
                  </a:lnTo>
                  <a:lnTo>
                    <a:pt x="45" y="340"/>
                  </a:lnTo>
                  <a:lnTo>
                    <a:pt x="45" y="342"/>
                  </a:lnTo>
                  <a:lnTo>
                    <a:pt x="45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9" y="342"/>
                  </a:lnTo>
                  <a:lnTo>
                    <a:pt x="49" y="342"/>
                  </a:lnTo>
                  <a:lnTo>
                    <a:pt x="49" y="342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9" y="346"/>
                  </a:lnTo>
                  <a:lnTo>
                    <a:pt x="49" y="346"/>
                  </a:lnTo>
                  <a:lnTo>
                    <a:pt x="49" y="346"/>
                  </a:lnTo>
                  <a:lnTo>
                    <a:pt x="49" y="346"/>
                  </a:lnTo>
                  <a:lnTo>
                    <a:pt x="47" y="346"/>
                  </a:lnTo>
                  <a:lnTo>
                    <a:pt x="47" y="346"/>
                  </a:lnTo>
                  <a:lnTo>
                    <a:pt x="47" y="346"/>
                  </a:lnTo>
                  <a:lnTo>
                    <a:pt x="47" y="346"/>
                  </a:lnTo>
                  <a:lnTo>
                    <a:pt x="49" y="346"/>
                  </a:lnTo>
                  <a:lnTo>
                    <a:pt x="49" y="346"/>
                  </a:lnTo>
                  <a:lnTo>
                    <a:pt x="49" y="346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49"/>
                  </a:lnTo>
                  <a:lnTo>
                    <a:pt x="49" y="351"/>
                  </a:lnTo>
                  <a:lnTo>
                    <a:pt x="49" y="351"/>
                  </a:lnTo>
                  <a:lnTo>
                    <a:pt x="49" y="351"/>
                  </a:lnTo>
                  <a:lnTo>
                    <a:pt x="49" y="351"/>
                  </a:lnTo>
                  <a:lnTo>
                    <a:pt x="49" y="351"/>
                  </a:lnTo>
                  <a:lnTo>
                    <a:pt x="49" y="351"/>
                  </a:lnTo>
                  <a:lnTo>
                    <a:pt x="51" y="351"/>
                  </a:lnTo>
                  <a:lnTo>
                    <a:pt x="51" y="353"/>
                  </a:lnTo>
                  <a:lnTo>
                    <a:pt x="51" y="353"/>
                  </a:lnTo>
                  <a:lnTo>
                    <a:pt x="51" y="353"/>
                  </a:lnTo>
                  <a:lnTo>
                    <a:pt x="51" y="355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4" y="355"/>
                  </a:lnTo>
                  <a:lnTo>
                    <a:pt x="54" y="358"/>
                  </a:lnTo>
                  <a:lnTo>
                    <a:pt x="54" y="358"/>
                  </a:lnTo>
                  <a:lnTo>
                    <a:pt x="54" y="358"/>
                  </a:lnTo>
                  <a:lnTo>
                    <a:pt x="54" y="358"/>
                  </a:lnTo>
                  <a:lnTo>
                    <a:pt x="56" y="358"/>
                  </a:lnTo>
                  <a:lnTo>
                    <a:pt x="56" y="358"/>
                  </a:lnTo>
                  <a:lnTo>
                    <a:pt x="54" y="358"/>
                  </a:lnTo>
                  <a:lnTo>
                    <a:pt x="54" y="360"/>
                  </a:lnTo>
                  <a:lnTo>
                    <a:pt x="54" y="360"/>
                  </a:lnTo>
                  <a:lnTo>
                    <a:pt x="54" y="360"/>
                  </a:lnTo>
                  <a:lnTo>
                    <a:pt x="54" y="360"/>
                  </a:lnTo>
                  <a:lnTo>
                    <a:pt x="56" y="362"/>
                  </a:lnTo>
                  <a:lnTo>
                    <a:pt x="56" y="364"/>
                  </a:lnTo>
                  <a:lnTo>
                    <a:pt x="58" y="364"/>
                  </a:lnTo>
                  <a:lnTo>
                    <a:pt x="58" y="364"/>
                  </a:lnTo>
                  <a:lnTo>
                    <a:pt x="58" y="367"/>
                  </a:lnTo>
                  <a:lnTo>
                    <a:pt x="58" y="367"/>
                  </a:lnTo>
                  <a:lnTo>
                    <a:pt x="60" y="367"/>
                  </a:lnTo>
                  <a:lnTo>
                    <a:pt x="60" y="367"/>
                  </a:lnTo>
                  <a:lnTo>
                    <a:pt x="60" y="367"/>
                  </a:lnTo>
                  <a:lnTo>
                    <a:pt x="60" y="367"/>
                  </a:lnTo>
                  <a:lnTo>
                    <a:pt x="60" y="369"/>
                  </a:lnTo>
                  <a:lnTo>
                    <a:pt x="60" y="369"/>
                  </a:lnTo>
                  <a:lnTo>
                    <a:pt x="58" y="369"/>
                  </a:lnTo>
                  <a:lnTo>
                    <a:pt x="58" y="369"/>
                  </a:lnTo>
                  <a:lnTo>
                    <a:pt x="58" y="369"/>
                  </a:lnTo>
                  <a:lnTo>
                    <a:pt x="58" y="369"/>
                  </a:lnTo>
                  <a:lnTo>
                    <a:pt x="58" y="371"/>
                  </a:lnTo>
                  <a:lnTo>
                    <a:pt x="58" y="371"/>
                  </a:lnTo>
                  <a:lnTo>
                    <a:pt x="58" y="371"/>
                  </a:lnTo>
                  <a:lnTo>
                    <a:pt x="58" y="373"/>
                  </a:lnTo>
                  <a:lnTo>
                    <a:pt x="58" y="373"/>
                  </a:lnTo>
                  <a:lnTo>
                    <a:pt x="58" y="373"/>
                  </a:lnTo>
                  <a:lnTo>
                    <a:pt x="60" y="373"/>
                  </a:lnTo>
                  <a:lnTo>
                    <a:pt x="60" y="373"/>
                  </a:lnTo>
                  <a:lnTo>
                    <a:pt x="60" y="376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5" y="376"/>
                  </a:lnTo>
                  <a:lnTo>
                    <a:pt x="65" y="376"/>
                  </a:lnTo>
                  <a:lnTo>
                    <a:pt x="65" y="376"/>
                  </a:lnTo>
                  <a:lnTo>
                    <a:pt x="65" y="378"/>
                  </a:lnTo>
                  <a:lnTo>
                    <a:pt x="67" y="378"/>
                  </a:lnTo>
                  <a:lnTo>
                    <a:pt x="67" y="378"/>
                  </a:lnTo>
                  <a:lnTo>
                    <a:pt x="67" y="378"/>
                  </a:lnTo>
                  <a:lnTo>
                    <a:pt x="67" y="380"/>
                  </a:lnTo>
                  <a:lnTo>
                    <a:pt x="65" y="380"/>
                  </a:lnTo>
                  <a:lnTo>
                    <a:pt x="65" y="380"/>
                  </a:lnTo>
                  <a:lnTo>
                    <a:pt x="67" y="382"/>
                  </a:lnTo>
                  <a:lnTo>
                    <a:pt x="67" y="382"/>
                  </a:lnTo>
                  <a:lnTo>
                    <a:pt x="65" y="382"/>
                  </a:lnTo>
                  <a:lnTo>
                    <a:pt x="65" y="382"/>
                  </a:lnTo>
                  <a:lnTo>
                    <a:pt x="65" y="382"/>
                  </a:lnTo>
                  <a:lnTo>
                    <a:pt x="65" y="382"/>
                  </a:lnTo>
                  <a:lnTo>
                    <a:pt x="65" y="382"/>
                  </a:lnTo>
                  <a:lnTo>
                    <a:pt x="65" y="382"/>
                  </a:lnTo>
                  <a:lnTo>
                    <a:pt x="65" y="382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7" y="387"/>
                  </a:lnTo>
                  <a:lnTo>
                    <a:pt x="67" y="387"/>
                  </a:lnTo>
                  <a:lnTo>
                    <a:pt x="67" y="387"/>
                  </a:lnTo>
                  <a:lnTo>
                    <a:pt x="67" y="387"/>
                  </a:lnTo>
                  <a:lnTo>
                    <a:pt x="65" y="387"/>
                  </a:lnTo>
                  <a:lnTo>
                    <a:pt x="67" y="387"/>
                  </a:lnTo>
                  <a:lnTo>
                    <a:pt x="67" y="389"/>
                  </a:lnTo>
                  <a:lnTo>
                    <a:pt x="67" y="389"/>
                  </a:lnTo>
                  <a:lnTo>
                    <a:pt x="67" y="391"/>
                  </a:lnTo>
                  <a:lnTo>
                    <a:pt x="67" y="391"/>
                  </a:lnTo>
                  <a:lnTo>
                    <a:pt x="67" y="391"/>
                  </a:lnTo>
                  <a:lnTo>
                    <a:pt x="67" y="391"/>
                  </a:lnTo>
                  <a:lnTo>
                    <a:pt x="67" y="391"/>
                  </a:lnTo>
                  <a:lnTo>
                    <a:pt x="69" y="391"/>
                  </a:lnTo>
                  <a:lnTo>
                    <a:pt x="69" y="393"/>
                  </a:lnTo>
                  <a:lnTo>
                    <a:pt x="69" y="396"/>
                  </a:lnTo>
                  <a:lnTo>
                    <a:pt x="69" y="396"/>
                  </a:lnTo>
                  <a:lnTo>
                    <a:pt x="69" y="396"/>
                  </a:lnTo>
                  <a:lnTo>
                    <a:pt x="69" y="396"/>
                  </a:lnTo>
                  <a:lnTo>
                    <a:pt x="69" y="396"/>
                  </a:lnTo>
                  <a:lnTo>
                    <a:pt x="69" y="396"/>
                  </a:lnTo>
                  <a:lnTo>
                    <a:pt x="69" y="398"/>
                  </a:lnTo>
                  <a:lnTo>
                    <a:pt x="69" y="398"/>
                  </a:lnTo>
                  <a:lnTo>
                    <a:pt x="69" y="398"/>
                  </a:lnTo>
                  <a:lnTo>
                    <a:pt x="69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0"/>
                  </a:lnTo>
                  <a:lnTo>
                    <a:pt x="67" y="398"/>
                  </a:lnTo>
                  <a:lnTo>
                    <a:pt x="67" y="398"/>
                  </a:lnTo>
                  <a:lnTo>
                    <a:pt x="67" y="398"/>
                  </a:lnTo>
                  <a:lnTo>
                    <a:pt x="67" y="400"/>
                  </a:lnTo>
                  <a:lnTo>
                    <a:pt x="65" y="400"/>
                  </a:lnTo>
                  <a:lnTo>
                    <a:pt x="65" y="400"/>
                  </a:lnTo>
                  <a:lnTo>
                    <a:pt x="67" y="400"/>
                  </a:lnTo>
                  <a:lnTo>
                    <a:pt x="67" y="402"/>
                  </a:lnTo>
                  <a:lnTo>
                    <a:pt x="67" y="402"/>
                  </a:lnTo>
                  <a:lnTo>
                    <a:pt x="67" y="402"/>
                  </a:lnTo>
                  <a:lnTo>
                    <a:pt x="65" y="402"/>
                  </a:lnTo>
                  <a:lnTo>
                    <a:pt x="65" y="405"/>
                  </a:lnTo>
                  <a:lnTo>
                    <a:pt x="65" y="405"/>
                  </a:lnTo>
                  <a:lnTo>
                    <a:pt x="65" y="405"/>
                  </a:lnTo>
                  <a:lnTo>
                    <a:pt x="65" y="407"/>
                  </a:lnTo>
                  <a:lnTo>
                    <a:pt x="65" y="407"/>
                  </a:lnTo>
                  <a:lnTo>
                    <a:pt x="65" y="407"/>
                  </a:lnTo>
                  <a:lnTo>
                    <a:pt x="65" y="409"/>
                  </a:lnTo>
                  <a:lnTo>
                    <a:pt x="65" y="409"/>
                  </a:lnTo>
                  <a:lnTo>
                    <a:pt x="65" y="409"/>
                  </a:lnTo>
                  <a:lnTo>
                    <a:pt x="63" y="409"/>
                  </a:lnTo>
                  <a:lnTo>
                    <a:pt x="63" y="409"/>
                  </a:lnTo>
                  <a:lnTo>
                    <a:pt x="63" y="411"/>
                  </a:lnTo>
                  <a:lnTo>
                    <a:pt x="65" y="411"/>
                  </a:lnTo>
                  <a:lnTo>
                    <a:pt x="65" y="411"/>
                  </a:lnTo>
                  <a:lnTo>
                    <a:pt x="65" y="411"/>
                  </a:lnTo>
                  <a:lnTo>
                    <a:pt x="65" y="416"/>
                  </a:lnTo>
                  <a:lnTo>
                    <a:pt x="65" y="416"/>
                  </a:lnTo>
                  <a:lnTo>
                    <a:pt x="65" y="418"/>
                  </a:lnTo>
                  <a:lnTo>
                    <a:pt x="65" y="420"/>
                  </a:lnTo>
                  <a:lnTo>
                    <a:pt x="63" y="420"/>
                  </a:lnTo>
                  <a:lnTo>
                    <a:pt x="60" y="423"/>
                  </a:lnTo>
                  <a:lnTo>
                    <a:pt x="63" y="423"/>
                  </a:lnTo>
                  <a:lnTo>
                    <a:pt x="63" y="423"/>
                  </a:lnTo>
                  <a:lnTo>
                    <a:pt x="63" y="423"/>
                  </a:lnTo>
                  <a:lnTo>
                    <a:pt x="65" y="425"/>
                  </a:lnTo>
                  <a:lnTo>
                    <a:pt x="65" y="425"/>
                  </a:lnTo>
                  <a:lnTo>
                    <a:pt x="65" y="425"/>
                  </a:lnTo>
                  <a:lnTo>
                    <a:pt x="65" y="425"/>
                  </a:lnTo>
                  <a:lnTo>
                    <a:pt x="65" y="425"/>
                  </a:lnTo>
                  <a:lnTo>
                    <a:pt x="65" y="425"/>
                  </a:lnTo>
                  <a:lnTo>
                    <a:pt x="65" y="427"/>
                  </a:lnTo>
                  <a:lnTo>
                    <a:pt x="65" y="427"/>
                  </a:lnTo>
                  <a:lnTo>
                    <a:pt x="65" y="427"/>
                  </a:lnTo>
                  <a:lnTo>
                    <a:pt x="65" y="429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2"/>
                  </a:lnTo>
                  <a:lnTo>
                    <a:pt x="67" y="432"/>
                  </a:lnTo>
                  <a:lnTo>
                    <a:pt x="67" y="432"/>
                  </a:lnTo>
                  <a:lnTo>
                    <a:pt x="67" y="434"/>
                  </a:lnTo>
                  <a:lnTo>
                    <a:pt x="69" y="434"/>
                  </a:lnTo>
                  <a:lnTo>
                    <a:pt x="69" y="436"/>
                  </a:lnTo>
                  <a:lnTo>
                    <a:pt x="67" y="436"/>
                  </a:lnTo>
                  <a:lnTo>
                    <a:pt x="67" y="438"/>
                  </a:lnTo>
                  <a:lnTo>
                    <a:pt x="67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38"/>
                  </a:lnTo>
                  <a:lnTo>
                    <a:pt x="69" y="441"/>
                  </a:lnTo>
                  <a:lnTo>
                    <a:pt x="69" y="441"/>
                  </a:lnTo>
                  <a:lnTo>
                    <a:pt x="69" y="441"/>
                  </a:lnTo>
                  <a:lnTo>
                    <a:pt x="69" y="443"/>
                  </a:lnTo>
                  <a:lnTo>
                    <a:pt x="69" y="443"/>
                  </a:lnTo>
                  <a:lnTo>
                    <a:pt x="69" y="443"/>
                  </a:lnTo>
                  <a:lnTo>
                    <a:pt x="69" y="443"/>
                  </a:lnTo>
                  <a:lnTo>
                    <a:pt x="69" y="443"/>
                  </a:lnTo>
                  <a:lnTo>
                    <a:pt x="69" y="443"/>
                  </a:lnTo>
                  <a:lnTo>
                    <a:pt x="67" y="443"/>
                  </a:lnTo>
                  <a:lnTo>
                    <a:pt x="67" y="443"/>
                  </a:lnTo>
                  <a:lnTo>
                    <a:pt x="67" y="443"/>
                  </a:lnTo>
                  <a:lnTo>
                    <a:pt x="67" y="443"/>
                  </a:lnTo>
                  <a:lnTo>
                    <a:pt x="67" y="443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7" y="445"/>
                  </a:lnTo>
                  <a:lnTo>
                    <a:pt x="67" y="445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5" y="445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47"/>
                  </a:lnTo>
                  <a:lnTo>
                    <a:pt x="65" y="450"/>
                  </a:lnTo>
                  <a:lnTo>
                    <a:pt x="65" y="450"/>
                  </a:lnTo>
                  <a:lnTo>
                    <a:pt x="65" y="450"/>
                  </a:lnTo>
                  <a:lnTo>
                    <a:pt x="65" y="450"/>
                  </a:lnTo>
                  <a:lnTo>
                    <a:pt x="63" y="450"/>
                  </a:lnTo>
                  <a:lnTo>
                    <a:pt x="63" y="450"/>
                  </a:lnTo>
                  <a:lnTo>
                    <a:pt x="63" y="450"/>
                  </a:lnTo>
                  <a:lnTo>
                    <a:pt x="63" y="450"/>
                  </a:lnTo>
                  <a:lnTo>
                    <a:pt x="63" y="450"/>
                  </a:lnTo>
                  <a:lnTo>
                    <a:pt x="63" y="450"/>
                  </a:lnTo>
                  <a:lnTo>
                    <a:pt x="60" y="450"/>
                  </a:lnTo>
                  <a:lnTo>
                    <a:pt x="60" y="450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60" y="452"/>
                  </a:lnTo>
                  <a:lnTo>
                    <a:pt x="58" y="452"/>
                  </a:lnTo>
                  <a:lnTo>
                    <a:pt x="58" y="452"/>
                  </a:lnTo>
                  <a:lnTo>
                    <a:pt x="58" y="454"/>
                  </a:lnTo>
                  <a:lnTo>
                    <a:pt x="60" y="454"/>
                  </a:lnTo>
                  <a:lnTo>
                    <a:pt x="60" y="456"/>
                  </a:lnTo>
                  <a:lnTo>
                    <a:pt x="60" y="456"/>
                  </a:lnTo>
                  <a:lnTo>
                    <a:pt x="60" y="456"/>
                  </a:lnTo>
                  <a:lnTo>
                    <a:pt x="60" y="456"/>
                  </a:lnTo>
                  <a:lnTo>
                    <a:pt x="58" y="456"/>
                  </a:lnTo>
                  <a:lnTo>
                    <a:pt x="58" y="456"/>
                  </a:lnTo>
                  <a:lnTo>
                    <a:pt x="58" y="456"/>
                  </a:lnTo>
                  <a:lnTo>
                    <a:pt x="58" y="456"/>
                  </a:lnTo>
                  <a:lnTo>
                    <a:pt x="58" y="459"/>
                  </a:lnTo>
                  <a:lnTo>
                    <a:pt x="58" y="459"/>
                  </a:lnTo>
                  <a:lnTo>
                    <a:pt x="58" y="459"/>
                  </a:lnTo>
                  <a:lnTo>
                    <a:pt x="58" y="459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58" y="461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60" y="461"/>
                  </a:lnTo>
                  <a:lnTo>
                    <a:pt x="60" y="463"/>
                  </a:lnTo>
                  <a:lnTo>
                    <a:pt x="60" y="463"/>
                  </a:lnTo>
                  <a:lnTo>
                    <a:pt x="60" y="463"/>
                  </a:lnTo>
                  <a:lnTo>
                    <a:pt x="60" y="463"/>
                  </a:lnTo>
                  <a:lnTo>
                    <a:pt x="60" y="463"/>
                  </a:lnTo>
                  <a:lnTo>
                    <a:pt x="58" y="463"/>
                  </a:lnTo>
                  <a:lnTo>
                    <a:pt x="58" y="463"/>
                  </a:lnTo>
                  <a:lnTo>
                    <a:pt x="60" y="463"/>
                  </a:lnTo>
                  <a:lnTo>
                    <a:pt x="60" y="463"/>
                  </a:lnTo>
                  <a:lnTo>
                    <a:pt x="60" y="463"/>
                  </a:lnTo>
                  <a:lnTo>
                    <a:pt x="60" y="465"/>
                  </a:lnTo>
                  <a:lnTo>
                    <a:pt x="60" y="465"/>
                  </a:lnTo>
                  <a:lnTo>
                    <a:pt x="63" y="465"/>
                  </a:lnTo>
                  <a:lnTo>
                    <a:pt x="60" y="468"/>
                  </a:lnTo>
                  <a:lnTo>
                    <a:pt x="60" y="468"/>
                  </a:lnTo>
                  <a:lnTo>
                    <a:pt x="60" y="468"/>
                  </a:lnTo>
                  <a:lnTo>
                    <a:pt x="60" y="468"/>
                  </a:lnTo>
                  <a:lnTo>
                    <a:pt x="63" y="468"/>
                  </a:lnTo>
                  <a:lnTo>
                    <a:pt x="63" y="470"/>
                  </a:lnTo>
                  <a:lnTo>
                    <a:pt x="63" y="470"/>
                  </a:lnTo>
                  <a:lnTo>
                    <a:pt x="60" y="470"/>
                  </a:lnTo>
                  <a:lnTo>
                    <a:pt x="60" y="470"/>
                  </a:lnTo>
                  <a:lnTo>
                    <a:pt x="60" y="472"/>
                  </a:lnTo>
                  <a:lnTo>
                    <a:pt x="60" y="472"/>
                  </a:lnTo>
                  <a:lnTo>
                    <a:pt x="63" y="472"/>
                  </a:lnTo>
                  <a:lnTo>
                    <a:pt x="63" y="474"/>
                  </a:lnTo>
                  <a:lnTo>
                    <a:pt x="63" y="474"/>
                  </a:lnTo>
                  <a:lnTo>
                    <a:pt x="65" y="474"/>
                  </a:lnTo>
                  <a:lnTo>
                    <a:pt x="65" y="474"/>
                  </a:lnTo>
                  <a:lnTo>
                    <a:pt x="65" y="477"/>
                  </a:lnTo>
                  <a:lnTo>
                    <a:pt x="65" y="477"/>
                  </a:lnTo>
                  <a:lnTo>
                    <a:pt x="65" y="477"/>
                  </a:lnTo>
                  <a:lnTo>
                    <a:pt x="65" y="477"/>
                  </a:lnTo>
                  <a:lnTo>
                    <a:pt x="65" y="477"/>
                  </a:lnTo>
                  <a:lnTo>
                    <a:pt x="65" y="479"/>
                  </a:lnTo>
                  <a:lnTo>
                    <a:pt x="65" y="479"/>
                  </a:lnTo>
                  <a:lnTo>
                    <a:pt x="63" y="479"/>
                  </a:lnTo>
                  <a:lnTo>
                    <a:pt x="63" y="479"/>
                  </a:lnTo>
                  <a:lnTo>
                    <a:pt x="63" y="479"/>
                  </a:lnTo>
                  <a:lnTo>
                    <a:pt x="63" y="479"/>
                  </a:lnTo>
                  <a:lnTo>
                    <a:pt x="65" y="481"/>
                  </a:lnTo>
                  <a:lnTo>
                    <a:pt x="65" y="483"/>
                  </a:lnTo>
                  <a:lnTo>
                    <a:pt x="67" y="486"/>
                  </a:lnTo>
                  <a:lnTo>
                    <a:pt x="67" y="486"/>
                  </a:lnTo>
                  <a:lnTo>
                    <a:pt x="67" y="488"/>
                  </a:lnTo>
                  <a:lnTo>
                    <a:pt x="69" y="488"/>
                  </a:lnTo>
                  <a:lnTo>
                    <a:pt x="69" y="488"/>
                  </a:lnTo>
                  <a:lnTo>
                    <a:pt x="69" y="488"/>
                  </a:lnTo>
                  <a:lnTo>
                    <a:pt x="69" y="490"/>
                  </a:lnTo>
                  <a:lnTo>
                    <a:pt x="69" y="490"/>
                  </a:lnTo>
                  <a:lnTo>
                    <a:pt x="69" y="490"/>
                  </a:lnTo>
                  <a:lnTo>
                    <a:pt x="69" y="490"/>
                  </a:lnTo>
                  <a:lnTo>
                    <a:pt x="69" y="490"/>
                  </a:lnTo>
                  <a:lnTo>
                    <a:pt x="69" y="490"/>
                  </a:lnTo>
                  <a:lnTo>
                    <a:pt x="69" y="490"/>
                  </a:lnTo>
                  <a:lnTo>
                    <a:pt x="69" y="492"/>
                  </a:lnTo>
                  <a:lnTo>
                    <a:pt x="69" y="492"/>
                  </a:lnTo>
                  <a:lnTo>
                    <a:pt x="69" y="492"/>
                  </a:lnTo>
                  <a:lnTo>
                    <a:pt x="69" y="492"/>
                  </a:lnTo>
                  <a:lnTo>
                    <a:pt x="69" y="492"/>
                  </a:lnTo>
                  <a:lnTo>
                    <a:pt x="72" y="492"/>
                  </a:lnTo>
                  <a:lnTo>
                    <a:pt x="72" y="495"/>
                  </a:lnTo>
                  <a:lnTo>
                    <a:pt x="72" y="497"/>
                  </a:lnTo>
                  <a:lnTo>
                    <a:pt x="74" y="499"/>
                  </a:lnTo>
                  <a:lnTo>
                    <a:pt x="74" y="499"/>
                  </a:lnTo>
                  <a:lnTo>
                    <a:pt x="76" y="499"/>
                  </a:lnTo>
                  <a:lnTo>
                    <a:pt x="76" y="499"/>
                  </a:lnTo>
                  <a:lnTo>
                    <a:pt x="76" y="501"/>
                  </a:lnTo>
                  <a:lnTo>
                    <a:pt x="76" y="501"/>
                  </a:lnTo>
                  <a:lnTo>
                    <a:pt x="76" y="501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4"/>
                  </a:lnTo>
                  <a:lnTo>
                    <a:pt x="76" y="506"/>
                  </a:lnTo>
                  <a:lnTo>
                    <a:pt x="76" y="506"/>
                  </a:lnTo>
                  <a:lnTo>
                    <a:pt x="74" y="506"/>
                  </a:lnTo>
                  <a:lnTo>
                    <a:pt x="74" y="506"/>
                  </a:lnTo>
                  <a:lnTo>
                    <a:pt x="74" y="506"/>
                  </a:lnTo>
                  <a:lnTo>
                    <a:pt x="74" y="506"/>
                  </a:lnTo>
                  <a:lnTo>
                    <a:pt x="72" y="506"/>
                  </a:lnTo>
                  <a:lnTo>
                    <a:pt x="72" y="506"/>
                  </a:lnTo>
                  <a:lnTo>
                    <a:pt x="69" y="506"/>
                  </a:lnTo>
                  <a:lnTo>
                    <a:pt x="69" y="506"/>
                  </a:lnTo>
                  <a:lnTo>
                    <a:pt x="69" y="508"/>
                  </a:lnTo>
                  <a:lnTo>
                    <a:pt x="69" y="508"/>
                  </a:lnTo>
                  <a:lnTo>
                    <a:pt x="69" y="508"/>
                  </a:lnTo>
                  <a:lnTo>
                    <a:pt x="67" y="508"/>
                  </a:lnTo>
                  <a:lnTo>
                    <a:pt x="67" y="510"/>
                  </a:lnTo>
                  <a:lnTo>
                    <a:pt x="67" y="510"/>
                  </a:lnTo>
                  <a:lnTo>
                    <a:pt x="67" y="510"/>
                  </a:lnTo>
                  <a:lnTo>
                    <a:pt x="67" y="513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9" y="519"/>
                  </a:lnTo>
                  <a:lnTo>
                    <a:pt x="69" y="519"/>
                  </a:lnTo>
                  <a:lnTo>
                    <a:pt x="69" y="519"/>
                  </a:lnTo>
                  <a:lnTo>
                    <a:pt x="69" y="519"/>
                  </a:lnTo>
                  <a:lnTo>
                    <a:pt x="69" y="519"/>
                  </a:lnTo>
                  <a:lnTo>
                    <a:pt x="69" y="522"/>
                  </a:lnTo>
                  <a:lnTo>
                    <a:pt x="69" y="522"/>
                  </a:lnTo>
                  <a:lnTo>
                    <a:pt x="69" y="522"/>
                  </a:lnTo>
                  <a:lnTo>
                    <a:pt x="69" y="522"/>
                  </a:lnTo>
                  <a:lnTo>
                    <a:pt x="69" y="524"/>
                  </a:lnTo>
                  <a:lnTo>
                    <a:pt x="69" y="524"/>
                  </a:lnTo>
                  <a:lnTo>
                    <a:pt x="69" y="524"/>
                  </a:lnTo>
                  <a:lnTo>
                    <a:pt x="69" y="524"/>
                  </a:lnTo>
                  <a:lnTo>
                    <a:pt x="69" y="526"/>
                  </a:lnTo>
                  <a:lnTo>
                    <a:pt x="69" y="526"/>
                  </a:lnTo>
                  <a:lnTo>
                    <a:pt x="69" y="526"/>
                  </a:lnTo>
                  <a:lnTo>
                    <a:pt x="69" y="526"/>
                  </a:lnTo>
                  <a:lnTo>
                    <a:pt x="69" y="526"/>
                  </a:lnTo>
                  <a:lnTo>
                    <a:pt x="69" y="526"/>
                  </a:lnTo>
                  <a:lnTo>
                    <a:pt x="67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4"/>
                  </a:lnTo>
                  <a:lnTo>
                    <a:pt x="67" y="526"/>
                  </a:lnTo>
                  <a:lnTo>
                    <a:pt x="67" y="526"/>
                  </a:lnTo>
                  <a:lnTo>
                    <a:pt x="67" y="526"/>
                  </a:lnTo>
                  <a:lnTo>
                    <a:pt x="67" y="526"/>
                  </a:lnTo>
                  <a:lnTo>
                    <a:pt x="67" y="528"/>
                  </a:lnTo>
                  <a:lnTo>
                    <a:pt x="67" y="528"/>
                  </a:lnTo>
                  <a:lnTo>
                    <a:pt x="67" y="528"/>
                  </a:lnTo>
                  <a:lnTo>
                    <a:pt x="67" y="528"/>
                  </a:lnTo>
                  <a:lnTo>
                    <a:pt x="67" y="528"/>
                  </a:lnTo>
                  <a:lnTo>
                    <a:pt x="67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69" y="531"/>
                  </a:lnTo>
                  <a:lnTo>
                    <a:pt x="69" y="533"/>
                  </a:lnTo>
                  <a:lnTo>
                    <a:pt x="69" y="533"/>
                  </a:lnTo>
                  <a:lnTo>
                    <a:pt x="69" y="533"/>
                  </a:lnTo>
                  <a:lnTo>
                    <a:pt x="69" y="533"/>
                  </a:lnTo>
                  <a:lnTo>
                    <a:pt x="69" y="533"/>
                  </a:lnTo>
                  <a:lnTo>
                    <a:pt x="69" y="535"/>
                  </a:lnTo>
                  <a:lnTo>
                    <a:pt x="69" y="535"/>
                  </a:lnTo>
                  <a:lnTo>
                    <a:pt x="69" y="535"/>
                  </a:lnTo>
                  <a:lnTo>
                    <a:pt x="69" y="535"/>
                  </a:lnTo>
                  <a:lnTo>
                    <a:pt x="69" y="535"/>
                  </a:lnTo>
                  <a:lnTo>
                    <a:pt x="69" y="535"/>
                  </a:lnTo>
                  <a:lnTo>
                    <a:pt x="69" y="537"/>
                  </a:lnTo>
                  <a:lnTo>
                    <a:pt x="69" y="537"/>
                  </a:lnTo>
                  <a:lnTo>
                    <a:pt x="69" y="537"/>
                  </a:lnTo>
                  <a:lnTo>
                    <a:pt x="69" y="537"/>
                  </a:lnTo>
                  <a:lnTo>
                    <a:pt x="69" y="537"/>
                  </a:lnTo>
                  <a:lnTo>
                    <a:pt x="67" y="537"/>
                  </a:lnTo>
                  <a:lnTo>
                    <a:pt x="67" y="537"/>
                  </a:lnTo>
                  <a:lnTo>
                    <a:pt x="67" y="537"/>
                  </a:lnTo>
                  <a:lnTo>
                    <a:pt x="67" y="537"/>
                  </a:lnTo>
                  <a:lnTo>
                    <a:pt x="67" y="537"/>
                  </a:lnTo>
                  <a:lnTo>
                    <a:pt x="67" y="537"/>
                  </a:lnTo>
                  <a:lnTo>
                    <a:pt x="67" y="537"/>
                  </a:lnTo>
                  <a:lnTo>
                    <a:pt x="67" y="540"/>
                  </a:lnTo>
                  <a:lnTo>
                    <a:pt x="67" y="540"/>
                  </a:lnTo>
                  <a:lnTo>
                    <a:pt x="69" y="540"/>
                  </a:lnTo>
                  <a:lnTo>
                    <a:pt x="69" y="540"/>
                  </a:lnTo>
                  <a:lnTo>
                    <a:pt x="67" y="540"/>
                  </a:lnTo>
                  <a:lnTo>
                    <a:pt x="67" y="540"/>
                  </a:lnTo>
                  <a:lnTo>
                    <a:pt x="69" y="540"/>
                  </a:lnTo>
                  <a:lnTo>
                    <a:pt x="69" y="542"/>
                  </a:lnTo>
                  <a:lnTo>
                    <a:pt x="69" y="542"/>
                  </a:lnTo>
                  <a:lnTo>
                    <a:pt x="69" y="542"/>
                  </a:lnTo>
                  <a:lnTo>
                    <a:pt x="69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2"/>
                  </a:lnTo>
                  <a:lnTo>
                    <a:pt x="72" y="544"/>
                  </a:lnTo>
                  <a:lnTo>
                    <a:pt x="72" y="544"/>
                  </a:lnTo>
                  <a:lnTo>
                    <a:pt x="72" y="544"/>
                  </a:lnTo>
                  <a:lnTo>
                    <a:pt x="72" y="544"/>
                  </a:lnTo>
                  <a:lnTo>
                    <a:pt x="69" y="544"/>
                  </a:lnTo>
                  <a:lnTo>
                    <a:pt x="69" y="544"/>
                  </a:lnTo>
                  <a:lnTo>
                    <a:pt x="69" y="544"/>
                  </a:lnTo>
                  <a:lnTo>
                    <a:pt x="69" y="546"/>
                  </a:lnTo>
                  <a:lnTo>
                    <a:pt x="69" y="549"/>
                  </a:lnTo>
                  <a:lnTo>
                    <a:pt x="69" y="549"/>
                  </a:lnTo>
                  <a:lnTo>
                    <a:pt x="69" y="549"/>
                  </a:lnTo>
                  <a:lnTo>
                    <a:pt x="69" y="549"/>
                  </a:lnTo>
                  <a:lnTo>
                    <a:pt x="69" y="549"/>
                  </a:lnTo>
                  <a:lnTo>
                    <a:pt x="72" y="549"/>
                  </a:lnTo>
                  <a:lnTo>
                    <a:pt x="69" y="551"/>
                  </a:lnTo>
                  <a:lnTo>
                    <a:pt x="69" y="551"/>
                  </a:lnTo>
                  <a:lnTo>
                    <a:pt x="69" y="553"/>
                  </a:lnTo>
                  <a:lnTo>
                    <a:pt x="72" y="555"/>
                  </a:lnTo>
                  <a:lnTo>
                    <a:pt x="72" y="555"/>
                  </a:lnTo>
                  <a:lnTo>
                    <a:pt x="72" y="555"/>
                  </a:lnTo>
                  <a:lnTo>
                    <a:pt x="72" y="558"/>
                  </a:lnTo>
                  <a:lnTo>
                    <a:pt x="74" y="558"/>
                  </a:lnTo>
                  <a:lnTo>
                    <a:pt x="74" y="558"/>
                  </a:lnTo>
                  <a:lnTo>
                    <a:pt x="74" y="558"/>
                  </a:lnTo>
                  <a:lnTo>
                    <a:pt x="74" y="560"/>
                  </a:lnTo>
                  <a:lnTo>
                    <a:pt x="74" y="560"/>
                  </a:lnTo>
                  <a:lnTo>
                    <a:pt x="74" y="560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74" y="564"/>
                  </a:lnTo>
                  <a:lnTo>
                    <a:pt x="74" y="564"/>
                  </a:lnTo>
                  <a:lnTo>
                    <a:pt x="74" y="564"/>
                  </a:lnTo>
                  <a:lnTo>
                    <a:pt x="74" y="564"/>
                  </a:lnTo>
                  <a:lnTo>
                    <a:pt x="74" y="567"/>
                  </a:lnTo>
                  <a:lnTo>
                    <a:pt x="76" y="567"/>
                  </a:lnTo>
                  <a:lnTo>
                    <a:pt x="76" y="569"/>
                  </a:lnTo>
                  <a:lnTo>
                    <a:pt x="76" y="569"/>
                  </a:lnTo>
                  <a:lnTo>
                    <a:pt x="76" y="569"/>
                  </a:lnTo>
                  <a:lnTo>
                    <a:pt x="76" y="569"/>
                  </a:lnTo>
                  <a:lnTo>
                    <a:pt x="76" y="569"/>
                  </a:lnTo>
                  <a:lnTo>
                    <a:pt x="76" y="571"/>
                  </a:lnTo>
                  <a:lnTo>
                    <a:pt x="76" y="571"/>
                  </a:lnTo>
                  <a:lnTo>
                    <a:pt x="76" y="571"/>
                  </a:lnTo>
                  <a:lnTo>
                    <a:pt x="76" y="571"/>
                  </a:lnTo>
                  <a:lnTo>
                    <a:pt x="78" y="571"/>
                  </a:lnTo>
                  <a:lnTo>
                    <a:pt x="78" y="571"/>
                  </a:lnTo>
                  <a:lnTo>
                    <a:pt x="78" y="573"/>
                  </a:lnTo>
                  <a:lnTo>
                    <a:pt x="78" y="573"/>
                  </a:lnTo>
                  <a:lnTo>
                    <a:pt x="76" y="573"/>
                  </a:lnTo>
                  <a:lnTo>
                    <a:pt x="76" y="573"/>
                  </a:lnTo>
                  <a:lnTo>
                    <a:pt x="76" y="573"/>
                  </a:lnTo>
                  <a:lnTo>
                    <a:pt x="78" y="576"/>
                  </a:lnTo>
                  <a:lnTo>
                    <a:pt x="78" y="576"/>
                  </a:lnTo>
                  <a:lnTo>
                    <a:pt x="78" y="578"/>
                  </a:lnTo>
                  <a:lnTo>
                    <a:pt x="81" y="578"/>
                  </a:lnTo>
                  <a:lnTo>
                    <a:pt x="81" y="578"/>
                  </a:lnTo>
                  <a:lnTo>
                    <a:pt x="81" y="580"/>
                  </a:lnTo>
                  <a:lnTo>
                    <a:pt x="83" y="580"/>
                  </a:lnTo>
                  <a:lnTo>
                    <a:pt x="83" y="582"/>
                  </a:lnTo>
                  <a:lnTo>
                    <a:pt x="83" y="582"/>
                  </a:lnTo>
                  <a:lnTo>
                    <a:pt x="83" y="582"/>
                  </a:lnTo>
                  <a:lnTo>
                    <a:pt x="83" y="582"/>
                  </a:lnTo>
                  <a:lnTo>
                    <a:pt x="83" y="582"/>
                  </a:lnTo>
                  <a:lnTo>
                    <a:pt x="83" y="582"/>
                  </a:lnTo>
                  <a:lnTo>
                    <a:pt x="83" y="585"/>
                  </a:lnTo>
                  <a:lnTo>
                    <a:pt x="83" y="585"/>
                  </a:lnTo>
                  <a:lnTo>
                    <a:pt x="83" y="585"/>
                  </a:lnTo>
                  <a:lnTo>
                    <a:pt x="83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81" y="587"/>
                  </a:lnTo>
                  <a:lnTo>
                    <a:pt x="81" y="587"/>
                  </a:lnTo>
                  <a:lnTo>
                    <a:pt x="81" y="587"/>
                  </a:lnTo>
                  <a:lnTo>
                    <a:pt x="81" y="587"/>
                  </a:lnTo>
                  <a:lnTo>
                    <a:pt x="81" y="587"/>
                  </a:lnTo>
                  <a:lnTo>
                    <a:pt x="81" y="585"/>
                  </a:lnTo>
                  <a:lnTo>
                    <a:pt x="78" y="585"/>
                  </a:lnTo>
                  <a:lnTo>
                    <a:pt x="78" y="585"/>
                  </a:lnTo>
                  <a:lnTo>
                    <a:pt x="78" y="585"/>
                  </a:lnTo>
                  <a:lnTo>
                    <a:pt x="78" y="587"/>
                  </a:lnTo>
                  <a:lnTo>
                    <a:pt x="78" y="587"/>
                  </a:lnTo>
                  <a:lnTo>
                    <a:pt x="78" y="587"/>
                  </a:lnTo>
                  <a:lnTo>
                    <a:pt x="78" y="587"/>
                  </a:lnTo>
                  <a:lnTo>
                    <a:pt x="78" y="589"/>
                  </a:lnTo>
                  <a:lnTo>
                    <a:pt x="78" y="589"/>
                  </a:lnTo>
                  <a:lnTo>
                    <a:pt x="78" y="589"/>
                  </a:lnTo>
                  <a:lnTo>
                    <a:pt x="78" y="591"/>
                  </a:lnTo>
                  <a:lnTo>
                    <a:pt x="81" y="591"/>
                  </a:lnTo>
                  <a:lnTo>
                    <a:pt x="81" y="591"/>
                  </a:lnTo>
                  <a:lnTo>
                    <a:pt x="81" y="594"/>
                  </a:lnTo>
                  <a:lnTo>
                    <a:pt x="81" y="594"/>
                  </a:lnTo>
                  <a:lnTo>
                    <a:pt x="81" y="594"/>
                  </a:lnTo>
                  <a:lnTo>
                    <a:pt x="81" y="594"/>
                  </a:lnTo>
                  <a:lnTo>
                    <a:pt x="81" y="594"/>
                  </a:lnTo>
                  <a:lnTo>
                    <a:pt x="81" y="596"/>
                  </a:lnTo>
                  <a:lnTo>
                    <a:pt x="78" y="596"/>
                  </a:lnTo>
                  <a:lnTo>
                    <a:pt x="81" y="596"/>
                  </a:lnTo>
                  <a:lnTo>
                    <a:pt x="81" y="596"/>
                  </a:lnTo>
                  <a:lnTo>
                    <a:pt x="81" y="596"/>
                  </a:lnTo>
                  <a:lnTo>
                    <a:pt x="81" y="596"/>
                  </a:lnTo>
                  <a:lnTo>
                    <a:pt x="81" y="598"/>
                  </a:lnTo>
                  <a:lnTo>
                    <a:pt x="81" y="598"/>
                  </a:lnTo>
                  <a:lnTo>
                    <a:pt x="81" y="598"/>
                  </a:lnTo>
                  <a:lnTo>
                    <a:pt x="81" y="598"/>
                  </a:lnTo>
                  <a:lnTo>
                    <a:pt x="81" y="598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3" y="605"/>
                  </a:lnTo>
                  <a:lnTo>
                    <a:pt x="83" y="605"/>
                  </a:lnTo>
                  <a:lnTo>
                    <a:pt x="83" y="607"/>
                  </a:lnTo>
                  <a:lnTo>
                    <a:pt x="85" y="607"/>
                  </a:lnTo>
                  <a:lnTo>
                    <a:pt x="85" y="609"/>
                  </a:lnTo>
                  <a:lnTo>
                    <a:pt x="87" y="609"/>
                  </a:lnTo>
                  <a:lnTo>
                    <a:pt x="90" y="609"/>
                  </a:lnTo>
                  <a:lnTo>
                    <a:pt x="92" y="609"/>
                  </a:lnTo>
                  <a:lnTo>
                    <a:pt x="92" y="609"/>
                  </a:lnTo>
                  <a:lnTo>
                    <a:pt x="92" y="609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2" y="614"/>
                  </a:lnTo>
                  <a:lnTo>
                    <a:pt x="92" y="614"/>
                  </a:lnTo>
                  <a:lnTo>
                    <a:pt x="92" y="614"/>
                  </a:lnTo>
                  <a:lnTo>
                    <a:pt x="92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4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0" y="616"/>
                  </a:lnTo>
                  <a:lnTo>
                    <a:pt x="92" y="616"/>
                  </a:lnTo>
                  <a:lnTo>
                    <a:pt x="92" y="616"/>
                  </a:lnTo>
                  <a:lnTo>
                    <a:pt x="92" y="616"/>
                  </a:lnTo>
                  <a:lnTo>
                    <a:pt x="92" y="616"/>
                  </a:lnTo>
                  <a:lnTo>
                    <a:pt x="92" y="618"/>
                  </a:lnTo>
                  <a:lnTo>
                    <a:pt x="92" y="618"/>
                  </a:lnTo>
                  <a:lnTo>
                    <a:pt x="92" y="618"/>
                  </a:lnTo>
                  <a:lnTo>
                    <a:pt x="92" y="618"/>
                  </a:lnTo>
                  <a:lnTo>
                    <a:pt x="92" y="618"/>
                  </a:lnTo>
                  <a:lnTo>
                    <a:pt x="92" y="618"/>
                  </a:lnTo>
                  <a:lnTo>
                    <a:pt x="94" y="618"/>
                  </a:lnTo>
                  <a:lnTo>
                    <a:pt x="94" y="618"/>
                  </a:lnTo>
                  <a:lnTo>
                    <a:pt x="94" y="618"/>
                  </a:lnTo>
                  <a:lnTo>
                    <a:pt x="94" y="618"/>
                  </a:lnTo>
                  <a:lnTo>
                    <a:pt x="94" y="618"/>
                  </a:lnTo>
                  <a:lnTo>
                    <a:pt x="94" y="618"/>
                  </a:lnTo>
                  <a:lnTo>
                    <a:pt x="94" y="618"/>
                  </a:lnTo>
                  <a:lnTo>
                    <a:pt x="96" y="621"/>
                  </a:lnTo>
                  <a:lnTo>
                    <a:pt x="96" y="621"/>
                  </a:lnTo>
                  <a:lnTo>
                    <a:pt x="96" y="621"/>
                  </a:lnTo>
                  <a:lnTo>
                    <a:pt x="96" y="621"/>
                  </a:lnTo>
                  <a:lnTo>
                    <a:pt x="96" y="623"/>
                  </a:lnTo>
                  <a:lnTo>
                    <a:pt x="96" y="623"/>
                  </a:lnTo>
                  <a:lnTo>
                    <a:pt x="96" y="623"/>
                  </a:lnTo>
                  <a:lnTo>
                    <a:pt x="96" y="623"/>
                  </a:lnTo>
                  <a:lnTo>
                    <a:pt x="94" y="623"/>
                  </a:lnTo>
                  <a:lnTo>
                    <a:pt x="94" y="623"/>
                  </a:lnTo>
                  <a:lnTo>
                    <a:pt x="94" y="623"/>
                  </a:lnTo>
                  <a:lnTo>
                    <a:pt x="94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3"/>
                  </a:lnTo>
                  <a:lnTo>
                    <a:pt x="96" y="623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6" y="625"/>
                  </a:lnTo>
                  <a:lnTo>
                    <a:pt x="99" y="625"/>
                  </a:lnTo>
                  <a:lnTo>
                    <a:pt x="99" y="627"/>
                  </a:lnTo>
                  <a:lnTo>
                    <a:pt x="99" y="627"/>
                  </a:lnTo>
                  <a:lnTo>
                    <a:pt x="99" y="627"/>
                  </a:lnTo>
                  <a:lnTo>
                    <a:pt x="99" y="632"/>
                  </a:lnTo>
                  <a:lnTo>
                    <a:pt x="99" y="632"/>
                  </a:lnTo>
                  <a:lnTo>
                    <a:pt x="96" y="632"/>
                  </a:lnTo>
                  <a:lnTo>
                    <a:pt x="96" y="632"/>
                  </a:lnTo>
                  <a:lnTo>
                    <a:pt x="99" y="632"/>
                  </a:lnTo>
                  <a:lnTo>
                    <a:pt x="99" y="634"/>
                  </a:lnTo>
                  <a:lnTo>
                    <a:pt x="99" y="634"/>
                  </a:lnTo>
                  <a:lnTo>
                    <a:pt x="99" y="634"/>
                  </a:lnTo>
                  <a:lnTo>
                    <a:pt x="99" y="636"/>
                  </a:lnTo>
                  <a:lnTo>
                    <a:pt x="99" y="636"/>
                  </a:lnTo>
                  <a:lnTo>
                    <a:pt x="99" y="636"/>
                  </a:lnTo>
                  <a:lnTo>
                    <a:pt x="99" y="636"/>
                  </a:lnTo>
                  <a:lnTo>
                    <a:pt x="101" y="636"/>
                  </a:lnTo>
                  <a:lnTo>
                    <a:pt x="101" y="636"/>
                  </a:lnTo>
                  <a:lnTo>
                    <a:pt x="99" y="636"/>
                  </a:lnTo>
                  <a:lnTo>
                    <a:pt x="99" y="639"/>
                  </a:lnTo>
                  <a:lnTo>
                    <a:pt x="99" y="639"/>
                  </a:lnTo>
                  <a:lnTo>
                    <a:pt x="99" y="639"/>
                  </a:lnTo>
                  <a:lnTo>
                    <a:pt x="101" y="639"/>
                  </a:lnTo>
                  <a:lnTo>
                    <a:pt x="101" y="639"/>
                  </a:lnTo>
                  <a:lnTo>
                    <a:pt x="101" y="639"/>
                  </a:lnTo>
                  <a:lnTo>
                    <a:pt x="103" y="639"/>
                  </a:lnTo>
                  <a:lnTo>
                    <a:pt x="103" y="639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2" y="639"/>
                  </a:lnTo>
                  <a:lnTo>
                    <a:pt x="112" y="639"/>
                  </a:lnTo>
                  <a:lnTo>
                    <a:pt x="112" y="639"/>
                  </a:lnTo>
                  <a:lnTo>
                    <a:pt x="112" y="641"/>
                  </a:lnTo>
                  <a:lnTo>
                    <a:pt x="112" y="641"/>
                  </a:lnTo>
                  <a:lnTo>
                    <a:pt x="114" y="641"/>
                  </a:lnTo>
                  <a:lnTo>
                    <a:pt x="114" y="641"/>
                  </a:lnTo>
                  <a:lnTo>
                    <a:pt x="114" y="641"/>
                  </a:lnTo>
                  <a:lnTo>
                    <a:pt x="114" y="641"/>
                  </a:lnTo>
                  <a:lnTo>
                    <a:pt x="114" y="641"/>
                  </a:lnTo>
                  <a:lnTo>
                    <a:pt x="114" y="643"/>
                  </a:lnTo>
                  <a:lnTo>
                    <a:pt x="114" y="643"/>
                  </a:lnTo>
                  <a:lnTo>
                    <a:pt x="114" y="643"/>
                  </a:lnTo>
                  <a:lnTo>
                    <a:pt x="114" y="643"/>
                  </a:lnTo>
                  <a:lnTo>
                    <a:pt x="114" y="643"/>
                  </a:lnTo>
                  <a:lnTo>
                    <a:pt x="114" y="643"/>
                  </a:lnTo>
                  <a:lnTo>
                    <a:pt x="114" y="643"/>
                  </a:lnTo>
                  <a:lnTo>
                    <a:pt x="112" y="645"/>
                  </a:lnTo>
                  <a:lnTo>
                    <a:pt x="114" y="645"/>
                  </a:lnTo>
                  <a:lnTo>
                    <a:pt x="114" y="645"/>
                  </a:lnTo>
                  <a:lnTo>
                    <a:pt x="114" y="645"/>
                  </a:lnTo>
                  <a:lnTo>
                    <a:pt x="114" y="648"/>
                  </a:lnTo>
                  <a:lnTo>
                    <a:pt x="114" y="648"/>
                  </a:lnTo>
                  <a:lnTo>
                    <a:pt x="114" y="648"/>
                  </a:lnTo>
                  <a:lnTo>
                    <a:pt x="112" y="648"/>
                  </a:lnTo>
                  <a:lnTo>
                    <a:pt x="112" y="648"/>
                  </a:lnTo>
                  <a:lnTo>
                    <a:pt x="110" y="648"/>
                  </a:lnTo>
                  <a:lnTo>
                    <a:pt x="110" y="648"/>
                  </a:lnTo>
                  <a:lnTo>
                    <a:pt x="108" y="648"/>
                  </a:lnTo>
                  <a:lnTo>
                    <a:pt x="108" y="648"/>
                  </a:lnTo>
                  <a:lnTo>
                    <a:pt x="105" y="648"/>
                  </a:lnTo>
                  <a:lnTo>
                    <a:pt x="105" y="648"/>
                  </a:lnTo>
                  <a:lnTo>
                    <a:pt x="103" y="648"/>
                  </a:lnTo>
                  <a:lnTo>
                    <a:pt x="103" y="648"/>
                  </a:lnTo>
                  <a:lnTo>
                    <a:pt x="103" y="648"/>
                  </a:lnTo>
                  <a:lnTo>
                    <a:pt x="103" y="648"/>
                  </a:lnTo>
                  <a:lnTo>
                    <a:pt x="103" y="648"/>
                  </a:lnTo>
                  <a:lnTo>
                    <a:pt x="103" y="648"/>
                  </a:lnTo>
                  <a:lnTo>
                    <a:pt x="101" y="648"/>
                  </a:lnTo>
                  <a:lnTo>
                    <a:pt x="99" y="648"/>
                  </a:lnTo>
                  <a:lnTo>
                    <a:pt x="99" y="648"/>
                  </a:lnTo>
                  <a:lnTo>
                    <a:pt x="99" y="648"/>
                  </a:lnTo>
                  <a:lnTo>
                    <a:pt x="99" y="648"/>
                  </a:lnTo>
                  <a:lnTo>
                    <a:pt x="99" y="650"/>
                  </a:lnTo>
                  <a:lnTo>
                    <a:pt x="99" y="650"/>
                  </a:lnTo>
                  <a:lnTo>
                    <a:pt x="99" y="650"/>
                  </a:lnTo>
                  <a:lnTo>
                    <a:pt x="99" y="650"/>
                  </a:lnTo>
                  <a:lnTo>
                    <a:pt x="101" y="650"/>
                  </a:lnTo>
                  <a:lnTo>
                    <a:pt x="101" y="650"/>
                  </a:lnTo>
                  <a:lnTo>
                    <a:pt x="101" y="650"/>
                  </a:lnTo>
                  <a:lnTo>
                    <a:pt x="103" y="652"/>
                  </a:lnTo>
                  <a:lnTo>
                    <a:pt x="103" y="652"/>
                  </a:lnTo>
                  <a:lnTo>
                    <a:pt x="103" y="652"/>
                  </a:lnTo>
                  <a:lnTo>
                    <a:pt x="105" y="652"/>
                  </a:lnTo>
                  <a:lnTo>
                    <a:pt x="105" y="652"/>
                  </a:lnTo>
                  <a:lnTo>
                    <a:pt x="105" y="652"/>
                  </a:lnTo>
                  <a:lnTo>
                    <a:pt x="105" y="652"/>
                  </a:lnTo>
                  <a:lnTo>
                    <a:pt x="105" y="652"/>
                  </a:lnTo>
                  <a:lnTo>
                    <a:pt x="108" y="652"/>
                  </a:lnTo>
                  <a:lnTo>
                    <a:pt x="108" y="652"/>
                  </a:lnTo>
                  <a:lnTo>
                    <a:pt x="108" y="652"/>
                  </a:lnTo>
                  <a:lnTo>
                    <a:pt x="108" y="652"/>
                  </a:lnTo>
                  <a:lnTo>
                    <a:pt x="110" y="652"/>
                  </a:lnTo>
                  <a:lnTo>
                    <a:pt x="110" y="652"/>
                  </a:lnTo>
                  <a:lnTo>
                    <a:pt x="112" y="654"/>
                  </a:lnTo>
                  <a:lnTo>
                    <a:pt x="112" y="654"/>
                  </a:lnTo>
                  <a:lnTo>
                    <a:pt x="112" y="657"/>
                  </a:lnTo>
                  <a:lnTo>
                    <a:pt x="114" y="657"/>
                  </a:lnTo>
                  <a:lnTo>
                    <a:pt x="114" y="657"/>
                  </a:lnTo>
                  <a:lnTo>
                    <a:pt x="114" y="659"/>
                  </a:lnTo>
                  <a:lnTo>
                    <a:pt x="117" y="659"/>
                  </a:lnTo>
                  <a:lnTo>
                    <a:pt x="117" y="659"/>
                  </a:lnTo>
                  <a:lnTo>
                    <a:pt x="117" y="659"/>
                  </a:lnTo>
                  <a:lnTo>
                    <a:pt x="117" y="661"/>
                  </a:lnTo>
                  <a:lnTo>
                    <a:pt x="117" y="661"/>
                  </a:lnTo>
                  <a:lnTo>
                    <a:pt x="117" y="661"/>
                  </a:lnTo>
                  <a:lnTo>
                    <a:pt x="117" y="661"/>
                  </a:lnTo>
                  <a:lnTo>
                    <a:pt x="117" y="661"/>
                  </a:lnTo>
                  <a:lnTo>
                    <a:pt x="114" y="663"/>
                  </a:lnTo>
                  <a:lnTo>
                    <a:pt x="114" y="663"/>
                  </a:lnTo>
                  <a:lnTo>
                    <a:pt x="114" y="663"/>
                  </a:lnTo>
                  <a:lnTo>
                    <a:pt x="114" y="663"/>
                  </a:lnTo>
                  <a:lnTo>
                    <a:pt x="117" y="663"/>
                  </a:lnTo>
                  <a:lnTo>
                    <a:pt x="114" y="666"/>
                  </a:lnTo>
                  <a:lnTo>
                    <a:pt x="114" y="666"/>
                  </a:lnTo>
                  <a:lnTo>
                    <a:pt x="114" y="666"/>
                  </a:lnTo>
                  <a:lnTo>
                    <a:pt x="112" y="666"/>
                  </a:lnTo>
                  <a:lnTo>
                    <a:pt x="112" y="666"/>
                  </a:lnTo>
                  <a:lnTo>
                    <a:pt x="112" y="666"/>
                  </a:lnTo>
                  <a:lnTo>
                    <a:pt x="110" y="666"/>
                  </a:lnTo>
                  <a:lnTo>
                    <a:pt x="110" y="666"/>
                  </a:lnTo>
                  <a:lnTo>
                    <a:pt x="110" y="666"/>
                  </a:lnTo>
                  <a:lnTo>
                    <a:pt x="112" y="666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68"/>
                  </a:lnTo>
                  <a:lnTo>
                    <a:pt x="112" y="670"/>
                  </a:lnTo>
                  <a:lnTo>
                    <a:pt x="112" y="670"/>
                  </a:lnTo>
                  <a:lnTo>
                    <a:pt x="112" y="670"/>
                  </a:lnTo>
                  <a:lnTo>
                    <a:pt x="112" y="670"/>
                  </a:lnTo>
                  <a:lnTo>
                    <a:pt x="112" y="670"/>
                  </a:lnTo>
                  <a:lnTo>
                    <a:pt x="112" y="670"/>
                  </a:lnTo>
                  <a:lnTo>
                    <a:pt x="112" y="670"/>
                  </a:lnTo>
                  <a:lnTo>
                    <a:pt x="112" y="672"/>
                  </a:lnTo>
                  <a:lnTo>
                    <a:pt x="112" y="672"/>
                  </a:lnTo>
                  <a:lnTo>
                    <a:pt x="112" y="672"/>
                  </a:lnTo>
                  <a:lnTo>
                    <a:pt x="112" y="672"/>
                  </a:lnTo>
                  <a:lnTo>
                    <a:pt x="114" y="672"/>
                  </a:lnTo>
                  <a:lnTo>
                    <a:pt x="114" y="672"/>
                  </a:lnTo>
                  <a:lnTo>
                    <a:pt x="114" y="672"/>
                  </a:lnTo>
                  <a:lnTo>
                    <a:pt x="114" y="675"/>
                  </a:lnTo>
                  <a:lnTo>
                    <a:pt x="117" y="675"/>
                  </a:lnTo>
                  <a:lnTo>
                    <a:pt x="117" y="675"/>
                  </a:lnTo>
                  <a:lnTo>
                    <a:pt x="117" y="675"/>
                  </a:lnTo>
                  <a:lnTo>
                    <a:pt x="117" y="677"/>
                  </a:lnTo>
                  <a:lnTo>
                    <a:pt x="117" y="677"/>
                  </a:lnTo>
                  <a:lnTo>
                    <a:pt x="114" y="679"/>
                  </a:lnTo>
                  <a:lnTo>
                    <a:pt x="114" y="679"/>
                  </a:lnTo>
                  <a:lnTo>
                    <a:pt x="114" y="679"/>
                  </a:lnTo>
                  <a:lnTo>
                    <a:pt x="114" y="679"/>
                  </a:lnTo>
                  <a:lnTo>
                    <a:pt x="112" y="679"/>
                  </a:lnTo>
                  <a:lnTo>
                    <a:pt x="112" y="679"/>
                  </a:lnTo>
                  <a:lnTo>
                    <a:pt x="112" y="679"/>
                  </a:lnTo>
                  <a:lnTo>
                    <a:pt x="112" y="679"/>
                  </a:lnTo>
                  <a:lnTo>
                    <a:pt x="112" y="679"/>
                  </a:lnTo>
                  <a:lnTo>
                    <a:pt x="112" y="679"/>
                  </a:lnTo>
                  <a:lnTo>
                    <a:pt x="114" y="679"/>
                  </a:lnTo>
                  <a:lnTo>
                    <a:pt x="114" y="681"/>
                  </a:lnTo>
                  <a:lnTo>
                    <a:pt x="117" y="681"/>
                  </a:lnTo>
                  <a:lnTo>
                    <a:pt x="117" y="681"/>
                  </a:lnTo>
                  <a:lnTo>
                    <a:pt x="117" y="684"/>
                  </a:lnTo>
                  <a:lnTo>
                    <a:pt x="117" y="684"/>
                  </a:lnTo>
                  <a:lnTo>
                    <a:pt x="117" y="684"/>
                  </a:lnTo>
                  <a:lnTo>
                    <a:pt x="119" y="686"/>
                  </a:lnTo>
                  <a:lnTo>
                    <a:pt x="121" y="688"/>
                  </a:lnTo>
                  <a:lnTo>
                    <a:pt x="121" y="688"/>
                  </a:lnTo>
                  <a:lnTo>
                    <a:pt x="121" y="688"/>
                  </a:lnTo>
                  <a:lnTo>
                    <a:pt x="121" y="690"/>
                  </a:lnTo>
                  <a:lnTo>
                    <a:pt x="121" y="690"/>
                  </a:lnTo>
                  <a:lnTo>
                    <a:pt x="121" y="693"/>
                  </a:lnTo>
                  <a:lnTo>
                    <a:pt x="121" y="693"/>
                  </a:lnTo>
                  <a:lnTo>
                    <a:pt x="121" y="693"/>
                  </a:lnTo>
                  <a:lnTo>
                    <a:pt x="121" y="693"/>
                  </a:lnTo>
                  <a:lnTo>
                    <a:pt x="121" y="695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17" y="695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19" y="695"/>
                  </a:lnTo>
                  <a:lnTo>
                    <a:pt x="119" y="697"/>
                  </a:lnTo>
                  <a:lnTo>
                    <a:pt x="119" y="697"/>
                  </a:lnTo>
                  <a:lnTo>
                    <a:pt x="119" y="697"/>
                  </a:lnTo>
                  <a:lnTo>
                    <a:pt x="119" y="697"/>
                  </a:lnTo>
                  <a:lnTo>
                    <a:pt x="119" y="697"/>
                  </a:lnTo>
                  <a:lnTo>
                    <a:pt x="119" y="697"/>
                  </a:lnTo>
                  <a:lnTo>
                    <a:pt x="119" y="699"/>
                  </a:lnTo>
                  <a:lnTo>
                    <a:pt x="119" y="699"/>
                  </a:lnTo>
                  <a:lnTo>
                    <a:pt x="119" y="699"/>
                  </a:lnTo>
                  <a:lnTo>
                    <a:pt x="119" y="699"/>
                  </a:lnTo>
                  <a:lnTo>
                    <a:pt x="119" y="699"/>
                  </a:lnTo>
                  <a:lnTo>
                    <a:pt x="119" y="702"/>
                  </a:lnTo>
                  <a:lnTo>
                    <a:pt x="119" y="702"/>
                  </a:lnTo>
                  <a:lnTo>
                    <a:pt x="119" y="702"/>
                  </a:lnTo>
                  <a:lnTo>
                    <a:pt x="121" y="702"/>
                  </a:lnTo>
                  <a:lnTo>
                    <a:pt x="121" y="702"/>
                  </a:lnTo>
                  <a:lnTo>
                    <a:pt x="121" y="704"/>
                  </a:lnTo>
                  <a:lnTo>
                    <a:pt x="123" y="704"/>
                  </a:lnTo>
                  <a:lnTo>
                    <a:pt x="123" y="704"/>
                  </a:lnTo>
                  <a:lnTo>
                    <a:pt x="123" y="704"/>
                  </a:lnTo>
                  <a:lnTo>
                    <a:pt x="121" y="706"/>
                  </a:lnTo>
                  <a:lnTo>
                    <a:pt x="121" y="704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4"/>
                  </a:lnTo>
                  <a:lnTo>
                    <a:pt x="119" y="706"/>
                  </a:lnTo>
                  <a:lnTo>
                    <a:pt x="119" y="706"/>
                  </a:lnTo>
                  <a:lnTo>
                    <a:pt x="121" y="706"/>
                  </a:lnTo>
                  <a:lnTo>
                    <a:pt x="121" y="706"/>
                  </a:lnTo>
                  <a:lnTo>
                    <a:pt x="121" y="706"/>
                  </a:lnTo>
                  <a:lnTo>
                    <a:pt x="119" y="706"/>
                  </a:lnTo>
                  <a:lnTo>
                    <a:pt x="119" y="708"/>
                  </a:lnTo>
                  <a:lnTo>
                    <a:pt x="119" y="708"/>
                  </a:lnTo>
                  <a:lnTo>
                    <a:pt x="119" y="708"/>
                  </a:lnTo>
                  <a:lnTo>
                    <a:pt x="119" y="708"/>
                  </a:lnTo>
                  <a:lnTo>
                    <a:pt x="117" y="708"/>
                  </a:lnTo>
                  <a:lnTo>
                    <a:pt x="117" y="708"/>
                  </a:lnTo>
                  <a:lnTo>
                    <a:pt x="117" y="708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11"/>
                  </a:lnTo>
                  <a:lnTo>
                    <a:pt x="117" y="713"/>
                  </a:lnTo>
                  <a:lnTo>
                    <a:pt x="117" y="713"/>
                  </a:lnTo>
                  <a:lnTo>
                    <a:pt x="117" y="713"/>
                  </a:lnTo>
                  <a:lnTo>
                    <a:pt x="117" y="713"/>
                  </a:lnTo>
                  <a:lnTo>
                    <a:pt x="117" y="715"/>
                  </a:lnTo>
                  <a:lnTo>
                    <a:pt x="117" y="717"/>
                  </a:lnTo>
                  <a:lnTo>
                    <a:pt x="117" y="717"/>
                  </a:lnTo>
                  <a:lnTo>
                    <a:pt x="117" y="720"/>
                  </a:lnTo>
                  <a:lnTo>
                    <a:pt x="117" y="720"/>
                  </a:lnTo>
                  <a:lnTo>
                    <a:pt x="117" y="722"/>
                  </a:lnTo>
                  <a:lnTo>
                    <a:pt x="117" y="722"/>
                  </a:lnTo>
                  <a:lnTo>
                    <a:pt x="117" y="722"/>
                  </a:lnTo>
                  <a:lnTo>
                    <a:pt x="119" y="722"/>
                  </a:lnTo>
                  <a:lnTo>
                    <a:pt x="119" y="722"/>
                  </a:lnTo>
                  <a:lnTo>
                    <a:pt x="119" y="722"/>
                  </a:lnTo>
                  <a:lnTo>
                    <a:pt x="119" y="724"/>
                  </a:lnTo>
                  <a:lnTo>
                    <a:pt x="119" y="724"/>
                  </a:lnTo>
                  <a:lnTo>
                    <a:pt x="119" y="724"/>
                  </a:lnTo>
                  <a:lnTo>
                    <a:pt x="119" y="724"/>
                  </a:lnTo>
                  <a:lnTo>
                    <a:pt x="121" y="724"/>
                  </a:lnTo>
                  <a:lnTo>
                    <a:pt x="121" y="724"/>
                  </a:lnTo>
                  <a:lnTo>
                    <a:pt x="121" y="724"/>
                  </a:lnTo>
                  <a:lnTo>
                    <a:pt x="121" y="724"/>
                  </a:lnTo>
                  <a:lnTo>
                    <a:pt x="121" y="724"/>
                  </a:lnTo>
                  <a:lnTo>
                    <a:pt x="123" y="729"/>
                  </a:lnTo>
                  <a:lnTo>
                    <a:pt x="123" y="729"/>
                  </a:lnTo>
                  <a:lnTo>
                    <a:pt x="123" y="729"/>
                  </a:lnTo>
                  <a:lnTo>
                    <a:pt x="123" y="729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1"/>
                  </a:lnTo>
                  <a:lnTo>
                    <a:pt x="123" y="733"/>
                  </a:lnTo>
                  <a:lnTo>
                    <a:pt x="121" y="733"/>
                  </a:lnTo>
                  <a:lnTo>
                    <a:pt x="121" y="733"/>
                  </a:lnTo>
                  <a:lnTo>
                    <a:pt x="121" y="733"/>
                  </a:lnTo>
                  <a:lnTo>
                    <a:pt x="121" y="735"/>
                  </a:lnTo>
                  <a:lnTo>
                    <a:pt x="121" y="735"/>
                  </a:lnTo>
                  <a:lnTo>
                    <a:pt x="121" y="738"/>
                  </a:lnTo>
                  <a:lnTo>
                    <a:pt x="123" y="740"/>
                  </a:lnTo>
                  <a:lnTo>
                    <a:pt x="123" y="740"/>
                  </a:lnTo>
                  <a:lnTo>
                    <a:pt x="123" y="742"/>
                  </a:lnTo>
                  <a:lnTo>
                    <a:pt x="123" y="742"/>
                  </a:lnTo>
                  <a:lnTo>
                    <a:pt x="121" y="742"/>
                  </a:lnTo>
                  <a:lnTo>
                    <a:pt x="121" y="744"/>
                  </a:lnTo>
                  <a:lnTo>
                    <a:pt x="121" y="744"/>
                  </a:lnTo>
                  <a:lnTo>
                    <a:pt x="121" y="744"/>
                  </a:lnTo>
                  <a:lnTo>
                    <a:pt x="119" y="744"/>
                  </a:lnTo>
                  <a:lnTo>
                    <a:pt x="117" y="744"/>
                  </a:lnTo>
                  <a:lnTo>
                    <a:pt x="117" y="747"/>
                  </a:lnTo>
                  <a:lnTo>
                    <a:pt x="117" y="747"/>
                  </a:lnTo>
                  <a:lnTo>
                    <a:pt x="117" y="747"/>
                  </a:lnTo>
                  <a:lnTo>
                    <a:pt x="117" y="747"/>
                  </a:lnTo>
                  <a:lnTo>
                    <a:pt x="117" y="749"/>
                  </a:lnTo>
                  <a:lnTo>
                    <a:pt x="117" y="749"/>
                  </a:lnTo>
                  <a:lnTo>
                    <a:pt x="117" y="749"/>
                  </a:lnTo>
                  <a:lnTo>
                    <a:pt x="117" y="749"/>
                  </a:lnTo>
                  <a:lnTo>
                    <a:pt x="117" y="749"/>
                  </a:lnTo>
                  <a:lnTo>
                    <a:pt x="117" y="751"/>
                  </a:lnTo>
                  <a:lnTo>
                    <a:pt x="117" y="751"/>
                  </a:lnTo>
                  <a:lnTo>
                    <a:pt x="117" y="751"/>
                  </a:lnTo>
                  <a:lnTo>
                    <a:pt x="117" y="751"/>
                  </a:lnTo>
                  <a:lnTo>
                    <a:pt x="119" y="751"/>
                  </a:lnTo>
                  <a:lnTo>
                    <a:pt x="119" y="753"/>
                  </a:lnTo>
                  <a:lnTo>
                    <a:pt x="117" y="753"/>
                  </a:lnTo>
                  <a:lnTo>
                    <a:pt x="117" y="753"/>
                  </a:lnTo>
                  <a:lnTo>
                    <a:pt x="117" y="753"/>
                  </a:lnTo>
                  <a:lnTo>
                    <a:pt x="112" y="753"/>
                  </a:lnTo>
                  <a:lnTo>
                    <a:pt x="112" y="753"/>
                  </a:lnTo>
                  <a:lnTo>
                    <a:pt x="112" y="753"/>
                  </a:lnTo>
                  <a:lnTo>
                    <a:pt x="112" y="756"/>
                  </a:lnTo>
                  <a:lnTo>
                    <a:pt x="112" y="756"/>
                  </a:lnTo>
                  <a:lnTo>
                    <a:pt x="112" y="756"/>
                  </a:lnTo>
                  <a:lnTo>
                    <a:pt x="112" y="756"/>
                  </a:lnTo>
                  <a:lnTo>
                    <a:pt x="112" y="756"/>
                  </a:lnTo>
                  <a:lnTo>
                    <a:pt x="112" y="756"/>
                  </a:lnTo>
                  <a:lnTo>
                    <a:pt x="112" y="756"/>
                  </a:lnTo>
                  <a:lnTo>
                    <a:pt x="112" y="758"/>
                  </a:lnTo>
                  <a:lnTo>
                    <a:pt x="112" y="758"/>
                  </a:lnTo>
                  <a:lnTo>
                    <a:pt x="112" y="758"/>
                  </a:lnTo>
                  <a:lnTo>
                    <a:pt x="112" y="758"/>
                  </a:lnTo>
                  <a:lnTo>
                    <a:pt x="112" y="758"/>
                  </a:lnTo>
                  <a:lnTo>
                    <a:pt x="112" y="758"/>
                  </a:lnTo>
                  <a:lnTo>
                    <a:pt x="112" y="760"/>
                  </a:lnTo>
                  <a:lnTo>
                    <a:pt x="112" y="760"/>
                  </a:lnTo>
                  <a:lnTo>
                    <a:pt x="114" y="760"/>
                  </a:lnTo>
                  <a:lnTo>
                    <a:pt x="114" y="760"/>
                  </a:lnTo>
                  <a:lnTo>
                    <a:pt x="114" y="760"/>
                  </a:lnTo>
                  <a:lnTo>
                    <a:pt x="114" y="762"/>
                  </a:lnTo>
                  <a:lnTo>
                    <a:pt x="114" y="762"/>
                  </a:lnTo>
                  <a:lnTo>
                    <a:pt x="114" y="762"/>
                  </a:lnTo>
                  <a:lnTo>
                    <a:pt x="114" y="762"/>
                  </a:lnTo>
                  <a:lnTo>
                    <a:pt x="114" y="762"/>
                  </a:lnTo>
                  <a:lnTo>
                    <a:pt x="117" y="764"/>
                  </a:lnTo>
                  <a:lnTo>
                    <a:pt x="117" y="764"/>
                  </a:lnTo>
                  <a:lnTo>
                    <a:pt x="117" y="764"/>
                  </a:lnTo>
                  <a:lnTo>
                    <a:pt x="114" y="764"/>
                  </a:lnTo>
                  <a:lnTo>
                    <a:pt x="114" y="767"/>
                  </a:lnTo>
                  <a:lnTo>
                    <a:pt x="114" y="767"/>
                  </a:lnTo>
                  <a:lnTo>
                    <a:pt x="117" y="767"/>
                  </a:lnTo>
                  <a:lnTo>
                    <a:pt x="114" y="767"/>
                  </a:lnTo>
                  <a:lnTo>
                    <a:pt x="114" y="767"/>
                  </a:lnTo>
                  <a:lnTo>
                    <a:pt x="114" y="767"/>
                  </a:lnTo>
                  <a:lnTo>
                    <a:pt x="117" y="767"/>
                  </a:lnTo>
                  <a:lnTo>
                    <a:pt x="117" y="769"/>
                  </a:lnTo>
                  <a:lnTo>
                    <a:pt x="117" y="769"/>
                  </a:lnTo>
                  <a:lnTo>
                    <a:pt x="119" y="769"/>
                  </a:lnTo>
                  <a:lnTo>
                    <a:pt x="119" y="769"/>
                  </a:lnTo>
                  <a:lnTo>
                    <a:pt x="117" y="771"/>
                  </a:lnTo>
                  <a:lnTo>
                    <a:pt x="117" y="771"/>
                  </a:lnTo>
                  <a:lnTo>
                    <a:pt x="119" y="771"/>
                  </a:lnTo>
                  <a:lnTo>
                    <a:pt x="121" y="773"/>
                  </a:lnTo>
                  <a:lnTo>
                    <a:pt x="121" y="773"/>
                  </a:lnTo>
                  <a:lnTo>
                    <a:pt x="123" y="773"/>
                  </a:lnTo>
                  <a:lnTo>
                    <a:pt x="123" y="776"/>
                  </a:lnTo>
                  <a:lnTo>
                    <a:pt x="123" y="776"/>
                  </a:lnTo>
                  <a:lnTo>
                    <a:pt x="123" y="776"/>
                  </a:lnTo>
                  <a:lnTo>
                    <a:pt x="126" y="778"/>
                  </a:lnTo>
                  <a:lnTo>
                    <a:pt x="126" y="778"/>
                  </a:lnTo>
                  <a:lnTo>
                    <a:pt x="126" y="778"/>
                  </a:lnTo>
                  <a:lnTo>
                    <a:pt x="126" y="780"/>
                  </a:lnTo>
                  <a:lnTo>
                    <a:pt x="126" y="780"/>
                  </a:lnTo>
                  <a:lnTo>
                    <a:pt x="128" y="782"/>
                  </a:lnTo>
                  <a:lnTo>
                    <a:pt x="128" y="782"/>
                  </a:lnTo>
                  <a:lnTo>
                    <a:pt x="128" y="782"/>
                  </a:lnTo>
                  <a:lnTo>
                    <a:pt x="128" y="782"/>
                  </a:lnTo>
                  <a:lnTo>
                    <a:pt x="130" y="785"/>
                  </a:lnTo>
                  <a:lnTo>
                    <a:pt x="130" y="785"/>
                  </a:lnTo>
                  <a:lnTo>
                    <a:pt x="130" y="785"/>
                  </a:lnTo>
                  <a:lnTo>
                    <a:pt x="130" y="787"/>
                  </a:lnTo>
                  <a:lnTo>
                    <a:pt x="130" y="787"/>
                  </a:lnTo>
                  <a:lnTo>
                    <a:pt x="132" y="787"/>
                  </a:lnTo>
                  <a:lnTo>
                    <a:pt x="132" y="787"/>
                  </a:lnTo>
                  <a:lnTo>
                    <a:pt x="132" y="787"/>
                  </a:lnTo>
                  <a:lnTo>
                    <a:pt x="135" y="785"/>
                  </a:lnTo>
                  <a:lnTo>
                    <a:pt x="135" y="785"/>
                  </a:lnTo>
                  <a:lnTo>
                    <a:pt x="137" y="782"/>
                  </a:lnTo>
                  <a:lnTo>
                    <a:pt x="137" y="782"/>
                  </a:lnTo>
                  <a:lnTo>
                    <a:pt x="137" y="782"/>
                  </a:lnTo>
                  <a:lnTo>
                    <a:pt x="139" y="785"/>
                  </a:lnTo>
                  <a:lnTo>
                    <a:pt x="139" y="785"/>
                  </a:lnTo>
                  <a:lnTo>
                    <a:pt x="139" y="785"/>
                  </a:lnTo>
                  <a:lnTo>
                    <a:pt x="141" y="782"/>
                  </a:lnTo>
                  <a:lnTo>
                    <a:pt x="141" y="782"/>
                  </a:lnTo>
                  <a:lnTo>
                    <a:pt x="144" y="782"/>
                  </a:lnTo>
                  <a:lnTo>
                    <a:pt x="144" y="785"/>
                  </a:lnTo>
                  <a:lnTo>
                    <a:pt x="146" y="785"/>
                  </a:lnTo>
                  <a:lnTo>
                    <a:pt x="146" y="785"/>
                  </a:lnTo>
                  <a:lnTo>
                    <a:pt x="146" y="785"/>
                  </a:lnTo>
                  <a:lnTo>
                    <a:pt x="146" y="785"/>
                  </a:lnTo>
                  <a:lnTo>
                    <a:pt x="146" y="785"/>
                  </a:lnTo>
                  <a:lnTo>
                    <a:pt x="146" y="787"/>
                  </a:lnTo>
                  <a:lnTo>
                    <a:pt x="146" y="787"/>
                  </a:lnTo>
                  <a:lnTo>
                    <a:pt x="146" y="787"/>
                  </a:lnTo>
                  <a:lnTo>
                    <a:pt x="148" y="787"/>
                  </a:lnTo>
                  <a:lnTo>
                    <a:pt x="148" y="789"/>
                  </a:lnTo>
                  <a:lnTo>
                    <a:pt x="148" y="789"/>
                  </a:lnTo>
                  <a:lnTo>
                    <a:pt x="148" y="791"/>
                  </a:lnTo>
                  <a:lnTo>
                    <a:pt x="148" y="791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4"/>
                  </a:lnTo>
                  <a:lnTo>
                    <a:pt x="148" y="796"/>
                  </a:lnTo>
                  <a:lnTo>
                    <a:pt x="150" y="796"/>
                  </a:lnTo>
                  <a:lnTo>
                    <a:pt x="150" y="796"/>
                  </a:lnTo>
                  <a:lnTo>
                    <a:pt x="153" y="798"/>
                  </a:lnTo>
                  <a:lnTo>
                    <a:pt x="153" y="798"/>
                  </a:lnTo>
                  <a:lnTo>
                    <a:pt x="153" y="798"/>
                  </a:lnTo>
                  <a:lnTo>
                    <a:pt x="150" y="798"/>
                  </a:lnTo>
                  <a:lnTo>
                    <a:pt x="150" y="798"/>
                  </a:lnTo>
                  <a:lnTo>
                    <a:pt x="150" y="800"/>
                  </a:lnTo>
                  <a:lnTo>
                    <a:pt x="153" y="800"/>
                  </a:lnTo>
                  <a:lnTo>
                    <a:pt x="153" y="800"/>
                  </a:lnTo>
                  <a:lnTo>
                    <a:pt x="153" y="800"/>
                  </a:lnTo>
                  <a:lnTo>
                    <a:pt x="153" y="803"/>
                  </a:lnTo>
                  <a:lnTo>
                    <a:pt x="153" y="803"/>
                  </a:lnTo>
                  <a:lnTo>
                    <a:pt x="153" y="803"/>
                  </a:lnTo>
                  <a:lnTo>
                    <a:pt x="153" y="803"/>
                  </a:lnTo>
                  <a:lnTo>
                    <a:pt x="153" y="803"/>
                  </a:lnTo>
                  <a:lnTo>
                    <a:pt x="153" y="803"/>
                  </a:lnTo>
                  <a:lnTo>
                    <a:pt x="153" y="803"/>
                  </a:lnTo>
                  <a:lnTo>
                    <a:pt x="150" y="805"/>
                  </a:lnTo>
                  <a:lnTo>
                    <a:pt x="150" y="805"/>
                  </a:lnTo>
                  <a:lnTo>
                    <a:pt x="153" y="805"/>
                  </a:lnTo>
                  <a:lnTo>
                    <a:pt x="153" y="805"/>
                  </a:lnTo>
                  <a:lnTo>
                    <a:pt x="153" y="805"/>
                  </a:lnTo>
                  <a:lnTo>
                    <a:pt x="153" y="805"/>
                  </a:lnTo>
                  <a:lnTo>
                    <a:pt x="155" y="805"/>
                  </a:lnTo>
                  <a:lnTo>
                    <a:pt x="155" y="805"/>
                  </a:lnTo>
                  <a:lnTo>
                    <a:pt x="155" y="807"/>
                  </a:lnTo>
                  <a:lnTo>
                    <a:pt x="155" y="807"/>
                  </a:lnTo>
                  <a:lnTo>
                    <a:pt x="155" y="807"/>
                  </a:lnTo>
                  <a:lnTo>
                    <a:pt x="157" y="809"/>
                  </a:lnTo>
                  <a:lnTo>
                    <a:pt x="159" y="809"/>
                  </a:lnTo>
                  <a:lnTo>
                    <a:pt x="159" y="809"/>
                  </a:lnTo>
                  <a:lnTo>
                    <a:pt x="162" y="812"/>
                  </a:lnTo>
                  <a:lnTo>
                    <a:pt x="162" y="812"/>
                  </a:lnTo>
                  <a:lnTo>
                    <a:pt x="164" y="812"/>
                  </a:lnTo>
                  <a:lnTo>
                    <a:pt x="164" y="812"/>
                  </a:lnTo>
                  <a:lnTo>
                    <a:pt x="164" y="814"/>
                  </a:lnTo>
                  <a:lnTo>
                    <a:pt x="164" y="814"/>
                  </a:lnTo>
                  <a:lnTo>
                    <a:pt x="166" y="814"/>
                  </a:lnTo>
                  <a:lnTo>
                    <a:pt x="166" y="814"/>
                  </a:lnTo>
                  <a:lnTo>
                    <a:pt x="171" y="814"/>
                  </a:lnTo>
                  <a:lnTo>
                    <a:pt x="175" y="814"/>
                  </a:lnTo>
                  <a:lnTo>
                    <a:pt x="180" y="814"/>
                  </a:lnTo>
                  <a:lnTo>
                    <a:pt x="182" y="814"/>
                  </a:lnTo>
                  <a:lnTo>
                    <a:pt x="186" y="814"/>
                  </a:lnTo>
                  <a:lnTo>
                    <a:pt x="191" y="814"/>
                  </a:lnTo>
                  <a:lnTo>
                    <a:pt x="195" y="814"/>
                  </a:lnTo>
                  <a:lnTo>
                    <a:pt x="200" y="814"/>
                  </a:lnTo>
                  <a:lnTo>
                    <a:pt x="200" y="814"/>
                  </a:lnTo>
                  <a:lnTo>
                    <a:pt x="202" y="816"/>
                  </a:lnTo>
                  <a:lnTo>
                    <a:pt x="207" y="816"/>
                  </a:lnTo>
                  <a:lnTo>
                    <a:pt x="211" y="818"/>
                  </a:lnTo>
                  <a:lnTo>
                    <a:pt x="215" y="818"/>
                  </a:lnTo>
                  <a:lnTo>
                    <a:pt x="220" y="818"/>
                  </a:lnTo>
                  <a:lnTo>
                    <a:pt x="222" y="821"/>
                  </a:lnTo>
                  <a:lnTo>
                    <a:pt x="222" y="821"/>
                  </a:lnTo>
                  <a:lnTo>
                    <a:pt x="227" y="821"/>
                  </a:lnTo>
                  <a:lnTo>
                    <a:pt x="227" y="821"/>
                  </a:lnTo>
                  <a:lnTo>
                    <a:pt x="229" y="821"/>
                  </a:lnTo>
                  <a:lnTo>
                    <a:pt x="229" y="821"/>
                  </a:lnTo>
                  <a:lnTo>
                    <a:pt x="229" y="821"/>
                  </a:lnTo>
                  <a:lnTo>
                    <a:pt x="231" y="821"/>
                  </a:lnTo>
                  <a:lnTo>
                    <a:pt x="231" y="823"/>
                  </a:lnTo>
                  <a:lnTo>
                    <a:pt x="231" y="823"/>
                  </a:lnTo>
                  <a:lnTo>
                    <a:pt x="231" y="823"/>
                  </a:lnTo>
                  <a:lnTo>
                    <a:pt x="231" y="823"/>
                  </a:lnTo>
                  <a:lnTo>
                    <a:pt x="231" y="823"/>
                  </a:lnTo>
                  <a:lnTo>
                    <a:pt x="231" y="823"/>
                  </a:lnTo>
                  <a:lnTo>
                    <a:pt x="229" y="823"/>
                  </a:lnTo>
                  <a:lnTo>
                    <a:pt x="224" y="821"/>
                  </a:lnTo>
                  <a:lnTo>
                    <a:pt x="224" y="821"/>
                  </a:lnTo>
                  <a:lnTo>
                    <a:pt x="224" y="821"/>
                  </a:lnTo>
                  <a:lnTo>
                    <a:pt x="224" y="821"/>
                  </a:lnTo>
                  <a:lnTo>
                    <a:pt x="222" y="821"/>
                  </a:lnTo>
                  <a:lnTo>
                    <a:pt x="222" y="821"/>
                  </a:lnTo>
                  <a:lnTo>
                    <a:pt x="220" y="821"/>
                  </a:lnTo>
                  <a:lnTo>
                    <a:pt x="220" y="821"/>
                  </a:lnTo>
                  <a:lnTo>
                    <a:pt x="218" y="821"/>
                  </a:lnTo>
                  <a:lnTo>
                    <a:pt x="218" y="821"/>
                  </a:lnTo>
                  <a:lnTo>
                    <a:pt x="215" y="818"/>
                  </a:lnTo>
                  <a:lnTo>
                    <a:pt x="215" y="818"/>
                  </a:lnTo>
                  <a:lnTo>
                    <a:pt x="213" y="821"/>
                  </a:lnTo>
                  <a:lnTo>
                    <a:pt x="211" y="821"/>
                  </a:lnTo>
                  <a:lnTo>
                    <a:pt x="211" y="821"/>
                  </a:lnTo>
                  <a:lnTo>
                    <a:pt x="211" y="821"/>
                  </a:lnTo>
                  <a:lnTo>
                    <a:pt x="211" y="821"/>
                  </a:lnTo>
                  <a:lnTo>
                    <a:pt x="211" y="821"/>
                  </a:lnTo>
                  <a:lnTo>
                    <a:pt x="213" y="823"/>
                  </a:lnTo>
                  <a:lnTo>
                    <a:pt x="213" y="823"/>
                  </a:lnTo>
                  <a:lnTo>
                    <a:pt x="211" y="823"/>
                  </a:lnTo>
                  <a:lnTo>
                    <a:pt x="211" y="823"/>
                  </a:lnTo>
                  <a:lnTo>
                    <a:pt x="211" y="825"/>
                  </a:lnTo>
                  <a:lnTo>
                    <a:pt x="211" y="825"/>
                  </a:lnTo>
                  <a:lnTo>
                    <a:pt x="211" y="825"/>
                  </a:lnTo>
                  <a:lnTo>
                    <a:pt x="211" y="825"/>
                  </a:lnTo>
                  <a:lnTo>
                    <a:pt x="211" y="825"/>
                  </a:lnTo>
                  <a:lnTo>
                    <a:pt x="211" y="825"/>
                  </a:lnTo>
                  <a:lnTo>
                    <a:pt x="211" y="827"/>
                  </a:lnTo>
                  <a:lnTo>
                    <a:pt x="211" y="827"/>
                  </a:lnTo>
                  <a:lnTo>
                    <a:pt x="211" y="827"/>
                  </a:lnTo>
                  <a:lnTo>
                    <a:pt x="209" y="827"/>
                  </a:lnTo>
                  <a:lnTo>
                    <a:pt x="209" y="827"/>
                  </a:lnTo>
                  <a:lnTo>
                    <a:pt x="207" y="825"/>
                  </a:lnTo>
                  <a:lnTo>
                    <a:pt x="207" y="825"/>
                  </a:lnTo>
                  <a:lnTo>
                    <a:pt x="207" y="825"/>
                  </a:lnTo>
                  <a:lnTo>
                    <a:pt x="207" y="827"/>
                  </a:lnTo>
                  <a:lnTo>
                    <a:pt x="207" y="827"/>
                  </a:lnTo>
                  <a:lnTo>
                    <a:pt x="202" y="827"/>
                  </a:lnTo>
                  <a:lnTo>
                    <a:pt x="202" y="827"/>
                  </a:lnTo>
                  <a:lnTo>
                    <a:pt x="202" y="830"/>
                  </a:lnTo>
                  <a:lnTo>
                    <a:pt x="202" y="830"/>
                  </a:lnTo>
                  <a:lnTo>
                    <a:pt x="202" y="830"/>
                  </a:lnTo>
                  <a:lnTo>
                    <a:pt x="202" y="830"/>
                  </a:lnTo>
                  <a:lnTo>
                    <a:pt x="200" y="830"/>
                  </a:lnTo>
                  <a:lnTo>
                    <a:pt x="200" y="830"/>
                  </a:lnTo>
                  <a:lnTo>
                    <a:pt x="200" y="830"/>
                  </a:lnTo>
                  <a:lnTo>
                    <a:pt x="200" y="830"/>
                  </a:lnTo>
                  <a:lnTo>
                    <a:pt x="200" y="830"/>
                  </a:lnTo>
                  <a:lnTo>
                    <a:pt x="200" y="830"/>
                  </a:lnTo>
                  <a:lnTo>
                    <a:pt x="200" y="830"/>
                  </a:lnTo>
                  <a:lnTo>
                    <a:pt x="198" y="830"/>
                  </a:lnTo>
                  <a:lnTo>
                    <a:pt x="198" y="830"/>
                  </a:lnTo>
                  <a:lnTo>
                    <a:pt x="198" y="830"/>
                  </a:lnTo>
                  <a:lnTo>
                    <a:pt x="198" y="830"/>
                  </a:lnTo>
                  <a:lnTo>
                    <a:pt x="198" y="830"/>
                  </a:lnTo>
                  <a:lnTo>
                    <a:pt x="198" y="830"/>
                  </a:lnTo>
                  <a:lnTo>
                    <a:pt x="198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0"/>
                  </a:lnTo>
                  <a:lnTo>
                    <a:pt x="195" y="832"/>
                  </a:lnTo>
                  <a:lnTo>
                    <a:pt x="195" y="832"/>
                  </a:lnTo>
                  <a:lnTo>
                    <a:pt x="195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0"/>
                  </a:lnTo>
                  <a:lnTo>
                    <a:pt x="193" y="830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1" y="832"/>
                  </a:lnTo>
                  <a:lnTo>
                    <a:pt x="191" y="832"/>
                  </a:lnTo>
                  <a:lnTo>
                    <a:pt x="191" y="832"/>
                  </a:lnTo>
                  <a:lnTo>
                    <a:pt x="191" y="832"/>
                  </a:lnTo>
                  <a:lnTo>
                    <a:pt x="191" y="832"/>
                  </a:lnTo>
                  <a:lnTo>
                    <a:pt x="191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2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4"/>
                  </a:lnTo>
                  <a:lnTo>
                    <a:pt x="193" y="836"/>
                  </a:lnTo>
                  <a:lnTo>
                    <a:pt x="193" y="836"/>
                  </a:lnTo>
                  <a:lnTo>
                    <a:pt x="195" y="836"/>
                  </a:lnTo>
                  <a:lnTo>
                    <a:pt x="195" y="836"/>
                  </a:lnTo>
                  <a:lnTo>
                    <a:pt x="195" y="836"/>
                  </a:lnTo>
                  <a:lnTo>
                    <a:pt x="195" y="836"/>
                  </a:lnTo>
                  <a:lnTo>
                    <a:pt x="195" y="836"/>
                  </a:lnTo>
                  <a:lnTo>
                    <a:pt x="195" y="839"/>
                  </a:lnTo>
                  <a:lnTo>
                    <a:pt x="195" y="839"/>
                  </a:lnTo>
                  <a:lnTo>
                    <a:pt x="195" y="839"/>
                  </a:lnTo>
                  <a:lnTo>
                    <a:pt x="195" y="841"/>
                  </a:lnTo>
                  <a:lnTo>
                    <a:pt x="195" y="841"/>
                  </a:lnTo>
                  <a:lnTo>
                    <a:pt x="195" y="841"/>
                  </a:lnTo>
                  <a:lnTo>
                    <a:pt x="195" y="843"/>
                  </a:lnTo>
                  <a:lnTo>
                    <a:pt x="195" y="845"/>
                  </a:lnTo>
                  <a:lnTo>
                    <a:pt x="195" y="845"/>
                  </a:lnTo>
                  <a:lnTo>
                    <a:pt x="195" y="845"/>
                  </a:lnTo>
                  <a:lnTo>
                    <a:pt x="195" y="845"/>
                  </a:lnTo>
                  <a:lnTo>
                    <a:pt x="195" y="848"/>
                  </a:lnTo>
                  <a:lnTo>
                    <a:pt x="195" y="848"/>
                  </a:lnTo>
                  <a:lnTo>
                    <a:pt x="198" y="848"/>
                  </a:lnTo>
                  <a:lnTo>
                    <a:pt x="198" y="850"/>
                  </a:lnTo>
                  <a:lnTo>
                    <a:pt x="198" y="850"/>
                  </a:lnTo>
                  <a:lnTo>
                    <a:pt x="200" y="852"/>
                  </a:lnTo>
                  <a:lnTo>
                    <a:pt x="200" y="852"/>
                  </a:lnTo>
                  <a:lnTo>
                    <a:pt x="200" y="852"/>
                  </a:lnTo>
                  <a:lnTo>
                    <a:pt x="200" y="852"/>
                  </a:lnTo>
                  <a:lnTo>
                    <a:pt x="200" y="852"/>
                  </a:lnTo>
                  <a:lnTo>
                    <a:pt x="200" y="854"/>
                  </a:lnTo>
                  <a:lnTo>
                    <a:pt x="200" y="854"/>
                  </a:lnTo>
                  <a:lnTo>
                    <a:pt x="200" y="854"/>
                  </a:lnTo>
                  <a:lnTo>
                    <a:pt x="200" y="854"/>
                  </a:lnTo>
                  <a:lnTo>
                    <a:pt x="200" y="857"/>
                  </a:lnTo>
                  <a:lnTo>
                    <a:pt x="195" y="857"/>
                  </a:lnTo>
                  <a:lnTo>
                    <a:pt x="195" y="857"/>
                  </a:lnTo>
                  <a:lnTo>
                    <a:pt x="195" y="857"/>
                  </a:lnTo>
                  <a:lnTo>
                    <a:pt x="193" y="857"/>
                  </a:lnTo>
                  <a:lnTo>
                    <a:pt x="191" y="857"/>
                  </a:lnTo>
                  <a:lnTo>
                    <a:pt x="189" y="857"/>
                  </a:lnTo>
                  <a:lnTo>
                    <a:pt x="186" y="857"/>
                  </a:lnTo>
                  <a:lnTo>
                    <a:pt x="186" y="854"/>
                  </a:lnTo>
                  <a:lnTo>
                    <a:pt x="186" y="854"/>
                  </a:lnTo>
                  <a:lnTo>
                    <a:pt x="186" y="854"/>
                  </a:lnTo>
                  <a:lnTo>
                    <a:pt x="184" y="854"/>
                  </a:lnTo>
                  <a:lnTo>
                    <a:pt x="184" y="854"/>
                  </a:lnTo>
                  <a:lnTo>
                    <a:pt x="184" y="854"/>
                  </a:lnTo>
                  <a:lnTo>
                    <a:pt x="184" y="854"/>
                  </a:lnTo>
                  <a:lnTo>
                    <a:pt x="184" y="854"/>
                  </a:lnTo>
                  <a:lnTo>
                    <a:pt x="182" y="852"/>
                  </a:lnTo>
                  <a:lnTo>
                    <a:pt x="182" y="854"/>
                  </a:lnTo>
                  <a:lnTo>
                    <a:pt x="182" y="854"/>
                  </a:lnTo>
                  <a:lnTo>
                    <a:pt x="182" y="854"/>
                  </a:lnTo>
                  <a:lnTo>
                    <a:pt x="182" y="854"/>
                  </a:lnTo>
                  <a:lnTo>
                    <a:pt x="182" y="854"/>
                  </a:lnTo>
                  <a:lnTo>
                    <a:pt x="182" y="854"/>
                  </a:lnTo>
                  <a:lnTo>
                    <a:pt x="182" y="852"/>
                  </a:lnTo>
                  <a:lnTo>
                    <a:pt x="180" y="852"/>
                  </a:lnTo>
                  <a:lnTo>
                    <a:pt x="180" y="852"/>
                  </a:lnTo>
                  <a:lnTo>
                    <a:pt x="180" y="852"/>
                  </a:lnTo>
                  <a:lnTo>
                    <a:pt x="180" y="852"/>
                  </a:lnTo>
                  <a:lnTo>
                    <a:pt x="180" y="854"/>
                  </a:lnTo>
                  <a:lnTo>
                    <a:pt x="180" y="854"/>
                  </a:lnTo>
                  <a:lnTo>
                    <a:pt x="180" y="854"/>
                  </a:lnTo>
                  <a:lnTo>
                    <a:pt x="180" y="854"/>
                  </a:lnTo>
                  <a:lnTo>
                    <a:pt x="180" y="852"/>
                  </a:lnTo>
                  <a:lnTo>
                    <a:pt x="180" y="852"/>
                  </a:lnTo>
                  <a:lnTo>
                    <a:pt x="180" y="852"/>
                  </a:lnTo>
                  <a:lnTo>
                    <a:pt x="177" y="852"/>
                  </a:lnTo>
                  <a:lnTo>
                    <a:pt x="175" y="852"/>
                  </a:lnTo>
                  <a:lnTo>
                    <a:pt x="175" y="850"/>
                  </a:lnTo>
                  <a:lnTo>
                    <a:pt x="175" y="850"/>
                  </a:lnTo>
                  <a:lnTo>
                    <a:pt x="175" y="850"/>
                  </a:lnTo>
                  <a:lnTo>
                    <a:pt x="175" y="850"/>
                  </a:lnTo>
                  <a:lnTo>
                    <a:pt x="175" y="850"/>
                  </a:lnTo>
                  <a:lnTo>
                    <a:pt x="173" y="850"/>
                  </a:lnTo>
                  <a:lnTo>
                    <a:pt x="173" y="850"/>
                  </a:lnTo>
                  <a:lnTo>
                    <a:pt x="173" y="850"/>
                  </a:lnTo>
                  <a:lnTo>
                    <a:pt x="173" y="848"/>
                  </a:lnTo>
                  <a:lnTo>
                    <a:pt x="171" y="848"/>
                  </a:lnTo>
                  <a:lnTo>
                    <a:pt x="171" y="848"/>
                  </a:lnTo>
                  <a:lnTo>
                    <a:pt x="171" y="848"/>
                  </a:lnTo>
                  <a:lnTo>
                    <a:pt x="171" y="848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5"/>
                  </a:lnTo>
                  <a:lnTo>
                    <a:pt x="171" y="843"/>
                  </a:lnTo>
                  <a:lnTo>
                    <a:pt x="171" y="843"/>
                  </a:lnTo>
                  <a:lnTo>
                    <a:pt x="173" y="843"/>
                  </a:lnTo>
                  <a:lnTo>
                    <a:pt x="173" y="843"/>
                  </a:lnTo>
                  <a:lnTo>
                    <a:pt x="175" y="843"/>
                  </a:lnTo>
                  <a:lnTo>
                    <a:pt x="175" y="843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5"/>
                  </a:lnTo>
                  <a:lnTo>
                    <a:pt x="175" y="848"/>
                  </a:lnTo>
                  <a:lnTo>
                    <a:pt x="175" y="848"/>
                  </a:lnTo>
                  <a:lnTo>
                    <a:pt x="173" y="848"/>
                  </a:lnTo>
                  <a:lnTo>
                    <a:pt x="175" y="848"/>
                  </a:lnTo>
                  <a:lnTo>
                    <a:pt x="175" y="848"/>
                  </a:lnTo>
                  <a:lnTo>
                    <a:pt x="175" y="848"/>
                  </a:lnTo>
                  <a:lnTo>
                    <a:pt x="177" y="848"/>
                  </a:lnTo>
                  <a:lnTo>
                    <a:pt x="177" y="848"/>
                  </a:lnTo>
                  <a:lnTo>
                    <a:pt x="177" y="848"/>
                  </a:lnTo>
                  <a:lnTo>
                    <a:pt x="177" y="845"/>
                  </a:lnTo>
                  <a:lnTo>
                    <a:pt x="177" y="845"/>
                  </a:lnTo>
                  <a:lnTo>
                    <a:pt x="177" y="845"/>
                  </a:lnTo>
                  <a:lnTo>
                    <a:pt x="177" y="845"/>
                  </a:lnTo>
                  <a:lnTo>
                    <a:pt x="177" y="845"/>
                  </a:lnTo>
                  <a:lnTo>
                    <a:pt x="177" y="845"/>
                  </a:lnTo>
                  <a:lnTo>
                    <a:pt x="177" y="843"/>
                  </a:lnTo>
                  <a:lnTo>
                    <a:pt x="175" y="843"/>
                  </a:lnTo>
                  <a:lnTo>
                    <a:pt x="177" y="843"/>
                  </a:lnTo>
                  <a:lnTo>
                    <a:pt x="177" y="843"/>
                  </a:lnTo>
                  <a:lnTo>
                    <a:pt x="177" y="843"/>
                  </a:lnTo>
                  <a:lnTo>
                    <a:pt x="177" y="843"/>
                  </a:lnTo>
                  <a:lnTo>
                    <a:pt x="177" y="843"/>
                  </a:lnTo>
                  <a:lnTo>
                    <a:pt x="177" y="843"/>
                  </a:lnTo>
                  <a:lnTo>
                    <a:pt x="177" y="843"/>
                  </a:lnTo>
                  <a:lnTo>
                    <a:pt x="180" y="843"/>
                  </a:lnTo>
                  <a:lnTo>
                    <a:pt x="180" y="843"/>
                  </a:lnTo>
                  <a:lnTo>
                    <a:pt x="180" y="843"/>
                  </a:lnTo>
                  <a:lnTo>
                    <a:pt x="180" y="845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0" y="848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0" y="850"/>
                  </a:lnTo>
                  <a:lnTo>
                    <a:pt x="182" y="850"/>
                  </a:lnTo>
                  <a:lnTo>
                    <a:pt x="182" y="850"/>
                  </a:lnTo>
                  <a:lnTo>
                    <a:pt x="182" y="850"/>
                  </a:lnTo>
                  <a:lnTo>
                    <a:pt x="182" y="850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8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2" y="845"/>
                  </a:lnTo>
                  <a:lnTo>
                    <a:pt x="180" y="843"/>
                  </a:lnTo>
                  <a:lnTo>
                    <a:pt x="182" y="843"/>
                  </a:lnTo>
                  <a:lnTo>
                    <a:pt x="182" y="843"/>
                  </a:lnTo>
                  <a:lnTo>
                    <a:pt x="182" y="843"/>
                  </a:lnTo>
                  <a:lnTo>
                    <a:pt x="182" y="843"/>
                  </a:lnTo>
                  <a:lnTo>
                    <a:pt x="182" y="843"/>
                  </a:lnTo>
                  <a:lnTo>
                    <a:pt x="182" y="841"/>
                  </a:lnTo>
                  <a:lnTo>
                    <a:pt x="182" y="841"/>
                  </a:lnTo>
                  <a:lnTo>
                    <a:pt x="182" y="841"/>
                  </a:lnTo>
                  <a:lnTo>
                    <a:pt x="184" y="841"/>
                  </a:lnTo>
                  <a:lnTo>
                    <a:pt x="184" y="841"/>
                  </a:lnTo>
                  <a:lnTo>
                    <a:pt x="184" y="841"/>
                  </a:lnTo>
                  <a:lnTo>
                    <a:pt x="184" y="841"/>
                  </a:lnTo>
                  <a:lnTo>
                    <a:pt x="186" y="841"/>
                  </a:lnTo>
                  <a:lnTo>
                    <a:pt x="186" y="841"/>
                  </a:lnTo>
                  <a:lnTo>
                    <a:pt x="186" y="841"/>
                  </a:lnTo>
                  <a:lnTo>
                    <a:pt x="186" y="841"/>
                  </a:lnTo>
                  <a:lnTo>
                    <a:pt x="186" y="841"/>
                  </a:lnTo>
                  <a:lnTo>
                    <a:pt x="186" y="839"/>
                  </a:lnTo>
                  <a:lnTo>
                    <a:pt x="186" y="839"/>
                  </a:lnTo>
                  <a:lnTo>
                    <a:pt x="186" y="839"/>
                  </a:lnTo>
                  <a:lnTo>
                    <a:pt x="186" y="839"/>
                  </a:lnTo>
                  <a:lnTo>
                    <a:pt x="186" y="839"/>
                  </a:lnTo>
                  <a:lnTo>
                    <a:pt x="186" y="839"/>
                  </a:lnTo>
                  <a:lnTo>
                    <a:pt x="186" y="839"/>
                  </a:lnTo>
                  <a:lnTo>
                    <a:pt x="186" y="836"/>
                  </a:lnTo>
                  <a:lnTo>
                    <a:pt x="186" y="836"/>
                  </a:lnTo>
                  <a:lnTo>
                    <a:pt x="186" y="836"/>
                  </a:lnTo>
                  <a:lnTo>
                    <a:pt x="189" y="836"/>
                  </a:lnTo>
                  <a:lnTo>
                    <a:pt x="189" y="834"/>
                  </a:lnTo>
                  <a:lnTo>
                    <a:pt x="189" y="834"/>
                  </a:lnTo>
                  <a:lnTo>
                    <a:pt x="189" y="834"/>
                  </a:lnTo>
                  <a:lnTo>
                    <a:pt x="189" y="834"/>
                  </a:lnTo>
                  <a:lnTo>
                    <a:pt x="189" y="834"/>
                  </a:lnTo>
                  <a:lnTo>
                    <a:pt x="189" y="834"/>
                  </a:lnTo>
                  <a:lnTo>
                    <a:pt x="186" y="834"/>
                  </a:lnTo>
                  <a:lnTo>
                    <a:pt x="186" y="834"/>
                  </a:lnTo>
                  <a:lnTo>
                    <a:pt x="186" y="832"/>
                  </a:lnTo>
                  <a:lnTo>
                    <a:pt x="184" y="832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82" y="832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2" y="834"/>
                  </a:lnTo>
                  <a:lnTo>
                    <a:pt x="180" y="834"/>
                  </a:lnTo>
                  <a:lnTo>
                    <a:pt x="177" y="836"/>
                  </a:lnTo>
                  <a:lnTo>
                    <a:pt x="177" y="836"/>
                  </a:lnTo>
                  <a:lnTo>
                    <a:pt x="177" y="836"/>
                  </a:lnTo>
                  <a:lnTo>
                    <a:pt x="177" y="836"/>
                  </a:lnTo>
                  <a:lnTo>
                    <a:pt x="177" y="836"/>
                  </a:lnTo>
                  <a:lnTo>
                    <a:pt x="177" y="836"/>
                  </a:lnTo>
                  <a:lnTo>
                    <a:pt x="177" y="836"/>
                  </a:lnTo>
                  <a:lnTo>
                    <a:pt x="175" y="836"/>
                  </a:lnTo>
                  <a:lnTo>
                    <a:pt x="175" y="836"/>
                  </a:lnTo>
                  <a:lnTo>
                    <a:pt x="175" y="839"/>
                  </a:lnTo>
                  <a:lnTo>
                    <a:pt x="175" y="839"/>
                  </a:lnTo>
                  <a:lnTo>
                    <a:pt x="175" y="841"/>
                  </a:lnTo>
                  <a:lnTo>
                    <a:pt x="175" y="841"/>
                  </a:lnTo>
                  <a:lnTo>
                    <a:pt x="175" y="841"/>
                  </a:lnTo>
                  <a:lnTo>
                    <a:pt x="175" y="841"/>
                  </a:lnTo>
                  <a:lnTo>
                    <a:pt x="175" y="841"/>
                  </a:lnTo>
                  <a:lnTo>
                    <a:pt x="173" y="841"/>
                  </a:lnTo>
                  <a:lnTo>
                    <a:pt x="173" y="841"/>
                  </a:lnTo>
                  <a:lnTo>
                    <a:pt x="173" y="841"/>
                  </a:lnTo>
                  <a:lnTo>
                    <a:pt x="173" y="841"/>
                  </a:lnTo>
                  <a:lnTo>
                    <a:pt x="173" y="841"/>
                  </a:lnTo>
                  <a:lnTo>
                    <a:pt x="173" y="839"/>
                  </a:lnTo>
                  <a:lnTo>
                    <a:pt x="171" y="839"/>
                  </a:lnTo>
                  <a:lnTo>
                    <a:pt x="171" y="839"/>
                  </a:lnTo>
                  <a:lnTo>
                    <a:pt x="171" y="839"/>
                  </a:lnTo>
                  <a:lnTo>
                    <a:pt x="171" y="839"/>
                  </a:lnTo>
                  <a:lnTo>
                    <a:pt x="171" y="839"/>
                  </a:lnTo>
                  <a:lnTo>
                    <a:pt x="171" y="839"/>
                  </a:lnTo>
                  <a:lnTo>
                    <a:pt x="171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71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6" y="839"/>
                  </a:lnTo>
                  <a:lnTo>
                    <a:pt x="164" y="839"/>
                  </a:lnTo>
                  <a:lnTo>
                    <a:pt x="164" y="839"/>
                  </a:lnTo>
                  <a:lnTo>
                    <a:pt x="166" y="839"/>
                  </a:lnTo>
                  <a:lnTo>
                    <a:pt x="166" y="839"/>
                  </a:lnTo>
                  <a:lnTo>
                    <a:pt x="166" y="839"/>
                  </a:lnTo>
                  <a:lnTo>
                    <a:pt x="166" y="839"/>
                  </a:lnTo>
                  <a:lnTo>
                    <a:pt x="166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39"/>
                  </a:lnTo>
                  <a:lnTo>
                    <a:pt x="168" y="841"/>
                  </a:lnTo>
                  <a:lnTo>
                    <a:pt x="171" y="841"/>
                  </a:lnTo>
                  <a:lnTo>
                    <a:pt x="171" y="841"/>
                  </a:lnTo>
                  <a:lnTo>
                    <a:pt x="173" y="841"/>
                  </a:lnTo>
                  <a:lnTo>
                    <a:pt x="173" y="841"/>
                  </a:lnTo>
                  <a:lnTo>
                    <a:pt x="173" y="841"/>
                  </a:lnTo>
                  <a:lnTo>
                    <a:pt x="173" y="843"/>
                  </a:lnTo>
                  <a:lnTo>
                    <a:pt x="173" y="843"/>
                  </a:lnTo>
                  <a:lnTo>
                    <a:pt x="171" y="843"/>
                  </a:lnTo>
                  <a:lnTo>
                    <a:pt x="171" y="843"/>
                  </a:lnTo>
                  <a:lnTo>
                    <a:pt x="171" y="841"/>
                  </a:lnTo>
                  <a:lnTo>
                    <a:pt x="171" y="841"/>
                  </a:lnTo>
                  <a:lnTo>
                    <a:pt x="168" y="841"/>
                  </a:lnTo>
                  <a:lnTo>
                    <a:pt x="168" y="841"/>
                  </a:lnTo>
                  <a:lnTo>
                    <a:pt x="171" y="841"/>
                  </a:lnTo>
                  <a:lnTo>
                    <a:pt x="171" y="843"/>
                  </a:lnTo>
                  <a:lnTo>
                    <a:pt x="171" y="843"/>
                  </a:lnTo>
                  <a:lnTo>
                    <a:pt x="171" y="843"/>
                  </a:lnTo>
                  <a:lnTo>
                    <a:pt x="168" y="841"/>
                  </a:lnTo>
                  <a:lnTo>
                    <a:pt x="166" y="841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6" y="841"/>
                  </a:lnTo>
                  <a:lnTo>
                    <a:pt x="166" y="841"/>
                  </a:lnTo>
                  <a:lnTo>
                    <a:pt x="166" y="843"/>
                  </a:lnTo>
                  <a:lnTo>
                    <a:pt x="166" y="843"/>
                  </a:lnTo>
                  <a:lnTo>
                    <a:pt x="166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8" y="843"/>
                  </a:lnTo>
                  <a:lnTo>
                    <a:pt x="166" y="843"/>
                  </a:lnTo>
                  <a:lnTo>
                    <a:pt x="166" y="843"/>
                  </a:lnTo>
                  <a:lnTo>
                    <a:pt x="168" y="843"/>
                  </a:lnTo>
                  <a:lnTo>
                    <a:pt x="168" y="845"/>
                  </a:lnTo>
                  <a:lnTo>
                    <a:pt x="168" y="845"/>
                  </a:lnTo>
                  <a:lnTo>
                    <a:pt x="168" y="845"/>
                  </a:lnTo>
                  <a:lnTo>
                    <a:pt x="168" y="845"/>
                  </a:lnTo>
                  <a:lnTo>
                    <a:pt x="166" y="845"/>
                  </a:lnTo>
                  <a:lnTo>
                    <a:pt x="166" y="845"/>
                  </a:lnTo>
                  <a:lnTo>
                    <a:pt x="166" y="845"/>
                  </a:lnTo>
                  <a:lnTo>
                    <a:pt x="166" y="845"/>
                  </a:lnTo>
                  <a:lnTo>
                    <a:pt x="166" y="845"/>
                  </a:lnTo>
                  <a:lnTo>
                    <a:pt x="166" y="845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73" y="850"/>
                  </a:lnTo>
                  <a:lnTo>
                    <a:pt x="173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71" y="850"/>
                  </a:lnTo>
                  <a:lnTo>
                    <a:pt x="168" y="850"/>
                  </a:lnTo>
                  <a:lnTo>
                    <a:pt x="168" y="850"/>
                  </a:lnTo>
                  <a:lnTo>
                    <a:pt x="168" y="850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6" y="848"/>
                  </a:lnTo>
                  <a:lnTo>
                    <a:pt x="166" y="848"/>
                  </a:lnTo>
                  <a:lnTo>
                    <a:pt x="166" y="848"/>
                  </a:lnTo>
                  <a:lnTo>
                    <a:pt x="166" y="848"/>
                  </a:lnTo>
                  <a:lnTo>
                    <a:pt x="166" y="848"/>
                  </a:lnTo>
                  <a:lnTo>
                    <a:pt x="166" y="848"/>
                  </a:lnTo>
                  <a:lnTo>
                    <a:pt x="166" y="848"/>
                  </a:lnTo>
                  <a:lnTo>
                    <a:pt x="164" y="848"/>
                  </a:lnTo>
                  <a:lnTo>
                    <a:pt x="164" y="845"/>
                  </a:lnTo>
                  <a:lnTo>
                    <a:pt x="164" y="845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8"/>
                  </a:lnTo>
                  <a:lnTo>
                    <a:pt x="164" y="845"/>
                  </a:lnTo>
                  <a:lnTo>
                    <a:pt x="164" y="845"/>
                  </a:lnTo>
                  <a:lnTo>
                    <a:pt x="162" y="845"/>
                  </a:lnTo>
                  <a:lnTo>
                    <a:pt x="162" y="845"/>
                  </a:lnTo>
                  <a:lnTo>
                    <a:pt x="162" y="845"/>
                  </a:lnTo>
                  <a:lnTo>
                    <a:pt x="162" y="845"/>
                  </a:lnTo>
                  <a:lnTo>
                    <a:pt x="162" y="845"/>
                  </a:lnTo>
                  <a:lnTo>
                    <a:pt x="157" y="843"/>
                  </a:lnTo>
                  <a:lnTo>
                    <a:pt x="157" y="843"/>
                  </a:lnTo>
                  <a:lnTo>
                    <a:pt x="155" y="843"/>
                  </a:lnTo>
                  <a:lnTo>
                    <a:pt x="155" y="843"/>
                  </a:lnTo>
                  <a:lnTo>
                    <a:pt x="155" y="843"/>
                  </a:lnTo>
                  <a:lnTo>
                    <a:pt x="153" y="841"/>
                  </a:lnTo>
                  <a:lnTo>
                    <a:pt x="153" y="841"/>
                  </a:lnTo>
                  <a:lnTo>
                    <a:pt x="153" y="841"/>
                  </a:lnTo>
                  <a:lnTo>
                    <a:pt x="153" y="841"/>
                  </a:lnTo>
                  <a:lnTo>
                    <a:pt x="155" y="841"/>
                  </a:lnTo>
                  <a:lnTo>
                    <a:pt x="155" y="841"/>
                  </a:lnTo>
                  <a:lnTo>
                    <a:pt x="155" y="841"/>
                  </a:lnTo>
                  <a:lnTo>
                    <a:pt x="157" y="841"/>
                  </a:lnTo>
                  <a:lnTo>
                    <a:pt x="157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62" y="843"/>
                  </a:lnTo>
                  <a:lnTo>
                    <a:pt x="162" y="843"/>
                  </a:lnTo>
                  <a:lnTo>
                    <a:pt x="162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4" y="843"/>
                  </a:lnTo>
                  <a:lnTo>
                    <a:pt x="162" y="843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4" y="841"/>
                  </a:lnTo>
                  <a:lnTo>
                    <a:pt x="164" y="841"/>
                  </a:lnTo>
                  <a:lnTo>
                    <a:pt x="164" y="841"/>
                  </a:lnTo>
                  <a:lnTo>
                    <a:pt x="164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62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9" y="841"/>
                  </a:lnTo>
                  <a:lnTo>
                    <a:pt x="157" y="841"/>
                  </a:lnTo>
                  <a:lnTo>
                    <a:pt x="157" y="839"/>
                  </a:lnTo>
                  <a:lnTo>
                    <a:pt x="159" y="839"/>
                  </a:lnTo>
                  <a:lnTo>
                    <a:pt x="159" y="839"/>
                  </a:lnTo>
                  <a:lnTo>
                    <a:pt x="159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4"/>
                  </a:lnTo>
                  <a:lnTo>
                    <a:pt x="157" y="834"/>
                  </a:lnTo>
                  <a:lnTo>
                    <a:pt x="157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7" y="834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62" y="832"/>
                  </a:lnTo>
                  <a:lnTo>
                    <a:pt x="159" y="832"/>
                  </a:lnTo>
                  <a:lnTo>
                    <a:pt x="159" y="834"/>
                  </a:lnTo>
                  <a:lnTo>
                    <a:pt x="159" y="834"/>
                  </a:lnTo>
                  <a:lnTo>
                    <a:pt x="159" y="834"/>
                  </a:lnTo>
                  <a:lnTo>
                    <a:pt x="159" y="834"/>
                  </a:lnTo>
                  <a:lnTo>
                    <a:pt x="159" y="834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2" y="832"/>
                  </a:lnTo>
                  <a:lnTo>
                    <a:pt x="162" y="832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2" y="834"/>
                  </a:lnTo>
                  <a:lnTo>
                    <a:pt x="164" y="832"/>
                  </a:lnTo>
                  <a:lnTo>
                    <a:pt x="164" y="832"/>
                  </a:lnTo>
                  <a:lnTo>
                    <a:pt x="164" y="834"/>
                  </a:lnTo>
                  <a:lnTo>
                    <a:pt x="164" y="834"/>
                  </a:lnTo>
                  <a:lnTo>
                    <a:pt x="164" y="834"/>
                  </a:lnTo>
                  <a:lnTo>
                    <a:pt x="164" y="834"/>
                  </a:lnTo>
                  <a:lnTo>
                    <a:pt x="164" y="834"/>
                  </a:lnTo>
                  <a:lnTo>
                    <a:pt x="164" y="834"/>
                  </a:lnTo>
                  <a:lnTo>
                    <a:pt x="164" y="834"/>
                  </a:lnTo>
                  <a:lnTo>
                    <a:pt x="164" y="832"/>
                  </a:lnTo>
                  <a:lnTo>
                    <a:pt x="164" y="832"/>
                  </a:lnTo>
                  <a:lnTo>
                    <a:pt x="164" y="832"/>
                  </a:lnTo>
                  <a:lnTo>
                    <a:pt x="166" y="832"/>
                  </a:lnTo>
                  <a:lnTo>
                    <a:pt x="166" y="832"/>
                  </a:lnTo>
                  <a:lnTo>
                    <a:pt x="166" y="832"/>
                  </a:lnTo>
                  <a:lnTo>
                    <a:pt x="166" y="832"/>
                  </a:lnTo>
                  <a:lnTo>
                    <a:pt x="166" y="832"/>
                  </a:lnTo>
                  <a:lnTo>
                    <a:pt x="166" y="830"/>
                  </a:lnTo>
                  <a:lnTo>
                    <a:pt x="166" y="830"/>
                  </a:lnTo>
                  <a:lnTo>
                    <a:pt x="166" y="830"/>
                  </a:lnTo>
                  <a:lnTo>
                    <a:pt x="166" y="830"/>
                  </a:lnTo>
                  <a:lnTo>
                    <a:pt x="168" y="830"/>
                  </a:lnTo>
                  <a:lnTo>
                    <a:pt x="166" y="830"/>
                  </a:lnTo>
                  <a:lnTo>
                    <a:pt x="166" y="830"/>
                  </a:lnTo>
                  <a:lnTo>
                    <a:pt x="168" y="830"/>
                  </a:lnTo>
                  <a:lnTo>
                    <a:pt x="168" y="830"/>
                  </a:lnTo>
                  <a:lnTo>
                    <a:pt x="168" y="830"/>
                  </a:lnTo>
                  <a:lnTo>
                    <a:pt x="168" y="830"/>
                  </a:lnTo>
                  <a:lnTo>
                    <a:pt x="168" y="830"/>
                  </a:lnTo>
                  <a:lnTo>
                    <a:pt x="171" y="830"/>
                  </a:lnTo>
                  <a:lnTo>
                    <a:pt x="171" y="830"/>
                  </a:lnTo>
                  <a:lnTo>
                    <a:pt x="171" y="830"/>
                  </a:lnTo>
                  <a:lnTo>
                    <a:pt x="171" y="830"/>
                  </a:lnTo>
                  <a:lnTo>
                    <a:pt x="171" y="830"/>
                  </a:lnTo>
                  <a:lnTo>
                    <a:pt x="171" y="830"/>
                  </a:lnTo>
                  <a:lnTo>
                    <a:pt x="173" y="830"/>
                  </a:lnTo>
                  <a:lnTo>
                    <a:pt x="173" y="830"/>
                  </a:lnTo>
                  <a:lnTo>
                    <a:pt x="177" y="830"/>
                  </a:lnTo>
                  <a:lnTo>
                    <a:pt x="177" y="830"/>
                  </a:lnTo>
                  <a:lnTo>
                    <a:pt x="177" y="830"/>
                  </a:lnTo>
                  <a:lnTo>
                    <a:pt x="180" y="830"/>
                  </a:lnTo>
                  <a:lnTo>
                    <a:pt x="180" y="830"/>
                  </a:lnTo>
                  <a:lnTo>
                    <a:pt x="180" y="830"/>
                  </a:lnTo>
                  <a:lnTo>
                    <a:pt x="177" y="827"/>
                  </a:lnTo>
                  <a:lnTo>
                    <a:pt x="177" y="827"/>
                  </a:lnTo>
                  <a:lnTo>
                    <a:pt x="171" y="827"/>
                  </a:lnTo>
                  <a:lnTo>
                    <a:pt x="171" y="827"/>
                  </a:lnTo>
                  <a:lnTo>
                    <a:pt x="168" y="827"/>
                  </a:lnTo>
                  <a:lnTo>
                    <a:pt x="168" y="827"/>
                  </a:lnTo>
                  <a:lnTo>
                    <a:pt x="168" y="827"/>
                  </a:lnTo>
                  <a:lnTo>
                    <a:pt x="168" y="827"/>
                  </a:lnTo>
                  <a:lnTo>
                    <a:pt x="168" y="827"/>
                  </a:lnTo>
                  <a:lnTo>
                    <a:pt x="168" y="827"/>
                  </a:lnTo>
                  <a:lnTo>
                    <a:pt x="166" y="827"/>
                  </a:lnTo>
                  <a:lnTo>
                    <a:pt x="166" y="827"/>
                  </a:lnTo>
                  <a:lnTo>
                    <a:pt x="166" y="827"/>
                  </a:lnTo>
                  <a:lnTo>
                    <a:pt x="164" y="827"/>
                  </a:lnTo>
                  <a:lnTo>
                    <a:pt x="164" y="827"/>
                  </a:lnTo>
                  <a:lnTo>
                    <a:pt x="164" y="827"/>
                  </a:lnTo>
                  <a:lnTo>
                    <a:pt x="164" y="827"/>
                  </a:lnTo>
                  <a:lnTo>
                    <a:pt x="164" y="827"/>
                  </a:lnTo>
                  <a:lnTo>
                    <a:pt x="164" y="827"/>
                  </a:lnTo>
                  <a:lnTo>
                    <a:pt x="164" y="827"/>
                  </a:lnTo>
                  <a:lnTo>
                    <a:pt x="162" y="827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64" y="830"/>
                  </a:lnTo>
                  <a:lnTo>
                    <a:pt x="164" y="830"/>
                  </a:lnTo>
                  <a:lnTo>
                    <a:pt x="164" y="830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62" y="830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62" y="827"/>
                  </a:lnTo>
                  <a:lnTo>
                    <a:pt x="162" y="827"/>
                  </a:lnTo>
                  <a:lnTo>
                    <a:pt x="162" y="827"/>
                  </a:lnTo>
                  <a:lnTo>
                    <a:pt x="162" y="827"/>
                  </a:lnTo>
                  <a:lnTo>
                    <a:pt x="162" y="825"/>
                  </a:lnTo>
                  <a:lnTo>
                    <a:pt x="162" y="825"/>
                  </a:lnTo>
                  <a:lnTo>
                    <a:pt x="162" y="825"/>
                  </a:lnTo>
                  <a:lnTo>
                    <a:pt x="162" y="827"/>
                  </a:lnTo>
                  <a:lnTo>
                    <a:pt x="162" y="827"/>
                  </a:lnTo>
                  <a:lnTo>
                    <a:pt x="162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9" y="827"/>
                  </a:lnTo>
                  <a:lnTo>
                    <a:pt x="157" y="827"/>
                  </a:lnTo>
                  <a:lnTo>
                    <a:pt x="157" y="827"/>
                  </a:lnTo>
                  <a:lnTo>
                    <a:pt x="157" y="827"/>
                  </a:lnTo>
                  <a:lnTo>
                    <a:pt x="157" y="827"/>
                  </a:lnTo>
                  <a:lnTo>
                    <a:pt x="157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30"/>
                  </a:lnTo>
                  <a:lnTo>
                    <a:pt x="155" y="830"/>
                  </a:lnTo>
                  <a:lnTo>
                    <a:pt x="155" y="830"/>
                  </a:lnTo>
                  <a:lnTo>
                    <a:pt x="155" y="830"/>
                  </a:lnTo>
                  <a:lnTo>
                    <a:pt x="153" y="830"/>
                  </a:lnTo>
                  <a:lnTo>
                    <a:pt x="153" y="830"/>
                  </a:lnTo>
                  <a:lnTo>
                    <a:pt x="153" y="832"/>
                  </a:lnTo>
                  <a:lnTo>
                    <a:pt x="155" y="830"/>
                  </a:lnTo>
                  <a:lnTo>
                    <a:pt x="155" y="830"/>
                  </a:lnTo>
                  <a:lnTo>
                    <a:pt x="155" y="827"/>
                  </a:lnTo>
                  <a:lnTo>
                    <a:pt x="155" y="827"/>
                  </a:lnTo>
                  <a:lnTo>
                    <a:pt x="155" y="830"/>
                  </a:lnTo>
                  <a:lnTo>
                    <a:pt x="157" y="830"/>
                  </a:lnTo>
                  <a:lnTo>
                    <a:pt x="157" y="830"/>
                  </a:lnTo>
                  <a:lnTo>
                    <a:pt x="157" y="830"/>
                  </a:lnTo>
                  <a:lnTo>
                    <a:pt x="157" y="830"/>
                  </a:lnTo>
                  <a:lnTo>
                    <a:pt x="157" y="830"/>
                  </a:lnTo>
                  <a:lnTo>
                    <a:pt x="159" y="830"/>
                  </a:lnTo>
                  <a:lnTo>
                    <a:pt x="159" y="830"/>
                  </a:lnTo>
                  <a:lnTo>
                    <a:pt x="157" y="830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7" y="832"/>
                  </a:lnTo>
                  <a:lnTo>
                    <a:pt x="155" y="832"/>
                  </a:lnTo>
                  <a:lnTo>
                    <a:pt x="155" y="832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4"/>
                  </a:lnTo>
                  <a:lnTo>
                    <a:pt x="155" y="836"/>
                  </a:lnTo>
                  <a:lnTo>
                    <a:pt x="155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6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7" y="839"/>
                  </a:lnTo>
                  <a:lnTo>
                    <a:pt x="155" y="839"/>
                  </a:lnTo>
                  <a:lnTo>
                    <a:pt x="155" y="839"/>
                  </a:lnTo>
                  <a:lnTo>
                    <a:pt x="155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41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3" y="839"/>
                  </a:lnTo>
                  <a:lnTo>
                    <a:pt x="150" y="839"/>
                  </a:lnTo>
                  <a:lnTo>
                    <a:pt x="150" y="839"/>
                  </a:lnTo>
                  <a:lnTo>
                    <a:pt x="150" y="839"/>
                  </a:lnTo>
                  <a:lnTo>
                    <a:pt x="148" y="839"/>
                  </a:lnTo>
                  <a:lnTo>
                    <a:pt x="148" y="839"/>
                  </a:lnTo>
                  <a:lnTo>
                    <a:pt x="148" y="839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0" y="834"/>
                  </a:lnTo>
                  <a:lnTo>
                    <a:pt x="150" y="834"/>
                  </a:lnTo>
                  <a:lnTo>
                    <a:pt x="150" y="834"/>
                  </a:lnTo>
                  <a:lnTo>
                    <a:pt x="150" y="834"/>
                  </a:lnTo>
                  <a:lnTo>
                    <a:pt x="150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8" y="834"/>
                  </a:lnTo>
                  <a:lnTo>
                    <a:pt x="146" y="834"/>
                  </a:lnTo>
                  <a:lnTo>
                    <a:pt x="144" y="834"/>
                  </a:lnTo>
                  <a:lnTo>
                    <a:pt x="144" y="832"/>
                  </a:lnTo>
                  <a:lnTo>
                    <a:pt x="144" y="832"/>
                  </a:lnTo>
                  <a:lnTo>
                    <a:pt x="146" y="832"/>
                  </a:lnTo>
                  <a:lnTo>
                    <a:pt x="146" y="832"/>
                  </a:lnTo>
                  <a:lnTo>
                    <a:pt x="146" y="834"/>
                  </a:lnTo>
                  <a:lnTo>
                    <a:pt x="146" y="834"/>
                  </a:lnTo>
                  <a:lnTo>
                    <a:pt x="146" y="832"/>
                  </a:lnTo>
                  <a:lnTo>
                    <a:pt x="146" y="832"/>
                  </a:lnTo>
                  <a:lnTo>
                    <a:pt x="146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50" y="832"/>
                  </a:lnTo>
                  <a:lnTo>
                    <a:pt x="150" y="832"/>
                  </a:lnTo>
                  <a:lnTo>
                    <a:pt x="150" y="832"/>
                  </a:lnTo>
                  <a:lnTo>
                    <a:pt x="150" y="832"/>
                  </a:lnTo>
                  <a:lnTo>
                    <a:pt x="150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2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50" y="830"/>
                  </a:lnTo>
                  <a:lnTo>
                    <a:pt x="150" y="830"/>
                  </a:lnTo>
                  <a:lnTo>
                    <a:pt x="150" y="830"/>
                  </a:lnTo>
                  <a:lnTo>
                    <a:pt x="150" y="827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50" y="827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50" y="825"/>
                  </a:lnTo>
                  <a:lnTo>
                    <a:pt x="150" y="825"/>
                  </a:lnTo>
                  <a:lnTo>
                    <a:pt x="153" y="827"/>
                  </a:lnTo>
                  <a:lnTo>
                    <a:pt x="153" y="827"/>
                  </a:lnTo>
                  <a:lnTo>
                    <a:pt x="153" y="827"/>
                  </a:lnTo>
                  <a:lnTo>
                    <a:pt x="153" y="827"/>
                  </a:lnTo>
                  <a:lnTo>
                    <a:pt x="153" y="827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0" y="825"/>
                  </a:lnTo>
                  <a:lnTo>
                    <a:pt x="150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6" y="825"/>
                  </a:lnTo>
                  <a:lnTo>
                    <a:pt x="146" y="825"/>
                  </a:lnTo>
                  <a:lnTo>
                    <a:pt x="146" y="825"/>
                  </a:lnTo>
                  <a:lnTo>
                    <a:pt x="146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8" y="825"/>
                  </a:lnTo>
                  <a:lnTo>
                    <a:pt x="146" y="825"/>
                  </a:lnTo>
                  <a:lnTo>
                    <a:pt x="146" y="825"/>
                  </a:lnTo>
                  <a:lnTo>
                    <a:pt x="146" y="825"/>
                  </a:lnTo>
                  <a:lnTo>
                    <a:pt x="148" y="825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48" y="827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8" y="830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6" y="827"/>
                  </a:lnTo>
                  <a:lnTo>
                    <a:pt x="144" y="827"/>
                  </a:lnTo>
                  <a:lnTo>
                    <a:pt x="144" y="827"/>
                  </a:lnTo>
                  <a:lnTo>
                    <a:pt x="144" y="827"/>
                  </a:lnTo>
                  <a:lnTo>
                    <a:pt x="144" y="827"/>
                  </a:lnTo>
                  <a:lnTo>
                    <a:pt x="144" y="827"/>
                  </a:lnTo>
                  <a:lnTo>
                    <a:pt x="146" y="827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6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4" y="830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2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41" y="830"/>
                  </a:lnTo>
                  <a:lnTo>
                    <a:pt x="139" y="830"/>
                  </a:lnTo>
                  <a:lnTo>
                    <a:pt x="139" y="830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41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39" y="827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41" y="825"/>
                  </a:lnTo>
                  <a:lnTo>
                    <a:pt x="139" y="825"/>
                  </a:lnTo>
                  <a:lnTo>
                    <a:pt x="139" y="825"/>
                  </a:lnTo>
                  <a:lnTo>
                    <a:pt x="139" y="825"/>
                  </a:lnTo>
                  <a:lnTo>
                    <a:pt x="139" y="825"/>
                  </a:lnTo>
                  <a:lnTo>
                    <a:pt x="137" y="823"/>
                  </a:lnTo>
                  <a:lnTo>
                    <a:pt x="137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3"/>
                  </a:lnTo>
                  <a:lnTo>
                    <a:pt x="139" y="821"/>
                  </a:lnTo>
                  <a:lnTo>
                    <a:pt x="139" y="821"/>
                  </a:lnTo>
                  <a:lnTo>
                    <a:pt x="137" y="821"/>
                  </a:lnTo>
                  <a:lnTo>
                    <a:pt x="137" y="821"/>
                  </a:lnTo>
                  <a:lnTo>
                    <a:pt x="137" y="821"/>
                  </a:lnTo>
                  <a:lnTo>
                    <a:pt x="137" y="821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5" y="818"/>
                  </a:lnTo>
                  <a:lnTo>
                    <a:pt x="135" y="818"/>
                  </a:lnTo>
                  <a:lnTo>
                    <a:pt x="135" y="816"/>
                  </a:lnTo>
                  <a:lnTo>
                    <a:pt x="132" y="816"/>
                  </a:lnTo>
                  <a:lnTo>
                    <a:pt x="132" y="816"/>
                  </a:lnTo>
                  <a:lnTo>
                    <a:pt x="132" y="816"/>
                  </a:lnTo>
                  <a:lnTo>
                    <a:pt x="135" y="816"/>
                  </a:lnTo>
                  <a:lnTo>
                    <a:pt x="135" y="816"/>
                  </a:lnTo>
                  <a:lnTo>
                    <a:pt x="135" y="816"/>
                  </a:lnTo>
                  <a:lnTo>
                    <a:pt x="135" y="816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7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37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39" y="818"/>
                  </a:lnTo>
                  <a:lnTo>
                    <a:pt x="141" y="818"/>
                  </a:lnTo>
                  <a:lnTo>
                    <a:pt x="141" y="818"/>
                  </a:lnTo>
                  <a:lnTo>
                    <a:pt x="141" y="821"/>
                  </a:lnTo>
                  <a:lnTo>
                    <a:pt x="144" y="821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8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8"/>
                  </a:lnTo>
                  <a:lnTo>
                    <a:pt x="146" y="816"/>
                  </a:lnTo>
                  <a:lnTo>
                    <a:pt x="146" y="816"/>
                  </a:lnTo>
                  <a:lnTo>
                    <a:pt x="146" y="816"/>
                  </a:lnTo>
                  <a:lnTo>
                    <a:pt x="146" y="816"/>
                  </a:lnTo>
                  <a:lnTo>
                    <a:pt x="146" y="816"/>
                  </a:lnTo>
                  <a:lnTo>
                    <a:pt x="146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18"/>
                  </a:lnTo>
                  <a:lnTo>
                    <a:pt x="146" y="821"/>
                  </a:lnTo>
                  <a:lnTo>
                    <a:pt x="146" y="821"/>
                  </a:lnTo>
                  <a:lnTo>
                    <a:pt x="148" y="821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50" y="818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21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6"/>
                  </a:lnTo>
                  <a:lnTo>
                    <a:pt x="150" y="816"/>
                  </a:lnTo>
                  <a:lnTo>
                    <a:pt x="150" y="816"/>
                  </a:lnTo>
                  <a:lnTo>
                    <a:pt x="150" y="816"/>
                  </a:lnTo>
                  <a:lnTo>
                    <a:pt x="150" y="816"/>
                  </a:lnTo>
                  <a:lnTo>
                    <a:pt x="150" y="816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50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8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6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50" y="814"/>
                  </a:lnTo>
                  <a:lnTo>
                    <a:pt x="150" y="814"/>
                  </a:lnTo>
                  <a:lnTo>
                    <a:pt x="150" y="814"/>
                  </a:lnTo>
                  <a:lnTo>
                    <a:pt x="153" y="814"/>
                  </a:lnTo>
                  <a:lnTo>
                    <a:pt x="150" y="816"/>
                  </a:lnTo>
                  <a:lnTo>
                    <a:pt x="150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5" y="816"/>
                  </a:lnTo>
                  <a:lnTo>
                    <a:pt x="155" y="816"/>
                  </a:lnTo>
                  <a:lnTo>
                    <a:pt x="155" y="816"/>
                  </a:lnTo>
                  <a:lnTo>
                    <a:pt x="155" y="818"/>
                  </a:lnTo>
                  <a:lnTo>
                    <a:pt x="155" y="818"/>
                  </a:lnTo>
                  <a:lnTo>
                    <a:pt x="155" y="818"/>
                  </a:lnTo>
                  <a:lnTo>
                    <a:pt x="155" y="818"/>
                  </a:lnTo>
                  <a:lnTo>
                    <a:pt x="157" y="818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1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3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3" y="823"/>
                  </a:lnTo>
                  <a:lnTo>
                    <a:pt x="153" y="823"/>
                  </a:lnTo>
                  <a:lnTo>
                    <a:pt x="153" y="823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3" y="825"/>
                  </a:lnTo>
                  <a:lnTo>
                    <a:pt x="155" y="825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5" y="823"/>
                  </a:lnTo>
                  <a:lnTo>
                    <a:pt x="157" y="825"/>
                  </a:lnTo>
                  <a:lnTo>
                    <a:pt x="157" y="825"/>
                  </a:lnTo>
                  <a:lnTo>
                    <a:pt x="157" y="825"/>
                  </a:lnTo>
                  <a:lnTo>
                    <a:pt x="159" y="825"/>
                  </a:lnTo>
                  <a:lnTo>
                    <a:pt x="159" y="825"/>
                  </a:lnTo>
                  <a:lnTo>
                    <a:pt x="159" y="825"/>
                  </a:lnTo>
                  <a:lnTo>
                    <a:pt x="159" y="825"/>
                  </a:lnTo>
                  <a:lnTo>
                    <a:pt x="157" y="825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3"/>
                  </a:lnTo>
                  <a:lnTo>
                    <a:pt x="157" y="821"/>
                  </a:lnTo>
                  <a:lnTo>
                    <a:pt x="157" y="818"/>
                  </a:lnTo>
                  <a:lnTo>
                    <a:pt x="157" y="818"/>
                  </a:lnTo>
                  <a:lnTo>
                    <a:pt x="155" y="816"/>
                  </a:lnTo>
                  <a:lnTo>
                    <a:pt x="155" y="816"/>
                  </a:lnTo>
                  <a:lnTo>
                    <a:pt x="153" y="816"/>
                  </a:lnTo>
                  <a:lnTo>
                    <a:pt x="153" y="816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3" y="814"/>
                  </a:lnTo>
                  <a:lnTo>
                    <a:pt x="155" y="814"/>
                  </a:lnTo>
                  <a:lnTo>
                    <a:pt x="155" y="814"/>
                  </a:lnTo>
                  <a:lnTo>
                    <a:pt x="155" y="814"/>
                  </a:lnTo>
                  <a:lnTo>
                    <a:pt x="155" y="814"/>
                  </a:lnTo>
                  <a:lnTo>
                    <a:pt x="155" y="812"/>
                  </a:lnTo>
                  <a:lnTo>
                    <a:pt x="155" y="812"/>
                  </a:lnTo>
                  <a:lnTo>
                    <a:pt x="153" y="812"/>
                  </a:lnTo>
                  <a:lnTo>
                    <a:pt x="153" y="812"/>
                  </a:lnTo>
                  <a:lnTo>
                    <a:pt x="153" y="812"/>
                  </a:lnTo>
                  <a:lnTo>
                    <a:pt x="153" y="809"/>
                  </a:lnTo>
                  <a:lnTo>
                    <a:pt x="153" y="809"/>
                  </a:lnTo>
                  <a:lnTo>
                    <a:pt x="153" y="809"/>
                  </a:lnTo>
                  <a:lnTo>
                    <a:pt x="153" y="809"/>
                  </a:lnTo>
                  <a:lnTo>
                    <a:pt x="153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48" y="807"/>
                  </a:lnTo>
                  <a:lnTo>
                    <a:pt x="148" y="805"/>
                  </a:lnTo>
                  <a:lnTo>
                    <a:pt x="148" y="805"/>
                  </a:lnTo>
                  <a:lnTo>
                    <a:pt x="148" y="805"/>
                  </a:lnTo>
                  <a:lnTo>
                    <a:pt x="146" y="805"/>
                  </a:lnTo>
                  <a:lnTo>
                    <a:pt x="146" y="805"/>
                  </a:lnTo>
                  <a:lnTo>
                    <a:pt x="146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1" y="803"/>
                  </a:lnTo>
                  <a:lnTo>
                    <a:pt x="141" y="803"/>
                  </a:lnTo>
                  <a:lnTo>
                    <a:pt x="141" y="803"/>
                  </a:lnTo>
                  <a:lnTo>
                    <a:pt x="141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39" y="800"/>
                  </a:lnTo>
                  <a:lnTo>
                    <a:pt x="139" y="800"/>
                  </a:lnTo>
                  <a:lnTo>
                    <a:pt x="139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7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39" y="803"/>
                  </a:lnTo>
                  <a:lnTo>
                    <a:pt x="141" y="803"/>
                  </a:lnTo>
                  <a:lnTo>
                    <a:pt x="141" y="803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39" y="805"/>
                  </a:lnTo>
                  <a:lnTo>
                    <a:pt x="139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5"/>
                  </a:lnTo>
                  <a:lnTo>
                    <a:pt x="141" y="803"/>
                  </a:lnTo>
                  <a:lnTo>
                    <a:pt x="141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4" y="805"/>
                  </a:lnTo>
                  <a:lnTo>
                    <a:pt x="146" y="805"/>
                  </a:lnTo>
                  <a:lnTo>
                    <a:pt x="146" y="805"/>
                  </a:lnTo>
                  <a:lnTo>
                    <a:pt x="146" y="805"/>
                  </a:lnTo>
                  <a:lnTo>
                    <a:pt x="146" y="805"/>
                  </a:lnTo>
                  <a:lnTo>
                    <a:pt x="146" y="805"/>
                  </a:lnTo>
                  <a:lnTo>
                    <a:pt x="148" y="807"/>
                  </a:lnTo>
                  <a:lnTo>
                    <a:pt x="148" y="807"/>
                  </a:lnTo>
                  <a:lnTo>
                    <a:pt x="148" y="807"/>
                  </a:lnTo>
                  <a:lnTo>
                    <a:pt x="148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7"/>
                  </a:lnTo>
                  <a:lnTo>
                    <a:pt x="150" y="809"/>
                  </a:lnTo>
                  <a:lnTo>
                    <a:pt x="153" y="809"/>
                  </a:lnTo>
                  <a:lnTo>
                    <a:pt x="153" y="809"/>
                  </a:lnTo>
                  <a:lnTo>
                    <a:pt x="153" y="809"/>
                  </a:lnTo>
                  <a:lnTo>
                    <a:pt x="153" y="809"/>
                  </a:lnTo>
                  <a:lnTo>
                    <a:pt x="150" y="809"/>
                  </a:lnTo>
                  <a:lnTo>
                    <a:pt x="150" y="812"/>
                  </a:lnTo>
                  <a:lnTo>
                    <a:pt x="150" y="812"/>
                  </a:lnTo>
                  <a:lnTo>
                    <a:pt x="150" y="812"/>
                  </a:lnTo>
                  <a:lnTo>
                    <a:pt x="150" y="812"/>
                  </a:lnTo>
                  <a:lnTo>
                    <a:pt x="150" y="812"/>
                  </a:lnTo>
                  <a:lnTo>
                    <a:pt x="150" y="812"/>
                  </a:lnTo>
                  <a:lnTo>
                    <a:pt x="148" y="812"/>
                  </a:lnTo>
                  <a:lnTo>
                    <a:pt x="148" y="812"/>
                  </a:lnTo>
                  <a:lnTo>
                    <a:pt x="148" y="809"/>
                  </a:lnTo>
                  <a:lnTo>
                    <a:pt x="148" y="809"/>
                  </a:lnTo>
                  <a:lnTo>
                    <a:pt x="148" y="809"/>
                  </a:lnTo>
                  <a:lnTo>
                    <a:pt x="148" y="809"/>
                  </a:lnTo>
                  <a:lnTo>
                    <a:pt x="148" y="809"/>
                  </a:lnTo>
                  <a:lnTo>
                    <a:pt x="146" y="809"/>
                  </a:lnTo>
                  <a:lnTo>
                    <a:pt x="146" y="809"/>
                  </a:lnTo>
                  <a:lnTo>
                    <a:pt x="146" y="809"/>
                  </a:lnTo>
                  <a:lnTo>
                    <a:pt x="146" y="809"/>
                  </a:lnTo>
                  <a:lnTo>
                    <a:pt x="146" y="809"/>
                  </a:lnTo>
                  <a:lnTo>
                    <a:pt x="146" y="809"/>
                  </a:lnTo>
                  <a:lnTo>
                    <a:pt x="146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7"/>
                  </a:lnTo>
                  <a:lnTo>
                    <a:pt x="144" y="807"/>
                  </a:lnTo>
                  <a:lnTo>
                    <a:pt x="144" y="807"/>
                  </a:lnTo>
                  <a:lnTo>
                    <a:pt x="141" y="807"/>
                  </a:lnTo>
                  <a:lnTo>
                    <a:pt x="141" y="807"/>
                  </a:lnTo>
                  <a:lnTo>
                    <a:pt x="141" y="807"/>
                  </a:lnTo>
                  <a:lnTo>
                    <a:pt x="141" y="807"/>
                  </a:lnTo>
                  <a:lnTo>
                    <a:pt x="141" y="807"/>
                  </a:lnTo>
                  <a:lnTo>
                    <a:pt x="141" y="807"/>
                  </a:lnTo>
                  <a:lnTo>
                    <a:pt x="141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7" y="805"/>
                  </a:lnTo>
                  <a:lnTo>
                    <a:pt x="137" y="805"/>
                  </a:lnTo>
                  <a:lnTo>
                    <a:pt x="137" y="805"/>
                  </a:lnTo>
                  <a:lnTo>
                    <a:pt x="137" y="805"/>
                  </a:lnTo>
                  <a:lnTo>
                    <a:pt x="137" y="805"/>
                  </a:lnTo>
                  <a:lnTo>
                    <a:pt x="137" y="805"/>
                  </a:lnTo>
                  <a:lnTo>
                    <a:pt x="137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39" y="807"/>
                  </a:lnTo>
                  <a:lnTo>
                    <a:pt x="141" y="807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1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09"/>
                  </a:lnTo>
                  <a:lnTo>
                    <a:pt x="144" y="812"/>
                  </a:lnTo>
                  <a:lnTo>
                    <a:pt x="144" y="812"/>
                  </a:lnTo>
                  <a:lnTo>
                    <a:pt x="141" y="812"/>
                  </a:lnTo>
                  <a:lnTo>
                    <a:pt x="141" y="812"/>
                  </a:lnTo>
                  <a:lnTo>
                    <a:pt x="141" y="812"/>
                  </a:lnTo>
                  <a:lnTo>
                    <a:pt x="141" y="812"/>
                  </a:lnTo>
                  <a:lnTo>
                    <a:pt x="141" y="812"/>
                  </a:lnTo>
                  <a:lnTo>
                    <a:pt x="141" y="812"/>
                  </a:lnTo>
                  <a:lnTo>
                    <a:pt x="144" y="812"/>
                  </a:lnTo>
                  <a:lnTo>
                    <a:pt x="144" y="812"/>
                  </a:lnTo>
                  <a:lnTo>
                    <a:pt x="144" y="812"/>
                  </a:lnTo>
                  <a:lnTo>
                    <a:pt x="144" y="812"/>
                  </a:lnTo>
                  <a:lnTo>
                    <a:pt x="144" y="812"/>
                  </a:lnTo>
                  <a:lnTo>
                    <a:pt x="144" y="809"/>
                  </a:lnTo>
                  <a:lnTo>
                    <a:pt x="146" y="812"/>
                  </a:lnTo>
                  <a:lnTo>
                    <a:pt x="146" y="812"/>
                  </a:lnTo>
                  <a:lnTo>
                    <a:pt x="146" y="812"/>
                  </a:lnTo>
                  <a:lnTo>
                    <a:pt x="146" y="812"/>
                  </a:lnTo>
                  <a:lnTo>
                    <a:pt x="144" y="812"/>
                  </a:lnTo>
                  <a:lnTo>
                    <a:pt x="144" y="812"/>
                  </a:lnTo>
                  <a:lnTo>
                    <a:pt x="144" y="814"/>
                  </a:lnTo>
                  <a:lnTo>
                    <a:pt x="144" y="814"/>
                  </a:lnTo>
                  <a:lnTo>
                    <a:pt x="144" y="814"/>
                  </a:lnTo>
                  <a:lnTo>
                    <a:pt x="144" y="814"/>
                  </a:lnTo>
                  <a:lnTo>
                    <a:pt x="144" y="814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4" y="816"/>
                  </a:lnTo>
                  <a:lnTo>
                    <a:pt x="141" y="816"/>
                  </a:lnTo>
                  <a:lnTo>
                    <a:pt x="141" y="816"/>
                  </a:lnTo>
                  <a:lnTo>
                    <a:pt x="141" y="816"/>
                  </a:lnTo>
                  <a:lnTo>
                    <a:pt x="141" y="814"/>
                  </a:lnTo>
                  <a:lnTo>
                    <a:pt x="141" y="814"/>
                  </a:lnTo>
                  <a:lnTo>
                    <a:pt x="141" y="814"/>
                  </a:lnTo>
                  <a:lnTo>
                    <a:pt x="139" y="812"/>
                  </a:lnTo>
                  <a:lnTo>
                    <a:pt x="139" y="812"/>
                  </a:lnTo>
                  <a:lnTo>
                    <a:pt x="139" y="812"/>
                  </a:lnTo>
                  <a:lnTo>
                    <a:pt x="137" y="809"/>
                  </a:lnTo>
                  <a:lnTo>
                    <a:pt x="137" y="807"/>
                  </a:lnTo>
                  <a:lnTo>
                    <a:pt x="137" y="807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7" y="807"/>
                  </a:lnTo>
                  <a:lnTo>
                    <a:pt x="137" y="807"/>
                  </a:lnTo>
                  <a:lnTo>
                    <a:pt x="137" y="807"/>
                  </a:lnTo>
                  <a:lnTo>
                    <a:pt x="137" y="809"/>
                  </a:lnTo>
                  <a:lnTo>
                    <a:pt x="139" y="809"/>
                  </a:lnTo>
                  <a:lnTo>
                    <a:pt x="139" y="812"/>
                  </a:lnTo>
                  <a:lnTo>
                    <a:pt x="139" y="814"/>
                  </a:lnTo>
                  <a:lnTo>
                    <a:pt x="141" y="816"/>
                  </a:lnTo>
                  <a:lnTo>
                    <a:pt x="141" y="816"/>
                  </a:lnTo>
                  <a:lnTo>
                    <a:pt x="141" y="818"/>
                  </a:lnTo>
                  <a:lnTo>
                    <a:pt x="141" y="818"/>
                  </a:lnTo>
                  <a:lnTo>
                    <a:pt x="141" y="818"/>
                  </a:lnTo>
                  <a:lnTo>
                    <a:pt x="141" y="818"/>
                  </a:lnTo>
                  <a:lnTo>
                    <a:pt x="141" y="818"/>
                  </a:lnTo>
                  <a:lnTo>
                    <a:pt x="141" y="818"/>
                  </a:lnTo>
                  <a:lnTo>
                    <a:pt x="139" y="818"/>
                  </a:lnTo>
                  <a:lnTo>
                    <a:pt x="139" y="816"/>
                  </a:lnTo>
                  <a:lnTo>
                    <a:pt x="139" y="816"/>
                  </a:lnTo>
                  <a:lnTo>
                    <a:pt x="139" y="816"/>
                  </a:lnTo>
                  <a:lnTo>
                    <a:pt x="139" y="816"/>
                  </a:lnTo>
                  <a:lnTo>
                    <a:pt x="137" y="816"/>
                  </a:lnTo>
                  <a:lnTo>
                    <a:pt x="137" y="816"/>
                  </a:lnTo>
                  <a:lnTo>
                    <a:pt x="137" y="816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4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2" y="812"/>
                  </a:lnTo>
                  <a:lnTo>
                    <a:pt x="132" y="812"/>
                  </a:lnTo>
                  <a:lnTo>
                    <a:pt x="132" y="809"/>
                  </a:lnTo>
                  <a:lnTo>
                    <a:pt x="132" y="809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7" y="814"/>
                  </a:lnTo>
                  <a:lnTo>
                    <a:pt x="137" y="814"/>
                  </a:lnTo>
                  <a:lnTo>
                    <a:pt x="137" y="814"/>
                  </a:lnTo>
                  <a:lnTo>
                    <a:pt x="137" y="814"/>
                  </a:lnTo>
                  <a:lnTo>
                    <a:pt x="137" y="814"/>
                  </a:lnTo>
                  <a:lnTo>
                    <a:pt x="139" y="814"/>
                  </a:lnTo>
                  <a:lnTo>
                    <a:pt x="139" y="814"/>
                  </a:lnTo>
                  <a:lnTo>
                    <a:pt x="139" y="814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7" y="812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5" y="812"/>
                  </a:lnTo>
                  <a:lnTo>
                    <a:pt x="135" y="809"/>
                  </a:lnTo>
                  <a:lnTo>
                    <a:pt x="135" y="809"/>
                  </a:lnTo>
                  <a:lnTo>
                    <a:pt x="135" y="809"/>
                  </a:lnTo>
                  <a:lnTo>
                    <a:pt x="132" y="809"/>
                  </a:lnTo>
                  <a:lnTo>
                    <a:pt x="132" y="809"/>
                  </a:lnTo>
                  <a:lnTo>
                    <a:pt x="135" y="809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5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2" y="807"/>
                  </a:lnTo>
                  <a:lnTo>
                    <a:pt x="130" y="807"/>
                  </a:lnTo>
                  <a:lnTo>
                    <a:pt x="130" y="807"/>
                  </a:lnTo>
                  <a:lnTo>
                    <a:pt x="130" y="807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2" y="809"/>
                  </a:lnTo>
                  <a:lnTo>
                    <a:pt x="132" y="809"/>
                  </a:lnTo>
                  <a:lnTo>
                    <a:pt x="130" y="809"/>
                  </a:lnTo>
                  <a:lnTo>
                    <a:pt x="130" y="809"/>
                  </a:lnTo>
                  <a:lnTo>
                    <a:pt x="130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30" y="807"/>
                  </a:lnTo>
                  <a:lnTo>
                    <a:pt x="130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8" y="807"/>
                  </a:lnTo>
                  <a:lnTo>
                    <a:pt x="126" y="807"/>
                  </a:lnTo>
                  <a:lnTo>
                    <a:pt x="126" y="807"/>
                  </a:lnTo>
                  <a:lnTo>
                    <a:pt x="126" y="805"/>
                  </a:lnTo>
                  <a:lnTo>
                    <a:pt x="126" y="807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6" y="805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3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3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803"/>
                  </a:lnTo>
                  <a:lnTo>
                    <a:pt x="128" y="803"/>
                  </a:lnTo>
                  <a:lnTo>
                    <a:pt x="128" y="803"/>
                  </a:lnTo>
                  <a:lnTo>
                    <a:pt x="128" y="803"/>
                  </a:lnTo>
                  <a:lnTo>
                    <a:pt x="128" y="803"/>
                  </a:lnTo>
                  <a:lnTo>
                    <a:pt x="130" y="805"/>
                  </a:lnTo>
                  <a:lnTo>
                    <a:pt x="130" y="805"/>
                  </a:lnTo>
                  <a:lnTo>
                    <a:pt x="130" y="805"/>
                  </a:lnTo>
                  <a:lnTo>
                    <a:pt x="130" y="807"/>
                  </a:lnTo>
                  <a:lnTo>
                    <a:pt x="130" y="807"/>
                  </a:lnTo>
                  <a:lnTo>
                    <a:pt x="130" y="805"/>
                  </a:lnTo>
                  <a:lnTo>
                    <a:pt x="130" y="805"/>
                  </a:lnTo>
                  <a:lnTo>
                    <a:pt x="130" y="805"/>
                  </a:lnTo>
                  <a:lnTo>
                    <a:pt x="130" y="805"/>
                  </a:lnTo>
                  <a:lnTo>
                    <a:pt x="130" y="803"/>
                  </a:lnTo>
                  <a:lnTo>
                    <a:pt x="130" y="803"/>
                  </a:lnTo>
                  <a:lnTo>
                    <a:pt x="130" y="803"/>
                  </a:lnTo>
                  <a:lnTo>
                    <a:pt x="130" y="803"/>
                  </a:lnTo>
                  <a:lnTo>
                    <a:pt x="130" y="803"/>
                  </a:lnTo>
                  <a:lnTo>
                    <a:pt x="128" y="803"/>
                  </a:lnTo>
                  <a:lnTo>
                    <a:pt x="128" y="803"/>
                  </a:lnTo>
                  <a:lnTo>
                    <a:pt x="130" y="803"/>
                  </a:lnTo>
                  <a:lnTo>
                    <a:pt x="130" y="803"/>
                  </a:lnTo>
                  <a:lnTo>
                    <a:pt x="128" y="803"/>
                  </a:lnTo>
                  <a:lnTo>
                    <a:pt x="128" y="803"/>
                  </a:lnTo>
                  <a:lnTo>
                    <a:pt x="128" y="800"/>
                  </a:lnTo>
                  <a:lnTo>
                    <a:pt x="126" y="800"/>
                  </a:lnTo>
                  <a:lnTo>
                    <a:pt x="126" y="800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3" y="798"/>
                  </a:lnTo>
                  <a:lnTo>
                    <a:pt x="123" y="798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6" y="796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8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3" y="794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4"/>
                  </a:lnTo>
                  <a:lnTo>
                    <a:pt x="123" y="794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6"/>
                  </a:lnTo>
                  <a:lnTo>
                    <a:pt x="123" y="798"/>
                  </a:lnTo>
                  <a:lnTo>
                    <a:pt x="121" y="798"/>
                  </a:lnTo>
                  <a:lnTo>
                    <a:pt x="121" y="798"/>
                  </a:lnTo>
                  <a:lnTo>
                    <a:pt x="121" y="796"/>
                  </a:lnTo>
                  <a:lnTo>
                    <a:pt x="121" y="796"/>
                  </a:lnTo>
                  <a:lnTo>
                    <a:pt x="121" y="796"/>
                  </a:lnTo>
                  <a:lnTo>
                    <a:pt x="121" y="796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9" y="794"/>
                  </a:lnTo>
                  <a:lnTo>
                    <a:pt x="119" y="794"/>
                  </a:lnTo>
                  <a:lnTo>
                    <a:pt x="119" y="794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9" y="796"/>
                  </a:lnTo>
                  <a:lnTo>
                    <a:pt x="117" y="796"/>
                  </a:lnTo>
                  <a:lnTo>
                    <a:pt x="117" y="796"/>
                  </a:lnTo>
                  <a:lnTo>
                    <a:pt x="117" y="794"/>
                  </a:lnTo>
                  <a:lnTo>
                    <a:pt x="117" y="794"/>
                  </a:lnTo>
                  <a:lnTo>
                    <a:pt x="117" y="794"/>
                  </a:lnTo>
                  <a:lnTo>
                    <a:pt x="117" y="794"/>
                  </a:lnTo>
                  <a:lnTo>
                    <a:pt x="117" y="794"/>
                  </a:lnTo>
                  <a:lnTo>
                    <a:pt x="117" y="794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7" y="791"/>
                  </a:lnTo>
                  <a:lnTo>
                    <a:pt x="114" y="794"/>
                  </a:lnTo>
                  <a:lnTo>
                    <a:pt x="114" y="794"/>
                  </a:lnTo>
                  <a:lnTo>
                    <a:pt x="114" y="794"/>
                  </a:lnTo>
                  <a:lnTo>
                    <a:pt x="114" y="791"/>
                  </a:lnTo>
                  <a:lnTo>
                    <a:pt x="114" y="791"/>
                  </a:lnTo>
                  <a:lnTo>
                    <a:pt x="112" y="791"/>
                  </a:lnTo>
                  <a:lnTo>
                    <a:pt x="114" y="791"/>
                  </a:lnTo>
                  <a:lnTo>
                    <a:pt x="114" y="791"/>
                  </a:lnTo>
                  <a:lnTo>
                    <a:pt x="112" y="791"/>
                  </a:lnTo>
                  <a:lnTo>
                    <a:pt x="112" y="791"/>
                  </a:lnTo>
                  <a:lnTo>
                    <a:pt x="112" y="789"/>
                  </a:lnTo>
                  <a:lnTo>
                    <a:pt x="112" y="789"/>
                  </a:lnTo>
                  <a:lnTo>
                    <a:pt x="114" y="789"/>
                  </a:lnTo>
                  <a:lnTo>
                    <a:pt x="114" y="789"/>
                  </a:lnTo>
                  <a:lnTo>
                    <a:pt x="117" y="789"/>
                  </a:lnTo>
                  <a:lnTo>
                    <a:pt x="117" y="789"/>
                  </a:lnTo>
                  <a:lnTo>
                    <a:pt x="117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21" y="791"/>
                  </a:lnTo>
                  <a:lnTo>
                    <a:pt x="121" y="791"/>
                  </a:lnTo>
                  <a:lnTo>
                    <a:pt x="121" y="789"/>
                  </a:lnTo>
                  <a:lnTo>
                    <a:pt x="121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9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21" y="787"/>
                  </a:lnTo>
                  <a:lnTo>
                    <a:pt x="121" y="787"/>
                  </a:lnTo>
                  <a:lnTo>
                    <a:pt x="121" y="787"/>
                  </a:lnTo>
                  <a:lnTo>
                    <a:pt x="121" y="787"/>
                  </a:lnTo>
                  <a:lnTo>
                    <a:pt x="121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21" y="785"/>
                  </a:lnTo>
                  <a:lnTo>
                    <a:pt x="121" y="785"/>
                  </a:lnTo>
                  <a:lnTo>
                    <a:pt x="121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5"/>
                  </a:lnTo>
                  <a:lnTo>
                    <a:pt x="123" y="782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21" y="782"/>
                  </a:lnTo>
                  <a:lnTo>
                    <a:pt x="119" y="782"/>
                  </a:lnTo>
                  <a:lnTo>
                    <a:pt x="119" y="782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78"/>
                  </a:lnTo>
                  <a:lnTo>
                    <a:pt x="121" y="778"/>
                  </a:lnTo>
                  <a:lnTo>
                    <a:pt x="119" y="778"/>
                  </a:lnTo>
                  <a:lnTo>
                    <a:pt x="119" y="778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9" y="780"/>
                  </a:lnTo>
                  <a:lnTo>
                    <a:pt x="117" y="780"/>
                  </a:lnTo>
                  <a:lnTo>
                    <a:pt x="117" y="780"/>
                  </a:lnTo>
                  <a:lnTo>
                    <a:pt x="119" y="782"/>
                  </a:lnTo>
                  <a:lnTo>
                    <a:pt x="119" y="782"/>
                  </a:lnTo>
                  <a:lnTo>
                    <a:pt x="117" y="782"/>
                  </a:lnTo>
                  <a:lnTo>
                    <a:pt x="117" y="782"/>
                  </a:lnTo>
                  <a:lnTo>
                    <a:pt x="117" y="782"/>
                  </a:lnTo>
                  <a:lnTo>
                    <a:pt x="119" y="782"/>
                  </a:lnTo>
                  <a:lnTo>
                    <a:pt x="119" y="782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5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9" y="787"/>
                  </a:lnTo>
                  <a:lnTo>
                    <a:pt x="117" y="787"/>
                  </a:lnTo>
                  <a:lnTo>
                    <a:pt x="117" y="787"/>
                  </a:lnTo>
                  <a:lnTo>
                    <a:pt x="117" y="787"/>
                  </a:lnTo>
                  <a:lnTo>
                    <a:pt x="117" y="787"/>
                  </a:lnTo>
                  <a:lnTo>
                    <a:pt x="117" y="787"/>
                  </a:lnTo>
                  <a:lnTo>
                    <a:pt x="117" y="787"/>
                  </a:lnTo>
                  <a:lnTo>
                    <a:pt x="114" y="787"/>
                  </a:lnTo>
                  <a:lnTo>
                    <a:pt x="114" y="787"/>
                  </a:lnTo>
                  <a:lnTo>
                    <a:pt x="114" y="787"/>
                  </a:lnTo>
                  <a:lnTo>
                    <a:pt x="114" y="787"/>
                  </a:lnTo>
                  <a:lnTo>
                    <a:pt x="114" y="785"/>
                  </a:lnTo>
                  <a:lnTo>
                    <a:pt x="114" y="785"/>
                  </a:lnTo>
                  <a:lnTo>
                    <a:pt x="114" y="785"/>
                  </a:lnTo>
                  <a:lnTo>
                    <a:pt x="114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2" y="785"/>
                  </a:lnTo>
                  <a:lnTo>
                    <a:pt x="110" y="782"/>
                  </a:lnTo>
                  <a:lnTo>
                    <a:pt x="110" y="782"/>
                  </a:lnTo>
                  <a:lnTo>
                    <a:pt x="110" y="782"/>
                  </a:lnTo>
                  <a:lnTo>
                    <a:pt x="110" y="782"/>
                  </a:lnTo>
                  <a:lnTo>
                    <a:pt x="110" y="782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08" y="780"/>
                  </a:lnTo>
                  <a:lnTo>
                    <a:pt x="108" y="780"/>
                  </a:lnTo>
                  <a:lnTo>
                    <a:pt x="108" y="780"/>
                  </a:lnTo>
                  <a:lnTo>
                    <a:pt x="108" y="780"/>
                  </a:lnTo>
                  <a:lnTo>
                    <a:pt x="108" y="780"/>
                  </a:lnTo>
                  <a:lnTo>
                    <a:pt x="108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2" y="782"/>
                  </a:lnTo>
                  <a:lnTo>
                    <a:pt x="112" y="782"/>
                  </a:lnTo>
                  <a:lnTo>
                    <a:pt x="112" y="782"/>
                  </a:lnTo>
                  <a:lnTo>
                    <a:pt x="112" y="782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0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4" y="780"/>
                  </a:lnTo>
                  <a:lnTo>
                    <a:pt x="114" y="782"/>
                  </a:lnTo>
                  <a:lnTo>
                    <a:pt x="114" y="782"/>
                  </a:lnTo>
                  <a:lnTo>
                    <a:pt x="117" y="782"/>
                  </a:lnTo>
                  <a:lnTo>
                    <a:pt x="114" y="780"/>
                  </a:lnTo>
                  <a:lnTo>
                    <a:pt x="114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2" y="780"/>
                  </a:lnTo>
                  <a:lnTo>
                    <a:pt x="110" y="780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2" y="778"/>
                  </a:lnTo>
                  <a:lnTo>
                    <a:pt x="112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10" y="778"/>
                  </a:lnTo>
                  <a:lnTo>
                    <a:pt x="108" y="778"/>
                  </a:lnTo>
                  <a:lnTo>
                    <a:pt x="108" y="778"/>
                  </a:lnTo>
                  <a:lnTo>
                    <a:pt x="108" y="778"/>
                  </a:lnTo>
                  <a:lnTo>
                    <a:pt x="108" y="778"/>
                  </a:lnTo>
                  <a:lnTo>
                    <a:pt x="105" y="778"/>
                  </a:lnTo>
                  <a:lnTo>
                    <a:pt x="105" y="778"/>
                  </a:lnTo>
                  <a:lnTo>
                    <a:pt x="105" y="778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6"/>
                  </a:lnTo>
                  <a:lnTo>
                    <a:pt x="105" y="778"/>
                  </a:lnTo>
                  <a:lnTo>
                    <a:pt x="105" y="778"/>
                  </a:lnTo>
                  <a:lnTo>
                    <a:pt x="103" y="778"/>
                  </a:lnTo>
                  <a:lnTo>
                    <a:pt x="103" y="776"/>
                  </a:lnTo>
                  <a:lnTo>
                    <a:pt x="103" y="776"/>
                  </a:lnTo>
                  <a:lnTo>
                    <a:pt x="103" y="776"/>
                  </a:lnTo>
                  <a:lnTo>
                    <a:pt x="103" y="776"/>
                  </a:lnTo>
                  <a:lnTo>
                    <a:pt x="103" y="776"/>
                  </a:lnTo>
                  <a:lnTo>
                    <a:pt x="103" y="776"/>
                  </a:lnTo>
                  <a:lnTo>
                    <a:pt x="103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6"/>
                  </a:lnTo>
                  <a:lnTo>
                    <a:pt x="101" y="773"/>
                  </a:lnTo>
                  <a:lnTo>
                    <a:pt x="101" y="773"/>
                  </a:lnTo>
                  <a:lnTo>
                    <a:pt x="101" y="773"/>
                  </a:lnTo>
                  <a:lnTo>
                    <a:pt x="101" y="773"/>
                  </a:lnTo>
                  <a:lnTo>
                    <a:pt x="101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9" y="773"/>
                  </a:lnTo>
                  <a:lnTo>
                    <a:pt x="96" y="773"/>
                  </a:lnTo>
                  <a:lnTo>
                    <a:pt x="96" y="773"/>
                  </a:lnTo>
                  <a:lnTo>
                    <a:pt x="96" y="773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99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1" y="771"/>
                  </a:lnTo>
                  <a:lnTo>
                    <a:pt x="103" y="771"/>
                  </a:lnTo>
                  <a:lnTo>
                    <a:pt x="103" y="771"/>
                  </a:lnTo>
                  <a:lnTo>
                    <a:pt x="103" y="771"/>
                  </a:lnTo>
                  <a:lnTo>
                    <a:pt x="103" y="771"/>
                  </a:lnTo>
                  <a:lnTo>
                    <a:pt x="103" y="771"/>
                  </a:lnTo>
                  <a:lnTo>
                    <a:pt x="103" y="771"/>
                  </a:lnTo>
                  <a:lnTo>
                    <a:pt x="103" y="773"/>
                  </a:lnTo>
                  <a:lnTo>
                    <a:pt x="103" y="773"/>
                  </a:lnTo>
                  <a:lnTo>
                    <a:pt x="103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8" y="773"/>
                  </a:lnTo>
                  <a:lnTo>
                    <a:pt x="108" y="776"/>
                  </a:lnTo>
                  <a:lnTo>
                    <a:pt x="108" y="776"/>
                  </a:lnTo>
                  <a:lnTo>
                    <a:pt x="108" y="776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12" y="776"/>
                  </a:lnTo>
                  <a:lnTo>
                    <a:pt x="112" y="776"/>
                  </a:lnTo>
                  <a:lnTo>
                    <a:pt x="114" y="776"/>
                  </a:lnTo>
                  <a:lnTo>
                    <a:pt x="112" y="776"/>
                  </a:lnTo>
                  <a:lnTo>
                    <a:pt x="112" y="776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10" y="773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08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3"/>
                  </a:lnTo>
                  <a:lnTo>
                    <a:pt x="105" y="771"/>
                  </a:lnTo>
                  <a:lnTo>
                    <a:pt x="105" y="771"/>
                  </a:lnTo>
                  <a:lnTo>
                    <a:pt x="105" y="771"/>
                  </a:lnTo>
                  <a:lnTo>
                    <a:pt x="105" y="771"/>
                  </a:lnTo>
                  <a:lnTo>
                    <a:pt x="105" y="771"/>
                  </a:lnTo>
                  <a:lnTo>
                    <a:pt x="103" y="771"/>
                  </a:lnTo>
                  <a:lnTo>
                    <a:pt x="103" y="771"/>
                  </a:lnTo>
                  <a:lnTo>
                    <a:pt x="103" y="769"/>
                  </a:lnTo>
                  <a:lnTo>
                    <a:pt x="101" y="769"/>
                  </a:lnTo>
                  <a:lnTo>
                    <a:pt x="101" y="769"/>
                  </a:lnTo>
                  <a:lnTo>
                    <a:pt x="101" y="767"/>
                  </a:lnTo>
                  <a:lnTo>
                    <a:pt x="101" y="767"/>
                  </a:lnTo>
                  <a:lnTo>
                    <a:pt x="101" y="767"/>
                  </a:lnTo>
                  <a:lnTo>
                    <a:pt x="101" y="767"/>
                  </a:lnTo>
                  <a:lnTo>
                    <a:pt x="103" y="767"/>
                  </a:lnTo>
                  <a:lnTo>
                    <a:pt x="103" y="767"/>
                  </a:lnTo>
                  <a:lnTo>
                    <a:pt x="103" y="767"/>
                  </a:lnTo>
                  <a:lnTo>
                    <a:pt x="103" y="767"/>
                  </a:lnTo>
                  <a:lnTo>
                    <a:pt x="103" y="767"/>
                  </a:lnTo>
                  <a:lnTo>
                    <a:pt x="103" y="769"/>
                  </a:lnTo>
                  <a:lnTo>
                    <a:pt x="105" y="769"/>
                  </a:lnTo>
                  <a:lnTo>
                    <a:pt x="105" y="769"/>
                  </a:lnTo>
                  <a:lnTo>
                    <a:pt x="105" y="769"/>
                  </a:lnTo>
                  <a:lnTo>
                    <a:pt x="105" y="769"/>
                  </a:lnTo>
                  <a:lnTo>
                    <a:pt x="105" y="769"/>
                  </a:lnTo>
                  <a:lnTo>
                    <a:pt x="105" y="769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10" y="769"/>
                  </a:lnTo>
                  <a:lnTo>
                    <a:pt x="110" y="769"/>
                  </a:lnTo>
                  <a:lnTo>
                    <a:pt x="110" y="769"/>
                  </a:lnTo>
                  <a:lnTo>
                    <a:pt x="110" y="771"/>
                  </a:lnTo>
                  <a:lnTo>
                    <a:pt x="112" y="771"/>
                  </a:lnTo>
                  <a:lnTo>
                    <a:pt x="110" y="771"/>
                  </a:lnTo>
                  <a:lnTo>
                    <a:pt x="110" y="769"/>
                  </a:lnTo>
                  <a:lnTo>
                    <a:pt x="110" y="769"/>
                  </a:lnTo>
                  <a:lnTo>
                    <a:pt x="110" y="769"/>
                  </a:lnTo>
                  <a:lnTo>
                    <a:pt x="110" y="769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10" y="767"/>
                  </a:lnTo>
                  <a:lnTo>
                    <a:pt x="110" y="767"/>
                  </a:lnTo>
                  <a:lnTo>
                    <a:pt x="110" y="767"/>
                  </a:lnTo>
                  <a:lnTo>
                    <a:pt x="110" y="767"/>
                  </a:lnTo>
                  <a:lnTo>
                    <a:pt x="110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7"/>
                  </a:lnTo>
                  <a:lnTo>
                    <a:pt x="108" y="769"/>
                  </a:lnTo>
                  <a:lnTo>
                    <a:pt x="108" y="769"/>
                  </a:lnTo>
                  <a:lnTo>
                    <a:pt x="105" y="769"/>
                  </a:lnTo>
                  <a:lnTo>
                    <a:pt x="105" y="769"/>
                  </a:lnTo>
                  <a:lnTo>
                    <a:pt x="105" y="767"/>
                  </a:lnTo>
                  <a:lnTo>
                    <a:pt x="105" y="767"/>
                  </a:lnTo>
                  <a:lnTo>
                    <a:pt x="105" y="767"/>
                  </a:lnTo>
                  <a:lnTo>
                    <a:pt x="103" y="767"/>
                  </a:lnTo>
                  <a:lnTo>
                    <a:pt x="101" y="767"/>
                  </a:lnTo>
                  <a:lnTo>
                    <a:pt x="101" y="767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4"/>
                  </a:lnTo>
                  <a:lnTo>
                    <a:pt x="101" y="762"/>
                  </a:lnTo>
                  <a:lnTo>
                    <a:pt x="103" y="762"/>
                  </a:lnTo>
                  <a:lnTo>
                    <a:pt x="103" y="762"/>
                  </a:lnTo>
                  <a:lnTo>
                    <a:pt x="105" y="762"/>
                  </a:lnTo>
                  <a:lnTo>
                    <a:pt x="105" y="762"/>
                  </a:lnTo>
                  <a:lnTo>
                    <a:pt x="105" y="762"/>
                  </a:lnTo>
                  <a:lnTo>
                    <a:pt x="105" y="762"/>
                  </a:lnTo>
                  <a:lnTo>
                    <a:pt x="105" y="762"/>
                  </a:lnTo>
                  <a:lnTo>
                    <a:pt x="103" y="762"/>
                  </a:lnTo>
                  <a:lnTo>
                    <a:pt x="103" y="762"/>
                  </a:lnTo>
                  <a:lnTo>
                    <a:pt x="103" y="762"/>
                  </a:lnTo>
                  <a:lnTo>
                    <a:pt x="101" y="762"/>
                  </a:lnTo>
                  <a:lnTo>
                    <a:pt x="101" y="762"/>
                  </a:lnTo>
                  <a:lnTo>
                    <a:pt x="101" y="762"/>
                  </a:lnTo>
                  <a:lnTo>
                    <a:pt x="101" y="762"/>
                  </a:lnTo>
                  <a:lnTo>
                    <a:pt x="99" y="762"/>
                  </a:lnTo>
                  <a:lnTo>
                    <a:pt x="99" y="760"/>
                  </a:lnTo>
                  <a:lnTo>
                    <a:pt x="99" y="760"/>
                  </a:lnTo>
                  <a:lnTo>
                    <a:pt x="99" y="760"/>
                  </a:lnTo>
                  <a:lnTo>
                    <a:pt x="99" y="760"/>
                  </a:lnTo>
                  <a:lnTo>
                    <a:pt x="99" y="760"/>
                  </a:lnTo>
                  <a:lnTo>
                    <a:pt x="101" y="760"/>
                  </a:lnTo>
                  <a:lnTo>
                    <a:pt x="101" y="760"/>
                  </a:lnTo>
                  <a:lnTo>
                    <a:pt x="101" y="758"/>
                  </a:lnTo>
                  <a:lnTo>
                    <a:pt x="101" y="758"/>
                  </a:lnTo>
                  <a:lnTo>
                    <a:pt x="101" y="758"/>
                  </a:lnTo>
                  <a:lnTo>
                    <a:pt x="103" y="758"/>
                  </a:lnTo>
                  <a:lnTo>
                    <a:pt x="103" y="758"/>
                  </a:lnTo>
                  <a:lnTo>
                    <a:pt x="103" y="758"/>
                  </a:lnTo>
                  <a:lnTo>
                    <a:pt x="103" y="758"/>
                  </a:lnTo>
                  <a:lnTo>
                    <a:pt x="103" y="760"/>
                  </a:lnTo>
                  <a:lnTo>
                    <a:pt x="103" y="760"/>
                  </a:lnTo>
                  <a:lnTo>
                    <a:pt x="103" y="760"/>
                  </a:lnTo>
                  <a:lnTo>
                    <a:pt x="105" y="760"/>
                  </a:lnTo>
                  <a:lnTo>
                    <a:pt x="103" y="760"/>
                  </a:lnTo>
                  <a:lnTo>
                    <a:pt x="103" y="758"/>
                  </a:lnTo>
                  <a:lnTo>
                    <a:pt x="105" y="758"/>
                  </a:lnTo>
                  <a:lnTo>
                    <a:pt x="105" y="758"/>
                  </a:lnTo>
                  <a:lnTo>
                    <a:pt x="105" y="758"/>
                  </a:lnTo>
                  <a:lnTo>
                    <a:pt x="105" y="760"/>
                  </a:lnTo>
                  <a:lnTo>
                    <a:pt x="105" y="760"/>
                  </a:lnTo>
                  <a:lnTo>
                    <a:pt x="105" y="760"/>
                  </a:lnTo>
                  <a:lnTo>
                    <a:pt x="105" y="760"/>
                  </a:lnTo>
                  <a:lnTo>
                    <a:pt x="105" y="760"/>
                  </a:lnTo>
                  <a:lnTo>
                    <a:pt x="105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4"/>
                  </a:lnTo>
                  <a:lnTo>
                    <a:pt x="112" y="764"/>
                  </a:lnTo>
                  <a:lnTo>
                    <a:pt x="112" y="764"/>
                  </a:lnTo>
                  <a:lnTo>
                    <a:pt x="112" y="762"/>
                  </a:lnTo>
                  <a:lnTo>
                    <a:pt x="112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2"/>
                  </a:lnTo>
                  <a:lnTo>
                    <a:pt x="110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8" y="760"/>
                  </a:lnTo>
                  <a:lnTo>
                    <a:pt x="105" y="758"/>
                  </a:lnTo>
                  <a:lnTo>
                    <a:pt x="105" y="758"/>
                  </a:lnTo>
                  <a:lnTo>
                    <a:pt x="105" y="758"/>
                  </a:lnTo>
                  <a:lnTo>
                    <a:pt x="103" y="758"/>
                  </a:lnTo>
                  <a:lnTo>
                    <a:pt x="101" y="758"/>
                  </a:lnTo>
                  <a:lnTo>
                    <a:pt x="101" y="758"/>
                  </a:lnTo>
                  <a:lnTo>
                    <a:pt x="101" y="758"/>
                  </a:lnTo>
                  <a:lnTo>
                    <a:pt x="101" y="756"/>
                  </a:lnTo>
                  <a:lnTo>
                    <a:pt x="101" y="756"/>
                  </a:lnTo>
                  <a:lnTo>
                    <a:pt x="101" y="756"/>
                  </a:lnTo>
                  <a:lnTo>
                    <a:pt x="101" y="756"/>
                  </a:lnTo>
                  <a:lnTo>
                    <a:pt x="101" y="756"/>
                  </a:lnTo>
                  <a:lnTo>
                    <a:pt x="101" y="756"/>
                  </a:lnTo>
                  <a:lnTo>
                    <a:pt x="101" y="753"/>
                  </a:lnTo>
                  <a:lnTo>
                    <a:pt x="101" y="753"/>
                  </a:lnTo>
                  <a:lnTo>
                    <a:pt x="101" y="753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53"/>
                  </a:lnTo>
                  <a:lnTo>
                    <a:pt x="103" y="753"/>
                  </a:lnTo>
                  <a:lnTo>
                    <a:pt x="103" y="753"/>
                  </a:lnTo>
                  <a:lnTo>
                    <a:pt x="103" y="753"/>
                  </a:lnTo>
                  <a:lnTo>
                    <a:pt x="103" y="753"/>
                  </a:lnTo>
                  <a:lnTo>
                    <a:pt x="103" y="753"/>
                  </a:lnTo>
                  <a:lnTo>
                    <a:pt x="105" y="753"/>
                  </a:lnTo>
                  <a:lnTo>
                    <a:pt x="105" y="753"/>
                  </a:lnTo>
                  <a:lnTo>
                    <a:pt x="103" y="753"/>
                  </a:lnTo>
                  <a:lnTo>
                    <a:pt x="103" y="753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51"/>
                  </a:lnTo>
                  <a:lnTo>
                    <a:pt x="101" y="749"/>
                  </a:lnTo>
                  <a:lnTo>
                    <a:pt x="101" y="749"/>
                  </a:lnTo>
                  <a:lnTo>
                    <a:pt x="101" y="749"/>
                  </a:lnTo>
                  <a:lnTo>
                    <a:pt x="101" y="749"/>
                  </a:lnTo>
                  <a:lnTo>
                    <a:pt x="101" y="749"/>
                  </a:lnTo>
                  <a:lnTo>
                    <a:pt x="101" y="749"/>
                  </a:lnTo>
                  <a:lnTo>
                    <a:pt x="101" y="749"/>
                  </a:lnTo>
                  <a:lnTo>
                    <a:pt x="99" y="749"/>
                  </a:lnTo>
                  <a:lnTo>
                    <a:pt x="101" y="747"/>
                  </a:lnTo>
                  <a:lnTo>
                    <a:pt x="101" y="747"/>
                  </a:lnTo>
                  <a:lnTo>
                    <a:pt x="101" y="747"/>
                  </a:lnTo>
                  <a:lnTo>
                    <a:pt x="101" y="747"/>
                  </a:lnTo>
                  <a:lnTo>
                    <a:pt x="103" y="747"/>
                  </a:lnTo>
                  <a:lnTo>
                    <a:pt x="103" y="747"/>
                  </a:lnTo>
                  <a:lnTo>
                    <a:pt x="103" y="747"/>
                  </a:lnTo>
                  <a:lnTo>
                    <a:pt x="103" y="747"/>
                  </a:lnTo>
                  <a:lnTo>
                    <a:pt x="101" y="747"/>
                  </a:lnTo>
                  <a:lnTo>
                    <a:pt x="101" y="747"/>
                  </a:lnTo>
                  <a:lnTo>
                    <a:pt x="101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7"/>
                  </a:lnTo>
                  <a:lnTo>
                    <a:pt x="99" y="749"/>
                  </a:lnTo>
                  <a:lnTo>
                    <a:pt x="99" y="749"/>
                  </a:lnTo>
                  <a:lnTo>
                    <a:pt x="99" y="749"/>
                  </a:lnTo>
                  <a:lnTo>
                    <a:pt x="99" y="749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6" y="751"/>
                  </a:lnTo>
                  <a:lnTo>
                    <a:pt x="96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1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3"/>
                  </a:lnTo>
                  <a:lnTo>
                    <a:pt x="99" y="756"/>
                  </a:lnTo>
                  <a:lnTo>
                    <a:pt x="99" y="756"/>
                  </a:lnTo>
                  <a:lnTo>
                    <a:pt x="101" y="756"/>
                  </a:lnTo>
                  <a:lnTo>
                    <a:pt x="101" y="758"/>
                  </a:lnTo>
                  <a:lnTo>
                    <a:pt x="101" y="758"/>
                  </a:lnTo>
                  <a:lnTo>
                    <a:pt x="99" y="758"/>
                  </a:lnTo>
                  <a:lnTo>
                    <a:pt x="99" y="758"/>
                  </a:lnTo>
                  <a:lnTo>
                    <a:pt x="99" y="758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6" y="756"/>
                  </a:lnTo>
                  <a:lnTo>
                    <a:pt x="94" y="756"/>
                  </a:lnTo>
                  <a:lnTo>
                    <a:pt x="94" y="756"/>
                  </a:lnTo>
                  <a:lnTo>
                    <a:pt x="94" y="753"/>
                  </a:lnTo>
                  <a:lnTo>
                    <a:pt x="94" y="753"/>
                  </a:lnTo>
                  <a:lnTo>
                    <a:pt x="94" y="753"/>
                  </a:lnTo>
                  <a:lnTo>
                    <a:pt x="94" y="753"/>
                  </a:lnTo>
                  <a:lnTo>
                    <a:pt x="94" y="753"/>
                  </a:lnTo>
                  <a:lnTo>
                    <a:pt x="94" y="751"/>
                  </a:lnTo>
                  <a:lnTo>
                    <a:pt x="94" y="751"/>
                  </a:lnTo>
                  <a:lnTo>
                    <a:pt x="94" y="751"/>
                  </a:lnTo>
                  <a:lnTo>
                    <a:pt x="94" y="749"/>
                  </a:lnTo>
                  <a:lnTo>
                    <a:pt x="92" y="749"/>
                  </a:lnTo>
                  <a:lnTo>
                    <a:pt x="92" y="749"/>
                  </a:lnTo>
                  <a:lnTo>
                    <a:pt x="92" y="749"/>
                  </a:lnTo>
                  <a:lnTo>
                    <a:pt x="92" y="749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9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0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7"/>
                  </a:lnTo>
                  <a:lnTo>
                    <a:pt x="92" y="744"/>
                  </a:lnTo>
                  <a:lnTo>
                    <a:pt x="92" y="744"/>
                  </a:lnTo>
                  <a:lnTo>
                    <a:pt x="92" y="744"/>
                  </a:lnTo>
                  <a:lnTo>
                    <a:pt x="90" y="744"/>
                  </a:lnTo>
                  <a:lnTo>
                    <a:pt x="92" y="744"/>
                  </a:lnTo>
                  <a:lnTo>
                    <a:pt x="92" y="744"/>
                  </a:lnTo>
                  <a:lnTo>
                    <a:pt x="92" y="744"/>
                  </a:lnTo>
                  <a:lnTo>
                    <a:pt x="92" y="744"/>
                  </a:lnTo>
                  <a:lnTo>
                    <a:pt x="90" y="744"/>
                  </a:lnTo>
                  <a:lnTo>
                    <a:pt x="90" y="744"/>
                  </a:lnTo>
                  <a:lnTo>
                    <a:pt x="90" y="744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2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2" y="740"/>
                  </a:lnTo>
                  <a:lnTo>
                    <a:pt x="92" y="740"/>
                  </a:lnTo>
                  <a:lnTo>
                    <a:pt x="92" y="740"/>
                  </a:lnTo>
                  <a:lnTo>
                    <a:pt x="92" y="740"/>
                  </a:lnTo>
                  <a:lnTo>
                    <a:pt x="94" y="740"/>
                  </a:lnTo>
                  <a:lnTo>
                    <a:pt x="94" y="740"/>
                  </a:lnTo>
                  <a:lnTo>
                    <a:pt x="94" y="740"/>
                  </a:lnTo>
                  <a:lnTo>
                    <a:pt x="96" y="740"/>
                  </a:lnTo>
                  <a:lnTo>
                    <a:pt x="96" y="740"/>
                  </a:lnTo>
                  <a:lnTo>
                    <a:pt x="96" y="740"/>
                  </a:lnTo>
                  <a:lnTo>
                    <a:pt x="94" y="740"/>
                  </a:lnTo>
                  <a:lnTo>
                    <a:pt x="94" y="740"/>
                  </a:lnTo>
                  <a:lnTo>
                    <a:pt x="94" y="740"/>
                  </a:lnTo>
                  <a:lnTo>
                    <a:pt x="92" y="740"/>
                  </a:lnTo>
                  <a:lnTo>
                    <a:pt x="92" y="740"/>
                  </a:lnTo>
                  <a:lnTo>
                    <a:pt x="92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0" y="740"/>
                  </a:lnTo>
                  <a:lnTo>
                    <a:pt x="92" y="740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90" y="738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87" y="738"/>
                  </a:lnTo>
                  <a:lnTo>
                    <a:pt x="90" y="735"/>
                  </a:lnTo>
                  <a:lnTo>
                    <a:pt x="90" y="735"/>
                  </a:lnTo>
                  <a:lnTo>
                    <a:pt x="90" y="735"/>
                  </a:lnTo>
                  <a:lnTo>
                    <a:pt x="90" y="735"/>
                  </a:lnTo>
                  <a:lnTo>
                    <a:pt x="90" y="735"/>
                  </a:lnTo>
                  <a:lnTo>
                    <a:pt x="90" y="735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0" y="733"/>
                  </a:lnTo>
                  <a:lnTo>
                    <a:pt x="92" y="733"/>
                  </a:lnTo>
                  <a:lnTo>
                    <a:pt x="92" y="733"/>
                  </a:lnTo>
                  <a:lnTo>
                    <a:pt x="92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6" y="738"/>
                  </a:lnTo>
                  <a:lnTo>
                    <a:pt x="96" y="735"/>
                  </a:lnTo>
                  <a:lnTo>
                    <a:pt x="96" y="735"/>
                  </a:lnTo>
                  <a:lnTo>
                    <a:pt x="96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4" y="735"/>
                  </a:lnTo>
                  <a:lnTo>
                    <a:pt x="94" y="733"/>
                  </a:lnTo>
                  <a:lnTo>
                    <a:pt x="94" y="733"/>
                  </a:lnTo>
                  <a:lnTo>
                    <a:pt x="94" y="733"/>
                  </a:lnTo>
                  <a:lnTo>
                    <a:pt x="96" y="733"/>
                  </a:lnTo>
                  <a:lnTo>
                    <a:pt x="96" y="733"/>
                  </a:lnTo>
                  <a:lnTo>
                    <a:pt x="96" y="733"/>
                  </a:lnTo>
                  <a:lnTo>
                    <a:pt x="96" y="731"/>
                  </a:lnTo>
                  <a:lnTo>
                    <a:pt x="94" y="731"/>
                  </a:lnTo>
                  <a:lnTo>
                    <a:pt x="94" y="731"/>
                  </a:lnTo>
                  <a:lnTo>
                    <a:pt x="94" y="733"/>
                  </a:lnTo>
                  <a:lnTo>
                    <a:pt x="94" y="733"/>
                  </a:lnTo>
                  <a:lnTo>
                    <a:pt x="94" y="733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2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90" y="731"/>
                  </a:lnTo>
                  <a:lnTo>
                    <a:pt x="87" y="731"/>
                  </a:lnTo>
                  <a:lnTo>
                    <a:pt x="87" y="731"/>
                  </a:lnTo>
                  <a:lnTo>
                    <a:pt x="87" y="731"/>
                  </a:lnTo>
                  <a:lnTo>
                    <a:pt x="87" y="731"/>
                  </a:lnTo>
                  <a:lnTo>
                    <a:pt x="87" y="731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5" y="729"/>
                  </a:lnTo>
                  <a:lnTo>
                    <a:pt x="85" y="729"/>
                  </a:lnTo>
                  <a:lnTo>
                    <a:pt x="85" y="726"/>
                  </a:lnTo>
                  <a:lnTo>
                    <a:pt x="83" y="726"/>
                  </a:lnTo>
                  <a:lnTo>
                    <a:pt x="83" y="726"/>
                  </a:lnTo>
                  <a:lnTo>
                    <a:pt x="83" y="726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3" y="724"/>
                  </a:lnTo>
                  <a:lnTo>
                    <a:pt x="83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81" y="724"/>
                  </a:lnTo>
                  <a:lnTo>
                    <a:pt x="78" y="724"/>
                  </a:lnTo>
                  <a:lnTo>
                    <a:pt x="78" y="724"/>
                  </a:lnTo>
                  <a:lnTo>
                    <a:pt x="78" y="724"/>
                  </a:lnTo>
                  <a:lnTo>
                    <a:pt x="78" y="724"/>
                  </a:lnTo>
                  <a:lnTo>
                    <a:pt x="78" y="722"/>
                  </a:lnTo>
                  <a:lnTo>
                    <a:pt x="78" y="722"/>
                  </a:lnTo>
                  <a:lnTo>
                    <a:pt x="78" y="722"/>
                  </a:lnTo>
                  <a:lnTo>
                    <a:pt x="78" y="722"/>
                  </a:lnTo>
                  <a:lnTo>
                    <a:pt x="81" y="722"/>
                  </a:lnTo>
                  <a:lnTo>
                    <a:pt x="81" y="722"/>
                  </a:lnTo>
                  <a:lnTo>
                    <a:pt x="81" y="722"/>
                  </a:lnTo>
                  <a:lnTo>
                    <a:pt x="81" y="722"/>
                  </a:lnTo>
                  <a:lnTo>
                    <a:pt x="81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2"/>
                  </a:lnTo>
                  <a:lnTo>
                    <a:pt x="83" y="724"/>
                  </a:lnTo>
                  <a:lnTo>
                    <a:pt x="83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87" y="729"/>
                  </a:lnTo>
                  <a:lnTo>
                    <a:pt x="90" y="729"/>
                  </a:lnTo>
                  <a:lnTo>
                    <a:pt x="90" y="729"/>
                  </a:lnTo>
                  <a:lnTo>
                    <a:pt x="90" y="729"/>
                  </a:lnTo>
                  <a:lnTo>
                    <a:pt x="87" y="729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7" y="726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5" y="724"/>
                  </a:lnTo>
                  <a:lnTo>
                    <a:pt x="83" y="722"/>
                  </a:lnTo>
                  <a:lnTo>
                    <a:pt x="85" y="722"/>
                  </a:lnTo>
                  <a:lnTo>
                    <a:pt x="85" y="722"/>
                  </a:lnTo>
                  <a:lnTo>
                    <a:pt x="85" y="722"/>
                  </a:lnTo>
                  <a:lnTo>
                    <a:pt x="87" y="722"/>
                  </a:lnTo>
                  <a:lnTo>
                    <a:pt x="90" y="722"/>
                  </a:lnTo>
                  <a:lnTo>
                    <a:pt x="90" y="722"/>
                  </a:lnTo>
                  <a:lnTo>
                    <a:pt x="90" y="724"/>
                  </a:lnTo>
                  <a:lnTo>
                    <a:pt x="90" y="724"/>
                  </a:lnTo>
                  <a:lnTo>
                    <a:pt x="90" y="724"/>
                  </a:lnTo>
                  <a:lnTo>
                    <a:pt x="90" y="724"/>
                  </a:lnTo>
                  <a:lnTo>
                    <a:pt x="90" y="724"/>
                  </a:lnTo>
                  <a:lnTo>
                    <a:pt x="90" y="724"/>
                  </a:lnTo>
                  <a:lnTo>
                    <a:pt x="90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2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4"/>
                  </a:lnTo>
                  <a:lnTo>
                    <a:pt x="94" y="726"/>
                  </a:lnTo>
                  <a:lnTo>
                    <a:pt x="94" y="726"/>
                  </a:lnTo>
                  <a:lnTo>
                    <a:pt x="96" y="724"/>
                  </a:lnTo>
                  <a:lnTo>
                    <a:pt x="96" y="724"/>
                  </a:lnTo>
                  <a:lnTo>
                    <a:pt x="96" y="724"/>
                  </a:lnTo>
                  <a:lnTo>
                    <a:pt x="96" y="724"/>
                  </a:lnTo>
                  <a:lnTo>
                    <a:pt x="96" y="724"/>
                  </a:lnTo>
                  <a:lnTo>
                    <a:pt x="99" y="724"/>
                  </a:lnTo>
                  <a:lnTo>
                    <a:pt x="99" y="726"/>
                  </a:lnTo>
                  <a:lnTo>
                    <a:pt x="99" y="726"/>
                  </a:lnTo>
                  <a:lnTo>
                    <a:pt x="99" y="726"/>
                  </a:lnTo>
                  <a:lnTo>
                    <a:pt x="99" y="726"/>
                  </a:lnTo>
                  <a:lnTo>
                    <a:pt x="99" y="726"/>
                  </a:lnTo>
                  <a:lnTo>
                    <a:pt x="99" y="726"/>
                  </a:lnTo>
                  <a:lnTo>
                    <a:pt x="99" y="726"/>
                  </a:lnTo>
                  <a:lnTo>
                    <a:pt x="99" y="729"/>
                  </a:lnTo>
                  <a:lnTo>
                    <a:pt x="101" y="729"/>
                  </a:lnTo>
                  <a:lnTo>
                    <a:pt x="101" y="729"/>
                  </a:lnTo>
                  <a:lnTo>
                    <a:pt x="101" y="729"/>
                  </a:lnTo>
                  <a:lnTo>
                    <a:pt x="101" y="726"/>
                  </a:lnTo>
                  <a:lnTo>
                    <a:pt x="101" y="726"/>
                  </a:lnTo>
                  <a:lnTo>
                    <a:pt x="101" y="726"/>
                  </a:lnTo>
                  <a:lnTo>
                    <a:pt x="101" y="726"/>
                  </a:lnTo>
                  <a:lnTo>
                    <a:pt x="101" y="726"/>
                  </a:lnTo>
                  <a:lnTo>
                    <a:pt x="103" y="726"/>
                  </a:lnTo>
                  <a:lnTo>
                    <a:pt x="103" y="729"/>
                  </a:lnTo>
                  <a:lnTo>
                    <a:pt x="103" y="726"/>
                  </a:lnTo>
                  <a:lnTo>
                    <a:pt x="103" y="726"/>
                  </a:lnTo>
                  <a:lnTo>
                    <a:pt x="103" y="726"/>
                  </a:lnTo>
                  <a:lnTo>
                    <a:pt x="105" y="726"/>
                  </a:lnTo>
                  <a:lnTo>
                    <a:pt x="105" y="726"/>
                  </a:lnTo>
                  <a:lnTo>
                    <a:pt x="105" y="726"/>
                  </a:lnTo>
                  <a:lnTo>
                    <a:pt x="105" y="726"/>
                  </a:lnTo>
                  <a:lnTo>
                    <a:pt x="105" y="724"/>
                  </a:lnTo>
                  <a:lnTo>
                    <a:pt x="103" y="724"/>
                  </a:lnTo>
                  <a:lnTo>
                    <a:pt x="103" y="724"/>
                  </a:lnTo>
                  <a:lnTo>
                    <a:pt x="103" y="724"/>
                  </a:lnTo>
                  <a:lnTo>
                    <a:pt x="105" y="726"/>
                  </a:lnTo>
                  <a:lnTo>
                    <a:pt x="105" y="726"/>
                  </a:lnTo>
                  <a:lnTo>
                    <a:pt x="103" y="726"/>
                  </a:lnTo>
                  <a:lnTo>
                    <a:pt x="103" y="726"/>
                  </a:lnTo>
                  <a:lnTo>
                    <a:pt x="103" y="726"/>
                  </a:lnTo>
                  <a:lnTo>
                    <a:pt x="103" y="726"/>
                  </a:lnTo>
                  <a:lnTo>
                    <a:pt x="103" y="726"/>
                  </a:lnTo>
                  <a:lnTo>
                    <a:pt x="101" y="726"/>
                  </a:lnTo>
                  <a:lnTo>
                    <a:pt x="101" y="726"/>
                  </a:lnTo>
                  <a:lnTo>
                    <a:pt x="101" y="724"/>
                  </a:lnTo>
                  <a:lnTo>
                    <a:pt x="101" y="724"/>
                  </a:lnTo>
                  <a:lnTo>
                    <a:pt x="99" y="724"/>
                  </a:lnTo>
                  <a:lnTo>
                    <a:pt x="99" y="724"/>
                  </a:lnTo>
                  <a:lnTo>
                    <a:pt x="99" y="724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6" y="722"/>
                  </a:lnTo>
                  <a:lnTo>
                    <a:pt x="96" y="722"/>
                  </a:lnTo>
                  <a:lnTo>
                    <a:pt x="96" y="722"/>
                  </a:lnTo>
                  <a:lnTo>
                    <a:pt x="96" y="722"/>
                  </a:lnTo>
                  <a:lnTo>
                    <a:pt x="96" y="722"/>
                  </a:lnTo>
                  <a:lnTo>
                    <a:pt x="96" y="722"/>
                  </a:lnTo>
                  <a:lnTo>
                    <a:pt x="96" y="722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101" y="722"/>
                  </a:lnTo>
                  <a:lnTo>
                    <a:pt x="103" y="722"/>
                  </a:lnTo>
                  <a:lnTo>
                    <a:pt x="103" y="722"/>
                  </a:lnTo>
                  <a:lnTo>
                    <a:pt x="103" y="722"/>
                  </a:lnTo>
                  <a:lnTo>
                    <a:pt x="103" y="722"/>
                  </a:lnTo>
                  <a:lnTo>
                    <a:pt x="105" y="722"/>
                  </a:lnTo>
                  <a:lnTo>
                    <a:pt x="103" y="722"/>
                  </a:lnTo>
                  <a:lnTo>
                    <a:pt x="103" y="722"/>
                  </a:lnTo>
                  <a:lnTo>
                    <a:pt x="103" y="722"/>
                  </a:lnTo>
                  <a:lnTo>
                    <a:pt x="101" y="722"/>
                  </a:lnTo>
                  <a:lnTo>
                    <a:pt x="101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2"/>
                  </a:lnTo>
                  <a:lnTo>
                    <a:pt x="99" y="720"/>
                  </a:lnTo>
                  <a:lnTo>
                    <a:pt x="99" y="720"/>
                  </a:lnTo>
                  <a:lnTo>
                    <a:pt x="99" y="720"/>
                  </a:lnTo>
                  <a:lnTo>
                    <a:pt x="99" y="720"/>
                  </a:lnTo>
                  <a:lnTo>
                    <a:pt x="99" y="720"/>
                  </a:lnTo>
                  <a:lnTo>
                    <a:pt x="99" y="720"/>
                  </a:lnTo>
                  <a:lnTo>
                    <a:pt x="99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20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6" y="717"/>
                  </a:lnTo>
                  <a:lnTo>
                    <a:pt x="94" y="717"/>
                  </a:lnTo>
                  <a:lnTo>
                    <a:pt x="94" y="717"/>
                  </a:lnTo>
                  <a:lnTo>
                    <a:pt x="94" y="717"/>
                  </a:lnTo>
                  <a:lnTo>
                    <a:pt x="94" y="717"/>
                  </a:lnTo>
                  <a:lnTo>
                    <a:pt x="92" y="717"/>
                  </a:lnTo>
                  <a:lnTo>
                    <a:pt x="92" y="715"/>
                  </a:lnTo>
                  <a:lnTo>
                    <a:pt x="92" y="715"/>
                  </a:lnTo>
                  <a:lnTo>
                    <a:pt x="94" y="715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5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2" y="711"/>
                  </a:lnTo>
                  <a:lnTo>
                    <a:pt x="92" y="713"/>
                  </a:lnTo>
                  <a:lnTo>
                    <a:pt x="92" y="713"/>
                  </a:lnTo>
                  <a:lnTo>
                    <a:pt x="90" y="713"/>
                  </a:lnTo>
                  <a:lnTo>
                    <a:pt x="90" y="713"/>
                  </a:lnTo>
                  <a:lnTo>
                    <a:pt x="92" y="713"/>
                  </a:lnTo>
                  <a:lnTo>
                    <a:pt x="92" y="715"/>
                  </a:lnTo>
                  <a:lnTo>
                    <a:pt x="92" y="715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17"/>
                  </a:lnTo>
                  <a:lnTo>
                    <a:pt x="92" y="720"/>
                  </a:lnTo>
                  <a:lnTo>
                    <a:pt x="90" y="720"/>
                  </a:lnTo>
                  <a:lnTo>
                    <a:pt x="90" y="720"/>
                  </a:lnTo>
                  <a:lnTo>
                    <a:pt x="90" y="720"/>
                  </a:lnTo>
                  <a:lnTo>
                    <a:pt x="90" y="720"/>
                  </a:lnTo>
                  <a:lnTo>
                    <a:pt x="90" y="720"/>
                  </a:lnTo>
                  <a:lnTo>
                    <a:pt x="87" y="720"/>
                  </a:lnTo>
                  <a:lnTo>
                    <a:pt x="87" y="720"/>
                  </a:lnTo>
                  <a:lnTo>
                    <a:pt x="87" y="720"/>
                  </a:lnTo>
                  <a:lnTo>
                    <a:pt x="87" y="717"/>
                  </a:lnTo>
                  <a:lnTo>
                    <a:pt x="87" y="717"/>
                  </a:lnTo>
                  <a:lnTo>
                    <a:pt x="87" y="717"/>
                  </a:lnTo>
                  <a:lnTo>
                    <a:pt x="87" y="717"/>
                  </a:lnTo>
                  <a:lnTo>
                    <a:pt x="87" y="717"/>
                  </a:lnTo>
                  <a:lnTo>
                    <a:pt x="85" y="717"/>
                  </a:lnTo>
                  <a:lnTo>
                    <a:pt x="85" y="717"/>
                  </a:lnTo>
                  <a:lnTo>
                    <a:pt x="83" y="717"/>
                  </a:lnTo>
                  <a:lnTo>
                    <a:pt x="83" y="717"/>
                  </a:lnTo>
                  <a:lnTo>
                    <a:pt x="83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81" y="717"/>
                  </a:lnTo>
                  <a:lnTo>
                    <a:pt x="78" y="717"/>
                  </a:lnTo>
                  <a:lnTo>
                    <a:pt x="78" y="717"/>
                  </a:lnTo>
                  <a:lnTo>
                    <a:pt x="78" y="717"/>
                  </a:lnTo>
                  <a:lnTo>
                    <a:pt x="78" y="717"/>
                  </a:lnTo>
                  <a:lnTo>
                    <a:pt x="78" y="717"/>
                  </a:lnTo>
                  <a:lnTo>
                    <a:pt x="78" y="717"/>
                  </a:lnTo>
                  <a:lnTo>
                    <a:pt x="76" y="717"/>
                  </a:lnTo>
                  <a:lnTo>
                    <a:pt x="76" y="717"/>
                  </a:lnTo>
                  <a:lnTo>
                    <a:pt x="76" y="717"/>
                  </a:lnTo>
                  <a:lnTo>
                    <a:pt x="74" y="717"/>
                  </a:lnTo>
                  <a:lnTo>
                    <a:pt x="74" y="717"/>
                  </a:lnTo>
                  <a:lnTo>
                    <a:pt x="74" y="717"/>
                  </a:lnTo>
                  <a:lnTo>
                    <a:pt x="74" y="715"/>
                  </a:lnTo>
                  <a:lnTo>
                    <a:pt x="74" y="715"/>
                  </a:lnTo>
                  <a:lnTo>
                    <a:pt x="74" y="715"/>
                  </a:lnTo>
                  <a:lnTo>
                    <a:pt x="74" y="715"/>
                  </a:lnTo>
                  <a:lnTo>
                    <a:pt x="74" y="715"/>
                  </a:lnTo>
                  <a:lnTo>
                    <a:pt x="74" y="715"/>
                  </a:lnTo>
                  <a:lnTo>
                    <a:pt x="74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6" y="715"/>
                  </a:lnTo>
                  <a:lnTo>
                    <a:pt x="74" y="713"/>
                  </a:lnTo>
                  <a:lnTo>
                    <a:pt x="74" y="713"/>
                  </a:lnTo>
                  <a:lnTo>
                    <a:pt x="74" y="713"/>
                  </a:lnTo>
                  <a:lnTo>
                    <a:pt x="74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6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78" y="715"/>
                  </a:lnTo>
                  <a:lnTo>
                    <a:pt x="78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1" y="715"/>
                  </a:lnTo>
                  <a:lnTo>
                    <a:pt x="83" y="717"/>
                  </a:lnTo>
                  <a:lnTo>
                    <a:pt x="83" y="717"/>
                  </a:lnTo>
                  <a:lnTo>
                    <a:pt x="85" y="717"/>
                  </a:lnTo>
                  <a:lnTo>
                    <a:pt x="85" y="717"/>
                  </a:lnTo>
                  <a:lnTo>
                    <a:pt x="83" y="717"/>
                  </a:lnTo>
                  <a:lnTo>
                    <a:pt x="83" y="717"/>
                  </a:lnTo>
                  <a:lnTo>
                    <a:pt x="83" y="715"/>
                  </a:lnTo>
                  <a:lnTo>
                    <a:pt x="81" y="715"/>
                  </a:lnTo>
                  <a:lnTo>
                    <a:pt x="83" y="715"/>
                  </a:lnTo>
                  <a:lnTo>
                    <a:pt x="83" y="715"/>
                  </a:lnTo>
                  <a:lnTo>
                    <a:pt x="85" y="715"/>
                  </a:lnTo>
                  <a:lnTo>
                    <a:pt x="85" y="715"/>
                  </a:lnTo>
                  <a:lnTo>
                    <a:pt x="83" y="715"/>
                  </a:lnTo>
                  <a:lnTo>
                    <a:pt x="83" y="715"/>
                  </a:lnTo>
                  <a:lnTo>
                    <a:pt x="83" y="715"/>
                  </a:lnTo>
                  <a:lnTo>
                    <a:pt x="83" y="715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5" y="715"/>
                  </a:lnTo>
                  <a:lnTo>
                    <a:pt x="85" y="715"/>
                  </a:lnTo>
                  <a:lnTo>
                    <a:pt x="85" y="715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5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3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81" y="713"/>
                  </a:lnTo>
                  <a:lnTo>
                    <a:pt x="78" y="711"/>
                  </a:lnTo>
                  <a:lnTo>
                    <a:pt x="78" y="713"/>
                  </a:lnTo>
                  <a:lnTo>
                    <a:pt x="78" y="713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6" y="711"/>
                  </a:lnTo>
                  <a:lnTo>
                    <a:pt x="76" y="711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8" y="711"/>
                  </a:lnTo>
                  <a:lnTo>
                    <a:pt x="76" y="711"/>
                  </a:lnTo>
                  <a:lnTo>
                    <a:pt x="76" y="711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11"/>
                  </a:lnTo>
                  <a:lnTo>
                    <a:pt x="76" y="711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8"/>
                  </a:lnTo>
                  <a:lnTo>
                    <a:pt x="76" y="706"/>
                  </a:lnTo>
                  <a:lnTo>
                    <a:pt x="76" y="706"/>
                  </a:lnTo>
                  <a:lnTo>
                    <a:pt x="76" y="706"/>
                  </a:lnTo>
                  <a:lnTo>
                    <a:pt x="76" y="706"/>
                  </a:lnTo>
                  <a:lnTo>
                    <a:pt x="76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6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6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78" y="704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81" y="706"/>
                  </a:lnTo>
                  <a:lnTo>
                    <a:pt x="81" y="706"/>
                  </a:lnTo>
                  <a:lnTo>
                    <a:pt x="81" y="706"/>
                  </a:lnTo>
                  <a:lnTo>
                    <a:pt x="83" y="706"/>
                  </a:lnTo>
                  <a:lnTo>
                    <a:pt x="83" y="706"/>
                  </a:lnTo>
                  <a:lnTo>
                    <a:pt x="83" y="706"/>
                  </a:lnTo>
                  <a:lnTo>
                    <a:pt x="83" y="706"/>
                  </a:lnTo>
                  <a:lnTo>
                    <a:pt x="83" y="706"/>
                  </a:lnTo>
                  <a:lnTo>
                    <a:pt x="83" y="706"/>
                  </a:lnTo>
                  <a:lnTo>
                    <a:pt x="81" y="706"/>
                  </a:lnTo>
                  <a:lnTo>
                    <a:pt x="81" y="706"/>
                  </a:lnTo>
                  <a:lnTo>
                    <a:pt x="81" y="706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81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6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3" y="704"/>
                  </a:lnTo>
                  <a:lnTo>
                    <a:pt x="81" y="704"/>
                  </a:lnTo>
                  <a:lnTo>
                    <a:pt x="83" y="702"/>
                  </a:lnTo>
                  <a:lnTo>
                    <a:pt x="83" y="702"/>
                  </a:lnTo>
                  <a:lnTo>
                    <a:pt x="83" y="699"/>
                  </a:lnTo>
                  <a:lnTo>
                    <a:pt x="83" y="699"/>
                  </a:lnTo>
                  <a:lnTo>
                    <a:pt x="81" y="699"/>
                  </a:lnTo>
                  <a:lnTo>
                    <a:pt x="81" y="699"/>
                  </a:lnTo>
                  <a:lnTo>
                    <a:pt x="81" y="699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8" y="699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8" y="697"/>
                  </a:lnTo>
                  <a:lnTo>
                    <a:pt x="78" y="697"/>
                  </a:lnTo>
                  <a:lnTo>
                    <a:pt x="76" y="695"/>
                  </a:lnTo>
                  <a:lnTo>
                    <a:pt x="76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8" y="695"/>
                  </a:lnTo>
                  <a:lnTo>
                    <a:pt x="76" y="695"/>
                  </a:lnTo>
                  <a:lnTo>
                    <a:pt x="76" y="695"/>
                  </a:lnTo>
                  <a:lnTo>
                    <a:pt x="76" y="695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6" y="697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4" y="695"/>
                  </a:lnTo>
                  <a:lnTo>
                    <a:pt x="72" y="695"/>
                  </a:lnTo>
                  <a:lnTo>
                    <a:pt x="72" y="695"/>
                  </a:lnTo>
                  <a:lnTo>
                    <a:pt x="69" y="693"/>
                  </a:lnTo>
                  <a:lnTo>
                    <a:pt x="69" y="693"/>
                  </a:lnTo>
                  <a:lnTo>
                    <a:pt x="67" y="693"/>
                  </a:lnTo>
                  <a:lnTo>
                    <a:pt x="67" y="693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9" y="695"/>
                  </a:lnTo>
                  <a:lnTo>
                    <a:pt x="69" y="695"/>
                  </a:lnTo>
                  <a:lnTo>
                    <a:pt x="72" y="697"/>
                  </a:lnTo>
                  <a:lnTo>
                    <a:pt x="72" y="697"/>
                  </a:lnTo>
                  <a:lnTo>
                    <a:pt x="72" y="697"/>
                  </a:lnTo>
                  <a:lnTo>
                    <a:pt x="72" y="697"/>
                  </a:lnTo>
                  <a:lnTo>
                    <a:pt x="72" y="697"/>
                  </a:lnTo>
                  <a:lnTo>
                    <a:pt x="69" y="697"/>
                  </a:lnTo>
                  <a:lnTo>
                    <a:pt x="69" y="697"/>
                  </a:lnTo>
                  <a:lnTo>
                    <a:pt x="67" y="697"/>
                  </a:lnTo>
                  <a:lnTo>
                    <a:pt x="67" y="697"/>
                  </a:lnTo>
                  <a:lnTo>
                    <a:pt x="67" y="697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7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3" y="695"/>
                  </a:lnTo>
                  <a:lnTo>
                    <a:pt x="65" y="695"/>
                  </a:lnTo>
                  <a:lnTo>
                    <a:pt x="65" y="695"/>
                  </a:lnTo>
                  <a:lnTo>
                    <a:pt x="63" y="695"/>
                  </a:lnTo>
                  <a:lnTo>
                    <a:pt x="63" y="695"/>
                  </a:lnTo>
                  <a:lnTo>
                    <a:pt x="63" y="695"/>
                  </a:lnTo>
                  <a:lnTo>
                    <a:pt x="63" y="695"/>
                  </a:lnTo>
                  <a:lnTo>
                    <a:pt x="60" y="695"/>
                  </a:lnTo>
                  <a:lnTo>
                    <a:pt x="60" y="695"/>
                  </a:lnTo>
                  <a:lnTo>
                    <a:pt x="60" y="693"/>
                  </a:lnTo>
                  <a:lnTo>
                    <a:pt x="60" y="693"/>
                  </a:lnTo>
                  <a:lnTo>
                    <a:pt x="60" y="693"/>
                  </a:lnTo>
                  <a:lnTo>
                    <a:pt x="60" y="693"/>
                  </a:lnTo>
                  <a:lnTo>
                    <a:pt x="60" y="693"/>
                  </a:lnTo>
                  <a:lnTo>
                    <a:pt x="58" y="690"/>
                  </a:lnTo>
                  <a:lnTo>
                    <a:pt x="58" y="690"/>
                  </a:lnTo>
                  <a:lnTo>
                    <a:pt x="58" y="690"/>
                  </a:lnTo>
                  <a:lnTo>
                    <a:pt x="58" y="690"/>
                  </a:lnTo>
                  <a:lnTo>
                    <a:pt x="58" y="690"/>
                  </a:lnTo>
                  <a:lnTo>
                    <a:pt x="58" y="690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60" y="688"/>
                  </a:lnTo>
                  <a:lnTo>
                    <a:pt x="60" y="688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58" y="686"/>
                  </a:lnTo>
                  <a:lnTo>
                    <a:pt x="58" y="686"/>
                  </a:lnTo>
                  <a:lnTo>
                    <a:pt x="58" y="686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58" y="688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1" y="690"/>
                  </a:lnTo>
                  <a:lnTo>
                    <a:pt x="51" y="690"/>
                  </a:lnTo>
                  <a:lnTo>
                    <a:pt x="51" y="690"/>
                  </a:lnTo>
                  <a:lnTo>
                    <a:pt x="51" y="690"/>
                  </a:lnTo>
                  <a:lnTo>
                    <a:pt x="51" y="690"/>
                  </a:lnTo>
                  <a:lnTo>
                    <a:pt x="51" y="690"/>
                  </a:lnTo>
                  <a:lnTo>
                    <a:pt x="51" y="690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49" y="695"/>
                  </a:lnTo>
                  <a:lnTo>
                    <a:pt x="49" y="695"/>
                  </a:lnTo>
                  <a:lnTo>
                    <a:pt x="49" y="695"/>
                  </a:lnTo>
                  <a:lnTo>
                    <a:pt x="49" y="693"/>
                  </a:lnTo>
                  <a:lnTo>
                    <a:pt x="49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3"/>
                  </a:lnTo>
                  <a:lnTo>
                    <a:pt x="51" y="695"/>
                  </a:lnTo>
                  <a:lnTo>
                    <a:pt x="51" y="695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4" y="697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6" y="697"/>
                  </a:lnTo>
                  <a:lnTo>
                    <a:pt x="56" y="697"/>
                  </a:lnTo>
                  <a:lnTo>
                    <a:pt x="56" y="697"/>
                  </a:lnTo>
                  <a:lnTo>
                    <a:pt x="56" y="697"/>
                  </a:lnTo>
                  <a:lnTo>
                    <a:pt x="56" y="697"/>
                  </a:lnTo>
                  <a:lnTo>
                    <a:pt x="54" y="697"/>
                  </a:lnTo>
                  <a:lnTo>
                    <a:pt x="54" y="697"/>
                  </a:lnTo>
                  <a:lnTo>
                    <a:pt x="54" y="697"/>
                  </a:lnTo>
                  <a:lnTo>
                    <a:pt x="51" y="697"/>
                  </a:lnTo>
                  <a:lnTo>
                    <a:pt x="51" y="697"/>
                  </a:lnTo>
                  <a:lnTo>
                    <a:pt x="51" y="697"/>
                  </a:lnTo>
                  <a:lnTo>
                    <a:pt x="51" y="697"/>
                  </a:lnTo>
                  <a:lnTo>
                    <a:pt x="51" y="697"/>
                  </a:lnTo>
                  <a:lnTo>
                    <a:pt x="51" y="697"/>
                  </a:lnTo>
                  <a:lnTo>
                    <a:pt x="49" y="697"/>
                  </a:lnTo>
                  <a:lnTo>
                    <a:pt x="49" y="697"/>
                  </a:lnTo>
                  <a:lnTo>
                    <a:pt x="49" y="697"/>
                  </a:lnTo>
                  <a:lnTo>
                    <a:pt x="49" y="697"/>
                  </a:lnTo>
                  <a:lnTo>
                    <a:pt x="49" y="697"/>
                  </a:lnTo>
                  <a:lnTo>
                    <a:pt x="49" y="695"/>
                  </a:lnTo>
                  <a:lnTo>
                    <a:pt x="49" y="695"/>
                  </a:lnTo>
                  <a:lnTo>
                    <a:pt x="49" y="695"/>
                  </a:lnTo>
                  <a:lnTo>
                    <a:pt x="47" y="695"/>
                  </a:lnTo>
                  <a:lnTo>
                    <a:pt x="47" y="693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7" y="690"/>
                  </a:lnTo>
                  <a:lnTo>
                    <a:pt x="49" y="690"/>
                  </a:lnTo>
                  <a:lnTo>
                    <a:pt x="49" y="690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49" y="688"/>
                  </a:lnTo>
                  <a:lnTo>
                    <a:pt x="51" y="688"/>
                  </a:lnTo>
                  <a:lnTo>
                    <a:pt x="51" y="688"/>
                  </a:lnTo>
                  <a:lnTo>
                    <a:pt x="51" y="686"/>
                  </a:lnTo>
                  <a:lnTo>
                    <a:pt x="51" y="686"/>
                  </a:lnTo>
                  <a:lnTo>
                    <a:pt x="49" y="686"/>
                  </a:lnTo>
                  <a:lnTo>
                    <a:pt x="51" y="686"/>
                  </a:lnTo>
                  <a:lnTo>
                    <a:pt x="51" y="686"/>
                  </a:lnTo>
                  <a:lnTo>
                    <a:pt x="51" y="686"/>
                  </a:lnTo>
                  <a:lnTo>
                    <a:pt x="51" y="686"/>
                  </a:lnTo>
                  <a:lnTo>
                    <a:pt x="51" y="686"/>
                  </a:lnTo>
                  <a:lnTo>
                    <a:pt x="51" y="684"/>
                  </a:lnTo>
                  <a:lnTo>
                    <a:pt x="51" y="684"/>
                  </a:lnTo>
                  <a:lnTo>
                    <a:pt x="51" y="684"/>
                  </a:lnTo>
                  <a:lnTo>
                    <a:pt x="54" y="686"/>
                  </a:lnTo>
                  <a:lnTo>
                    <a:pt x="54" y="686"/>
                  </a:lnTo>
                  <a:lnTo>
                    <a:pt x="54" y="686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6" y="684"/>
                  </a:lnTo>
                  <a:lnTo>
                    <a:pt x="56" y="684"/>
                  </a:lnTo>
                  <a:lnTo>
                    <a:pt x="56" y="684"/>
                  </a:lnTo>
                  <a:lnTo>
                    <a:pt x="56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4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81"/>
                  </a:lnTo>
                  <a:lnTo>
                    <a:pt x="60" y="681"/>
                  </a:lnTo>
                  <a:lnTo>
                    <a:pt x="60" y="681"/>
                  </a:lnTo>
                  <a:lnTo>
                    <a:pt x="60" y="681"/>
                  </a:lnTo>
                  <a:lnTo>
                    <a:pt x="60" y="681"/>
                  </a:lnTo>
                  <a:lnTo>
                    <a:pt x="60" y="681"/>
                  </a:lnTo>
                  <a:lnTo>
                    <a:pt x="60" y="681"/>
                  </a:lnTo>
                  <a:lnTo>
                    <a:pt x="60" y="679"/>
                  </a:lnTo>
                  <a:lnTo>
                    <a:pt x="60" y="679"/>
                  </a:lnTo>
                  <a:lnTo>
                    <a:pt x="60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60" y="677"/>
                  </a:lnTo>
                  <a:lnTo>
                    <a:pt x="60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58" y="675"/>
                  </a:lnTo>
                  <a:lnTo>
                    <a:pt x="58" y="675"/>
                  </a:lnTo>
                  <a:lnTo>
                    <a:pt x="58" y="675"/>
                  </a:lnTo>
                  <a:lnTo>
                    <a:pt x="58" y="675"/>
                  </a:lnTo>
                  <a:lnTo>
                    <a:pt x="58" y="672"/>
                  </a:lnTo>
                  <a:lnTo>
                    <a:pt x="58" y="672"/>
                  </a:lnTo>
                  <a:lnTo>
                    <a:pt x="58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2"/>
                  </a:lnTo>
                  <a:lnTo>
                    <a:pt x="60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5"/>
                  </a:lnTo>
                  <a:lnTo>
                    <a:pt x="63" y="677"/>
                  </a:lnTo>
                  <a:lnTo>
                    <a:pt x="63" y="677"/>
                  </a:lnTo>
                  <a:lnTo>
                    <a:pt x="65" y="677"/>
                  </a:lnTo>
                  <a:lnTo>
                    <a:pt x="65" y="677"/>
                  </a:lnTo>
                  <a:lnTo>
                    <a:pt x="65" y="677"/>
                  </a:lnTo>
                  <a:lnTo>
                    <a:pt x="65" y="677"/>
                  </a:lnTo>
                  <a:lnTo>
                    <a:pt x="65" y="677"/>
                  </a:lnTo>
                  <a:lnTo>
                    <a:pt x="65" y="677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5" y="675"/>
                  </a:lnTo>
                  <a:lnTo>
                    <a:pt x="63" y="675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3" y="672"/>
                  </a:lnTo>
                  <a:lnTo>
                    <a:pt x="65" y="670"/>
                  </a:lnTo>
                  <a:lnTo>
                    <a:pt x="65" y="670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5" y="672"/>
                  </a:lnTo>
                  <a:lnTo>
                    <a:pt x="67" y="670"/>
                  </a:lnTo>
                  <a:lnTo>
                    <a:pt x="67" y="670"/>
                  </a:lnTo>
                  <a:lnTo>
                    <a:pt x="67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9" y="672"/>
                  </a:lnTo>
                  <a:lnTo>
                    <a:pt x="67" y="672"/>
                  </a:lnTo>
                  <a:lnTo>
                    <a:pt x="67" y="672"/>
                  </a:lnTo>
                  <a:lnTo>
                    <a:pt x="69" y="675"/>
                  </a:lnTo>
                  <a:lnTo>
                    <a:pt x="69" y="675"/>
                  </a:lnTo>
                  <a:lnTo>
                    <a:pt x="69" y="675"/>
                  </a:lnTo>
                  <a:lnTo>
                    <a:pt x="69" y="675"/>
                  </a:lnTo>
                  <a:lnTo>
                    <a:pt x="69" y="675"/>
                  </a:lnTo>
                  <a:lnTo>
                    <a:pt x="69" y="675"/>
                  </a:lnTo>
                  <a:lnTo>
                    <a:pt x="69" y="675"/>
                  </a:lnTo>
                  <a:lnTo>
                    <a:pt x="72" y="675"/>
                  </a:lnTo>
                  <a:lnTo>
                    <a:pt x="72" y="675"/>
                  </a:lnTo>
                  <a:lnTo>
                    <a:pt x="72" y="675"/>
                  </a:lnTo>
                  <a:lnTo>
                    <a:pt x="72" y="677"/>
                  </a:lnTo>
                  <a:lnTo>
                    <a:pt x="69" y="677"/>
                  </a:lnTo>
                  <a:lnTo>
                    <a:pt x="69" y="677"/>
                  </a:lnTo>
                  <a:lnTo>
                    <a:pt x="69" y="677"/>
                  </a:lnTo>
                  <a:lnTo>
                    <a:pt x="69" y="677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9"/>
                  </a:lnTo>
                  <a:lnTo>
                    <a:pt x="72" y="679"/>
                  </a:lnTo>
                  <a:lnTo>
                    <a:pt x="72" y="679"/>
                  </a:lnTo>
                  <a:lnTo>
                    <a:pt x="72" y="679"/>
                  </a:lnTo>
                  <a:lnTo>
                    <a:pt x="72" y="679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2" y="675"/>
                  </a:lnTo>
                  <a:lnTo>
                    <a:pt x="72" y="675"/>
                  </a:lnTo>
                  <a:lnTo>
                    <a:pt x="72" y="675"/>
                  </a:lnTo>
                  <a:lnTo>
                    <a:pt x="72" y="677"/>
                  </a:lnTo>
                  <a:lnTo>
                    <a:pt x="72" y="677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4" y="677"/>
                  </a:lnTo>
                  <a:lnTo>
                    <a:pt x="74" y="679"/>
                  </a:lnTo>
                  <a:lnTo>
                    <a:pt x="74" y="679"/>
                  </a:lnTo>
                  <a:lnTo>
                    <a:pt x="74" y="679"/>
                  </a:lnTo>
                  <a:lnTo>
                    <a:pt x="74" y="679"/>
                  </a:lnTo>
                  <a:lnTo>
                    <a:pt x="72" y="681"/>
                  </a:lnTo>
                  <a:lnTo>
                    <a:pt x="69" y="681"/>
                  </a:lnTo>
                  <a:lnTo>
                    <a:pt x="69" y="681"/>
                  </a:lnTo>
                  <a:lnTo>
                    <a:pt x="69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5" y="679"/>
                  </a:lnTo>
                  <a:lnTo>
                    <a:pt x="65" y="679"/>
                  </a:lnTo>
                  <a:lnTo>
                    <a:pt x="65" y="681"/>
                  </a:lnTo>
                  <a:lnTo>
                    <a:pt x="65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7" y="681"/>
                  </a:lnTo>
                  <a:lnTo>
                    <a:pt x="69" y="681"/>
                  </a:lnTo>
                  <a:lnTo>
                    <a:pt x="72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4"/>
                  </a:lnTo>
                  <a:lnTo>
                    <a:pt x="74" y="684"/>
                  </a:lnTo>
                  <a:lnTo>
                    <a:pt x="74" y="684"/>
                  </a:lnTo>
                  <a:lnTo>
                    <a:pt x="74" y="684"/>
                  </a:lnTo>
                  <a:lnTo>
                    <a:pt x="74" y="684"/>
                  </a:lnTo>
                  <a:lnTo>
                    <a:pt x="76" y="684"/>
                  </a:lnTo>
                  <a:lnTo>
                    <a:pt x="76" y="684"/>
                  </a:lnTo>
                  <a:lnTo>
                    <a:pt x="76" y="684"/>
                  </a:lnTo>
                  <a:lnTo>
                    <a:pt x="78" y="684"/>
                  </a:lnTo>
                  <a:lnTo>
                    <a:pt x="78" y="684"/>
                  </a:lnTo>
                  <a:lnTo>
                    <a:pt x="78" y="684"/>
                  </a:lnTo>
                  <a:lnTo>
                    <a:pt x="76" y="681"/>
                  </a:lnTo>
                  <a:lnTo>
                    <a:pt x="76" y="681"/>
                  </a:lnTo>
                  <a:lnTo>
                    <a:pt x="76" y="681"/>
                  </a:lnTo>
                  <a:lnTo>
                    <a:pt x="76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81"/>
                  </a:lnTo>
                  <a:lnTo>
                    <a:pt x="74" y="679"/>
                  </a:lnTo>
                  <a:lnTo>
                    <a:pt x="74" y="679"/>
                  </a:lnTo>
                  <a:lnTo>
                    <a:pt x="74" y="679"/>
                  </a:lnTo>
                  <a:lnTo>
                    <a:pt x="74" y="679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6" y="679"/>
                  </a:lnTo>
                  <a:lnTo>
                    <a:pt x="76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78" y="681"/>
                  </a:lnTo>
                  <a:lnTo>
                    <a:pt x="81" y="684"/>
                  </a:lnTo>
                  <a:lnTo>
                    <a:pt x="81" y="684"/>
                  </a:lnTo>
                  <a:lnTo>
                    <a:pt x="78" y="686"/>
                  </a:lnTo>
                  <a:lnTo>
                    <a:pt x="78" y="686"/>
                  </a:lnTo>
                  <a:lnTo>
                    <a:pt x="78" y="686"/>
                  </a:lnTo>
                  <a:lnTo>
                    <a:pt x="78" y="688"/>
                  </a:lnTo>
                  <a:lnTo>
                    <a:pt x="78" y="688"/>
                  </a:lnTo>
                  <a:lnTo>
                    <a:pt x="78" y="688"/>
                  </a:lnTo>
                  <a:lnTo>
                    <a:pt x="78" y="688"/>
                  </a:lnTo>
                  <a:lnTo>
                    <a:pt x="78" y="690"/>
                  </a:lnTo>
                  <a:lnTo>
                    <a:pt x="78" y="690"/>
                  </a:lnTo>
                  <a:lnTo>
                    <a:pt x="78" y="690"/>
                  </a:lnTo>
                  <a:lnTo>
                    <a:pt x="81" y="690"/>
                  </a:lnTo>
                  <a:lnTo>
                    <a:pt x="81" y="690"/>
                  </a:lnTo>
                  <a:lnTo>
                    <a:pt x="81" y="690"/>
                  </a:lnTo>
                  <a:lnTo>
                    <a:pt x="81" y="690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3" y="688"/>
                  </a:lnTo>
                  <a:lnTo>
                    <a:pt x="83" y="688"/>
                  </a:lnTo>
                  <a:lnTo>
                    <a:pt x="83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8"/>
                  </a:lnTo>
                  <a:lnTo>
                    <a:pt x="81" y="686"/>
                  </a:lnTo>
                  <a:lnTo>
                    <a:pt x="81" y="686"/>
                  </a:lnTo>
                  <a:lnTo>
                    <a:pt x="81" y="684"/>
                  </a:lnTo>
                  <a:lnTo>
                    <a:pt x="83" y="684"/>
                  </a:lnTo>
                  <a:lnTo>
                    <a:pt x="83" y="684"/>
                  </a:lnTo>
                  <a:lnTo>
                    <a:pt x="83" y="684"/>
                  </a:lnTo>
                  <a:lnTo>
                    <a:pt x="83" y="684"/>
                  </a:lnTo>
                  <a:lnTo>
                    <a:pt x="85" y="684"/>
                  </a:lnTo>
                  <a:lnTo>
                    <a:pt x="85" y="684"/>
                  </a:lnTo>
                  <a:lnTo>
                    <a:pt x="85" y="684"/>
                  </a:lnTo>
                  <a:lnTo>
                    <a:pt x="83" y="684"/>
                  </a:lnTo>
                  <a:lnTo>
                    <a:pt x="83" y="684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3" y="679"/>
                  </a:lnTo>
                  <a:lnTo>
                    <a:pt x="83" y="679"/>
                  </a:lnTo>
                  <a:lnTo>
                    <a:pt x="83" y="679"/>
                  </a:lnTo>
                  <a:lnTo>
                    <a:pt x="83" y="679"/>
                  </a:lnTo>
                  <a:lnTo>
                    <a:pt x="85" y="677"/>
                  </a:lnTo>
                  <a:lnTo>
                    <a:pt x="85" y="677"/>
                  </a:lnTo>
                  <a:lnTo>
                    <a:pt x="85" y="677"/>
                  </a:lnTo>
                  <a:lnTo>
                    <a:pt x="85" y="677"/>
                  </a:lnTo>
                  <a:lnTo>
                    <a:pt x="85" y="677"/>
                  </a:lnTo>
                  <a:lnTo>
                    <a:pt x="85" y="677"/>
                  </a:lnTo>
                  <a:lnTo>
                    <a:pt x="83" y="677"/>
                  </a:lnTo>
                  <a:lnTo>
                    <a:pt x="83" y="677"/>
                  </a:lnTo>
                  <a:lnTo>
                    <a:pt x="83" y="677"/>
                  </a:lnTo>
                  <a:lnTo>
                    <a:pt x="83" y="679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3" y="681"/>
                  </a:lnTo>
                  <a:lnTo>
                    <a:pt x="81" y="684"/>
                  </a:lnTo>
                  <a:lnTo>
                    <a:pt x="81" y="684"/>
                  </a:lnTo>
                  <a:lnTo>
                    <a:pt x="81" y="681"/>
                  </a:lnTo>
                  <a:lnTo>
                    <a:pt x="81" y="681"/>
                  </a:lnTo>
                  <a:lnTo>
                    <a:pt x="81" y="681"/>
                  </a:lnTo>
                  <a:lnTo>
                    <a:pt x="81" y="681"/>
                  </a:lnTo>
                  <a:lnTo>
                    <a:pt x="81" y="679"/>
                  </a:lnTo>
                  <a:lnTo>
                    <a:pt x="81" y="679"/>
                  </a:lnTo>
                  <a:lnTo>
                    <a:pt x="81" y="679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78" y="677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5"/>
                  </a:lnTo>
                  <a:lnTo>
                    <a:pt x="78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78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81" y="670"/>
                  </a:lnTo>
                  <a:lnTo>
                    <a:pt x="83" y="668"/>
                  </a:lnTo>
                  <a:lnTo>
                    <a:pt x="85" y="668"/>
                  </a:lnTo>
                  <a:lnTo>
                    <a:pt x="85" y="668"/>
                  </a:lnTo>
                  <a:lnTo>
                    <a:pt x="85" y="668"/>
                  </a:lnTo>
                  <a:lnTo>
                    <a:pt x="85" y="668"/>
                  </a:lnTo>
                  <a:lnTo>
                    <a:pt x="85" y="668"/>
                  </a:lnTo>
                  <a:lnTo>
                    <a:pt x="83" y="668"/>
                  </a:lnTo>
                  <a:lnTo>
                    <a:pt x="83" y="668"/>
                  </a:lnTo>
                  <a:lnTo>
                    <a:pt x="83" y="668"/>
                  </a:lnTo>
                  <a:lnTo>
                    <a:pt x="83" y="668"/>
                  </a:lnTo>
                  <a:lnTo>
                    <a:pt x="83" y="668"/>
                  </a:lnTo>
                  <a:lnTo>
                    <a:pt x="83" y="668"/>
                  </a:lnTo>
                  <a:lnTo>
                    <a:pt x="81" y="668"/>
                  </a:lnTo>
                  <a:lnTo>
                    <a:pt x="81" y="668"/>
                  </a:lnTo>
                  <a:lnTo>
                    <a:pt x="81" y="668"/>
                  </a:lnTo>
                  <a:lnTo>
                    <a:pt x="81" y="668"/>
                  </a:lnTo>
                  <a:lnTo>
                    <a:pt x="81" y="668"/>
                  </a:lnTo>
                  <a:lnTo>
                    <a:pt x="81" y="670"/>
                  </a:lnTo>
                  <a:lnTo>
                    <a:pt x="81" y="670"/>
                  </a:lnTo>
                  <a:lnTo>
                    <a:pt x="81" y="670"/>
                  </a:lnTo>
                  <a:lnTo>
                    <a:pt x="78" y="670"/>
                  </a:lnTo>
                  <a:lnTo>
                    <a:pt x="78" y="670"/>
                  </a:lnTo>
                  <a:lnTo>
                    <a:pt x="78" y="670"/>
                  </a:lnTo>
                  <a:lnTo>
                    <a:pt x="78" y="670"/>
                  </a:lnTo>
                  <a:lnTo>
                    <a:pt x="78" y="670"/>
                  </a:lnTo>
                  <a:lnTo>
                    <a:pt x="78" y="668"/>
                  </a:lnTo>
                  <a:lnTo>
                    <a:pt x="78" y="668"/>
                  </a:lnTo>
                  <a:lnTo>
                    <a:pt x="78" y="666"/>
                  </a:lnTo>
                  <a:lnTo>
                    <a:pt x="78" y="666"/>
                  </a:lnTo>
                  <a:lnTo>
                    <a:pt x="78" y="663"/>
                  </a:lnTo>
                  <a:lnTo>
                    <a:pt x="76" y="663"/>
                  </a:lnTo>
                  <a:lnTo>
                    <a:pt x="76" y="663"/>
                  </a:lnTo>
                  <a:lnTo>
                    <a:pt x="76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78" y="663"/>
                  </a:lnTo>
                  <a:lnTo>
                    <a:pt x="78" y="661"/>
                  </a:lnTo>
                  <a:lnTo>
                    <a:pt x="78" y="661"/>
                  </a:lnTo>
                  <a:lnTo>
                    <a:pt x="78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61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83" y="659"/>
                  </a:lnTo>
                  <a:lnTo>
                    <a:pt x="83" y="661"/>
                  </a:lnTo>
                  <a:lnTo>
                    <a:pt x="83" y="661"/>
                  </a:lnTo>
                  <a:lnTo>
                    <a:pt x="83" y="661"/>
                  </a:lnTo>
                  <a:lnTo>
                    <a:pt x="83" y="661"/>
                  </a:lnTo>
                  <a:lnTo>
                    <a:pt x="83" y="661"/>
                  </a:lnTo>
                  <a:lnTo>
                    <a:pt x="83" y="661"/>
                  </a:lnTo>
                  <a:lnTo>
                    <a:pt x="85" y="661"/>
                  </a:lnTo>
                  <a:lnTo>
                    <a:pt x="85" y="661"/>
                  </a:lnTo>
                  <a:lnTo>
                    <a:pt x="85" y="663"/>
                  </a:lnTo>
                  <a:lnTo>
                    <a:pt x="85" y="663"/>
                  </a:lnTo>
                  <a:lnTo>
                    <a:pt x="87" y="663"/>
                  </a:lnTo>
                  <a:lnTo>
                    <a:pt x="87" y="663"/>
                  </a:lnTo>
                  <a:lnTo>
                    <a:pt x="90" y="663"/>
                  </a:lnTo>
                  <a:lnTo>
                    <a:pt x="90" y="663"/>
                  </a:lnTo>
                  <a:lnTo>
                    <a:pt x="90" y="663"/>
                  </a:lnTo>
                  <a:lnTo>
                    <a:pt x="90" y="663"/>
                  </a:lnTo>
                  <a:lnTo>
                    <a:pt x="90" y="663"/>
                  </a:lnTo>
                  <a:lnTo>
                    <a:pt x="90" y="661"/>
                  </a:lnTo>
                  <a:lnTo>
                    <a:pt x="90" y="661"/>
                  </a:lnTo>
                  <a:lnTo>
                    <a:pt x="90" y="661"/>
                  </a:lnTo>
                  <a:lnTo>
                    <a:pt x="90" y="661"/>
                  </a:lnTo>
                  <a:lnTo>
                    <a:pt x="87" y="661"/>
                  </a:lnTo>
                  <a:lnTo>
                    <a:pt x="87" y="661"/>
                  </a:lnTo>
                  <a:lnTo>
                    <a:pt x="87" y="661"/>
                  </a:lnTo>
                  <a:lnTo>
                    <a:pt x="87" y="661"/>
                  </a:lnTo>
                  <a:lnTo>
                    <a:pt x="87" y="663"/>
                  </a:lnTo>
                  <a:lnTo>
                    <a:pt x="87" y="663"/>
                  </a:lnTo>
                  <a:lnTo>
                    <a:pt x="87" y="661"/>
                  </a:lnTo>
                  <a:lnTo>
                    <a:pt x="85" y="661"/>
                  </a:lnTo>
                  <a:lnTo>
                    <a:pt x="83" y="659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78" y="659"/>
                  </a:lnTo>
                  <a:lnTo>
                    <a:pt x="78" y="659"/>
                  </a:lnTo>
                  <a:lnTo>
                    <a:pt x="78" y="659"/>
                  </a:lnTo>
                  <a:lnTo>
                    <a:pt x="78" y="659"/>
                  </a:lnTo>
                  <a:lnTo>
                    <a:pt x="78" y="659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59"/>
                  </a:lnTo>
                  <a:lnTo>
                    <a:pt x="76" y="657"/>
                  </a:lnTo>
                  <a:lnTo>
                    <a:pt x="76" y="657"/>
                  </a:lnTo>
                  <a:lnTo>
                    <a:pt x="78" y="657"/>
                  </a:lnTo>
                  <a:lnTo>
                    <a:pt x="78" y="657"/>
                  </a:lnTo>
                  <a:lnTo>
                    <a:pt x="78" y="657"/>
                  </a:lnTo>
                  <a:lnTo>
                    <a:pt x="78" y="657"/>
                  </a:lnTo>
                  <a:lnTo>
                    <a:pt x="78" y="657"/>
                  </a:lnTo>
                  <a:lnTo>
                    <a:pt x="78" y="657"/>
                  </a:lnTo>
                  <a:lnTo>
                    <a:pt x="78" y="657"/>
                  </a:lnTo>
                  <a:lnTo>
                    <a:pt x="78" y="654"/>
                  </a:lnTo>
                  <a:lnTo>
                    <a:pt x="78" y="654"/>
                  </a:lnTo>
                  <a:lnTo>
                    <a:pt x="78" y="654"/>
                  </a:lnTo>
                  <a:lnTo>
                    <a:pt x="78" y="654"/>
                  </a:lnTo>
                  <a:lnTo>
                    <a:pt x="78" y="654"/>
                  </a:lnTo>
                  <a:lnTo>
                    <a:pt x="76" y="654"/>
                  </a:lnTo>
                  <a:lnTo>
                    <a:pt x="76" y="654"/>
                  </a:lnTo>
                  <a:lnTo>
                    <a:pt x="76" y="654"/>
                  </a:lnTo>
                  <a:lnTo>
                    <a:pt x="76" y="654"/>
                  </a:lnTo>
                  <a:lnTo>
                    <a:pt x="76" y="654"/>
                  </a:lnTo>
                  <a:lnTo>
                    <a:pt x="76" y="652"/>
                  </a:lnTo>
                  <a:lnTo>
                    <a:pt x="76" y="652"/>
                  </a:lnTo>
                  <a:lnTo>
                    <a:pt x="76" y="652"/>
                  </a:lnTo>
                  <a:lnTo>
                    <a:pt x="76" y="652"/>
                  </a:lnTo>
                  <a:lnTo>
                    <a:pt x="76" y="652"/>
                  </a:lnTo>
                  <a:lnTo>
                    <a:pt x="78" y="652"/>
                  </a:lnTo>
                  <a:lnTo>
                    <a:pt x="78" y="652"/>
                  </a:lnTo>
                  <a:lnTo>
                    <a:pt x="78" y="652"/>
                  </a:lnTo>
                  <a:lnTo>
                    <a:pt x="78" y="652"/>
                  </a:lnTo>
                  <a:lnTo>
                    <a:pt x="78" y="652"/>
                  </a:lnTo>
                  <a:lnTo>
                    <a:pt x="81" y="652"/>
                  </a:lnTo>
                  <a:lnTo>
                    <a:pt x="81" y="652"/>
                  </a:lnTo>
                  <a:lnTo>
                    <a:pt x="81" y="652"/>
                  </a:lnTo>
                  <a:lnTo>
                    <a:pt x="81" y="652"/>
                  </a:lnTo>
                  <a:lnTo>
                    <a:pt x="81" y="650"/>
                  </a:lnTo>
                  <a:lnTo>
                    <a:pt x="83" y="650"/>
                  </a:lnTo>
                  <a:lnTo>
                    <a:pt x="83" y="650"/>
                  </a:lnTo>
                  <a:lnTo>
                    <a:pt x="83" y="650"/>
                  </a:lnTo>
                  <a:lnTo>
                    <a:pt x="83" y="650"/>
                  </a:lnTo>
                  <a:lnTo>
                    <a:pt x="83" y="650"/>
                  </a:lnTo>
                  <a:lnTo>
                    <a:pt x="85" y="648"/>
                  </a:lnTo>
                  <a:lnTo>
                    <a:pt x="85" y="648"/>
                  </a:lnTo>
                  <a:lnTo>
                    <a:pt x="85" y="648"/>
                  </a:lnTo>
                  <a:lnTo>
                    <a:pt x="85" y="648"/>
                  </a:lnTo>
                  <a:lnTo>
                    <a:pt x="87" y="648"/>
                  </a:lnTo>
                  <a:lnTo>
                    <a:pt x="87" y="645"/>
                  </a:lnTo>
                  <a:lnTo>
                    <a:pt x="85" y="645"/>
                  </a:lnTo>
                  <a:lnTo>
                    <a:pt x="85" y="645"/>
                  </a:lnTo>
                  <a:lnTo>
                    <a:pt x="85" y="645"/>
                  </a:lnTo>
                  <a:lnTo>
                    <a:pt x="85" y="645"/>
                  </a:lnTo>
                  <a:lnTo>
                    <a:pt x="85" y="645"/>
                  </a:lnTo>
                  <a:lnTo>
                    <a:pt x="85" y="645"/>
                  </a:lnTo>
                  <a:lnTo>
                    <a:pt x="85" y="643"/>
                  </a:lnTo>
                  <a:lnTo>
                    <a:pt x="85" y="643"/>
                  </a:lnTo>
                  <a:lnTo>
                    <a:pt x="85" y="643"/>
                  </a:lnTo>
                  <a:lnTo>
                    <a:pt x="85" y="643"/>
                  </a:lnTo>
                  <a:lnTo>
                    <a:pt x="85" y="641"/>
                  </a:lnTo>
                  <a:lnTo>
                    <a:pt x="85" y="641"/>
                  </a:lnTo>
                  <a:lnTo>
                    <a:pt x="85" y="641"/>
                  </a:lnTo>
                  <a:lnTo>
                    <a:pt x="87" y="641"/>
                  </a:lnTo>
                  <a:lnTo>
                    <a:pt x="85" y="641"/>
                  </a:lnTo>
                  <a:lnTo>
                    <a:pt x="85" y="639"/>
                  </a:lnTo>
                  <a:lnTo>
                    <a:pt x="85" y="636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39"/>
                  </a:lnTo>
                  <a:lnTo>
                    <a:pt x="85" y="641"/>
                  </a:lnTo>
                  <a:lnTo>
                    <a:pt x="85" y="641"/>
                  </a:lnTo>
                  <a:lnTo>
                    <a:pt x="85" y="641"/>
                  </a:lnTo>
                  <a:lnTo>
                    <a:pt x="85" y="641"/>
                  </a:lnTo>
                  <a:lnTo>
                    <a:pt x="83" y="641"/>
                  </a:lnTo>
                  <a:lnTo>
                    <a:pt x="83" y="641"/>
                  </a:lnTo>
                  <a:lnTo>
                    <a:pt x="83" y="641"/>
                  </a:lnTo>
                  <a:lnTo>
                    <a:pt x="83" y="641"/>
                  </a:lnTo>
                  <a:lnTo>
                    <a:pt x="83" y="639"/>
                  </a:lnTo>
                  <a:lnTo>
                    <a:pt x="83" y="639"/>
                  </a:lnTo>
                  <a:lnTo>
                    <a:pt x="83" y="639"/>
                  </a:lnTo>
                  <a:lnTo>
                    <a:pt x="81" y="639"/>
                  </a:lnTo>
                  <a:lnTo>
                    <a:pt x="81" y="639"/>
                  </a:lnTo>
                  <a:lnTo>
                    <a:pt x="81" y="639"/>
                  </a:lnTo>
                  <a:lnTo>
                    <a:pt x="78" y="639"/>
                  </a:lnTo>
                  <a:lnTo>
                    <a:pt x="78" y="639"/>
                  </a:lnTo>
                  <a:lnTo>
                    <a:pt x="78" y="636"/>
                  </a:lnTo>
                  <a:lnTo>
                    <a:pt x="78" y="636"/>
                  </a:lnTo>
                  <a:lnTo>
                    <a:pt x="78" y="636"/>
                  </a:lnTo>
                  <a:lnTo>
                    <a:pt x="78" y="636"/>
                  </a:lnTo>
                  <a:lnTo>
                    <a:pt x="78" y="636"/>
                  </a:lnTo>
                  <a:lnTo>
                    <a:pt x="76" y="636"/>
                  </a:lnTo>
                  <a:lnTo>
                    <a:pt x="76" y="636"/>
                  </a:lnTo>
                  <a:lnTo>
                    <a:pt x="74" y="636"/>
                  </a:lnTo>
                  <a:lnTo>
                    <a:pt x="74" y="636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4" y="632"/>
                  </a:lnTo>
                  <a:lnTo>
                    <a:pt x="74" y="632"/>
                  </a:lnTo>
                  <a:lnTo>
                    <a:pt x="74" y="634"/>
                  </a:lnTo>
                  <a:lnTo>
                    <a:pt x="74" y="634"/>
                  </a:lnTo>
                  <a:lnTo>
                    <a:pt x="72" y="634"/>
                  </a:lnTo>
                  <a:lnTo>
                    <a:pt x="72" y="634"/>
                  </a:lnTo>
                  <a:lnTo>
                    <a:pt x="72" y="634"/>
                  </a:lnTo>
                  <a:lnTo>
                    <a:pt x="72" y="634"/>
                  </a:lnTo>
                  <a:lnTo>
                    <a:pt x="72" y="634"/>
                  </a:lnTo>
                  <a:lnTo>
                    <a:pt x="69" y="632"/>
                  </a:lnTo>
                  <a:lnTo>
                    <a:pt x="69" y="632"/>
                  </a:lnTo>
                  <a:lnTo>
                    <a:pt x="69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2" y="632"/>
                  </a:lnTo>
                  <a:lnTo>
                    <a:pt x="74" y="632"/>
                  </a:lnTo>
                  <a:lnTo>
                    <a:pt x="74" y="632"/>
                  </a:lnTo>
                  <a:lnTo>
                    <a:pt x="74" y="632"/>
                  </a:lnTo>
                  <a:lnTo>
                    <a:pt x="74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30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7"/>
                  </a:lnTo>
                  <a:lnTo>
                    <a:pt x="72" y="625"/>
                  </a:lnTo>
                  <a:lnTo>
                    <a:pt x="72" y="625"/>
                  </a:lnTo>
                  <a:lnTo>
                    <a:pt x="74" y="625"/>
                  </a:lnTo>
                  <a:lnTo>
                    <a:pt x="72" y="625"/>
                  </a:lnTo>
                  <a:lnTo>
                    <a:pt x="72" y="623"/>
                  </a:lnTo>
                  <a:lnTo>
                    <a:pt x="72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4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5"/>
                  </a:lnTo>
                  <a:lnTo>
                    <a:pt x="76" y="623"/>
                  </a:lnTo>
                  <a:lnTo>
                    <a:pt x="76" y="623"/>
                  </a:lnTo>
                  <a:lnTo>
                    <a:pt x="76" y="623"/>
                  </a:lnTo>
                  <a:lnTo>
                    <a:pt x="76" y="623"/>
                  </a:lnTo>
                  <a:lnTo>
                    <a:pt x="76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4" y="623"/>
                  </a:lnTo>
                  <a:lnTo>
                    <a:pt x="72" y="623"/>
                  </a:lnTo>
                  <a:lnTo>
                    <a:pt x="72" y="623"/>
                  </a:lnTo>
                  <a:lnTo>
                    <a:pt x="72" y="623"/>
                  </a:lnTo>
                  <a:lnTo>
                    <a:pt x="72" y="623"/>
                  </a:lnTo>
                  <a:lnTo>
                    <a:pt x="72" y="623"/>
                  </a:lnTo>
                  <a:lnTo>
                    <a:pt x="72" y="623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4" y="621"/>
                  </a:lnTo>
                  <a:lnTo>
                    <a:pt x="74" y="621"/>
                  </a:lnTo>
                  <a:lnTo>
                    <a:pt x="74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69" y="618"/>
                  </a:lnTo>
                  <a:lnTo>
                    <a:pt x="69" y="618"/>
                  </a:lnTo>
                  <a:lnTo>
                    <a:pt x="69" y="618"/>
                  </a:lnTo>
                  <a:lnTo>
                    <a:pt x="67" y="616"/>
                  </a:lnTo>
                  <a:lnTo>
                    <a:pt x="67" y="616"/>
                  </a:lnTo>
                  <a:lnTo>
                    <a:pt x="67" y="616"/>
                  </a:lnTo>
                  <a:lnTo>
                    <a:pt x="67" y="614"/>
                  </a:lnTo>
                  <a:lnTo>
                    <a:pt x="67" y="614"/>
                  </a:lnTo>
                  <a:lnTo>
                    <a:pt x="67" y="614"/>
                  </a:lnTo>
                  <a:lnTo>
                    <a:pt x="67" y="612"/>
                  </a:lnTo>
                  <a:lnTo>
                    <a:pt x="69" y="612"/>
                  </a:lnTo>
                  <a:lnTo>
                    <a:pt x="69" y="612"/>
                  </a:lnTo>
                  <a:lnTo>
                    <a:pt x="69" y="612"/>
                  </a:lnTo>
                  <a:lnTo>
                    <a:pt x="69" y="612"/>
                  </a:lnTo>
                  <a:lnTo>
                    <a:pt x="69" y="609"/>
                  </a:lnTo>
                  <a:lnTo>
                    <a:pt x="69" y="609"/>
                  </a:lnTo>
                  <a:lnTo>
                    <a:pt x="69" y="609"/>
                  </a:lnTo>
                  <a:lnTo>
                    <a:pt x="69" y="607"/>
                  </a:lnTo>
                  <a:lnTo>
                    <a:pt x="69" y="607"/>
                  </a:lnTo>
                  <a:lnTo>
                    <a:pt x="69" y="607"/>
                  </a:lnTo>
                  <a:lnTo>
                    <a:pt x="69" y="607"/>
                  </a:lnTo>
                  <a:lnTo>
                    <a:pt x="69" y="607"/>
                  </a:lnTo>
                  <a:lnTo>
                    <a:pt x="69" y="605"/>
                  </a:lnTo>
                  <a:lnTo>
                    <a:pt x="69" y="607"/>
                  </a:lnTo>
                  <a:lnTo>
                    <a:pt x="72" y="607"/>
                  </a:lnTo>
                  <a:lnTo>
                    <a:pt x="72" y="607"/>
                  </a:lnTo>
                  <a:lnTo>
                    <a:pt x="72" y="607"/>
                  </a:lnTo>
                  <a:lnTo>
                    <a:pt x="72" y="607"/>
                  </a:lnTo>
                  <a:lnTo>
                    <a:pt x="72" y="607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69" y="603"/>
                  </a:lnTo>
                  <a:lnTo>
                    <a:pt x="69" y="603"/>
                  </a:lnTo>
                  <a:lnTo>
                    <a:pt x="69" y="603"/>
                  </a:lnTo>
                  <a:lnTo>
                    <a:pt x="67" y="600"/>
                  </a:lnTo>
                  <a:lnTo>
                    <a:pt x="67" y="600"/>
                  </a:lnTo>
                  <a:lnTo>
                    <a:pt x="67" y="600"/>
                  </a:lnTo>
                  <a:lnTo>
                    <a:pt x="67" y="600"/>
                  </a:lnTo>
                  <a:lnTo>
                    <a:pt x="67" y="600"/>
                  </a:lnTo>
                  <a:lnTo>
                    <a:pt x="67" y="598"/>
                  </a:lnTo>
                  <a:lnTo>
                    <a:pt x="67" y="598"/>
                  </a:lnTo>
                  <a:lnTo>
                    <a:pt x="67" y="598"/>
                  </a:lnTo>
                  <a:lnTo>
                    <a:pt x="67" y="598"/>
                  </a:lnTo>
                  <a:lnTo>
                    <a:pt x="67" y="598"/>
                  </a:lnTo>
                  <a:lnTo>
                    <a:pt x="67" y="598"/>
                  </a:lnTo>
                  <a:lnTo>
                    <a:pt x="67" y="598"/>
                  </a:lnTo>
                  <a:lnTo>
                    <a:pt x="67" y="596"/>
                  </a:lnTo>
                  <a:lnTo>
                    <a:pt x="65" y="596"/>
                  </a:lnTo>
                  <a:lnTo>
                    <a:pt x="65" y="596"/>
                  </a:lnTo>
                  <a:lnTo>
                    <a:pt x="65" y="594"/>
                  </a:lnTo>
                  <a:lnTo>
                    <a:pt x="67" y="594"/>
                  </a:lnTo>
                  <a:lnTo>
                    <a:pt x="67" y="594"/>
                  </a:lnTo>
                  <a:lnTo>
                    <a:pt x="67" y="594"/>
                  </a:lnTo>
                  <a:lnTo>
                    <a:pt x="67" y="594"/>
                  </a:lnTo>
                  <a:lnTo>
                    <a:pt x="69" y="594"/>
                  </a:lnTo>
                  <a:lnTo>
                    <a:pt x="69" y="594"/>
                  </a:lnTo>
                  <a:lnTo>
                    <a:pt x="69" y="594"/>
                  </a:lnTo>
                  <a:lnTo>
                    <a:pt x="69" y="596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69" y="594"/>
                  </a:lnTo>
                  <a:lnTo>
                    <a:pt x="69" y="594"/>
                  </a:lnTo>
                  <a:lnTo>
                    <a:pt x="69" y="594"/>
                  </a:lnTo>
                  <a:lnTo>
                    <a:pt x="67" y="591"/>
                  </a:lnTo>
                  <a:lnTo>
                    <a:pt x="67" y="591"/>
                  </a:lnTo>
                  <a:lnTo>
                    <a:pt x="67" y="591"/>
                  </a:lnTo>
                  <a:lnTo>
                    <a:pt x="67" y="591"/>
                  </a:lnTo>
                  <a:lnTo>
                    <a:pt x="67" y="591"/>
                  </a:lnTo>
                  <a:lnTo>
                    <a:pt x="67" y="591"/>
                  </a:lnTo>
                  <a:lnTo>
                    <a:pt x="67" y="591"/>
                  </a:lnTo>
                  <a:lnTo>
                    <a:pt x="65" y="591"/>
                  </a:lnTo>
                  <a:lnTo>
                    <a:pt x="65" y="589"/>
                  </a:lnTo>
                  <a:lnTo>
                    <a:pt x="65" y="589"/>
                  </a:lnTo>
                  <a:lnTo>
                    <a:pt x="65" y="589"/>
                  </a:lnTo>
                  <a:lnTo>
                    <a:pt x="65" y="589"/>
                  </a:lnTo>
                  <a:lnTo>
                    <a:pt x="65" y="589"/>
                  </a:lnTo>
                  <a:lnTo>
                    <a:pt x="65" y="589"/>
                  </a:lnTo>
                  <a:lnTo>
                    <a:pt x="65" y="587"/>
                  </a:lnTo>
                  <a:lnTo>
                    <a:pt x="65" y="587"/>
                  </a:lnTo>
                  <a:lnTo>
                    <a:pt x="67" y="587"/>
                  </a:lnTo>
                  <a:lnTo>
                    <a:pt x="67" y="587"/>
                  </a:lnTo>
                  <a:lnTo>
                    <a:pt x="67" y="587"/>
                  </a:lnTo>
                  <a:lnTo>
                    <a:pt x="69" y="587"/>
                  </a:lnTo>
                  <a:lnTo>
                    <a:pt x="69" y="587"/>
                  </a:lnTo>
                  <a:lnTo>
                    <a:pt x="72" y="594"/>
                  </a:lnTo>
                  <a:lnTo>
                    <a:pt x="74" y="594"/>
                  </a:lnTo>
                  <a:lnTo>
                    <a:pt x="74" y="594"/>
                  </a:lnTo>
                  <a:lnTo>
                    <a:pt x="74" y="594"/>
                  </a:lnTo>
                  <a:lnTo>
                    <a:pt x="74" y="591"/>
                  </a:lnTo>
                  <a:lnTo>
                    <a:pt x="72" y="591"/>
                  </a:lnTo>
                  <a:lnTo>
                    <a:pt x="72" y="589"/>
                  </a:lnTo>
                  <a:lnTo>
                    <a:pt x="72" y="589"/>
                  </a:lnTo>
                  <a:lnTo>
                    <a:pt x="72" y="589"/>
                  </a:lnTo>
                  <a:lnTo>
                    <a:pt x="72" y="589"/>
                  </a:lnTo>
                  <a:lnTo>
                    <a:pt x="72" y="589"/>
                  </a:lnTo>
                  <a:lnTo>
                    <a:pt x="72" y="589"/>
                  </a:lnTo>
                  <a:lnTo>
                    <a:pt x="72" y="589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69" y="587"/>
                  </a:lnTo>
                  <a:lnTo>
                    <a:pt x="69" y="587"/>
                  </a:lnTo>
                  <a:lnTo>
                    <a:pt x="69" y="587"/>
                  </a:lnTo>
                  <a:lnTo>
                    <a:pt x="72" y="587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5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69" y="582"/>
                  </a:lnTo>
                  <a:lnTo>
                    <a:pt x="67" y="580"/>
                  </a:lnTo>
                  <a:lnTo>
                    <a:pt x="67" y="582"/>
                  </a:lnTo>
                  <a:lnTo>
                    <a:pt x="67" y="582"/>
                  </a:lnTo>
                  <a:lnTo>
                    <a:pt x="67" y="582"/>
                  </a:lnTo>
                  <a:lnTo>
                    <a:pt x="67" y="582"/>
                  </a:lnTo>
                  <a:lnTo>
                    <a:pt x="67" y="582"/>
                  </a:lnTo>
                  <a:lnTo>
                    <a:pt x="67" y="582"/>
                  </a:lnTo>
                  <a:lnTo>
                    <a:pt x="65" y="582"/>
                  </a:lnTo>
                  <a:lnTo>
                    <a:pt x="65" y="582"/>
                  </a:lnTo>
                  <a:lnTo>
                    <a:pt x="65" y="582"/>
                  </a:lnTo>
                  <a:lnTo>
                    <a:pt x="65" y="582"/>
                  </a:lnTo>
                  <a:lnTo>
                    <a:pt x="65" y="582"/>
                  </a:lnTo>
                  <a:lnTo>
                    <a:pt x="65" y="582"/>
                  </a:lnTo>
                  <a:lnTo>
                    <a:pt x="65" y="582"/>
                  </a:lnTo>
                  <a:lnTo>
                    <a:pt x="63" y="582"/>
                  </a:lnTo>
                  <a:lnTo>
                    <a:pt x="63" y="582"/>
                  </a:lnTo>
                  <a:lnTo>
                    <a:pt x="63" y="582"/>
                  </a:lnTo>
                  <a:lnTo>
                    <a:pt x="63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80"/>
                  </a:lnTo>
                  <a:lnTo>
                    <a:pt x="60" y="578"/>
                  </a:lnTo>
                  <a:lnTo>
                    <a:pt x="60" y="578"/>
                  </a:lnTo>
                  <a:lnTo>
                    <a:pt x="60" y="578"/>
                  </a:lnTo>
                  <a:lnTo>
                    <a:pt x="63" y="578"/>
                  </a:lnTo>
                  <a:lnTo>
                    <a:pt x="63" y="578"/>
                  </a:lnTo>
                  <a:lnTo>
                    <a:pt x="63" y="576"/>
                  </a:lnTo>
                  <a:lnTo>
                    <a:pt x="63" y="576"/>
                  </a:lnTo>
                  <a:lnTo>
                    <a:pt x="63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7" y="576"/>
                  </a:lnTo>
                  <a:lnTo>
                    <a:pt x="67" y="576"/>
                  </a:lnTo>
                  <a:lnTo>
                    <a:pt x="67" y="576"/>
                  </a:lnTo>
                  <a:lnTo>
                    <a:pt x="67" y="576"/>
                  </a:lnTo>
                  <a:lnTo>
                    <a:pt x="67" y="576"/>
                  </a:lnTo>
                  <a:lnTo>
                    <a:pt x="67" y="576"/>
                  </a:lnTo>
                  <a:lnTo>
                    <a:pt x="67" y="573"/>
                  </a:lnTo>
                  <a:lnTo>
                    <a:pt x="67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3"/>
                  </a:lnTo>
                  <a:lnTo>
                    <a:pt x="69" y="571"/>
                  </a:lnTo>
                  <a:lnTo>
                    <a:pt x="69" y="571"/>
                  </a:lnTo>
                  <a:lnTo>
                    <a:pt x="69" y="571"/>
                  </a:lnTo>
                  <a:lnTo>
                    <a:pt x="69" y="571"/>
                  </a:lnTo>
                  <a:lnTo>
                    <a:pt x="69" y="571"/>
                  </a:lnTo>
                  <a:lnTo>
                    <a:pt x="69" y="571"/>
                  </a:lnTo>
                  <a:lnTo>
                    <a:pt x="69" y="571"/>
                  </a:lnTo>
                  <a:lnTo>
                    <a:pt x="67" y="571"/>
                  </a:lnTo>
                  <a:lnTo>
                    <a:pt x="67" y="571"/>
                  </a:lnTo>
                  <a:lnTo>
                    <a:pt x="67" y="569"/>
                  </a:lnTo>
                  <a:lnTo>
                    <a:pt x="67" y="569"/>
                  </a:lnTo>
                  <a:lnTo>
                    <a:pt x="67" y="567"/>
                  </a:lnTo>
                  <a:lnTo>
                    <a:pt x="67" y="567"/>
                  </a:lnTo>
                  <a:lnTo>
                    <a:pt x="67" y="567"/>
                  </a:lnTo>
                  <a:lnTo>
                    <a:pt x="67" y="569"/>
                  </a:lnTo>
                  <a:lnTo>
                    <a:pt x="67" y="569"/>
                  </a:lnTo>
                  <a:lnTo>
                    <a:pt x="67" y="569"/>
                  </a:lnTo>
                  <a:lnTo>
                    <a:pt x="67" y="569"/>
                  </a:lnTo>
                  <a:lnTo>
                    <a:pt x="67" y="569"/>
                  </a:lnTo>
                  <a:lnTo>
                    <a:pt x="67" y="573"/>
                  </a:lnTo>
                  <a:lnTo>
                    <a:pt x="67" y="573"/>
                  </a:lnTo>
                  <a:lnTo>
                    <a:pt x="67" y="573"/>
                  </a:lnTo>
                  <a:lnTo>
                    <a:pt x="67" y="573"/>
                  </a:lnTo>
                  <a:lnTo>
                    <a:pt x="67" y="573"/>
                  </a:lnTo>
                  <a:lnTo>
                    <a:pt x="67" y="573"/>
                  </a:lnTo>
                  <a:lnTo>
                    <a:pt x="67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5" y="576"/>
                  </a:lnTo>
                  <a:lnTo>
                    <a:pt x="63" y="576"/>
                  </a:lnTo>
                  <a:lnTo>
                    <a:pt x="63" y="576"/>
                  </a:lnTo>
                  <a:lnTo>
                    <a:pt x="63" y="576"/>
                  </a:lnTo>
                  <a:lnTo>
                    <a:pt x="63" y="573"/>
                  </a:lnTo>
                  <a:lnTo>
                    <a:pt x="63" y="573"/>
                  </a:lnTo>
                  <a:lnTo>
                    <a:pt x="60" y="573"/>
                  </a:lnTo>
                  <a:lnTo>
                    <a:pt x="60" y="573"/>
                  </a:lnTo>
                  <a:lnTo>
                    <a:pt x="60" y="573"/>
                  </a:lnTo>
                  <a:lnTo>
                    <a:pt x="60" y="571"/>
                  </a:lnTo>
                  <a:lnTo>
                    <a:pt x="60" y="571"/>
                  </a:lnTo>
                  <a:lnTo>
                    <a:pt x="60" y="571"/>
                  </a:lnTo>
                  <a:lnTo>
                    <a:pt x="58" y="571"/>
                  </a:lnTo>
                  <a:lnTo>
                    <a:pt x="58" y="571"/>
                  </a:lnTo>
                  <a:lnTo>
                    <a:pt x="58" y="571"/>
                  </a:lnTo>
                  <a:lnTo>
                    <a:pt x="58" y="571"/>
                  </a:lnTo>
                  <a:lnTo>
                    <a:pt x="58" y="571"/>
                  </a:lnTo>
                  <a:lnTo>
                    <a:pt x="58" y="571"/>
                  </a:lnTo>
                  <a:lnTo>
                    <a:pt x="58" y="571"/>
                  </a:lnTo>
                  <a:lnTo>
                    <a:pt x="56" y="571"/>
                  </a:lnTo>
                  <a:lnTo>
                    <a:pt x="56" y="571"/>
                  </a:lnTo>
                  <a:lnTo>
                    <a:pt x="56" y="571"/>
                  </a:lnTo>
                  <a:lnTo>
                    <a:pt x="56" y="571"/>
                  </a:lnTo>
                  <a:lnTo>
                    <a:pt x="56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1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4" y="573"/>
                  </a:lnTo>
                  <a:lnTo>
                    <a:pt x="56" y="573"/>
                  </a:lnTo>
                  <a:lnTo>
                    <a:pt x="56" y="576"/>
                  </a:lnTo>
                  <a:lnTo>
                    <a:pt x="56" y="576"/>
                  </a:lnTo>
                  <a:lnTo>
                    <a:pt x="56" y="576"/>
                  </a:lnTo>
                  <a:lnTo>
                    <a:pt x="56" y="576"/>
                  </a:lnTo>
                  <a:lnTo>
                    <a:pt x="56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1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9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7" y="578"/>
                  </a:lnTo>
                  <a:lnTo>
                    <a:pt x="45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6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5" y="573"/>
                  </a:lnTo>
                  <a:lnTo>
                    <a:pt x="45" y="573"/>
                  </a:lnTo>
                  <a:lnTo>
                    <a:pt x="45" y="573"/>
                  </a:lnTo>
                  <a:lnTo>
                    <a:pt x="45" y="573"/>
                  </a:lnTo>
                  <a:lnTo>
                    <a:pt x="45" y="571"/>
                  </a:lnTo>
                  <a:lnTo>
                    <a:pt x="45" y="571"/>
                  </a:lnTo>
                  <a:lnTo>
                    <a:pt x="45" y="571"/>
                  </a:lnTo>
                  <a:lnTo>
                    <a:pt x="45" y="571"/>
                  </a:lnTo>
                  <a:lnTo>
                    <a:pt x="45" y="571"/>
                  </a:lnTo>
                  <a:lnTo>
                    <a:pt x="45" y="573"/>
                  </a:lnTo>
                  <a:lnTo>
                    <a:pt x="45" y="573"/>
                  </a:lnTo>
                  <a:lnTo>
                    <a:pt x="45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3" y="573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40" y="571"/>
                  </a:lnTo>
                  <a:lnTo>
                    <a:pt x="38" y="571"/>
                  </a:lnTo>
                  <a:lnTo>
                    <a:pt x="38" y="569"/>
                  </a:lnTo>
                  <a:lnTo>
                    <a:pt x="38" y="569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36" y="564"/>
                  </a:lnTo>
                  <a:lnTo>
                    <a:pt x="36" y="564"/>
                  </a:lnTo>
                  <a:lnTo>
                    <a:pt x="36" y="564"/>
                  </a:lnTo>
                  <a:lnTo>
                    <a:pt x="34" y="562"/>
                  </a:lnTo>
                  <a:lnTo>
                    <a:pt x="34" y="562"/>
                  </a:lnTo>
                  <a:lnTo>
                    <a:pt x="34" y="562"/>
                  </a:lnTo>
                  <a:lnTo>
                    <a:pt x="34" y="562"/>
                  </a:lnTo>
                  <a:lnTo>
                    <a:pt x="34" y="562"/>
                  </a:lnTo>
                  <a:lnTo>
                    <a:pt x="34" y="562"/>
                  </a:lnTo>
                  <a:lnTo>
                    <a:pt x="34" y="560"/>
                  </a:lnTo>
                  <a:lnTo>
                    <a:pt x="31" y="558"/>
                  </a:lnTo>
                  <a:lnTo>
                    <a:pt x="31" y="558"/>
                  </a:lnTo>
                  <a:lnTo>
                    <a:pt x="31" y="558"/>
                  </a:lnTo>
                  <a:lnTo>
                    <a:pt x="34" y="558"/>
                  </a:lnTo>
                  <a:lnTo>
                    <a:pt x="34" y="555"/>
                  </a:lnTo>
                  <a:lnTo>
                    <a:pt x="34" y="555"/>
                  </a:lnTo>
                  <a:lnTo>
                    <a:pt x="34" y="555"/>
                  </a:lnTo>
                  <a:lnTo>
                    <a:pt x="34" y="555"/>
                  </a:lnTo>
                  <a:lnTo>
                    <a:pt x="34" y="555"/>
                  </a:lnTo>
                  <a:lnTo>
                    <a:pt x="34" y="555"/>
                  </a:lnTo>
                  <a:lnTo>
                    <a:pt x="34" y="555"/>
                  </a:lnTo>
                  <a:lnTo>
                    <a:pt x="31" y="555"/>
                  </a:lnTo>
                  <a:lnTo>
                    <a:pt x="31" y="555"/>
                  </a:lnTo>
                  <a:lnTo>
                    <a:pt x="31" y="555"/>
                  </a:lnTo>
                  <a:lnTo>
                    <a:pt x="31" y="553"/>
                  </a:lnTo>
                  <a:lnTo>
                    <a:pt x="31" y="553"/>
                  </a:lnTo>
                  <a:lnTo>
                    <a:pt x="34" y="553"/>
                  </a:lnTo>
                  <a:lnTo>
                    <a:pt x="34" y="551"/>
                  </a:lnTo>
                  <a:lnTo>
                    <a:pt x="34" y="551"/>
                  </a:lnTo>
                  <a:lnTo>
                    <a:pt x="34" y="551"/>
                  </a:lnTo>
                  <a:lnTo>
                    <a:pt x="31" y="551"/>
                  </a:lnTo>
                  <a:lnTo>
                    <a:pt x="31" y="551"/>
                  </a:lnTo>
                  <a:lnTo>
                    <a:pt x="31" y="549"/>
                  </a:lnTo>
                  <a:lnTo>
                    <a:pt x="34" y="549"/>
                  </a:lnTo>
                  <a:lnTo>
                    <a:pt x="34" y="549"/>
                  </a:lnTo>
                  <a:lnTo>
                    <a:pt x="34" y="549"/>
                  </a:lnTo>
                  <a:lnTo>
                    <a:pt x="34" y="549"/>
                  </a:lnTo>
                  <a:lnTo>
                    <a:pt x="34" y="546"/>
                  </a:lnTo>
                  <a:lnTo>
                    <a:pt x="34" y="546"/>
                  </a:lnTo>
                  <a:lnTo>
                    <a:pt x="34" y="546"/>
                  </a:lnTo>
                  <a:lnTo>
                    <a:pt x="34" y="546"/>
                  </a:lnTo>
                  <a:lnTo>
                    <a:pt x="34" y="546"/>
                  </a:lnTo>
                  <a:lnTo>
                    <a:pt x="34" y="546"/>
                  </a:lnTo>
                  <a:lnTo>
                    <a:pt x="31" y="546"/>
                  </a:lnTo>
                  <a:lnTo>
                    <a:pt x="31" y="546"/>
                  </a:lnTo>
                  <a:lnTo>
                    <a:pt x="31" y="544"/>
                  </a:lnTo>
                  <a:lnTo>
                    <a:pt x="31" y="544"/>
                  </a:lnTo>
                  <a:lnTo>
                    <a:pt x="31" y="544"/>
                  </a:lnTo>
                  <a:lnTo>
                    <a:pt x="31" y="544"/>
                  </a:lnTo>
                  <a:lnTo>
                    <a:pt x="31" y="544"/>
                  </a:lnTo>
                  <a:lnTo>
                    <a:pt x="31" y="542"/>
                  </a:lnTo>
                  <a:lnTo>
                    <a:pt x="31" y="542"/>
                  </a:lnTo>
                  <a:lnTo>
                    <a:pt x="31" y="542"/>
                  </a:lnTo>
                  <a:lnTo>
                    <a:pt x="31" y="542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40"/>
                  </a:lnTo>
                  <a:lnTo>
                    <a:pt x="31" y="537"/>
                  </a:lnTo>
                  <a:lnTo>
                    <a:pt x="31" y="537"/>
                  </a:lnTo>
                  <a:lnTo>
                    <a:pt x="31" y="537"/>
                  </a:lnTo>
                  <a:lnTo>
                    <a:pt x="31" y="537"/>
                  </a:lnTo>
                  <a:lnTo>
                    <a:pt x="31" y="537"/>
                  </a:lnTo>
                  <a:lnTo>
                    <a:pt x="31" y="537"/>
                  </a:lnTo>
                  <a:lnTo>
                    <a:pt x="31" y="537"/>
                  </a:lnTo>
                  <a:lnTo>
                    <a:pt x="31" y="535"/>
                  </a:lnTo>
                  <a:lnTo>
                    <a:pt x="31" y="535"/>
                  </a:lnTo>
                  <a:lnTo>
                    <a:pt x="31" y="535"/>
                  </a:lnTo>
                  <a:lnTo>
                    <a:pt x="29" y="535"/>
                  </a:lnTo>
                  <a:lnTo>
                    <a:pt x="29" y="535"/>
                  </a:lnTo>
                  <a:lnTo>
                    <a:pt x="31" y="535"/>
                  </a:lnTo>
                  <a:lnTo>
                    <a:pt x="31" y="533"/>
                  </a:lnTo>
                  <a:lnTo>
                    <a:pt x="31" y="533"/>
                  </a:lnTo>
                  <a:lnTo>
                    <a:pt x="31" y="533"/>
                  </a:lnTo>
                  <a:lnTo>
                    <a:pt x="31" y="533"/>
                  </a:lnTo>
                  <a:lnTo>
                    <a:pt x="31" y="533"/>
                  </a:lnTo>
                  <a:lnTo>
                    <a:pt x="31" y="533"/>
                  </a:lnTo>
                  <a:lnTo>
                    <a:pt x="34" y="533"/>
                  </a:lnTo>
                  <a:lnTo>
                    <a:pt x="34" y="533"/>
                  </a:lnTo>
                  <a:lnTo>
                    <a:pt x="34" y="533"/>
                  </a:lnTo>
                  <a:lnTo>
                    <a:pt x="34" y="531"/>
                  </a:lnTo>
                  <a:lnTo>
                    <a:pt x="34" y="531"/>
                  </a:lnTo>
                  <a:lnTo>
                    <a:pt x="34" y="531"/>
                  </a:lnTo>
                  <a:lnTo>
                    <a:pt x="34" y="531"/>
                  </a:lnTo>
                  <a:lnTo>
                    <a:pt x="34" y="531"/>
                  </a:lnTo>
                  <a:lnTo>
                    <a:pt x="36" y="531"/>
                  </a:lnTo>
                  <a:lnTo>
                    <a:pt x="36" y="531"/>
                  </a:lnTo>
                  <a:lnTo>
                    <a:pt x="36" y="531"/>
                  </a:lnTo>
                  <a:lnTo>
                    <a:pt x="36" y="533"/>
                  </a:lnTo>
                  <a:lnTo>
                    <a:pt x="36" y="533"/>
                  </a:lnTo>
                  <a:lnTo>
                    <a:pt x="36" y="533"/>
                  </a:lnTo>
                  <a:lnTo>
                    <a:pt x="36" y="533"/>
                  </a:lnTo>
                  <a:lnTo>
                    <a:pt x="36" y="533"/>
                  </a:lnTo>
                  <a:lnTo>
                    <a:pt x="36" y="531"/>
                  </a:lnTo>
                  <a:lnTo>
                    <a:pt x="36" y="531"/>
                  </a:lnTo>
                  <a:lnTo>
                    <a:pt x="36" y="531"/>
                  </a:lnTo>
                  <a:lnTo>
                    <a:pt x="36" y="531"/>
                  </a:lnTo>
                  <a:lnTo>
                    <a:pt x="36" y="531"/>
                  </a:lnTo>
                  <a:lnTo>
                    <a:pt x="36" y="528"/>
                  </a:lnTo>
                  <a:lnTo>
                    <a:pt x="36" y="528"/>
                  </a:lnTo>
                  <a:lnTo>
                    <a:pt x="36" y="528"/>
                  </a:lnTo>
                  <a:lnTo>
                    <a:pt x="34" y="528"/>
                  </a:lnTo>
                  <a:lnTo>
                    <a:pt x="34" y="528"/>
                  </a:lnTo>
                  <a:lnTo>
                    <a:pt x="34" y="528"/>
                  </a:lnTo>
                  <a:lnTo>
                    <a:pt x="36" y="526"/>
                  </a:lnTo>
                  <a:lnTo>
                    <a:pt x="36" y="526"/>
                  </a:lnTo>
                  <a:lnTo>
                    <a:pt x="36" y="526"/>
                  </a:lnTo>
                  <a:lnTo>
                    <a:pt x="36" y="526"/>
                  </a:lnTo>
                  <a:lnTo>
                    <a:pt x="36" y="526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4"/>
                  </a:lnTo>
                  <a:lnTo>
                    <a:pt x="36" y="522"/>
                  </a:lnTo>
                  <a:lnTo>
                    <a:pt x="36" y="522"/>
                  </a:lnTo>
                  <a:lnTo>
                    <a:pt x="36" y="522"/>
                  </a:lnTo>
                  <a:lnTo>
                    <a:pt x="36" y="522"/>
                  </a:lnTo>
                  <a:lnTo>
                    <a:pt x="36" y="522"/>
                  </a:lnTo>
                  <a:lnTo>
                    <a:pt x="36" y="519"/>
                  </a:lnTo>
                  <a:lnTo>
                    <a:pt x="36" y="519"/>
                  </a:lnTo>
                  <a:lnTo>
                    <a:pt x="36" y="519"/>
                  </a:lnTo>
                  <a:lnTo>
                    <a:pt x="36" y="519"/>
                  </a:lnTo>
                  <a:lnTo>
                    <a:pt x="36" y="519"/>
                  </a:lnTo>
                  <a:lnTo>
                    <a:pt x="36" y="519"/>
                  </a:lnTo>
                  <a:lnTo>
                    <a:pt x="36" y="519"/>
                  </a:lnTo>
                  <a:lnTo>
                    <a:pt x="34" y="517"/>
                  </a:lnTo>
                  <a:lnTo>
                    <a:pt x="34" y="517"/>
                  </a:lnTo>
                  <a:lnTo>
                    <a:pt x="34" y="517"/>
                  </a:lnTo>
                  <a:lnTo>
                    <a:pt x="34" y="515"/>
                  </a:lnTo>
                  <a:lnTo>
                    <a:pt x="34" y="515"/>
                  </a:lnTo>
                  <a:lnTo>
                    <a:pt x="34" y="517"/>
                  </a:lnTo>
                  <a:lnTo>
                    <a:pt x="34" y="517"/>
                  </a:lnTo>
                  <a:lnTo>
                    <a:pt x="34" y="517"/>
                  </a:lnTo>
                  <a:lnTo>
                    <a:pt x="34" y="515"/>
                  </a:lnTo>
                  <a:lnTo>
                    <a:pt x="34" y="515"/>
                  </a:lnTo>
                  <a:lnTo>
                    <a:pt x="31" y="513"/>
                  </a:lnTo>
                  <a:lnTo>
                    <a:pt x="29" y="508"/>
                  </a:lnTo>
                  <a:lnTo>
                    <a:pt x="27" y="504"/>
                  </a:lnTo>
                  <a:lnTo>
                    <a:pt x="27" y="504"/>
                  </a:lnTo>
                  <a:lnTo>
                    <a:pt x="27" y="506"/>
                  </a:lnTo>
                  <a:lnTo>
                    <a:pt x="27" y="506"/>
                  </a:lnTo>
                  <a:lnTo>
                    <a:pt x="27" y="506"/>
                  </a:lnTo>
                  <a:lnTo>
                    <a:pt x="27" y="506"/>
                  </a:lnTo>
                  <a:lnTo>
                    <a:pt x="27" y="506"/>
                  </a:lnTo>
                  <a:lnTo>
                    <a:pt x="27" y="504"/>
                  </a:lnTo>
                  <a:lnTo>
                    <a:pt x="27" y="504"/>
                  </a:lnTo>
                  <a:lnTo>
                    <a:pt x="27" y="504"/>
                  </a:lnTo>
                  <a:lnTo>
                    <a:pt x="25" y="504"/>
                  </a:lnTo>
                  <a:lnTo>
                    <a:pt x="25" y="501"/>
                  </a:lnTo>
                  <a:lnTo>
                    <a:pt x="25" y="499"/>
                  </a:lnTo>
                  <a:lnTo>
                    <a:pt x="25" y="499"/>
                  </a:lnTo>
                  <a:lnTo>
                    <a:pt x="22" y="499"/>
                  </a:lnTo>
                  <a:lnTo>
                    <a:pt x="22" y="497"/>
                  </a:lnTo>
                  <a:lnTo>
                    <a:pt x="22" y="497"/>
                  </a:lnTo>
                  <a:lnTo>
                    <a:pt x="22" y="497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5"/>
                  </a:lnTo>
                  <a:lnTo>
                    <a:pt x="22" y="492"/>
                  </a:lnTo>
                  <a:lnTo>
                    <a:pt x="22" y="492"/>
                  </a:lnTo>
                  <a:lnTo>
                    <a:pt x="22" y="492"/>
                  </a:lnTo>
                  <a:lnTo>
                    <a:pt x="22" y="492"/>
                  </a:lnTo>
                  <a:lnTo>
                    <a:pt x="22" y="492"/>
                  </a:lnTo>
                  <a:lnTo>
                    <a:pt x="22" y="490"/>
                  </a:lnTo>
                  <a:lnTo>
                    <a:pt x="22" y="488"/>
                  </a:lnTo>
                  <a:lnTo>
                    <a:pt x="22" y="488"/>
                  </a:lnTo>
                  <a:lnTo>
                    <a:pt x="20" y="486"/>
                  </a:lnTo>
                  <a:lnTo>
                    <a:pt x="18" y="483"/>
                  </a:lnTo>
                  <a:lnTo>
                    <a:pt x="16" y="481"/>
                  </a:lnTo>
                  <a:lnTo>
                    <a:pt x="16" y="481"/>
                  </a:lnTo>
                  <a:lnTo>
                    <a:pt x="16" y="481"/>
                  </a:lnTo>
                  <a:lnTo>
                    <a:pt x="16" y="481"/>
                  </a:lnTo>
                  <a:lnTo>
                    <a:pt x="16" y="481"/>
                  </a:lnTo>
                  <a:lnTo>
                    <a:pt x="16" y="481"/>
                  </a:lnTo>
                  <a:lnTo>
                    <a:pt x="16" y="479"/>
                  </a:lnTo>
                  <a:lnTo>
                    <a:pt x="16" y="479"/>
                  </a:lnTo>
                  <a:lnTo>
                    <a:pt x="16" y="479"/>
                  </a:lnTo>
                  <a:lnTo>
                    <a:pt x="16" y="479"/>
                  </a:lnTo>
                  <a:lnTo>
                    <a:pt x="13" y="479"/>
                  </a:lnTo>
                  <a:lnTo>
                    <a:pt x="13" y="477"/>
                  </a:lnTo>
                  <a:lnTo>
                    <a:pt x="16" y="477"/>
                  </a:lnTo>
                  <a:lnTo>
                    <a:pt x="16" y="477"/>
                  </a:lnTo>
                  <a:lnTo>
                    <a:pt x="16" y="477"/>
                  </a:lnTo>
                  <a:lnTo>
                    <a:pt x="16" y="477"/>
                  </a:lnTo>
                  <a:lnTo>
                    <a:pt x="16" y="474"/>
                  </a:lnTo>
                  <a:lnTo>
                    <a:pt x="16" y="474"/>
                  </a:lnTo>
                  <a:lnTo>
                    <a:pt x="16" y="474"/>
                  </a:lnTo>
                  <a:lnTo>
                    <a:pt x="16" y="474"/>
                  </a:lnTo>
                  <a:lnTo>
                    <a:pt x="13" y="472"/>
                  </a:lnTo>
                  <a:lnTo>
                    <a:pt x="13" y="472"/>
                  </a:lnTo>
                  <a:lnTo>
                    <a:pt x="13" y="472"/>
                  </a:lnTo>
                  <a:lnTo>
                    <a:pt x="13" y="470"/>
                  </a:lnTo>
                  <a:lnTo>
                    <a:pt x="13" y="470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3" y="468"/>
                  </a:lnTo>
                  <a:lnTo>
                    <a:pt x="16" y="468"/>
                  </a:lnTo>
                  <a:lnTo>
                    <a:pt x="16" y="468"/>
                  </a:lnTo>
                  <a:lnTo>
                    <a:pt x="16" y="468"/>
                  </a:lnTo>
                  <a:lnTo>
                    <a:pt x="16" y="468"/>
                  </a:lnTo>
                  <a:lnTo>
                    <a:pt x="16" y="470"/>
                  </a:lnTo>
                  <a:lnTo>
                    <a:pt x="16" y="470"/>
                  </a:lnTo>
                  <a:lnTo>
                    <a:pt x="16" y="470"/>
                  </a:lnTo>
                  <a:lnTo>
                    <a:pt x="16" y="470"/>
                  </a:lnTo>
                  <a:lnTo>
                    <a:pt x="16" y="470"/>
                  </a:lnTo>
                  <a:lnTo>
                    <a:pt x="18" y="470"/>
                  </a:lnTo>
                  <a:lnTo>
                    <a:pt x="18" y="470"/>
                  </a:lnTo>
                  <a:lnTo>
                    <a:pt x="18" y="470"/>
                  </a:lnTo>
                  <a:lnTo>
                    <a:pt x="18" y="470"/>
                  </a:lnTo>
                  <a:lnTo>
                    <a:pt x="20" y="470"/>
                  </a:lnTo>
                  <a:lnTo>
                    <a:pt x="20" y="470"/>
                  </a:lnTo>
                  <a:lnTo>
                    <a:pt x="20" y="468"/>
                  </a:lnTo>
                  <a:lnTo>
                    <a:pt x="20" y="468"/>
                  </a:lnTo>
                  <a:lnTo>
                    <a:pt x="20" y="465"/>
                  </a:lnTo>
                  <a:lnTo>
                    <a:pt x="20" y="465"/>
                  </a:lnTo>
                  <a:lnTo>
                    <a:pt x="20" y="463"/>
                  </a:lnTo>
                  <a:lnTo>
                    <a:pt x="20" y="463"/>
                  </a:lnTo>
                  <a:lnTo>
                    <a:pt x="20" y="463"/>
                  </a:lnTo>
                  <a:lnTo>
                    <a:pt x="20" y="463"/>
                  </a:lnTo>
                  <a:lnTo>
                    <a:pt x="20" y="463"/>
                  </a:lnTo>
                  <a:lnTo>
                    <a:pt x="20" y="463"/>
                  </a:lnTo>
                  <a:lnTo>
                    <a:pt x="20" y="459"/>
                  </a:lnTo>
                  <a:lnTo>
                    <a:pt x="20" y="459"/>
                  </a:lnTo>
                  <a:lnTo>
                    <a:pt x="20" y="459"/>
                  </a:lnTo>
                  <a:lnTo>
                    <a:pt x="20" y="459"/>
                  </a:lnTo>
                  <a:lnTo>
                    <a:pt x="18" y="459"/>
                  </a:lnTo>
                  <a:lnTo>
                    <a:pt x="18" y="459"/>
                  </a:lnTo>
                  <a:lnTo>
                    <a:pt x="18" y="459"/>
                  </a:lnTo>
                  <a:lnTo>
                    <a:pt x="18" y="459"/>
                  </a:lnTo>
                  <a:lnTo>
                    <a:pt x="20" y="456"/>
                  </a:lnTo>
                  <a:lnTo>
                    <a:pt x="20" y="459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0" y="454"/>
                  </a:lnTo>
                  <a:lnTo>
                    <a:pt x="20" y="454"/>
                  </a:lnTo>
                  <a:lnTo>
                    <a:pt x="20" y="454"/>
                  </a:lnTo>
                  <a:lnTo>
                    <a:pt x="20" y="454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0" y="456"/>
                  </a:lnTo>
                  <a:lnTo>
                    <a:pt x="22" y="456"/>
                  </a:lnTo>
                  <a:lnTo>
                    <a:pt x="22" y="456"/>
                  </a:lnTo>
                  <a:lnTo>
                    <a:pt x="22" y="456"/>
                  </a:lnTo>
                  <a:lnTo>
                    <a:pt x="22" y="456"/>
                  </a:lnTo>
                  <a:lnTo>
                    <a:pt x="22" y="456"/>
                  </a:lnTo>
                  <a:lnTo>
                    <a:pt x="22" y="456"/>
                  </a:lnTo>
                  <a:lnTo>
                    <a:pt x="22" y="456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4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2"/>
                  </a:lnTo>
                  <a:lnTo>
                    <a:pt x="22" y="450"/>
                  </a:lnTo>
                  <a:lnTo>
                    <a:pt x="22" y="450"/>
                  </a:lnTo>
                  <a:lnTo>
                    <a:pt x="22" y="450"/>
                  </a:lnTo>
                  <a:lnTo>
                    <a:pt x="22" y="450"/>
                  </a:lnTo>
                  <a:lnTo>
                    <a:pt x="22" y="450"/>
                  </a:lnTo>
                  <a:lnTo>
                    <a:pt x="22" y="450"/>
                  </a:lnTo>
                  <a:lnTo>
                    <a:pt x="22" y="447"/>
                  </a:lnTo>
                  <a:lnTo>
                    <a:pt x="22" y="447"/>
                  </a:lnTo>
                  <a:lnTo>
                    <a:pt x="22" y="447"/>
                  </a:lnTo>
                  <a:lnTo>
                    <a:pt x="22" y="447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2" y="445"/>
                  </a:lnTo>
                  <a:lnTo>
                    <a:pt x="22" y="443"/>
                  </a:lnTo>
                  <a:lnTo>
                    <a:pt x="22" y="443"/>
                  </a:lnTo>
                  <a:lnTo>
                    <a:pt x="22" y="443"/>
                  </a:lnTo>
                  <a:lnTo>
                    <a:pt x="22" y="443"/>
                  </a:lnTo>
                  <a:lnTo>
                    <a:pt x="22" y="443"/>
                  </a:lnTo>
                  <a:lnTo>
                    <a:pt x="22" y="443"/>
                  </a:lnTo>
                  <a:lnTo>
                    <a:pt x="22" y="443"/>
                  </a:lnTo>
                  <a:lnTo>
                    <a:pt x="22" y="441"/>
                  </a:lnTo>
                  <a:lnTo>
                    <a:pt x="22" y="441"/>
                  </a:lnTo>
                  <a:lnTo>
                    <a:pt x="22" y="441"/>
                  </a:lnTo>
                  <a:lnTo>
                    <a:pt x="22" y="441"/>
                  </a:lnTo>
                  <a:lnTo>
                    <a:pt x="22" y="441"/>
                  </a:lnTo>
                  <a:lnTo>
                    <a:pt x="22" y="441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2" y="438"/>
                  </a:lnTo>
                  <a:lnTo>
                    <a:pt x="22" y="436"/>
                  </a:lnTo>
                  <a:lnTo>
                    <a:pt x="22" y="436"/>
                  </a:lnTo>
                  <a:lnTo>
                    <a:pt x="22" y="436"/>
                  </a:lnTo>
                  <a:lnTo>
                    <a:pt x="25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5" y="434"/>
                  </a:lnTo>
                  <a:lnTo>
                    <a:pt x="25" y="432"/>
                  </a:lnTo>
                  <a:lnTo>
                    <a:pt x="22" y="432"/>
                  </a:lnTo>
                  <a:lnTo>
                    <a:pt x="22" y="429"/>
                  </a:lnTo>
                  <a:lnTo>
                    <a:pt x="22" y="429"/>
                  </a:lnTo>
                  <a:lnTo>
                    <a:pt x="22" y="429"/>
                  </a:lnTo>
                  <a:lnTo>
                    <a:pt x="25" y="427"/>
                  </a:lnTo>
                  <a:lnTo>
                    <a:pt x="25" y="427"/>
                  </a:lnTo>
                  <a:lnTo>
                    <a:pt x="25" y="427"/>
                  </a:lnTo>
                  <a:lnTo>
                    <a:pt x="25" y="427"/>
                  </a:lnTo>
                  <a:lnTo>
                    <a:pt x="25" y="425"/>
                  </a:lnTo>
                  <a:lnTo>
                    <a:pt x="25" y="425"/>
                  </a:lnTo>
                  <a:lnTo>
                    <a:pt x="25" y="425"/>
                  </a:lnTo>
                  <a:lnTo>
                    <a:pt x="25" y="425"/>
                  </a:lnTo>
                  <a:lnTo>
                    <a:pt x="25" y="425"/>
                  </a:lnTo>
                  <a:lnTo>
                    <a:pt x="25" y="425"/>
                  </a:lnTo>
                  <a:lnTo>
                    <a:pt x="25" y="425"/>
                  </a:lnTo>
                  <a:lnTo>
                    <a:pt x="25" y="423"/>
                  </a:lnTo>
                  <a:lnTo>
                    <a:pt x="25" y="423"/>
                  </a:lnTo>
                  <a:lnTo>
                    <a:pt x="25" y="423"/>
                  </a:lnTo>
                  <a:lnTo>
                    <a:pt x="25" y="423"/>
                  </a:lnTo>
                  <a:lnTo>
                    <a:pt x="25" y="423"/>
                  </a:lnTo>
                  <a:lnTo>
                    <a:pt x="25" y="420"/>
                  </a:lnTo>
                  <a:lnTo>
                    <a:pt x="27" y="420"/>
                  </a:lnTo>
                  <a:lnTo>
                    <a:pt x="27" y="420"/>
                  </a:lnTo>
                  <a:lnTo>
                    <a:pt x="27" y="418"/>
                  </a:lnTo>
                  <a:lnTo>
                    <a:pt x="27" y="418"/>
                  </a:lnTo>
                  <a:lnTo>
                    <a:pt x="27" y="418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7" y="411"/>
                  </a:lnTo>
                  <a:lnTo>
                    <a:pt x="27" y="411"/>
                  </a:lnTo>
                  <a:lnTo>
                    <a:pt x="27" y="411"/>
                  </a:lnTo>
                  <a:lnTo>
                    <a:pt x="29" y="411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07"/>
                  </a:lnTo>
                  <a:lnTo>
                    <a:pt x="27" y="405"/>
                  </a:lnTo>
                  <a:lnTo>
                    <a:pt x="27" y="405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7" y="402"/>
                  </a:lnTo>
                  <a:lnTo>
                    <a:pt x="29" y="400"/>
                  </a:lnTo>
                  <a:lnTo>
                    <a:pt x="29" y="400"/>
                  </a:lnTo>
                  <a:lnTo>
                    <a:pt x="27" y="400"/>
                  </a:lnTo>
                  <a:lnTo>
                    <a:pt x="27" y="398"/>
                  </a:lnTo>
                  <a:lnTo>
                    <a:pt x="27" y="398"/>
                  </a:lnTo>
                  <a:lnTo>
                    <a:pt x="27" y="398"/>
                  </a:lnTo>
                  <a:lnTo>
                    <a:pt x="27" y="396"/>
                  </a:lnTo>
                  <a:lnTo>
                    <a:pt x="27" y="396"/>
                  </a:lnTo>
                  <a:lnTo>
                    <a:pt x="27" y="396"/>
                  </a:lnTo>
                  <a:lnTo>
                    <a:pt x="27" y="396"/>
                  </a:lnTo>
                  <a:lnTo>
                    <a:pt x="27" y="393"/>
                  </a:lnTo>
                  <a:lnTo>
                    <a:pt x="27" y="393"/>
                  </a:lnTo>
                  <a:lnTo>
                    <a:pt x="27" y="393"/>
                  </a:lnTo>
                  <a:lnTo>
                    <a:pt x="27" y="393"/>
                  </a:lnTo>
                  <a:lnTo>
                    <a:pt x="27" y="393"/>
                  </a:lnTo>
                  <a:lnTo>
                    <a:pt x="27" y="391"/>
                  </a:lnTo>
                  <a:lnTo>
                    <a:pt x="27" y="391"/>
                  </a:lnTo>
                  <a:lnTo>
                    <a:pt x="27" y="391"/>
                  </a:lnTo>
                  <a:lnTo>
                    <a:pt x="27" y="391"/>
                  </a:lnTo>
                  <a:lnTo>
                    <a:pt x="29" y="391"/>
                  </a:lnTo>
                  <a:lnTo>
                    <a:pt x="29" y="389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31" y="387"/>
                  </a:lnTo>
                  <a:lnTo>
                    <a:pt x="31" y="384"/>
                  </a:lnTo>
                  <a:lnTo>
                    <a:pt x="31" y="384"/>
                  </a:lnTo>
                  <a:lnTo>
                    <a:pt x="31" y="384"/>
                  </a:lnTo>
                  <a:lnTo>
                    <a:pt x="31" y="382"/>
                  </a:lnTo>
                  <a:lnTo>
                    <a:pt x="31" y="382"/>
                  </a:lnTo>
                  <a:lnTo>
                    <a:pt x="31" y="382"/>
                  </a:lnTo>
                  <a:lnTo>
                    <a:pt x="31" y="382"/>
                  </a:lnTo>
                  <a:lnTo>
                    <a:pt x="31" y="382"/>
                  </a:lnTo>
                  <a:lnTo>
                    <a:pt x="31" y="382"/>
                  </a:lnTo>
                  <a:lnTo>
                    <a:pt x="31" y="380"/>
                  </a:lnTo>
                  <a:lnTo>
                    <a:pt x="29" y="380"/>
                  </a:lnTo>
                  <a:lnTo>
                    <a:pt x="29" y="378"/>
                  </a:lnTo>
                  <a:lnTo>
                    <a:pt x="29" y="378"/>
                  </a:lnTo>
                  <a:lnTo>
                    <a:pt x="29" y="378"/>
                  </a:lnTo>
                  <a:lnTo>
                    <a:pt x="29" y="378"/>
                  </a:lnTo>
                  <a:lnTo>
                    <a:pt x="29" y="378"/>
                  </a:lnTo>
                  <a:lnTo>
                    <a:pt x="29" y="378"/>
                  </a:lnTo>
                  <a:lnTo>
                    <a:pt x="29" y="378"/>
                  </a:lnTo>
                  <a:lnTo>
                    <a:pt x="29" y="376"/>
                  </a:lnTo>
                  <a:lnTo>
                    <a:pt x="29" y="376"/>
                  </a:lnTo>
                  <a:lnTo>
                    <a:pt x="29" y="376"/>
                  </a:lnTo>
                  <a:lnTo>
                    <a:pt x="27" y="376"/>
                  </a:lnTo>
                  <a:lnTo>
                    <a:pt x="27" y="376"/>
                  </a:lnTo>
                  <a:lnTo>
                    <a:pt x="27" y="373"/>
                  </a:lnTo>
                  <a:lnTo>
                    <a:pt x="27" y="373"/>
                  </a:lnTo>
                  <a:lnTo>
                    <a:pt x="27" y="371"/>
                  </a:lnTo>
                  <a:lnTo>
                    <a:pt x="25" y="371"/>
                  </a:lnTo>
                  <a:lnTo>
                    <a:pt x="27" y="371"/>
                  </a:lnTo>
                  <a:lnTo>
                    <a:pt x="27" y="371"/>
                  </a:lnTo>
                  <a:lnTo>
                    <a:pt x="27" y="371"/>
                  </a:lnTo>
                  <a:lnTo>
                    <a:pt x="27" y="371"/>
                  </a:lnTo>
                  <a:lnTo>
                    <a:pt x="27" y="369"/>
                  </a:lnTo>
                  <a:lnTo>
                    <a:pt x="27" y="369"/>
                  </a:lnTo>
                  <a:lnTo>
                    <a:pt x="27" y="369"/>
                  </a:lnTo>
                  <a:lnTo>
                    <a:pt x="27" y="369"/>
                  </a:lnTo>
                  <a:lnTo>
                    <a:pt x="27" y="369"/>
                  </a:lnTo>
                  <a:lnTo>
                    <a:pt x="27" y="369"/>
                  </a:lnTo>
                  <a:lnTo>
                    <a:pt x="29" y="369"/>
                  </a:lnTo>
                  <a:lnTo>
                    <a:pt x="29" y="369"/>
                  </a:lnTo>
                  <a:lnTo>
                    <a:pt x="29" y="369"/>
                  </a:lnTo>
                  <a:lnTo>
                    <a:pt x="29" y="369"/>
                  </a:lnTo>
                  <a:lnTo>
                    <a:pt x="29" y="369"/>
                  </a:lnTo>
                  <a:lnTo>
                    <a:pt x="29" y="369"/>
                  </a:lnTo>
                  <a:lnTo>
                    <a:pt x="29" y="367"/>
                  </a:lnTo>
                  <a:lnTo>
                    <a:pt x="29" y="367"/>
                  </a:lnTo>
                  <a:lnTo>
                    <a:pt x="29" y="367"/>
                  </a:lnTo>
                  <a:lnTo>
                    <a:pt x="29" y="367"/>
                  </a:lnTo>
                  <a:lnTo>
                    <a:pt x="29" y="367"/>
                  </a:lnTo>
                  <a:lnTo>
                    <a:pt x="29" y="367"/>
                  </a:lnTo>
                  <a:lnTo>
                    <a:pt x="29" y="367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4"/>
                  </a:lnTo>
                  <a:lnTo>
                    <a:pt x="29" y="362"/>
                  </a:lnTo>
                  <a:lnTo>
                    <a:pt x="29" y="362"/>
                  </a:lnTo>
                  <a:lnTo>
                    <a:pt x="29" y="362"/>
                  </a:lnTo>
                  <a:lnTo>
                    <a:pt x="29" y="362"/>
                  </a:lnTo>
                  <a:lnTo>
                    <a:pt x="29" y="362"/>
                  </a:lnTo>
                  <a:lnTo>
                    <a:pt x="29" y="362"/>
                  </a:lnTo>
                  <a:lnTo>
                    <a:pt x="29" y="360"/>
                  </a:lnTo>
                  <a:lnTo>
                    <a:pt x="29" y="360"/>
                  </a:lnTo>
                  <a:lnTo>
                    <a:pt x="29" y="360"/>
                  </a:lnTo>
                  <a:lnTo>
                    <a:pt x="29" y="358"/>
                  </a:lnTo>
                  <a:lnTo>
                    <a:pt x="29" y="358"/>
                  </a:lnTo>
                  <a:lnTo>
                    <a:pt x="29" y="358"/>
                  </a:lnTo>
                  <a:lnTo>
                    <a:pt x="29" y="358"/>
                  </a:lnTo>
                  <a:lnTo>
                    <a:pt x="29" y="358"/>
                  </a:lnTo>
                  <a:lnTo>
                    <a:pt x="29" y="355"/>
                  </a:lnTo>
                  <a:lnTo>
                    <a:pt x="29" y="355"/>
                  </a:lnTo>
                  <a:lnTo>
                    <a:pt x="29" y="355"/>
                  </a:lnTo>
                  <a:lnTo>
                    <a:pt x="29" y="355"/>
                  </a:lnTo>
                  <a:lnTo>
                    <a:pt x="29" y="355"/>
                  </a:lnTo>
                  <a:lnTo>
                    <a:pt x="29" y="353"/>
                  </a:lnTo>
                  <a:lnTo>
                    <a:pt x="29" y="353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7" y="353"/>
                  </a:lnTo>
                  <a:lnTo>
                    <a:pt x="27" y="351"/>
                  </a:lnTo>
                  <a:lnTo>
                    <a:pt x="27" y="351"/>
                  </a:lnTo>
                  <a:lnTo>
                    <a:pt x="27" y="351"/>
                  </a:lnTo>
                  <a:lnTo>
                    <a:pt x="27" y="351"/>
                  </a:lnTo>
                  <a:lnTo>
                    <a:pt x="25" y="351"/>
                  </a:lnTo>
                  <a:lnTo>
                    <a:pt x="25" y="351"/>
                  </a:lnTo>
                  <a:lnTo>
                    <a:pt x="25" y="349"/>
                  </a:lnTo>
                  <a:lnTo>
                    <a:pt x="25" y="349"/>
                  </a:lnTo>
                  <a:lnTo>
                    <a:pt x="25" y="349"/>
                  </a:lnTo>
                  <a:lnTo>
                    <a:pt x="25" y="349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2"/>
                  </a:lnTo>
                  <a:lnTo>
                    <a:pt x="25" y="342"/>
                  </a:lnTo>
                  <a:lnTo>
                    <a:pt x="25" y="342"/>
                  </a:lnTo>
                  <a:lnTo>
                    <a:pt x="25" y="342"/>
                  </a:lnTo>
                  <a:lnTo>
                    <a:pt x="25" y="342"/>
                  </a:lnTo>
                  <a:lnTo>
                    <a:pt x="25" y="342"/>
                  </a:lnTo>
                  <a:lnTo>
                    <a:pt x="25" y="342"/>
                  </a:lnTo>
                  <a:lnTo>
                    <a:pt x="22" y="342"/>
                  </a:lnTo>
                  <a:lnTo>
                    <a:pt x="25" y="340"/>
                  </a:lnTo>
                  <a:lnTo>
                    <a:pt x="25" y="340"/>
                  </a:lnTo>
                  <a:lnTo>
                    <a:pt x="25" y="340"/>
                  </a:lnTo>
                  <a:lnTo>
                    <a:pt x="22" y="335"/>
                  </a:lnTo>
                  <a:lnTo>
                    <a:pt x="22" y="335"/>
                  </a:lnTo>
                  <a:lnTo>
                    <a:pt x="22" y="333"/>
                  </a:lnTo>
                  <a:lnTo>
                    <a:pt x="20" y="331"/>
                  </a:lnTo>
                  <a:lnTo>
                    <a:pt x="20" y="331"/>
                  </a:lnTo>
                  <a:lnTo>
                    <a:pt x="18" y="326"/>
                  </a:lnTo>
                  <a:lnTo>
                    <a:pt x="18" y="326"/>
                  </a:lnTo>
                  <a:lnTo>
                    <a:pt x="18" y="324"/>
                  </a:lnTo>
                  <a:lnTo>
                    <a:pt x="18" y="324"/>
                  </a:lnTo>
                  <a:lnTo>
                    <a:pt x="18" y="322"/>
                  </a:lnTo>
                  <a:lnTo>
                    <a:pt x="18" y="322"/>
                  </a:lnTo>
                  <a:lnTo>
                    <a:pt x="16" y="319"/>
                  </a:lnTo>
                  <a:lnTo>
                    <a:pt x="16" y="319"/>
                  </a:lnTo>
                  <a:lnTo>
                    <a:pt x="16" y="319"/>
                  </a:lnTo>
                  <a:lnTo>
                    <a:pt x="16" y="319"/>
                  </a:lnTo>
                  <a:lnTo>
                    <a:pt x="16" y="319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3" y="313"/>
                  </a:lnTo>
                  <a:lnTo>
                    <a:pt x="13" y="310"/>
                  </a:lnTo>
                  <a:lnTo>
                    <a:pt x="13" y="310"/>
                  </a:lnTo>
                  <a:lnTo>
                    <a:pt x="13" y="310"/>
                  </a:lnTo>
                  <a:lnTo>
                    <a:pt x="13" y="310"/>
                  </a:lnTo>
                  <a:lnTo>
                    <a:pt x="13" y="308"/>
                  </a:lnTo>
                  <a:lnTo>
                    <a:pt x="13" y="308"/>
                  </a:lnTo>
                  <a:lnTo>
                    <a:pt x="13" y="306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301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9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5"/>
                  </a:lnTo>
                  <a:lnTo>
                    <a:pt x="18" y="297"/>
                  </a:lnTo>
                  <a:lnTo>
                    <a:pt x="18" y="297"/>
                  </a:lnTo>
                  <a:lnTo>
                    <a:pt x="20" y="295"/>
                  </a:lnTo>
                  <a:lnTo>
                    <a:pt x="20" y="295"/>
                  </a:lnTo>
                  <a:lnTo>
                    <a:pt x="20" y="295"/>
                  </a:lnTo>
                  <a:lnTo>
                    <a:pt x="20" y="295"/>
                  </a:lnTo>
                  <a:lnTo>
                    <a:pt x="20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90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6"/>
                  </a:lnTo>
                  <a:lnTo>
                    <a:pt x="16" y="286"/>
                  </a:lnTo>
                  <a:lnTo>
                    <a:pt x="16" y="286"/>
                  </a:lnTo>
                  <a:lnTo>
                    <a:pt x="18" y="286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8" y="283"/>
                  </a:lnTo>
                  <a:lnTo>
                    <a:pt x="16" y="283"/>
                  </a:lnTo>
                  <a:lnTo>
                    <a:pt x="16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6" y="281"/>
                  </a:lnTo>
                  <a:lnTo>
                    <a:pt x="16" y="281"/>
                  </a:lnTo>
                  <a:lnTo>
                    <a:pt x="16" y="281"/>
                  </a:lnTo>
                  <a:lnTo>
                    <a:pt x="16" y="281"/>
                  </a:lnTo>
                  <a:lnTo>
                    <a:pt x="13" y="279"/>
                  </a:lnTo>
                  <a:lnTo>
                    <a:pt x="13" y="279"/>
                  </a:lnTo>
                  <a:lnTo>
                    <a:pt x="11" y="279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1" y="270"/>
                  </a:lnTo>
                  <a:lnTo>
                    <a:pt x="11" y="270"/>
                  </a:lnTo>
                  <a:lnTo>
                    <a:pt x="11" y="270"/>
                  </a:lnTo>
                  <a:lnTo>
                    <a:pt x="11" y="270"/>
                  </a:lnTo>
                  <a:lnTo>
                    <a:pt x="13" y="270"/>
                  </a:lnTo>
                  <a:lnTo>
                    <a:pt x="13" y="268"/>
                  </a:lnTo>
                  <a:lnTo>
                    <a:pt x="13" y="268"/>
                  </a:lnTo>
                  <a:lnTo>
                    <a:pt x="13" y="268"/>
                  </a:lnTo>
                  <a:lnTo>
                    <a:pt x="13" y="268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3" y="265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3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13" y="261"/>
                  </a:lnTo>
                  <a:lnTo>
                    <a:pt x="16" y="261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6"/>
                  </a:lnTo>
                  <a:lnTo>
                    <a:pt x="16" y="256"/>
                  </a:lnTo>
                  <a:lnTo>
                    <a:pt x="16" y="256"/>
                  </a:lnTo>
                  <a:lnTo>
                    <a:pt x="16" y="256"/>
                  </a:lnTo>
                  <a:lnTo>
                    <a:pt x="13" y="256"/>
                  </a:lnTo>
                  <a:lnTo>
                    <a:pt x="16" y="256"/>
                  </a:lnTo>
                  <a:lnTo>
                    <a:pt x="16" y="256"/>
                  </a:lnTo>
                  <a:lnTo>
                    <a:pt x="16" y="256"/>
                  </a:lnTo>
                  <a:lnTo>
                    <a:pt x="16" y="254"/>
                  </a:lnTo>
                  <a:lnTo>
                    <a:pt x="16" y="252"/>
                  </a:lnTo>
                  <a:lnTo>
                    <a:pt x="13" y="252"/>
                  </a:lnTo>
                  <a:lnTo>
                    <a:pt x="13" y="252"/>
                  </a:lnTo>
                  <a:lnTo>
                    <a:pt x="13" y="252"/>
                  </a:lnTo>
                  <a:lnTo>
                    <a:pt x="13" y="252"/>
                  </a:lnTo>
                  <a:lnTo>
                    <a:pt x="13" y="252"/>
                  </a:lnTo>
                  <a:lnTo>
                    <a:pt x="13" y="252"/>
                  </a:lnTo>
                  <a:lnTo>
                    <a:pt x="13" y="247"/>
                  </a:lnTo>
                  <a:lnTo>
                    <a:pt x="13" y="247"/>
                  </a:lnTo>
                  <a:lnTo>
                    <a:pt x="13" y="247"/>
                  </a:lnTo>
                  <a:lnTo>
                    <a:pt x="13" y="247"/>
                  </a:lnTo>
                  <a:lnTo>
                    <a:pt x="13" y="247"/>
                  </a:lnTo>
                  <a:lnTo>
                    <a:pt x="16" y="247"/>
                  </a:lnTo>
                  <a:lnTo>
                    <a:pt x="16" y="247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3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5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3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6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41"/>
                  </a:lnTo>
                  <a:lnTo>
                    <a:pt x="18" y="238"/>
                  </a:lnTo>
                  <a:lnTo>
                    <a:pt x="18" y="238"/>
                  </a:lnTo>
                  <a:lnTo>
                    <a:pt x="18" y="238"/>
                  </a:lnTo>
                  <a:lnTo>
                    <a:pt x="18" y="236"/>
                  </a:lnTo>
                  <a:lnTo>
                    <a:pt x="18" y="236"/>
                  </a:lnTo>
                  <a:lnTo>
                    <a:pt x="16" y="236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9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6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7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6" y="223"/>
                  </a:lnTo>
                  <a:lnTo>
                    <a:pt x="18" y="220"/>
                  </a:lnTo>
                  <a:lnTo>
                    <a:pt x="18" y="220"/>
                  </a:lnTo>
                  <a:lnTo>
                    <a:pt x="18" y="220"/>
                  </a:lnTo>
                  <a:lnTo>
                    <a:pt x="18" y="220"/>
                  </a:lnTo>
                  <a:lnTo>
                    <a:pt x="18" y="220"/>
                  </a:lnTo>
                  <a:lnTo>
                    <a:pt x="18" y="220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8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18" y="211"/>
                  </a:lnTo>
                  <a:lnTo>
                    <a:pt x="18" y="211"/>
                  </a:lnTo>
                  <a:lnTo>
                    <a:pt x="18" y="211"/>
                  </a:lnTo>
                  <a:lnTo>
                    <a:pt x="18" y="211"/>
                  </a:lnTo>
                  <a:lnTo>
                    <a:pt x="18" y="211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9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18" y="205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18" y="202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3" y="198"/>
                  </a:lnTo>
                  <a:lnTo>
                    <a:pt x="13" y="198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9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8" y="189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7"/>
                  </a:lnTo>
                  <a:lnTo>
                    <a:pt x="18" y="184"/>
                  </a:lnTo>
                  <a:lnTo>
                    <a:pt x="18" y="184"/>
                  </a:lnTo>
                  <a:lnTo>
                    <a:pt x="18" y="184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4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60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55"/>
                  </a:lnTo>
                  <a:lnTo>
                    <a:pt x="13" y="153"/>
                  </a:lnTo>
                  <a:lnTo>
                    <a:pt x="13" y="153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48"/>
                  </a:lnTo>
                  <a:lnTo>
                    <a:pt x="13" y="148"/>
                  </a:lnTo>
                  <a:lnTo>
                    <a:pt x="13" y="148"/>
                  </a:lnTo>
                  <a:lnTo>
                    <a:pt x="13" y="148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3" y="144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4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7"/>
                  </a:lnTo>
                  <a:lnTo>
                    <a:pt x="11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11" y="135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6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6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3" y="117"/>
                  </a:lnTo>
                  <a:lnTo>
                    <a:pt x="13" y="117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6" y="106"/>
                  </a:lnTo>
                  <a:lnTo>
                    <a:pt x="13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6" y="103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11" y="83"/>
                  </a:lnTo>
                  <a:lnTo>
                    <a:pt x="13" y="83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9" y="49"/>
                  </a:lnTo>
                  <a:lnTo>
                    <a:pt x="7" y="49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3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7" name="Freeform 625"/>
            <p:cNvSpPr>
              <a:spLocks/>
            </p:cNvSpPr>
            <p:nvPr/>
          </p:nvSpPr>
          <p:spPr bwMode="auto">
            <a:xfrm>
              <a:off x="6113908" y="3033097"/>
              <a:ext cx="364371" cy="638484"/>
            </a:xfrm>
            <a:custGeom>
              <a:avLst/>
              <a:gdLst>
                <a:gd name="T0" fmla="*/ 195 w 218"/>
                <a:gd name="T1" fmla="*/ 191 h 382"/>
                <a:gd name="T2" fmla="*/ 191 w 218"/>
                <a:gd name="T3" fmla="*/ 205 h 382"/>
                <a:gd name="T4" fmla="*/ 186 w 218"/>
                <a:gd name="T5" fmla="*/ 218 h 382"/>
                <a:gd name="T6" fmla="*/ 186 w 218"/>
                <a:gd name="T7" fmla="*/ 225 h 382"/>
                <a:gd name="T8" fmla="*/ 184 w 218"/>
                <a:gd name="T9" fmla="*/ 241 h 382"/>
                <a:gd name="T10" fmla="*/ 177 w 218"/>
                <a:gd name="T11" fmla="*/ 259 h 382"/>
                <a:gd name="T12" fmla="*/ 188 w 218"/>
                <a:gd name="T13" fmla="*/ 272 h 382"/>
                <a:gd name="T14" fmla="*/ 195 w 218"/>
                <a:gd name="T15" fmla="*/ 286 h 382"/>
                <a:gd name="T16" fmla="*/ 195 w 218"/>
                <a:gd name="T17" fmla="*/ 299 h 382"/>
                <a:gd name="T18" fmla="*/ 186 w 218"/>
                <a:gd name="T19" fmla="*/ 297 h 382"/>
                <a:gd name="T20" fmla="*/ 179 w 218"/>
                <a:gd name="T21" fmla="*/ 301 h 382"/>
                <a:gd name="T22" fmla="*/ 175 w 218"/>
                <a:gd name="T23" fmla="*/ 306 h 382"/>
                <a:gd name="T24" fmla="*/ 173 w 218"/>
                <a:gd name="T25" fmla="*/ 313 h 382"/>
                <a:gd name="T26" fmla="*/ 168 w 218"/>
                <a:gd name="T27" fmla="*/ 317 h 382"/>
                <a:gd name="T28" fmla="*/ 161 w 218"/>
                <a:gd name="T29" fmla="*/ 326 h 382"/>
                <a:gd name="T30" fmla="*/ 159 w 218"/>
                <a:gd name="T31" fmla="*/ 328 h 382"/>
                <a:gd name="T32" fmla="*/ 155 w 218"/>
                <a:gd name="T33" fmla="*/ 333 h 382"/>
                <a:gd name="T34" fmla="*/ 152 w 218"/>
                <a:gd name="T35" fmla="*/ 337 h 382"/>
                <a:gd name="T36" fmla="*/ 148 w 218"/>
                <a:gd name="T37" fmla="*/ 340 h 382"/>
                <a:gd name="T38" fmla="*/ 139 w 218"/>
                <a:gd name="T39" fmla="*/ 342 h 382"/>
                <a:gd name="T40" fmla="*/ 137 w 218"/>
                <a:gd name="T41" fmla="*/ 342 h 382"/>
                <a:gd name="T42" fmla="*/ 132 w 218"/>
                <a:gd name="T43" fmla="*/ 344 h 382"/>
                <a:gd name="T44" fmla="*/ 123 w 218"/>
                <a:gd name="T45" fmla="*/ 344 h 382"/>
                <a:gd name="T46" fmla="*/ 117 w 218"/>
                <a:gd name="T47" fmla="*/ 346 h 382"/>
                <a:gd name="T48" fmla="*/ 119 w 218"/>
                <a:gd name="T49" fmla="*/ 351 h 382"/>
                <a:gd name="T50" fmla="*/ 110 w 218"/>
                <a:gd name="T51" fmla="*/ 364 h 382"/>
                <a:gd name="T52" fmla="*/ 85 w 218"/>
                <a:gd name="T53" fmla="*/ 371 h 382"/>
                <a:gd name="T54" fmla="*/ 76 w 218"/>
                <a:gd name="T55" fmla="*/ 376 h 382"/>
                <a:gd name="T56" fmla="*/ 72 w 218"/>
                <a:gd name="T57" fmla="*/ 378 h 382"/>
                <a:gd name="T58" fmla="*/ 67 w 218"/>
                <a:gd name="T59" fmla="*/ 373 h 382"/>
                <a:gd name="T60" fmla="*/ 63 w 218"/>
                <a:gd name="T61" fmla="*/ 373 h 382"/>
                <a:gd name="T62" fmla="*/ 54 w 218"/>
                <a:gd name="T63" fmla="*/ 380 h 382"/>
                <a:gd name="T64" fmla="*/ 42 w 218"/>
                <a:gd name="T65" fmla="*/ 373 h 382"/>
                <a:gd name="T66" fmla="*/ 31 w 218"/>
                <a:gd name="T67" fmla="*/ 351 h 382"/>
                <a:gd name="T68" fmla="*/ 15 w 218"/>
                <a:gd name="T69" fmla="*/ 322 h 382"/>
                <a:gd name="T70" fmla="*/ 40 w 218"/>
                <a:gd name="T71" fmla="*/ 322 h 382"/>
                <a:gd name="T72" fmla="*/ 38 w 218"/>
                <a:gd name="T73" fmla="*/ 310 h 382"/>
                <a:gd name="T74" fmla="*/ 33 w 218"/>
                <a:gd name="T75" fmla="*/ 299 h 382"/>
                <a:gd name="T76" fmla="*/ 36 w 218"/>
                <a:gd name="T77" fmla="*/ 283 h 382"/>
                <a:gd name="T78" fmla="*/ 33 w 218"/>
                <a:gd name="T79" fmla="*/ 277 h 382"/>
                <a:gd name="T80" fmla="*/ 33 w 218"/>
                <a:gd name="T81" fmla="*/ 272 h 382"/>
                <a:gd name="T82" fmla="*/ 31 w 218"/>
                <a:gd name="T83" fmla="*/ 268 h 382"/>
                <a:gd name="T84" fmla="*/ 29 w 218"/>
                <a:gd name="T85" fmla="*/ 263 h 382"/>
                <a:gd name="T86" fmla="*/ 27 w 218"/>
                <a:gd name="T87" fmla="*/ 256 h 382"/>
                <a:gd name="T88" fmla="*/ 22 w 218"/>
                <a:gd name="T89" fmla="*/ 254 h 382"/>
                <a:gd name="T90" fmla="*/ 2 w 218"/>
                <a:gd name="T91" fmla="*/ 229 h 382"/>
                <a:gd name="T92" fmla="*/ 2 w 218"/>
                <a:gd name="T93" fmla="*/ 214 h 382"/>
                <a:gd name="T94" fmla="*/ 4 w 218"/>
                <a:gd name="T95" fmla="*/ 207 h 382"/>
                <a:gd name="T96" fmla="*/ 15 w 218"/>
                <a:gd name="T97" fmla="*/ 187 h 382"/>
                <a:gd name="T98" fmla="*/ 33 w 218"/>
                <a:gd name="T99" fmla="*/ 164 h 382"/>
                <a:gd name="T100" fmla="*/ 40 w 218"/>
                <a:gd name="T101" fmla="*/ 144 h 382"/>
                <a:gd name="T102" fmla="*/ 42 w 218"/>
                <a:gd name="T103" fmla="*/ 124 h 382"/>
                <a:gd name="T104" fmla="*/ 42 w 218"/>
                <a:gd name="T105" fmla="*/ 101 h 382"/>
                <a:gd name="T106" fmla="*/ 45 w 218"/>
                <a:gd name="T107" fmla="*/ 81 h 382"/>
                <a:gd name="T108" fmla="*/ 40 w 218"/>
                <a:gd name="T109" fmla="*/ 61 h 382"/>
                <a:gd name="T110" fmla="*/ 33 w 218"/>
                <a:gd name="T111" fmla="*/ 50 h 382"/>
                <a:gd name="T112" fmla="*/ 31 w 218"/>
                <a:gd name="T113" fmla="*/ 32 h 382"/>
                <a:gd name="T114" fmla="*/ 27 w 218"/>
                <a:gd name="T115" fmla="*/ 11 h 382"/>
                <a:gd name="T116" fmla="*/ 49 w 218"/>
                <a:gd name="T117" fmla="*/ 2 h 382"/>
                <a:gd name="T118" fmla="*/ 99 w 218"/>
                <a:gd name="T119" fmla="*/ 29 h 382"/>
                <a:gd name="T120" fmla="*/ 148 w 218"/>
                <a:gd name="T121" fmla="*/ 56 h 382"/>
                <a:gd name="T122" fmla="*/ 195 w 218"/>
                <a:gd name="T123" fmla="*/ 86 h 382"/>
                <a:gd name="T124" fmla="*/ 218 w 218"/>
                <a:gd name="T125" fmla="*/ 162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8" h="382">
                  <a:moveTo>
                    <a:pt x="218" y="182"/>
                  </a:moveTo>
                  <a:lnTo>
                    <a:pt x="218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3" y="185"/>
                  </a:lnTo>
                  <a:lnTo>
                    <a:pt x="211" y="185"/>
                  </a:lnTo>
                  <a:lnTo>
                    <a:pt x="209" y="185"/>
                  </a:lnTo>
                  <a:lnTo>
                    <a:pt x="209" y="185"/>
                  </a:lnTo>
                  <a:lnTo>
                    <a:pt x="204" y="185"/>
                  </a:lnTo>
                  <a:lnTo>
                    <a:pt x="204" y="185"/>
                  </a:lnTo>
                  <a:lnTo>
                    <a:pt x="200" y="185"/>
                  </a:lnTo>
                  <a:lnTo>
                    <a:pt x="200" y="185"/>
                  </a:lnTo>
                  <a:lnTo>
                    <a:pt x="197" y="185"/>
                  </a:lnTo>
                  <a:lnTo>
                    <a:pt x="197" y="187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89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5" y="191"/>
                  </a:lnTo>
                  <a:lnTo>
                    <a:pt x="197" y="191"/>
                  </a:lnTo>
                  <a:lnTo>
                    <a:pt x="197" y="194"/>
                  </a:lnTo>
                  <a:lnTo>
                    <a:pt x="197" y="194"/>
                  </a:lnTo>
                  <a:lnTo>
                    <a:pt x="197" y="196"/>
                  </a:lnTo>
                  <a:lnTo>
                    <a:pt x="197" y="198"/>
                  </a:lnTo>
                  <a:lnTo>
                    <a:pt x="195" y="198"/>
                  </a:lnTo>
                  <a:lnTo>
                    <a:pt x="195" y="198"/>
                  </a:lnTo>
                  <a:lnTo>
                    <a:pt x="195" y="200"/>
                  </a:lnTo>
                  <a:lnTo>
                    <a:pt x="195" y="200"/>
                  </a:lnTo>
                  <a:lnTo>
                    <a:pt x="193" y="200"/>
                  </a:lnTo>
                  <a:lnTo>
                    <a:pt x="193" y="203"/>
                  </a:lnTo>
                  <a:lnTo>
                    <a:pt x="193" y="203"/>
                  </a:lnTo>
                  <a:lnTo>
                    <a:pt x="191" y="203"/>
                  </a:lnTo>
                  <a:lnTo>
                    <a:pt x="191" y="205"/>
                  </a:lnTo>
                  <a:lnTo>
                    <a:pt x="191" y="205"/>
                  </a:lnTo>
                  <a:lnTo>
                    <a:pt x="191" y="205"/>
                  </a:lnTo>
                  <a:lnTo>
                    <a:pt x="191" y="205"/>
                  </a:lnTo>
                  <a:lnTo>
                    <a:pt x="191" y="205"/>
                  </a:lnTo>
                  <a:lnTo>
                    <a:pt x="191" y="207"/>
                  </a:lnTo>
                  <a:lnTo>
                    <a:pt x="191" y="207"/>
                  </a:lnTo>
                  <a:lnTo>
                    <a:pt x="191" y="207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91" y="209"/>
                  </a:lnTo>
                  <a:lnTo>
                    <a:pt x="186" y="212"/>
                  </a:lnTo>
                  <a:lnTo>
                    <a:pt x="186" y="212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20"/>
                  </a:lnTo>
                  <a:lnTo>
                    <a:pt x="186" y="220"/>
                  </a:lnTo>
                  <a:lnTo>
                    <a:pt x="188" y="220"/>
                  </a:lnTo>
                  <a:lnTo>
                    <a:pt x="188" y="220"/>
                  </a:lnTo>
                  <a:lnTo>
                    <a:pt x="188" y="220"/>
                  </a:lnTo>
                  <a:lnTo>
                    <a:pt x="188" y="220"/>
                  </a:lnTo>
                  <a:lnTo>
                    <a:pt x="188" y="223"/>
                  </a:lnTo>
                  <a:lnTo>
                    <a:pt x="188" y="223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79" y="229"/>
                  </a:lnTo>
                  <a:lnTo>
                    <a:pt x="179" y="232"/>
                  </a:lnTo>
                  <a:lnTo>
                    <a:pt x="179" y="232"/>
                  </a:lnTo>
                  <a:lnTo>
                    <a:pt x="179" y="232"/>
                  </a:lnTo>
                  <a:lnTo>
                    <a:pt x="179" y="232"/>
                  </a:lnTo>
                  <a:lnTo>
                    <a:pt x="179" y="232"/>
                  </a:lnTo>
                  <a:lnTo>
                    <a:pt x="179" y="232"/>
                  </a:lnTo>
                  <a:lnTo>
                    <a:pt x="179" y="234"/>
                  </a:lnTo>
                  <a:lnTo>
                    <a:pt x="179" y="234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2" y="238"/>
                  </a:lnTo>
                  <a:lnTo>
                    <a:pt x="182" y="238"/>
                  </a:lnTo>
                  <a:lnTo>
                    <a:pt x="184" y="241"/>
                  </a:lnTo>
                  <a:lnTo>
                    <a:pt x="184" y="241"/>
                  </a:lnTo>
                  <a:lnTo>
                    <a:pt x="184" y="241"/>
                  </a:lnTo>
                  <a:lnTo>
                    <a:pt x="182" y="243"/>
                  </a:lnTo>
                  <a:lnTo>
                    <a:pt x="182" y="245"/>
                  </a:lnTo>
                  <a:lnTo>
                    <a:pt x="179" y="245"/>
                  </a:lnTo>
                  <a:lnTo>
                    <a:pt x="177" y="245"/>
                  </a:lnTo>
                  <a:lnTo>
                    <a:pt x="177" y="245"/>
                  </a:lnTo>
                  <a:lnTo>
                    <a:pt x="177" y="247"/>
                  </a:lnTo>
                  <a:lnTo>
                    <a:pt x="177" y="247"/>
                  </a:lnTo>
                  <a:lnTo>
                    <a:pt x="175" y="252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4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5" y="259"/>
                  </a:lnTo>
                  <a:lnTo>
                    <a:pt x="177" y="259"/>
                  </a:lnTo>
                  <a:lnTo>
                    <a:pt x="177" y="259"/>
                  </a:lnTo>
                  <a:lnTo>
                    <a:pt x="179" y="259"/>
                  </a:lnTo>
                  <a:lnTo>
                    <a:pt x="179" y="259"/>
                  </a:lnTo>
                  <a:lnTo>
                    <a:pt x="179" y="259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4" y="256"/>
                  </a:lnTo>
                  <a:lnTo>
                    <a:pt x="186" y="259"/>
                  </a:lnTo>
                  <a:lnTo>
                    <a:pt x="188" y="259"/>
                  </a:lnTo>
                  <a:lnTo>
                    <a:pt x="186" y="261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6" y="263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0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88" y="272"/>
                  </a:lnTo>
                  <a:lnTo>
                    <a:pt x="191" y="272"/>
                  </a:lnTo>
                  <a:lnTo>
                    <a:pt x="191" y="272"/>
                  </a:lnTo>
                  <a:lnTo>
                    <a:pt x="191" y="272"/>
                  </a:lnTo>
                  <a:lnTo>
                    <a:pt x="191" y="272"/>
                  </a:lnTo>
                  <a:lnTo>
                    <a:pt x="191" y="272"/>
                  </a:lnTo>
                  <a:lnTo>
                    <a:pt x="191" y="272"/>
                  </a:lnTo>
                  <a:lnTo>
                    <a:pt x="191" y="272"/>
                  </a:lnTo>
                  <a:lnTo>
                    <a:pt x="191" y="274"/>
                  </a:lnTo>
                  <a:lnTo>
                    <a:pt x="191" y="281"/>
                  </a:lnTo>
                  <a:lnTo>
                    <a:pt x="191" y="281"/>
                  </a:lnTo>
                  <a:lnTo>
                    <a:pt x="191" y="283"/>
                  </a:lnTo>
                  <a:lnTo>
                    <a:pt x="191" y="283"/>
                  </a:lnTo>
                  <a:lnTo>
                    <a:pt x="191" y="286"/>
                  </a:lnTo>
                  <a:lnTo>
                    <a:pt x="193" y="286"/>
                  </a:lnTo>
                  <a:lnTo>
                    <a:pt x="195" y="286"/>
                  </a:lnTo>
                  <a:lnTo>
                    <a:pt x="195" y="286"/>
                  </a:lnTo>
                  <a:lnTo>
                    <a:pt x="195" y="286"/>
                  </a:lnTo>
                  <a:lnTo>
                    <a:pt x="195" y="288"/>
                  </a:lnTo>
                  <a:lnTo>
                    <a:pt x="195" y="288"/>
                  </a:lnTo>
                  <a:lnTo>
                    <a:pt x="197" y="288"/>
                  </a:lnTo>
                  <a:lnTo>
                    <a:pt x="197" y="288"/>
                  </a:lnTo>
                  <a:lnTo>
                    <a:pt x="197" y="288"/>
                  </a:lnTo>
                  <a:lnTo>
                    <a:pt x="197" y="290"/>
                  </a:lnTo>
                  <a:lnTo>
                    <a:pt x="200" y="290"/>
                  </a:lnTo>
                  <a:lnTo>
                    <a:pt x="200" y="292"/>
                  </a:lnTo>
                  <a:lnTo>
                    <a:pt x="200" y="292"/>
                  </a:lnTo>
                  <a:lnTo>
                    <a:pt x="197" y="292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197" y="295"/>
                  </a:lnTo>
                  <a:lnTo>
                    <a:pt x="197" y="299"/>
                  </a:lnTo>
                  <a:lnTo>
                    <a:pt x="195" y="299"/>
                  </a:lnTo>
                  <a:lnTo>
                    <a:pt x="195" y="299"/>
                  </a:lnTo>
                  <a:lnTo>
                    <a:pt x="193" y="297"/>
                  </a:lnTo>
                  <a:lnTo>
                    <a:pt x="193" y="297"/>
                  </a:lnTo>
                  <a:lnTo>
                    <a:pt x="193" y="297"/>
                  </a:lnTo>
                  <a:lnTo>
                    <a:pt x="193" y="297"/>
                  </a:lnTo>
                  <a:lnTo>
                    <a:pt x="193" y="297"/>
                  </a:lnTo>
                  <a:lnTo>
                    <a:pt x="191" y="297"/>
                  </a:lnTo>
                  <a:lnTo>
                    <a:pt x="191" y="297"/>
                  </a:lnTo>
                  <a:lnTo>
                    <a:pt x="191" y="297"/>
                  </a:lnTo>
                  <a:lnTo>
                    <a:pt x="191" y="297"/>
                  </a:lnTo>
                  <a:lnTo>
                    <a:pt x="191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8" y="297"/>
                  </a:lnTo>
                  <a:lnTo>
                    <a:pt x="186" y="297"/>
                  </a:lnTo>
                  <a:lnTo>
                    <a:pt x="186" y="297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6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4" y="299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82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1"/>
                  </a:lnTo>
                  <a:lnTo>
                    <a:pt x="179" y="304"/>
                  </a:lnTo>
                  <a:lnTo>
                    <a:pt x="179" y="304"/>
                  </a:lnTo>
                  <a:lnTo>
                    <a:pt x="177" y="304"/>
                  </a:lnTo>
                  <a:lnTo>
                    <a:pt x="177" y="304"/>
                  </a:lnTo>
                  <a:lnTo>
                    <a:pt x="177" y="304"/>
                  </a:lnTo>
                  <a:lnTo>
                    <a:pt x="177" y="304"/>
                  </a:lnTo>
                  <a:lnTo>
                    <a:pt x="177" y="304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4"/>
                  </a:lnTo>
                  <a:lnTo>
                    <a:pt x="175" y="304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5" y="306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3" y="306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08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0"/>
                  </a:lnTo>
                  <a:lnTo>
                    <a:pt x="173" y="313"/>
                  </a:lnTo>
                  <a:lnTo>
                    <a:pt x="173" y="313"/>
                  </a:lnTo>
                  <a:lnTo>
                    <a:pt x="173" y="313"/>
                  </a:lnTo>
                  <a:lnTo>
                    <a:pt x="173" y="313"/>
                  </a:lnTo>
                  <a:lnTo>
                    <a:pt x="173" y="313"/>
                  </a:lnTo>
                  <a:lnTo>
                    <a:pt x="173" y="313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3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70" y="315"/>
                  </a:lnTo>
                  <a:lnTo>
                    <a:pt x="168" y="317"/>
                  </a:lnTo>
                  <a:lnTo>
                    <a:pt x="168" y="317"/>
                  </a:lnTo>
                  <a:lnTo>
                    <a:pt x="168" y="319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6" y="322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22"/>
                  </a:lnTo>
                  <a:lnTo>
                    <a:pt x="164" y="324"/>
                  </a:lnTo>
                  <a:lnTo>
                    <a:pt x="161" y="324"/>
                  </a:lnTo>
                  <a:lnTo>
                    <a:pt x="161" y="324"/>
                  </a:lnTo>
                  <a:lnTo>
                    <a:pt x="161" y="324"/>
                  </a:lnTo>
                  <a:lnTo>
                    <a:pt x="161" y="324"/>
                  </a:lnTo>
                  <a:lnTo>
                    <a:pt x="161" y="324"/>
                  </a:lnTo>
                  <a:lnTo>
                    <a:pt x="161" y="326"/>
                  </a:lnTo>
                  <a:lnTo>
                    <a:pt x="161" y="326"/>
                  </a:lnTo>
                  <a:lnTo>
                    <a:pt x="161" y="326"/>
                  </a:lnTo>
                  <a:lnTo>
                    <a:pt x="161" y="326"/>
                  </a:lnTo>
                  <a:lnTo>
                    <a:pt x="161" y="326"/>
                  </a:lnTo>
                  <a:lnTo>
                    <a:pt x="161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6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9" y="328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7" y="331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3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5" y="335"/>
                  </a:lnTo>
                  <a:lnTo>
                    <a:pt x="152" y="335"/>
                  </a:lnTo>
                  <a:lnTo>
                    <a:pt x="152" y="335"/>
                  </a:lnTo>
                  <a:lnTo>
                    <a:pt x="152" y="335"/>
                  </a:lnTo>
                  <a:lnTo>
                    <a:pt x="152" y="335"/>
                  </a:lnTo>
                  <a:lnTo>
                    <a:pt x="152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7"/>
                  </a:lnTo>
                  <a:lnTo>
                    <a:pt x="150" y="337"/>
                  </a:lnTo>
                  <a:lnTo>
                    <a:pt x="150" y="337"/>
                  </a:lnTo>
                  <a:lnTo>
                    <a:pt x="150" y="337"/>
                  </a:lnTo>
                  <a:lnTo>
                    <a:pt x="150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37"/>
                  </a:lnTo>
                  <a:lnTo>
                    <a:pt x="148" y="340"/>
                  </a:lnTo>
                  <a:lnTo>
                    <a:pt x="148" y="340"/>
                  </a:lnTo>
                  <a:lnTo>
                    <a:pt x="148" y="340"/>
                  </a:lnTo>
                  <a:lnTo>
                    <a:pt x="148" y="340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46" y="342"/>
                  </a:lnTo>
                  <a:lnTo>
                    <a:pt x="146" y="342"/>
                  </a:lnTo>
                  <a:lnTo>
                    <a:pt x="146" y="342"/>
                  </a:lnTo>
                  <a:lnTo>
                    <a:pt x="146" y="342"/>
                  </a:lnTo>
                  <a:lnTo>
                    <a:pt x="146" y="342"/>
                  </a:lnTo>
                  <a:lnTo>
                    <a:pt x="146" y="342"/>
                  </a:lnTo>
                  <a:lnTo>
                    <a:pt x="146" y="342"/>
                  </a:lnTo>
                  <a:lnTo>
                    <a:pt x="143" y="342"/>
                  </a:lnTo>
                  <a:lnTo>
                    <a:pt x="143" y="342"/>
                  </a:lnTo>
                  <a:lnTo>
                    <a:pt x="143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41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9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2"/>
                  </a:lnTo>
                  <a:lnTo>
                    <a:pt x="137" y="344"/>
                  </a:lnTo>
                  <a:lnTo>
                    <a:pt x="137" y="344"/>
                  </a:lnTo>
                  <a:lnTo>
                    <a:pt x="137" y="342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34" y="344"/>
                  </a:lnTo>
                  <a:lnTo>
                    <a:pt x="132" y="344"/>
                  </a:lnTo>
                  <a:lnTo>
                    <a:pt x="132" y="344"/>
                  </a:lnTo>
                  <a:lnTo>
                    <a:pt x="132" y="344"/>
                  </a:lnTo>
                  <a:lnTo>
                    <a:pt x="132" y="344"/>
                  </a:lnTo>
                  <a:lnTo>
                    <a:pt x="132" y="344"/>
                  </a:lnTo>
                  <a:lnTo>
                    <a:pt x="132" y="344"/>
                  </a:lnTo>
                  <a:lnTo>
                    <a:pt x="132" y="344"/>
                  </a:lnTo>
                  <a:lnTo>
                    <a:pt x="130" y="344"/>
                  </a:lnTo>
                  <a:lnTo>
                    <a:pt x="130" y="344"/>
                  </a:lnTo>
                  <a:lnTo>
                    <a:pt x="130" y="344"/>
                  </a:lnTo>
                  <a:lnTo>
                    <a:pt x="130" y="344"/>
                  </a:lnTo>
                  <a:lnTo>
                    <a:pt x="128" y="344"/>
                  </a:lnTo>
                  <a:lnTo>
                    <a:pt x="128" y="344"/>
                  </a:lnTo>
                  <a:lnTo>
                    <a:pt x="128" y="344"/>
                  </a:lnTo>
                  <a:lnTo>
                    <a:pt x="128" y="344"/>
                  </a:lnTo>
                  <a:lnTo>
                    <a:pt x="128" y="344"/>
                  </a:lnTo>
                  <a:lnTo>
                    <a:pt x="128" y="344"/>
                  </a:lnTo>
                  <a:lnTo>
                    <a:pt x="125" y="344"/>
                  </a:lnTo>
                  <a:lnTo>
                    <a:pt x="125" y="344"/>
                  </a:lnTo>
                  <a:lnTo>
                    <a:pt x="125" y="344"/>
                  </a:lnTo>
                  <a:lnTo>
                    <a:pt x="125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3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7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4" y="346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9" y="353"/>
                  </a:lnTo>
                  <a:lnTo>
                    <a:pt x="117" y="355"/>
                  </a:lnTo>
                  <a:lnTo>
                    <a:pt x="114" y="358"/>
                  </a:lnTo>
                  <a:lnTo>
                    <a:pt x="114" y="358"/>
                  </a:lnTo>
                  <a:lnTo>
                    <a:pt x="114" y="360"/>
                  </a:lnTo>
                  <a:lnTo>
                    <a:pt x="114" y="360"/>
                  </a:lnTo>
                  <a:lnTo>
                    <a:pt x="114" y="360"/>
                  </a:lnTo>
                  <a:lnTo>
                    <a:pt x="112" y="362"/>
                  </a:lnTo>
                  <a:lnTo>
                    <a:pt x="112" y="362"/>
                  </a:lnTo>
                  <a:lnTo>
                    <a:pt x="112" y="362"/>
                  </a:lnTo>
                  <a:lnTo>
                    <a:pt x="112" y="362"/>
                  </a:lnTo>
                  <a:lnTo>
                    <a:pt x="110" y="364"/>
                  </a:lnTo>
                  <a:lnTo>
                    <a:pt x="110" y="364"/>
                  </a:lnTo>
                  <a:lnTo>
                    <a:pt x="110" y="364"/>
                  </a:lnTo>
                  <a:lnTo>
                    <a:pt x="110" y="367"/>
                  </a:lnTo>
                  <a:lnTo>
                    <a:pt x="108" y="367"/>
                  </a:lnTo>
                  <a:lnTo>
                    <a:pt x="108" y="367"/>
                  </a:lnTo>
                  <a:lnTo>
                    <a:pt x="99" y="369"/>
                  </a:lnTo>
                  <a:lnTo>
                    <a:pt x="96" y="369"/>
                  </a:lnTo>
                  <a:lnTo>
                    <a:pt x="94" y="369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9"/>
                  </a:lnTo>
                  <a:lnTo>
                    <a:pt x="90" y="369"/>
                  </a:lnTo>
                  <a:lnTo>
                    <a:pt x="87" y="369"/>
                  </a:lnTo>
                  <a:lnTo>
                    <a:pt x="87" y="369"/>
                  </a:lnTo>
                  <a:lnTo>
                    <a:pt x="87" y="369"/>
                  </a:lnTo>
                  <a:lnTo>
                    <a:pt x="87" y="371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5" y="371"/>
                  </a:lnTo>
                  <a:lnTo>
                    <a:pt x="83" y="371"/>
                  </a:lnTo>
                  <a:lnTo>
                    <a:pt x="83" y="371"/>
                  </a:lnTo>
                  <a:lnTo>
                    <a:pt x="83" y="371"/>
                  </a:lnTo>
                  <a:lnTo>
                    <a:pt x="81" y="373"/>
                  </a:lnTo>
                  <a:lnTo>
                    <a:pt x="81" y="373"/>
                  </a:lnTo>
                  <a:lnTo>
                    <a:pt x="81" y="373"/>
                  </a:lnTo>
                  <a:lnTo>
                    <a:pt x="81" y="373"/>
                  </a:lnTo>
                  <a:lnTo>
                    <a:pt x="81" y="373"/>
                  </a:lnTo>
                  <a:lnTo>
                    <a:pt x="81" y="373"/>
                  </a:lnTo>
                  <a:lnTo>
                    <a:pt x="78" y="373"/>
                  </a:lnTo>
                  <a:lnTo>
                    <a:pt x="78" y="373"/>
                  </a:lnTo>
                  <a:lnTo>
                    <a:pt x="78" y="373"/>
                  </a:lnTo>
                  <a:lnTo>
                    <a:pt x="78" y="376"/>
                  </a:lnTo>
                  <a:lnTo>
                    <a:pt x="78" y="376"/>
                  </a:lnTo>
                  <a:lnTo>
                    <a:pt x="78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4" y="378"/>
                  </a:lnTo>
                  <a:lnTo>
                    <a:pt x="74" y="378"/>
                  </a:lnTo>
                  <a:lnTo>
                    <a:pt x="74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78"/>
                  </a:lnTo>
                  <a:lnTo>
                    <a:pt x="72" y="380"/>
                  </a:lnTo>
                  <a:lnTo>
                    <a:pt x="72" y="380"/>
                  </a:lnTo>
                  <a:lnTo>
                    <a:pt x="72" y="380"/>
                  </a:lnTo>
                  <a:lnTo>
                    <a:pt x="69" y="380"/>
                  </a:lnTo>
                  <a:lnTo>
                    <a:pt x="69" y="378"/>
                  </a:lnTo>
                  <a:lnTo>
                    <a:pt x="69" y="378"/>
                  </a:lnTo>
                  <a:lnTo>
                    <a:pt x="69" y="378"/>
                  </a:lnTo>
                  <a:lnTo>
                    <a:pt x="67" y="376"/>
                  </a:lnTo>
                  <a:lnTo>
                    <a:pt x="67" y="376"/>
                  </a:lnTo>
                  <a:lnTo>
                    <a:pt x="67" y="376"/>
                  </a:lnTo>
                  <a:lnTo>
                    <a:pt x="67" y="376"/>
                  </a:lnTo>
                  <a:lnTo>
                    <a:pt x="67" y="376"/>
                  </a:lnTo>
                  <a:lnTo>
                    <a:pt x="67" y="376"/>
                  </a:lnTo>
                  <a:lnTo>
                    <a:pt x="67" y="376"/>
                  </a:lnTo>
                  <a:lnTo>
                    <a:pt x="67" y="373"/>
                  </a:lnTo>
                  <a:lnTo>
                    <a:pt x="67" y="373"/>
                  </a:lnTo>
                  <a:lnTo>
                    <a:pt x="67" y="373"/>
                  </a:lnTo>
                  <a:lnTo>
                    <a:pt x="67" y="373"/>
                  </a:lnTo>
                  <a:lnTo>
                    <a:pt x="67" y="373"/>
                  </a:lnTo>
                  <a:lnTo>
                    <a:pt x="65" y="373"/>
                  </a:lnTo>
                  <a:lnTo>
                    <a:pt x="65" y="373"/>
                  </a:lnTo>
                  <a:lnTo>
                    <a:pt x="65" y="373"/>
                  </a:lnTo>
                  <a:lnTo>
                    <a:pt x="65" y="371"/>
                  </a:lnTo>
                  <a:lnTo>
                    <a:pt x="65" y="371"/>
                  </a:lnTo>
                  <a:lnTo>
                    <a:pt x="65" y="371"/>
                  </a:lnTo>
                  <a:lnTo>
                    <a:pt x="65" y="371"/>
                  </a:lnTo>
                  <a:lnTo>
                    <a:pt x="65" y="371"/>
                  </a:lnTo>
                  <a:lnTo>
                    <a:pt x="65" y="371"/>
                  </a:lnTo>
                  <a:lnTo>
                    <a:pt x="65" y="373"/>
                  </a:lnTo>
                  <a:lnTo>
                    <a:pt x="65" y="373"/>
                  </a:lnTo>
                  <a:lnTo>
                    <a:pt x="65" y="373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3" y="373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3" y="376"/>
                  </a:lnTo>
                  <a:lnTo>
                    <a:pt x="60" y="376"/>
                  </a:lnTo>
                  <a:lnTo>
                    <a:pt x="60" y="378"/>
                  </a:lnTo>
                  <a:lnTo>
                    <a:pt x="58" y="378"/>
                  </a:lnTo>
                  <a:lnTo>
                    <a:pt x="58" y="378"/>
                  </a:lnTo>
                  <a:lnTo>
                    <a:pt x="58" y="378"/>
                  </a:lnTo>
                  <a:lnTo>
                    <a:pt x="58" y="378"/>
                  </a:lnTo>
                  <a:lnTo>
                    <a:pt x="56" y="378"/>
                  </a:lnTo>
                  <a:lnTo>
                    <a:pt x="56" y="378"/>
                  </a:lnTo>
                  <a:lnTo>
                    <a:pt x="56" y="378"/>
                  </a:lnTo>
                  <a:lnTo>
                    <a:pt x="56" y="378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4" y="380"/>
                  </a:lnTo>
                  <a:lnTo>
                    <a:pt x="54" y="380"/>
                  </a:lnTo>
                  <a:lnTo>
                    <a:pt x="54" y="380"/>
                  </a:lnTo>
                  <a:lnTo>
                    <a:pt x="49" y="382"/>
                  </a:lnTo>
                  <a:lnTo>
                    <a:pt x="49" y="382"/>
                  </a:lnTo>
                  <a:lnTo>
                    <a:pt x="49" y="380"/>
                  </a:lnTo>
                  <a:lnTo>
                    <a:pt x="47" y="380"/>
                  </a:lnTo>
                  <a:lnTo>
                    <a:pt x="47" y="380"/>
                  </a:lnTo>
                  <a:lnTo>
                    <a:pt x="45" y="380"/>
                  </a:lnTo>
                  <a:lnTo>
                    <a:pt x="45" y="380"/>
                  </a:lnTo>
                  <a:lnTo>
                    <a:pt x="42" y="380"/>
                  </a:lnTo>
                  <a:lnTo>
                    <a:pt x="45" y="378"/>
                  </a:lnTo>
                  <a:lnTo>
                    <a:pt x="45" y="378"/>
                  </a:lnTo>
                  <a:lnTo>
                    <a:pt x="45" y="376"/>
                  </a:lnTo>
                  <a:lnTo>
                    <a:pt x="45" y="373"/>
                  </a:lnTo>
                  <a:lnTo>
                    <a:pt x="45" y="373"/>
                  </a:lnTo>
                  <a:lnTo>
                    <a:pt x="45" y="373"/>
                  </a:lnTo>
                  <a:lnTo>
                    <a:pt x="42" y="373"/>
                  </a:lnTo>
                  <a:lnTo>
                    <a:pt x="42" y="373"/>
                  </a:lnTo>
                  <a:lnTo>
                    <a:pt x="42" y="371"/>
                  </a:lnTo>
                  <a:lnTo>
                    <a:pt x="40" y="364"/>
                  </a:lnTo>
                  <a:lnTo>
                    <a:pt x="38" y="358"/>
                  </a:lnTo>
                  <a:lnTo>
                    <a:pt x="36" y="358"/>
                  </a:lnTo>
                  <a:lnTo>
                    <a:pt x="36" y="355"/>
                  </a:lnTo>
                  <a:lnTo>
                    <a:pt x="33" y="353"/>
                  </a:lnTo>
                  <a:lnTo>
                    <a:pt x="33" y="353"/>
                  </a:lnTo>
                  <a:lnTo>
                    <a:pt x="33" y="353"/>
                  </a:lnTo>
                  <a:lnTo>
                    <a:pt x="33" y="353"/>
                  </a:lnTo>
                  <a:lnTo>
                    <a:pt x="33" y="353"/>
                  </a:lnTo>
                  <a:lnTo>
                    <a:pt x="31" y="353"/>
                  </a:lnTo>
                  <a:lnTo>
                    <a:pt x="31" y="353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49"/>
                  </a:lnTo>
                  <a:lnTo>
                    <a:pt x="29" y="349"/>
                  </a:lnTo>
                  <a:lnTo>
                    <a:pt x="29" y="349"/>
                  </a:lnTo>
                  <a:lnTo>
                    <a:pt x="29" y="349"/>
                  </a:lnTo>
                  <a:lnTo>
                    <a:pt x="29" y="349"/>
                  </a:lnTo>
                  <a:lnTo>
                    <a:pt x="29" y="349"/>
                  </a:lnTo>
                  <a:lnTo>
                    <a:pt x="29" y="349"/>
                  </a:lnTo>
                  <a:lnTo>
                    <a:pt x="20" y="340"/>
                  </a:lnTo>
                  <a:lnTo>
                    <a:pt x="20" y="340"/>
                  </a:lnTo>
                  <a:lnTo>
                    <a:pt x="18" y="340"/>
                  </a:lnTo>
                  <a:lnTo>
                    <a:pt x="13" y="331"/>
                  </a:lnTo>
                  <a:lnTo>
                    <a:pt x="11" y="328"/>
                  </a:lnTo>
                  <a:lnTo>
                    <a:pt x="11" y="328"/>
                  </a:lnTo>
                  <a:lnTo>
                    <a:pt x="11" y="326"/>
                  </a:lnTo>
                  <a:lnTo>
                    <a:pt x="13" y="326"/>
                  </a:lnTo>
                  <a:lnTo>
                    <a:pt x="15" y="324"/>
                  </a:lnTo>
                  <a:lnTo>
                    <a:pt x="15" y="322"/>
                  </a:lnTo>
                  <a:lnTo>
                    <a:pt x="15" y="322"/>
                  </a:lnTo>
                  <a:lnTo>
                    <a:pt x="15" y="322"/>
                  </a:lnTo>
                  <a:lnTo>
                    <a:pt x="15" y="322"/>
                  </a:lnTo>
                  <a:lnTo>
                    <a:pt x="15" y="322"/>
                  </a:lnTo>
                  <a:lnTo>
                    <a:pt x="20" y="322"/>
                  </a:lnTo>
                  <a:lnTo>
                    <a:pt x="27" y="322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3" y="322"/>
                  </a:lnTo>
                  <a:lnTo>
                    <a:pt x="36" y="322"/>
                  </a:lnTo>
                  <a:lnTo>
                    <a:pt x="36" y="322"/>
                  </a:lnTo>
                  <a:lnTo>
                    <a:pt x="36" y="322"/>
                  </a:lnTo>
                  <a:lnTo>
                    <a:pt x="36" y="322"/>
                  </a:lnTo>
                  <a:lnTo>
                    <a:pt x="38" y="322"/>
                  </a:lnTo>
                  <a:lnTo>
                    <a:pt x="40" y="322"/>
                  </a:lnTo>
                  <a:lnTo>
                    <a:pt x="42" y="322"/>
                  </a:lnTo>
                  <a:lnTo>
                    <a:pt x="47" y="322"/>
                  </a:lnTo>
                  <a:lnTo>
                    <a:pt x="47" y="322"/>
                  </a:lnTo>
                  <a:lnTo>
                    <a:pt x="47" y="319"/>
                  </a:lnTo>
                  <a:lnTo>
                    <a:pt x="45" y="319"/>
                  </a:lnTo>
                  <a:lnTo>
                    <a:pt x="45" y="319"/>
                  </a:lnTo>
                  <a:lnTo>
                    <a:pt x="42" y="317"/>
                  </a:lnTo>
                  <a:lnTo>
                    <a:pt x="42" y="317"/>
                  </a:lnTo>
                  <a:lnTo>
                    <a:pt x="42" y="317"/>
                  </a:lnTo>
                  <a:lnTo>
                    <a:pt x="42" y="317"/>
                  </a:lnTo>
                  <a:lnTo>
                    <a:pt x="38" y="313"/>
                  </a:lnTo>
                  <a:lnTo>
                    <a:pt x="38" y="313"/>
                  </a:lnTo>
                  <a:lnTo>
                    <a:pt x="38" y="313"/>
                  </a:lnTo>
                  <a:lnTo>
                    <a:pt x="38" y="313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10"/>
                  </a:lnTo>
                  <a:lnTo>
                    <a:pt x="38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8"/>
                  </a:lnTo>
                  <a:lnTo>
                    <a:pt x="36" y="306"/>
                  </a:lnTo>
                  <a:lnTo>
                    <a:pt x="36" y="306"/>
                  </a:lnTo>
                  <a:lnTo>
                    <a:pt x="36" y="306"/>
                  </a:lnTo>
                  <a:lnTo>
                    <a:pt x="36" y="306"/>
                  </a:lnTo>
                  <a:lnTo>
                    <a:pt x="33" y="301"/>
                  </a:lnTo>
                  <a:lnTo>
                    <a:pt x="33" y="301"/>
                  </a:lnTo>
                  <a:lnTo>
                    <a:pt x="33" y="299"/>
                  </a:lnTo>
                  <a:lnTo>
                    <a:pt x="33" y="299"/>
                  </a:lnTo>
                  <a:lnTo>
                    <a:pt x="33" y="299"/>
                  </a:lnTo>
                  <a:lnTo>
                    <a:pt x="33" y="299"/>
                  </a:lnTo>
                  <a:lnTo>
                    <a:pt x="33" y="297"/>
                  </a:lnTo>
                  <a:lnTo>
                    <a:pt x="33" y="292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3" y="290"/>
                  </a:lnTo>
                  <a:lnTo>
                    <a:pt x="33" y="288"/>
                  </a:lnTo>
                  <a:lnTo>
                    <a:pt x="33" y="288"/>
                  </a:lnTo>
                  <a:lnTo>
                    <a:pt x="33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3" y="286"/>
                  </a:lnTo>
                  <a:lnTo>
                    <a:pt x="36" y="286"/>
                  </a:lnTo>
                  <a:lnTo>
                    <a:pt x="36" y="283"/>
                  </a:lnTo>
                  <a:lnTo>
                    <a:pt x="36" y="283"/>
                  </a:lnTo>
                  <a:lnTo>
                    <a:pt x="33" y="283"/>
                  </a:lnTo>
                  <a:lnTo>
                    <a:pt x="33" y="283"/>
                  </a:lnTo>
                  <a:lnTo>
                    <a:pt x="33" y="281"/>
                  </a:lnTo>
                  <a:lnTo>
                    <a:pt x="33" y="281"/>
                  </a:lnTo>
                  <a:lnTo>
                    <a:pt x="33" y="281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3" y="279"/>
                  </a:lnTo>
                  <a:lnTo>
                    <a:pt x="36" y="279"/>
                  </a:lnTo>
                  <a:lnTo>
                    <a:pt x="33" y="277"/>
                  </a:lnTo>
                  <a:lnTo>
                    <a:pt x="33" y="277"/>
                  </a:lnTo>
                  <a:lnTo>
                    <a:pt x="33" y="277"/>
                  </a:lnTo>
                  <a:lnTo>
                    <a:pt x="33" y="277"/>
                  </a:lnTo>
                  <a:lnTo>
                    <a:pt x="33" y="277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4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2"/>
                  </a:lnTo>
                  <a:lnTo>
                    <a:pt x="33" y="270"/>
                  </a:lnTo>
                  <a:lnTo>
                    <a:pt x="33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29" y="270"/>
                  </a:lnTo>
                  <a:lnTo>
                    <a:pt x="31" y="270"/>
                  </a:lnTo>
                  <a:lnTo>
                    <a:pt x="31" y="270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29" y="268"/>
                  </a:lnTo>
                  <a:lnTo>
                    <a:pt x="29" y="268"/>
                  </a:lnTo>
                  <a:lnTo>
                    <a:pt x="29" y="268"/>
                  </a:lnTo>
                  <a:lnTo>
                    <a:pt x="31" y="268"/>
                  </a:lnTo>
                  <a:lnTo>
                    <a:pt x="31" y="268"/>
                  </a:lnTo>
                  <a:lnTo>
                    <a:pt x="31" y="265"/>
                  </a:lnTo>
                  <a:lnTo>
                    <a:pt x="31" y="265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7" y="259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2" y="256"/>
                  </a:lnTo>
                  <a:lnTo>
                    <a:pt x="22" y="256"/>
                  </a:lnTo>
                  <a:lnTo>
                    <a:pt x="22" y="256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2" y="250"/>
                  </a:lnTo>
                  <a:lnTo>
                    <a:pt x="22" y="250"/>
                  </a:lnTo>
                  <a:lnTo>
                    <a:pt x="22" y="250"/>
                  </a:lnTo>
                  <a:lnTo>
                    <a:pt x="20" y="250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13" y="247"/>
                  </a:lnTo>
                  <a:lnTo>
                    <a:pt x="2" y="232"/>
                  </a:lnTo>
                  <a:lnTo>
                    <a:pt x="2" y="232"/>
                  </a:lnTo>
                  <a:lnTo>
                    <a:pt x="2" y="232"/>
                  </a:lnTo>
                  <a:lnTo>
                    <a:pt x="2" y="229"/>
                  </a:lnTo>
                  <a:lnTo>
                    <a:pt x="2" y="229"/>
                  </a:lnTo>
                  <a:lnTo>
                    <a:pt x="2" y="229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2" y="225"/>
                  </a:lnTo>
                  <a:lnTo>
                    <a:pt x="2" y="225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0" y="220"/>
                  </a:lnTo>
                  <a:lnTo>
                    <a:pt x="0" y="218"/>
                  </a:lnTo>
                  <a:lnTo>
                    <a:pt x="0" y="216"/>
                  </a:lnTo>
                  <a:lnTo>
                    <a:pt x="0" y="216"/>
                  </a:lnTo>
                  <a:lnTo>
                    <a:pt x="0" y="214"/>
                  </a:lnTo>
                  <a:lnTo>
                    <a:pt x="0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2" y="212"/>
                  </a:lnTo>
                  <a:lnTo>
                    <a:pt x="2" y="209"/>
                  </a:lnTo>
                  <a:lnTo>
                    <a:pt x="2" y="209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4" y="209"/>
                  </a:lnTo>
                  <a:lnTo>
                    <a:pt x="6" y="209"/>
                  </a:lnTo>
                  <a:lnTo>
                    <a:pt x="6" y="207"/>
                  </a:lnTo>
                  <a:lnTo>
                    <a:pt x="6" y="207"/>
                  </a:lnTo>
                  <a:lnTo>
                    <a:pt x="4" y="207"/>
                  </a:lnTo>
                  <a:lnTo>
                    <a:pt x="4" y="207"/>
                  </a:lnTo>
                  <a:lnTo>
                    <a:pt x="4" y="205"/>
                  </a:lnTo>
                  <a:lnTo>
                    <a:pt x="4" y="205"/>
                  </a:lnTo>
                  <a:lnTo>
                    <a:pt x="6" y="205"/>
                  </a:lnTo>
                  <a:lnTo>
                    <a:pt x="6" y="203"/>
                  </a:lnTo>
                  <a:lnTo>
                    <a:pt x="6" y="200"/>
                  </a:lnTo>
                  <a:lnTo>
                    <a:pt x="6" y="200"/>
                  </a:lnTo>
                  <a:lnTo>
                    <a:pt x="9" y="200"/>
                  </a:lnTo>
                  <a:lnTo>
                    <a:pt x="9" y="198"/>
                  </a:lnTo>
                  <a:lnTo>
                    <a:pt x="9" y="198"/>
                  </a:lnTo>
                  <a:lnTo>
                    <a:pt x="9" y="196"/>
                  </a:lnTo>
                  <a:lnTo>
                    <a:pt x="11" y="196"/>
                  </a:lnTo>
                  <a:lnTo>
                    <a:pt x="11" y="194"/>
                  </a:lnTo>
                  <a:lnTo>
                    <a:pt x="11" y="194"/>
                  </a:lnTo>
                  <a:lnTo>
                    <a:pt x="13" y="194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89"/>
                  </a:lnTo>
                  <a:lnTo>
                    <a:pt x="15" y="189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8" y="185"/>
                  </a:lnTo>
                  <a:lnTo>
                    <a:pt x="18" y="185"/>
                  </a:lnTo>
                  <a:lnTo>
                    <a:pt x="18" y="182"/>
                  </a:lnTo>
                  <a:lnTo>
                    <a:pt x="20" y="182"/>
                  </a:lnTo>
                  <a:lnTo>
                    <a:pt x="20" y="180"/>
                  </a:lnTo>
                  <a:lnTo>
                    <a:pt x="22" y="178"/>
                  </a:lnTo>
                  <a:lnTo>
                    <a:pt x="22" y="178"/>
                  </a:lnTo>
                  <a:lnTo>
                    <a:pt x="24" y="176"/>
                  </a:lnTo>
                  <a:lnTo>
                    <a:pt x="24" y="176"/>
                  </a:lnTo>
                  <a:lnTo>
                    <a:pt x="27" y="173"/>
                  </a:lnTo>
                  <a:lnTo>
                    <a:pt x="27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31" y="169"/>
                  </a:lnTo>
                  <a:lnTo>
                    <a:pt x="31" y="167"/>
                  </a:lnTo>
                  <a:lnTo>
                    <a:pt x="33" y="164"/>
                  </a:lnTo>
                  <a:lnTo>
                    <a:pt x="33" y="164"/>
                  </a:lnTo>
                  <a:lnTo>
                    <a:pt x="36" y="162"/>
                  </a:lnTo>
                  <a:lnTo>
                    <a:pt x="36" y="160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3"/>
                  </a:lnTo>
                  <a:lnTo>
                    <a:pt x="40" y="153"/>
                  </a:lnTo>
                  <a:lnTo>
                    <a:pt x="40" y="151"/>
                  </a:lnTo>
                  <a:lnTo>
                    <a:pt x="40" y="151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0" y="146"/>
                  </a:lnTo>
                  <a:lnTo>
                    <a:pt x="40" y="146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0" y="135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31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4"/>
                  </a:lnTo>
                  <a:lnTo>
                    <a:pt x="42" y="124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2" y="113"/>
                  </a:lnTo>
                  <a:lnTo>
                    <a:pt x="42" y="113"/>
                  </a:lnTo>
                  <a:lnTo>
                    <a:pt x="42" y="110"/>
                  </a:lnTo>
                  <a:lnTo>
                    <a:pt x="42" y="110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1"/>
                  </a:lnTo>
                  <a:lnTo>
                    <a:pt x="47" y="79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7" y="74"/>
                  </a:lnTo>
                  <a:lnTo>
                    <a:pt x="47" y="72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3"/>
                  </a:lnTo>
                  <a:lnTo>
                    <a:pt x="31" y="41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0"/>
                  </a:lnTo>
                  <a:lnTo>
                    <a:pt x="29" y="18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9" y="2"/>
                  </a:lnTo>
                  <a:lnTo>
                    <a:pt x="51" y="2"/>
                  </a:lnTo>
                  <a:lnTo>
                    <a:pt x="54" y="5"/>
                  </a:lnTo>
                  <a:lnTo>
                    <a:pt x="56" y="7"/>
                  </a:lnTo>
                  <a:lnTo>
                    <a:pt x="58" y="7"/>
                  </a:lnTo>
                  <a:lnTo>
                    <a:pt x="63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4"/>
                  </a:lnTo>
                  <a:lnTo>
                    <a:pt x="72" y="16"/>
                  </a:lnTo>
                  <a:lnTo>
                    <a:pt x="74" y="16"/>
                  </a:lnTo>
                  <a:lnTo>
                    <a:pt x="76" y="18"/>
                  </a:lnTo>
                  <a:lnTo>
                    <a:pt x="81" y="18"/>
                  </a:lnTo>
                  <a:lnTo>
                    <a:pt x="83" y="20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90" y="25"/>
                  </a:lnTo>
                  <a:lnTo>
                    <a:pt x="92" y="27"/>
                  </a:lnTo>
                  <a:lnTo>
                    <a:pt x="94" y="27"/>
                  </a:lnTo>
                  <a:lnTo>
                    <a:pt x="99" y="29"/>
                  </a:lnTo>
                  <a:lnTo>
                    <a:pt x="101" y="32"/>
                  </a:lnTo>
                  <a:lnTo>
                    <a:pt x="103" y="32"/>
                  </a:lnTo>
                  <a:lnTo>
                    <a:pt x="105" y="34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4" y="38"/>
                  </a:lnTo>
                  <a:lnTo>
                    <a:pt x="117" y="41"/>
                  </a:lnTo>
                  <a:lnTo>
                    <a:pt x="119" y="41"/>
                  </a:lnTo>
                  <a:lnTo>
                    <a:pt x="121" y="43"/>
                  </a:lnTo>
                  <a:lnTo>
                    <a:pt x="123" y="43"/>
                  </a:lnTo>
                  <a:lnTo>
                    <a:pt x="125" y="45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34" y="50"/>
                  </a:lnTo>
                  <a:lnTo>
                    <a:pt x="137" y="52"/>
                  </a:lnTo>
                  <a:lnTo>
                    <a:pt x="139" y="52"/>
                  </a:lnTo>
                  <a:lnTo>
                    <a:pt x="141" y="54"/>
                  </a:lnTo>
                  <a:lnTo>
                    <a:pt x="143" y="56"/>
                  </a:lnTo>
                  <a:lnTo>
                    <a:pt x="148" y="56"/>
                  </a:lnTo>
                  <a:lnTo>
                    <a:pt x="150" y="59"/>
                  </a:lnTo>
                  <a:lnTo>
                    <a:pt x="152" y="61"/>
                  </a:lnTo>
                  <a:lnTo>
                    <a:pt x="155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61" y="65"/>
                  </a:lnTo>
                  <a:lnTo>
                    <a:pt x="166" y="68"/>
                  </a:lnTo>
                  <a:lnTo>
                    <a:pt x="168" y="68"/>
                  </a:lnTo>
                  <a:lnTo>
                    <a:pt x="170" y="70"/>
                  </a:lnTo>
                  <a:lnTo>
                    <a:pt x="173" y="72"/>
                  </a:lnTo>
                  <a:lnTo>
                    <a:pt x="175" y="72"/>
                  </a:lnTo>
                  <a:lnTo>
                    <a:pt x="177" y="74"/>
                  </a:lnTo>
                  <a:lnTo>
                    <a:pt x="182" y="77"/>
                  </a:lnTo>
                  <a:lnTo>
                    <a:pt x="184" y="77"/>
                  </a:lnTo>
                  <a:lnTo>
                    <a:pt x="186" y="79"/>
                  </a:lnTo>
                  <a:lnTo>
                    <a:pt x="188" y="81"/>
                  </a:lnTo>
                  <a:lnTo>
                    <a:pt x="191" y="81"/>
                  </a:lnTo>
                  <a:lnTo>
                    <a:pt x="193" y="83"/>
                  </a:lnTo>
                  <a:lnTo>
                    <a:pt x="195" y="86"/>
                  </a:lnTo>
                  <a:lnTo>
                    <a:pt x="200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6" y="90"/>
                  </a:lnTo>
                  <a:lnTo>
                    <a:pt x="209" y="92"/>
                  </a:lnTo>
                  <a:lnTo>
                    <a:pt x="211" y="92"/>
                  </a:lnTo>
                  <a:lnTo>
                    <a:pt x="215" y="95"/>
                  </a:lnTo>
                  <a:lnTo>
                    <a:pt x="215" y="101"/>
                  </a:lnTo>
                  <a:lnTo>
                    <a:pt x="215" y="106"/>
                  </a:lnTo>
                  <a:lnTo>
                    <a:pt x="215" y="110"/>
                  </a:lnTo>
                  <a:lnTo>
                    <a:pt x="215" y="117"/>
                  </a:lnTo>
                  <a:lnTo>
                    <a:pt x="215" y="122"/>
                  </a:lnTo>
                  <a:lnTo>
                    <a:pt x="215" y="128"/>
                  </a:lnTo>
                  <a:lnTo>
                    <a:pt x="215" y="133"/>
                  </a:lnTo>
                  <a:lnTo>
                    <a:pt x="215" y="140"/>
                  </a:lnTo>
                  <a:lnTo>
                    <a:pt x="215" y="144"/>
                  </a:lnTo>
                  <a:lnTo>
                    <a:pt x="215" y="151"/>
                  </a:lnTo>
                  <a:lnTo>
                    <a:pt x="218" y="155"/>
                  </a:lnTo>
                  <a:lnTo>
                    <a:pt x="218" y="162"/>
                  </a:lnTo>
                  <a:lnTo>
                    <a:pt x="218" y="167"/>
                  </a:lnTo>
                  <a:lnTo>
                    <a:pt x="218" y="173"/>
                  </a:lnTo>
                  <a:lnTo>
                    <a:pt x="218" y="178"/>
                  </a:lnTo>
                  <a:lnTo>
                    <a:pt x="218" y="18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8" name="Freeform 626"/>
            <p:cNvSpPr>
              <a:spLocks/>
            </p:cNvSpPr>
            <p:nvPr/>
          </p:nvSpPr>
          <p:spPr bwMode="auto">
            <a:xfrm>
              <a:off x="6147336" y="3529511"/>
              <a:ext cx="457970" cy="349327"/>
            </a:xfrm>
            <a:custGeom>
              <a:avLst/>
              <a:gdLst>
                <a:gd name="T0" fmla="*/ 193 w 274"/>
                <a:gd name="T1" fmla="*/ 36 h 209"/>
                <a:gd name="T2" fmla="*/ 193 w 274"/>
                <a:gd name="T3" fmla="*/ 47 h 209"/>
                <a:gd name="T4" fmla="*/ 204 w 274"/>
                <a:gd name="T5" fmla="*/ 56 h 209"/>
                <a:gd name="T6" fmla="*/ 209 w 274"/>
                <a:gd name="T7" fmla="*/ 65 h 209"/>
                <a:gd name="T8" fmla="*/ 225 w 274"/>
                <a:gd name="T9" fmla="*/ 74 h 209"/>
                <a:gd name="T10" fmla="*/ 229 w 274"/>
                <a:gd name="T11" fmla="*/ 85 h 209"/>
                <a:gd name="T12" fmla="*/ 240 w 274"/>
                <a:gd name="T13" fmla="*/ 92 h 209"/>
                <a:gd name="T14" fmla="*/ 245 w 274"/>
                <a:gd name="T15" fmla="*/ 99 h 209"/>
                <a:gd name="T16" fmla="*/ 252 w 274"/>
                <a:gd name="T17" fmla="*/ 110 h 209"/>
                <a:gd name="T18" fmla="*/ 256 w 274"/>
                <a:gd name="T19" fmla="*/ 119 h 209"/>
                <a:gd name="T20" fmla="*/ 267 w 274"/>
                <a:gd name="T21" fmla="*/ 126 h 209"/>
                <a:gd name="T22" fmla="*/ 269 w 274"/>
                <a:gd name="T23" fmla="*/ 133 h 209"/>
                <a:gd name="T24" fmla="*/ 265 w 274"/>
                <a:gd name="T25" fmla="*/ 139 h 209"/>
                <a:gd name="T26" fmla="*/ 258 w 274"/>
                <a:gd name="T27" fmla="*/ 142 h 209"/>
                <a:gd name="T28" fmla="*/ 249 w 274"/>
                <a:gd name="T29" fmla="*/ 139 h 209"/>
                <a:gd name="T30" fmla="*/ 247 w 274"/>
                <a:gd name="T31" fmla="*/ 137 h 209"/>
                <a:gd name="T32" fmla="*/ 240 w 274"/>
                <a:gd name="T33" fmla="*/ 137 h 209"/>
                <a:gd name="T34" fmla="*/ 236 w 274"/>
                <a:gd name="T35" fmla="*/ 135 h 209"/>
                <a:gd name="T36" fmla="*/ 229 w 274"/>
                <a:gd name="T37" fmla="*/ 139 h 209"/>
                <a:gd name="T38" fmla="*/ 225 w 274"/>
                <a:gd name="T39" fmla="*/ 144 h 209"/>
                <a:gd name="T40" fmla="*/ 216 w 274"/>
                <a:gd name="T41" fmla="*/ 144 h 209"/>
                <a:gd name="T42" fmla="*/ 211 w 274"/>
                <a:gd name="T43" fmla="*/ 142 h 209"/>
                <a:gd name="T44" fmla="*/ 202 w 274"/>
                <a:gd name="T45" fmla="*/ 146 h 209"/>
                <a:gd name="T46" fmla="*/ 191 w 274"/>
                <a:gd name="T47" fmla="*/ 153 h 209"/>
                <a:gd name="T48" fmla="*/ 182 w 274"/>
                <a:gd name="T49" fmla="*/ 148 h 209"/>
                <a:gd name="T50" fmla="*/ 177 w 274"/>
                <a:gd name="T51" fmla="*/ 151 h 209"/>
                <a:gd name="T52" fmla="*/ 173 w 274"/>
                <a:gd name="T53" fmla="*/ 160 h 209"/>
                <a:gd name="T54" fmla="*/ 159 w 274"/>
                <a:gd name="T55" fmla="*/ 162 h 209"/>
                <a:gd name="T56" fmla="*/ 148 w 274"/>
                <a:gd name="T57" fmla="*/ 160 h 209"/>
                <a:gd name="T58" fmla="*/ 137 w 274"/>
                <a:gd name="T59" fmla="*/ 155 h 209"/>
                <a:gd name="T60" fmla="*/ 121 w 274"/>
                <a:gd name="T61" fmla="*/ 146 h 209"/>
                <a:gd name="T62" fmla="*/ 103 w 274"/>
                <a:gd name="T63" fmla="*/ 144 h 209"/>
                <a:gd name="T64" fmla="*/ 92 w 274"/>
                <a:gd name="T65" fmla="*/ 157 h 209"/>
                <a:gd name="T66" fmla="*/ 88 w 274"/>
                <a:gd name="T67" fmla="*/ 175 h 209"/>
                <a:gd name="T68" fmla="*/ 79 w 274"/>
                <a:gd name="T69" fmla="*/ 178 h 209"/>
                <a:gd name="T70" fmla="*/ 67 w 274"/>
                <a:gd name="T71" fmla="*/ 175 h 209"/>
                <a:gd name="T72" fmla="*/ 56 w 274"/>
                <a:gd name="T73" fmla="*/ 178 h 209"/>
                <a:gd name="T74" fmla="*/ 47 w 274"/>
                <a:gd name="T75" fmla="*/ 180 h 209"/>
                <a:gd name="T76" fmla="*/ 38 w 274"/>
                <a:gd name="T77" fmla="*/ 207 h 209"/>
                <a:gd name="T78" fmla="*/ 36 w 274"/>
                <a:gd name="T79" fmla="*/ 198 h 209"/>
                <a:gd name="T80" fmla="*/ 31 w 274"/>
                <a:gd name="T81" fmla="*/ 189 h 209"/>
                <a:gd name="T82" fmla="*/ 18 w 274"/>
                <a:gd name="T83" fmla="*/ 164 h 209"/>
                <a:gd name="T84" fmla="*/ 7 w 274"/>
                <a:gd name="T85" fmla="*/ 144 h 209"/>
                <a:gd name="T86" fmla="*/ 4 w 274"/>
                <a:gd name="T87" fmla="*/ 133 h 209"/>
                <a:gd name="T88" fmla="*/ 2 w 274"/>
                <a:gd name="T89" fmla="*/ 119 h 209"/>
                <a:gd name="T90" fmla="*/ 9 w 274"/>
                <a:gd name="T91" fmla="*/ 112 h 209"/>
                <a:gd name="T92" fmla="*/ 18 w 274"/>
                <a:gd name="T93" fmla="*/ 88 h 209"/>
                <a:gd name="T94" fmla="*/ 36 w 274"/>
                <a:gd name="T95" fmla="*/ 81 h 209"/>
                <a:gd name="T96" fmla="*/ 45 w 274"/>
                <a:gd name="T97" fmla="*/ 76 h 209"/>
                <a:gd name="T98" fmla="*/ 52 w 274"/>
                <a:gd name="T99" fmla="*/ 81 h 209"/>
                <a:gd name="T100" fmla="*/ 61 w 274"/>
                <a:gd name="T101" fmla="*/ 76 h 209"/>
                <a:gd name="T102" fmla="*/ 92 w 274"/>
                <a:gd name="T103" fmla="*/ 65 h 209"/>
                <a:gd name="T104" fmla="*/ 94 w 274"/>
                <a:gd name="T105" fmla="*/ 49 h 209"/>
                <a:gd name="T106" fmla="*/ 103 w 274"/>
                <a:gd name="T107" fmla="*/ 47 h 209"/>
                <a:gd name="T108" fmla="*/ 117 w 274"/>
                <a:gd name="T109" fmla="*/ 45 h 209"/>
                <a:gd name="T110" fmla="*/ 119 w 274"/>
                <a:gd name="T111" fmla="*/ 45 h 209"/>
                <a:gd name="T112" fmla="*/ 128 w 274"/>
                <a:gd name="T113" fmla="*/ 40 h 209"/>
                <a:gd name="T114" fmla="*/ 135 w 274"/>
                <a:gd name="T115" fmla="*/ 36 h 209"/>
                <a:gd name="T116" fmla="*/ 139 w 274"/>
                <a:gd name="T117" fmla="*/ 29 h 209"/>
                <a:gd name="T118" fmla="*/ 148 w 274"/>
                <a:gd name="T119" fmla="*/ 22 h 209"/>
                <a:gd name="T120" fmla="*/ 153 w 274"/>
                <a:gd name="T121" fmla="*/ 13 h 209"/>
                <a:gd name="T122" fmla="*/ 159 w 274"/>
                <a:gd name="T123" fmla="*/ 7 h 209"/>
                <a:gd name="T124" fmla="*/ 168 w 274"/>
                <a:gd name="T125" fmla="*/ 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4" h="209">
                  <a:moveTo>
                    <a:pt x="168" y="0"/>
                  </a:moveTo>
                  <a:lnTo>
                    <a:pt x="171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3" y="0"/>
                  </a:lnTo>
                  <a:lnTo>
                    <a:pt x="175" y="2"/>
                  </a:lnTo>
                  <a:lnTo>
                    <a:pt x="175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80" y="7"/>
                  </a:lnTo>
                  <a:lnTo>
                    <a:pt x="182" y="9"/>
                  </a:lnTo>
                  <a:lnTo>
                    <a:pt x="186" y="13"/>
                  </a:lnTo>
                  <a:lnTo>
                    <a:pt x="193" y="27"/>
                  </a:lnTo>
                  <a:lnTo>
                    <a:pt x="193" y="27"/>
                  </a:lnTo>
                  <a:lnTo>
                    <a:pt x="195" y="31"/>
                  </a:lnTo>
                  <a:lnTo>
                    <a:pt x="193" y="31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0"/>
                  </a:lnTo>
                  <a:lnTo>
                    <a:pt x="193" y="43"/>
                  </a:lnTo>
                  <a:lnTo>
                    <a:pt x="193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3"/>
                  </a:lnTo>
                  <a:lnTo>
                    <a:pt x="191" y="45"/>
                  </a:lnTo>
                  <a:lnTo>
                    <a:pt x="189" y="47"/>
                  </a:lnTo>
                  <a:lnTo>
                    <a:pt x="189" y="47"/>
                  </a:lnTo>
                  <a:lnTo>
                    <a:pt x="191" y="47"/>
                  </a:lnTo>
                  <a:lnTo>
                    <a:pt x="191" y="49"/>
                  </a:lnTo>
                  <a:lnTo>
                    <a:pt x="191" y="49"/>
                  </a:lnTo>
                  <a:lnTo>
                    <a:pt x="191" y="47"/>
                  </a:lnTo>
                  <a:lnTo>
                    <a:pt x="193" y="47"/>
                  </a:lnTo>
                  <a:lnTo>
                    <a:pt x="193" y="47"/>
                  </a:lnTo>
                  <a:lnTo>
                    <a:pt x="193" y="49"/>
                  </a:lnTo>
                  <a:lnTo>
                    <a:pt x="193" y="49"/>
                  </a:lnTo>
                  <a:lnTo>
                    <a:pt x="191" y="52"/>
                  </a:lnTo>
                  <a:lnTo>
                    <a:pt x="191" y="52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1" y="54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93" y="54"/>
                  </a:lnTo>
                  <a:lnTo>
                    <a:pt x="195" y="54"/>
                  </a:lnTo>
                  <a:lnTo>
                    <a:pt x="195" y="54"/>
                  </a:lnTo>
                  <a:lnTo>
                    <a:pt x="195" y="54"/>
                  </a:lnTo>
                  <a:lnTo>
                    <a:pt x="195" y="54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200" y="54"/>
                  </a:lnTo>
                  <a:lnTo>
                    <a:pt x="200" y="54"/>
                  </a:lnTo>
                  <a:lnTo>
                    <a:pt x="202" y="54"/>
                  </a:lnTo>
                  <a:lnTo>
                    <a:pt x="202" y="54"/>
                  </a:lnTo>
                  <a:lnTo>
                    <a:pt x="204" y="56"/>
                  </a:lnTo>
                  <a:lnTo>
                    <a:pt x="204" y="54"/>
                  </a:lnTo>
                  <a:lnTo>
                    <a:pt x="207" y="54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7" y="58"/>
                  </a:lnTo>
                  <a:lnTo>
                    <a:pt x="204" y="61"/>
                  </a:lnTo>
                  <a:lnTo>
                    <a:pt x="204" y="63"/>
                  </a:lnTo>
                  <a:lnTo>
                    <a:pt x="204" y="63"/>
                  </a:lnTo>
                  <a:lnTo>
                    <a:pt x="204" y="63"/>
                  </a:lnTo>
                  <a:lnTo>
                    <a:pt x="204" y="63"/>
                  </a:lnTo>
                  <a:lnTo>
                    <a:pt x="204" y="65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7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3" y="67"/>
                  </a:lnTo>
                  <a:lnTo>
                    <a:pt x="213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6" y="67"/>
                  </a:lnTo>
                  <a:lnTo>
                    <a:pt x="218" y="67"/>
                  </a:lnTo>
                  <a:lnTo>
                    <a:pt x="218" y="67"/>
                  </a:lnTo>
                  <a:lnTo>
                    <a:pt x="220" y="67"/>
                  </a:lnTo>
                  <a:lnTo>
                    <a:pt x="220" y="70"/>
                  </a:lnTo>
                  <a:lnTo>
                    <a:pt x="220" y="70"/>
                  </a:lnTo>
                  <a:lnTo>
                    <a:pt x="222" y="70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22" y="72"/>
                  </a:lnTo>
                  <a:lnTo>
                    <a:pt x="222" y="74"/>
                  </a:lnTo>
                  <a:lnTo>
                    <a:pt x="225" y="74"/>
                  </a:lnTo>
                  <a:lnTo>
                    <a:pt x="225" y="74"/>
                  </a:lnTo>
                  <a:lnTo>
                    <a:pt x="225" y="74"/>
                  </a:lnTo>
                  <a:lnTo>
                    <a:pt x="225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4"/>
                  </a:lnTo>
                  <a:lnTo>
                    <a:pt x="227" y="76"/>
                  </a:lnTo>
                  <a:lnTo>
                    <a:pt x="229" y="76"/>
                  </a:lnTo>
                  <a:lnTo>
                    <a:pt x="229" y="76"/>
                  </a:lnTo>
                  <a:lnTo>
                    <a:pt x="229" y="76"/>
                  </a:lnTo>
                  <a:lnTo>
                    <a:pt x="229" y="79"/>
                  </a:lnTo>
                  <a:lnTo>
                    <a:pt x="229" y="79"/>
                  </a:lnTo>
                  <a:lnTo>
                    <a:pt x="229" y="79"/>
                  </a:lnTo>
                  <a:lnTo>
                    <a:pt x="229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3"/>
                  </a:lnTo>
                  <a:lnTo>
                    <a:pt x="229" y="83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5"/>
                  </a:lnTo>
                  <a:lnTo>
                    <a:pt x="229" y="88"/>
                  </a:lnTo>
                  <a:lnTo>
                    <a:pt x="231" y="88"/>
                  </a:lnTo>
                  <a:lnTo>
                    <a:pt x="231" y="88"/>
                  </a:lnTo>
                  <a:lnTo>
                    <a:pt x="231" y="88"/>
                  </a:lnTo>
                  <a:lnTo>
                    <a:pt x="234" y="88"/>
                  </a:lnTo>
                  <a:lnTo>
                    <a:pt x="234" y="90"/>
                  </a:lnTo>
                  <a:lnTo>
                    <a:pt x="234" y="90"/>
                  </a:lnTo>
                  <a:lnTo>
                    <a:pt x="234" y="90"/>
                  </a:lnTo>
                  <a:lnTo>
                    <a:pt x="234" y="90"/>
                  </a:lnTo>
                  <a:lnTo>
                    <a:pt x="236" y="90"/>
                  </a:lnTo>
                  <a:lnTo>
                    <a:pt x="236" y="90"/>
                  </a:lnTo>
                  <a:lnTo>
                    <a:pt x="236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40" y="92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3" y="94"/>
                  </a:lnTo>
                  <a:lnTo>
                    <a:pt x="245" y="94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5" y="97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5" y="99"/>
                  </a:lnTo>
                  <a:lnTo>
                    <a:pt x="247" y="99"/>
                  </a:lnTo>
                  <a:lnTo>
                    <a:pt x="247" y="99"/>
                  </a:lnTo>
                  <a:lnTo>
                    <a:pt x="247" y="99"/>
                  </a:lnTo>
                  <a:lnTo>
                    <a:pt x="247" y="99"/>
                  </a:lnTo>
                  <a:lnTo>
                    <a:pt x="247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3"/>
                  </a:lnTo>
                  <a:lnTo>
                    <a:pt x="252" y="103"/>
                  </a:lnTo>
                  <a:lnTo>
                    <a:pt x="252" y="103"/>
                  </a:lnTo>
                  <a:lnTo>
                    <a:pt x="252" y="103"/>
                  </a:lnTo>
                  <a:lnTo>
                    <a:pt x="252" y="106"/>
                  </a:lnTo>
                  <a:lnTo>
                    <a:pt x="252" y="106"/>
                  </a:lnTo>
                  <a:lnTo>
                    <a:pt x="252" y="106"/>
                  </a:lnTo>
                  <a:lnTo>
                    <a:pt x="252" y="108"/>
                  </a:lnTo>
                  <a:lnTo>
                    <a:pt x="249" y="108"/>
                  </a:lnTo>
                  <a:lnTo>
                    <a:pt x="249" y="108"/>
                  </a:lnTo>
                  <a:lnTo>
                    <a:pt x="249" y="108"/>
                  </a:lnTo>
                  <a:lnTo>
                    <a:pt x="249" y="108"/>
                  </a:lnTo>
                  <a:lnTo>
                    <a:pt x="249" y="108"/>
                  </a:lnTo>
                  <a:lnTo>
                    <a:pt x="249" y="108"/>
                  </a:lnTo>
                  <a:lnTo>
                    <a:pt x="249" y="108"/>
                  </a:lnTo>
                  <a:lnTo>
                    <a:pt x="249" y="110"/>
                  </a:lnTo>
                  <a:lnTo>
                    <a:pt x="249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0"/>
                  </a:lnTo>
                  <a:lnTo>
                    <a:pt x="252" y="112"/>
                  </a:lnTo>
                  <a:lnTo>
                    <a:pt x="252" y="112"/>
                  </a:lnTo>
                  <a:lnTo>
                    <a:pt x="254" y="112"/>
                  </a:lnTo>
                  <a:lnTo>
                    <a:pt x="254" y="112"/>
                  </a:lnTo>
                  <a:lnTo>
                    <a:pt x="254" y="112"/>
                  </a:lnTo>
                  <a:lnTo>
                    <a:pt x="254" y="115"/>
                  </a:lnTo>
                  <a:lnTo>
                    <a:pt x="254" y="115"/>
                  </a:lnTo>
                  <a:lnTo>
                    <a:pt x="254" y="115"/>
                  </a:lnTo>
                  <a:lnTo>
                    <a:pt x="254" y="115"/>
                  </a:lnTo>
                  <a:lnTo>
                    <a:pt x="256" y="115"/>
                  </a:lnTo>
                  <a:lnTo>
                    <a:pt x="256" y="115"/>
                  </a:lnTo>
                  <a:lnTo>
                    <a:pt x="254" y="115"/>
                  </a:lnTo>
                  <a:lnTo>
                    <a:pt x="254" y="115"/>
                  </a:lnTo>
                  <a:lnTo>
                    <a:pt x="254" y="115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4" y="117"/>
                  </a:lnTo>
                  <a:lnTo>
                    <a:pt x="256" y="117"/>
                  </a:lnTo>
                  <a:lnTo>
                    <a:pt x="256" y="117"/>
                  </a:lnTo>
                  <a:lnTo>
                    <a:pt x="256" y="119"/>
                  </a:lnTo>
                  <a:lnTo>
                    <a:pt x="256" y="119"/>
                  </a:lnTo>
                  <a:lnTo>
                    <a:pt x="256" y="119"/>
                  </a:lnTo>
                  <a:lnTo>
                    <a:pt x="258" y="119"/>
                  </a:lnTo>
                  <a:lnTo>
                    <a:pt x="258" y="119"/>
                  </a:lnTo>
                  <a:lnTo>
                    <a:pt x="261" y="119"/>
                  </a:lnTo>
                  <a:lnTo>
                    <a:pt x="261" y="119"/>
                  </a:lnTo>
                  <a:lnTo>
                    <a:pt x="261" y="119"/>
                  </a:lnTo>
                  <a:lnTo>
                    <a:pt x="261" y="121"/>
                  </a:lnTo>
                  <a:lnTo>
                    <a:pt x="261" y="121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3" y="121"/>
                  </a:lnTo>
                  <a:lnTo>
                    <a:pt x="263" y="124"/>
                  </a:lnTo>
                  <a:lnTo>
                    <a:pt x="265" y="124"/>
                  </a:lnTo>
                  <a:lnTo>
                    <a:pt x="265" y="121"/>
                  </a:lnTo>
                  <a:lnTo>
                    <a:pt x="265" y="124"/>
                  </a:lnTo>
                  <a:lnTo>
                    <a:pt x="265" y="124"/>
                  </a:lnTo>
                  <a:lnTo>
                    <a:pt x="265" y="124"/>
                  </a:lnTo>
                  <a:lnTo>
                    <a:pt x="265" y="124"/>
                  </a:lnTo>
                  <a:lnTo>
                    <a:pt x="265" y="124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4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7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72" y="128"/>
                  </a:lnTo>
                  <a:lnTo>
                    <a:pt x="272" y="128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69" y="135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72" y="137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4" y="142"/>
                  </a:lnTo>
                  <a:lnTo>
                    <a:pt x="272" y="142"/>
                  </a:lnTo>
                  <a:lnTo>
                    <a:pt x="272" y="139"/>
                  </a:lnTo>
                  <a:lnTo>
                    <a:pt x="272" y="139"/>
                  </a:lnTo>
                  <a:lnTo>
                    <a:pt x="272" y="139"/>
                  </a:lnTo>
                  <a:lnTo>
                    <a:pt x="272" y="139"/>
                  </a:lnTo>
                  <a:lnTo>
                    <a:pt x="272" y="139"/>
                  </a:lnTo>
                  <a:lnTo>
                    <a:pt x="269" y="139"/>
                  </a:lnTo>
                  <a:lnTo>
                    <a:pt x="269" y="139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5" y="139"/>
                  </a:lnTo>
                  <a:lnTo>
                    <a:pt x="265" y="139"/>
                  </a:lnTo>
                  <a:lnTo>
                    <a:pt x="265" y="139"/>
                  </a:lnTo>
                  <a:lnTo>
                    <a:pt x="265" y="139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8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6" y="142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4" y="142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4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52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9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7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9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5" y="137"/>
                  </a:lnTo>
                  <a:lnTo>
                    <a:pt x="243" y="137"/>
                  </a:lnTo>
                  <a:lnTo>
                    <a:pt x="245" y="137"/>
                  </a:lnTo>
                  <a:lnTo>
                    <a:pt x="243" y="137"/>
                  </a:lnTo>
                  <a:lnTo>
                    <a:pt x="243" y="137"/>
                  </a:lnTo>
                  <a:lnTo>
                    <a:pt x="243" y="139"/>
                  </a:lnTo>
                  <a:lnTo>
                    <a:pt x="243" y="139"/>
                  </a:lnTo>
                  <a:lnTo>
                    <a:pt x="243" y="139"/>
                  </a:lnTo>
                  <a:lnTo>
                    <a:pt x="243" y="137"/>
                  </a:lnTo>
                  <a:lnTo>
                    <a:pt x="243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37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8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4" y="135"/>
                  </a:lnTo>
                  <a:lnTo>
                    <a:pt x="231" y="135"/>
                  </a:lnTo>
                  <a:lnTo>
                    <a:pt x="231" y="135"/>
                  </a:lnTo>
                  <a:lnTo>
                    <a:pt x="231" y="135"/>
                  </a:lnTo>
                  <a:lnTo>
                    <a:pt x="231" y="135"/>
                  </a:lnTo>
                  <a:lnTo>
                    <a:pt x="231" y="135"/>
                  </a:lnTo>
                  <a:lnTo>
                    <a:pt x="231" y="135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31" y="137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39"/>
                  </a:lnTo>
                  <a:lnTo>
                    <a:pt x="231" y="142"/>
                  </a:lnTo>
                  <a:lnTo>
                    <a:pt x="231" y="142"/>
                  </a:lnTo>
                  <a:lnTo>
                    <a:pt x="231" y="142"/>
                  </a:lnTo>
                  <a:lnTo>
                    <a:pt x="231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7" y="144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2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22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20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8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4"/>
                  </a:lnTo>
                  <a:lnTo>
                    <a:pt x="216" y="142"/>
                  </a:lnTo>
                  <a:lnTo>
                    <a:pt x="216" y="142"/>
                  </a:lnTo>
                  <a:lnTo>
                    <a:pt x="216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42"/>
                  </a:lnTo>
                  <a:lnTo>
                    <a:pt x="213" y="139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39"/>
                  </a:lnTo>
                  <a:lnTo>
                    <a:pt x="211" y="139"/>
                  </a:lnTo>
                  <a:lnTo>
                    <a:pt x="211" y="139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11" y="142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7" y="144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6"/>
                  </a:lnTo>
                  <a:lnTo>
                    <a:pt x="207" y="146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8"/>
                  </a:lnTo>
                  <a:lnTo>
                    <a:pt x="202" y="148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0" y="148"/>
                  </a:lnTo>
                  <a:lnTo>
                    <a:pt x="200" y="148"/>
                  </a:lnTo>
                  <a:lnTo>
                    <a:pt x="200" y="148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198" y="148"/>
                  </a:lnTo>
                  <a:lnTo>
                    <a:pt x="195" y="148"/>
                  </a:lnTo>
                  <a:lnTo>
                    <a:pt x="195" y="148"/>
                  </a:lnTo>
                  <a:lnTo>
                    <a:pt x="195" y="148"/>
                  </a:lnTo>
                  <a:lnTo>
                    <a:pt x="193" y="148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1" y="151"/>
                  </a:lnTo>
                  <a:lnTo>
                    <a:pt x="191" y="151"/>
                  </a:lnTo>
                  <a:lnTo>
                    <a:pt x="191" y="151"/>
                  </a:lnTo>
                  <a:lnTo>
                    <a:pt x="191" y="151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91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6" y="151"/>
                  </a:lnTo>
                  <a:lnTo>
                    <a:pt x="186" y="151"/>
                  </a:lnTo>
                  <a:lnTo>
                    <a:pt x="186" y="151"/>
                  </a:lnTo>
                  <a:lnTo>
                    <a:pt x="186" y="151"/>
                  </a:lnTo>
                  <a:lnTo>
                    <a:pt x="186" y="151"/>
                  </a:lnTo>
                  <a:lnTo>
                    <a:pt x="186" y="151"/>
                  </a:lnTo>
                  <a:lnTo>
                    <a:pt x="186" y="148"/>
                  </a:lnTo>
                  <a:lnTo>
                    <a:pt x="184" y="148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51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8"/>
                  </a:lnTo>
                  <a:lnTo>
                    <a:pt x="180" y="148"/>
                  </a:lnTo>
                  <a:lnTo>
                    <a:pt x="180" y="148"/>
                  </a:lnTo>
                  <a:lnTo>
                    <a:pt x="180" y="148"/>
                  </a:lnTo>
                  <a:lnTo>
                    <a:pt x="180" y="148"/>
                  </a:lnTo>
                  <a:lnTo>
                    <a:pt x="180" y="148"/>
                  </a:lnTo>
                  <a:lnTo>
                    <a:pt x="180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48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7" y="151"/>
                  </a:lnTo>
                  <a:lnTo>
                    <a:pt x="175" y="151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3"/>
                  </a:lnTo>
                  <a:lnTo>
                    <a:pt x="175" y="155"/>
                  </a:lnTo>
                  <a:lnTo>
                    <a:pt x="175" y="155"/>
                  </a:lnTo>
                  <a:lnTo>
                    <a:pt x="175" y="155"/>
                  </a:lnTo>
                  <a:lnTo>
                    <a:pt x="175" y="155"/>
                  </a:lnTo>
                  <a:lnTo>
                    <a:pt x="175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5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57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0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4"/>
                  </a:lnTo>
                  <a:lnTo>
                    <a:pt x="171" y="164"/>
                  </a:lnTo>
                  <a:lnTo>
                    <a:pt x="171" y="164"/>
                  </a:lnTo>
                  <a:lnTo>
                    <a:pt x="166" y="164"/>
                  </a:lnTo>
                  <a:lnTo>
                    <a:pt x="166" y="164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7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5" y="160"/>
                  </a:lnTo>
                  <a:lnTo>
                    <a:pt x="153" y="160"/>
                  </a:lnTo>
                  <a:lnTo>
                    <a:pt x="153" y="160"/>
                  </a:lnTo>
                  <a:lnTo>
                    <a:pt x="150" y="162"/>
                  </a:lnTo>
                  <a:lnTo>
                    <a:pt x="150" y="162"/>
                  </a:lnTo>
                  <a:lnTo>
                    <a:pt x="150" y="162"/>
                  </a:lnTo>
                  <a:lnTo>
                    <a:pt x="150" y="162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8" y="160"/>
                  </a:lnTo>
                  <a:lnTo>
                    <a:pt x="148" y="160"/>
                  </a:lnTo>
                  <a:lnTo>
                    <a:pt x="148" y="160"/>
                  </a:lnTo>
                  <a:lnTo>
                    <a:pt x="148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6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1" y="160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41" y="157"/>
                  </a:lnTo>
                  <a:lnTo>
                    <a:pt x="139" y="157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5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8" y="155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3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26" y="151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6" y="148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3" y="146"/>
                  </a:lnTo>
                  <a:lnTo>
                    <a:pt x="121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2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42"/>
                  </a:lnTo>
                  <a:lnTo>
                    <a:pt x="114" y="139"/>
                  </a:lnTo>
                  <a:lnTo>
                    <a:pt x="114" y="139"/>
                  </a:lnTo>
                  <a:lnTo>
                    <a:pt x="112" y="139"/>
                  </a:lnTo>
                  <a:lnTo>
                    <a:pt x="112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10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8" y="139"/>
                  </a:lnTo>
                  <a:lnTo>
                    <a:pt x="105" y="139"/>
                  </a:lnTo>
                  <a:lnTo>
                    <a:pt x="105" y="139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3" y="142"/>
                  </a:lnTo>
                  <a:lnTo>
                    <a:pt x="103" y="144"/>
                  </a:lnTo>
                  <a:lnTo>
                    <a:pt x="103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101" y="144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8"/>
                  </a:lnTo>
                  <a:lnTo>
                    <a:pt x="99" y="148"/>
                  </a:lnTo>
                  <a:lnTo>
                    <a:pt x="99" y="148"/>
                  </a:lnTo>
                  <a:lnTo>
                    <a:pt x="99" y="148"/>
                  </a:lnTo>
                  <a:lnTo>
                    <a:pt x="99" y="148"/>
                  </a:lnTo>
                  <a:lnTo>
                    <a:pt x="97" y="148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7" y="151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4" y="153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7"/>
                  </a:lnTo>
                  <a:lnTo>
                    <a:pt x="90" y="157"/>
                  </a:lnTo>
                  <a:lnTo>
                    <a:pt x="90" y="157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88" y="160"/>
                  </a:lnTo>
                  <a:lnTo>
                    <a:pt x="90" y="160"/>
                  </a:lnTo>
                  <a:lnTo>
                    <a:pt x="90" y="160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4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69"/>
                  </a:lnTo>
                  <a:lnTo>
                    <a:pt x="90" y="171"/>
                  </a:lnTo>
                  <a:lnTo>
                    <a:pt x="90" y="173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90" y="180"/>
                  </a:lnTo>
                  <a:lnTo>
                    <a:pt x="88" y="178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5" y="175"/>
                  </a:lnTo>
                  <a:lnTo>
                    <a:pt x="85" y="178"/>
                  </a:lnTo>
                  <a:lnTo>
                    <a:pt x="85" y="178"/>
                  </a:lnTo>
                  <a:lnTo>
                    <a:pt x="85" y="178"/>
                  </a:lnTo>
                  <a:lnTo>
                    <a:pt x="85" y="178"/>
                  </a:lnTo>
                  <a:lnTo>
                    <a:pt x="85" y="178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3" y="178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78"/>
                  </a:lnTo>
                  <a:lnTo>
                    <a:pt x="79" y="178"/>
                  </a:lnTo>
                  <a:lnTo>
                    <a:pt x="79" y="178"/>
                  </a:lnTo>
                  <a:lnTo>
                    <a:pt x="79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4" y="178"/>
                  </a:lnTo>
                  <a:lnTo>
                    <a:pt x="74" y="178"/>
                  </a:lnTo>
                  <a:lnTo>
                    <a:pt x="74" y="178"/>
                  </a:lnTo>
                  <a:lnTo>
                    <a:pt x="74" y="178"/>
                  </a:lnTo>
                  <a:lnTo>
                    <a:pt x="74" y="178"/>
                  </a:lnTo>
                  <a:lnTo>
                    <a:pt x="74" y="178"/>
                  </a:lnTo>
                  <a:lnTo>
                    <a:pt x="74" y="175"/>
                  </a:lnTo>
                  <a:lnTo>
                    <a:pt x="74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2" y="175"/>
                  </a:lnTo>
                  <a:lnTo>
                    <a:pt x="70" y="175"/>
                  </a:lnTo>
                  <a:lnTo>
                    <a:pt x="67" y="175"/>
                  </a:lnTo>
                  <a:lnTo>
                    <a:pt x="67" y="175"/>
                  </a:lnTo>
                  <a:lnTo>
                    <a:pt x="67" y="175"/>
                  </a:lnTo>
                  <a:lnTo>
                    <a:pt x="67" y="175"/>
                  </a:lnTo>
                  <a:lnTo>
                    <a:pt x="67" y="175"/>
                  </a:lnTo>
                  <a:lnTo>
                    <a:pt x="67" y="173"/>
                  </a:lnTo>
                  <a:lnTo>
                    <a:pt x="65" y="173"/>
                  </a:lnTo>
                  <a:lnTo>
                    <a:pt x="65" y="173"/>
                  </a:lnTo>
                  <a:lnTo>
                    <a:pt x="65" y="173"/>
                  </a:lnTo>
                  <a:lnTo>
                    <a:pt x="65" y="173"/>
                  </a:lnTo>
                  <a:lnTo>
                    <a:pt x="65" y="173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3" y="175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1" y="175"/>
                  </a:lnTo>
                  <a:lnTo>
                    <a:pt x="61" y="178"/>
                  </a:lnTo>
                  <a:lnTo>
                    <a:pt x="61" y="178"/>
                  </a:lnTo>
                  <a:lnTo>
                    <a:pt x="61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4" y="178"/>
                  </a:lnTo>
                  <a:lnTo>
                    <a:pt x="52" y="178"/>
                  </a:lnTo>
                  <a:lnTo>
                    <a:pt x="52" y="178"/>
                  </a:lnTo>
                  <a:lnTo>
                    <a:pt x="49" y="178"/>
                  </a:lnTo>
                  <a:lnTo>
                    <a:pt x="49" y="178"/>
                  </a:lnTo>
                  <a:lnTo>
                    <a:pt x="49" y="178"/>
                  </a:lnTo>
                  <a:lnTo>
                    <a:pt x="49" y="178"/>
                  </a:lnTo>
                  <a:lnTo>
                    <a:pt x="47" y="178"/>
                  </a:lnTo>
                  <a:lnTo>
                    <a:pt x="47" y="180"/>
                  </a:lnTo>
                  <a:lnTo>
                    <a:pt x="47" y="180"/>
                  </a:lnTo>
                  <a:lnTo>
                    <a:pt x="47" y="182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5" y="184"/>
                  </a:lnTo>
                  <a:lnTo>
                    <a:pt x="45" y="187"/>
                  </a:lnTo>
                  <a:lnTo>
                    <a:pt x="45" y="187"/>
                  </a:lnTo>
                  <a:lnTo>
                    <a:pt x="45" y="187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89"/>
                  </a:lnTo>
                  <a:lnTo>
                    <a:pt x="45" y="191"/>
                  </a:lnTo>
                  <a:lnTo>
                    <a:pt x="45" y="193"/>
                  </a:lnTo>
                  <a:lnTo>
                    <a:pt x="45" y="193"/>
                  </a:lnTo>
                  <a:lnTo>
                    <a:pt x="45" y="193"/>
                  </a:lnTo>
                  <a:lnTo>
                    <a:pt x="45" y="193"/>
                  </a:lnTo>
                  <a:lnTo>
                    <a:pt x="45" y="193"/>
                  </a:lnTo>
                  <a:lnTo>
                    <a:pt x="45" y="196"/>
                  </a:lnTo>
                  <a:lnTo>
                    <a:pt x="45" y="198"/>
                  </a:lnTo>
                  <a:lnTo>
                    <a:pt x="43" y="200"/>
                  </a:lnTo>
                  <a:lnTo>
                    <a:pt x="43" y="202"/>
                  </a:lnTo>
                  <a:lnTo>
                    <a:pt x="40" y="205"/>
                  </a:lnTo>
                  <a:lnTo>
                    <a:pt x="40" y="207"/>
                  </a:lnTo>
                  <a:lnTo>
                    <a:pt x="40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2"/>
                  </a:lnTo>
                  <a:lnTo>
                    <a:pt x="38" y="202"/>
                  </a:lnTo>
                  <a:lnTo>
                    <a:pt x="36" y="202"/>
                  </a:lnTo>
                  <a:lnTo>
                    <a:pt x="38" y="202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6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8" y="198"/>
                  </a:lnTo>
                  <a:lnTo>
                    <a:pt x="36" y="198"/>
                  </a:lnTo>
                  <a:lnTo>
                    <a:pt x="36" y="198"/>
                  </a:lnTo>
                  <a:lnTo>
                    <a:pt x="36" y="198"/>
                  </a:lnTo>
                  <a:lnTo>
                    <a:pt x="36" y="198"/>
                  </a:lnTo>
                  <a:lnTo>
                    <a:pt x="36" y="198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8" y="193"/>
                  </a:lnTo>
                  <a:lnTo>
                    <a:pt x="38" y="193"/>
                  </a:lnTo>
                  <a:lnTo>
                    <a:pt x="36" y="193"/>
                  </a:lnTo>
                  <a:lnTo>
                    <a:pt x="36" y="193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91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4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31" y="189"/>
                  </a:lnTo>
                  <a:lnTo>
                    <a:pt x="29" y="187"/>
                  </a:lnTo>
                  <a:lnTo>
                    <a:pt x="27" y="184"/>
                  </a:lnTo>
                  <a:lnTo>
                    <a:pt x="25" y="182"/>
                  </a:lnTo>
                  <a:lnTo>
                    <a:pt x="22" y="178"/>
                  </a:lnTo>
                  <a:lnTo>
                    <a:pt x="20" y="178"/>
                  </a:lnTo>
                  <a:lnTo>
                    <a:pt x="20" y="175"/>
                  </a:lnTo>
                  <a:lnTo>
                    <a:pt x="18" y="173"/>
                  </a:lnTo>
                  <a:lnTo>
                    <a:pt x="16" y="169"/>
                  </a:lnTo>
                  <a:lnTo>
                    <a:pt x="13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18" y="166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2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6" y="160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13" y="157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7" y="151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7" y="146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39"/>
                  </a:lnTo>
                  <a:lnTo>
                    <a:pt x="7" y="139"/>
                  </a:lnTo>
                  <a:lnTo>
                    <a:pt x="7" y="139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4" y="130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6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7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4" y="115"/>
                  </a:lnTo>
                  <a:lnTo>
                    <a:pt x="4" y="115"/>
                  </a:lnTo>
                  <a:lnTo>
                    <a:pt x="4" y="115"/>
                  </a:lnTo>
                  <a:lnTo>
                    <a:pt x="4" y="115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11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8" y="94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9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7" y="74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2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6" y="72"/>
                  </a:lnTo>
                  <a:lnTo>
                    <a:pt x="79" y="72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90" y="70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7" y="58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7" y="45"/>
                  </a:lnTo>
                  <a:lnTo>
                    <a:pt x="117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5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0" y="40"/>
                  </a:lnTo>
                  <a:lnTo>
                    <a:pt x="132" y="38"/>
                  </a:lnTo>
                  <a:lnTo>
                    <a:pt x="132" y="38"/>
                  </a:lnTo>
                  <a:lnTo>
                    <a:pt x="132" y="38"/>
                  </a:lnTo>
                  <a:lnTo>
                    <a:pt x="132" y="38"/>
                  </a:lnTo>
                  <a:lnTo>
                    <a:pt x="132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7" y="34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39" y="29"/>
                  </a:lnTo>
                  <a:lnTo>
                    <a:pt x="141" y="29"/>
                  </a:lnTo>
                  <a:lnTo>
                    <a:pt x="141" y="29"/>
                  </a:lnTo>
                  <a:lnTo>
                    <a:pt x="141" y="29"/>
                  </a:lnTo>
                  <a:lnTo>
                    <a:pt x="141" y="29"/>
                  </a:lnTo>
                  <a:lnTo>
                    <a:pt x="141" y="29"/>
                  </a:lnTo>
                  <a:lnTo>
                    <a:pt x="141" y="29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44" y="27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8" y="22"/>
                  </a:lnTo>
                  <a:lnTo>
                    <a:pt x="148" y="20"/>
                  </a:lnTo>
                  <a:lnTo>
                    <a:pt x="148" y="20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0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8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5" y="7"/>
                  </a:lnTo>
                  <a:lnTo>
                    <a:pt x="155" y="7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62" y="4"/>
                  </a:lnTo>
                  <a:lnTo>
                    <a:pt x="162" y="4"/>
                  </a:lnTo>
                  <a:lnTo>
                    <a:pt x="162" y="4"/>
                  </a:lnTo>
                  <a:lnTo>
                    <a:pt x="162" y="4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66" y="0"/>
                  </a:lnTo>
                  <a:lnTo>
                    <a:pt x="166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79" name="Freeform 627"/>
            <p:cNvSpPr>
              <a:spLocks noEditPoints="1"/>
            </p:cNvSpPr>
            <p:nvPr/>
          </p:nvSpPr>
          <p:spPr bwMode="auto">
            <a:xfrm>
              <a:off x="1692989" y="875288"/>
              <a:ext cx="2667594" cy="1435754"/>
            </a:xfrm>
            <a:custGeom>
              <a:avLst/>
              <a:gdLst>
                <a:gd name="T0" fmla="*/ 1193 w 1596"/>
                <a:gd name="T1" fmla="*/ 754 h 859"/>
                <a:gd name="T2" fmla="*/ 1173 w 1596"/>
                <a:gd name="T3" fmla="*/ 702 h 859"/>
                <a:gd name="T4" fmla="*/ 1148 w 1596"/>
                <a:gd name="T5" fmla="*/ 792 h 859"/>
                <a:gd name="T6" fmla="*/ 1095 w 1596"/>
                <a:gd name="T7" fmla="*/ 727 h 859"/>
                <a:gd name="T8" fmla="*/ 86 w 1596"/>
                <a:gd name="T9" fmla="*/ 655 h 859"/>
                <a:gd name="T10" fmla="*/ 45 w 1596"/>
                <a:gd name="T11" fmla="*/ 664 h 859"/>
                <a:gd name="T12" fmla="*/ 1369 w 1596"/>
                <a:gd name="T13" fmla="*/ 675 h 859"/>
                <a:gd name="T14" fmla="*/ 1360 w 1596"/>
                <a:gd name="T15" fmla="*/ 729 h 859"/>
                <a:gd name="T16" fmla="*/ 1292 w 1596"/>
                <a:gd name="T17" fmla="*/ 684 h 859"/>
                <a:gd name="T18" fmla="*/ 57 w 1596"/>
                <a:gd name="T19" fmla="*/ 594 h 859"/>
                <a:gd name="T20" fmla="*/ 59 w 1596"/>
                <a:gd name="T21" fmla="*/ 576 h 859"/>
                <a:gd name="T22" fmla="*/ 1303 w 1596"/>
                <a:gd name="T23" fmla="*/ 509 h 859"/>
                <a:gd name="T24" fmla="*/ 993 w 1596"/>
                <a:gd name="T25" fmla="*/ 385 h 859"/>
                <a:gd name="T26" fmla="*/ 1065 w 1596"/>
                <a:gd name="T27" fmla="*/ 358 h 859"/>
                <a:gd name="T28" fmla="*/ 679 w 1596"/>
                <a:gd name="T29" fmla="*/ 273 h 859"/>
                <a:gd name="T30" fmla="*/ 982 w 1596"/>
                <a:gd name="T31" fmla="*/ 246 h 859"/>
                <a:gd name="T32" fmla="*/ 874 w 1596"/>
                <a:gd name="T33" fmla="*/ 259 h 859"/>
                <a:gd name="T34" fmla="*/ 957 w 1596"/>
                <a:gd name="T35" fmla="*/ 318 h 859"/>
                <a:gd name="T36" fmla="*/ 845 w 1596"/>
                <a:gd name="T37" fmla="*/ 389 h 859"/>
                <a:gd name="T38" fmla="*/ 922 w 1596"/>
                <a:gd name="T39" fmla="*/ 549 h 859"/>
                <a:gd name="T40" fmla="*/ 1045 w 1596"/>
                <a:gd name="T41" fmla="*/ 484 h 859"/>
                <a:gd name="T42" fmla="*/ 1198 w 1596"/>
                <a:gd name="T43" fmla="*/ 416 h 859"/>
                <a:gd name="T44" fmla="*/ 1254 w 1596"/>
                <a:gd name="T45" fmla="*/ 455 h 859"/>
                <a:gd name="T46" fmla="*/ 1299 w 1596"/>
                <a:gd name="T47" fmla="*/ 497 h 859"/>
                <a:gd name="T48" fmla="*/ 1351 w 1596"/>
                <a:gd name="T49" fmla="*/ 563 h 859"/>
                <a:gd name="T50" fmla="*/ 1321 w 1596"/>
                <a:gd name="T51" fmla="*/ 632 h 859"/>
                <a:gd name="T52" fmla="*/ 924 w 1596"/>
                <a:gd name="T53" fmla="*/ 799 h 859"/>
                <a:gd name="T54" fmla="*/ 95 w 1596"/>
                <a:gd name="T55" fmla="*/ 650 h 859"/>
                <a:gd name="T56" fmla="*/ 79 w 1596"/>
                <a:gd name="T57" fmla="*/ 587 h 859"/>
                <a:gd name="T58" fmla="*/ 257 w 1596"/>
                <a:gd name="T59" fmla="*/ 246 h 859"/>
                <a:gd name="T60" fmla="*/ 335 w 1596"/>
                <a:gd name="T61" fmla="*/ 252 h 859"/>
                <a:gd name="T62" fmla="*/ 495 w 1596"/>
                <a:gd name="T63" fmla="*/ 239 h 859"/>
                <a:gd name="T64" fmla="*/ 719 w 1596"/>
                <a:gd name="T65" fmla="*/ 264 h 859"/>
                <a:gd name="T66" fmla="*/ 874 w 1596"/>
                <a:gd name="T67" fmla="*/ 284 h 859"/>
                <a:gd name="T68" fmla="*/ 966 w 1596"/>
                <a:gd name="T69" fmla="*/ 196 h 859"/>
                <a:gd name="T70" fmla="*/ 1005 w 1596"/>
                <a:gd name="T71" fmla="*/ 286 h 859"/>
                <a:gd name="T72" fmla="*/ 953 w 1596"/>
                <a:gd name="T73" fmla="*/ 176 h 859"/>
                <a:gd name="T74" fmla="*/ 796 w 1596"/>
                <a:gd name="T75" fmla="*/ 246 h 859"/>
                <a:gd name="T76" fmla="*/ 692 w 1596"/>
                <a:gd name="T77" fmla="*/ 178 h 859"/>
                <a:gd name="T78" fmla="*/ 1178 w 1596"/>
                <a:gd name="T79" fmla="*/ 192 h 859"/>
                <a:gd name="T80" fmla="*/ 1285 w 1596"/>
                <a:gd name="T81" fmla="*/ 214 h 859"/>
                <a:gd name="T82" fmla="*/ 1328 w 1596"/>
                <a:gd name="T83" fmla="*/ 261 h 859"/>
                <a:gd name="T84" fmla="*/ 1389 w 1596"/>
                <a:gd name="T85" fmla="*/ 306 h 859"/>
                <a:gd name="T86" fmla="*/ 1317 w 1596"/>
                <a:gd name="T87" fmla="*/ 304 h 859"/>
                <a:gd name="T88" fmla="*/ 1315 w 1596"/>
                <a:gd name="T89" fmla="*/ 351 h 859"/>
                <a:gd name="T90" fmla="*/ 1274 w 1596"/>
                <a:gd name="T91" fmla="*/ 387 h 859"/>
                <a:gd name="T92" fmla="*/ 1180 w 1596"/>
                <a:gd name="T93" fmla="*/ 342 h 859"/>
                <a:gd name="T94" fmla="*/ 1241 w 1596"/>
                <a:gd name="T95" fmla="*/ 311 h 859"/>
                <a:gd name="T96" fmla="*/ 1191 w 1596"/>
                <a:gd name="T97" fmla="*/ 225 h 859"/>
                <a:gd name="T98" fmla="*/ 1074 w 1596"/>
                <a:gd name="T99" fmla="*/ 167 h 859"/>
                <a:gd name="T100" fmla="*/ 870 w 1596"/>
                <a:gd name="T101" fmla="*/ 180 h 859"/>
                <a:gd name="T102" fmla="*/ 982 w 1596"/>
                <a:gd name="T103" fmla="*/ 187 h 859"/>
                <a:gd name="T104" fmla="*/ 1011 w 1596"/>
                <a:gd name="T105" fmla="*/ 124 h 859"/>
                <a:gd name="T106" fmla="*/ 933 w 1596"/>
                <a:gd name="T107" fmla="*/ 120 h 859"/>
                <a:gd name="T108" fmla="*/ 838 w 1596"/>
                <a:gd name="T109" fmla="*/ 113 h 859"/>
                <a:gd name="T110" fmla="*/ 1155 w 1596"/>
                <a:gd name="T111" fmla="*/ 140 h 859"/>
                <a:gd name="T112" fmla="*/ 1113 w 1596"/>
                <a:gd name="T113" fmla="*/ 120 h 859"/>
                <a:gd name="T114" fmla="*/ 1095 w 1596"/>
                <a:gd name="T115" fmla="*/ 86 h 859"/>
                <a:gd name="T116" fmla="*/ 973 w 1596"/>
                <a:gd name="T117" fmla="*/ 70 h 859"/>
                <a:gd name="T118" fmla="*/ 1106 w 1596"/>
                <a:gd name="T119" fmla="*/ 59 h 859"/>
                <a:gd name="T120" fmla="*/ 1225 w 1596"/>
                <a:gd name="T121" fmla="*/ 88 h 859"/>
                <a:gd name="T122" fmla="*/ 1241 w 1596"/>
                <a:gd name="T123" fmla="*/ 23 h 859"/>
                <a:gd name="T124" fmla="*/ 1420 w 1596"/>
                <a:gd name="T125" fmla="*/ 45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96" h="859">
                  <a:moveTo>
                    <a:pt x="1117" y="817"/>
                  </a:move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9" y="814"/>
                  </a:lnTo>
                  <a:lnTo>
                    <a:pt x="1117" y="814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lnTo>
                    <a:pt x="1117" y="817"/>
                  </a:lnTo>
                  <a:close/>
                  <a:moveTo>
                    <a:pt x="1110" y="796"/>
                  </a:moveTo>
                  <a:lnTo>
                    <a:pt x="1110" y="799"/>
                  </a:lnTo>
                  <a:lnTo>
                    <a:pt x="1108" y="799"/>
                  </a:lnTo>
                  <a:lnTo>
                    <a:pt x="1110" y="796"/>
                  </a:lnTo>
                  <a:lnTo>
                    <a:pt x="1110" y="796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6"/>
                  </a:lnTo>
                  <a:lnTo>
                    <a:pt x="1110" y="796"/>
                  </a:lnTo>
                  <a:close/>
                  <a:moveTo>
                    <a:pt x="1101" y="790"/>
                  </a:moveTo>
                  <a:lnTo>
                    <a:pt x="1101" y="790"/>
                  </a:lnTo>
                  <a:lnTo>
                    <a:pt x="1101" y="790"/>
                  </a:lnTo>
                  <a:lnTo>
                    <a:pt x="1101" y="787"/>
                  </a:lnTo>
                  <a:lnTo>
                    <a:pt x="1101" y="787"/>
                  </a:lnTo>
                  <a:lnTo>
                    <a:pt x="1101" y="787"/>
                  </a:lnTo>
                  <a:lnTo>
                    <a:pt x="1104" y="787"/>
                  </a:lnTo>
                  <a:lnTo>
                    <a:pt x="1104" y="785"/>
                  </a:lnTo>
                  <a:lnTo>
                    <a:pt x="1104" y="785"/>
                  </a:lnTo>
                  <a:lnTo>
                    <a:pt x="1104" y="785"/>
                  </a:lnTo>
                  <a:lnTo>
                    <a:pt x="1106" y="785"/>
                  </a:lnTo>
                  <a:lnTo>
                    <a:pt x="1106" y="785"/>
                  </a:lnTo>
                  <a:lnTo>
                    <a:pt x="1106" y="785"/>
                  </a:lnTo>
                  <a:lnTo>
                    <a:pt x="1106" y="785"/>
                  </a:lnTo>
                  <a:lnTo>
                    <a:pt x="1106" y="785"/>
                  </a:lnTo>
                  <a:lnTo>
                    <a:pt x="1106" y="785"/>
                  </a:lnTo>
                  <a:lnTo>
                    <a:pt x="1106" y="785"/>
                  </a:lnTo>
                  <a:lnTo>
                    <a:pt x="1106" y="787"/>
                  </a:lnTo>
                  <a:lnTo>
                    <a:pt x="1106" y="787"/>
                  </a:lnTo>
                  <a:lnTo>
                    <a:pt x="1104" y="787"/>
                  </a:lnTo>
                  <a:lnTo>
                    <a:pt x="1104" y="787"/>
                  </a:lnTo>
                  <a:lnTo>
                    <a:pt x="1104" y="787"/>
                  </a:lnTo>
                  <a:lnTo>
                    <a:pt x="1104" y="787"/>
                  </a:lnTo>
                  <a:lnTo>
                    <a:pt x="1104" y="787"/>
                  </a:lnTo>
                  <a:lnTo>
                    <a:pt x="1104" y="787"/>
                  </a:lnTo>
                  <a:lnTo>
                    <a:pt x="1101" y="787"/>
                  </a:lnTo>
                  <a:lnTo>
                    <a:pt x="1101" y="790"/>
                  </a:lnTo>
                  <a:lnTo>
                    <a:pt x="1101" y="790"/>
                  </a:lnTo>
                  <a:lnTo>
                    <a:pt x="1101" y="790"/>
                  </a:lnTo>
                  <a:lnTo>
                    <a:pt x="1101" y="790"/>
                  </a:lnTo>
                  <a:close/>
                  <a:moveTo>
                    <a:pt x="973" y="774"/>
                  </a:moveTo>
                  <a:lnTo>
                    <a:pt x="973" y="774"/>
                  </a:lnTo>
                  <a:lnTo>
                    <a:pt x="973" y="774"/>
                  </a:lnTo>
                  <a:lnTo>
                    <a:pt x="973" y="774"/>
                  </a:lnTo>
                  <a:lnTo>
                    <a:pt x="973" y="774"/>
                  </a:lnTo>
                  <a:lnTo>
                    <a:pt x="973" y="774"/>
                  </a:lnTo>
                  <a:lnTo>
                    <a:pt x="971" y="774"/>
                  </a:lnTo>
                  <a:lnTo>
                    <a:pt x="971" y="774"/>
                  </a:lnTo>
                  <a:lnTo>
                    <a:pt x="971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71" y="774"/>
                  </a:lnTo>
                  <a:lnTo>
                    <a:pt x="971" y="774"/>
                  </a:lnTo>
                  <a:lnTo>
                    <a:pt x="971" y="774"/>
                  </a:lnTo>
                  <a:lnTo>
                    <a:pt x="971" y="774"/>
                  </a:lnTo>
                  <a:lnTo>
                    <a:pt x="973" y="774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3" y="772"/>
                  </a:lnTo>
                  <a:lnTo>
                    <a:pt x="973" y="774"/>
                  </a:lnTo>
                  <a:lnTo>
                    <a:pt x="973" y="774"/>
                  </a:lnTo>
                  <a:close/>
                  <a:moveTo>
                    <a:pt x="975" y="772"/>
                  </a:moveTo>
                  <a:lnTo>
                    <a:pt x="975" y="772"/>
                  </a:lnTo>
                  <a:lnTo>
                    <a:pt x="975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close/>
                  <a:moveTo>
                    <a:pt x="975" y="769"/>
                  </a:move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5" y="769"/>
                  </a:lnTo>
                  <a:lnTo>
                    <a:pt x="975" y="769"/>
                  </a:lnTo>
                  <a:close/>
                  <a:moveTo>
                    <a:pt x="1220" y="767"/>
                  </a:move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7"/>
                  </a:lnTo>
                  <a:lnTo>
                    <a:pt x="1220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9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20" y="767"/>
                  </a:lnTo>
                  <a:lnTo>
                    <a:pt x="1220" y="767"/>
                  </a:lnTo>
                  <a:close/>
                  <a:moveTo>
                    <a:pt x="984" y="765"/>
                  </a:moveTo>
                  <a:lnTo>
                    <a:pt x="984" y="765"/>
                  </a:lnTo>
                  <a:lnTo>
                    <a:pt x="984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7"/>
                  </a:lnTo>
                  <a:lnTo>
                    <a:pt x="980" y="767"/>
                  </a:lnTo>
                  <a:lnTo>
                    <a:pt x="980" y="767"/>
                  </a:lnTo>
                  <a:lnTo>
                    <a:pt x="980" y="767"/>
                  </a:lnTo>
                  <a:lnTo>
                    <a:pt x="980" y="767"/>
                  </a:lnTo>
                  <a:lnTo>
                    <a:pt x="980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80" y="765"/>
                  </a:lnTo>
                  <a:lnTo>
                    <a:pt x="980" y="765"/>
                  </a:lnTo>
                  <a:lnTo>
                    <a:pt x="980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4" y="765"/>
                  </a:lnTo>
                  <a:lnTo>
                    <a:pt x="984" y="763"/>
                  </a:lnTo>
                  <a:lnTo>
                    <a:pt x="984" y="765"/>
                  </a:lnTo>
                  <a:lnTo>
                    <a:pt x="984" y="765"/>
                  </a:lnTo>
                  <a:close/>
                  <a:moveTo>
                    <a:pt x="982" y="767"/>
                  </a:move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0" y="769"/>
                  </a:lnTo>
                  <a:lnTo>
                    <a:pt x="978" y="769"/>
                  </a:lnTo>
                  <a:lnTo>
                    <a:pt x="978" y="769"/>
                  </a:lnTo>
                  <a:lnTo>
                    <a:pt x="978" y="769"/>
                  </a:lnTo>
                  <a:lnTo>
                    <a:pt x="978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5" y="769"/>
                  </a:lnTo>
                  <a:lnTo>
                    <a:pt x="978" y="769"/>
                  </a:lnTo>
                  <a:lnTo>
                    <a:pt x="978" y="769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80" y="767"/>
                  </a:lnTo>
                  <a:lnTo>
                    <a:pt x="980" y="767"/>
                  </a:lnTo>
                  <a:lnTo>
                    <a:pt x="980" y="767"/>
                  </a:lnTo>
                  <a:lnTo>
                    <a:pt x="982" y="767"/>
                  </a:lnTo>
                  <a:lnTo>
                    <a:pt x="982" y="767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2" y="765"/>
                  </a:lnTo>
                  <a:lnTo>
                    <a:pt x="984" y="765"/>
                  </a:lnTo>
                  <a:lnTo>
                    <a:pt x="984" y="765"/>
                  </a:lnTo>
                  <a:lnTo>
                    <a:pt x="984" y="763"/>
                  </a:lnTo>
                  <a:lnTo>
                    <a:pt x="984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5"/>
                  </a:lnTo>
                  <a:lnTo>
                    <a:pt x="987" y="765"/>
                  </a:lnTo>
                  <a:lnTo>
                    <a:pt x="984" y="765"/>
                  </a:lnTo>
                  <a:lnTo>
                    <a:pt x="984" y="765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2" y="767"/>
                  </a:lnTo>
                  <a:close/>
                  <a:moveTo>
                    <a:pt x="1247" y="756"/>
                  </a:moveTo>
                  <a:lnTo>
                    <a:pt x="1247" y="756"/>
                  </a:lnTo>
                  <a:lnTo>
                    <a:pt x="1247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7" y="756"/>
                  </a:lnTo>
                  <a:lnTo>
                    <a:pt x="1247" y="756"/>
                  </a:lnTo>
                  <a:lnTo>
                    <a:pt x="1247" y="756"/>
                  </a:lnTo>
                  <a:lnTo>
                    <a:pt x="1247" y="756"/>
                  </a:lnTo>
                  <a:close/>
                  <a:moveTo>
                    <a:pt x="1041" y="736"/>
                  </a:moveTo>
                  <a:lnTo>
                    <a:pt x="1041" y="736"/>
                  </a:lnTo>
                  <a:lnTo>
                    <a:pt x="1041" y="736"/>
                  </a:lnTo>
                  <a:lnTo>
                    <a:pt x="1041" y="736"/>
                  </a:lnTo>
                  <a:lnTo>
                    <a:pt x="1041" y="736"/>
                  </a:lnTo>
                  <a:lnTo>
                    <a:pt x="1043" y="736"/>
                  </a:lnTo>
                  <a:lnTo>
                    <a:pt x="1045" y="734"/>
                  </a:lnTo>
                  <a:lnTo>
                    <a:pt x="1045" y="734"/>
                  </a:lnTo>
                  <a:lnTo>
                    <a:pt x="1047" y="734"/>
                  </a:lnTo>
                  <a:lnTo>
                    <a:pt x="1047" y="734"/>
                  </a:lnTo>
                  <a:lnTo>
                    <a:pt x="1047" y="734"/>
                  </a:lnTo>
                  <a:lnTo>
                    <a:pt x="1047" y="734"/>
                  </a:lnTo>
                  <a:lnTo>
                    <a:pt x="1047" y="734"/>
                  </a:lnTo>
                  <a:lnTo>
                    <a:pt x="1045" y="734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3" y="736"/>
                  </a:lnTo>
                  <a:lnTo>
                    <a:pt x="1041" y="736"/>
                  </a:lnTo>
                  <a:close/>
                  <a:moveTo>
                    <a:pt x="1238" y="734"/>
                  </a:moveTo>
                  <a:lnTo>
                    <a:pt x="1238" y="734"/>
                  </a:lnTo>
                  <a:lnTo>
                    <a:pt x="1238" y="734"/>
                  </a:lnTo>
                  <a:lnTo>
                    <a:pt x="1241" y="734"/>
                  </a:lnTo>
                  <a:lnTo>
                    <a:pt x="1241" y="734"/>
                  </a:lnTo>
                  <a:lnTo>
                    <a:pt x="1241" y="734"/>
                  </a:lnTo>
                  <a:lnTo>
                    <a:pt x="1241" y="734"/>
                  </a:lnTo>
                  <a:lnTo>
                    <a:pt x="1238" y="734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38" y="736"/>
                  </a:lnTo>
                  <a:lnTo>
                    <a:pt x="1241" y="736"/>
                  </a:lnTo>
                  <a:lnTo>
                    <a:pt x="1241" y="736"/>
                  </a:lnTo>
                  <a:lnTo>
                    <a:pt x="1241" y="736"/>
                  </a:lnTo>
                  <a:lnTo>
                    <a:pt x="1241" y="736"/>
                  </a:lnTo>
                  <a:lnTo>
                    <a:pt x="1241" y="736"/>
                  </a:lnTo>
                  <a:lnTo>
                    <a:pt x="1241" y="736"/>
                  </a:lnTo>
                  <a:lnTo>
                    <a:pt x="1241" y="738"/>
                  </a:lnTo>
                  <a:lnTo>
                    <a:pt x="1241" y="738"/>
                  </a:lnTo>
                  <a:lnTo>
                    <a:pt x="1241" y="738"/>
                  </a:lnTo>
                  <a:lnTo>
                    <a:pt x="1241" y="740"/>
                  </a:lnTo>
                  <a:lnTo>
                    <a:pt x="1238" y="740"/>
                  </a:lnTo>
                  <a:lnTo>
                    <a:pt x="1238" y="740"/>
                  </a:lnTo>
                  <a:lnTo>
                    <a:pt x="1238" y="740"/>
                  </a:lnTo>
                  <a:lnTo>
                    <a:pt x="1238" y="740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8" y="742"/>
                  </a:lnTo>
                  <a:lnTo>
                    <a:pt x="1236" y="745"/>
                  </a:lnTo>
                  <a:lnTo>
                    <a:pt x="1236" y="747"/>
                  </a:lnTo>
                  <a:lnTo>
                    <a:pt x="1234" y="747"/>
                  </a:lnTo>
                  <a:lnTo>
                    <a:pt x="1234" y="749"/>
                  </a:lnTo>
                  <a:lnTo>
                    <a:pt x="1234" y="749"/>
                  </a:lnTo>
                  <a:lnTo>
                    <a:pt x="1234" y="749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2" y="751"/>
                  </a:lnTo>
                  <a:lnTo>
                    <a:pt x="1234" y="751"/>
                  </a:lnTo>
                  <a:lnTo>
                    <a:pt x="1234" y="749"/>
                  </a:lnTo>
                  <a:lnTo>
                    <a:pt x="1234" y="749"/>
                  </a:lnTo>
                  <a:lnTo>
                    <a:pt x="1236" y="749"/>
                  </a:lnTo>
                  <a:lnTo>
                    <a:pt x="1236" y="749"/>
                  </a:lnTo>
                  <a:lnTo>
                    <a:pt x="1236" y="749"/>
                  </a:lnTo>
                  <a:lnTo>
                    <a:pt x="1236" y="749"/>
                  </a:lnTo>
                  <a:lnTo>
                    <a:pt x="1236" y="749"/>
                  </a:lnTo>
                  <a:lnTo>
                    <a:pt x="1234" y="749"/>
                  </a:lnTo>
                  <a:lnTo>
                    <a:pt x="1234" y="751"/>
                  </a:lnTo>
                  <a:lnTo>
                    <a:pt x="1234" y="751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27" y="754"/>
                  </a:lnTo>
                  <a:lnTo>
                    <a:pt x="1227" y="754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3" y="756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0" y="758"/>
                  </a:lnTo>
                  <a:lnTo>
                    <a:pt x="1220" y="758"/>
                  </a:lnTo>
                  <a:lnTo>
                    <a:pt x="1218" y="758"/>
                  </a:lnTo>
                  <a:lnTo>
                    <a:pt x="1220" y="758"/>
                  </a:lnTo>
                  <a:lnTo>
                    <a:pt x="1220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5" y="756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7" y="756"/>
                  </a:lnTo>
                  <a:lnTo>
                    <a:pt x="1225" y="756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3" y="758"/>
                  </a:lnTo>
                  <a:lnTo>
                    <a:pt x="1220" y="758"/>
                  </a:lnTo>
                  <a:lnTo>
                    <a:pt x="1220" y="758"/>
                  </a:lnTo>
                  <a:lnTo>
                    <a:pt x="1220" y="758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18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3" y="760"/>
                  </a:lnTo>
                  <a:lnTo>
                    <a:pt x="1220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3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20" y="760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3"/>
                  </a:lnTo>
                  <a:lnTo>
                    <a:pt x="1218" y="765"/>
                  </a:lnTo>
                  <a:lnTo>
                    <a:pt x="1218" y="765"/>
                  </a:lnTo>
                  <a:lnTo>
                    <a:pt x="1218" y="765"/>
                  </a:lnTo>
                  <a:lnTo>
                    <a:pt x="1220" y="763"/>
                  </a:lnTo>
                  <a:lnTo>
                    <a:pt x="1223" y="763"/>
                  </a:lnTo>
                  <a:lnTo>
                    <a:pt x="1223" y="763"/>
                  </a:lnTo>
                  <a:lnTo>
                    <a:pt x="1223" y="763"/>
                  </a:lnTo>
                  <a:lnTo>
                    <a:pt x="1223" y="763"/>
                  </a:lnTo>
                  <a:lnTo>
                    <a:pt x="1225" y="763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5" y="765"/>
                  </a:lnTo>
                  <a:lnTo>
                    <a:pt x="1225" y="765"/>
                  </a:lnTo>
                  <a:lnTo>
                    <a:pt x="1225" y="765"/>
                  </a:lnTo>
                  <a:lnTo>
                    <a:pt x="1225" y="765"/>
                  </a:lnTo>
                  <a:lnTo>
                    <a:pt x="1225" y="765"/>
                  </a:lnTo>
                  <a:lnTo>
                    <a:pt x="1225" y="765"/>
                  </a:lnTo>
                  <a:lnTo>
                    <a:pt x="1225" y="765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5" y="763"/>
                  </a:lnTo>
                  <a:lnTo>
                    <a:pt x="1227" y="760"/>
                  </a:lnTo>
                  <a:lnTo>
                    <a:pt x="1227" y="760"/>
                  </a:lnTo>
                  <a:lnTo>
                    <a:pt x="1227" y="760"/>
                  </a:lnTo>
                  <a:lnTo>
                    <a:pt x="1227" y="760"/>
                  </a:lnTo>
                  <a:lnTo>
                    <a:pt x="1227" y="760"/>
                  </a:lnTo>
                  <a:lnTo>
                    <a:pt x="1227" y="760"/>
                  </a:lnTo>
                  <a:lnTo>
                    <a:pt x="1229" y="760"/>
                  </a:lnTo>
                  <a:lnTo>
                    <a:pt x="1229" y="760"/>
                  </a:lnTo>
                  <a:lnTo>
                    <a:pt x="1229" y="760"/>
                  </a:lnTo>
                  <a:lnTo>
                    <a:pt x="1229" y="758"/>
                  </a:lnTo>
                  <a:lnTo>
                    <a:pt x="1232" y="758"/>
                  </a:lnTo>
                  <a:lnTo>
                    <a:pt x="1232" y="758"/>
                  </a:lnTo>
                  <a:lnTo>
                    <a:pt x="1232" y="758"/>
                  </a:lnTo>
                  <a:lnTo>
                    <a:pt x="1234" y="758"/>
                  </a:lnTo>
                  <a:lnTo>
                    <a:pt x="1234" y="756"/>
                  </a:lnTo>
                  <a:lnTo>
                    <a:pt x="1234" y="756"/>
                  </a:lnTo>
                  <a:lnTo>
                    <a:pt x="1232" y="758"/>
                  </a:lnTo>
                  <a:lnTo>
                    <a:pt x="1232" y="758"/>
                  </a:lnTo>
                  <a:lnTo>
                    <a:pt x="1229" y="758"/>
                  </a:lnTo>
                  <a:lnTo>
                    <a:pt x="1229" y="758"/>
                  </a:lnTo>
                  <a:lnTo>
                    <a:pt x="1227" y="758"/>
                  </a:lnTo>
                  <a:lnTo>
                    <a:pt x="1227" y="758"/>
                  </a:lnTo>
                  <a:lnTo>
                    <a:pt x="1227" y="760"/>
                  </a:lnTo>
                  <a:lnTo>
                    <a:pt x="1227" y="760"/>
                  </a:lnTo>
                  <a:lnTo>
                    <a:pt x="1227" y="758"/>
                  </a:lnTo>
                  <a:lnTo>
                    <a:pt x="1227" y="758"/>
                  </a:lnTo>
                  <a:lnTo>
                    <a:pt x="1227" y="758"/>
                  </a:lnTo>
                  <a:lnTo>
                    <a:pt x="1227" y="758"/>
                  </a:lnTo>
                  <a:lnTo>
                    <a:pt x="1227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5" y="758"/>
                  </a:lnTo>
                  <a:lnTo>
                    <a:pt x="1227" y="758"/>
                  </a:lnTo>
                  <a:lnTo>
                    <a:pt x="1227" y="756"/>
                  </a:lnTo>
                  <a:lnTo>
                    <a:pt x="1229" y="756"/>
                  </a:lnTo>
                  <a:lnTo>
                    <a:pt x="1229" y="756"/>
                  </a:lnTo>
                  <a:lnTo>
                    <a:pt x="1229" y="756"/>
                  </a:lnTo>
                  <a:lnTo>
                    <a:pt x="1232" y="756"/>
                  </a:lnTo>
                  <a:lnTo>
                    <a:pt x="1232" y="754"/>
                  </a:lnTo>
                  <a:lnTo>
                    <a:pt x="1232" y="754"/>
                  </a:lnTo>
                  <a:lnTo>
                    <a:pt x="1234" y="754"/>
                  </a:lnTo>
                  <a:lnTo>
                    <a:pt x="1234" y="754"/>
                  </a:lnTo>
                  <a:lnTo>
                    <a:pt x="1234" y="754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4" y="751"/>
                  </a:lnTo>
                  <a:lnTo>
                    <a:pt x="1234" y="754"/>
                  </a:lnTo>
                  <a:lnTo>
                    <a:pt x="1229" y="756"/>
                  </a:lnTo>
                  <a:lnTo>
                    <a:pt x="1229" y="756"/>
                  </a:lnTo>
                  <a:lnTo>
                    <a:pt x="1229" y="756"/>
                  </a:lnTo>
                  <a:lnTo>
                    <a:pt x="1229" y="756"/>
                  </a:lnTo>
                  <a:lnTo>
                    <a:pt x="1229" y="756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29" y="754"/>
                  </a:lnTo>
                  <a:lnTo>
                    <a:pt x="1232" y="754"/>
                  </a:lnTo>
                  <a:lnTo>
                    <a:pt x="1234" y="751"/>
                  </a:lnTo>
                  <a:lnTo>
                    <a:pt x="1234" y="751"/>
                  </a:lnTo>
                  <a:lnTo>
                    <a:pt x="1234" y="751"/>
                  </a:lnTo>
                  <a:lnTo>
                    <a:pt x="1236" y="749"/>
                  </a:lnTo>
                  <a:lnTo>
                    <a:pt x="1238" y="749"/>
                  </a:lnTo>
                  <a:lnTo>
                    <a:pt x="1238" y="749"/>
                  </a:lnTo>
                  <a:lnTo>
                    <a:pt x="1238" y="751"/>
                  </a:lnTo>
                  <a:lnTo>
                    <a:pt x="1238" y="751"/>
                  </a:lnTo>
                  <a:lnTo>
                    <a:pt x="1238" y="751"/>
                  </a:lnTo>
                  <a:lnTo>
                    <a:pt x="1236" y="754"/>
                  </a:lnTo>
                  <a:lnTo>
                    <a:pt x="1236" y="754"/>
                  </a:lnTo>
                  <a:lnTo>
                    <a:pt x="1236" y="754"/>
                  </a:lnTo>
                  <a:lnTo>
                    <a:pt x="1236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4"/>
                  </a:lnTo>
                  <a:lnTo>
                    <a:pt x="1238" y="751"/>
                  </a:lnTo>
                  <a:lnTo>
                    <a:pt x="1238" y="751"/>
                  </a:lnTo>
                  <a:lnTo>
                    <a:pt x="1238" y="751"/>
                  </a:lnTo>
                  <a:lnTo>
                    <a:pt x="1238" y="751"/>
                  </a:lnTo>
                  <a:lnTo>
                    <a:pt x="1241" y="751"/>
                  </a:lnTo>
                  <a:lnTo>
                    <a:pt x="1241" y="751"/>
                  </a:lnTo>
                  <a:lnTo>
                    <a:pt x="1241" y="751"/>
                  </a:lnTo>
                  <a:lnTo>
                    <a:pt x="1241" y="751"/>
                  </a:lnTo>
                  <a:lnTo>
                    <a:pt x="1241" y="751"/>
                  </a:lnTo>
                  <a:lnTo>
                    <a:pt x="1241" y="751"/>
                  </a:lnTo>
                  <a:lnTo>
                    <a:pt x="1241" y="751"/>
                  </a:lnTo>
                  <a:lnTo>
                    <a:pt x="1243" y="751"/>
                  </a:lnTo>
                  <a:lnTo>
                    <a:pt x="1243" y="751"/>
                  </a:lnTo>
                  <a:lnTo>
                    <a:pt x="1243" y="754"/>
                  </a:lnTo>
                  <a:lnTo>
                    <a:pt x="1243" y="754"/>
                  </a:lnTo>
                  <a:lnTo>
                    <a:pt x="1243" y="754"/>
                  </a:lnTo>
                  <a:lnTo>
                    <a:pt x="1245" y="754"/>
                  </a:lnTo>
                  <a:lnTo>
                    <a:pt x="1245" y="754"/>
                  </a:lnTo>
                  <a:lnTo>
                    <a:pt x="1245" y="754"/>
                  </a:lnTo>
                  <a:lnTo>
                    <a:pt x="1245" y="754"/>
                  </a:lnTo>
                  <a:lnTo>
                    <a:pt x="1243" y="754"/>
                  </a:lnTo>
                  <a:lnTo>
                    <a:pt x="1243" y="756"/>
                  </a:lnTo>
                  <a:lnTo>
                    <a:pt x="1243" y="754"/>
                  </a:lnTo>
                  <a:lnTo>
                    <a:pt x="1245" y="754"/>
                  </a:lnTo>
                  <a:lnTo>
                    <a:pt x="1245" y="754"/>
                  </a:lnTo>
                  <a:lnTo>
                    <a:pt x="1245" y="754"/>
                  </a:lnTo>
                  <a:lnTo>
                    <a:pt x="1245" y="754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3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5" y="756"/>
                  </a:lnTo>
                  <a:lnTo>
                    <a:pt x="1243" y="756"/>
                  </a:lnTo>
                  <a:lnTo>
                    <a:pt x="1243" y="758"/>
                  </a:lnTo>
                  <a:lnTo>
                    <a:pt x="1243" y="758"/>
                  </a:lnTo>
                  <a:lnTo>
                    <a:pt x="1245" y="758"/>
                  </a:lnTo>
                  <a:lnTo>
                    <a:pt x="1245" y="758"/>
                  </a:lnTo>
                  <a:lnTo>
                    <a:pt x="1245" y="758"/>
                  </a:lnTo>
                  <a:lnTo>
                    <a:pt x="1245" y="758"/>
                  </a:lnTo>
                  <a:lnTo>
                    <a:pt x="1243" y="758"/>
                  </a:lnTo>
                  <a:lnTo>
                    <a:pt x="1243" y="758"/>
                  </a:lnTo>
                  <a:lnTo>
                    <a:pt x="1243" y="758"/>
                  </a:lnTo>
                  <a:lnTo>
                    <a:pt x="1241" y="758"/>
                  </a:lnTo>
                  <a:lnTo>
                    <a:pt x="1241" y="758"/>
                  </a:lnTo>
                  <a:lnTo>
                    <a:pt x="1241" y="758"/>
                  </a:lnTo>
                  <a:lnTo>
                    <a:pt x="1241" y="758"/>
                  </a:lnTo>
                  <a:lnTo>
                    <a:pt x="1241" y="758"/>
                  </a:lnTo>
                  <a:lnTo>
                    <a:pt x="1241" y="760"/>
                  </a:lnTo>
                  <a:lnTo>
                    <a:pt x="1241" y="760"/>
                  </a:lnTo>
                  <a:lnTo>
                    <a:pt x="1241" y="760"/>
                  </a:lnTo>
                  <a:lnTo>
                    <a:pt x="1241" y="760"/>
                  </a:lnTo>
                  <a:lnTo>
                    <a:pt x="1238" y="760"/>
                  </a:lnTo>
                  <a:lnTo>
                    <a:pt x="1236" y="760"/>
                  </a:lnTo>
                  <a:lnTo>
                    <a:pt x="1236" y="760"/>
                  </a:lnTo>
                  <a:lnTo>
                    <a:pt x="1236" y="760"/>
                  </a:lnTo>
                  <a:lnTo>
                    <a:pt x="1236" y="760"/>
                  </a:lnTo>
                  <a:lnTo>
                    <a:pt x="1236" y="760"/>
                  </a:lnTo>
                  <a:lnTo>
                    <a:pt x="1238" y="760"/>
                  </a:lnTo>
                  <a:lnTo>
                    <a:pt x="1238" y="760"/>
                  </a:lnTo>
                  <a:lnTo>
                    <a:pt x="1238" y="760"/>
                  </a:lnTo>
                  <a:lnTo>
                    <a:pt x="1238" y="760"/>
                  </a:lnTo>
                  <a:lnTo>
                    <a:pt x="1238" y="760"/>
                  </a:lnTo>
                  <a:lnTo>
                    <a:pt x="1238" y="763"/>
                  </a:lnTo>
                  <a:lnTo>
                    <a:pt x="1238" y="763"/>
                  </a:lnTo>
                  <a:lnTo>
                    <a:pt x="1238" y="763"/>
                  </a:lnTo>
                  <a:lnTo>
                    <a:pt x="1236" y="763"/>
                  </a:lnTo>
                  <a:lnTo>
                    <a:pt x="1236" y="763"/>
                  </a:lnTo>
                  <a:lnTo>
                    <a:pt x="1236" y="763"/>
                  </a:lnTo>
                  <a:lnTo>
                    <a:pt x="1234" y="763"/>
                  </a:lnTo>
                  <a:lnTo>
                    <a:pt x="1234" y="763"/>
                  </a:lnTo>
                  <a:lnTo>
                    <a:pt x="1234" y="765"/>
                  </a:lnTo>
                  <a:lnTo>
                    <a:pt x="1234" y="765"/>
                  </a:lnTo>
                  <a:lnTo>
                    <a:pt x="1232" y="765"/>
                  </a:lnTo>
                  <a:lnTo>
                    <a:pt x="1232" y="765"/>
                  </a:lnTo>
                  <a:lnTo>
                    <a:pt x="1229" y="765"/>
                  </a:lnTo>
                  <a:lnTo>
                    <a:pt x="1229" y="765"/>
                  </a:lnTo>
                  <a:lnTo>
                    <a:pt x="1229" y="765"/>
                  </a:lnTo>
                  <a:lnTo>
                    <a:pt x="1229" y="765"/>
                  </a:lnTo>
                  <a:lnTo>
                    <a:pt x="1229" y="765"/>
                  </a:lnTo>
                  <a:lnTo>
                    <a:pt x="1229" y="765"/>
                  </a:lnTo>
                  <a:lnTo>
                    <a:pt x="1227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5" y="767"/>
                  </a:lnTo>
                  <a:lnTo>
                    <a:pt x="1223" y="767"/>
                  </a:lnTo>
                  <a:lnTo>
                    <a:pt x="1223" y="767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3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20" y="765"/>
                  </a:lnTo>
                  <a:lnTo>
                    <a:pt x="1218" y="765"/>
                  </a:lnTo>
                  <a:lnTo>
                    <a:pt x="1218" y="765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8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5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6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5"/>
                  </a:lnTo>
                  <a:lnTo>
                    <a:pt x="1211" y="765"/>
                  </a:lnTo>
                  <a:lnTo>
                    <a:pt x="1211" y="765"/>
                  </a:lnTo>
                  <a:lnTo>
                    <a:pt x="1211" y="763"/>
                  </a:lnTo>
                  <a:lnTo>
                    <a:pt x="1211" y="763"/>
                  </a:lnTo>
                  <a:lnTo>
                    <a:pt x="1211" y="760"/>
                  </a:lnTo>
                  <a:lnTo>
                    <a:pt x="1211" y="760"/>
                  </a:lnTo>
                  <a:lnTo>
                    <a:pt x="1211" y="760"/>
                  </a:lnTo>
                  <a:lnTo>
                    <a:pt x="1211" y="760"/>
                  </a:lnTo>
                  <a:lnTo>
                    <a:pt x="1211" y="758"/>
                  </a:lnTo>
                  <a:lnTo>
                    <a:pt x="1211" y="758"/>
                  </a:lnTo>
                  <a:lnTo>
                    <a:pt x="1211" y="758"/>
                  </a:lnTo>
                  <a:lnTo>
                    <a:pt x="1211" y="758"/>
                  </a:lnTo>
                  <a:lnTo>
                    <a:pt x="1211" y="758"/>
                  </a:lnTo>
                  <a:lnTo>
                    <a:pt x="1211" y="758"/>
                  </a:lnTo>
                  <a:lnTo>
                    <a:pt x="1211" y="758"/>
                  </a:lnTo>
                  <a:lnTo>
                    <a:pt x="1211" y="756"/>
                  </a:lnTo>
                  <a:lnTo>
                    <a:pt x="1211" y="756"/>
                  </a:lnTo>
                  <a:lnTo>
                    <a:pt x="1211" y="756"/>
                  </a:lnTo>
                  <a:lnTo>
                    <a:pt x="1211" y="756"/>
                  </a:lnTo>
                  <a:lnTo>
                    <a:pt x="1211" y="756"/>
                  </a:lnTo>
                  <a:lnTo>
                    <a:pt x="1214" y="756"/>
                  </a:lnTo>
                  <a:lnTo>
                    <a:pt x="1214" y="756"/>
                  </a:lnTo>
                  <a:lnTo>
                    <a:pt x="1214" y="756"/>
                  </a:lnTo>
                  <a:lnTo>
                    <a:pt x="1214" y="754"/>
                  </a:lnTo>
                  <a:lnTo>
                    <a:pt x="1214" y="754"/>
                  </a:lnTo>
                  <a:lnTo>
                    <a:pt x="1214" y="754"/>
                  </a:lnTo>
                  <a:lnTo>
                    <a:pt x="1216" y="754"/>
                  </a:lnTo>
                  <a:lnTo>
                    <a:pt x="1216" y="754"/>
                  </a:lnTo>
                  <a:lnTo>
                    <a:pt x="1216" y="751"/>
                  </a:lnTo>
                  <a:lnTo>
                    <a:pt x="1218" y="751"/>
                  </a:lnTo>
                  <a:lnTo>
                    <a:pt x="1218" y="751"/>
                  </a:lnTo>
                  <a:lnTo>
                    <a:pt x="1218" y="751"/>
                  </a:lnTo>
                  <a:lnTo>
                    <a:pt x="1220" y="749"/>
                  </a:lnTo>
                  <a:lnTo>
                    <a:pt x="1220" y="749"/>
                  </a:lnTo>
                  <a:lnTo>
                    <a:pt x="1223" y="747"/>
                  </a:lnTo>
                  <a:lnTo>
                    <a:pt x="1223" y="747"/>
                  </a:lnTo>
                  <a:lnTo>
                    <a:pt x="1225" y="747"/>
                  </a:lnTo>
                  <a:lnTo>
                    <a:pt x="1225" y="745"/>
                  </a:lnTo>
                  <a:lnTo>
                    <a:pt x="1225" y="745"/>
                  </a:lnTo>
                  <a:lnTo>
                    <a:pt x="1225" y="745"/>
                  </a:lnTo>
                  <a:lnTo>
                    <a:pt x="1225" y="745"/>
                  </a:lnTo>
                  <a:lnTo>
                    <a:pt x="1225" y="745"/>
                  </a:lnTo>
                  <a:lnTo>
                    <a:pt x="1225" y="742"/>
                  </a:lnTo>
                  <a:lnTo>
                    <a:pt x="1225" y="742"/>
                  </a:lnTo>
                  <a:lnTo>
                    <a:pt x="1225" y="742"/>
                  </a:lnTo>
                  <a:lnTo>
                    <a:pt x="1225" y="742"/>
                  </a:lnTo>
                  <a:lnTo>
                    <a:pt x="1225" y="742"/>
                  </a:lnTo>
                  <a:lnTo>
                    <a:pt x="1227" y="742"/>
                  </a:lnTo>
                  <a:lnTo>
                    <a:pt x="1227" y="742"/>
                  </a:lnTo>
                  <a:lnTo>
                    <a:pt x="1225" y="742"/>
                  </a:lnTo>
                  <a:lnTo>
                    <a:pt x="1225" y="742"/>
                  </a:lnTo>
                  <a:lnTo>
                    <a:pt x="1225" y="742"/>
                  </a:lnTo>
                  <a:lnTo>
                    <a:pt x="1227" y="742"/>
                  </a:lnTo>
                  <a:lnTo>
                    <a:pt x="1227" y="742"/>
                  </a:lnTo>
                  <a:lnTo>
                    <a:pt x="1227" y="742"/>
                  </a:lnTo>
                  <a:lnTo>
                    <a:pt x="1227" y="742"/>
                  </a:lnTo>
                  <a:lnTo>
                    <a:pt x="1227" y="742"/>
                  </a:lnTo>
                  <a:lnTo>
                    <a:pt x="1227" y="742"/>
                  </a:lnTo>
                  <a:lnTo>
                    <a:pt x="1227" y="740"/>
                  </a:lnTo>
                  <a:lnTo>
                    <a:pt x="1229" y="738"/>
                  </a:lnTo>
                  <a:lnTo>
                    <a:pt x="1229" y="738"/>
                  </a:lnTo>
                  <a:lnTo>
                    <a:pt x="1232" y="738"/>
                  </a:lnTo>
                  <a:lnTo>
                    <a:pt x="1232" y="738"/>
                  </a:lnTo>
                  <a:lnTo>
                    <a:pt x="1232" y="738"/>
                  </a:lnTo>
                  <a:lnTo>
                    <a:pt x="1234" y="736"/>
                  </a:lnTo>
                  <a:lnTo>
                    <a:pt x="1236" y="734"/>
                  </a:lnTo>
                  <a:lnTo>
                    <a:pt x="1236" y="734"/>
                  </a:lnTo>
                  <a:lnTo>
                    <a:pt x="1236" y="734"/>
                  </a:lnTo>
                  <a:lnTo>
                    <a:pt x="1236" y="734"/>
                  </a:lnTo>
                  <a:lnTo>
                    <a:pt x="1236" y="734"/>
                  </a:lnTo>
                  <a:lnTo>
                    <a:pt x="1236" y="734"/>
                  </a:lnTo>
                  <a:lnTo>
                    <a:pt x="1238" y="734"/>
                  </a:lnTo>
                  <a:lnTo>
                    <a:pt x="1238" y="734"/>
                  </a:lnTo>
                  <a:lnTo>
                    <a:pt x="1238" y="734"/>
                  </a:lnTo>
                  <a:lnTo>
                    <a:pt x="1238" y="734"/>
                  </a:lnTo>
                  <a:lnTo>
                    <a:pt x="1238" y="734"/>
                  </a:lnTo>
                  <a:lnTo>
                    <a:pt x="1238" y="734"/>
                  </a:lnTo>
                  <a:close/>
                  <a:moveTo>
                    <a:pt x="1171" y="738"/>
                  </a:move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1" y="740"/>
                  </a:lnTo>
                  <a:lnTo>
                    <a:pt x="1173" y="740"/>
                  </a:lnTo>
                  <a:lnTo>
                    <a:pt x="1173" y="740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3" y="742"/>
                  </a:lnTo>
                  <a:lnTo>
                    <a:pt x="1171" y="745"/>
                  </a:lnTo>
                  <a:lnTo>
                    <a:pt x="1171" y="745"/>
                  </a:lnTo>
                  <a:lnTo>
                    <a:pt x="1171" y="745"/>
                  </a:lnTo>
                  <a:lnTo>
                    <a:pt x="1171" y="745"/>
                  </a:lnTo>
                  <a:lnTo>
                    <a:pt x="1171" y="745"/>
                  </a:lnTo>
                  <a:lnTo>
                    <a:pt x="1171" y="745"/>
                  </a:lnTo>
                  <a:lnTo>
                    <a:pt x="1171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5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5" y="747"/>
                  </a:lnTo>
                  <a:lnTo>
                    <a:pt x="1175" y="747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5" y="745"/>
                  </a:lnTo>
                  <a:lnTo>
                    <a:pt x="1178" y="745"/>
                  </a:lnTo>
                  <a:lnTo>
                    <a:pt x="1178" y="745"/>
                  </a:lnTo>
                  <a:lnTo>
                    <a:pt x="1178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7"/>
                  </a:lnTo>
                  <a:lnTo>
                    <a:pt x="1180" y="747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0" y="745"/>
                  </a:lnTo>
                  <a:lnTo>
                    <a:pt x="1182" y="745"/>
                  </a:lnTo>
                  <a:lnTo>
                    <a:pt x="1182" y="745"/>
                  </a:lnTo>
                  <a:lnTo>
                    <a:pt x="1182" y="745"/>
                  </a:lnTo>
                  <a:lnTo>
                    <a:pt x="1182" y="745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2" y="747"/>
                  </a:lnTo>
                  <a:lnTo>
                    <a:pt x="1184" y="747"/>
                  </a:lnTo>
                  <a:lnTo>
                    <a:pt x="1184" y="747"/>
                  </a:lnTo>
                  <a:lnTo>
                    <a:pt x="1184" y="747"/>
                  </a:lnTo>
                  <a:lnTo>
                    <a:pt x="1184" y="747"/>
                  </a:lnTo>
                  <a:lnTo>
                    <a:pt x="1184" y="747"/>
                  </a:lnTo>
                  <a:lnTo>
                    <a:pt x="1184" y="747"/>
                  </a:lnTo>
                  <a:lnTo>
                    <a:pt x="1184" y="747"/>
                  </a:lnTo>
                  <a:lnTo>
                    <a:pt x="1187" y="747"/>
                  </a:lnTo>
                  <a:lnTo>
                    <a:pt x="1189" y="747"/>
                  </a:lnTo>
                  <a:lnTo>
                    <a:pt x="1191" y="747"/>
                  </a:lnTo>
                  <a:lnTo>
                    <a:pt x="1191" y="747"/>
                  </a:lnTo>
                  <a:lnTo>
                    <a:pt x="1191" y="747"/>
                  </a:lnTo>
                  <a:lnTo>
                    <a:pt x="1191" y="747"/>
                  </a:lnTo>
                  <a:lnTo>
                    <a:pt x="1191" y="747"/>
                  </a:lnTo>
                  <a:lnTo>
                    <a:pt x="1191" y="747"/>
                  </a:lnTo>
                  <a:lnTo>
                    <a:pt x="1193" y="747"/>
                  </a:lnTo>
                  <a:lnTo>
                    <a:pt x="1196" y="747"/>
                  </a:lnTo>
                  <a:lnTo>
                    <a:pt x="1196" y="747"/>
                  </a:lnTo>
                  <a:lnTo>
                    <a:pt x="1193" y="747"/>
                  </a:lnTo>
                  <a:lnTo>
                    <a:pt x="1193" y="747"/>
                  </a:lnTo>
                  <a:lnTo>
                    <a:pt x="1193" y="747"/>
                  </a:lnTo>
                  <a:lnTo>
                    <a:pt x="1196" y="747"/>
                  </a:lnTo>
                  <a:lnTo>
                    <a:pt x="1196" y="745"/>
                  </a:lnTo>
                  <a:lnTo>
                    <a:pt x="1196" y="747"/>
                  </a:lnTo>
                  <a:lnTo>
                    <a:pt x="1196" y="747"/>
                  </a:lnTo>
                  <a:lnTo>
                    <a:pt x="1198" y="745"/>
                  </a:lnTo>
                  <a:lnTo>
                    <a:pt x="1200" y="745"/>
                  </a:lnTo>
                  <a:lnTo>
                    <a:pt x="1202" y="745"/>
                  </a:lnTo>
                  <a:lnTo>
                    <a:pt x="1202" y="745"/>
                  </a:lnTo>
                  <a:lnTo>
                    <a:pt x="1205" y="745"/>
                  </a:lnTo>
                  <a:lnTo>
                    <a:pt x="1207" y="747"/>
                  </a:lnTo>
                  <a:lnTo>
                    <a:pt x="1207" y="747"/>
                  </a:lnTo>
                  <a:lnTo>
                    <a:pt x="1207" y="747"/>
                  </a:lnTo>
                  <a:lnTo>
                    <a:pt x="1207" y="747"/>
                  </a:lnTo>
                  <a:lnTo>
                    <a:pt x="1205" y="747"/>
                  </a:lnTo>
                  <a:lnTo>
                    <a:pt x="1202" y="749"/>
                  </a:lnTo>
                  <a:lnTo>
                    <a:pt x="1202" y="749"/>
                  </a:lnTo>
                  <a:lnTo>
                    <a:pt x="1202" y="749"/>
                  </a:lnTo>
                  <a:lnTo>
                    <a:pt x="1202" y="749"/>
                  </a:lnTo>
                  <a:lnTo>
                    <a:pt x="1200" y="749"/>
                  </a:lnTo>
                  <a:lnTo>
                    <a:pt x="1200" y="747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200" y="749"/>
                  </a:lnTo>
                  <a:lnTo>
                    <a:pt x="1198" y="749"/>
                  </a:lnTo>
                  <a:lnTo>
                    <a:pt x="1198" y="749"/>
                  </a:lnTo>
                  <a:lnTo>
                    <a:pt x="1198" y="749"/>
                  </a:lnTo>
                  <a:lnTo>
                    <a:pt x="1198" y="749"/>
                  </a:lnTo>
                  <a:lnTo>
                    <a:pt x="1198" y="751"/>
                  </a:lnTo>
                  <a:lnTo>
                    <a:pt x="1198" y="751"/>
                  </a:lnTo>
                  <a:lnTo>
                    <a:pt x="1196" y="749"/>
                  </a:lnTo>
                  <a:lnTo>
                    <a:pt x="1196" y="751"/>
                  </a:lnTo>
                  <a:lnTo>
                    <a:pt x="1198" y="751"/>
                  </a:lnTo>
                  <a:lnTo>
                    <a:pt x="1198" y="751"/>
                  </a:lnTo>
                  <a:lnTo>
                    <a:pt x="1198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6" y="751"/>
                  </a:lnTo>
                  <a:lnTo>
                    <a:pt x="1196" y="751"/>
                  </a:lnTo>
                  <a:lnTo>
                    <a:pt x="1196" y="754"/>
                  </a:lnTo>
                  <a:lnTo>
                    <a:pt x="1196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1"/>
                  </a:lnTo>
                  <a:lnTo>
                    <a:pt x="1193" y="754"/>
                  </a:lnTo>
                  <a:lnTo>
                    <a:pt x="1193" y="754"/>
                  </a:lnTo>
                  <a:lnTo>
                    <a:pt x="1193" y="754"/>
                  </a:lnTo>
                  <a:lnTo>
                    <a:pt x="1196" y="754"/>
                  </a:lnTo>
                  <a:lnTo>
                    <a:pt x="1193" y="754"/>
                  </a:lnTo>
                  <a:lnTo>
                    <a:pt x="1193" y="754"/>
                  </a:lnTo>
                  <a:lnTo>
                    <a:pt x="1193" y="754"/>
                  </a:lnTo>
                  <a:lnTo>
                    <a:pt x="1193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4"/>
                  </a:lnTo>
                  <a:lnTo>
                    <a:pt x="1196" y="756"/>
                  </a:lnTo>
                  <a:lnTo>
                    <a:pt x="1196" y="756"/>
                  </a:lnTo>
                  <a:lnTo>
                    <a:pt x="1196" y="756"/>
                  </a:lnTo>
                  <a:lnTo>
                    <a:pt x="1196" y="756"/>
                  </a:lnTo>
                  <a:lnTo>
                    <a:pt x="1196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3" y="756"/>
                  </a:lnTo>
                  <a:lnTo>
                    <a:pt x="1196" y="756"/>
                  </a:lnTo>
                  <a:lnTo>
                    <a:pt x="1196" y="756"/>
                  </a:lnTo>
                  <a:lnTo>
                    <a:pt x="1193" y="756"/>
                  </a:lnTo>
                  <a:lnTo>
                    <a:pt x="1193" y="758"/>
                  </a:lnTo>
                  <a:lnTo>
                    <a:pt x="1191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9" y="758"/>
                  </a:lnTo>
                  <a:lnTo>
                    <a:pt x="1187" y="758"/>
                  </a:lnTo>
                  <a:lnTo>
                    <a:pt x="1187" y="758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7" y="756"/>
                  </a:lnTo>
                  <a:lnTo>
                    <a:pt x="1184" y="756"/>
                  </a:lnTo>
                  <a:lnTo>
                    <a:pt x="1184" y="756"/>
                  </a:lnTo>
                  <a:lnTo>
                    <a:pt x="1184" y="756"/>
                  </a:lnTo>
                  <a:lnTo>
                    <a:pt x="1184" y="756"/>
                  </a:lnTo>
                  <a:lnTo>
                    <a:pt x="1187" y="756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9" y="754"/>
                  </a:lnTo>
                  <a:lnTo>
                    <a:pt x="1189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4"/>
                  </a:lnTo>
                  <a:lnTo>
                    <a:pt x="1187" y="754"/>
                  </a:lnTo>
                  <a:lnTo>
                    <a:pt x="1187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51"/>
                  </a:lnTo>
                  <a:lnTo>
                    <a:pt x="1187" y="749"/>
                  </a:lnTo>
                  <a:lnTo>
                    <a:pt x="1187" y="749"/>
                  </a:lnTo>
                  <a:lnTo>
                    <a:pt x="1187" y="749"/>
                  </a:lnTo>
                  <a:lnTo>
                    <a:pt x="1187" y="749"/>
                  </a:lnTo>
                  <a:lnTo>
                    <a:pt x="1187" y="749"/>
                  </a:lnTo>
                  <a:lnTo>
                    <a:pt x="1187" y="749"/>
                  </a:lnTo>
                  <a:lnTo>
                    <a:pt x="1187" y="749"/>
                  </a:lnTo>
                  <a:lnTo>
                    <a:pt x="1184" y="749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0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2" y="751"/>
                  </a:lnTo>
                  <a:lnTo>
                    <a:pt x="1184" y="751"/>
                  </a:lnTo>
                  <a:lnTo>
                    <a:pt x="1184" y="751"/>
                  </a:lnTo>
                  <a:lnTo>
                    <a:pt x="1182" y="754"/>
                  </a:lnTo>
                  <a:lnTo>
                    <a:pt x="1182" y="754"/>
                  </a:lnTo>
                  <a:lnTo>
                    <a:pt x="1182" y="754"/>
                  </a:lnTo>
                  <a:lnTo>
                    <a:pt x="1182" y="754"/>
                  </a:lnTo>
                  <a:lnTo>
                    <a:pt x="1180" y="754"/>
                  </a:lnTo>
                  <a:lnTo>
                    <a:pt x="1180" y="754"/>
                  </a:lnTo>
                  <a:lnTo>
                    <a:pt x="1180" y="754"/>
                  </a:lnTo>
                  <a:lnTo>
                    <a:pt x="1180" y="754"/>
                  </a:lnTo>
                  <a:lnTo>
                    <a:pt x="1178" y="754"/>
                  </a:lnTo>
                  <a:lnTo>
                    <a:pt x="1178" y="754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8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5" y="751"/>
                  </a:lnTo>
                  <a:lnTo>
                    <a:pt x="1173" y="751"/>
                  </a:lnTo>
                  <a:lnTo>
                    <a:pt x="1173" y="751"/>
                  </a:lnTo>
                  <a:lnTo>
                    <a:pt x="1173" y="751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9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3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71" y="747"/>
                  </a:lnTo>
                  <a:lnTo>
                    <a:pt x="1169" y="747"/>
                  </a:lnTo>
                  <a:lnTo>
                    <a:pt x="1169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7"/>
                  </a:lnTo>
                  <a:lnTo>
                    <a:pt x="1166" y="745"/>
                  </a:lnTo>
                  <a:lnTo>
                    <a:pt x="1169" y="745"/>
                  </a:lnTo>
                  <a:lnTo>
                    <a:pt x="1169" y="745"/>
                  </a:lnTo>
                  <a:lnTo>
                    <a:pt x="1169" y="745"/>
                  </a:lnTo>
                  <a:lnTo>
                    <a:pt x="1169" y="745"/>
                  </a:lnTo>
                  <a:lnTo>
                    <a:pt x="1169" y="745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9" y="742"/>
                  </a:lnTo>
                  <a:lnTo>
                    <a:pt x="1166" y="742"/>
                  </a:lnTo>
                  <a:lnTo>
                    <a:pt x="1166" y="742"/>
                  </a:lnTo>
                  <a:lnTo>
                    <a:pt x="1166" y="742"/>
                  </a:lnTo>
                  <a:lnTo>
                    <a:pt x="1166" y="742"/>
                  </a:lnTo>
                  <a:lnTo>
                    <a:pt x="1166" y="742"/>
                  </a:lnTo>
                  <a:lnTo>
                    <a:pt x="1166" y="742"/>
                  </a:lnTo>
                  <a:lnTo>
                    <a:pt x="1164" y="742"/>
                  </a:lnTo>
                  <a:lnTo>
                    <a:pt x="1164" y="742"/>
                  </a:lnTo>
                  <a:lnTo>
                    <a:pt x="1164" y="742"/>
                  </a:lnTo>
                  <a:lnTo>
                    <a:pt x="1164" y="742"/>
                  </a:lnTo>
                  <a:lnTo>
                    <a:pt x="1164" y="740"/>
                  </a:lnTo>
                  <a:lnTo>
                    <a:pt x="1164" y="740"/>
                  </a:lnTo>
                  <a:lnTo>
                    <a:pt x="1164" y="740"/>
                  </a:lnTo>
                  <a:lnTo>
                    <a:pt x="1166" y="738"/>
                  </a:lnTo>
                  <a:lnTo>
                    <a:pt x="1166" y="738"/>
                  </a:lnTo>
                  <a:lnTo>
                    <a:pt x="1166" y="738"/>
                  </a:lnTo>
                  <a:lnTo>
                    <a:pt x="1166" y="738"/>
                  </a:lnTo>
                  <a:lnTo>
                    <a:pt x="1169" y="736"/>
                  </a:lnTo>
                  <a:lnTo>
                    <a:pt x="1169" y="736"/>
                  </a:lnTo>
                  <a:lnTo>
                    <a:pt x="1169" y="736"/>
                  </a:lnTo>
                  <a:lnTo>
                    <a:pt x="1171" y="734"/>
                  </a:lnTo>
                  <a:lnTo>
                    <a:pt x="1173" y="734"/>
                  </a:lnTo>
                  <a:lnTo>
                    <a:pt x="1173" y="731"/>
                  </a:lnTo>
                  <a:lnTo>
                    <a:pt x="1173" y="731"/>
                  </a:lnTo>
                  <a:lnTo>
                    <a:pt x="1173" y="734"/>
                  </a:lnTo>
                  <a:lnTo>
                    <a:pt x="1173" y="734"/>
                  </a:lnTo>
                  <a:lnTo>
                    <a:pt x="1173" y="734"/>
                  </a:lnTo>
                  <a:lnTo>
                    <a:pt x="1173" y="734"/>
                  </a:lnTo>
                  <a:lnTo>
                    <a:pt x="1173" y="736"/>
                  </a:lnTo>
                  <a:lnTo>
                    <a:pt x="1173" y="736"/>
                  </a:lnTo>
                  <a:lnTo>
                    <a:pt x="1173" y="736"/>
                  </a:lnTo>
                  <a:lnTo>
                    <a:pt x="1171" y="738"/>
                  </a:lnTo>
                  <a:lnTo>
                    <a:pt x="1171" y="738"/>
                  </a:lnTo>
                  <a:lnTo>
                    <a:pt x="1171" y="738"/>
                  </a:lnTo>
                  <a:close/>
                  <a:moveTo>
                    <a:pt x="1326" y="727"/>
                  </a:move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lnTo>
                    <a:pt x="1326" y="727"/>
                  </a:lnTo>
                  <a:close/>
                  <a:moveTo>
                    <a:pt x="1059" y="725"/>
                  </a:moveTo>
                  <a:lnTo>
                    <a:pt x="1056" y="725"/>
                  </a:lnTo>
                  <a:lnTo>
                    <a:pt x="1056" y="725"/>
                  </a:lnTo>
                  <a:lnTo>
                    <a:pt x="1056" y="725"/>
                  </a:lnTo>
                  <a:lnTo>
                    <a:pt x="1056" y="725"/>
                  </a:lnTo>
                  <a:lnTo>
                    <a:pt x="1056" y="725"/>
                  </a:lnTo>
                  <a:lnTo>
                    <a:pt x="1056" y="725"/>
                  </a:lnTo>
                  <a:lnTo>
                    <a:pt x="1059" y="725"/>
                  </a:lnTo>
                  <a:lnTo>
                    <a:pt x="1059" y="725"/>
                  </a:lnTo>
                  <a:lnTo>
                    <a:pt x="1059" y="725"/>
                  </a:lnTo>
                  <a:lnTo>
                    <a:pt x="1059" y="725"/>
                  </a:lnTo>
                  <a:lnTo>
                    <a:pt x="1059" y="725"/>
                  </a:lnTo>
                  <a:lnTo>
                    <a:pt x="1059" y="725"/>
                  </a:lnTo>
                  <a:lnTo>
                    <a:pt x="1059" y="725"/>
                  </a:lnTo>
                  <a:lnTo>
                    <a:pt x="1059" y="725"/>
                  </a:lnTo>
                  <a:close/>
                  <a:moveTo>
                    <a:pt x="1220" y="722"/>
                  </a:moveTo>
                  <a:lnTo>
                    <a:pt x="1220" y="720"/>
                  </a:lnTo>
                  <a:lnTo>
                    <a:pt x="1220" y="720"/>
                  </a:lnTo>
                  <a:lnTo>
                    <a:pt x="1220" y="722"/>
                  </a:lnTo>
                  <a:close/>
                  <a:moveTo>
                    <a:pt x="1220" y="722"/>
                  </a:moveTo>
                  <a:lnTo>
                    <a:pt x="1218" y="722"/>
                  </a:lnTo>
                  <a:lnTo>
                    <a:pt x="1218" y="722"/>
                  </a:lnTo>
                  <a:lnTo>
                    <a:pt x="1218" y="722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8" y="725"/>
                  </a:lnTo>
                  <a:lnTo>
                    <a:pt x="1220" y="720"/>
                  </a:lnTo>
                  <a:lnTo>
                    <a:pt x="1220" y="720"/>
                  </a:lnTo>
                  <a:lnTo>
                    <a:pt x="1223" y="720"/>
                  </a:lnTo>
                  <a:lnTo>
                    <a:pt x="1223" y="720"/>
                  </a:lnTo>
                  <a:lnTo>
                    <a:pt x="1220" y="722"/>
                  </a:lnTo>
                  <a:lnTo>
                    <a:pt x="1220" y="722"/>
                  </a:lnTo>
                  <a:lnTo>
                    <a:pt x="1218" y="725"/>
                  </a:lnTo>
                  <a:lnTo>
                    <a:pt x="1218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4" y="725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6" y="727"/>
                  </a:lnTo>
                  <a:lnTo>
                    <a:pt x="1216" y="729"/>
                  </a:lnTo>
                  <a:lnTo>
                    <a:pt x="1216" y="727"/>
                  </a:lnTo>
                  <a:lnTo>
                    <a:pt x="1216" y="727"/>
                  </a:lnTo>
                  <a:lnTo>
                    <a:pt x="1216" y="727"/>
                  </a:lnTo>
                  <a:lnTo>
                    <a:pt x="1216" y="729"/>
                  </a:lnTo>
                  <a:lnTo>
                    <a:pt x="1216" y="729"/>
                  </a:lnTo>
                  <a:lnTo>
                    <a:pt x="1216" y="729"/>
                  </a:lnTo>
                  <a:lnTo>
                    <a:pt x="1214" y="729"/>
                  </a:lnTo>
                  <a:lnTo>
                    <a:pt x="1214" y="729"/>
                  </a:lnTo>
                  <a:lnTo>
                    <a:pt x="1214" y="729"/>
                  </a:lnTo>
                  <a:lnTo>
                    <a:pt x="1214" y="729"/>
                  </a:lnTo>
                  <a:lnTo>
                    <a:pt x="1211" y="729"/>
                  </a:lnTo>
                  <a:lnTo>
                    <a:pt x="1211" y="729"/>
                  </a:lnTo>
                  <a:lnTo>
                    <a:pt x="1211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7"/>
                  </a:lnTo>
                  <a:lnTo>
                    <a:pt x="1214" y="725"/>
                  </a:lnTo>
                  <a:lnTo>
                    <a:pt x="1214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5"/>
                  </a:lnTo>
                  <a:lnTo>
                    <a:pt x="1216" y="722"/>
                  </a:lnTo>
                  <a:lnTo>
                    <a:pt x="1220" y="722"/>
                  </a:lnTo>
                  <a:close/>
                  <a:moveTo>
                    <a:pt x="1220" y="720"/>
                  </a:moveTo>
                  <a:lnTo>
                    <a:pt x="1223" y="720"/>
                  </a:lnTo>
                  <a:lnTo>
                    <a:pt x="1225" y="718"/>
                  </a:lnTo>
                  <a:lnTo>
                    <a:pt x="1225" y="718"/>
                  </a:lnTo>
                  <a:lnTo>
                    <a:pt x="1227" y="718"/>
                  </a:lnTo>
                  <a:lnTo>
                    <a:pt x="1227" y="718"/>
                  </a:lnTo>
                  <a:lnTo>
                    <a:pt x="1227" y="720"/>
                  </a:lnTo>
                  <a:lnTo>
                    <a:pt x="1227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3" y="720"/>
                  </a:lnTo>
                  <a:lnTo>
                    <a:pt x="1223" y="720"/>
                  </a:lnTo>
                  <a:lnTo>
                    <a:pt x="1223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5" y="720"/>
                  </a:lnTo>
                  <a:lnTo>
                    <a:pt x="1223" y="720"/>
                  </a:lnTo>
                  <a:lnTo>
                    <a:pt x="1223" y="720"/>
                  </a:lnTo>
                  <a:lnTo>
                    <a:pt x="1223" y="720"/>
                  </a:lnTo>
                  <a:lnTo>
                    <a:pt x="1220" y="720"/>
                  </a:lnTo>
                  <a:lnTo>
                    <a:pt x="1220" y="720"/>
                  </a:lnTo>
                  <a:lnTo>
                    <a:pt x="1220" y="720"/>
                  </a:lnTo>
                  <a:close/>
                  <a:moveTo>
                    <a:pt x="1362" y="718"/>
                  </a:moveTo>
                  <a:lnTo>
                    <a:pt x="1360" y="720"/>
                  </a:lnTo>
                  <a:lnTo>
                    <a:pt x="1360" y="720"/>
                  </a:lnTo>
                  <a:lnTo>
                    <a:pt x="1360" y="722"/>
                  </a:lnTo>
                  <a:lnTo>
                    <a:pt x="1360" y="722"/>
                  </a:lnTo>
                  <a:lnTo>
                    <a:pt x="1357" y="725"/>
                  </a:lnTo>
                  <a:lnTo>
                    <a:pt x="1357" y="725"/>
                  </a:lnTo>
                  <a:lnTo>
                    <a:pt x="1357" y="725"/>
                  </a:lnTo>
                  <a:lnTo>
                    <a:pt x="1355" y="725"/>
                  </a:lnTo>
                  <a:lnTo>
                    <a:pt x="1355" y="725"/>
                  </a:lnTo>
                  <a:lnTo>
                    <a:pt x="1355" y="725"/>
                  </a:lnTo>
                  <a:lnTo>
                    <a:pt x="1357" y="722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57" y="720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60" y="720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close/>
                  <a:moveTo>
                    <a:pt x="1328" y="718"/>
                  </a:move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6" y="720"/>
                  </a:lnTo>
                  <a:lnTo>
                    <a:pt x="1326" y="720"/>
                  </a:lnTo>
                  <a:lnTo>
                    <a:pt x="1326" y="720"/>
                  </a:lnTo>
                  <a:lnTo>
                    <a:pt x="1324" y="720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6" y="718"/>
                  </a:lnTo>
                  <a:lnTo>
                    <a:pt x="1328" y="718"/>
                  </a:lnTo>
                  <a:lnTo>
                    <a:pt x="1328" y="718"/>
                  </a:lnTo>
                  <a:lnTo>
                    <a:pt x="1328" y="718"/>
                  </a:lnTo>
                  <a:lnTo>
                    <a:pt x="1328" y="718"/>
                  </a:lnTo>
                  <a:lnTo>
                    <a:pt x="1328" y="718"/>
                  </a:lnTo>
                  <a:close/>
                  <a:moveTo>
                    <a:pt x="1362" y="720"/>
                  </a:moveTo>
                  <a:lnTo>
                    <a:pt x="1362" y="720"/>
                  </a:lnTo>
                  <a:lnTo>
                    <a:pt x="1362" y="722"/>
                  </a:lnTo>
                  <a:lnTo>
                    <a:pt x="1362" y="722"/>
                  </a:lnTo>
                  <a:lnTo>
                    <a:pt x="1362" y="722"/>
                  </a:lnTo>
                  <a:lnTo>
                    <a:pt x="1362" y="722"/>
                  </a:lnTo>
                  <a:lnTo>
                    <a:pt x="1362" y="722"/>
                  </a:lnTo>
                  <a:lnTo>
                    <a:pt x="1362" y="722"/>
                  </a:lnTo>
                  <a:lnTo>
                    <a:pt x="1360" y="722"/>
                  </a:lnTo>
                  <a:lnTo>
                    <a:pt x="1362" y="722"/>
                  </a:lnTo>
                  <a:lnTo>
                    <a:pt x="1362" y="722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18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lnTo>
                    <a:pt x="1362" y="720"/>
                  </a:lnTo>
                  <a:close/>
                  <a:moveTo>
                    <a:pt x="1171" y="713"/>
                  </a:moveTo>
                  <a:lnTo>
                    <a:pt x="1171" y="713"/>
                  </a:lnTo>
                  <a:lnTo>
                    <a:pt x="1171" y="713"/>
                  </a:lnTo>
                  <a:lnTo>
                    <a:pt x="1171" y="713"/>
                  </a:lnTo>
                  <a:lnTo>
                    <a:pt x="1169" y="716"/>
                  </a:lnTo>
                  <a:lnTo>
                    <a:pt x="1169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3"/>
                  </a:lnTo>
                  <a:lnTo>
                    <a:pt x="1166" y="713"/>
                  </a:lnTo>
                  <a:lnTo>
                    <a:pt x="1166" y="713"/>
                  </a:lnTo>
                  <a:lnTo>
                    <a:pt x="1166" y="713"/>
                  </a:lnTo>
                  <a:lnTo>
                    <a:pt x="1169" y="713"/>
                  </a:lnTo>
                  <a:lnTo>
                    <a:pt x="1169" y="713"/>
                  </a:lnTo>
                  <a:lnTo>
                    <a:pt x="1169" y="713"/>
                  </a:lnTo>
                  <a:lnTo>
                    <a:pt x="1169" y="713"/>
                  </a:lnTo>
                  <a:lnTo>
                    <a:pt x="1169" y="713"/>
                  </a:lnTo>
                  <a:lnTo>
                    <a:pt x="1169" y="713"/>
                  </a:lnTo>
                  <a:lnTo>
                    <a:pt x="1171" y="713"/>
                  </a:lnTo>
                  <a:lnTo>
                    <a:pt x="1171" y="713"/>
                  </a:lnTo>
                  <a:lnTo>
                    <a:pt x="1171" y="713"/>
                  </a:lnTo>
                  <a:lnTo>
                    <a:pt x="1171" y="713"/>
                  </a:lnTo>
                  <a:lnTo>
                    <a:pt x="1171" y="713"/>
                  </a:lnTo>
                  <a:lnTo>
                    <a:pt x="1171" y="711"/>
                  </a:lnTo>
                  <a:lnTo>
                    <a:pt x="1171" y="711"/>
                  </a:lnTo>
                  <a:lnTo>
                    <a:pt x="1171" y="711"/>
                  </a:lnTo>
                  <a:lnTo>
                    <a:pt x="1171" y="713"/>
                  </a:lnTo>
                  <a:lnTo>
                    <a:pt x="1171" y="713"/>
                  </a:lnTo>
                  <a:lnTo>
                    <a:pt x="1171" y="713"/>
                  </a:lnTo>
                  <a:close/>
                  <a:moveTo>
                    <a:pt x="1169" y="713"/>
                  </a:moveTo>
                  <a:lnTo>
                    <a:pt x="1169" y="713"/>
                  </a:lnTo>
                  <a:lnTo>
                    <a:pt x="1169" y="713"/>
                  </a:lnTo>
                  <a:lnTo>
                    <a:pt x="1171" y="711"/>
                  </a:lnTo>
                  <a:lnTo>
                    <a:pt x="1171" y="711"/>
                  </a:lnTo>
                  <a:lnTo>
                    <a:pt x="1171" y="709"/>
                  </a:lnTo>
                  <a:lnTo>
                    <a:pt x="1171" y="709"/>
                  </a:lnTo>
                  <a:lnTo>
                    <a:pt x="1173" y="709"/>
                  </a:lnTo>
                  <a:lnTo>
                    <a:pt x="1173" y="711"/>
                  </a:lnTo>
                  <a:lnTo>
                    <a:pt x="1173" y="711"/>
                  </a:lnTo>
                  <a:lnTo>
                    <a:pt x="1171" y="711"/>
                  </a:lnTo>
                  <a:lnTo>
                    <a:pt x="1171" y="711"/>
                  </a:lnTo>
                  <a:lnTo>
                    <a:pt x="1171" y="711"/>
                  </a:lnTo>
                  <a:lnTo>
                    <a:pt x="1169" y="713"/>
                  </a:lnTo>
                  <a:close/>
                  <a:moveTo>
                    <a:pt x="1369" y="707"/>
                  </a:moveTo>
                  <a:lnTo>
                    <a:pt x="1371" y="707"/>
                  </a:lnTo>
                  <a:lnTo>
                    <a:pt x="1371" y="707"/>
                  </a:lnTo>
                  <a:lnTo>
                    <a:pt x="1371" y="707"/>
                  </a:lnTo>
                  <a:lnTo>
                    <a:pt x="1373" y="707"/>
                  </a:lnTo>
                  <a:lnTo>
                    <a:pt x="1373" y="707"/>
                  </a:lnTo>
                  <a:lnTo>
                    <a:pt x="1373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7"/>
                  </a:lnTo>
                  <a:lnTo>
                    <a:pt x="1375" y="709"/>
                  </a:lnTo>
                  <a:lnTo>
                    <a:pt x="1375" y="709"/>
                  </a:lnTo>
                  <a:lnTo>
                    <a:pt x="1375" y="709"/>
                  </a:lnTo>
                  <a:lnTo>
                    <a:pt x="1375" y="709"/>
                  </a:lnTo>
                  <a:lnTo>
                    <a:pt x="1373" y="709"/>
                  </a:lnTo>
                  <a:lnTo>
                    <a:pt x="1371" y="709"/>
                  </a:lnTo>
                  <a:lnTo>
                    <a:pt x="1371" y="709"/>
                  </a:lnTo>
                  <a:lnTo>
                    <a:pt x="1369" y="709"/>
                  </a:lnTo>
                  <a:lnTo>
                    <a:pt x="1369" y="709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4"/>
                  </a:lnTo>
                  <a:lnTo>
                    <a:pt x="1369" y="707"/>
                  </a:lnTo>
                  <a:lnTo>
                    <a:pt x="1369" y="707"/>
                  </a:lnTo>
                  <a:close/>
                  <a:moveTo>
                    <a:pt x="95" y="695"/>
                  </a:moveTo>
                  <a:lnTo>
                    <a:pt x="95" y="695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95" y="698"/>
                  </a:lnTo>
                  <a:lnTo>
                    <a:pt x="95" y="698"/>
                  </a:lnTo>
                  <a:lnTo>
                    <a:pt x="95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95" y="695"/>
                  </a:lnTo>
                  <a:lnTo>
                    <a:pt x="95" y="695"/>
                  </a:lnTo>
                  <a:close/>
                  <a:moveTo>
                    <a:pt x="97" y="693"/>
                  </a:move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9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3"/>
                  </a:lnTo>
                  <a:lnTo>
                    <a:pt x="97" y="693"/>
                  </a:lnTo>
                  <a:lnTo>
                    <a:pt x="97" y="693"/>
                  </a:lnTo>
                  <a:close/>
                  <a:moveTo>
                    <a:pt x="99" y="693"/>
                  </a:moveTo>
                  <a:lnTo>
                    <a:pt x="99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3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99" y="691"/>
                  </a:lnTo>
                  <a:lnTo>
                    <a:pt x="102" y="691"/>
                  </a:lnTo>
                  <a:lnTo>
                    <a:pt x="102" y="691"/>
                  </a:lnTo>
                  <a:lnTo>
                    <a:pt x="102" y="693"/>
                  </a:lnTo>
                  <a:lnTo>
                    <a:pt x="102" y="693"/>
                  </a:lnTo>
                  <a:lnTo>
                    <a:pt x="102" y="693"/>
                  </a:lnTo>
                  <a:lnTo>
                    <a:pt x="102" y="693"/>
                  </a:lnTo>
                  <a:lnTo>
                    <a:pt x="102" y="693"/>
                  </a:lnTo>
                  <a:lnTo>
                    <a:pt x="99" y="693"/>
                  </a:lnTo>
                  <a:close/>
                  <a:moveTo>
                    <a:pt x="95" y="689"/>
                  </a:move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1"/>
                  </a:lnTo>
                  <a:lnTo>
                    <a:pt x="95" y="693"/>
                  </a:lnTo>
                  <a:lnTo>
                    <a:pt x="95" y="693"/>
                  </a:lnTo>
                  <a:lnTo>
                    <a:pt x="95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89"/>
                  </a:lnTo>
                  <a:lnTo>
                    <a:pt x="93" y="689"/>
                  </a:lnTo>
                  <a:lnTo>
                    <a:pt x="93" y="689"/>
                  </a:lnTo>
                  <a:lnTo>
                    <a:pt x="95" y="689"/>
                  </a:lnTo>
                  <a:lnTo>
                    <a:pt x="95" y="689"/>
                  </a:lnTo>
                  <a:lnTo>
                    <a:pt x="93" y="689"/>
                  </a:lnTo>
                  <a:lnTo>
                    <a:pt x="95" y="689"/>
                  </a:lnTo>
                  <a:close/>
                  <a:moveTo>
                    <a:pt x="97" y="691"/>
                  </a:move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7" y="691"/>
                  </a:lnTo>
                  <a:lnTo>
                    <a:pt x="95" y="689"/>
                  </a:lnTo>
                  <a:lnTo>
                    <a:pt x="95" y="689"/>
                  </a:lnTo>
                  <a:lnTo>
                    <a:pt x="95" y="686"/>
                  </a:lnTo>
                  <a:lnTo>
                    <a:pt x="95" y="686"/>
                  </a:lnTo>
                  <a:lnTo>
                    <a:pt x="95" y="686"/>
                  </a:lnTo>
                  <a:lnTo>
                    <a:pt x="95" y="686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5" y="686"/>
                  </a:lnTo>
                  <a:lnTo>
                    <a:pt x="95" y="686"/>
                  </a:lnTo>
                  <a:lnTo>
                    <a:pt x="95" y="689"/>
                  </a:lnTo>
                  <a:lnTo>
                    <a:pt x="95" y="689"/>
                  </a:lnTo>
                  <a:lnTo>
                    <a:pt x="95" y="689"/>
                  </a:lnTo>
                  <a:lnTo>
                    <a:pt x="97" y="689"/>
                  </a:lnTo>
                  <a:lnTo>
                    <a:pt x="97" y="689"/>
                  </a:lnTo>
                  <a:lnTo>
                    <a:pt x="97" y="689"/>
                  </a:lnTo>
                  <a:lnTo>
                    <a:pt x="97" y="689"/>
                  </a:lnTo>
                  <a:lnTo>
                    <a:pt x="97" y="689"/>
                  </a:lnTo>
                  <a:lnTo>
                    <a:pt x="97" y="691"/>
                  </a:lnTo>
                  <a:close/>
                  <a:moveTo>
                    <a:pt x="95" y="684"/>
                  </a:moveTo>
                  <a:lnTo>
                    <a:pt x="95" y="684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3" y="682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5" y="684"/>
                  </a:lnTo>
                  <a:close/>
                  <a:moveTo>
                    <a:pt x="54" y="684"/>
                  </a:moveTo>
                  <a:lnTo>
                    <a:pt x="52" y="684"/>
                  </a:lnTo>
                  <a:lnTo>
                    <a:pt x="52" y="684"/>
                  </a:lnTo>
                  <a:lnTo>
                    <a:pt x="52" y="684"/>
                  </a:lnTo>
                  <a:lnTo>
                    <a:pt x="52" y="684"/>
                  </a:lnTo>
                  <a:lnTo>
                    <a:pt x="52" y="684"/>
                  </a:lnTo>
                  <a:lnTo>
                    <a:pt x="52" y="682"/>
                  </a:lnTo>
                  <a:lnTo>
                    <a:pt x="52" y="682"/>
                  </a:lnTo>
                  <a:lnTo>
                    <a:pt x="52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close/>
                  <a:moveTo>
                    <a:pt x="957" y="781"/>
                  </a:moveTo>
                  <a:lnTo>
                    <a:pt x="957" y="781"/>
                  </a:lnTo>
                  <a:lnTo>
                    <a:pt x="962" y="778"/>
                  </a:lnTo>
                  <a:lnTo>
                    <a:pt x="962" y="778"/>
                  </a:lnTo>
                  <a:lnTo>
                    <a:pt x="964" y="778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6" y="776"/>
                  </a:lnTo>
                  <a:lnTo>
                    <a:pt x="966" y="776"/>
                  </a:lnTo>
                  <a:lnTo>
                    <a:pt x="969" y="776"/>
                  </a:lnTo>
                  <a:lnTo>
                    <a:pt x="969" y="776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71" y="774"/>
                  </a:lnTo>
                  <a:lnTo>
                    <a:pt x="973" y="774"/>
                  </a:lnTo>
                  <a:lnTo>
                    <a:pt x="973" y="774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5" y="772"/>
                  </a:lnTo>
                  <a:lnTo>
                    <a:pt x="978" y="772"/>
                  </a:lnTo>
                  <a:lnTo>
                    <a:pt x="978" y="772"/>
                  </a:lnTo>
                  <a:lnTo>
                    <a:pt x="978" y="769"/>
                  </a:lnTo>
                  <a:lnTo>
                    <a:pt x="978" y="769"/>
                  </a:lnTo>
                  <a:lnTo>
                    <a:pt x="980" y="769"/>
                  </a:lnTo>
                  <a:lnTo>
                    <a:pt x="980" y="769"/>
                  </a:lnTo>
                  <a:lnTo>
                    <a:pt x="980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2" y="769"/>
                  </a:lnTo>
                  <a:lnTo>
                    <a:pt x="984" y="769"/>
                  </a:lnTo>
                  <a:lnTo>
                    <a:pt x="984" y="769"/>
                  </a:lnTo>
                  <a:lnTo>
                    <a:pt x="984" y="769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7"/>
                  </a:lnTo>
                  <a:lnTo>
                    <a:pt x="984" y="765"/>
                  </a:lnTo>
                  <a:lnTo>
                    <a:pt x="987" y="765"/>
                  </a:lnTo>
                  <a:lnTo>
                    <a:pt x="987" y="765"/>
                  </a:lnTo>
                  <a:lnTo>
                    <a:pt x="987" y="765"/>
                  </a:lnTo>
                  <a:lnTo>
                    <a:pt x="987" y="765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91" y="760"/>
                  </a:lnTo>
                  <a:lnTo>
                    <a:pt x="993" y="758"/>
                  </a:lnTo>
                  <a:lnTo>
                    <a:pt x="993" y="758"/>
                  </a:lnTo>
                  <a:lnTo>
                    <a:pt x="993" y="758"/>
                  </a:lnTo>
                  <a:lnTo>
                    <a:pt x="993" y="758"/>
                  </a:lnTo>
                  <a:lnTo>
                    <a:pt x="993" y="758"/>
                  </a:lnTo>
                  <a:lnTo>
                    <a:pt x="993" y="758"/>
                  </a:lnTo>
                  <a:lnTo>
                    <a:pt x="993" y="756"/>
                  </a:lnTo>
                  <a:lnTo>
                    <a:pt x="993" y="756"/>
                  </a:lnTo>
                  <a:lnTo>
                    <a:pt x="993" y="756"/>
                  </a:lnTo>
                  <a:lnTo>
                    <a:pt x="996" y="756"/>
                  </a:lnTo>
                  <a:lnTo>
                    <a:pt x="996" y="756"/>
                  </a:lnTo>
                  <a:lnTo>
                    <a:pt x="996" y="756"/>
                  </a:lnTo>
                  <a:lnTo>
                    <a:pt x="996" y="756"/>
                  </a:lnTo>
                  <a:lnTo>
                    <a:pt x="998" y="756"/>
                  </a:lnTo>
                  <a:lnTo>
                    <a:pt x="998" y="756"/>
                  </a:lnTo>
                  <a:lnTo>
                    <a:pt x="998" y="754"/>
                  </a:lnTo>
                  <a:lnTo>
                    <a:pt x="998" y="754"/>
                  </a:lnTo>
                  <a:lnTo>
                    <a:pt x="998" y="754"/>
                  </a:lnTo>
                  <a:lnTo>
                    <a:pt x="1000" y="754"/>
                  </a:lnTo>
                  <a:lnTo>
                    <a:pt x="1000" y="754"/>
                  </a:lnTo>
                  <a:lnTo>
                    <a:pt x="1000" y="754"/>
                  </a:lnTo>
                  <a:lnTo>
                    <a:pt x="1000" y="754"/>
                  </a:lnTo>
                  <a:lnTo>
                    <a:pt x="1002" y="754"/>
                  </a:lnTo>
                  <a:lnTo>
                    <a:pt x="1002" y="754"/>
                  </a:lnTo>
                  <a:lnTo>
                    <a:pt x="1005" y="754"/>
                  </a:lnTo>
                  <a:lnTo>
                    <a:pt x="1005" y="751"/>
                  </a:lnTo>
                  <a:lnTo>
                    <a:pt x="1005" y="751"/>
                  </a:lnTo>
                  <a:lnTo>
                    <a:pt x="1005" y="751"/>
                  </a:lnTo>
                  <a:lnTo>
                    <a:pt x="1007" y="751"/>
                  </a:lnTo>
                  <a:lnTo>
                    <a:pt x="1007" y="751"/>
                  </a:lnTo>
                  <a:lnTo>
                    <a:pt x="1009" y="749"/>
                  </a:lnTo>
                  <a:lnTo>
                    <a:pt x="1009" y="749"/>
                  </a:lnTo>
                  <a:lnTo>
                    <a:pt x="1009" y="749"/>
                  </a:lnTo>
                  <a:lnTo>
                    <a:pt x="1011" y="749"/>
                  </a:lnTo>
                  <a:lnTo>
                    <a:pt x="1011" y="747"/>
                  </a:lnTo>
                  <a:lnTo>
                    <a:pt x="1014" y="747"/>
                  </a:lnTo>
                  <a:lnTo>
                    <a:pt x="1016" y="747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8" y="745"/>
                  </a:lnTo>
                  <a:lnTo>
                    <a:pt x="1020" y="745"/>
                  </a:lnTo>
                  <a:lnTo>
                    <a:pt x="1020" y="745"/>
                  </a:lnTo>
                  <a:lnTo>
                    <a:pt x="1020" y="742"/>
                  </a:lnTo>
                  <a:lnTo>
                    <a:pt x="1020" y="742"/>
                  </a:lnTo>
                  <a:lnTo>
                    <a:pt x="1023" y="742"/>
                  </a:lnTo>
                  <a:lnTo>
                    <a:pt x="1023" y="742"/>
                  </a:lnTo>
                  <a:lnTo>
                    <a:pt x="1023" y="742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5" y="742"/>
                  </a:lnTo>
                  <a:lnTo>
                    <a:pt x="1025" y="742"/>
                  </a:lnTo>
                  <a:lnTo>
                    <a:pt x="1025" y="742"/>
                  </a:lnTo>
                  <a:lnTo>
                    <a:pt x="1027" y="742"/>
                  </a:lnTo>
                  <a:lnTo>
                    <a:pt x="1036" y="740"/>
                  </a:lnTo>
                  <a:lnTo>
                    <a:pt x="1036" y="740"/>
                  </a:lnTo>
                  <a:lnTo>
                    <a:pt x="1036" y="740"/>
                  </a:lnTo>
                  <a:lnTo>
                    <a:pt x="1036" y="738"/>
                  </a:lnTo>
                  <a:lnTo>
                    <a:pt x="1036" y="738"/>
                  </a:lnTo>
                  <a:lnTo>
                    <a:pt x="1038" y="738"/>
                  </a:lnTo>
                  <a:lnTo>
                    <a:pt x="1038" y="738"/>
                  </a:lnTo>
                  <a:lnTo>
                    <a:pt x="1038" y="738"/>
                  </a:lnTo>
                  <a:lnTo>
                    <a:pt x="1041" y="738"/>
                  </a:lnTo>
                  <a:lnTo>
                    <a:pt x="1041" y="738"/>
                  </a:lnTo>
                  <a:lnTo>
                    <a:pt x="1043" y="736"/>
                  </a:lnTo>
                  <a:lnTo>
                    <a:pt x="1043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5" y="736"/>
                  </a:lnTo>
                  <a:lnTo>
                    <a:pt x="1047" y="736"/>
                  </a:lnTo>
                  <a:lnTo>
                    <a:pt x="1047" y="736"/>
                  </a:lnTo>
                  <a:lnTo>
                    <a:pt x="1047" y="736"/>
                  </a:lnTo>
                  <a:lnTo>
                    <a:pt x="1047" y="736"/>
                  </a:lnTo>
                  <a:lnTo>
                    <a:pt x="1047" y="734"/>
                  </a:lnTo>
                  <a:lnTo>
                    <a:pt x="1050" y="734"/>
                  </a:lnTo>
                  <a:lnTo>
                    <a:pt x="1052" y="734"/>
                  </a:lnTo>
                  <a:lnTo>
                    <a:pt x="1052" y="734"/>
                  </a:lnTo>
                  <a:lnTo>
                    <a:pt x="1056" y="731"/>
                  </a:lnTo>
                  <a:lnTo>
                    <a:pt x="1059" y="729"/>
                  </a:lnTo>
                  <a:lnTo>
                    <a:pt x="1061" y="727"/>
                  </a:lnTo>
                  <a:lnTo>
                    <a:pt x="1061" y="727"/>
                  </a:lnTo>
                  <a:lnTo>
                    <a:pt x="1063" y="725"/>
                  </a:lnTo>
                  <a:lnTo>
                    <a:pt x="1063" y="725"/>
                  </a:lnTo>
                  <a:lnTo>
                    <a:pt x="1065" y="722"/>
                  </a:lnTo>
                  <a:lnTo>
                    <a:pt x="1065" y="722"/>
                  </a:lnTo>
                  <a:lnTo>
                    <a:pt x="1065" y="722"/>
                  </a:lnTo>
                  <a:lnTo>
                    <a:pt x="1068" y="722"/>
                  </a:lnTo>
                  <a:lnTo>
                    <a:pt x="1068" y="722"/>
                  </a:lnTo>
                  <a:lnTo>
                    <a:pt x="1068" y="722"/>
                  </a:lnTo>
                  <a:lnTo>
                    <a:pt x="1068" y="722"/>
                  </a:lnTo>
                  <a:lnTo>
                    <a:pt x="1068" y="720"/>
                  </a:lnTo>
                  <a:lnTo>
                    <a:pt x="1068" y="720"/>
                  </a:lnTo>
                  <a:lnTo>
                    <a:pt x="1070" y="720"/>
                  </a:lnTo>
                  <a:lnTo>
                    <a:pt x="1074" y="716"/>
                  </a:lnTo>
                  <a:lnTo>
                    <a:pt x="1077" y="716"/>
                  </a:lnTo>
                  <a:lnTo>
                    <a:pt x="1077" y="713"/>
                  </a:lnTo>
                  <a:lnTo>
                    <a:pt x="1077" y="713"/>
                  </a:lnTo>
                  <a:lnTo>
                    <a:pt x="1077" y="713"/>
                  </a:lnTo>
                  <a:lnTo>
                    <a:pt x="1077" y="713"/>
                  </a:lnTo>
                  <a:lnTo>
                    <a:pt x="1077" y="713"/>
                  </a:lnTo>
                  <a:lnTo>
                    <a:pt x="1077" y="713"/>
                  </a:lnTo>
                  <a:lnTo>
                    <a:pt x="1077" y="713"/>
                  </a:lnTo>
                  <a:lnTo>
                    <a:pt x="1081" y="711"/>
                  </a:lnTo>
                  <a:lnTo>
                    <a:pt x="1081" y="711"/>
                  </a:lnTo>
                  <a:lnTo>
                    <a:pt x="1081" y="711"/>
                  </a:lnTo>
                  <a:lnTo>
                    <a:pt x="1081" y="711"/>
                  </a:lnTo>
                  <a:lnTo>
                    <a:pt x="1083" y="709"/>
                  </a:lnTo>
                  <a:lnTo>
                    <a:pt x="1083" y="709"/>
                  </a:lnTo>
                  <a:lnTo>
                    <a:pt x="1086" y="709"/>
                  </a:lnTo>
                  <a:lnTo>
                    <a:pt x="1088" y="707"/>
                  </a:lnTo>
                  <a:lnTo>
                    <a:pt x="1090" y="704"/>
                  </a:lnTo>
                  <a:lnTo>
                    <a:pt x="1092" y="704"/>
                  </a:lnTo>
                  <a:lnTo>
                    <a:pt x="1095" y="702"/>
                  </a:lnTo>
                  <a:lnTo>
                    <a:pt x="1095" y="702"/>
                  </a:lnTo>
                  <a:lnTo>
                    <a:pt x="1095" y="702"/>
                  </a:lnTo>
                  <a:lnTo>
                    <a:pt x="1097" y="702"/>
                  </a:lnTo>
                  <a:lnTo>
                    <a:pt x="1097" y="702"/>
                  </a:lnTo>
                  <a:lnTo>
                    <a:pt x="1099" y="700"/>
                  </a:lnTo>
                  <a:lnTo>
                    <a:pt x="1099" y="700"/>
                  </a:lnTo>
                  <a:lnTo>
                    <a:pt x="1099" y="700"/>
                  </a:lnTo>
                  <a:lnTo>
                    <a:pt x="1101" y="700"/>
                  </a:lnTo>
                  <a:lnTo>
                    <a:pt x="1101" y="700"/>
                  </a:lnTo>
                  <a:lnTo>
                    <a:pt x="1104" y="698"/>
                  </a:lnTo>
                  <a:lnTo>
                    <a:pt x="1104" y="698"/>
                  </a:lnTo>
                  <a:lnTo>
                    <a:pt x="1104" y="698"/>
                  </a:lnTo>
                  <a:lnTo>
                    <a:pt x="1106" y="698"/>
                  </a:lnTo>
                  <a:lnTo>
                    <a:pt x="1106" y="698"/>
                  </a:lnTo>
                  <a:lnTo>
                    <a:pt x="1108" y="695"/>
                  </a:lnTo>
                  <a:lnTo>
                    <a:pt x="1108" y="695"/>
                  </a:lnTo>
                  <a:lnTo>
                    <a:pt x="1110" y="695"/>
                  </a:lnTo>
                  <a:lnTo>
                    <a:pt x="1110" y="695"/>
                  </a:lnTo>
                  <a:lnTo>
                    <a:pt x="1110" y="695"/>
                  </a:lnTo>
                  <a:lnTo>
                    <a:pt x="1113" y="695"/>
                  </a:lnTo>
                  <a:lnTo>
                    <a:pt x="1113" y="693"/>
                  </a:lnTo>
                  <a:lnTo>
                    <a:pt x="1113" y="693"/>
                  </a:lnTo>
                  <a:lnTo>
                    <a:pt x="1113" y="693"/>
                  </a:lnTo>
                  <a:lnTo>
                    <a:pt x="1119" y="691"/>
                  </a:lnTo>
                  <a:lnTo>
                    <a:pt x="1119" y="691"/>
                  </a:lnTo>
                  <a:lnTo>
                    <a:pt x="1119" y="691"/>
                  </a:lnTo>
                  <a:lnTo>
                    <a:pt x="1119" y="691"/>
                  </a:lnTo>
                  <a:lnTo>
                    <a:pt x="1121" y="691"/>
                  </a:lnTo>
                  <a:lnTo>
                    <a:pt x="1121" y="691"/>
                  </a:lnTo>
                  <a:lnTo>
                    <a:pt x="1124" y="691"/>
                  </a:lnTo>
                  <a:lnTo>
                    <a:pt x="1126" y="689"/>
                  </a:lnTo>
                  <a:lnTo>
                    <a:pt x="1128" y="689"/>
                  </a:lnTo>
                  <a:lnTo>
                    <a:pt x="1130" y="689"/>
                  </a:lnTo>
                  <a:lnTo>
                    <a:pt x="1137" y="686"/>
                  </a:lnTo>
                  <a:lnTo>
                    <a:pt x="1142" y="684"/>
                  </a:lnTo>
                  <a:lnTo>
                    <a:pt x="1144" y="684"/>
                  </a:lnTo>
                  <a:lnTo>
                    <a:pt x="1151" y="682"/>
                  </a:lnTo>
                  <a:lnTo>
                    <a:pt x="1153" y="682"/>
                  </a:lnTo>
                  <a:lnTo>
                    <a:pt x="1155" y="682"/>
                  </a:lnTo>
                  <a:lnTo>
                    <a:pt x="1160" y="682"/>
                  </a:lnTo>
                  <a:lnTo>
                    <a:pt x="1162" y="682"/>
                  </a:lnTo>
                  <a:lnTo>
                    <a:pt x="1162" y="682"/>
                  </a:lnTo>
                  <a:lnTo>
                    <a:pt x="1164" y="682"/>
                  </a:lnTo>
                  <a:lnTo>
                    <a:pt x="1166" y="682"/>
                  </a:lnTo>
                  <a:lnTo>
                    <a:pt x="1169" y="682"/>
                  </a:lnTo>
                  <a:lnTo>
                    <a:pt x="1173" y="682"/>
                  </a:lnTo>
                  <a:lnTo>
                    <a:pt x="1173" y="682"/>
                  </a:lnTo>
                  <a:lnTo>
                    <a:pt x="1175" y="682"/>
                  </a:lnTo>
                  <a:lnTo>
                    <a:pt x="1175" y="682"/>
                  </a:lnTo>
                  <a:lnTo>
                    <a:pt x="1175" y="684"/>
                  </a:lnTo>
                  <a:lnTo>
                    <a:pt x="1178" y="684"/>
                  </a:lnTo>
                  <a:lnTo>
                    <a:pt x="1178" y="684"/>
                  </a:lnTo>
                  <a:lnTo>
                    <a:pt x="1178" y="684"/>
                  </a:lnTo>
                  <a:lnTo>
                    <a:pt x="1178" y="684"/>
                  </a:lnTo>
                  <a:lnTo>
                    <a:pt x="1180" y="684"/>
                  </a:lnTo>
                  <a:lnTo>
                    <a:pt x="1180" y="684"/>
                  </a:lnTo>
                  <a:lnTo>
                    <a:pt x="1180" y="686"/>
                  </a:lnTo>
                  <a:lnTo>
                    <a:pt x="1180" y="686"/>
                  </a:lnTo>
                  <a:lnTo>
                    <a:pt x="1180" y="686"/>
                  </a:lnTo>
                  <a:lnTo>
                    <a:pt x="1180" y="686"/>
                  </a:lnTo>
                  <a:lnTo>
                    <a:pt x="1180" y="686"/>
                  </a:lnTo>
                  <a:lnTo>
                    <a:pt x="1180" y="686"/>
                  </a:lnTo>
                  <a:lnTo>
                    <a:pt x="1182" y="686"/>
                  </a:lnTo>
                  <a:lnTo>
                    <a:pt x="1182" y="686"/>
                  </a:lnTo>
                  <a:lnTo>
                    <a:pt x="1182" y="689"/>
                  </a:lnTo>
                  <a:lnTo>
                    <a:pt x="1182" y="689"/>
                  </a:lnTo>
                  <a:lnTo>
                    <a:pt x="1182" y="689"/>
                  </a:lnTo>
                  <a:lnTo>
                    <a:pt x="1182" y="689"/>
                  </a:lnTo>
                  <a:lnTo>
                    <a:pt x="1182" y="689"/>
                  </a:lnTo>
                  <a:lnTo>
                    <a:pt x="1182" y="689"/>
                  </a:lnTo>
                  <a:lnTo>
                    <a:pt x="1182" y="689"/>
                  </a:lnTo>
                  <a:lnTo>
                    <a:pt x="1184" y="689"/>
                  </a:lnTo>
                  <a:lnTo>
                    <a:pt x="1184" y="691"/>
                  </a:lnTo>
                  <a:lnTo>
                    <a:pt x="1184" y="691"/>
                  </a:lnTo>
                  <a:lnTo>
                    <a:pt x="1184" y="691"/>
                  </a:lnTo>
                  <a:lnTo>
                    <a:pt x="1184" y="693"/>
                  </a:lnTo>
                  <a:lnTo>
                    <a:pt x="1184" y="693"/>
                  </a:lnTo>
                  <a:lnTo>
                    <a:pt x="1184" y="693"/>
                  </a:lnTo>
                  <a:lnTo>
                    <a:pt x="1184" y="693"/>
                  </a:lnTo>
                  <a:lnTo>
                    <a:pt x="1182" y="691"/>
                  </a:lnTo>
                  <a:lnTo>
                    <a:pt x="1182" y="691"/>
                  </a:lnTo>
                  <a:lnTo>
                    <a:pt x="1182" y="691"/>
                  </a:lnTo>
                  <a:lnTo>
                    <a:pt x="1182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78" y="691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3"/>
                  </a:lnTo>
                  <a:lnTo>
                    <a:pt x="1180" y="691"/>
                  </a:lnTo>
                  <a:lnTo>
                    <a:pt x="1180" y="691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0" y="693"/>
                  </a:lnTo>
                  <a:lnTo>
                    <a:pt x="1182" y="693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2" y="695"/>
                  </a:lnTo>
                  <a:lnTo>
                    <a:pt x="1180" y="695"/>
                  </a:lnTo>
                  <a:lnTo>
                    <a:pt x="1180" y="698"/>
                  </a:lnTo>
                  <a:lnTo>
                    <a:pt x="1180" y="698"/>
                  </a:lnTo>
                  <a:lnTo>
                    <a:pt x="1180" y="698"/>
                  </a:lnTo>
                  <a:lnTo>
                    <a:pt x="1180" y="698"/>
                  </a:lnTo>
                  <a:lnTo>
                    <a:pt x="1180" y="698"/>
                  </a:lnTo>
                  <a:lnTo>
                    <a:pt x="1182" y="698"/>
                  </a:lnTo>
                  <a:lnTo>
                    <a:pt x="1182" y="698"/>
                  </a:lnTo>
                  <a:lnTo>
                    <a:pt x="1182" y="698"/>
                  </a:lnTo>
                  <a:lnTo>
                    <a:pt x="1182" y="698"/>
                  </a:lnTo>
                  <a:lnTo>
                    <a:pt x="1180" y="698"/>
                  </a:lnTo>
                  <a:lnTo>
                    <a:pt x="1180" y="700"/>
                  </a:lnTo>
                  <a:lnTo>
                    <a:pt x="1180" y="700"/>
                  </a:lnTo>
                  <a:lnTo>
                    <a:pt x="1180" y="700"/>
                  </a:lnTo>
                  <a:lnTo>
                    <a:pt x="1180" y="700"/>
                  </a:lnTo>
                  <a:lnTo>
                    <a:pt x="1180" y="700"/>
                  </a:lnTo>
                  <a:lnTo>
                    <a:pt x="1178" y="700"/>
                  </a:lnTo>
                  <a:lnTo>
                    <a:pt x="1178" y="700"/>
                  </a:lnTo>
                  <a:lnTo>
                    <a:pt x="1178" y="700"/>
                  </a:lnTo>
                  <a:lnTo>
                    <a:pt x="1178" y="700"/>
                  </a:lnTo>
                  <a:lnTo>
                    <a:pt x="1178" y="700"/>
                  </a:lnTo>
                  <a:lnTo>
                    <a:pt x="1175" y="700"/>
                  </a:lnTo>
                  <a:lnTo>
                    <a:pt x="1175" y="702"/>
                  </a:lnTo>
                  <a:lnTo>
                    <a:pt x="1173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2"/>
                  </a:lnTo>
                  <a:lnTo>
                    <a:pt x="1171" y="704"/>
                  </a:lnTo>
                  <a:lnTo>
                    <a:pt x="1171" y="704"/>
                  </a:lnTo>
                  <a:lnTo>
                    <a:pt x="1171" y="704"/>
                  </a:lnTo>
                  <a:lnTo>
                    <a:pt x="1169" y="704"/>
                  </a:lnTo>
                  <a:lnTo>
                    <a:pt x="1169" y="704"/>
                  </a:lnTo>
                  <a:lnTo>
                    <a:pt x="1169" y="704"/>
                  </a:lnTo>
                  <a:lnTo>
                    <a:pt x="1169" y="704"/>
                  </a:lnTo>
                  <a:lnTo>
                    <a:pt x="1169" y="704"/>
                  </a:lnTo>
                  <a:lnTo>
                    <a:pt x="1169" y="707"/>
                  </a:lnTo>
                  <a:lnTo>
                    <a:pt x="1166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4" y="707"/>
                  </a:lnTo>
                  <a:lnTo>
                    <a:pt x="1162" y="709"/>
                  </a:lnTo>
                  <a:lnTo>
                    <a:pt x="1160" y="709"/>
                  </a:lnTo>
                  <a:lnTo>
                    <a:pt x="1157" y="711"/>
                  </a:lnTo>
                  <a:lnTo>
                    <a:pt x="1155" y="711"/>
                  </a:lnTo>
                  <a:lnTo>
                    <a:pt x="1155" y="711"/>
                  </a:lnTo>
                  <a:lnTo>
                    <a:pt x="1155" y="711"/>
                  </a:lnTo>
                  <a:lnTo>
                    <a:pt x="1153" y="711"/>
                  </a:lnTo>
                  <a:lnTo>
                    <a:pt x="1153" y="709"/>
                  </a:lnTo>
                  <a:lnTo>
                    <a:pt x="1153" y="709"/>
                  </a:lnTo>
                  <a:lnTo>
                    <a:pt x="1153" y="709"/>
                  </a:lnTo>
                  <a:lnTo>
                    <a:pt x="1153" y="709"/>
                  </a:lnTo>
                  <a:lnTo>
                    <a:pt x="1153" y="709"/>
                  </a:lnTo>
                  <a:lnTo>
                    <a:pt x="1153" y="709"/>
                  </a:lnTo>
                  <a:lnTo>
                    <a:pt x="1153" y="709"/>
                  </a:lnTo>
                  <a:lnTo>
                    <a:pt x="1151" y="709"/>
                  </a:lnTo>
                  <a:lnTo>
                    <a:pt x="1148" y="707"/>
                  </a:lnTo>
                  <a:lnTo>
                    <a:pt x="1148" y="707"/>
                  </a:lnTo>
                  <a:lnTo>
                    <a:pt x="1148" y="707"/>
                  </a:lnTo>
                  <a:lnTo>
                    <a:pt x="1148" y="707"/>
                  </a:lnTo>
                  <a:lnTo>
                    <a:pt x="1148" y="707"/>
                  </a:lnTo>
                  <a:lnTo>
                    <a:pt x="1148" y="707"/>
                  </a:lnTo>
                  <a:lnTo>
                    <a:pt x="1148" y="704"/>
                  </a:lnTo>
                  <a:lnTo>
                    <a:pt x="1148" y="704"/>
                  </a:lnTo>
                  <a:lnTo>
                    <a:pt x="1146" y="707"/>
                  </a:lnTo>
                  <a:lnTo>
                    <a:pt x="1146" y="707"/>
                  </a:lnTo>
                  <a:lnTo>
                    <a:pt x="1146" y="707"/>
                  </a:lnTo>
                  <a:lnTo>
                    <a:pt x="1146" y="707"/>
                  </a:lnTo>
                  <a:lnTo>
                    <a:pt x="1146" y="707"/>
                  </a:lnTo>
                  <a:lnTo>
                    <a:pt x="1144" y="707"/>
                  </a:lnTo>
                  <a:lnTo>
                    <a:pt x="1144" y="709"/>
                  </a:lnTo>
                  <a:lnTo>
                    <a:pt x="1144" y="709"/>
                  </a:lnTo>
                  <a:lnTo>
                    <a:pt x="1142" y="707"/>
                  </a:lnTo>
                  <a:lnTo>
                    <a:pt x="1139" y="707"/>
                  </a:lnTo>
                  <a:lnTo>
                    <a:pt x="1139" y="707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9" y="709"/>
                  </a:lnTo>
                  <a:lnTo>
                    <a:pt x="1137" y="707"/>
                  </a:lnTo>
                  <a:lnTo>
                    <a:pt x="1137" y="707"/>
                  </a:lnTo>
                  <a:lnTo>
                    <a:pt x="1135" y="709"/>
                  </a:lnTo>
                  <a:lnTo>
                    <a:pt x="1135" y="709"/>
                  </a:lnTo>
                  <a:lnTo>
                    <a:pt x="1135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3" y="709"/>
                  </a:lnTo>
                  <a:lnTo>
                    <a:pt x="1130" y="709"/>
                  </a:lnTo>
                  <a:lnTo>
                    <a:pt x="1130" y="709"/>
                  </a:lnTo>
                  <a:lnTo>
                    <a:pt x="1130" y="711"/>
                  </a:lnTo>
                  <a:lnTo>
                    <a:pt x="1130" y="711"/>
                  </a:lnTo>
                  <a:lnTo>
                    <a:pt x="1128" y="711"/>
                  </a:lnTo>
                  <a:lnTo>
                    <a:pt x="1128" y="711"/>
                  </a:lnTo>
                  <a:lnTo>
                    <a:pt x="1128" y="711"/>
                  </a:lnTo>
                  <a:lnTo>
                    <a:pt x="1128" y="711"/>
                  </a:lnTo>
                  <a:lnTo>
                    <a:pt x="1128" y="711"/>
                  </a:lnTo>
                  <a:lnTo>
                    <a:pt x="1130" y="711"/>
                  </a:lnTo>
                  <a:lnTo>
                    <a:pt x="1130" y="711"/>
                  </a:lnTo>
                  <a:lnTo>
                    <a:pt x="1130" y="711"/>
                  </a:lnTo>
                  <a:lnTo>
                    <a:pt x="1130" y="711"/>
                  </a:lnTo>
                  <a:lnTo>
                    <a:pt x="1133" y="711"/>
                  </a:lnTo>
                  <a:lnTo>
                    <a:pt x="1133" y="709"/>
                  </a:lnTo>
                  <a:lnTo>
                    <a:pt x="1135" y="709"/>
                  </a:lnTo>
                  <a:lnTo>
                    <a:pt x="1137" y="709"/>
                  </a:lnTo>
                  <a:lnTo>
                    <a:pt x="1137" y="709"/>
                  </a:lnTo>
                  <a:lnTo>
                    <a:pt x="1137" y="709"/>
                  </a:lnTo>
                  <a:lnTo>
                    <a:pt x="1137" y="709"/>
                  </a:lnTo>
                  <a:lnTo>
                    <a:pt x="1137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39" y="711"/>
                  </a:lnTo>
                  <a:lnTo>
                    <a:pt x="1144" y="711"/>
                  </a:lnTo>
                  <a:lnTo>
                    <a:pt x="1146" y="711"/>
                  </a:lnTo>
                  <a:lnTo>
                    <a:pt x="1146" y="713"/>
                  </a:lnTo>
                  <a:lnTo>
                    <a:pt x="1146" y="713"/>
                  </a:lnTo>
                  <a:lnTo>
                    <a:pt x="1148" y="713"/>
                  </a:lnTo>
                  <a:lnTo>
                    <a:pt x="1148" y="716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20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48" y="718"/>
                  </a:lnTo>
                  <a:lnTo>
                    <a:pt x="1151" y="718"/>
                  </a:lnTo>
                  <a:lnTo>
                    <a:pt x="1151" y="718"/>
                  </a:lnTo>
                  <a:lnTo>
                    <a:pt x="1153" y="718"/>
                  </a:lnTo>
                  <a:lnTo>
                    <a:pt x="1153" y="716"/>
                  </a:lnTo>
                  <a:lnTo>
                    <a:pt x="1155" y="716"/>
                  </a:lnTo>
                  <a:lnTo>
                    <a:pt x="1157" y="713"/>
                  </a:lnTo>
                  <a:lnTo>
                    <a:pt x="1162" y="713"/>
                  </a:lnTo>
                  <a:lnTo>
                    <a:pt x="1162" y="713"/>
                  </a:lnTo>
                  <a:lnTo>
                    <a:pt x="1160" y="716"/>
                  </a:lnTo>
                  <a:lnTo>
                    <a:pt x="1160" y="716"/>
                  </a:lnTo>
                  <a:lnTo>
                    <a:pt x="1160" y="716"/>
                  </a:lnTo>
                  <a:lnTo>
                    <a:pt x="1160" y="716"/>
                  </a:lnTo>
                  <a:lnTo>
                    <a:pt x="1162" y="716"/>
                  </a:lnTo>
                  <a:lnTo>
                    <a:pt x="1162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4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6" y="716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4" y="718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2" y="720"/>
                  </a:lnTo>
                  <a:lnTo>
                    <a:pt x="1160" y="720"/>
                  </a:lnTo>
                  <a:lnTo>
                    <a:pt x="1160" y="722"/>
                  </a:lnTo>
                  <a:lnTo>
                    <a:pt x="1162" y="722"/>
                  </a:lnTo>
                  <a:lnTo>
                    <a:pt x="1160" y="722"/>
                  </a:lnTo>
                  <a:lnTo>
                    <a:pt x="1160" y="722"/>
                  </a:lnTo>
                  <a:lnTo>
                    <a:pt x="1160" y="722"/>
                  </a:lnTo>
                  <a:lnTo>
                    <a:pt x="1160" y="722"/>
                  </a:lnTo>
                  <a:lnTo>
                    <a:pt x="1160" y="722"/>
                  </a:lnTo>
                  <a:lnTo>
                    <a:pt x="1160" y="722"/>
                  </a:lnTo>
                  <a:lnTo>
                    <a:pt x="1162" y="722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60" y="725"/>
                  </a:lnTo>
                  <a:lnTo>
                    <a:pt x="1157" y="725"/>
                  </a:lnTo>
                  <a:lnTo>
                    <a:pt x="1157" y="725"/>
                  </a:lnTo>
                  <a:lnTo>
                    <a:pt x="1157" y="727"/>
                  </a:lnTo>
                  <a:lnTo>
                    <a:pt x="1157" y="727"/>
                  </a:lnTo>
                  <a:lnTo>
                    <a:pt x="1157" y="727"/>
                  </a:lnTo>
                  <a:lnTo>
                    <a:pt x="1157" y="727"/>
                  </a:lnTo>
                  <a:lnTo>
                    <a:pt x="1157" y="727"/>
                  </a:lnTo>
                  <a:lnTo>
                    <a:pt x="1155" y="727"/>
                  </a:lnTo>
                  <a:lnTo>
                    <a:pt x="1155" y="727"/>
                  </a:lnTo>
                  <a:lnTo>
                    <a:pt x="1155" y="729"/>
                  </a:lnTo>
                  <a:lnTo>
                    <a:pt x="1155" y="729"/>
                  </a:lnTo>
                  <a:lnTo>
                    <a:pt x="1153" y="729"/>
                  </a:lnTo>
                  <a:lnTo>
                    <a:pt x="1148" y="731"/>
                  </a:lnTo>
                  <a:lnTo>
                    <a:pt x="1148" y="731"/>
                  </a:lnTo>
                  <a:lnTo>
                    <a:pt x="1148" y="731"/>
                  </a:lnTo>
                  <a:lnTo>
                    <a:pt x="1151" y="731"/>
                  </a:lnTo>
                  <a:lnTo>
                    <a:pt x="1151" y="731"/>
                  </a:lnTo>
                  <a:lnTo>
                    <a:pt x="1151" y="731"/>
                  </a:lnTo>
                  <a:lnTo>
                    <a:pt x="1151" y="731"/>
                  </a:lnTo>
                  <a:lnTo>
                    <a:pt x="1151" y="731"/>
                  </a:lnTo>
                  <a:lnTo>
                    <a:pt x="1151" y="731"/>
                  </a:lnTo>
                  <a:lnTo>
                    <a:pt x="1151" y="731"/>
                  </a:lnTo>
                  <a:lnTo>
                    <a:pt x="1153" y="731"/>
                  </a:lnTo>
                  <a:lnTo>
                    <a:pt x="1155" y="731"/>
                  </a:lnTo>
                  <a:lnTo>
                    <a:pt x="1155" y="731"/>
                  </a:lnTo>
                  <a:lnTo>
                    <a:pt x="1155" y="731"/>
                  </a:lnTo>
                  <a:lnTo>
                    <a:pt x="1155" y="731"/>
                  </a:lnTo>
                  <a:lnTo>
                    <a:pt x="1155" y="731"/>
                  </a:lnTo>
                  <a:lnTo>
                    <a:pt x="1155" y="731"/>
                  </a:lnTo>
                  <a:lnTo>
                    <a:pt x="1155" y="731"/>
                  </a:lnTo>
                  <a:lnTo>
                    <a:pt x="1157" y="731"/>
                  </a:lnTo>
                  <a:lnTo>
                    <a:pt x="1157" y="731"/>
                  </a:lnTo>
                  <a:lnTo>
                    <a:pt x="1157" y="731"/>
                  </a:lnTo>
                  <a:lnTo>
                    <a:pt x="1160" y="731"/>
                  </a:lnTo>
                  <a:lnTo>
                    <a:pt x="1160" y="731"/>
                  </a:lnTo>
                  <a:lnTo>
                    <a:pt x="1157" y="731"/>
                  </a:lnTo>
                  <a:lnTo>
                    <a:pt x="1157" y="734"/>
                  </a:lnTo>
                  <a:lnTo>
                    <a:pt x="1157" y="734"/>
                  </a:lnTo>
                  <a:lnTo>
                    <a:pt x="1157" y="734"/>
                  </a:lnTo>
                  <a:lnTo>
                    <a:pt x="1157" y="734"/>
                  </a:lnTo>
                  <a:lnTo>
                    <a:pt x="1157" y="734"/>
                  </a:lnTo>
                  <a:lnTo>
                    <a:pt x="1155" y="736"/>
                  </a:lnTo>
                  <a:lnTo>
                    <a:pt x="1155" y="736"/>
                  </a:lnTo>
                  <a:lnTo>
                    <a:pt x="1155" y="736"/>
                  </a:lnTo>
                  <a:lnTo>
                    <a:pt x="1155" y="738"/>
                  </a:lnTo>
                  <a:lnTo>
                    <a:pt x="1155" y="738"/>
                  </a:lnTo>
                  <a:lnTo>
                    <a:pt x="1155" y="738"/>
                  </a:lnTo>
                  <a:lnTo>
                    <a:pt x="1155" y="738"/>
                  </a:lnTo>
                  <a:lnTo>
                    <a:pt x="1157" y="740"/>
                  </a:lnTo>
                  <a:lnTo>
                    <a:pt x="1155" y="740"/>
                  </a:lnTo>
                  <a:lnTo>
                    <a:pt x="1155" y="740"/>
                  </a:lnTo>
                  <a:lnTo>
                    <a:pt x="1155" y="740"/>
                  </a:lnTo>
                  <a:lnTo>
                    <a:pt x="1155" y="740"/>
                  </a:lnTo>
                  <a:lnTo>
                    <a:pt x="1155" y="740"/>
                  </a:lnTo>
                  <a:lnTo>
                    <a:pt x="1155" y="740"/>
                  </a:lnTo>
                  <a:lnTo>
                    <a:pt x="1155" y="740"/>
                  </a:lnTo>
                  <a:lnTo>
                    <a:pt x="1157" y="740"/>
                  </a:lnTo>
                  <a:lnTo>
                    <a:pt x="1157" y="740"/>
                  </a:lnTo>
                  <a:lnTo>
                    <a:pt x="1157" y="740"/>
                  </a:lnTo>
                  <a:lnTo>
                    <a:pt x="1157" y="740"/>
                  </a:lnTo>
                  <a:lnTo>
                    <a:pt x="1157" y="740"/>
                  </a:lnTo>
                  <a:lnTo>
                    <a:pt x="1157" y="740"/>
                  </a:lnTo>
                  <a:lnTo>
                    <a:pt x="1157" y="742"/>
                  </a:lnTo>
                  <a:lnTo>
                    <a:pt x="1157" y="742"/>
                  </a:lnTo>
                  <a:lnTo>
                    <a:pt x="1157" y="742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5" y="745"/>
                  </a:lnTo>
                  <a:lnTo>
                    <a:pt x="1155" y="745"/>
                  </a:lnTo>
                  <a:lnTo>
                    <a:pt x="1155" y="745"/>
                  </a:lnTo>
                  <a:lnTo>
                    <a:pt x="1155" y="745"/>
                  </a:lnTo>
                  <a:lnTo>
                    <a:pt x="1157" y="745"/>
                  </a:lnTo>
                  <a:lnTo>
                    <a:pt x="1157" y="747"/>
                  </a:lnTo>
                  <a:lnTo>
                    <a:pt x="1157" y="747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5"/>
                  </a:lnTo>
                  <a:lnTo>
                    <a:pt x="1157" y="747"/>
                  </a:lnTo>
                  <a:lnTo>
                    <a:pt x="1157" y="747"/>
                  </a:lnTo>
                  <a:lnTo>
                    <a:pt x="1157" y="747"/>
                  </a:lnTo>
                  <a:lnTo>
                    <a:pt x="1157" y="747"/>
                  </a:lnTo>
                  <a:lnTo>
                    <a:pt x="1157" y="747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5" y="749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47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49"/>
                  </a:lnTo>
                  <a:lnTo>
                    <a:pt x="1157" y="751"/>
                  </a:lnTo>
                  <a:lnTo>
                    <a:pt x="1157" y="751"/>
                  </a:lnTo>
                  <a:lnTo>
                    <a:pt x="1157" y="751"/>
                  </a:lnTo>
                  <a:lnTo>
                    <a:pt x="1160" y="751"/>
                  </a:lnTo>
                  <a:lnTo>
                    <a:pt x="1160" y="751"/>
                  </a:lnTo>
                  <a:lnTo>
                    <a:pt x="1160" y="751"/>
                  </a:lnTo>
                  <a:lnTo>
                    <a:pt x="1160" y="751"/>
                  </a:lnTo>
                  <a:lnTo>
                    <a:pt x="1160" y="751"/>
                  </a:lnTo>
                  <a:lnTo>
                    <a:pt x="1160" y="751"/>
                  </a:lnTo>
                  <a:lnTo>
                    <a:pt x="1162" y="751"/>
                  </a:lnTo>
                  <a:lnTo>
                    <a:pt x="1162" y="751"/>
                  </a:lnTo>
                  <a:lnTo>
                    <a:pt x="1162" y="751"/>
                  </a:lnTo>
                  <a:lnTo>
                    <a:pt x="1164" y="751"/>
                  </a:lnTo>
                  <a:lnTo>
                    <a:pt x="1164" y="751"/>
                  </a:lnTo>
                  <a:lnTo>
                    <a:pt x="1164" y="751"/>
                  </a:lnTo>
                  <a:lnTo>
                    <a:pt x="1164" y="751"/>
                  </a:lnTo>
                  <a:lnTo>
                    <a:pt x="1164" y="754"/>
                  </a:lnTo>
                  <a:lnTo>
                    <a:pt x="1164" y="754"/>
                  </a:lnTo>
                  <a:lnTo>
                    <a:pt x="1164" y="754"/>
                  </a:lnTo>
                  <a:lnTo>
                    <a:pt x="1164" y="754"/>
                  </a:lnTo>
                  <a:lnTo>
                    <a:pt x="1164" y="751"/>
                  </a:lnTo>
                  <a:lnTo>
                    <a:pt x="1164" y="751"/>
                  </a:lnTo>
                  <a:lnTo>
                    <a:pt x="1164" y="754"/>
                  </a:lnTo>
                  <a:lnTo>
                    <a:pt x="1164" y="754"/>
                  </a:lnTo>
                  <a:lnTo>
                    <a:pt x="1166" y="754"/>
                  </a:lnTo>
                  <a:lnTo>
                    <a:pt x="1166" y="754"/>
                  </a:lnTo>
                  <a:lnTo>
                    <a:pt x="1166" y="751"/>
                  </a:lnTo>
                  <a:lnTo>
                    <a:pt x="1166" y="751"/>
                  </a:lnTo>
                  <a:lnTo>
                    <a:pt x="1166" y="751"/>
                  </a:lnTo>
                  <a:lnTo>
                    <a:pt x="1169" y="751"/>
                  </a:lnTo>
                  <a:lnTo>
                    <a:pt x="1169" y="751"/>
                  </a:lnTo>
                  <a:lnTo>
                    <a:pt x="1169" y="754"/>
                  </a:lnTo>
                  <a:lnTo>
                    <a:pt x="1171" y="754"/>
                  </a:lnTo>
                  <a:lnTo>
                    <a:pt x="1171" y="754"/>
                  </a:lnTo>
                  <a:lnTo>
                    <a:pt x="1171" y="754"/>
                  </a:lnTo>
                  <a:lnTo>
                    <a:pt x="1171" y="754"/>
                  </a:lnTo>
                  <a:lnTo>
                    <a:pt x="1171" y="754"/>
                  </a:lnTo>
                  <a:lnTo>
                    <a:pt x="1169" y="754"/>
                  </a:lnTo>
                  <a:lnTo>
                    <a:pt x="1169" y="754"/>
                  </a:lnTo>
                  <a:lnTo>
                    <a:pt x="1169" y="756"/>
                  </a:lnTo>
                  <a:lnTo>
                    <a:pt x="1169" y="756"/>
                  </a:lnTo>
                  <a:lnTo>
                    <a:pt x="1169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4" y="756"/>
                  </a:lnTo>
                  <a:lnTo>
                    <a:pt x="1166" y="756"/>
                  </a:lnTo>
                  <a:lnTo>
                    <a:pt x="1166" y="756"/>
                  </a:lnTo>
                  <a:lnTo>
                    <a:pt x="1166" y="756"/>
                  </a:lnTo>
                  <a:lnTo>
                    <a:pt x="1166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69" y="758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69" y="760"/>
                  </a:lnTo>
                  <a:lnTo>
                    <a:pt x="1169" y="760"/>
                  </a:lnTo>
                  <a:lnTo>
                    <a:pt x="1169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1" y="760"/>
                  </a:lnTo>
                  <a:lnTo>
                    <a:pt x="1173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3" y="760"/>
                  </a:lnTo>
                  <a:lnTo>
                    <a:pt x="1173" y="760"/>
                  </a:lnTo>
                  <a:lnTo>
                    <a:pt x="1173" y="760"/>
                  </a:lnTo>
                  <a:lnTo>
                    <a:pt x="1173" y="760"/>
                  </a:lnTo>
                  <a:lnTo>
                    <a:pt x="1173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5" y="760"/>
                  </a:lnTo>
                  <a:lnTo>
                    <a:pt x="1178" y="760"/>
                  </a:lnTo>
                  <a:lnTo>
                    <a:pt x="1178" y="760"/>
                  </a:lnTo>
                  <a:lnTo>
                    <a:pt x="1178" y="760"/>
                  </a:lnTo>
                  <a:lnTo>
                    <a:pt x="1180" y="760"/>
                  </a:lnTo>
                  <a:lnTo>
                    <a:pt x="1178" y="760"/>
                  </a:lnTo>
                  <a:lnTo>
                    <a:pt x="1178" y="763"/>
                  </a:lnTo>
                  <a:lnTo>
                    <a:pt x="1175" y="763"/>
                  </a:lnTo>
                  <a:lnTo>
                    <a:pt x="1175" y="763"/>
                  </a:lnTo>
                  <a:lnTo>
                    <a:pt x="1175" y="763"/>
                  </a:lnTo>
                  <a:lnTo>
                    <a:pt x="1175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78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0" y="763"/>
                  </a:lnTo>
                  <a:lnTo>
                    <a:pt x="1182" y="763"/>
                  </a:lnTo>
                  <a:lnTo>
                    <a:pt x="1182" y="763"/>
                  </a:lnTo>
                  <a:lnTo>
                    <a:pt x="1182" y="763"/>
                  </a:lnTo>
                  <a:lnTo>
                    <a:pt x="1182" y="760"/>
                  </a:lnTo>
                  <a:lnTo>
                    <a:pt x="1180" y="760"/>
                  </a:lnTo>
                  <a:lnTo>
                    <a:pt x="1182" y="760"/>
                  </a:lnTo>
                  <a:lnTo>
                    <a:pt x="1184" y="760"/>
                  </a:lnTo>
                  <a:lnTo>
                    <a:pt x="1184" y="763"/>
                  </a:lnTo>
                  <a:lnTo>
                    <a:pt x="1187" y="763"/>
                  </a:lnTo>
                  <a:lnTo>
                    <a:pt x="1187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7" y="763"/>
                  </a:lnTo>
                  <a:lnTo>
                    <a:pt x="1187" y="763"/>
                  </a:lnTo>
                  <a:lnTo>
                    <a:pt x="1187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3"/>
                  </a:lnTo>
                  <a:lnTo>
                    <a:pt x="1189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7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89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1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3" y="765"/>
                  </a:lnTo>
                  <a:lnTo>
                    <a:pt x="1196" y="763"/>
                  </a:lnTo>
                  <a:lnTo>
                    <a:pt x="1200" y="760"/>
                  </a:lnTo>
                  <a:lnTo>
                    <a:pt x="1202" y="760"/>
                  </a:lnTo>
                  <a:lnTo>
                    <a:pt x="1202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0"/>
                  </a:lnTo>
                  <a:lnTo>
                    <a:pt x="1205" y="763"/>
                  </a:lnTo>
                  <a:lnTo>
                    <a:pt x="1205" y="763"/>
                  </a:lnTo>
                  <a:lnTo>
                    <a:pt x="1202" y="763"/>
                  </a:lnTo>
                  <a:lnTo>
                    <a:pt x="1202" y="763"/>
                  </a:lnTo>
                  <a:lnTo>
                    <a:pt x="1202" y="765"/>
                  </a:lnTo>
                  <a:lnTo>
                    <a:pt x="1205" y="765"/>
                  </a:lnTo>
                  <a:lnTo>
                    <a:pt x="1205" y="765"/>
                  </a:lnTo>
                  <a:lnTo>
                    <a:pt x="1205" y="765"/>
                  </a:lnTo>
                  <a:lnTo>
                    <a:pt x="1205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7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09" y="765"/>
                  </a:lnTo>
                  <a:lnTo>
                    <a:pt x="1211" y="765"/>
                  </a:lnTo>
                  <a:lnTo>
                    <a:pt x="1211" y="765"/>
                  </a:lnTo>
                  <a:lnTo>
                    <a:pt x="1211" y="765"/>
                  </a:lnTo>
                  <a:lnTo>
                    <a:pt x="1211" y="765"/>
                  </a:lnTo>
                  <a:lnTo>
                    <a:pt x="1211" y="765"/>
                  </a:lnTo>
                  <a:lnTo>
                    <a:pt x="1211" y="765"/>
                  </a:lnTo>
                  <a:lnTo>
                    <a:pt x="1211" y="767"/>
                  </a:lnTo>
                  <a:lnTo>
                    <a:pt x="1211" y="767"/>
                  </a:lnTo>
                  <a:lnTo>
                    <a:pt x="1211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7"/>
                  </a:lnTo>
                  <a:lnTo>
                    <a:pt x="1214" y="769"/>
                  </a:lnTo>
                  <a:lnTo>
                    <a:pt x="1214" y="769"/>
                  </a:lnTo>
                  <a:lnTo>
                    <a:pt x="1214" y="769"/>
                  </a:lnTo>
                  <a:lnTo>
                    <a:pt x="1214" y="769"/>
                  </a:lnTo>
                  <a:lnTo>
                    <a:pt x="1214" y="769"/>
                  </a:lnTo>
                  <a:lnTo>
                    <a:pt x="1211" y="769"/>
                  </a:lnTo>
                  <a:lnTo>
                    <a:pt x="1211" y="772"/>
                  </a:lnTo>
                  <a:lnTo>
                    <a:pt x="1211" y="769"/>
                  </a:lnTo>
                  <a:lnTo>
                    <a:pt x="1211" y="769"/>
                  </a:lnTo>
                  <a:lnTo>
                    <a:pt x="1211" y="772"/>
                  </a:lnTo>
                  <a:lnTo>
                    <a:pt x="1209" y="772"/>
                  </a:lnTo>
                  <a:lnTo>
                    <a:pt x="1209" y="772"/>
                  </a:lnTo>
                  <a:lnTo>
                    <a:pt x="1209" y="772"/>
                  </a:lnTo>
                  <a:lnTo>
                    <a:pt x="1209" y="772"/>
                  </a:lnTo>
                  <a:lnTo>
                    <a:pt x="1209" y="772"/>
                  </a:lnTo>
                  <a:lnTo>
                    <a:pt x="1216" y="772"/>
                  </a:lnTo>
                  <a:lnTo>
                    <a:pt x="1216" y="772"/>
                  </a:lnTo>
                  <a:lnTo>
                    <a:pt x="1216" y="772"/>
                  </a:lnTo>
                  <a:lnTo>
                    <a:pt x="1218" y="772"/>
                  </a:lnTo>
                  <a:lnTo>
                    <a:pt x="1218" y="772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8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6" y="774"/>
                  </a:lnTo>
                  <a:lnTo>
                    <a:pt x="1214" y="776"/>
                  </a:lnTo>
                  <a:lnTo>
                    <a:pt x="1214" y="776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6"/>
                  </a:lnTo>
                  <a:lnTo>
                    <a:pt x="1214" y="776"/>
                  </a:lnTo>
                  <a:lnTo>
                    <a:pt x="1214" y="776"/>
                  </a:lnTo>
                  <a:lnTo>
                    <a:pt x="1214" y="776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4" y="774"/>
                  </a:lnTo>
                  <a:lnTo>
                    <a:pt x="1211" y="774"/>
                  </a:lnTo>
                  <a:lnTo>
                    <a:pt x="1211" y="774"/>
                  </a:lnTo>
                  <a:lnTo>
                    <a:pt x="1211" y="774"/>
                  </a:lnTo>
                  <a:lnTo>
                    <a:pt x="1211" y="774"/>
                  </a:lnTo>
                  <a:lnTo>
                    <a:pt x="1211" y="774"/>
                  </a:lnTo>
                  <a:lnTo>
                    <a:pt x="1211" y="774"/>
                  </a:lnTo>
                  <a:lnTo>
                    <a:pt x="1209" y="774"/>
                  </a:lnTo>
                  <a:lnTo>
                    <a:pt x="1209" y="776"/>
                  </a:lnTo>
                  <a:lnTo>
                    <a:pt x="1209" y="776"/>
                  </a:lnTo>
                  <a:lnTo>
                    <a:pt x="1209" y="776"/>
                  </a:lnTo>
                  <a:lnTo>
                    <a:pt x="1209" y="776"/>
                  </a:lnTo>
                  <a:lnTo>
                    <a:pt x="1209" y="776"/>
                  </a:lnTo>
                  <a:lnTo>
                    <a:pt x="1209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2" y="776"/>
                  </a:lnTo>
                  <a:lnTo>
                    <a:pt x="1202" y="776"/>
                  </a:lnTo>
                  <a:lnTo>
                    <a:pt x="1202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5" y="776"/>
                  </a:lnTo>
                  <a:lnTo>
                    <a:pt x="1205" y="778"/>
                  </a:lnTo>
                  <a:lnTo>
                    <a:pt x="1202" y="778"/>
                  </a:lnTo>
                  <a:lnTo>
                    <a:pt x="1205" y="778"/>
                  </a:lnTo>
                  <a:lnTo>
                    <a:pt x="1205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2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200" y="778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8" y="781"/>
                  </a:lnTo>
                  <a:lnTo>
                    <a:pt x="1198" y="778"/>
                  </a:lnTo>
                  <a:lnTo>
                    <a:pt x="1198" y="778"/>
                  </a:lnTo>
                  <a:lnTo>
                    <a:pt x="1196" y="778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78"/>
                  </a:lnTo>
                  <a:lnTo>
                    <a:pt x="1196" y="778"/>
                  </a:lnTo>
                  <a:lnTo>
                    <a:pt x="1196" y="778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6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3" y="781"/>
                  </a:lnTo>
                  <a:lnTo>
                    <a:pt x="1191" y="781"/>
                  </a:lnTo>
                  <a:lnTo>
                    <a:pt x="1191" y="781"/>
                  </a:lnTo>
                  <a:lnTo>
                    <a:pt x="1191" y="783"/>
                  </a:lnTo>
                  <a:lnTo>
                    <a:pt x="1191" y="781"/>
                  </a:lnTo>
                  <a:lnTo>
                    <a:pt x="1191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9" y="783"/>
                  </a:lnTo>
                  <a:lnTo>
                    <a:pt x="1189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7" y="785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7" y="783"/>
                  </a:lnTo>
                  <a:lnTo>
                    <a:pt x="1184" y="783"/>
                  </a:lnTo>
                  <a:lnTo>
                    <a:pt x="1184" y="783"/>
                  </a:lnTo>
                  <a:lnTo>
                    <a:pt x="1184" y="783"/>
                  </a:lnTo>
                  <a:lnTo>
                    <a:pt x="1184" y="785"/>
                  </a:lnTo>
                  <a:lnTo>
                    <a:pt x="1184" y="785"/>
                  </a:lnTo>
                  <a:lnTo>
                    <a:pt x="1184" y="785"/>
                  </a:lnTo>
                  <a:lnTo>
                    <a:pt x="1184" y="785"/>
                  </a:lnTo>
                  <a:lnTo>
                    <a:pt x="1184" y="785"/>
                  </a:lnTo>
                  <a:lnTo>
                    <a:pt x="1184" y="785"/>
                  </a:lnTo>
                  <a:lnTo>
                    <a:pt x="1184" y="783"/>
                  </a:lnTo>
                  <a:lnTo>
                    <a:pt x="1184" y="785"/>
                  </a:lnTo>
                  <a:lnTo>
                    <a:pt x="1182" y="785"/>
                  </a:lnTo>
                  <a:lnTo>
                    <a:pt x="1182" y="785"/>
                  </a:lnTo>
                  <a:lnTo>
                    <a:pt x="1182" y="785"/>
                  </a:lnTo>
                  <a:lnTo>
                    <a:pt x="1180" y="785"/>
                  </a:lnTo>
                  <a:lnTo>
                    <a:pt x="1180" y="785"/>
                  </a:lnTo>
                  <a:lnTo>
                    <a:pt x="1180" y="785"/>
                  </a:lnTo>
                  <a:lnTo>
                    <a:pt x="1180" y="785"/>
                  </a:lnTo>
                  <a:lnTo>
                    <a:pt x="1180" y="785"/>
                  </a:lnTo>
                  <a:lnTo>
                    <a:pt x="1180" y="785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80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7"/>
                  </a:lnTo>
                  <a:lnTo>
                    <a:pt x="1178" y="785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5"/>
                  </a:lnTo>
                  <a:lnTo>
                    <a:pt x="1175" y="785"/>
                  </a:lnTo>
                  <a:lnTo>
                    <a:pt x="1175" y="785"/>
                  </a:lnTo>
                  <a:lnTo>
                    <a:pt x="1175" y="785"/>
                  </a:lnTo>
                  <a:lnTo>
                    <a:pt x="1175" y="785"/>
                  </a:lnTo>
                  <a:lnTo>
                    <a:pt x="1175" y="785"/>
                  </a:lnTo>
                  <a:lnTo>
                    <a:pt x="1175" y="785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5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5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3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71" y="787"/>
                  </a:lnTo>
                  <a:lnTo>
                    <a:pt x="1169" y="787"/>
                  </a:lnTo>
                  <a:lnTo>
                    <a:pt x="1169" y="790"/>
                  </a:lnTo>
                  <a:lnTo>
                    <a:pt x="1169" y="790"/>
                  </a:lnTo>
                  <a:lnTo>
                    <a:pt x="1166" y="787"/>
                  </a:lnTo>
                  <a:lnTo>
                    <a:pt x="1166" y="787"/>
                  </a:lnTo>
                  <a:lnTo>
                    <a:pt x="1166" y="787"/>
                  </a:lnTo>
                  <a:lnTo>
                    <a:pt x="1166" y="787"/>
                  </a:lnTo>
                  <a:lnTo>
                    <a:pt x="1169" y="787"/>
                  </a:lnTo>
                  <a:lnTo>
                    <a:pt x="1169" y="787"/>
                  </a:lnTo>
                  <a:lnTo>
                    <a:pt x="1166" y="787"/>
                  </a:lnTo>
                  <a:lnTo>
                    <a:pt x="1166" y="787"/>
                  </a:lnTo>
                  <a:lnTo>
                    <a:pt x="1166" y="787"/>
                  </a:lnTo>
                  <a:lnTo>
                    <a:pt x="1166" y="787"/>
                  </a:lnTo>
                  <a:lnTo>
                    <a:pt x="1166" y="790"/>
                  </a:lnTo>
                  <a:lnTo>
                    <a:pt x="1166" y="790"/>
                  </a:lnTo>
                  <a:lnTo>
                    <a:pt x="1166" y="790"/>
                  </a:lnTo>
                  <a:lnTo>
                    <a:pt x="1166" y="790"/>
                  </a:lnTo>
                  <a:lnTo>
                    <a:pt x="1166" y="790"/>
                  </a:lnTo>
                  <a:lnTo>
                    <a:pt x="1164" y="790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2" y="787"/>
                  </a:lnTo>
                  <a:lnTo>
                    <a:pt x="1162" y="787"/>
                  </a:lnTo>
                  <a:lnTo>
                    <a:pt x="1162" y="787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4" y="787"/>
                  </a:lnTo>
                  <a:lnTo>
                    <a:pt x="1164" y="790"/>
                  </a:lnTo>
                  <a:lnTo>
                    <a:pt x="1164" y="790"/>
                  </a:lnTo>
                  <a:lnTo>
                    <a:pt x="1164" y="790"/>
                  </a:lnTo>
                  <a:lnTo>
                    <a:pt x="1164" y="790"/>
                  </a:lnTo>
                  <a:lnTo>
                    <a:pt x="1164" y="790"/>
                  </a:lnTo>
                  <a:lnTo>
                    <a:pt x="1164" y="790"/>
                  </a:lnTo>
                  <a:lnTo>
                    <a:pt x="1164" y="790"/>
                  </a:lnTo>
                  <a:lnTo>
                    <a:pt x="1164" y="792"/>
                  </a:lnTo>
                  <a:lnTo>
                    <a:pt x="1164" y="792"/>
                  </a:lnTo>
                  <a:lnTo>
                    <a:pt x="1164" y="792"/>
                  </a:lnTo>
                  <a:lnTo>
                    <a:pt x="1164" y="792"/>
                  </a:lnTo>
                  <a:lnTo>
                    <a:pt x="1164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4"/>
                  </a:lnTo>
                  <a:lnTo>
                    <a:pt x="1162" y="794"/>
                  </a:lnTo>
                  <a:lnTo>
                    <a:pt x="1162" y="794"/>
                  </a:lnTo>
                  <a:lnTo>
                    <a:pt x="1162" y="794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2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60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7" y="792"/>
                  </a:lnTo>
                  <a:lnTo>
                    <a:pt x="1155" y="792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790"/>
                  </a:lnTo>
                  <a:lnTo>
                    <a:pt x="1157" y="787"/>
                  </a:lnTo>
                  <a:lnTo>
                    <a:pt x="1157" y="787"/>
                  </a:lnTo>
                  <a:lnTo>
                    <a:pt x="1157" y="787"/>
                  </a:lnTo>
                  <a:lnTo>
                    <a:pt x="1157" y="787"/>
                  </a:lnTo>
                  <a:lnTo>
                    <a:pt x="1157" y="787"/>
                  </a:lnTo>
                  <a:lnTo>
                    <a:pt x="1157" y="787"/>
                  </a:lnTo>
                  <a:lnTo>
                    <a:pt x="1157" y="787"/>
                  </a:lnTo>
                  <a:lnTo>
                    <a:pt x="1155" y="787"/>
                  </a:lnTo>
                  <a:lnTo>
                    <a:pt x="1155" y="787"/>
                  </a:lnTo>
                  <a:lnTo>
                    <a:pt x="1155" y="790"/>
                  </a:lnTo>
                  <a:lnTo>
                    <a:pt x="1155" y="790"/>
                  </a:lnTo>
                  <a:lnTo>
                    <a:pt x="1155" y="790"/>
                  </a:lnTo>
                  <a:lnTo>
                    <a:pt x="1155" y="790"/>
                  </a:lnTo>
                  <a:lnTo>
                    <a:pt x="1155" y="790"/>
                  </a:lnTo>
                  <a:lnTo>
                    <a:pt x="1155" y="790"/>
                  </a:lnTo>
                  <a:lnTo>
                    <a:pt x="1155" y="790"/>
                  </a:lnTo>
                  <a:lnTo>
                    <a:pt x="1155" y="792"/>
                  </a:lnTo>
                  <a:lnTo>
                    <a:pt x="1155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2"/>
                  </a:lnTo>
                  <a:lnTo>
                    <a:pt x="1153" y="790"/>
                  </a:lnTo>
                  <a:lnTo>
                    <a:pt x="1153" y="790"/>
                  </a:lnTo>
                  <a:lnTo>
                    <a:pt x="1153" y="790"/>
                  </a:lnTo>
                  <a:lnTo>
                    <a:pt x="1153" y="790"/>
                  </a:lnTo>
                  <a:lnTo>
                    <a:pt x="1151" y="790"/>
                  </a:lnTo>
                  <a:lnTo>
                    <a:pt x="1151" y="790"/>
                  </a:lnTo>
                  <a:lnTo>
                    <a:pt x="1151" y="790"/>
                  </a:lnTo>
                  <a:lnTo>
                    <a:pt x="1151" y="792"/>
                  </a:lnTo>
                  <a:lnTo>
                    <a:pt x="1151" y="792"/>
                  </a:lnTo>
                  <a:lnTo>
                    <a:pt x="1151" y="790"/>
                  </a:lnTo>
                  <a:lnTo>
                    <a:pt x="1151" y="790"/>
                  </a:lnTo>
                  <a:lnTo>
                    <a:pt x="1151" y="790"/>
                  </a:lnTo>
                  <a:lnTo>
                    <a:pt x="1151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2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51" y="794"/>
                  </a:lnTo>
                  <a:lnTo>
                    <a:pt x="1151" y="794"/>
                  </a:lnTo>
                  <a:lnTo>
                    <a:pt x="1151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4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6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6"/>
                  </a:lnTo>
                  <a:lnTo>
                    <a:pt x="1148" y="799"/>
                  </a:lnTo>
                  <a:lnTo>
                    <a:pt x="1148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6" y="796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799"/>
                  </a:lnTo>
                  <a:lnTo>
                    <a:pt x="1144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42" y="801"/>
                  </a:lnTo>
                  <a:lnTo>
                    <a:pt x="1139" y="803"/>
                  </a:lnTo>
                  <a:lnTo>
                    <a:pt x="1139" y="803"/>
                  </a:lnTo>
                  <a:lnTo>
                    <a:pt x="1137" y="803"/>
                  </a:lnTo>
                  <a:lnTo>
                    <a:pt x="1137" y="803"/>
                  </a:lnTo>
                  <a:lnTo>
                    <a:pt x="1139" y="803"/>
                  </a:lnTo>
                  <a:lnTo>
                    <a:pt x="1139" y="803"/>
                  </a:lnTo>
                  <a:lnTo>
                    <a:pt x="1139" y="803"/>
                  </a:lnTo>
                  <a:lnTo>
                    <a:pt x="1139" y="803"/>
                  </a:lnTo>
                  <a:lnTo>
                    <a:pt x="1139" y="803"/>
                  </a:lnTo>
                  <a:lnTo>
                    <a:pt x="1137" y="803"/>
                  </a:lnTo>
                  <a:lnTo>
                    <a:pt x="1137" y="803"/>
                  </a:lnTo>
                  <a:lnTo>
                    <a:pt x="1137" y="805"/>
                  </a:lnTo>
                  <a:lnTo>
                    <a:pt x="1137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5"/>
                  </a:lnTo>
                  <a:lnTo>
                    <a:pt x="1135" y="808"/>
                  </a:lnTo>
                  <a:lnTo>
                    <a:pt x="1135" y="805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5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5"/>
                  </a:lnTo>
                  <a:lnTo>
                    <a:pt x="1133" y="805"/>
                  </a:lnTo>
                  <a:lnTo>
                    <a:pt x="1133" y="805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08"/>
                  </a:lnTo>
                  <a:lnTo>
                    <a:pt x="1133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08"/>
                  </a:lnTo>
                  <a:lnTo>
                    <a:pt x="1130" y="808"/>
                  </a:lnTo>
                  <a:lnTo>
                    <a:pt x="1130" y="808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30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2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8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08"/>
                  </a:lnTo>
                  <a:lnTo>
                    <a:pt x="1126" y="808"/>
                  </a:lnTo>
                  <a:lnTo>
                    <a:pt x="1126" y="808"/>
                  </a:lnTo>
                  <a:lnTo>
                    <a:pt x="1126" y="808"/>
                  </a:lnTo>
                  <a:lnTo>
                    <a:pt x="1126" y="808"/>
                  </a:lnTo>
                  <a:lnTo>
                    <a:pt x="1126" y="808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0"/>
                  </a:lnTo>
                  <a:lnTo>
                    <a:pt x="1126" y="812"/>
                  </a:lnTo>
                  <a:lnTo>
                    <a:pt x="1126" y="812"/>
                  </a:lnTo>
                  <a:lnTo>
                    <a:pt x="1124" y="812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0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2"/>
                  </a:lnTo>
                  <a:lnTo>
                    <a:pt x="1124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2"/>
                  </a:lnTo>
                  <a:lnTo>
                    <a:pt x="1121" y="812"/>
                  </a:lnTo>
                  <a:lnTo>
                    <a:pt x="1121" y="812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21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7"/>
                  </a:lnTo>
                  <a:lnTo>
                    <a:pt x="1119" y="817"/>
                  </a:lnTo>
                  <a:lnTo>
                    <a:pt x="1119" y="817"/>
                  </a:lnTo>
                  <a:lnTo>
                    <a:pt x="1119" y="817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9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7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4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2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08"/>
                  </a:lnTo>
                  <a:lnTo>
                    <a:pt x="1115" y="808"/>
                  </a:lnTo>
                  <a:lnTo>
                    <a:pt x="1115" y="808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10"/>
                  </a:lnTo>
                  <a:lnTo>
                    <a:pt x="1115" y="808"/>
                  </a:lnTo>
                  <a:lnTo>
                    <a:pt x="1115" y="808"/>
                  </a:lnTo>
                  <a:lnTo>
                    <a:pt x="1115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10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08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3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10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8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5"/>
                  </a:lnTo>
                  <a:lnTo>
                    <a:pt x="1110" y="803"/>
                  </a:lnTo>
                  <a:lnTo>
                    <a:pt x="1110" y="803"/>
                  </a:lnTo>
                  <a:lnTo>
                    <a:pt x="1110" y="803"/>
                  </a:lnTo>
                  <a:lnTo>
                    <a:pt x="1110" y="803"/>
                  </a:lnTo>
                  <a:lnTo>
                    <a:pt x="1110" y="803"/>
                  </a:lnTo>
                  <a:lnTo>
                    <a:pt x="1110" y="801"/>
                  </a:lnTo>
                  <a:lnTo>
                    <a:pt x="1110" y="801"/>
                  </a:lnTo>
                  <a:lnTo>
                    <a:pt x="1110" y="801"/>
                  </a:lnTo>
                  <a:lnTo>
                    <a:pt x="1110" y="801"/>
                  </a:lnTo>
                  <a:lnTo>
                    <a:pt x="1110" y="801"/>
                  </a:lnTo>
                  <a:lnTo>
                    <a:pt x="1110" y="799"/>
                  </a:lnTo>
                  <a:lnTo>
                    <a:pt x="1110" y="799"/>
                  </a:lnTo>
                  <a:lnTo>
                    <a:pt x="1113" y="799"/>
                  </a:lnTo>
                  <a:lnTo>
                    <a:pt x="1113" y="799"/>
                  </a:lnTo>
                  <a:lnTo>
                    <a:pt x="1113" y="799"/>
                  </a:lnTo>
                  <a:lnTo>
                    <a:pt x="1115" y="796"/>
                  </a:lnTo>
                  <a:lnTo>
                    <a:pt x="1115" y="794"/>
                  </a:lnTo>
                  <a:lnTo>
                    <a:pt x="1115" y="794"/>
                  </a:lnTo>
                  <a:lnTo>
                    <a:pt x="1115" y="794"/>
                  </a:lnTo>
                  <a:lnTo>
                    <a:pt x="1115" y="794"/>
                  </a:lnTo>
                  <a:lnTo>
                    <a:pt x="1117" y="794"/>
                  </a:lnTo>
                  <a:lnTo>
                    <a:pt x="1117" y="792"/>
                  </a:lnTo>
                  <a:lnTo>
                    <a:pt x="1119" y="792"/>
                  </a:lnTo>
                  <a:lnTo>
                    <a:pt x="1119" y="792"/>
                  </a:lnTo>
                  <a:lnTo>
                    <a:pt x="1119" y="792"/>
                  </a:lnTo>
                  <a:lnTo>
                    <a:pt x="1121" y="790"/>
                  </a:lnTo>
                  <a:lnTo>
                    <a:pt x="1121" y="790"/>
                  </a:lnTo>
                  <a:lnTo>
                    <a:pt x="1121" y="790"/>
                  </a:lnTo>
                  <a:lnTo>
                    <a:pt x="1119" y="790"/>
                  </a:lnTo>
                  <a:lnTo>
                    <a:pt x="1119" y="790"/>
                  </a:lnTo>
                  <a:lnTo>
                    <a:pt x="1119" y="790"/>
                  </a:lnTo>
                  <a:lnTo>
                    <a:pt x="1119" y="790"/>
                  </a:lnTo>
                  <a:lnTo>
                    <a:pt x="1119" y="790"/>
                  </a:lnTo>
                  <a:lnTo>
                    <a:pt x="1117" y="792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3" y="794"/>
                  </a:lnTo>
                  <a:lnTo>
                    <a:pt x="1117" y="790"/>
                  </a:lnTo>
                  <a:lnTo>
                    <a:pt x="1119" y="790"/>
                  </a:lnTo>
                  <a:lnTo>
                    <a:pt x="1121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4" y="790"/>
                  </a:lnTo>
                  <a:lnTo>
                    <a:pt x="1124" y="790"/>
                  </a:lnTo>
                  <a:lnTo>
                    <a:pt x="1124" y="790"/>
                  </a:lnTo>
                  <a:lnTo>
                    <a:pt x="1121" y="790"/>
                  </a:lnTo>
                  <a:lnTo>
                    <a:pt x="1124" y="790"/>
                  </a:lnTo>
                  <a:lnTo>
                    <a:pt x="1124" y="790"/>
                  </a:lnTo>
                  <a:lnTo>
                    <a:pt x="1124" y="790"/>
                  </a:lnTo>
                  <a:lnTo>
                    <a:pt x="1124" y="790"/>
                  </a:lnTo>
                  <a:lnTo>
                    <a:pt x="1124" y="790"/>
                  </a:lnTo>
                  <a:lnTo>
                    <a:pt x="1124" y="787"/>
                  </a:lnTo>
                  <a:lnTo>
                    <a:pt x="1126" y="787"/>
                  </a:lnTo>
                  <a:lnTo>
                    <a:pt x="1126" y="787"/>
                  </a:lnTo>
                  <a:lnTo>
                    <a:pt x="1126" y="787"/>
                  </a:lnTo>
                  <a:lnTo>
                    <a:pt x="1126" y="787"/>
                  </a:lnTo>
                  <a:lnTo>
                    <a:pt x="1128" y="787"/>
                  </a:lnTo>
                  <a:lnTo>
                    <a:pt x="1128" y="785"/>
                  </a:lnTo>
                  <a:lnTo>
                    <a:pt x="1128" y="785"/>
                  </a:lnTo>
                  <a:lnTo>
                    <a:pt x="1130" y="785"/>
                  </a:lnTo>
                  <a:lnTo>
                    <a:pt x="1130" y="785"/>
                  </a:lnTo>
                  <a:lnTo>
                    <a:pt x="1130" y="785"/>
                  </a:lnTo>
                  <a:lnTo>
                    <a:pt x="1128" y="785"/>
                  </a:lnTo>
                  <a:lnTo>
                    <a:pt x="1128" y="785"/>
                  </a:lnTo>
                  <a:lnTo>
                    <a:pt x="1126" y="787"/>
                  </a:lnTo>
                  <a:lnTo>
                    <a:pt x="1126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4" y="787"/>
                  </a:lnTo>
                  <a:lnTo>
                    <a:pt x="1126" y="785"/>
                  </a:lnTo>
                  <a:lnTo>
                    <a:pt x="1130" y="783"/>
                  </a:lnTo>
                  <a:lnTo>
                    <a:pt x="1130" y="783"/>
                  </a:lnTo>
                  <a:lnTo>
                    <a:pt x="1133" y="783"/>
                  </a:lnTo>
                  <a:lnTo>
                    <a:pt x="1133" y="783"/>
                  </a:lnTo>
                  <a:lnTo>
                    <a:pt x="1135" y="781"/>
                  </a:lnTo>
                  <a:lnTo>
                    <a:pt x="1135" y="781"/>
                  </a:lnTo>
                  <a:lnTo>
                    <a:pt x="1137" y="781"/>
                  </a:lnTo>
                  <a:lnTo>
                    <a:pt x="1139" y="778"/>
                  </a:lnTo>
                  <a:lnTo>
                    <a:pt x="1144" y="776"/>
                  </a:lnTo>
                  <a:lnTo>
                    <a:pt x="1146" y="776"/>
                  </a:lnTo>
                  <a:lnTo>
                    <a:pt x="1148" y="776"/>
                  </a:lnTo>
                  <a:lnTo>
                    <a:pt x="1148" y="774"/>
                  </a:lnTo>
                  <a:lnTo>
                    <a:pt x="1151" y="774"/>
                  </a:lnTo>
                  <a:lnTo>
                    <a:pt x="1151" y="774"/>
                  </a:lnTo>
                  <a:lnTo>
                    <a:pt x="1153" y="774"/>
                  </a:lnTo>
                  <a:lnTo>
                    <a:pt x="1153" y="774"/>
                  </a:lnTo>
                  <a:lnTo>
                    <a:pt x="1153" y="774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1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5" y="772"/>
                  </a:lnTo>
                  <a:lnTo>
                    <a:pt x="1155" y="774"/>
                  </a:lnTo>
                  <a:lnTo>
                    <a:pt x="1155" y="774"/>
                  </a:lnTo>
                  <a:lnTo>
                    <a:pt x="1155" y="774"/>
                  </a:lnTo>
                  <a:lnTo>
                    <a:pt x="1155" y="774"/>
                  </a:lnTo>
                  <a:lnTo>
                    <a:pt x="1153" y="774"/>
                  </a:lnTo>
                  <a:lnTo>
                    <a:pt x="1153" y="774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8"/>
                  </a:lnTo>
                  <a:lnTo>
                    <a:pt x="1153" y="778"/>
                  </a:lnTo>
                  <a:lnTo>
                    <a:pt x="1153" y="778"/>
                  </a:lnTo>
                  <a:lnTo>
                    <a:pt x="1153" y="778"/>
                  </a:lnTo>
                  <a:lnTo>
                    <a:pt x="1153" y="778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3" y="776"/>
                  </a:lnTo>
                  <a:lnTo>
                    <a:pt x="1155" y="778"/>
                  </a:lnTo>
                  <a:lnTo>
                    <a:pt x="1155" y="778"/>
                  </a:lnTo>
                  <a:lnTo>
                    <a:pt x="1155" y="778"/>
                  </a:lnTo>
                  <a:lnTo>
                    <a:pt x="1155" y="781"/>
                  </a:lnTo>
                  <a:lnTo>
                    <a:pt x="1155" y="781"/>
                  </a:lnTo>
                  <a:lnTo>
                    <a:pt x="1155" y="781"/>
                  </a:lnTo>
                  <a:lnTo>
                    <a:pt x="1155" y="781"/>
                  </a:lnTo>
                  <a:lnTo>
                    <a:pt x="1157" y="781"/>
                  </a:lnTo>
                  <a:lnTo>
                    <a:pt x="1157" y="781"/>
                  </a:lnTo>
                  <a:lnTo>
                    <a:pt x="1157" y="778"/>
                  </a:lnTo>
                  <a:lnTo>
                    <a:pt x="1157" y="778"/>
                  </a:lnTo>
                  <a:lnTo>
                    <a:pt x="1157" y="778"/>
                  </a:lnTo>
                  <a:lnTo>
                    <a:pt x="1157" y="778"/>
                  </a:lnTo>
                  <a:lnTo>
                    <a:pt x="1157" y="778"/>
                  </a:lnTo>
                  <a:lnTo>
                    <a:pt x="1157" y="778"/>
                  </a:lnTo>
                  <a:lnTo>
                    <a:pt x="1155" y="778"/>
                  </a:lnTo>
                  <a:lnTo>
                    <a:pt x="1155" y="776"/>
                  </a:lnTo>
                  <a:lnTo>
                    <a:pt x="1155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57" y="776"/>
                  </a:lnTo>
                  <a:lnTo>
                    <a:pt x="1160" y="774"/>
                  </a:lnTo>
                  <a:lnTo>
                    <a:pt x="1162" y="774"/>
                  </a:lnTo>
                  <a:lnTo>
                    <a:pt x="1162" y="774"/>
                  </a:lnTo>
                  <a:lnTo>
                    <a:pt x="1162" y="774"/>
                  </a:lnTo>
                  <a:lnTo>
                    <a:pt x="1164" y="774"/>
                  </a:lnTo>
                  <a:lnTo>
                    <a:pt x="1164" y="774"/>
                  </a:lnTo>
                  <a:lnTo>
                    <a:pt x="1164" y="774"/>
                  </a:lnTo>
                  <a:lnTo>
                    <a:pt x="1164" y="774"/>
                  </a:lnTo>
                  <a:lnTo>
                    <a:pt x="1164" y="774"/>
                  </a:lnTo>
                  <a:lnTo>
                    <a:pt x="1164" y="774"/>
                  </a:lnTo>
                  <a:lnTo>
                    <a:pt x="1164" y="774"/>
                  </a:lnTo>
                  <a:lnTo>
                    <a:pt x="1166" y="774"/>
                  </a:lnTo>
                  <a:lnTo>
                    <a:pt x="1166" y="774"/>
                  </a:lnTo>
                  <a:lnTo>
                    <a:pt x="1166" y="774"/>
                  </a:lnTo>
                  <a:lnTo>
                    <a:pt x="1166" y="774"/>
                  </a:lnTo>
                  <a:lnTo>
                    <a:pt x="1166" y="772"/>
                  </a:lnTo>
                  <a:lnTo>
                    <a:pt x="1166" y="772"/>
                  </a:lnTo>
                  <a:lnTo>
                    <a:pt x="1166" y="772"/>
                  </a:lnTo>
                  <a:lnTo>
                    <a:pt x="1166" y="772"/>
                  </a:lnTo>
                  <a:lnTo>
                    <a:pt x="1169" y="772"/>
                  </a:lnTo>
                  <a:lnTo>
                    <a:pt x="1169" y="772"/>
                  </a:lnTo>
                  <a:lnTo>
                    <a:pt x="1171" y="772"/>
                  </a:lnTo>
                  <a:lnTo>
                    <a:pt x="1171" y="772"/>
                  </a:lnTo>
                  <a:lnTo>
                    <a:pt x="1171" y="772"/>
                  </a:lnTo>
                  <a:lnTo>
                    <a:pt x="1171" y="774"/>
                  </a:lnTo>
                  <a:lnTo>
                    <a:pt x="1171" y="774"/>
                  </a:lnTo>
                  <a:lnTo>
                    <a:pt x="1171" y="772"/>
                  </a:lnTo>
                  <a:lnTo>
                    <a:pt x="1171" y="772"/>
                  </a:lnTo>
                  <a:lnTo>
                    <a:pt x="1173" y="772"/>
                  </a:lnTo>
                  <a:lnTo>
                    <a:pt x="1173" y="772"/>
                  </a:lnTo>
                  <a:lnTo>
                    <a:pt x="1173" y="772"/>
                  </a:lnTo>
                  <a:lnTo>
                    <a:pt x="1171" y="772"/>
                  </a:lnTo>
                  <a:lnTo>
                    <a:pt x="1171" y="772"/>
                  </a:lnTo>
                  <a:lnTo>
                    <a:pt x="1169" y="772"/>
                  </a:lnTo>
                  <a:lnTo>
                    <a:pt x="1169" y="772"/>
                  </a:lnTo>
                  <a:lnTo>
                    <a:pt x="1164" y="772"/>
                  </a:lnTo>
                  <a:lnTo>
                    <a:pt x="1164" y="772"/>
                  </a:lnTo>
                  <a:lnTo>
                    <a:pt x="1164" y="772"/>
                  </a:lnTo>
                  <a:lnTo>
                    <a:pt x="1164" y="772"/>
                  </a:lnTo>
                  <a:lnTo>
                    <a:pt x="1164" y="772"/>
                  </a:lnTo>
                  <a:lnTo>
                    <a:pt x="1164" y="772"/>
                  </a:lnTo>
                  <a:lnTo>
                    <a:pt x="1164" y="772"/>
                  </a:lnTo>
                  <a:lnTo>
                    <a:pt x="1162" y="772"/>
                  </a:lnTo>
                  <a:lnTo>
                    <a:pt x="1162" y="772"/>
                  </a:lnTo>
                  <a:lnTo>
                    <a:pt x="1162" y="772"/>
                  </a:lnTo>
                  <a:lnTo>
                    <a:pt x="1162" y="772"/>
                  </a:lnTo>
                  <a:lnTo>
                    <a:pt x="1162" y="772"/>
                  </a:lnTo>
                  <a:lnTo>
                    <a:pt x="1162" y="772"/>
                  </a:lnTo>
                  <a:lnTo>
                    <a:pt x="1162" y="772"/>
                  </a:lnTo>
                  <a:lnTo>
                    <a:pt x="1160" y="772"/>
                  </a:lnTo>
                  <a:lnTo>
                    <a:pt x="1160" y="772"/>
                  </a:lnTo>
                  <a:lnTo>
                    <a:pt x="1160" y="772"/>
                  </a:lnTo>
                  <a:lnTo>
                    <a:pt x="1160" y="769"/>
                  </a:lnTo>
                  <a:lnTo>
                    <a:pt x="1160" y="769"/>
                  </a:lnTo>
                  <a:lnTo>
                    <a:pt x="1157" y="772"/>
                  </a:lnTo>
                  <a:lnTo>
                    <a:pt x="1157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5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3" y="772"/>
                  </a:lnTo>
                  <a:lnTo>
                    <a:pt x="1151" y="769"/>
                  </a:lnTo>
                  <a:lnTo>
                    <a:pt x="1151" y="772"/>
                  </a:lnTo>
                  <a:lnTo>
                    <a:pt x="1148" y="772"/>
                  </a:lnTo>
                  <a:lnTo>
                    <a:pt x="1148" y="772"/>
                  </a:lnTo>
                  <a:lnTo>
                    <a:pt x="1148" y="772"/>
                  </a:lnTo>
                  <a:lnTo>
                    <a:pt x="1148" y="772"/>
                  </a:lnTo>
                  <a:lnTo>
                    <a:pt x="1146" y="772"/>
                  </a:lnTo>
                  <a:lnTo>
                    <a:pt x="1146" y="774"/>
                  </a:lnTo>
                  <a:lnTo>
                    <a:pt x="1146" y="774"/>
                  </a:lnTo>
                  <a:lnTo>
                    <a:pt x="1146" y="774"/>
                  </a:lnTo>
                  <a:lnTo>
                    <a:pt x="1146" y="774"/>
                  </a:lnTo>
                  <a:lnTo>
                    <a:pt x="1146" y="774"/>
                  </a:lnTo>
                  <a:lnTo>
                    <a:pt x="1146" y="774"/>
                  </a:lnTo>
                  <a:lnTo>
                    <a:pt x="1146" y="772"/>
                  </a:lnTo>
                  <a:lnTo>
                    <a:pt x="1146" y="772"/>
                  </a:lnTo>
                  <a:lnTo>
                    <a:pt x="1146" y="772"/>
                  </a:lnTo>
                  <a:lnTo>
                    <a:pt x="1146" y="772"/>
                  </a:lnTo>
                  <a:lnTo>
                    <a:pt x="1146" y="772"/>
                  </a:lnTo>
                  <a:lnTo>
                    <a:pt x="1146" y="772"/>
                  </a:lnTo>
                  <a:lnTo>
                    <a:pt x="1146" y="772"/>
                  </a:lnTo>
                  <a:lnTo>
                    <a:pt x="1144" y="772"/>
                  </a:lnTo>
                  <a:lnTo>
                    <a:pt x="1144" y="772"/>
                  </a:lnTo>
                  <a:lnTo>
                    <a:pt x="1144" y="772"/>
                  </a:lnTo>
                  <a:lnTo>
                    <a:pt x="1144" y="772"/>
                  </a:lnTo>
                  <a:lnTo>
                    <a:pt x="1144" y="772"/>
                  </a:lnTo>
                  <a:lnTo>
                    <a:pt x="1144" y="769"/>
                  </a:lnTo>
                  <a:lnTo>
                    <a:pt x="1144" y="769"/>
                  </a:lnTo>
                  <a:lnTo>
                    <a:pt x="1146" y="769"/>
                  </a:lnTo>
                  <a:lnTo>
                    <a:pt x="1146" y="769"/>
                  </a:lnTo>
                  <a:lnTo>
                    <a:pt x="1146" y="769"/>
                  </a:lnTo>
                  <a:lnTo>
                    <a:pt x="1146" y="769"/>
                  </a:lnTo>
                  <a:lnTo>
                    <a:pt x="1146" y="769"/>
                  </a:lnTo>
                  <a:lnTo>
                    <a:pt x="1148" y="767"/>
                  </a:lnTo>
                  <a:lnTo>
                    <a:pt x="1151" y="767"/>
                  </a:lnTo>
                  <a:lnTo>
                    <a:pt x="1151" y="767"/>
                  </a:lnTo>
                  <a:lnTo>
                    <a:pt x="1151" y="767"/>
                  </a:lnTo>
                  <a:lnTo>
                    <a:pt x="1151" y="767"/>
                  </a:lnTo>
                  <a:lnTo>
                    <a:pt x="1151" y="765"/>
                  </a:lnTo>
                  <a:lnTo>
                    <a:pt x="1153" y="765"/>
                  </a:lnTo>
                  <a:lnTo>
                    <a:pt x="1153" y="765"/>
                  </a:lnTo>
                  <a:lnTo>
                    <a:pt x="1153" y="765"/>
                  </a:lnTo>
                  <a:lnTo>
                    <a:pt x="1155" y="765"/>
                  </a:lnTo>
                  <a:lnTo>
                    <a:pt x="1155" y="765"/>
                  </a:lnTo>
                  <a:lnTo>
                    <a:pt x="1155" y="765"/>
                  </a:lnTo>
                  <a:lnTo>
                    <a:pt x="1155" y="765"/>
                  </a:lnTo>
                  <a:lnTo>
                    <a:pt x="1155" y="765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57" y="763"/>
                  </a:lnTo>
                  <a:lnTo>
                    <a:pt x="1160" y="763"/>
                  </a:lnTo>
                  <a:lnTo>
                    <a:pt x="1160" y="763"/>
                  </a:lnTo>
                  <a:lnTo>
                    <a:pt x="1160" y="763"/>
                  </a:lnTo>
                  <a:lnTo>
                    <a:pt x="1160" y="763"/>
                  </a:lnTo>
                  <a:lnTo>
                    <a:pt x="1160" y="763"/>
                  </a:lnTo>
                  <a:lnTo>
                    <a:pt x="1157" y="763"/>
                  </a:lnTo>
                  <a:lnTo>
                    <a:pt x="1160" y="763"/>
                  </a:lnTo>
                  <a:lnTo>
                    <a:pt x="1160" y="763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60" y="760"/>
                  </a:lnTo>
                  <a:lnTo>
                    <a:pt x="1157" y="760"/>
                  </a:lnTo>
                  <a:lnTo>
                    <a:pt x="1157" y="760"/>
                  </a:lnTo>
                  <a:lnTo>
                    <a:pt x="1157" y="760"/>
                  </a:lnTo>
                  <a:lnTo>
                    <a:pt x="1160" y="760"/>
                  </a:lnTo>
                  <a:lnTo>
                    <a:pt x="1157" y="760"/>
                  </a:lnTo>
                  <a:lnTo>
                    <a:pt x="1157" y="760"/>
                  </a:lnTo>
                  <a:lnTo>
                    <a:pt x="1157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3" y="763"/>
                  </a:lnTo>
                  <a:lnTo>
                    <a:pt x="1153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3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5" y="758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4"/>
                  </a:lnTo>
                  <a:lnTo>
                    <a:pt x="1153" y="754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6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58"/>
                  </a:lnTo>
                  <a:lnTo>
                    <a:pt x="1153" y="760"/>
                  </a:lnTo>
                  <a:lnTo>
                    <a:pt x="1155" y="760"/>
                  </a:lnTo>
                  <a:lnTo>
                    <a:pt x="1155" y="760"/>
                  </a:lnTo>
                  <a:lnTo>
                    <a:pt x="1153" y="760"/>
                  </a:lnTo>
                  <a:lnTo>
                    <a:pt x="1153" y="760"/>
                  </a:lnTo>
                  <a:lnTo>
                    <a:pt x="1153" y="763"/>
                  </a:lnTo>
                  <a:lnTo>
                    <a:pt x="1151" y="763"/>
                  </a:lnTo>
                  <a:lnTo>
                    <a:pt x="1151" y="763"/>
                  </a:lnTo>
                  <a:lnTo>
                    <a:pt x="1151" y="763"/>
                  </a:lnTo>
                  <a:lnTo>
                    <a:pt x="1153" y="763"/>
                  </a:lnTo>
                  <a:lnTo>
                    <a:pt x="1151" y="763"/>
                  </a:lnTo>
                  <a:lnTo>
                    <a:pt x="1151" y="763"/>
                  </a:lnTo>
                  <a:lnTo>
                    <a:pt x="1151" y="763"/>
                  </a:lnTo>
                  <a:lnTo>
                    <a:pt x="1151" y="763"/>
                  </a:lnTo>
                  <a:lnTo>
                    <a:pt x="1151" y="765"/>
                  </a:lnTo>
                  <a:lnTo>
                    <a:pt x="1151" y="765"/>
                  </a:lnTo>
                  <a:lnTo>
                    <a:pt x="1151" y="765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8" y="765"/>
                  </a:lnTo>
                  <a:lnTo>
                    <a:pt x="1146" y="765"/>
                  </a:lnTo>
                  <a:lnTo>
                    <a:pt x="1146" y="765"/>
                  </a:lnTo>
                  <a:lnTo>
                    <a:pt x="1146" y="765"/>
                  </a:lnTo>
                  <a:lnTo>
                    <a:pt x="1146" y="765"/>
                  </a:lnTo>
                  <a:lnTo>
                    <a:pt x="1144" y="767"/>
                  </a:lnTo>
                  <a:lnTo>
                    <a:pt x="1144" y="767"/>
                  </a:lnTo>
                  <a:lnTo>
                    <a:pt x="1144" y="767"/>
                  </a:lnTo>
                  <a:lnTo>
                    <a:pt x="1139" y="767"/>
                  </a:lnTo>
                  <a:lnTo>
                    <a:pt x="1137" y="769"/>
                  </a:lnTo>
                  <a:lnTo>
                    <a:pt x="1133" y="772"/>
                  </a:lnTo>
                  <a:lnTo>
                    <a:pt x="1133" y="772"/>
                  </a:lnTo>
                  <a:lnTo>
                    <a:pt x="1133" y="772"/>
                  </a:lnTo>
                  <a:lnTo>
                    <a:pt x="1133" y="772"/>
                  </a:lnTo>
                  <a:lnTo>
                    <a:pt x="1133" y="772"/>
                  </a:lnTo>
                  <a:lnTo>
                    <a:pt x="1133" y="772"/>
                  </a:lnTo>
                  <a:lnTo>
                    <a:pt x="1133" y="772"/>
                  </a:lnTo>
                  <a:lnTo>
                    <a:pt x="1130" y="772"/>
                  </a:lnTo>
                  <a:lnTo>
                    <a:pt x="1130" y="774"/>
                  </a:lnTo>
                  <a:lnTo>
                    <a:pt x="1130" y="774"/>
                  </a:lnTo>
                  <a:lnTo>
                    <a:pt x="1128" y="774"/>
                  </a:lnTo>
                  <a:lnTo>
                    <a:pt x="1128" y="774"/>
                  </a:lnTo>
                  <a:lnTo>
                    <a:pt x="1128" y="774"/>
                  </a:lnTo>
                  <a:lnTo>
                    <a:pt x="1128" y="774"/>
                  </a:lnTo>
                  <a:lnTo>
                    <a:pt x="1126" y="774"/>
                  </a:lnTo>
                  <a:lnTo>
                    <a:pt x="1126" y="774"/>
                  </a:lnTo>
                  <a:lnTo>
                    <a:pt x="1126" y="774"/>
                  </a:lnTo>
                  <a:lnTo>
                    <a:pt x="1126" y="774"/>
                  </a:lnTo>
                  <a:lnTo>
                    <a:pt x="1126" y="774"/>
                  </a:lnTo>
                  <a:lnTo>
                    <a:pt x="1124" y="776"/>
                  </a:lnTo>
                  <a:lnTo>
                    <a:pt x="1124" y="776"/>
                  </a:lnTo>
                  <a:lnTo>
                    <a:pt x="1124" y="776"/>
                  </a:lnTo>
                  <a:lnTo>
                    <a:pt x="1124" y="774"/>
                  </a:lnTo>
                  <a:lnTo>
                    <a:pt x="1124" y="774"/>
                  </a:lnTo>
                  <a:lnTo>
                    <a:pt x="1124" y="774"/>
                  </a:lnTo>
                  <a:lnTo>
                    <a:pt x="1124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4" y="772"/>
                  </a:lnTo>
                  <a:lnTo>
                    <a:pt x="1124" y="772"/>
                  </a:lnTo>
                  <a:lnTo>
                    <a:pt x="1124" y="772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4" y="769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21" y="772"/>
                  </a:lnTo>
                  <a:lnTo>
                    <a:pt x="1119" y="772"/>
                  </a:lnTo>
                  <a:lnTo>
                    <a:pt x="1119" y="772"/>
                  </a:lnTo>
                  <a:lnTo>
                    <a:pt x="1119" y="772"/>
                  </a:lnTo>
                  <a:lnTo>
                    <a:pt x="1119" y="774"/>
                  </a:lnTo>
                  <a:lnTo>
                    <a:pt x="1119" y="774"/>
                  </a:lnTo>
                  <a:lnTo>
                    <a:pt x="1119" y="774"/>
                  </a:lnTo>
                  <a:lnTo>
                    <a:pt x="1119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21" y="774"/>
                  </a:lnTo>
                  <a:lnTo>
                    <a:pt x="1119" y="776"/>
                  </a:lnTo>
                  <a:lnTo>
                    <a:pt x="1119" y="776"/>
                  </a:lnTo>
                  <a:lnTo>
                    <a:pt x="1119" y="776"/>
                  </a:lnTo>
                  <a:lnTo>
                    <a:pt x="1119" y="776"/>
                  </a:lnTo>
                  <a:lnTo>
                    <a:pt x="1119" y="776"/>
                  </a:lnTo>
                  <a:lnTo>
                    <a:pt x="1119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7" y="776"/>
                  </a:lnTo>
                  <a:lnTo>
                    <a:pt x="1115" y="776"/>
                  </a:lnTo>
                  <a:lnTo>
                    <a:pt x="1115" y="776"/>
                  </a:lnTo>
                  <a:lnTo>
                    <a:pt x="1115" y="778"/>
                  </a:lnTo>
                  <a:lnTo>
                    <a:pt x="1115" y="778"/>
                  </a:lnTo>
                  <a:lnTo>
                    <a:pt x="1115" y="778"/>
                  </a:lnTo>
                  <a:lnTo>
                    <a:pt x="1115" y="778"/>
                  </a:lnTo>
                  <a:lnTo>
                    <a:pt x="1115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8"/>
                  </a:lnTo>
                  <a:lnTo>
                    <a:pt x="1113" y="776"/>
                  </a:lnTo>
                  <a:lnTo>
                    <a:pt x="1113" y="776"/>
                  </a:lnTo>
                  <a:lnTo>
                    <a:pt x="1113" y="776"/>
                  </a:lnTo>
                  <a:lnTo>
                    <a:pt x="1113" y="776"/>
                  </a:lnTo>
                  <a:lnTo>
                    <a:pt x="1113" y="776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8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8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4" y="778"/>
                  </a:lnTo>
                  <a:lnTo>
                    <a:pt x="1104" y="778"/>
                  </a:lnTo>
                  <a:lnTo>
                    <a:pt x="1104" y="778"/>
                  </a:lnTo>
                  <a:lnTo>
                    <a:pt x="1106" y="778"/>
                  </a:lnTo>
                  <a:lnTo>
                    <a:pt x="1106" y="778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6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4" y="776"/>
                  </a:lnTo>
                  <a:lnTo>
                    <a:pt x="1101" y="776"/>
                  </a:lnTo>
                  <a:lnTo>
                    <a:pt x="1101" y="778"/>
                  </a:lnTo>
                  <a:lnTo>
                    <a:pt x="1101" y="778"/>
                  </a:lnTo>
                  <a:lnTo>
                    <a:pt x="1101" y="778"/>
                  </a:lnTo>
                  <a:lnTo>
                    <a:pt x="1101" y="778"/>
                  </a:lnTo>
                  <a:lnTo>
                    <a:pt x="1101" y="776"/>
                  </a:lnTo>
                  <a:lnTo>
                    <a:pt x="1101" y="776"/>
                  </a:lnTo>
                  <a:lnTo>
                    <a:pt x="1101" y="776"/>
                  </a:lnTo>
                  <a:lnTo>
                    <a:pt x="1101" y="776"/>
                  </a:lnTo>
                  <a:lnTo>
                    <a:pt x="1101" y="774"/>
                  </a:lnTo>
                  <a:lnTo>
                    <a:pt x="1101" y="774"/>
                  </a:lnTo>
                  <a:lnTo>
                    <a:pt x="1101" y="776"/>
                  </a:lnTo>
                  <a:lnTo>
                    <a:pt x="1101" y="774"/>
                  </a:lnTo>
                  <a:lnTo>
                    <a:pt x="1101" y="774"/>
                  </a:lnTo>
                  <a:lnTo>
                    <a:pt x="1101" y="774"/>
                  </a:lnTo>
                  <a:lnTo>
                    <a:pt x="1101" y="774"/>
                  </a:lnTo>
                  <a:lnTo>
                    <a:pt x="1101" y="774"/>
                  </a:lnTo>
                  <a:lnTo>
                    <a:pt x="1101" y="774"/>
                  </a:lnTo>
                  <a:lnTo>
                    <a:pt x="1101" y="776"/>
                  </a:lnTo>
                  <a:lnTo>
                    <a:pt x="1101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9" y="776"/>
                  </a:lnTo>
                  <a:lnTo>
                    <a:pt x="1097" y="776"/>
                  </a:lnTo>
                  <a:lnTo>
                    <a:pt x="1097" y="776"/>
                  </a:lnTo>
                  <a:lnTo>
                    <a:pt x="1097" y="776"/>
                  </a:lnTo>
                  <a:lnTo>
                    <a:pt x="1097" y="774"/>
                  </a:lnTo>
                  <a:lnTo>
                    <a:pt x="1095" y="774"/>
                  </a:lnTo>
                  <a:lnTo>
                    <a:pt x="1095" y="774"/>
                  </a:lnTo>
                  <a:lnTo>
                    <a:pt x="1095" y="774"/>
                  </a:lnTo>
                  <a:lnTo>
                    <a:pt x="1097" y="772"/>
                  </a:lnTo>
                  <a:lnTo>
                    <a:pt x="1097" y="772"/>
                  </a:lnTo>
                  <a:lnTo>
                    <a:pt x="1097" y="772"/>
                  </a:lnTo>
                  <a:lnTo>
                    <a:pt x="1097" y="769"/>
                  </a:lnTo>
                  <a:lnTo>
                    <a:pt x="1097" y="769"/>
                  </a:lnTo>
                  <a:lnTo>
                    <a:pt x="1097" y="767"/>
                  </a:lnTo>
                  <a:lnTo>
                    <a:pt x="1097" y="767"/>
                  </a:lnTo>
                  <a:lnTo>
                    <a:pt x="1099" y="767"/>
                  </a:lnTo>
                  <a:lnTo>
                    <a:pt x="1099" y="767"/>
                  </a:lnTo>
                  <a:lnTo>
                    <a:pt x="1099" y="767"/>
                  </a:lnTo>
                  <a:lnTo>
                    <a:pt x="1099" y="765"/>
                  </a:lnTo>
                  <a:lnTo>
                    <a:pt x="1097" y="765"/>
                  </a:lnTo>
                  <a:lnTo>
                    <a:pt x="1097" y="765"/>
                  </a:lnTo>
                  <a:lnTo>
                    <a:pt x="1097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5" y="765"/>
                  </a:lnTo>
                  <a:lnTo>
                    <a:pt x="1092" y="765"/>
                  </a:lnTo>
                  <a:lnTo>
                    <a:pt x="1092" y="765"/>
                  </a:lnTo>
                  <a:lnTo>
                    <a:pt x="1092" y="765"/>
                  </a:lnTo>
                  <a:lnTo>
                    <a:pt x="1092" y="765"/>
                  </a:lnTo>
                  <a:lnTo>
                    <a:pt x="1092" y="763"/>
                  </a:lnTo>
                  <a:lnTo>
                    <a:pt x="1092" y="763"/>
                  </a:lnTo>
                  <a:lnTo>
                    <a:pt x="1092" y="763"/>
                  </a:lnTo>
                  <a:lnTo>
                    <a:pt x="1092" y="763"/>
                  </a:lnTo>
                  <a:lnTo>
                    <a:pt x="1092" y="760"/>
                  </a:lnTo>
                  <a:lnTo>
                    <a:pt x="1095" y="760"/>
                  </a:lnTo>
                  <a:lnTo>
                    <a:pt x="1095" y="760"/>
                  </a:lnTo>
                  <a:lnTo>
                    <a:pt x="1095" y="760"/>
                  </a:lnTo>
                  <a:lnTo>
                    <a:pt x="1095" y="760"/>
                  </a:lnTo>
                  <a:lnTo>
                    <a:pt x="1095" y="760"/>
                  </a:lnTo>
                  <a:lnTo>
                    <a:pt x="1095" y="760"/>
                  </a:lnTo>
                  <a:lnTo>
                    <a:pt x="1095" y="758"/>
                  </a:lnTo>
                  <a:lnTo>
                    <a:pt x="1095" y="758"/>
                  </a:lnTo>
                  <a:lnTo>
                    <a:pt x="1095" y="758"/>
                  </a:lnTo>
                  <a:lnTo>
                    <a:pt x="1095" y="758"/>
                  </a:lnTo>
                  <a:lnTo>
                    <a:pt x="1095" y="758"/>
                  </a:lnTo>
                  <a:lnTo>
                    <a:pt x="1095" y="758"/>
                  </a:lnTo>
                  <a:lnTo>
                    <a:pt x="1095" y="758"/>
                  </a:lnTo>
                  <a:lnTo>
                    <a:pt x="1097" y="754"/>
                  </a:lnTo>
                  <a:lnTo>
                    <a:pt x="1097" y="751"/>
                  </a:lnTo>
                  <a:lnTo>
                    <a:pt x="1097" y="749"/>
                  </a:lnTo>
                  <a:lnTo>
                    <a:pt x="1099" y="745"/>
                  </a:lnTo>
                  <a:lnTo>
                    <a:pt x="1099" y="742"/>
                  </a:lnTo>
                  <a:lnTo>
                    <a:pt x="1101" y="738"/>
                  </a:lnTo>
                  <a:lnTo>
                    <a:pt x="1101" y="736"/>
                  </a:lnTo>
                  <a:lnTo>
                    <a:pt x="1104" y="734"/>
                  </a:lnTo>
                  <a:lnTo>
                    <a:pt x="1104" y="731"/>
                  </a:lnTo>
                  <a:lnTo>
                    <a:pt x="1104" y="731"/>
                  </a:lnTo>
                  <a:lnTo>
                    <a:pt x="1101" y="731"/>
                  </a:lnTo>
                  <a:lnTo>
                    <a:pt x="1101" y="731"/>
                  </a:lnTo>
                  <a:lnTo>
                    <a:pt x="1101" y="731"/>
                  </a:lnTo>
                  <a:lnTo>
                    <a:pt x="1101" y="729"/>
                  </a:lnTo>
                  <a:lnTo>
                    <a:pt x="1101" y="729"/>
                  </a:lnTo>
                  <a:lnTo>
                    <a:pt x="1101" y="729"/>
                  </a:lnTo>
                  <a:lnTo>
                    <a:pt x="1101" y="729"/>
                  </a:lnTo>
                  <a:lnTo>
                    <a:pt x="1101" y="729"/>
                  </a:lnTo>
                  <a:lnTo>
                    <a:pt x="1099" y="727"/>
                  </a:lnTo>
                  <a:lnTo>
                    <a:pt x="1099" y="727"/>
                  </a:lnTo>
                  <a:lnTo>
                    <a:pt x="1099" y="727"/>
                  </a:lnTo>
                  <a:lnTo>
                    <a:pt x="1099" y="727"/>
                  </a:lnTo>
                  <a:lnTo>
                    <a:pt x="1099" y="727"/>
                  </a:lnTo>
                  <a:lnTo>
                    <a:pt x="1099" y="727"/>
                  </a:lnTo>
                  <a:lnTo>
                    <a:pt x="1099" y="725"/>
                  </a:lnTo>
                  <a:lnTo>
                    <a:pt x="1097" y="725"/>
                  </a:lnTo>
                  <a:lnTo>
                    <a:pt x="1097" y="725"/>
                  </a:lnTo>
                  <a:lnTo>
                    <a:pt x="1095" y="725"/>
                  </a:lnTo>
                  <a:lnTo>
                    <a:pt x="1095" y="727"/>
                  </a:lnTo>
                  <a:lnTo>
                    <a:pt x="1095" y="727"/>
                  </a:lnTo>
                  <a:lnTo>
                    <a:pt x="1095" y="727"/>
                  </a:lnTo>
                  <a:lnTo>
                    <a:pt x="1095" y="727"/>
                  </a:lnTo>
                  <a:lnTo>
                    <a:pt x="1095" y="727"/>
                  </a:lnTo>
                  <a:lnTo>
                    <a:pt x="1092" y="727"/>
                  </a:lnTo>
                  <a:lnTo>
                    <a:pt x="1092" y="727"/>
                  </a:lnTo>
                  <a:lnTo>
                    <a:pt x="1092" y="727"/>
                  </a:lnTo>
                  <a:lnTo>
                    <a:pt x="1092" y="727"/>
                  </a:lnTo>
                  <a:lnTo>
                    <a:pt x="1092" y="727"/>
                  </a:lnTo>
                  <a:lnTo>
                    <a:pt x="1092" y="727"/>
                  </a:lnTo>
                  <a:lnTo>
                    <a:pt x="1090" y="727"/>
                  </a:lnTo>
                  <a:lnTo>
                    <a:pt x="1090" y="727"/>
                  </a:lnTo>
                  <a:lnTo>
                    <a:pt x="1090" y="727"/>
                  </a:lnTo>
                  <a:lnTo>
                    <a:pt x="1088" y="727"/>
                  </a:lnTo>
                  <a:lnTo>
                    <a:pt x="1088" y="729"/>
                  </a:lnTo>
                  <a:lnTo>
                    <a:pt x="1088" y="727"/>
                  </a:lnTo>
                  <a:lnTo>
                    <a:pt x="1086" y="729"/>
                  </a:lnTo>
                  <a:lnTo>
                    <a:pt x="1083" y="729"/>
                  </a:lnTo>
                  <a:lnTo>
                    <a:pt x="1083" y="729"/>
                  </a:lnTo>
                  <a:lnTo>
                    <a:pt x="1081" y="727"/>
                  </a:lnTo>
                  <a:lnTo>
                    <a:pt x="1081" y="727"/>
                  </a:lnTo>
                  <a:lnTo>
                    <a:pt x="1081" y="727"/>
                  </a:lnTo>
                  <a:lnTo>
                    <a:pt x="1081" y="727"/>
                  </a:lnTo>
                  <a:lnTo>
                    <a:pt x="1083" y="725"/>
                  </a:lnTo>
                  <a:lnTo>
                    <a:pt x="1083" y="725"/>
                  </a:lnTo>
                  <a:lnTo>
                    <a:pt x="1083" y="725"/>
                  </a:lnTo>
                  <a:lnTo>
                    <a:pt x="1079" y="722"/>
                  </a:lnTo>
                  <a:lnTo>
                    <a:pt x="1079" y="722"/>
                  </a:lnTo>
                  <a:lnTo>
                    <a:pt x="1079" y="722"/>
                  </a:lnTo>
                  <a:lnTo>
                    <a:pt x="1079" y="722"/>
                  </a:lnTo>
                  <a:lnTo>
                    <a:pt x="1077" y="725"/>
                  </a:lnTo>
                  <a:lnTo>
                    <a:pt x="1074" y="727"/>
                  </a:lnTo>
                  <a:lnTo>
                    <a:pt x="1072" y="729"/>
                  </a:lnTo>
                  <a:lnTo>
                    <a:pt x="1070" y="731"/>
                  </a:lnTo>
                  <a:lnTo>
                    <a:pt x="1068" y="734"/>
                  </a:lnTo>
                  <a:lnTo>
                    <a:pt x="1065" y="736"/>
                  </a:lnTo>
                  <a:lnTo>
                    <a:pt x="1063" y="738"/>
                  </a:lnTo>
                  <a:lnTo>
                    <a:pt x="1059" y="740"/>
                  </a:lnTo>
                  <a:lnTo>
                    <a:pt x="1059" y="740"/>
                  </a:lnTo>
                  <a:lnTo>
                    <a:pt x="1059" y="742"/>
                  </a:lnTo>
                  <a:lnTo>
                    <a:pt x="1059" y="742"/>
                  </a:lnTo>
                  <a:lnTo>
                    <a:pt x="1056" y="745"/>
                  </a:lnTo>
                  <a:lnTo>
                    <a:pt x="1056" y="747"/>
                  </a:lnTo>
                  <a:lnTo>
                    <a:pt x="1056" y="747"/>
                  </a:lnTo>
                  <a:lnTo>
                    <a:pt x="1054" y="749"/>
                  </a:lnTo>
                  <a:lnTo>
                    <a:pt x="1054" y="749"/>
                  </a:lnTo>
                  <a:lnTo>
                    <a:pt x="1052" y="749"/>
                  </a:lnTo>
                  <a:lnTo>
                    <a:pt x="1052" y="749"/>
                  </a:lnTo>
                  <a:lnTo>
                    <a:pt x="1052" y="749"/>
                  </a:lnTo>
                  <a:lnTo>
                    <a:pt x="1052" y="749"/>
                  </a:lnTo>
                  <a:lnTo>
                    <a:pt x="1052" y="749"/>
                  </a:lnTo>
                  <a:lnTo>
                    <a:pt x="1052" y="749"/>
                  </a:lnTo>
                  <a:lnTo>
                    <a:pt x="1052" y="751"/>
                  </a:lnTo>
                  <a:lnTo>
                    <a:pt x="1050" y="751"/>
                  </a:lnTo>
                  <a:lnTo>
                    <a:pt x="1050" y="751"/>
                  </a:lnTo>
                  <a:lnTo>
                    <a:pt x="1050" y="751"/>
                  </a:lnTo>
                  <a:lnTo>
                    <a:pt x="1050" y="754"/>
                  </a:lnTo>
                  <a:lnTo>
                    <a:pt x="1050" y="754"/>
                  </a:lnTo>
                  <a:lnTo>
                    <a:pt x="1050" y="754"/>
                  </a:lnTo>
                  <a:lnTo>
                    <a:pt x="1050" y="754"/>
                  </a:lnTo>
                  <a:lnTo>
                    <a:pt x="1050" y="754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6"/>
                  </a:lnTo>
                  <a:lnTo>
                    <a:pt x="1047" y="758"/>
                  </a:lnTo>
                  <a:lnTo>
                    <a:pt x="1047" y="758"/>
                  </a:lnTo>
                  <a:lnTo>
                    <a:pt x="1047" y="758"/>
                  </a:lnTo>
                  <a:lnTo>
                    <a:pt x="1047" y="758"/>
                  </a:lnTo>
                  <a:lnTo>
                    <a:pt x="1047" y="758"/>
                  </a:lnTo>
                  <a:lnTo>
                    <a:pt x="1047" y="758"/>
                  </a:lnTo>
                  <a:lnTo>
                    <a:pt x="1047" y="760"/>
                  </a:lnTo>
                  <a:lnTo>
                    <a:pt x="1047" y="760"/>
                  </a:lnTo>
                  <a:lnTo>
                    <a:pt x="1045" y="760"/>
                  </a:lnTo>
                  <a:lnTo>
                    <a:pt x="1045" y="760"/>
                  </a:lnTo>
                  <a:lnTo>
                    <a:pt x="1045" y="760"/>
                  </a:lnTo>
                  <a:lnTo>
                    <a:pt x="1045" y="763"/>
                  </a:lnTo>
                  <a:lnTo>
                    <a:pt x="1045" y="763"/>
                  </a:lnTo>
                  <a:lnTo>
                    <a:pt x="1045" y="763"/>
                  </a:lnTo>
                  <a:lnTo>
                    <a:pt x="1045" y="763"/>
                  </a:lnTo>
                  <a:lnTo>
                    <a:pt x="1043" y="763"/>
                  </a:lnTo>
                  <a:lnTo>
                    <a:pt x="1043" y="763"/>
                  </a:lnTo>
                  <a:lnTo>
                    <a:pt x="1043" y="763"/>
                  </a:lnTo>
                  <a:lnTo>
                    <a:pt x="1043" y="763"/>
                  </a:lnTo>
                  <a:lnTo>
                    <a:pt x="1043" y="763"/>
                  </a:lnTo>
                  <a:lnTo>
                    <a:pt x="1043" y="763"/>
                  </a:lnTo>
                  <a:lnTo>
                    <a:pt x="1043" y="763"/>
                  </a:lnTo>
                  <a:lnTo>
                    <a:pt x="1041" y="765"/>
                  </a:lnTo>
                  <a:lnTo>
                    <a:pt x="1041" y="765"/>
                  </a:lnTo>
                  <a:lnTo>
                    <a:pt x="1041" y="765"/>
                  </a:lnTo>
                  <a:lnTo>
                    <a:pt x="1036" y="767"/>
                  </a:lnTo>
                  <a:lnTo>
                    <a:pt x="1036" y="767"/>
                  </a:lnTo>
                  <a:lnTo>
                    <a:pt x="1036" y="769"/>
                  </a:lnTo>
                  <a:lnTo>
                    <a:pt x="1036" y="769"/>
                  </a:lnTo>
                  <a:lnTo>
                    <a:pt x="1036" y="769"/>
                  </a:lnTo>
                  <a:lnTo>
                    <a:pt x="1036" y="769"/>
                  </a:lnTo>
                  <a:lnTo>
                    <a:pt x="1036" y="769"/>
                  </a:lnTo>
                  <a:lnTo>
                    <a:pt x="1036" y="772"/>
                  </a:lnTo>
                  <a:lnTo>
                    <a:pt x="1036" y="772"/>
                  </a:lnTo>
                  <a:lnTo>
                    <a:pt x="1036" y="772"/>
                  </a:lnTo>
                  <a:lnTo>
                    <a:pt x="1036" y="772"/>
                  </a:lnTo>
                  <a:lnTo>
                    <a:pt x="1036" y="772"/>
                  </a:lnTo>
                  <a:lnTo>
                    <a:pt x="1034" y="769"/>
                  </a:lnTo>
                  <a:lnTo>
                    <a:pt x="1034" y="769"/>
                  </a:lnTo>
                  <a:lnTo>
                    <a:pt x="1034" y="769"/>
                  </a:lnTo>
                  <a:lnTo>
                    <a:pt x="1034" y="769"/>
                  </a:lnTo>
                  <a:lnTo>
                    <a:pt x="1034" y="769"/>
                  </a:lnTo>
                  <a:lnTo>
                    <a:pt x="1034" y="772"/>
                  </a:lnTo>
                  <a:lnTo>
                    <a:pt x="1034" y="772"/>
                  </a:lnTo>
                  <a:lnTo>
                    <a:pt x="1032" y="772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32" y="774"/>
                  </a:lnTo>
                  <a:lnTo>
                    <a:pt x="1029" y="774"/>
                  </a:lnTo>
                  <a:lnTo>
                    <a:pt x="1029" y="772"/>
                  </a:lnTo>
                  <a:lnTo>
                    <a:pt x="1029" y="772"/>
                  </a:lnTo>
                  <a:lnTo>
                    <a:pt x="1029" y="772"/>
                  </a:lnTo>
                  <a:lnTo>
                    <a:pt x="1029" y="772"/>
                  </a:lnTo>
                  <a:lnTo>
                    <a:pt x="1029" y="772"/>
                  </a:lnTo>
                  <a:lnTo>
                    <a:pt x="1029" y="772"/>
                  </a:lnTo>
                  <a:lnTo>
                    <a:pt x="1027" y="774"/>
                  </a:lnTo>
                  <a:lnTo>
                    <a:pt x="1027" y="774"/>
                  </a:lnTo>
                  <a:lnTo>
                    <a:pt x="1027" y="774"/>
                  </a:lnTo>
                  <a:lnTo>
                    <a:pt x="1027" y="774"/>
                  </a:lnTo>
                  <a:lnTo>
                    <a:pt x="1027" y="774"/>
                  </a:lnTo>
                  <a:lnTo>
                    <a:pt x="1027" y="774"/>
                  </a:lnTo>
                  <a:lnTo>
                    <a:pt x="1025" y="774"/>
                  </a:lnTo>
                  <a:lnTo>
                    <a:pt x="1025" y="774"/>
                  </a:lnTo>
                  <a:lnTo>
                    <a:pt x="1025" y="774"/>
                  </a:lnTo>
                  <a:lnTo>
                    <a:pt x="1023" y="774"/>
                  </a:lnTo>
                  <a:lnTo>
                    <a:pt x="1023" y="774"/>
                  </a:lnTo>
                  <a:lnTo>
                    <a:pt x="1023" y="774"/>
                  </a:lnTo>
                  <a:lnTo>
                    <a:pt x="1023" y="774"/>
                  </a:lnTo>
                  <a:lnTo>
                    <a:pt x="1023" y="774"/>
                  </a:lnTo>
                  <a:lnTo>
                    <a:pt x="1020" y="774"/>
                  </a:lnTo>
                  <a:lnTo>
                    <a:pt x="1020" y="774"/>
                  </a:lnTo>
                  <a:lnTo>
                    <a:pt x="1020" y="774"/>
                  </a:lnTo>
                  <a:lnTo>
                    <a:pt x="1020" y="774"/>
                  </a:lnTo>
                  <a:lnTo>
                    <a:pt x="1020" y="776"/>
                  </a:lnTo>
                  <a:lnTo>
                    <a:pt x="1020" y="776"/>
                  </a:lnTo>
                  <a:lnTo>
                    <a:pt x="1020" y="776"/>
                  </a:lnTo>
                  <a:lnTo>
                    <a:pt x="1020" y="776"/>
                  </a:lnTo>
                  <a:lnTo>
                    <a:pt x="1018" y="776"/>
                  </a:lnTo>
                  <a:lnTo>
                    <a:pt x="1018" y="778"/>
                  </a:lnTo>
                  <a:lnTo>
                    <a:pt x="1018" y="778"/>
                  </a:lnTo>
                  <a:lnTo>
                    <a:pt x="1018" y="778"/>
                  </a:lnTo>
                  <a:lnTo>
                    <a:pt x="1018" y="778"/>
                  </a:lnTo>
                  <a:lnTo>
                    <a:pt x="1018" y="781"/>
                  </a:lnTo>
                  <a:lnTo>
                    <a:pt x="1016" y="781"/>
                  </a:lnTo>
                  <a:lnTo>
                    <a:pt x="1014" y="781"/>
                  </a:lnTo>
                  <a:lnTo>
                    <a:pt x="1011" y="781"/>
                  </a:lnTo>
                  <a:lnTo>
                    <a:pt x="1009" y="781"/>
                  </a:lnTo>
                  <a:lnTo>
                    <a:pt x="1007" y="781"/>
                  </a:lnTo>
                  <a:lnTo>
                    <a:pt x="1007" y="781"/>
                  </a:lnTo>
                  <a:lnTo>
                    <a:pt x="1005" y="781"/>
                  </a:lnTo>
                  <a:lnTo>
                    <a:pt x="1002" y="781"/>
                  </a:lnTo>
                  <a:lnTo>
                    <a:pt x="1000" y="781"/>
                  </a:lnTo>
                  <a:lnTo>
                    <a:pt x="998" y="781"/>
                  </a:lnTo>
                  <a:lnTo>
                    <a:pt x="996" y="781"/>
                  </a:lnTo>
                  <a:lnTo>
                    <a:pt x="996" y="781"/>
                  </a:lnTo>
                  <a:lnTo>
                    <a:pt x="993" y="781"/>
                  </a:lnTo>
                  <a:lnTo>
                    <a:pt x="991" y="781"/>
                  </a:lnTo>
                  <a:lnTo>
                    <a:pt x="989" y="781"/>
                  </a:lnTo>
                  <a:lnTo>
                    <a:pt x="987" y="781"/>
                  </a:lnTo>
                  <a:lnTo>
                    <a:pt x="984" y="781"/>
                  </a:lnTo>
                  <a:lnTo>
                    <a:pt x="984" y="781"/>
                  </a:lnTo>
                  <a:lnTo>
                    <a:pt x="982" y="781"/>
                  </a:lnTo>
                  <a:lnTo>
                    <a:pt x="980" y="781"/>
                  </a:lnTo>
                  <a:lnTo>
                    <a:pt x="978" y="781"/>
                  </a:lnTo>
                  <a:lnTo>
                    <a:pt x="975" y="781"/>
                  </a:lnTo>
                  <a:lnTo>
                    <a:pt x="973" y="781"/>
                  </a:lnTo>
                  <a:lnTo>
                    <a:pt x="973" y="781"/>
                  </a:lnTo>
                  <a:lnTo>
                    <a:pt x="971" y="781"/>
                  </a:lnTo>
                  <a:lnTo>
                    <a:pt x="969" y="781"/>
                  </a:lnTo>
                  <a:lnTo>
                    <a:pt x="966" y="781"/>
                  </a:lnTo>
                  <a:lnTo>
                    <a:pt x="964" y="781"/>
                  </a:lnTo>
                  <a:lnTo>
                    <a:pt x="962" y="781"/>
                  </a:lnTo>
                  <a:lnTo>
                    <a:pt x="962" y="781"/>
                  </a:lnTo>
                  <a:lnTo>
                    <a:pt x="960" y="781"/>
                  </a:lnTo>
                  <a:lnTo>
                    <a:pt x="957" y="781"/>
                  </a:lnTo>
                  <a:lnTo>
                    <a:pt x="957" y="781"/>
                  </a:lnTo>
                  <a:close/>
                  <a:moveTo>
                    <a:pt x="54" y="682"/>
                  </a:moveTo>
                  <a:lnTo>
                    <a:pt x="54" y="682"/>
                  </a:lnTo>
                  <a:lnTo>
                    <a:pt x="52" y="682"/>
                  </a:lnTo>
                  <a:lnTo>
                    <a:pt x="52" y="682"/>
                  </a:lnTo>
                  <a:lnTo>
                    <a:pt x="52" y="682"/>
                  </a:lnTo>
                  <a:lnTo>
                    <a:pt x="52" y="682"/>
                  </a:lnTo>
                  <a:lnTo>
                    <a:pt x="50" y="682"/>
                  </a:lnTo>
                  <a:lnTo>
                    <a:pt x="50" y="682"/>
                  </a:lnTo>
                  <a:lnTo>
                    <a:pt x="50" y="680"/>
                  </a:lnTo>
                  <a:lnTo>
                    <a:pt x="50" y="680"/>
                  </a:lnTo>
                  <a:lnTo>
                    <a:pt x="52" y="680"/>
                  </a:lnTo>
                  <a:lnTo>
                    <a:pt x="52" y="680"/>
                  </a:lnTo>
                  <a:lnTo>
                    <a:pt x="52" y="680"/>
                  </a:lnTo>
                  <a:lnTo>
                    <a:pt x="52" y="680"/>
                  </a:lnTo>
                  <a:lnTo>
                    <a:pt x="52" y="680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2"/>
                  </a:lnTo>
                  <a:close/>
                  <a:moveTo>
                    <a:pt x="104" y="680"/>
                  </a:moveTo>
                  <a:lnTo>
                    <a:pt x="104" y="680"/>
                  </a:lnTo>
                  <a:lnTo>
                    <a:pt x="104" y="680"/>
                  </a:lnTo>
                  <a:lnTo>
                    <a:pt x="102" y="680"/>
                  </a:lnTo>
                  <a:lnTo>
                    <a:pt x="104" y="680"/>
                  </a:lnTo>
                  <a:lnTo>
                    <a:pt x="104" y="680"/>
                  </a:lnTo>
                  <a:lnTo>
                    <a:pt x="104" y="680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4" y="680"/>
                  </a:lnTo>
                  <a:lnTo>
                    <a:pt x="104" y="680"/>
                  </a:lnTo>
                  <a:lnTo>
                    <a:pt x="104" y="680"/>
                  </a:lnTo>
                  <a:lnTo>
                    <a:pt x="104" y="680"/>
                  </a:lnTo>
                  <a:lnTo>
                    <a:pt x="104" y="680"/>
                  </a:lnTo>
                  <a:close/>
                  <a:moveTo>
                    <a:pt x="1362" y="677"/>
                  </a:move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5"/>
                  </a:lnTo>
                  <a:lnTo>
                    <a:pt x="1364" y="675"/>
                  </a:lnTo>
                  <a:lnTo>
                    <a:pt x="1364" y="675"/>
                  </a:lnTo>
                  <a:lnTo>
                    <a:pt x="1364" y="675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close/>
                  <a:moveTo>
                    <a:pt x="88" y="675"/>
                  </a:moveTo>
                  <a:lnTo>
                    <a:pt x="88" y="675"/>
                  </a:lnTo>
                  <a:lnTo>
                    <a:pt x="90" y="675"/>
                  </a:lnTo>
                  <a:lnTo>
                    <a:pt x="90" y="675"/>
                  </a:lnTo>
                  <a:lnTo>
                    <a:pt x="90" y="675"/>
                  </a:lnTo>
                  <a:lnTo>
                    <a:pt x="90" y="675"/>
                  </a:lnTo>
                  <a:lnTo>
                    <a:pt x="90" y="675"/>
                  </a:lnTo>
                  <a:lnTo>
                    <a:pt x="90" y="677"/>
                  </a:lnTo>
                  <a:lnTo>
                    <a:pt x="90" y="677"/>
                  </a:lnTo>
                  <a:lnTo>
                    <a:pt x="90" y="677"/>
                  </a:lnTo>
                  <a:lnTo>
                    <a:pt x="90" y="677"/>
                  </a:lnTo>
                  <a:lnTo>
                    <a:pt x="90" y="677"/>
                  </a:lnTo>
                  <a:lnTo>
                    <a:pt x="88" y="677"/>
                  </a:lnTo>
                  <a:lnTo>
                    <a:pt x="88" y="677"/>
                  </a:lnTo>
                  <a:lnTo>
                    <a:pt x="88" y="677"/>
                  </a:lnTo>
                  <a:lnTo>
                    <a:pt x="88" y="677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lnTo>
                    <a:pt x="88" y="675"/>
                  </a:lnTo>
                  <a:close/>
                  <a:moveTo>
                    <a:pt x="106" y="675"/>
                  </a:move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5"/>
                  </a:lnTo>
                  <a:lnTo>
                    <a:pt x="104" y="675"/>
                  </a:lnTo>
                  <a:lnTo>
                    <a:pt x="104" y="675"/>
                  </a:lnTo>
                  <a:lnTo>
                    <a:pt x="104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close/>
                  <a:moveTo>
                    <a:pt x="84" y="675"/>
                  </a:moveTo>
                  <a:lnTo>
                    <a:pt x="84" y="675"/>
                  </a:lnTo>
                  <a:lnTo>
                    <a:pt x="84" y="675"/>
                  </a:lnTo>
                  <a:lnTo>
                    <a:pt x="84" y="675"/>
                  </a:lnTo>
                  <a:lnTo>
                    <a:pt x="84" y="675"/>
                  </a:lnTo>
                  <a:lnTo>
                    <a:pt x="84" y="675"/>
                  </a:lnTo>
                  <a:lnTo>
                    <a:pt x="84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4" y="675"/>
                  </a:lnTo>
                  <a:lnTo>
                    <a:pt x="84" y="675"/>
                  </a:lnTo>
                  <a:lnTo>
                    <a:pt x="84" y="675"/>
                  </a:lnTo>
                  <a:lnTo>
                    <a:pt x="84" y="675"/>
                  </a:lnTo>
                  <a:close/>
                  <a:moveTo>
                    <a:pt x="1346" y="675"/>
                  </a:move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6" y="675"/>
                  </a:lnTo>
                  <a:lnTo>
                    <a:pt x="1346" y="675"/>
                  </a:lnTo>
                  <a:lnTo>
                    <a:pt x="1346" y="675"/>
                  </a:lnTo>
                  <a:close/>
                  <a:moveTo>
                    <a:pt x="81" y="675"/>
                  </a:move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79" y="675"/>
                  </a:lnTo>
                  <a:lnTo>
                    <a:pt x="79" y="675"/>
                  </a:lnTo>
                  <a:lnTo>
                    <a:pt x="81" y="673"/>
                  </a:lnTo>
                  <a:lnTo>
                    <a:pt x="81" y="673"/>
                  </a:lnTo>
                  <a:lnTo>
                    <a:pt x="81" y="673"/>
                  </a:lnTo>
                  <a:lnTo>
                    <a:pt x="81" y="673"/>
                  </a:lnTo>
                  <a:lnTo>
                    <a:pt x="81" y="673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lnTo>
                    <a:pt x="81" y="675"/>
                  </a:lnTo>
                  <a:close/>
                  <a:moveTo>
                    <a:pt x="1346" y="673"/>
                  </a:move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8" y="673"/>
                  </a:lnTo>
                  <a:lnTo>
                    <a:pt x="1348" y="673"/>
                  </a:lnTo>
                  <a:lnTo>
                    <a:pt x="1348" y="673"/>
                  </a:lnTo>
                  <a:lnTo>
                    <a:pt x="1348" y="673"/>
                  </a:lnTo>
                  <a:lnTo>
                    <a:pt x="1348" y="673"/>
                  </a:lnTo>
                  <a:lnTo>
                    <a:pt x="1348" y="673"/>
                  </a:lnTo>
                  <a:lnTo>
                    <a:pt x="1348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5"/>
                  </a:lnTo>
                  <a:lnTo>
                    <a:pt x="1346" y="675"/>
                  </a:lnTo>
                  <a:lnTo>
                    <a:pt x="1344" y="673"/>
                  </a:lnTo>
                  <a:lnTo>
                    <a:pt x="1344" y="673"/>
                  </a:lnTo>
                  <a:lnTo>
                    <a:pt x="1344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lnTo>
                    <a:pt x="1346" y="673"/>
                  </a:lnTo>
                  <a:close/>
                  <a:moveTo>
                    <a:pt x="1366" y="673"/>
                  </a:move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5"/>
                  </a:lnTo>
                  <a:lnTo>
                    <a:pt x="1364" y="675"/>
                  </a:lnTo>
                  <a:lnTo>
                    <a:pt x="1364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5"/>
                  </a:lnTo>
                  <a:lnTo>
                    <a:pt x="1360" y="673"/>
                  </a:lnTo>
                  <a:lnTo>
                    <a:pt x="1360" y="673"/>
                  </a:lnTo>
                  <a:lnTo>
                    <a:pt x="1360" y="673"/>
                  </a:lnTo>
                  <a:lnTo>
                    <a:pt x="1360" y="673"/>
                  </a:lnTo>
                  <a:lnTo>
                    <a:pt x="1360" y="673"/>
                  </a:lnTo>
                  <a:lnTo>
                    <a:pt x="1362" y="673"/>
                  </a:lnTo>
                  <a:lnTo>
                    <a:pt x="1362" y="673"/>
                  </a:lnTo>
                  <a:lnTo>
                    <a:pt x="1362" y="673"/>
                  </a:lnTo>
                  <a:lnTo>
                    <a:pt x="1362" y="673"/>
                  </a:lnTo>
                  <a:lnTo>
                    <a:pt x="1362" y="673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2" y="675"/>
                  </a:lnTo>
                  <a:lnTo>
                    <a:pt x="1364" y="675"/>
                  </a:lnTo>
                  <a:lnTo>
                    <a:pt x="1364" y="673"/>
                  </a:lnTo>
                  <a:lnTo>
                    <a:pt x="1364" y="673"/>
                  </a:lnTo>
                  <a:lnTo>
                    <a:pt x="1364" y="673"/>
                  </a:lnTo>
                  <a:lnTo>
                    <a:pt x="1364" y="673"/>
                  </a:lnTo>
                  <a:lnTo>
                    <a:pt x="1364" y="673"/>
                  </a:lnTo>
                  <a:lnTo>
                    <a:pt x="1366" y="673"/>
                  </a:lnTo>
                  <a:lnTo>
                    <a:pt x="1364" y="673"/>
                  </a:lnTo>
                  <a:lnTo>
                    <a:pt x="1364" y="673"/>
                  </a:lnTo>
                  <a:lnTo>
                    <a:pt x="1364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lnTo>
                    <a:pt x="1366" y="673"/>
                  </a:lnTo>
                  <a:close/>
                  <a:moveTo>
                    <a:pt x="1375" y="671"/>
                  </a:move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8" y="673"/>
                  </a:lnTo>
                  <a:lnTo>
                    <a:pt x="1378" y="673"/>
                  </a:lnTo>
                  <a:lnTo>
                    <a:pt x="1378" y="673"/>
                  </a:lnTo>
                  <a:lnTo>
                    <a:pt x="1378" y="673"/>
                  </a:lnTo>
                  <a:lnTo>
                    <a:pt x="1378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5" y="673"/>
                  </a:lnTo>
                  <a:lnTo>
                    <a:pt x="1373" y="673"/>
                  </a:lnTo>
                  <a:lnTo>
                    <a:pt x="1373" y="673"/>
                  </a:lnTo>
                  <a:lnTo>
                    <a:pt x="1373" y="673"/>
                  </a:lnTo>
                  <a:lnTo>
                    <a:pt x="1373" y="673"/>
                  </a:lnTo>
                  <a:lnTo>
                    <a:pt x="1373" y="673"/>
                  </a:lnTo>
                  <a:lnTo>
                    <a:pt x="1371" y="675"/>
                  </a:lnTo>
                  <a:lnTo>
                    <a:pt x="1371" y="675"/>
                  </a:lnTo>
                  <a:lnTo>
                    <a:pt x="1371" y="673"/>
                  </a:lnTo>
                  <a:lnTo>
                    <a:pt x="1371" y="673"/>
                  </a:lnTo>
                  <a:lnTo>
                    <a:pt x="1371" y="673"/>
                  </a:lnTo>
                  <a:lnTo>
                    <a:pt x="1371" y="673"/>
                  </a:lnTo>
                  <a:lnTo>
                    <a:pt x="1371" y="673"/>
                  </a:lnTo>
                  <a:lnTo>
                    <a:pt x="1371" y="671"/>
                  </a:lnTo>
                  <a:lnTo>
                    <a:pt x="1371" y="671"/>
                  </a:lnTo>
                  <a:lnTo>
                    <a:pt x="1371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1" y="671"/>
                  </a:lnTo>
                  <a:lnTo>
                    <a:pt x="1371" y="671"/>
                  </a:lnTo>
                  <a:lnTo>
                    <a:pt x="1371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1" y="671"/>
                  </a:lnTo>
                  <a:lnTo>
                    <a:pt x="1371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3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lnTo>
                    <a:pt x="1375" y="671"/>
                  </a:lnTo>
                  <a:close/>
                  <a:moveTo>
                    <a:pt x="99" y="668"/>
                  </a:move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5" y="671"/>
                  </a:lnTo>
                  <a:lnTo>
                    <a:pt x="95" y="673"/>
                  </a:lnTo>
                  <a:lnTo>
                    <a:pt x="95" y="673"/>
                  </a:lnTo>
                  <a:lnTo>
                    <a:pt x="95" y="671"/>
                  </a:lnTo>
                  <a:lnTo>
                    <a:pt x="95" y="671"/>
                  </a:lnTo>
                  <a:lnTo>
                    <a:pt x="95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68"/>
                  </a:lnTo>
                  <a:lnTo>
                    <a:pt x="97" y="668"/>
                  </a:lnTo>
                  <a:lnTo>
                    <a:pt x="99" y="668"/>
                  </a:lnTo>
                  <a:lnTo>
                    <a:pt x="99" y="668"/>
                  </a:lnTo>
                  <a:close/>
                  <a:moveTo>
                    <a:pt x="90" y="671"/>
                  </a:moveTo>
                  <a:lnTo>
                    <a:pt x="90" y="671"/>
                  </a:lnTo>
                  <a:lnTo>
                    <a:pt x="93" y="673"/>
                  </a:lnTo>
                  <a:lnTo>
                    <a:pt x="93" y="673"/>
                  </a:lnTo>
                  <a:lnTo>
                    <a:pt x="90" y="673"/>
                  </a:lnTo>
                  <a:lnTo>
                    <a:pt x="93" y="673"/>
                  </a:lnTo>
                  <a:lnTo>
                    <a:pt x="93" y="675"/>
                  </a:lnTo>
                  <a:lnTo>
                    <a:pt x="93" y="675"/>
                  </a:lnTo>
                  <a:lnTo>
                    <a:pt x="93" y="675"/>
                  </a:lnTo>
                  <a:lnTo>
                    <a:pt x="93" y="675"/>
                  </a:lnTo>
                  <a:lnTo>
                    <a:pt x="93" y="675"/>
                  </a:lnTo>
                  <a:lnTo>
                    <a:pt x="90" y="675"/>
                  </a:lnTo>
                  <a:lnTo>
                    <a:pt x="90" y="673"/>
                  </a:lnTo>
                  <a:lnTo>
                    <a:pt x="88" y="673"/>
                  </a:lnTo>
                  <a:lnTo>
                    <a:pt x="88" y="673"/>
                  </a:lnTo>
                  <a:lnTo>
                    <a:pt x="88" y="673"/>
                  </a:lnTo>
                  <a:lnTo>
                    <a:pt x="88" y="673"/>
                  </a:lnTo>
                  <a:lnTo>
                    <a:pt x="88" y="673"/>
                  </a:lnTo>
                  <a:lnTo>
                    <a:pt x="88" y="673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6" y="671"/>
                  </a:lnTo>
                  <a:lnTo>
                    <a:pt x="86" y="671"/>
                  </a:lnTo>
                  <a:lnTo>
                    <a:pt x="86" y="671"/>
                  </a:lnTo>
                  <a:lnTo>
                    <a:pt x="86" y="671"/>
                  </a:lnTo>
                  <a:lnTo>
                    <a:pt x="86" y="671"/>
                  </a:lnTo>
                  <a:lnTo>
                    <a:pt x="86" y="668"/>
                  </a:lnTo>
                  <a:lnTo>
                    <a:pt x="86" y="668"/>
                  </a:lnTo>
                  <a:lnTo>
                    <a:pt x="86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68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88" y="671"/>
                  </a:lnTo>
                  <a:lnTo>
                    <a:pt x="90" y="671"/>
                  </a:lnTo>
                  <a:lnTo>
                    <a:pt x="90" y="671"/>
                  </a:lnTo>
                  <a:lnTo>
                    <a:pt x="90" y="671"/>
                  </a:lnTo>
                  <a:lnTo>
                    <a:pt x="90" y="671"/>
                  </a:lnTo>
                  <a:close/>
                  <a:moveTo>
                    <a:pt x="50" y="668"/>
                  </a:moveTo>
                  <a:lnTo>
                    <a:pt x="50" y="668"/>
                  </a:lnTo>
                  <a:lnTo>
                    <a:pt x="50" y="668"/>
                  </a:lnTo>
                  <a:lnTo>
                    <a:pt x="50" y="668"/>
                  </a:lnTo>
                  <a:lnTo>
                    <a:pt x="50" y="668"/>
                  </a:lnTo>
                  <a:lnTo>
                    <a:pt x="50" y="668"/>
                  </a:lnTo>
                  <a:lnTo>
                    <a:pt x="50" y="668"/>
                  </a:lnTo>
                  <a:lnTo>
                    <a:pt x="50" y="671"/>
                  </a:lnTo>
                  <a:lnTo>
                    <a:pt x="50" y="671"/>
                  </a:lnTo>
                  <a:lnTo>
                    <a:pt x="50" y="671"/>
                  </a:lnTo>
                  <a:lnTo>
                    <a:pt x="50" y="673"/>
                  </a:lnTo>
                  <a:lnTo>
                    <a:pt x="50" y="673"/>
                  </a:lnTo>
                  <a:lnTo>
                    <a:pt x="48" y="673"/>
                  </a:lnTo>
                  <a:lnTo>
                    <a:pt x="48" y="673"/>
                  </a:lnTo>
                  <a:lnTo>
                    <a:pt x="45" y="673"/>
                  </a:lnTo>
                  <a:lnTo>
                    <a:pt x="45" y="673"/>
                  </a:lnTo>
                  <a:lnTo>
                    <a:pt x="45" y="673"/>
                  </a:lnTo>
                  <a:lnTo>
                    <a:pt x="45" y="673"/>
                  </a:lnTo>
                  <a:lnTo>
                    <a:pt x="45" y="671"/>
                  </a:lnTo>
                  <a:lnTo>
                    <a:pt x="43" y="671"/>
                  </a:lnTo>
                  <a:lnTo>
                    <a:pt x="45" y="671"/>
                  </a:lnTo>
                  <a:lnTo>
                    <a:pt x="45" y="671"/>
                  </a:lnTo>
                  <a:lnTo>
                    <a:pt x="45" y="671"/>
                  </a:lnTo>
                  <a:lnTo>
                    <a:pt x="45" y="671"/>
                  </a:lnTo>
                  <a:lnTo>
                    <a:pt x="45" y="671"/>
                  </a:lnTo>
                  <a:lnTo>
                    <a:pt x="45" y="671"/>
                  </a:lnTo>
                  <a:lnTo>
                    <a:pt x="45" y="671"/>
                  </a:lnTo>
                  <a:lnTo>
                    <a:pt x="45" y="668"/>
                  </a:lnTo>
                  <a:lnTo>
                    <a:pt x="48" y="668"/>
                  </a:lnTo>
                  <a:lnTo>
                    <a:pt x="48" y="668"/>
                  </a:lnTo>
                  <a:lnTo>
                    <a:pt x="48" y="668"/>
                  </a:lnTo>
                  <a:lnTo>
                    <a:pt x="48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5" y="668"/>
                  </a:lnTo>
                  <a:lnTo>
                    <a:pt x="48" y="668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8"/>
                  </a:lnTo>
                  <a:close/>
                  <a:moveTo>
                    <a:pt x="1193" y="666"/>
                  </a:moveTo>
                  <a:lnTo>
                    <a:pt x="1196" y="666"/>
                  </a:lnTo>
                  <a:lnTo>
                    <a:pt x="1196" y="666"/>
                  </a:lnTo>
                  <a:lnTo>
                    <a:pt x="1196" y="666"/>
                  </a:lnTo>
                  <a:lnTo>
                    <a:pt x="1198" y="666"/>
                  </a:lnTo>
                  <a:lnTo>
                    <a:pt x="1200" y="666"/>
                  </a:lnTo>
                  <a:lnTo>
                    <a:pt x="1202" y="668"/>
                  </a:lnTo>
                  <a:lnTo>
                    <a:pt x="1205" y="668"/>
                  </a:lnTo>
                  <a:lnTo>
                    <a:pt x="1207" y="668"/>
                  </a:lnTo>
                  <a:lnTo>
                    <a:pt x="1209" y="668"/>
                  </a:lnTo>
                  <a:lnTo>
                    <a:pt x="1211" y="668"/>
                  </a:lnTo>
                  <a:lnTo>
                    <a:pt x="1211" y="671"/>
                  </a:lnTo>
                  <a:lnTo>
                    <a:pt x="1214" y="671"/>
                  </a:lnTo>
                  <a:lnTo>
                    <a:pt x="1214" y="671"/>
                  </a:lnTo>
                  <a:lnTo>
                    <a:pt x="1214" y="671"/>
                  </a:lnTo>
                  <a:lnTo>
                    <a:pt x="1214" y="671"/>
                  </a:lnTo>
                  <a:lnTo>
                    <a:pt x="1216" y="671"/>
                  </a:lnTo>
                  <a:lnTo>
                    <a:pt x="1216" y="673"/>
                  </a:lnTo>
                  <a:lnTo>
                    <a:pt x="1216" y="673"/>
                  </a:lnTo>
                  <a:lnTo>
                    <a:pt x="1218" y="673"/>
                  </a:lnTo>
                  <a:lnTo>
                    <a:pt x="1218" y="673"/>
                  </a:lnTo>
                  <a:lnTo>
                    <a:pt x="1218" y="673"/>
                  </a:lnTo>
                  <a:lnTo>
                    <a:pt x="1218" y="673"/>
                  </a:lnTo>
                  <a:lnTo>
                    <a:pt x="1220" y="673"/>
                  </a:lnTo>
                  <a:lnTo>
                    <a:pt x="1220" y="673"/>
                  </a:lnTo>
                  <a:lnTo>
                    <a:pt x="1220" y="673"/>
                  </a:lnTo>
                  <a:lnTo>
                    <a:pt x="1220" y="675"/>
                  </a:lnTo>
                  <a:lnTo>
                    <a:pt x="1220" y="675"/>
                  </a:lnTo>
                  <a:lnTo>
                    <a:pt x="1220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5"/>
                  </a:lnTo>
                  <a:lnTo>
                    <a:pt x="1223" y="677"/>
                  </a:lnTo>
                  <a:lnTo>
                    <a:pt x="1223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5" y="677"/>
                  </a:lnTo>
                  <a:lnTo>
                    <a:pt x="1227" y="677"/>
                  </a:lnTo>
                  <a:lnTo>
                    <a:pt x="1227" y="677"/>
                  </a:lnTo>
                  <a:lnTo>
                    <a:pt x="1229" y="677"/>
                  </a:lnTo>
                  <a:lnTo>
                    <a:pt x="1229" y="680"/>
                  </a:lnTo>
                  <a:lnTo>
                    <a:pt x="1229" y="680"/>
                  </a:lnTo>
                  <a:lnTo>
                    <a:pt x="1229" y="680"/>
                  </a:lnTo>
                  <a:lnTo>
                    <a:pt x="1229" y="680"/>
                  </a:lnTo>
                  <a:lnTo>
                    <a:pt x="1229" y="680"/>
                  </a:lnTo>
                  <a:lnTo>
                    <a:pt x="1232" y="680"/>
                  </a:lnTo>
                  <a:lnTo>
                    <a:pt x="1232" y="680"/>
                  </a:lnTo>
                  <a:lnTo>
                    <a:pt x="1232" y="680"/>
                  </a:lnTo>
                  <a:lnTo>
                    <a:pt x="1232" y="680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2"/>
                  </a:lnTo>
                  <a:lnTo>
                    <a:pt x="1232" y="684"/>
                  </a:lnTo>
                  <a:lnTo>
                    <a:pt x="1234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32" y="684"/>
                  </a:lnTo>
                  <a:lnTo>
                    <a:pt x="1229" y="686"/>
                  </a:lnTo>
                  <a:lnTo>
                    <a:pt x="1229" y="686"/>
                  </a:lnTo>
                  <a:lnTo>
                    <a:pt x="1229" y="686"/>
                  </a:lnTo>
                  <a:lnTo>
                    <a:pt x="1229" y="686"/>
                  </a:lnTo>
                  <a:lnTo>
                    <a:pt x="1225" y="686"/>
                  </a:lnTo>
                  <a:lnTo>
                    <a:pt x="1223" y="686"/>
                  </a:lnTo>
                  <a:lnTo>
                    <a:pt x="1220" y="686"/>
                  </a:lnTo>
                  <a:lnTo>
                    <a:pt x="1220" y="686"/>
                  </a:lnTo>
                  <a:lnTo>
                    <a:pt x="1220" y="686"/>
                  </a:lnTo>
                  <a:lnTo>
                    <a:pt x="1220" y="684"/>
                  </a:lnTo>
                  <a:lnTo>
                    <a:pt x="1220" y="684"/>
                  </a:lnTo>
                  <a:lnTo>
                    <a:pt x="1218" y="684"/>
                  </a:lnTo>
                  <a:lnTo>
                    <a:pt x="1218" y="684"/>
                  </a:lnTo>
                  <a:lnTo>
                    <a:pt x="1214" y="684"/>
                  </a:lnTo>
                  <a:lnTo>
                    <a:pt x="1211" y="682"/>
                  </a:lnTo>
                  <a:lnTo>
                    <a:pt x="1207" y="682"/>
                  </a:lnTo>
                  <a:lnTo>
                    <a:pt x="1207" y="682"/>
                  </a:lnTo>
                  <a:lnTo>
                    <a:pt x="1205" y="682"/>
                  </a:lnTo>
                  <a:lnTo>
                    <a:pt x="1205" y="680"/>
                  </a:lnTo>
                  <a:lnTo>
                    <a:pt x="1202" y="680"/>
                  </a:lnTo>
                  <a:lnTo>
                    <a:pt x="1202" y="680"/>
                  </a:lnTo>
                  <a:lnTo>
                    <a:pt x="1202" y="680"/>
                  </a:lnTo>
                  <a:lnTo>
                    <a:pt x="1202" y="680"/>
                  </a:lnTo>
                  <a:lnTo>
                    <a:pt x="1202" y="680"/>
                  </a:lnTo>
                  <a:lnTo>
                    <a:pt x="1200" y="677"/>
                  </a:lnTo>
                  <a:lnTo>
                    <a:pt x="1200" y="677"/>
                  </a:lnTo>
                  <a:lnTo>
                    <a:pt x="1200" y="677"/>
                  </a:lnTo>
                  <a:lnTo>
                    <a:pt x="1200" y="677"/>
                  </a:lnTo>
                  <a:lnTo>
                    <a:pt x="1200" y="677"/>
                  </a:lnTo>
                  <a:lnTo>
                    <a:pt x="1200" y="677"/>
                  </a:lnTo>
                  <a:lnTo>
                    <a:pt x="1200" y="675"/>
                  </a:lnTo>
                  <a:lnTo>
                    <a:pt x="1200" y="675"/>
                  </a:lnTo>
                  <a:lnTo>
                    <a:pt x="1200" y="675"/>
                  </a:lnTo>
                  <a:lnTo>
                    <a:pt x="1198" y="675"/>
                  </a:lnTo>
                  <a:lnTo>
                    <a:pt x="1198" y="673"/>
                  </a:lnTo>
                  <a:lnTo>
                    <a:pt x="1196" y="671"/>
                  </a:lnTo>
                  <a:lnTo>
                    <a:pt x="1193" y="671"/>
                  </a:lnTo>
                  <a:lnTo>
                    <a:pt x="1191" y="671"/>
                  </a:lnTo>
                  <a:lnTo>
                    <a:pt x="1189" y="668"/>
                  </a:lnTo>
                  <a:lnTo>
                    <a:pt x="1189" y="668"/>
                  </a:lnTo>
                  <a:lnTo>
                    <a:pt x="1189" y="668"/>
                  </a:lnTo>
                  <a:lnTo>
                    <a:pt x="1189" y="668"/>
                  </a:lnTo>
                  <a:lnTo>
                    <a:pt x="1189" y="668"/>
                  </a:lnTo>
                  <a:lnTo>
                    <a:pt x="1189" y="668"/>
                  </a:lnTo>
                  <a:lnTo>
                    <a:pt x="1189" y="668"/>
                  </a:lnTo>
                  <a:lnTo>
                    <a:pt x="1187" y="668"/>
                  </a:lnTo>
                  <a:lnTo>
                    <a:pt x="1187" y="668"/>
                  </a:lnTo>
                  <a:lnTo>
                    <a:pt x="1187" y="668"/>
                  </a:lnTo>
                  <a:lnTo>
                    <a:pt x="1187" y="668"/>
                  </a:lnTo>
                  <a:lnTo>
                    <a:pt x="1187" y="668"/>
                  </a:lnTo>
                  <a:lnTo>
                    <a:pt x="1187" y="666"/>
                  </a:lnTo>
                  <a:lnTo>
                    <a:pt x="1187" y="666"/>
                  </a:lnTo>
                  <a:lnTo>
                    <a:pt x="1187" y="666"/>
                  </a:lnTo>
                  <a:lnTo>
                    <a:pt x="1189" y="666"/>
                  </a:lnTo>
                  <a:lnTo>
                    <a:pt x="1191" y="666"/>
                  </a:lnTo>
                  <a:lnTo>
                    <a:pt x="1191" y="666"/>
                  </a:lnTo>
                  <a:lnTo>
                    <a:pt x="1191" y="666"/>
                  </a:lnTo>
                  <a:lnTo>
                    <a:pt x="1191" y="666"/>
                  </a:lnTo>
                  <a:lnTo>
                    <a:pt x="1191" y="666"/>
                  </a:lnTo>
                  <a:lnTo>
                    <a:pt x="1191" y="666"/>
                  </a:lnTo>
                  <a:lnTo>
                    <a:pt x="1193" y="666"/>
                  </a:lnTo>
                  <a:lnTo>
                    <a:pt x="1193" y="666"/>
                  </a:lnTo>
                  <a:close/>
                  <a:moveTo>
                    <a:pt x="43" y="664"/>
                  </a:moveTo>
                  <a:lnTo>
                    <a:pt x="43" y="664"/>
                  </a:lnTo>
                  <a:lnTo>
                    <a:pt x="43" y="664"/>
                  </a:lnTo>
                  <a:lnTo>
                    <a:pt x="41" y="664"/>
                  </a:lnTo>
                  <a:lnTo>
                    <a:pt x="41" y="664"/>
                  </a:lnTo>
                  <a:lnTo>
                    <a:pt x="41" y="664"/>
                  </a:lnTo>
                  <a:lnTo>
                    <a:pt x="41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close/>
                  <a:moveTo>
                    <a:pt x="86" y="664"/>
                  </a:moveTo>
                  <a:lnTo>
                    <a:pt x="84" y="664"/>
                  </a:lnTo>
                  <a:lnTo>
                    <a:pt x="84" y="664"/>
                  </a:lnTo>
                  <a:lnTo>
                    <a:pt x="84" y="664"/>
                  </a:lnTo>
                  <a:lnTo>
                    <a:pt x="84" y="664"/>
                  </a:lnTo>
                  <a:lnTo>
                    <a:pt x="86" y="664"/>
                  </a:lnTo>
                  <a:lnTo>
                    <a:pt x="86" y="662"/>
                  </a:lnTo>
                  <a:lnTo>
                    <a:pt x="86" y="662"/>
                  </a:lnTo>
                  <a:lnTo>
                    <a:pt x="86" y="662"/>
                  </a:lnTo>
                  <a:lnTo>
                    <a:pt x="86" y="662"/>
                  </a:lnTo>
                  <a:lnTo>
                    <a:pt x="86" y="662"/>
                  </a:lnTo>
                  <a:lnTo>
                    <a:pt x="86" y="662"/>
                  </a:lnTo>
                  <a:lnTo>
                    <a:pt x="86" y="662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6" y="662"/>
                  </a:lnTo>
                  <a:lnTo>
                    <a:pt x="86" y="664"/>
                  </a:lnTo>
                  <a:lnTo>
                    <a:pt x="86" y="664"/>
                  </a:lnTo>
                  <a:lnTo>
                    <a:pt x="86" y="664"/>
                  </a:lnTo>
                  <a:close/>
                  <a:moveTo>
                    <a:pt x="1200" y="659"/>
                  </a:move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lnTo>
                    <a:pt x="1200" y="659"/>
                  </a:lnTo>
                  <a:close/>
                  <a:moveTo>
                    <a:pt x="81" y="664"/>
                  </a:moveTo>
                  <a:lnTo>
                    <a:pt x="81" y="664"/>
                  </a:lnTo>
                  <a:lnTo>
                    <a:pt x="81" y="664"/>
                  </a:lnTo>
                  <a:lnTo>
                    <a:pt x="81" y="664"/>
                  </a:lnTo>
                  <a:lnTo>
                    <a:pt x="81" y="664"/>
                  </a:lnTo>
                  <a:lnTo>
                    <a:pt x="81" y="664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81" y="659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59"/>
                  </a:lnTo>
                  <a:lnTo>
                    <a:pt x="84" y="662"/>
                  </a:lnTo>
                  <a:lnTo>
                    <a:pt x="84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2"/>
                  </a:lnTo>
                  <a:lnTo>
                    <a:pt x="81" y="664"/>
                  </a:lnTo>
                  <a:lnTo>
                    <a:pt x="81" y="664"/>
                  </a:lnTo>
                  <a:close/>
                  <a:moveTo>
                    <a:pt x="90" y="659"/>
                  </a:moveTo>
                  <a:lnTo>
                    <a:pt x="90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90" y="662"/>
                  </a:lnTo>
                  <a:lnTo>
                    <a:pt x="90" y="662"/>
                  </a:lnTo>
                  <a:lnTo>
                    <a:pt x="90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9"/>
                  </a:lnTo>
                  <a:lnTo>
                    <a:pt x="88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0" y="659"/>
                  </a:lnTo>
                  <a:lnTo>
                    <a:pt x="90" y="659"/>
                  </a:lnTo>
                  <a:close/>
                  <a:moveTo>
                    <a:pt x="95" y="657"/>
                  </a:moveTo>
                  <a:lnTo>
                    <a:pt x="95" y="657"/>
                  </a:lnTo>
                  <a:lnTo>
                    <a:pt x="95" y="657"/>
                  </a:lnTo>
                  <a:lnTo>
                    <a:pt x="95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3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90" y="659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5" y="657"/>
                  </a:lnTo>
                  <a:close/>
                  <a:moveTo>
                    <a:pt x="86" y="655"/>
                  </a:moveTo>
                  <a:lnTo>
                    <a:pt x="86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6" y="655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4" y="662"/>
                  </a:lnTo>
                  <a:lnTo>
                    <a:pt x="84" y="662"/>
                  </a:lnTo>
                  <a:lnTo>
                    <a:pt x="84" y="662"/>
                  </a:lnTo>
                  <a:lnTo>
                    <a:pt x="84" y="662"/>
                  </a:lnTo>
                  <a:lnTo>
                    <a:pt x="84" y="662"/>
                  </a:lnTo>
                  <a:lnTo>
                    <a:pt x="84" y="662"/>
                  </a:lnTo>
                  <a:lnTo>
                    <a:pt x="84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9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6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4" y="657"/>
                  </a:lnTo>
                  <a:lnTo>
                    <a:pt x="84" y="655"/>
                  </a:lnTo>
                  <a:lnTo>
                    <a:pt x="84" y="657"/>
                  </a:lnTo>
                  <a:lnTo>
                    <a:pt x="84" y="657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lnTo>
                    <a:pt x="86" y="655"/>
                  </a:lnTo>
                  <a:close/>
                  <a:moveTo>
                    <a:pt x="81" y="655"/>
                  </a:moveTo>
                  <a:lnTo>
                    <a:pt x="81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close/>
                  <a:moveTo>
                    <a:pt x="81" y="655"/>
                  </a:move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1" y="655"/>
                  </a:lnTo>
                  <a:lnTo>
                    <a:pt x="84" y="655"/>
                  </a:lnTo>
                  <a:lnTo>
                    <a:pt x="84" y="653"/>
                  </a:lnTo>
                  <a:lnTo>
                    <a:pt x="84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4" y="655"/>
                  </a:lnTo>
                  <a:lnTo>
                    <a:pt x="81" y="655"/>
                  </a:lnTo>
                  <a:close/>
                  <a:moveTo>
                    <a:pt x="36" y="653"/>
                  </a:move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close/>
                  <a:moveTo>
                    <a:pt x="77" y="655"/>
                  </a:moveTo>
                  <a:lnTo>
                    <a:pt x="77" y="655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5"/>
                  </a:lnTo>
                  <a:lnTo>
                    <a:pt x="75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close/>
                  <a:moveTo>
                    <a:pt x="66" y="650"/>
                  </a:move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3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close/>
                  <a:moveTo>
                    <a:pt x="70" y="650"/>
                  </a:move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68" y="653"/>
                  </a:lnTo>
                  <a:lnTo>
                    <a:pt x="68" y="653"/>
                  </a:lnTo>
                  <a:lnTo>
                    <a:pt x="66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8" y="650"/>
                  </a:lnTo>
                  <a:lnTo>
                    <a:pt x="68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close/>
                  <a:moveTo>
                    <a:pt x="68" y="650"/>
                  </a:moveTo>
                  <a:lnTo>
                    <a:pt x="68" y="650"/>
                  </a:lnTo>
                  <a:lnTo>
                    <a:pt x="68" y="650"/>
                  </a:lnTo>
                  <a:lnTo>
                    <a:pt x="68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8" y="650"/>
                  </a:lnTo>
                  <a:lnTo>
                    <a:pt x="68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68" y="650"/>
                  </a:lnTo>
                  <a:close/>
                  <a:moveTo>
                    <a:pt x="1288" y="650"/>
                  </a:moveTo>
                  <a:lnTo>
                    <a:pt x="1288" y="650"/>
                  </a:lnTo>
                  <a:lnTo>
                    <a:pt x="1288" y="650"/>
                  </a:lnTo>
                  <a:lnTo>
                    <a:pt x="1288" y="650"/>
                  </a:lnTo>
                  <a:lnTo>
                    <a:pt x="1288" y="650"/>
                  </a:lnTo>
                  <a:lnTo>
                    <a:pt x="1288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3"/>
                  </a:lnTo>
                  <a:lnTo>
                    <a:pt x="1285" y="653"/>
                  </a:lnTo>
                  <a:lnTo>
                    <a:pt x="1285" y="653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8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8" y="650"/>
                  </a:lnTo>
                  <a:close/>
                  <a:moveTo>
                    <a:pt x="59" y="648"/>
                  </a:moveTo>
                  <a:lnTo>
                    <a:pt x="59" y="648"/>
                  </a:lnTo>
                  <a:lnTo>
                    <a:pt x="61" y="648"/>
                  </a:lnTo>
                  <a:lnTo>
                    <a:pt x="61" y="648"/>
                  </a:lnTo>
                  <a:lnTo>
                    <a:pt x="61" y="648"/>
                  </a:lnTo>
                  <a:lnTo>
                    <a:pt x="61" y="650"/>
                  </a:lnTo>
                  <a:lnTo>
                    <a:pt x="61" y="650"/>
                  </a:lnTo>
                  <a:lnTo>
                    <a:pt x="61" y="650"/>
                  </a:lnTo>
                  <a:lnTo>
                    <a:pt x="61" y="650"/>
                  </a:lnTo>
                  <a:lnTo>
                    <a:pt x="61" y="650"/>
                  </a:lnTo>
                  <a:lnTo>
                    <a:pt x="61" y="650"/>
                  </a:lnTo>
                  <a:lnTo>
                    <a:pt x="61" y="650"/>
                  </a:lnTo>
                  <a:lnTo>
                    <a:pt x="59" y="650"/>
                  </a:lnTo>
                  <a:lnTo>
                    <a:pt x="59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4" y="650"/>
                  </a:lnTo>
                  <a:lnTo>
                    <a:pt x="57" y="648"/>
                  </a:lnTo>
                  <a:lnTo>
                    <a:pt x="57" y="648"/>
                  </a:lnTo>
                  <a:lnTo>
                    <a:pt x="57" y="648"/>
                  </a:lnTo>
                  <a:lnTo>
                    <a:pt x="57" y="648"/>
                  </a:lnTo>
                  <a:lnTo>
                    <a:pt x="59" y="648"/>
                  </a:lnTo>
                  <a:close/>
                  <a:moveTo>
                    <a:pt x="1357" y="646"/>
                  </a:move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8"/>
                  </a:lnTo>
                  <a:lnTo>
                    <a:pt x="1357" y="648"/>
                  </a:lnTo>
                  <a:lnTo>
                    <a:pt x="1357" y="648"/>
                  </a:lnTo>
                  <a:lnTo>
                    <a:pt x="1355" y="648"/>
                  </a:lnTo>
                  <a:lnTo>
                    <a:pt x="1355" y="648"/>
                  </a:lnTo>
                  <a:lnTo>
                    <a:pt x="1355" y="648"/>
                  </a:lnTo>
                  <a:lnTo>
                    <a:pt x="1355" y="648"/>
                  </a:lnTo>
                  <a:lnTo>
                    <a:pt x="1355" y="648"/>
                  </a:lnTo>
                  <a:lnTo>
                    <a:pt x="1355" y="648"/>
                  </a:lnTo>
                  <a:lnTo>
                    <a:pt x="1355" y="648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5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lnTo>
                    <a:pt x="1357" y="646"/>
                  </a:lnTo>
                  <a:close/>
                  <a:moveTo>
                    <a:pt x="75" y="648"/>
                  </a:moveTo>
                  <a:lnTo>
                    <a:pt x="75" y="648"/>
                  </a:lnTo>
                  <a:lnTo>
                    <a:pt x="72" y="648"/>
                  </a:lnTo>
                  <a:lnTo>
                    <a:pt x="72" y="648"/>
                  </a:lnTo>
                  <a:lnTo>
                    <a:pt x="72" y="648"/>
                  </a:lnTo>
                  <a:lnTo>
                    <a:pt x="72" y="648"/>
                  </a:lnTo>
                  <a:lnTo>
                    <a:pt x="70" y="648"/>
                  </a:lnTo>
                  <a:lnTo>
                    <a:pt x="68" y="648"/>
                  </a:lnTo>
                  <a:lnTo>
                    <a:pt x="68" y="648"/>
                  </a:lnTo>
                  <a:lnTo>
                    <a:pt x="68" y="648"/>
                  </a:lnTo>
                  <a:lnTo>
                    <a:pt x="68" y="648"/>
                  </a:lnTo>
                  <a:lnTo>
                    <a:pt x="68" y="650"/>
                  </a:lnTo>
                  <a:lnTo>
                    <a:pt x="68" y="650"/>
                  </a:lnTo>
                  <a:lnTo>
                    <a:pt x="68" y="650"/>
                  </a:lnTo>
                  <a:lnTo>
                    <a:pt x="68" y="648"/>
                  </a:lnTo>
                  <a:lnTo>
                    <a:pt x="68" y="648"/>
                  </a:lnTo>
                  <a:lnTo>
                    <a:pt x="66" y="648"/>
                  </a:lnTo>
                  <a:lnTo>
                    <a:pt x="66" y="648"/>
                  </a:lnTo>
                  <a:lnTo>
                    <a:pt x="66" y="648"/>
                  </a:lnTo>
                  <a:lnTo>
                    <a:pt x="66" y="648"/>
                  </a:lnTo>
                  <a:lnTo>
                    <a:pt x="66" y="648"/>
                  </a:lnTo>
                  <a:lnTo>
                    <a:pt x="66" y="648"/>
                  </a:lnTo>
                  <a:lnTo>
                    <a:pt x="66" y="648"/>
                  </a:lnTo>
                  <a:lnTo>
                    <a:pt x="68" y="648"/>
                  </a:lnTo>
                  <a:lnTo>
                    <a:pt x="68" y="648"/>
                  </a:lnTo>
                  <a:lnTo>
                    <a:pt x="68" y="648"/>
                  </a:lnTo>
                  <a:lnTo>
                    <a:pt x="70" y="646"/>
                  </a:lnTo>
                  <a:lnTo>
                    <a:pt x="70" y="646"/>
                  </a:lnTo>
                  <a:lnTo>
                    <a:pt x="72" y="646"/>
                  </a:lnTo>
                  <a:lnTo>
                    <a:pt x="72" y="646"/>
                  </a:lnTo>
                  <a:lnTo>
                    <a:pt x="72" y="646"/>
                  </a:lnTo>
                  <a:lnTo>
                    <a:pt x="72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8"/>
                  </a:lnTo>
                  <a:close/>
                  <a:moveTo>
                    <a:pt x="68" y="646"/>
                  </a:moveTo>
                  <a:lnTo>
                    <a:pt x="68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3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6" y="646"/>
                  </a:lnTo>
                  <a:lnTo>
                    <a:pt x="68" y="646"/>
                  </a:lnTo>
                  <a:lnTo>
                    <a:pt x="68" y="646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6"/>
                  </a:lnTo>
                  <a:lnTo>
                    <a:pt x="68" y="646"/>
                  </a:lnTo>
                  <a:close/>
                  <a:moveTo>
                    <a:pt x="36" y="653"/>
                  </a:move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6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3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50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6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8"/>
                  </a:lnTo>
                  <a:lnTo>
                    <a:pt x="34" y="646"/>
                  </a:lnTo>
                  <a:lnTo>
                    <a:pt x="34" y="646"/>
                  </a:lnTo>
                  <a:lnTo>
                    <a:pt x="34" y="646"/>
                  </a:lnTo>
                  <a:lnTo>
                    <a:pt x="34" y="646"/>
                  </a:lnTo>
                  <a:lnTo>
                    <a:pt x="36" y="646"/>
                  </a:lnTo>
                  <a:lnTo>
                    <a:pt x="36" y="646"/>
                  </a:lnTo>
                  <a:lnTo>
                    <a:pt x="36" y="646"/>
                  </a:lnTo>
                  <a:lnTo>
                    <a:pt x="36" y="646"/>
                  </a:lnTo>
                  <a:lnTo>
                    <a:pt x="36" y="646"/>
                  </a:lnTo>
                  <a:lnTo>
                    <a:pt x="36" y="646"/>
                  </a:lnTo>
                  <a:lnTo>
                    <a:pt x="39" y="646"/>
                  </a:lnTo>
                  <a:lnTo>
                    <a:pt x="39" y="646"/>
                  </a:lnTo>
                  <a:lnTo>
                    <a:pt x="41" y="644"/>
                  </a:lnTo>
                  <a:lnTo>
                    <a:pt x="41" y="646"/>
                  </a:lnTo>
                  <a:lnTo>
                    <a:pt x="41" y="644"/>
                  </a:lnTo>
                  <a:lnTo>
                    <a:pt x="43" y="644"/>
                  </a:lnTo>
                  <a:lnTo>
                    <a:pt x="43" y="644"/>
                  </a:lnTo>
                  <a:lnTo>
                    <a:pt x="43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50" y="646"/>
                  </a:lnTo>
                  <a:lnTo>
                    <a:pt x="50" y="646"/>
                  </a:lnTo>
                  <a:lnTo>
                    <a:pt x="50" y="646"/>
                  </a:lnTo>
                  <a:lnTo>
                    <a:pt x="52" y="646"/>
                  </a:lnTo>
                  <a:lnTo>
                    <a:pt x="52" y="646"/>
                  </a:lnTo>
                  <a:lnTo>
                    <a:pt x="52" y="646"/>
                  </a:lnTo>
                  <a:lnTo>
                    <a:pt x="52" y="646"/>
                  </a:lnTo>
                  <a:lnTo>
                    <a:pt x="52" y="646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2" y="648"/>
                  </a:lnTo>
                  <a:lnTo>
                    <a:pt x="52" y="648"/>
                  </a:lnTo>
                  <a:lnTo>
                    <a:pt x="52" y="646"/>
                  </a:lnTo>
                  <a:lnTo>
                    <a:pt x="52" y="646"/>
                  </a:lnTo>
                  <a:lnTo>
                    <a:pt x="52" y="648"/>
                  </a:lnTo>
                  <a:lnTo>
                    <a:pt x="52" y="648"/>
                  </a:lnTo>
                  <a:lnTo>
                    <a:pt x="52" y="648"/>
                  </a:lnTo>
                  <a:lnTo>
                    <a:pt x="52" y="648"/>
                  </a:lnTo>
                  <a:lnTo>
                    <a:pt x="54" y="648"/>
                  </a:lnTo>
                  <a:lnTo>
                    <a:pt x="54" y="650"/>
                  </a:lnTo>
                  <a:lnTo>
                    <a:pt x="54" y="650"/>
                  </a:lnTo>
                  <a:lnTo>
                    <a:pt x="54" y="650"/>
                  </a:lnTo>
                  <a:lnTo>
                    <a:pt x="54" y="650"/>
                  </a:lnTo>
                  <a:lnTo>
                    <a:pt x="54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7" y="650"/>
                  </a:lnTo>
                  <a:lnTo>
                    <a:pt x="59" y="650"/>
                  </a:lnTo>
                  <a:lnTo>
                    <a:pt x="59" y="650"/>
                  </a:lnTo>
                  <a:lnTo>
                    <a:pt x="59" y="650"/>
                  </a:lnTo>
                  <a:lnTo>
                    <a:pt x="59" y="653"/>
                  </a:lnTo>
                  <a:lnTo>
                    <a:pt x="59" y="653"/>
                  </a:lnTo>
                  <a:lnTo>
                    <a:pt x="59" y="653"/>
                  </a:lnTo>
                  <a:lnTo>
                    <a:pt x="59" y="653"/>
                  </a:lnTo>
                  <a:lnTo>
                    <a:pt x="59" y="653"/>
                  </a:lnTo>
                  <a:lnTo>
                    <a:pt x="59" y="653"/>
                  </a:lnTo>
                  <a:lnTo>
                    <a:pt x="59" y="650"/>
                  </a:lnTo>
                  <a:lnTo>
                    <a:pt x="59" y="650"/>
                  </a:lnTo>
                  <a:lnTo>
                    <a:pt x="61" y="650"/>
                  </a:lnTo>
                  <a:lnTo>
                    <a:pt x="61" y="653"/>
                  </a:lnTo>
                  <a:lnTo>
                    <a:pt x="61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3" y="653"/>
                  </a:lnTo>
                  <a:lnTo>
                    <a:pt x="66" y="653"/>
                  </a:lnTo>
                  <a:lnTo>
                    <a:pt x="66" y="653"/>
                  </a:lnTo>
                  <a:lnTo>
                    <a:pt x="66" y="653"/>
                  </a:lnTo>
                  <a:lnTo>
                    <a:pt x="68" y="653"/>
                  </a:lnTo>
                  <a:lnTo>
                    <a:pt x="68" y="653"/>
                  </a:lnTo>
                  <a:lnTo>
                    <a:pt x="68" y="653"/>
                  </a:lnTo>
                  <a:lnTo>
                    <a:pt x="68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5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7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81" y="657"/>
                  </a:lnTo>
                  <a:lnTo>
                    <a:pt x="79" y="659"/>
                  </a:lnTo>
                  <a:lnTo>
                    <a:pt x="79" y="662"/>
                  </a:lnTo>
                  <a:lnTo>
                    <a:pt x="79" y="662"/>
                  </a:lnTo>
                  <a:lnTo>
                    <a:pt x="79" y="662"/>
                  </a:lnTo>
                  <a:lnTo>
                    <a:pt x="79" y="662"/>
                  </a:lnTo>
                  <a:lnTo>
                    <a:pt x="81" y="662"/>
                  </a:lnTo>
                  <a:lnTo>
                    <a:pt x="79" y="662"/>
                  </a:lnTo>
                  <a:lnTo>
                    <a:pt x="81" y="662"/>
                  </a:lnTo>
                  <a:lnTo>
                    <a:pt x="79" y="664"/>
                  </a:lnTo>
                  <a:lnTo>
                    <a:pt x="81" y="664"/>
                  </a:lnTo>
                  <a:lnTo>
                    <a:pt x="79" y="664"/>
                  </a:lnTo>
                  <a:lnTo>
                    <a:pt x="79" y="664"/>
                  </a:lnTo>
                  <a:lnTo>
                    <a:pt x="79" y="664"/>
                  </a:lnTo>
                  <a:lnTo>
                    <a:pt x="79" y="664"/>
                  </a:lnTo>
                  <a:lnTo>
                    <a:pt x="79" y="666"/>
                  </a:lnTo>
                  <a:lnTo>
                    <a:pt x="79" y="666"/>
                  </a:lnTo>
                  <a:lnTo>
                    <a:pt x="81" y="671"/>
                  </a:lnTo>
                  <a:lnTo>
                    <a:pt x="81" y="671"/>
                  </a:lnTo>
                  <a:lnTo>
                    <a:pt x="81" y="671"/>
                  </a:lnTo>
                  <a:lnTo>
                    <a:pt x="81" y="671"/>
                  </a:lnTo>
                  <a:lnTo>
                    <a:pt x="81" y="671"/>
                  </a:lnTo>
                  <a:lnTo>
                    <a:pt x="79" y="671"/>
                  </a:lnTo>
                  <a:lnTo>
                    <a:pt x="79" y="671"/>
                  </a:lnTo>
                  <a:lnTo>
                    <a:pt x="79" y="673"/>
                  </a:lnTo>
                  <a:lnTo>
                    <a:pt x="79" y="673"/>
                  </a:lnTo>
                  <a:lnTo>
                    <a:pt x="79" y="673"/>
                  </a:lnTo>
                  <a:lnTo>
                    <a:pt x="79" y="673"/>
                  </a:lnTo>
                  <a:lnTo>
                    <a:pt x="79" y="673"/>
                  </a:lnTo>
                  <a:lnTo>
                    <a:pt x="79" y="673"/>
                  </a:lnTo>
                  <a:lnTo>
                    <a:pt x="79" y="673"/>
                  </a:lnTo>
                  <a:lnTo>
                    <a:pt x="79" y="675"/>
                  </a:lnTo>
                  <a:lnTo>
                    <a:pt x="79" y="675"/>
                  </a:lnTo>
                  <a:lnTo>
                    <a:pt x="79" y="675"/>
                  </a:lnTo>
                  <a:lnTo>
                    <a:pt x="79" y="675"/>
                  </a:lnTo>
                  <a:lnTo>
                    <a:pt x="79" y="675"/>
                  </a:lnTo>
                  <a:lnTo>
                    <a:pt x="79" y="677"/>
                  </a:lnTo>
                  <a:lnTo>
                    <a:pt x="79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1" y="677"/>
                  </a:lnTo>
                  <a:lnTo>
                    <a:pt x="84" y="680"/>
                  </a:lnTo>
                  <a:lnTo>
                    <a:pt x="84" y="680"/>
                  </a:lnTo>
                  <a:lnTo>
                    <a:pt x="86" y="680"/>
                  </a:lnTo>
                  <a:lnTo>
                    <a:pt x="86" y="680"/>
                  </a:lnTo>
                  <a:lnTo>
                    <a:pt x="86" y="680"/>
                  </a:lnTo>
                  <a:lnTo>
                    <a:pt x="86" y="680"/>
                  </a:lnTo>
                  <a:lnTo>
                    <a:pt x="86" y="680"/>
                  </a:lnTo>
                  <a:lnTo>
                    <a:pt x="88" y="680"/>
                  </a:lnTo>
                  <a:lnTo>
                    <a:pt x="88" y="680"/>
                  </a:lnTo>
                  <a:lnTo>
                    <a:pt x="88" y="680"/>
                  </a:lnTo>
                  <a:lnTo>
                    <a:pt x="88" y="680"/>
                  </a:lnTo>
                  <a:lnTo>
                    <a:pt x="88" y="680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88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2"/>
                  </a:lnTo>
                  <a:lnTo>
                    <a:pt x="90" y="684"/>
                  </a:lnTo>
                  <a:lnTo>
                    <a:pt x="90" y="684"/>
                  </a:lnTo>
                  <a:lnTo>
                    <a:pt x="90" y="684"/>
                  </a:lnTo>
                  <a:lnTo>
                    <a:pt x="90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4"/>
                  </a:lnTo>
                  <a:lnTo>
                    <a:pt x="93" y="686"/>
                  </a:lnTo>
                  <a:lnTo>
                    <a:pt x="93" y="686"/>
                  </a:lnTo>
                  <a:lnTo>
                    <a:pt x="93" y="686"/>
                  </a:lnTo>
                  <a:lnTo>
                    <a:pt x="90" y="686"/>
                  </a:lnTo>
                  <a:lnTo>
                    <a:pt x="90" y="686"/>
                  </a:lnTo>
                  <a:lnTo>
                    <a:pt x="90" y="686"/>
                  </a:lnTo>
                  <a:lnTo>
                    <a:pt x="90" y="689"/>
                  </a:lnTo>
                  <a:lnTo>
                    <a:pt x="90" y="689"/>
                  </a:lnTo>
                  <a:lnTo>
                    <a:pt x="90" y="686"/>
                  </a:lnTo>
                  <a:lnTo>
                    <a:pt x="90" y="686"/>
                  </a:lnTo>
                  <a:lnTo>
                    <a:pt x="90" y="686"/>
                  </a:lnTo>
                  <a:lnTo>
                    <a:pt x="90" y="686"/>
                  </a:lnTo>
                  <a:lnTo>
                    <a:pt x="90" y="686"/>
                  </a:lnTo>
                  <a:lnTo>
                    <a:pt x="90" y="689"/>
                  </a:lnTo>
                  <a:lnTo>
                    <a:pt x="90" y="689"/>
                  </a:lnTo>
                  <a:lnTo>
                    <a:pt x="90" y="689"/>
                  </a:lnTo>
                  <a:lnTo>
                    <a:pt x="90" y="689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0" y="691"/>
                  </a:lnTo>
                  <a:lnTo>
                    <a:pt x="90" y="691"/>
                  </a:lnTo>
                  <a:lnTo>
                    <a:pt x="90" y="691"/>
                  </a:lnTo>
                  <a:lnTo>
                    <a:pt x="90" y="691"/>
                  </a:lnTo>
                  <a:lnTo>
                    <a:pt x="93" y="691"/>
                  </a:lnTo>
                  <a:lnTo>
                    <a:pt x="93" y="691"/>
                  </a:lnTo>
                  <a:lnTo>
                    <a:pt x="93" y="693"/>
                  </a:lnTo>
                  <a:lnTo>
                    <a:pt x="93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3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0" y="698"/>
                  </a:lnTo>
                  <a:lnTo>
                    <a:pt x="90" y="698"/>
                  </a:lnTo>
                  <a:lnTo>
                    <a:pt x="88" y="698"/>
                  </a:lnTo>
                  <a:lnTo>
                    <a:pt x="88" y="698"/>
                  </a:lnTo>
                  <a:lnTo>
                    <a:pt x="88" y="698"/>
                  </a:lnTo>
                  <a:lnTo>
                    <a:pt x="88" y="698"/>
                  </a:lnTo>
                  <a:lnTo>
                    <a:pt x="88" y="698"/>
                  </a:lnTo>
                  <a:lnTo>
                    <a:pt x="90" y="698"/>
                  </a:lnTo>
                  <a:lnTo>
                    <a:pt x="90" y="698"/>
                  </a:lnTo>
                  <a:lnTo>
                    <a:pt x="90" y="695"/>
                  </a:lnTo>
                  <a:lnTo>
                    <a:pt x="90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5"/>
                  </a:lnTo>
                  <a:lnTo>
                    <a:pt x="93" y="698"/>
                  </a:lnTo>
                  <a:lnTo>
                    <a:pt x="93" y="698"/>
                  </a:lnTo>
                  <a:lnTo>
                    <a:pt x="93" y="698"/>
                  </a:lnTo>
                  <a:lnTo>
                    <a:pt x="93" y="700"/>
                  </a:lnTo>
                  <a:lnTo>
                    <a:pt x="93" y="700"/>
                  </a:lnTo>
                  <a:lnTo>
                    <a:pt x="93" y="700"/>
                  </a:lnTo>
                  <a:lnTo>
                    <a:pt x="93" y="700"/>
                  </a:lnTo>
                  <a:lnTo>
                    <a:pt x="90" y="700"/>
                  </a:lnTo>
                  <a:lnTo>
                    <a:pt x="90" y="700"/>
                  </a:lnTo>
                  <a:lnTo>
                    <a:pt x="90" y="702"/>
                  </a:lnTo>
                  <a:lnTo>
                    <a:pt x="90" y="702"/>
                  </a:lnTo>
                  <a:lnTo>
                    <a:pt x="88" y="700"/>
                  </a:lnTo>
                  <a:lnTo>
                    <a:pt x="88" y="700"/>
                  </a:lnTo>
                  <a:lnTo>
                    <a:pt x="88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6" y="702"/>
                  </a:lnTo>
                  <a:lnTo>
                    <a:pt x="84" y="704"/>
                  </a:lnTo>
                  <a:lnTo>
                    <a:pt x="84" y="702"/>
                  </a:lnTo>
                  <a:lnTo>
                    <a:pt x="84" y="702"/>
                  </a:lnTo>
                  <a:lnTo>
                    <a:pt x="84" y="702"/>
                  </a:lnTo>
                  <a:lnTo>
                    <a:pt x="84" y="702"/>
                  </a:lnTo>
                  <a:lnTo>
                    <a:pt x="84" y="702"/>
                  </a:lnTo>
                  <a:lnTo>
                    <a:pt x="84" y="702"/>
                  </a:lnTo>
                  <a:lnTo>
                    <a:pt x="84" y="702"/>
                  </a:lnTo>
                  <a:lnTo>
                    <a:pt x="81" y="702"/>
                  </a:lnTo>
                  <a:lnTo>
                    <a:pt x="81" y="702"/>
                  </a:lnTo>
                  <a:lnTo>
                    <a:pt x="81" y="702"/>
                  </a:lnTo>
                  <a:lnTo>
                    <a:pt x="79" y="702"/>
                  </a:lnTo>
                  <a:lnTo>
                    <a:pt x="79" y="702"/>
                  </a:lnTo>
                  <a:lnTo>
                    <a:pt x="77" y="700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2" y="698"/>
                  </a:lnTo>
                  <a:lnTo>
                    <a:pt x="70" y="698"/>
                  </a:lnTo>
                  <a:lnTo>
                    <a:pt x="70" y="698"/>
                  </a:lnTo>
                  <a:lnTo>
                    <a:pt x="70" y="698"/>
                  </a:lnTo>
                  <a:lnTo>
                    <a:pt x="68" y="698"/>
                  </a:lnTo>
                  <a:lnTo>
                    <a:pt x="68" y="698"/>
                  </a:lnTo>
                  <a:lnTo>
                    <a:pt x="68" y="695"/>
                  </a:lnTo>
                  <a:lnTo>
                    <a:pt x="66" y="695"/>
                  </a:lnTo>
                  <a:lnTo>
                    <a:pt x="66" y="695"/>
                  </a:lnTo>
                  <a:lnTo>
                    <a:pt x="63" y="693"/>
                  </a:lnTo>
                  <a:lnTo>
                    <a:pt x="63" y="693"/>
                  </a:lnTo>
                  <a:lnTo>
                    <a:pt x="63" y="693"/>
                  </a:lnTo>
                  <a:lnTo>
                    <a:pt x="63" y="693"/>
                  </a:lnTo>
                  <a:lnTo>
                    <a:pt x="61" y="691"/>
                  </a:lnTo>
                  <a:lnTo>
                    <a:pt x="63" y="691"/>
                  </a:lnTo>
                  <a:lnTo>
                    <a:pt x="63" y="691"/>
                  </a:lnTo>
                  <a:lnTo>
                    <a:pt x="63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6" y="691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70" y="689"/>
                  </a:lnTo>
                  <a:lnTo>
                    <a:pt x="70" y="686"/>
                  </a:lnTo>
                  <a:lnTo>
                    <a:pt x="72" y="686"/>
                  </a:lnTo>
                  <a:lnTo>
                    <a:pt x="72" y="686"/>
                  </a:lnTo>
                  <a:lnTo>
                    <a:pt x="75" y="684"/>
                  </a:lnTo>
                  <a:lnTo>
                    <a:pt x="75" y="684"/>
                  </a:lnTo>
                  <a:lnTo>
                    <a:pt x="75" y="684"/>
                  </a:lnTo>
                  <a:lnTo>
                    <a:pt x="75" y="684"/>
                  </a:lnTo>
                  <a:lnTo>
                    <a:pt x="75" y="682"/>
                  </a:lnTo>
                  <a:lnTo>
                    <a:pt x="77" y="682"/>
                  </a:lnTo>
                  <a:lnTo>
                    <a:pt x="75" y="682"/>
                  </a:lnTo>
                  <a:lnTo>
                    <a:pt x="75" y="682"/>
                  </a:lnTo>
                  <a:lnTo>
                    <a:pt x="75" y="682"/>
                  </a:lnTo>
                  <a:lnTo>
                    <a:pt x="75" y="682"/>
                  </a:lnTo>
                  <a:lnTo>
                    <a:pt x="75" y="682"/>
                  </a:lnTo>
                  <a:lnTo>
                    <a:pt x="75" y="684"/>
                  </a:lnTo>
                  <a:lnTo>
                    <a:pt x="75" y="684"/>
                  </a:lnTo>
                  <a:lnTo>
                    <a:pt x="75" y="684"/>
                  </a:lnTo>
                  <a:lnTo>
                    <a:pt x="72" y="684"/>
                  </a:lnTo>
                  <a:lnTo>
                    <a:pt x="72" y="684"/>
                  </a:lnTo>
                  <a:lnTo>
                    <a:pt x="72" y="686"/>
                  </a:lnTo>
                  <a:lnTo>
                    <a:pt x="70" y="686"/>
                  </a:lnTo>
                  <a:lnTo>
                    <a:pt x="70" y="686"/>
                  </a:lnTo>
                  <a:lnTo>
                    <a:pt x="70" y="686"/>
                  </a:lnTo>
                  <a:lnTo>
                    <a:pt x="70" y="686"/>
                  </a:lnTo>
                  <a:lnTo>
                    <a:pt x="68" y="689"/>
                  </a:lnTo>
                  <a:lnTo>
                    <a:pt x="68" y="689"/>
                  </a:lnTo>
                  <a:lnTo>
                    <a:pt x="68" y="686"/>
                  </a:lnTo>
                  <a:lnTo>
                    <a:pt x="68" y="686"/>
                  </a:lnTo>
                  <a:lnTo>
                    <a:pt x="68" y="689"/>
                  </a:lnTo>
                  <a:lnTo>
                    <a:pt x="66" y="689"/>
                  </a:lnTo>
                  <a:lnTo>
                    <a:pt x="66" y="689"/>
                  </a:lnTo>
                  <a:lnTo>
                    <a:pt x="66" y="686"/>
                  </a:lnTo>
                  <a:lnTo>
                    <a:pt x="66" y="686"/>
                  </a:lnTo>
                  <a:lnTo>
                    <a:pt x="66" y="686"/>
                  </a:lnTo>
                  <a:lnTo>
                    <a:pt x="63" y="689"/>
                  </a:lnTo>
                  <a:lnTo>
                    <a:pt x="63" y="689"/>
                  </a:lnTo>
                  <a:lnTo>
                    <a:pt x="63" y="689"/>
                  </a:lnTo>
                  <a:lnTo>
                    <a:pt x="63" y="689"/>
                  </a:lnTo>
                  <a:lnTo>
                    <a:pt x="61" y="689"/>
                  </a:lnTo>
                  <a:lnTo>
                    <a:pt x="61" y="689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3" y="686"/>
                  </a:lnTo>
                  <a:lnTo>
                    <a:pt x="61" y="686"/>
                  </a:lnTo>
                  <a:lnTo>
                    <a:pt x="61" y="689"/>
                  </a:lnTo>
                  <a:lnTo>
                    <a:pt x="61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9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9"/>
                  </a:lnTo>
                  <a:lnTo>
                    <a:pt x="57" y="686"/>
                  </a:lnTo>
                  <a:lnTo>
                    <a:pt x="57" y="686"/>
                  </a:lnTo>
                  <a:lnTo>
                    <a:pt x="57" y="686"/>
                  </a:lnTo>
                  <a:lnTo>
                    <a:pt x="57" y="686"/>
                  </a:lnTo>
                  <a:lnTo>
                    <a:pt x="57" y="686"/>
                  </a:lnTo>
                  <a:lnTo>
                    <a:pt x="54" y="686"/>
                  </a:lnTo>
                  <a:lnTo>
                    <a:pt x="54" y="686"/>
                  </a:lnTo>
                  <a:lnTo>
                    <a:pt x="54" y="686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4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59" y="684"/>
                  </a:lnTo>
                  <a:lnTo>
                    <a:pt x="59" y="682"/>
                  </a:lnTo>
                  <a:lnTo>
                    <a:pt x="61" y="682"/>
                  </a:lnTo>
                  <a:lnTo>
                    <a:pt x="61" y="682"/>
                  </a:lnTo>
                  <a:lnTo>
                    <a:pt x="61" y="682"/>
                  </a:lnTo>
                  <a:lnTo>
                    <a:pt x="59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7" y="684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59" y="682"/>
                  </a:lnTo>
                  <a:lnTo>
                    <a:pt x="57" y="682"/>
                  </a:lnTo>
                  <a:lnTo>
                    <a:pt x="59" y="682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61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9" y="680"/>
                  </a:lnTo>
                  <a:lnTo>
                    <a:pt x="57" y="680"/>
                  </a:lnTo>
                  <a:lnTo>
                    <a:pt x="57" y="682"/>
                  </a:lnTo>
                  <a:lnTo>
                    <a:pt x="57" y="682"/>
                  </a:lnTo>
                  <a:lnTo>
                    <a:pt x="57" y="682"/>
                  </a:lnTo>
                  <a:lnTo>
                    <a:pt x="57" y="682"/>
                  </a:lnTo>
                  <a:lnTo>
                    <a:pt x="57" y="682"/>
                  </a:lnTo>
                  <a:lnTo>
                    <a:pt x="57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2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7" y="680"/>
                  </a:lnTo>
                  <a:lnTo>
                    <a:pt x="57" y="680"/>
                  </a:lnTo>
                  <a:lnTo>
                    <a:pt x="59" y="677"/>
                  </a:lnTo>
                  <a:lnTo>
                    <a:pt x="59" y="677"/>
                  </a:lnTo>
                  <a:lnTo>
                    <a:pt x="59" y="677"/>
                  </a:lnTo>
                  <a:lnTo>
                    <a:pt x="59" y="677"/>
                  </a:lnTo>
                  <a:lnTo>
                    <a:pt x="57" y="677"/>
                  </a:lnTo>
                  <a:lnTo>
                    <a:pt x="57" y="677"/>
                  </a:lnTo>
                  <a:lnTo>
                    <a:pt x="57" y="680"/>
                  </a:lnTo>
                  <a:lnTo>
                    <a:pt x="57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80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7" y="677"/>
                  </a:lnTo>
                  <a:lnTo>
                    <a:pt x="57" y="677"/>
                  </a:lnTo>
                  <a:lnTo>
                    <a:pt x="57" y="677"/>
                  </a:lnTo>
                  <a:lnTo>
                    <a:pt x="57" y="677"/>
                  </a:lnTo>
                  <a:lnTo>
                    <a:pt x="57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4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2" y="677"/>
                  </a:lnTo>
                  <a:lnTo>
                    <a:pt x="50" y="680"/>
                  </a:lnTo>
                  <a:lnTo>
                    <a:pt x="50" y="680"/>
                  </a:lnTo>
                  <a:lnTo>
                    <a:pt x="50" y="680"/>
                  </a:lnTo>
                  <a:lnTo>
                    <a:pt x="50" y="680"/>
                  </a:lnTo>
                  <a:lnTo>
                    <a:pt x="50" y="680"/>
                  </a:lnTo>
                  <a:lnTo>
                    <a:pt x="50" y="680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50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5" y="677"/>
                  </a:lnTo>
                  <a:lnTo>
                    <a:pt x="45" y="677"/>
                  </a:lnTo>
                  <a:lnTo>
                    <a:pt x="45" y="677"/>
                  </a:lnTo>
                  <a:lnTo>
                    <a:pt x="45" y="677"/>
                  </a:lnTo>
                  <a:lnTo>
                    <a:pt x="45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7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5"/>
                  </a:lnTo>
                  <a:lnTo>
                    <a:pt x="48" y="673"/>
                  </a:lnTo>
                  <a:lnTo>
                    <a:pt x="50" y="673"/>
                  </a:lnTo>
                  <a:lnTo>
                    <a:pt x="50" y="673"/>
                  </a:lnTo>
                  <a:lnTo>
                    <a:pt x="50" y="673"/>
                  </a:lnTo>
                  <a:lnTo>
                    <a:pt x="50" y="673"/>
                  </a:lnTo>
                  <a:lnTo>
                    <a:pt x="50" y="673"/>
                  </a:lnTo>
                  <a:lnTo>
                    <a:pt x="52" y="673"/>
                  </a:lnTo>
                  <a:lnTo>
                    <a:pt x="52" y="673"/>
                  </a:lnTo>
                  <a:lnTo>
                    <a:pt x="54" y="673"/>
                  </a:lnTo>
                  <a:lnTo>
                    <a:pt x="57" y="673"/>
                  </a:lnTo>
                  <a:lnTo>
                    <a:pt x="57" y="673"/>
                  </a:lnTo>
                  <a:lnTo>
                    <a:pt x="57" y="673"/>
                  </a:lnTo>
                  <a:lnTo>
                    <a:pt x="57" y="673"/>
                  </a:lnTo>
                  <a:lnTo>
                    <a:pt x="57" y="673"/>
                  </a:lnTo>
                  <a:lnTo>
                    <a:pt x="59" y="673"/>
                  </a:lnTo>
                  <a:lnTo>
                    <a:pt x="59" y="673"/>
                  </a:lnTo>
                  <a:lnTo>
                    <a:pt x="59" y="671"/>
                  </a:lnTo>
                  <a:lnTo>
                    <a:pt x="59" y="671"/>
                  </a:lnTo>
                  <a:lnTo>
                    <a:pt x="59" y="671"/>
                  </a:lnTo>
                  <a:lnTo>
                    <a:pt x="59" y="671"/>
                  </a:lnTo>
                  <a:lnTo>
                    <a:pt x="57" y="671"/>
                  </a:lnTo>
                  <a:lnTo>
                    <a:pt x="54" y="673"/>
                  </a:lnTo>
                  <a:lnTo>
                    <a:pt x="54" y="673"/>
                  </a:lnTo>
                  <a:lnTo>
                    <a:pt x="54" y="673"/>
                  </a:lnTo>
                  <a:lnTo>
                    <a:pt x="52" y="671"/>
                  </a:lnTo>
                  <a:lnTo>
                    <a:pt x="52" y="671"/>
                  </a:lnTo>
                  <a:lnTo>
                    <a:pt x="52" y="671"/>
                  </a:lnTo>
                  <a:lnTo>
                    <a:pt x="52" y="671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68"/>
                  </a:lnTo>
                  <a:lnTo>
                    <a:pt x="54" y="671"/>
                  </a:lnTo>
                  <a:lnTo>
                    <a:pt x="52" y="671"/>
                  </a:lnTo>
                  <a:lnTo>
                    <a:pt x="52" y="671"/>
                  </a:lnTo>
                  <a:lnTo>
                    <a:pt x="52" y="671"/>
                  </a:lnTo>
                  <a:lnTo>
                    <a:pt x="52" y="671"/>
                  </a:lnTo>
                  <a:lnTo>
                    <a:pt x="50" y="671"/>
                  </a:lnTo>
                  <a:lnTo>
                    <a:pt x="50" y="671"/>
                  </a:lnTo>
                  <a:lnTo>
                    <a:pt x="50" y="671"/>
                  </a:lnTo>
                  <a:lnTo>
                    <a:pt x="52" y="668"/>
                  </a:lnTo>
                  <a:lnTo>
                    <a:pt x="52" y="668"/>
                  </a:lnTo>
                  <a:lnTo>
                    <a:pt x="52" y="666"/>
                  </a:lnTo>
                  <a:lnTo>
                    <a:pt x="52" y="666"/>
                  </a:lnTo>
                  <a:lnTo>
                    <a:pt x="52" y="666"/>
                  </a:lnTo>
                  <a:lnTo>
                    <a:pt x="52" y="666"/>
                  </a:lnTo>
                  <a:lnTo>
                    <a:pt x="52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4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50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4"/>
                  </a:lnTo>
                  <a:lnTo>
                    <a:pt x="48" y="664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8" y="666"/>
                  </a:lnTo>
                  <a:lnTo>
                    <a:pt x="45" y="668"/>
                  </a:lnTo>
                  <a:lnTo>
                    <a:pt x="43" y="668"/>
                  </a:lnTo>
                  <a:lnTo>
                    <a:pt x="43" y="668"/>
                  </a:lnTo>
                  <a:lnTo>
                    <a:pt x="43" y="668"/>
                  </a:lnTo>
                  <a:lnTo>
                    <a:pt x="43" y="666"/>
                  </a:lnTo>
                  <a:lnTo>
                    <a:pt x="43" y="666"/>
                  </a:lnTo>
                  <a:lnTo>
                    <a:pt x="43" y="666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5" y="664"/>
                  </a:lnTo>
                  <a:lnTo>
                    <a:pt x="45" y="664"/>
                  </a:lnTo>
                  <a:lnTo>
                    <a:pt x="45" y="664"/>
                  </a:lnTo>
                  <a:lnTo>
                    <a:pt x="45" y="664"/>
                  </a:lnTo>
                  <a:lnTo>
                    <a:pt x="45" y="664"/>
                  </a:lnTo>
                  <a:lnTo>
                    <a:pt x="45" y="664"/>
                  </a:lnTo>
                  <a:lnTo>
                    <a:pt x="45" y="664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8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5" y="662"/>
                  </a:lnTo>
                  <a:lnTo>
                    <a:pt x="43" y="662"/>
                  </a:lnTo>
                  <a:lnTo>
                    <a:pt x="43" y="662"/>
                  </a:lnTo>
                  <a:lnTo>
                    <a:pt x="43" y="662"/>
                  </a:lnTo>
                  <a:lnTo>
                    <a:pt x="43" y="664"/>
                  </a:lnTo>
                  <a:lnTo>
                    <a:pt x="43" y="664"/>
                  </a:lnTo>
                  <a:lnTo>
                    <a:pt x="41" y="664"/>
                  </a:lnTo>
                  <a:lnTo>
                    <a:pt x="41" y="664"/>
                  </a:lnTo>
                  <a:lnTo>
                    <a:pt x="41" y="664"/>
                  </a:lnTo>
                  <a:lnTo>
                    <a:pt x="41" y="664"/>
                  </a:lnTo>
                  <a:lnTo>
                    <a:pt x="41" y="662"/>
                  </a:lnTo>
                  <a:lnTo>
                    <a:pt x="41" y="662"/>
                  </a:lnTo>
                  <a:lnTo>
                    <a:pt x="41" y="662"/>
                  </a:lnTo>
                  <a:lnTo>
                    <a:pt x="41" y="662"/>
                  </a:lnTo>
                  <a:lnTo>
                    <a:pt x="41" y="662"/>
                  </a:lnTo>
                  <a:lnTo>
                    <a:pt x="43" y="662"/>
                  </a:lnTo>
                  <a:lnTo>
                    <a:pt x="41" y="662"/>
                  </a:lnTo>
                  <a:lnTo>
                    <a:pt x="41" y="662"/>
                  </a:lnTo>
                  <a:lnTo>
                    <a:pt x="41" y="662"/>
                  </a:lnTo>
                  <a:lnTo>
                    <a:pt x="43" y="659"/>
                  </a:lnTo>
                  <a:lnTo>
                    <a:pt x="43" y="659"/>
                  </a:lnTo>
                  <a:lnTo>
                    <a:pt x="41" y="659"/>
                  </a:lnTo>
                  <a:lnTo>
                    <a:pt x="41" y="662"/>
                  </a:lnTo>
                  <a:lnTo>
                    <a:pt x="39" y="662"/>
                  </a:lnTo>
                  <a:lnTo>
                    <a:pt x="39" y="662"/>
                  </a:lnTo>
                  <a:lnTo>
                    <a:pt x="39" y="662"/>
                  </a:lnTo>
                  <a:lnTo>
                    <a:pt x="39" y="662"/>
                  </a:lnTo>
                  <a:lnTo>
                    <a:pt x="39" y="662"/>
                  </a:lnTo>
                  <a:lnTo>
                    <a:pt x="39" y="659"/>
                  </a:lnTo>
                  <a:lnTo>
                    <a:pt x="39" y="659"/>
                  </a:lnTo>
                  <a:lnTo>
                    <a:pt x="39" y="659"/>
                  </a:lnTo>
                  <a:lnTo>
                    <a:pt x="39" y="659"/>
                  </a:lnTo>
                  <a:lnTo>
                    <a:pt x="39" y="659"/>
                  </a:lnTo>
                  <a:lnTo>
                    <a:pt x="36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62"/>
                  </a:lnTo>
                  <a:lnTo>
                    <a:pt x="34" y="659"/>
                  </a:lnTo>
                  <a:lnTo>
                    <a:pt x="36" y="659"/>
                  </a:lnTo>
                  <a:lnTo>
                    <a:pt x="39" y="659"/>
                  </a:lnTo>
                  <a:lnTo>
                    <a:pt x="39" y="659"/>
                  </a:lnTo>
                  <a:lnTo>
                    <a:pt x="39" y="659"/>
                  </a:lnTo>
                  <a:lnTo>
                    <a:pt x="39" y="657"/>
                  </a:lnTo>
                  <a:lnTo>
                    <a:pt x="39" y="657"/>
                  </a:lnTo>
                  <a:lnTo>
                    <a:pt x="36" y="659"/>
                  </a:lnTo>
                  <a:lnTo>
                    <a:pt x="36" y="659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9" y="657"/>
                  </a:lnTo>
                  <a:lnTo>
                    <a:pt x="39" y="657"/>
                  </a:lnTo>
                  <a:lnTo>
                    <a:pt x="39" y="657"/>
                  </a:lnTo>
                  <a:lnTo>
                    <a:pt x="39" y="657"/>
                  </a:lnTo>
                  <a:lnTo>
                    <a:pt x="39" y="657"/>
                  </a:lnTo>
                  <a:lnTo>
                    <a:pt x="39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7"/>
                  </a:lnTo>
                  <a:lnTo>
                    <a:pt x="36" y="655"/>
                  </a:lnTo>
                  <a:lnTo>
                    <a:pt x="36" y="655"/>
                  </a:lnTo>
                  <a:lnTo>
                    <a:pt x="36" y="655"/>
                  </a:lnTo>
                  <a:lnTo>
                    <a:pt x="36" y="655"/>
                  </a:lnTo>
                  <a:lnTo>
                    <a:pt x="39" y="655"/>
                  </a:lnTo>
                  <a:lnTo>
                    <a:pt x="39" y="655"/>
                  </a:lnTo>
                  <a:lnTo>
                    <a:pt x="39" y="655"/>
                  </a:lnTo>
                  <a:lnTo>
                    <a:pt x="39" y="653"/>
                  </a:lnTo>
                  <a:lnTo>
                    <a:pt x="39" y="653"/>
                  </a:lnTo>
                  <a:lnTo>
                    <a:pt x="39" y="653"/>
                  </a:lnTo>
                  <a:lnTo>
                    <a:pt x="39" y="653"/>
                  </a:lnTo>
                  <a:lnTo>
                    <a:pt x="39" y="653"/>
                  </a:lnTo>
                  <a:lnTo>
                    <a:pt x="39" y="653"/>
                  </a:lnTo>
                  <a:lnTo>
                    <a:pt x="41" y="653"/>
                  </a:lnTo>
                  <a:lnTo>
                    <a:pt x="41" y="653"/>
                  </a:lnTo>
                  <a:lnTo>
                    <a:pt x="41" y="653"/>
                  </a:lnTo>
                  <a:lnTo>
                    <a:pt x="43" y="653"/>
                  </a:lnTo>
                  <a:lnTo>
                    <a:pt x="45" y="653"/>
                  </a:lnTo>
                  <a:lnTo>
                    <a:pt x="45" y="653"/>
                  </a:lnTo>
                  <a:lnTo>
                    <a:pt x="45" y="653"/>
                  </a:lnTo>
                  <a:lnTo>
                    <a:pt x="45" y="655"/>
                  </a:lnTo>
                  <a:lnTo>
                    <a:pt x="45" y="655"/>
                  </a:lnTo>
                  <a:lnTo>
                    <a:pt x="45" y="655"/>
                  </a:lnTo>
                  <a:lnTo>
                    <a:pt x="45" y="655"/>
                  </a:lnTo>
                  <a:lnTo>
                    <a:pt x="45" y="653"/>
                  </a:lnTo>
                  <a:lnTo>
                    <a:pt x="45" y="653"/>
                  </a:lnTo>
                  <a:lnTo>
                    <a:pt x="45" y="653"/>
                  </a:lnTo>
                  <a:lnTo>
                    <a:pt x="48" y="653"/>
                  </a:lnTo>
                  <a:lnTo>
                    <a:pt x="48" y="653"/>
                  </a:lnTo>
                  <a:lnTo>
                    <a:pt x="48" y="650"/>
                  </a:lnTo>
                  <a:lnTo>
                    <a:pt x="50" y="650"/>
                  </a:lnTo>
                  <a:lnTo>
                    <a:pt x="50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8" y="650"/>
                  </a:lnTo>
                  <a:lnTo>
                    <a:pt x="45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3" y="650"/>
                  </a:lnTo>
                  <a:lnTo>
                    <a:pt x="45" y="650"/>
                  </a:lnTo>
                  <a:lnTo>
                    <a:pt x="45" y="650"/>
                  </a:lnTo>
                  <a:lnTo>
                    <a:pt x="45" y="650"/>
                  </a:lnTo>
                  <a:lnTo>
                    <a:pt x="45" y="650"/>
                  </a:lnTo>
                  <a:lnTo>
                    <a:pt x="45" y="653"/>
                  </a:lnTo>
                  <a:lnTo>
                    <a:pt x="45" y="653"/>
                  </a:lnTo>
                  <a:lnTo>
                    <a:pt x="45" y="653"/>
                  </a:lnTo>
                  <a:lnTo>
                    <a:pt x="41" y="653"/>
                  </a:lnTo>
                  <a:lnTo>
                    <a:pt x="41" y="653"/>
                  </a:lnTo>
                  <a:lnTo>
                    <a:pt x="41" y="653"/>
                  </a:lnTo>
                  <a:lnTo>
                    <a:pt x="39" y="653"/>
                  </a:lnTo>
                  <a:lnTo>
                    <a:pt x="39" y="653"/>
                  </a:lnTo>
                  <a:lnTo>
                    <a:pt x="36" y="653"/>
                  </a:lnTo>
                  <a:close/>
                  <a:moveTo>
                    <a:pt x="48" y="644"/>
                  </a:moveTo>
                  <a:lnTo>
                    <a:pt x="48" y="644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5" y="644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8" y="644"/>
                  </a:lnTo>
                  <a:lnTo>
                    <a:pt x="48" y="644"/>
                  </a:lnTo>
                  <a:close/>
                  <a:moveTo>
                    <a:pt x="1357" y="644"/>
                  </a:moveTo>
                  <a:lnTo>
                    <a:pt x="1357" y="644"/>
                  </a:lnTo>
                  <a:lnTo>
                    <a:pt x="1357" y="644"/>
                  </a:lnTo>
                  <a:lnTo>
                    <a:pt x="1357" y="644"/>
                  </a:lnTo>
                  <a:lnTo>
                    <a:pt x="1355" y="644"/>
                  </a:lnTo>
                  <a:lnTo>
                    <a:pt x="1357" y="644"/>
                  </a:lnTo>
                  <a:lnTo>
                    <a:pt x="1357" y="644"/>
                  </a:lnTo>
                  <a:lnTo>
                    <a:pt x="1355" y="641"/>
                  </a:lnTo>
                  <a:lnTo>
                    <a:pt x="1355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1"/>
                  </a:lnTo>
                  <a:lnTo>
                    <a:pt x="1357" y="644"/>
                  </a:lnTo>
                  <a:lnTo>
                    <a:pt x="1357" y="644"/>
                  </a:lnTo>
                  <a:lnTo>
                    <a:pt x="1357" y="644"/>
                  </a:lnTo>
                  <a:lnTo>
                    <a:pt x="1357" y="644"/>
                  </a:lnTo>
                  <a:close/>
                  <a:moveTo>
                    <a:pt x="54" y="639"/>
                  </a:move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4" y="639"/>
                  </a:lnTo>
                  <a:close/>
                  <a:moveTo>
                    <a:pt x="1308" y="635"/>
                  </a:moveTo>
                  <a:lnTo>
                    <a:pt x="1308" y="635"/>
                  </a:lnTo>
                  <a:lnTo>
                    <a:pt x="1308" y="635"/>
                  </a:lnTo>
                  <a:lnTo>
                    <a:pt x="1308" y="635"/>
                  </a:lnTo>
                  <a:lnTo>
                    <a:pt x="1308" y="635"/>
                  </a:lnTo>
                  <a:lnTo>
                    <a:pt x="1308" y="635"/>
                  </a:lnTo>
                  <a:lnTo>
                    <a:pt x="1308" y="635"/>
                  </a:lnTo>
                  <a:lnTo>
                    <a:pt x="1308" y="637"/>
                  </a:lnTo>
                  <a:lnTo>
                    <a:pt x="1306" y="637"/>
                  </a:lnTo>
                  <a:lnTo>
                    <a:pt x="1306" y="637"/>
                  </a:lnTo>
                  <a:lnTo>
                    <a:pt x="1306" y="635"/>
                  </a:lnTo>
                  <a:lnTo>
                    <a:pt x="1306" y="635"/>
                  </a:lnTo>
                  <a:lnTo>
                    <a:pt x="1306" y="635"/>
                  </a:lnTo>
                  <a:lnTo>
                    <a:pt x="1308" y="635"/>
                  </a:lnTo>
                  <a:lnTo>
                    <a:pt x="1308" y="635"/>
                  </a:lnTo>
                  <a:lnTo>
                    <a:pt x="1308" y="635"/>
                  </a:lnTo>
                  <a:close/>
                  <a:moveTo>
                    <a:pt x="1357" y="628"/>
                  </a:moveTo>
                  <a:lnTo>
                    <a:pt x="1357" y="628"/>
                  </a:lnTo>
                  <a:lnTo>
                    <a:pt x="1357" y="628"/>
                  </a:lnTo>
                  <a:lnTo>
                    <a:pt x="1357" y="628"/>
                  </a:lnTo>
                  <a:lnTo>
                    <a:pt x="1357" y="628"/>
                  </a:lnTo>
                  <a:lnTo>
                    <a:pt x="1357" y="628"/>
                  </a:lnTo>
                  <a:lnTo>
                    <a:pt x="1355" y="628"/>
                  </a:lnTo>
                  <a:lnTo>
                    <a:pt x="1357" y="628"/>
                  </a:lnTo>
                  <a:lnTo>
                    <a:pt x="1357" y="630"/>
                  </a:lnTo>
                  <a:lnTo>
                    <a:pt x="1355" y="630"/>
                  </a:lnTo>
                  <a:lnTo>
                    <a:pt x="1355" y="630"/>
                  </a:lnTo>
                  <a:lnTo>
                    <a:pt x="1355" y="630"/>
                  </a:lnTo>
                  <a:lnTo>
                    <a:pt x="1357" y="630"/>
                  </a:lnTo>
                  <a:lnTo>
                    <a:pt x="1357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30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0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28"/>
                  </a:lnTo>
                  <a:lnTo>
                    <a:pt x="1364" y="630"/>
                  </a:lnTo>
                  <a:lnTo>
                    <a:pt x="1364" y="630"/>
                  </a:lnTo>
                  <a:lnTo>
                    <a:pt x="1364" y="630"/>
                  </a:lnTo>
                  <a:lnTo>
                    <a:pt x="1364" y="630"/>
                  </a:lnTo>
                  <a:lnTo>
                    <a:pt x="1362" y="630"/>
                  </a:lnTo>
                  <a:lnTo>
                    <a:pt x="1362" y="630"/>
                  </a:lnTo>
                  <a:lnTo>
                    <a:pt x="1362" y="630"/>
                  </a:lnTo>
                  <a:lnTo>
                    <a:pt x="1362" y="630"/>
                  </a:lnTo>
                  <a:lnTo>
                    <a:pt x="1362" y="630"/>
                  </a:lnTo>
                  <a:lnTo>
                    <a:pt x="1364" y="630"/>
                  </a:lnTo>
                  <a:lnTo>
                    <a:pt x="1364" y="630"/>
                  </a:lnTo>
                  <a:lnTo>
                    <a:pt x="1362" y="630"/>
                  </a:lnTo>
                  <a:lnTo>
                    <a:pt x="1362" y="632"/>
                  </a:lnTo>
                  <a:lnTo>
                    <a:pt x="1362" y="632"/>
                  </a:lnTo>
                  <a:lnTo>
                    <a:pt x="1362" y="632"/>
                  </a:lnTo>
                  <a:lnTo>
                    <a:pt x="1362" y="632"/>
                  </a:lnTo>
                  <a:lnTo>
                    <a:pt x="1362" y="632"/>
                  </a:lnTo>
                  <a:lnTo>
                    <a:pt x="1362" y="632"/>
                  </a:lnTo>
                  <a:lnTo>
                    <a:pt x="1362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2"/>
                  </a:lnTo>
                  <a:lnTo>
                    <a:pt x="1360" y="635"/>
                  </a:lnTo>
                  <a:lnTo>
                    <a:pt x="1360" y="635"/>
                  </a:lnTo>
                  <a:lnTo>
                    <a:pt x="1360" y="635"/>
                  </a:lnTo>
                  <a:lnTo>
                    <a:pt x="1360" y="635"/>
                  </a:lnTo>
                  <a:lnTo>
                    <a:pt x="1360" y="635"/>
                  </a:lnTo>
                  <a:lnTo>
                    <a:pt x="1357" y="635"/>
                  </a:lnTo>
                  <a:lnTo>
                    <a:pt x="1357" y="632"/>
                  </a:lnTo>
                  <a:lnTo>
                    <a:pt x="1355" y="632"/>
                  </a:lnTo>
                  <a:lnTo>
                    <a:pt x="1355" y="632"/>
                  </a:lnTo>
                  <a:lnTo>
                    <a:pt x="1355" y="632"/>
                  </a:lnTo>
                  <a:lnTo>
                    <a:pt x="1355" y="632"/>
                  </a:lnTo>
                  <a:lnTo>
                    <a:pt x="1355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3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2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5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1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3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7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7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5" y="639"/>
                  </a:lnTo>
                  <a:lnTo>
                    <a:pt x="1353" y="639"/>
                  </a:lnTo>
                  <a:lnTo>
                    <a:pt x="1353" y="639"/>
                  </a:lnTo>
                  <a:lnTo>
                    <a:pt x="1353" y="639"/>
                  </a:lnTo>
                  <a:lnTo>
                    <a:pt x="1353" y="639"/>
                  </a:lnTo>
                  <a:lnTo>
                    <a:pt x="1353" y="639"/>
                  </a:lnTo>
                  <a:lnTo>
                    <a:pt x="1353" y="641"/>
                  </a:lnTo>
                  <a:lnTo>
                    <a:pt x="1355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4"/>
                  </a:lnTo>
                  <a:lnTo>
                    <a:pt x="1353" y="644"/>
                  </a:lnTo>
                  <a:lnTo>
                    <a:pt x="1353" y="644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3" y="641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3" y="644"/>
                  </a:lnTo>
                  <a:lnTo>
                    <a:pt x="1353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51" y="644"/>
                  </a:lnTo>
                  <a:lnTo>
                    <a:pt x="1348" y="646"/>
                  </a:lnTo>
                  <a:lnTo>
                    <a:pt x="1348" y="646"/>
                  </a:lnTo>
                  <a:lnTo>
                    <a:pt x="1348" y="646"/>
                  </a:lnTo>
                  <a:lnTo>
                    <a:pt x="1348" y="646"/>
                  </a:lnTo>
                  <a:lnTo>
                    <a:pt x="1346" y="646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4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6" y="646"/>
                  </a:lnTo>
                  <a:lnTo>
                    <a:pt x="1344" y="648"/>
                  </a:lnTo>
                  <a:lnTo>
                    <a:pt x="1344" y="648"/>
                  </a:lnTo>
                  <a:lnTo>
                    <a:pt x="1344" y="648"/>
                  </a:lnTo>
                  <a:lnTo>
                    <a:pt x="1344" y="648"/>
                  </a:lnTo>
                  <a:lnTo>
                    <a:pt x="1344" y="648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6" y="648"/>
                  </a:lnTo>
                  <a:lnTo>
                    <a:pt x="1344" y="650"/>
                  </a:lnTo>
                  <a:lnTo>
                    <a:pt x="1344" y="650"/>
                  </a:lnTo>
                  <a:lnTo>
                    <a:pt x="1344" y="650"/>
                  </a:lnTo>
                  <a:lnTo>
                    <a:pt x="1344" y="650"/>
                  </a:lnTo>
                  <a:lnTo>
                    <a:pt x="1342" y="650"/>
                  </a:lnTo>
                  <a:lnTo>
                    <a:pt x="1342" y="650"/>
                  </a:lnTo>
                  <a:lnTo>
                    <a:pt x="1342" y="653"/>
                  </a:lnTo>
                  <a:lnTo>
                    <a:pt x="1342" y="653"/>
                  </a:lnTo>
                  <a:lnTo>
                    <a:pt x="1339" y="653"/>
                  </a:lnTo>
                  <a:lnTo>
                    <a:pt x="1339" y="653"/>
                  </a:lnTo>
                  <a:lnTo>
                    <a:pt x="1342" y="653"/>
                  </a:lnTo>
                  <a:lnTo>
                    <a:pt x="1342" y="653"/>
                  </a:lnTo>
                  <a:lnTo>
                    <a:pt x="1342" y="653"/>
                  </a:lnTo>
                  <a:lnTo>
                    <a:pt x="1342" y="653"/>
                  </a:lnTo>
                  <a:lnTo>
                    <a:pt x="1339" y="653"/>
                  </a:lnTo>
                  <a:lnTo>
                    <a:pt x="1339" y="655"/>
                  </a:lnTo>
                  <a:lnTo>
                    <a:pt x="1339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5"/>
                  </a:lnTo>
                  <a:lnTo>
                    <a:pt x="1337" y="657"/>
                  </a:lnTo>
                  <a:lnTo>
                    <a:pt x="1337" y="657"/>
                  </a:lnTo>
                  <a:lnTo>
                    <a:pt x="1337" y="657"/>
                  </a:lnTo>
                  <a:lnTo>
                    <a:pt x="1335" y="659"/>
                  </a:lnTo>
                  <a:lnTo>
                    <a:pt x="1335" y="659"/>
                  </a:lnTo>
                  <a:lnTo>
                    <a:pt x="1335" y="659"/>
                  </a:lnTo>
                  <a:lnTo>
                    <a:pt x="1335" y="659"/>
                  </a:lnTo>
                  <a:lnTo>
                    <a:pt x="1333" y="662"/>
                  </a:lnTo>
                  <a:lnTo>
                    <a:pt x="1333" y="662"/>
                  </a:lnTo>
                  <a:lnTo>
                    <a:pt x="1333" y="662"/>
                  </a:lnTo>
                  <a:lnTo>
                    <a:pt x="1333" y="662"/>
                  </a:lnTo>
                  <a:lnTo>
                    <a:pt x="1330" y="662"/>
                  </a:lnTo>
                  <a:lnTo>
                    <a:pt x="1330" y="662"/>
                  </a:lnTo>
                  <a:lnTo>
                    <a:pt x="1330" y="662"/>
                  </a:lnTo>
                  <a:lnTo>
                    <a:pt x="1333" y="662"/>
                  </a:lnTo>
                  <a:lnTo>
                    <a:pt x="1330" y="662"/>
                  </a:lnTo>
                  <a:lnTo>
                    <a:pt x="1330" y="662"/>
                  </a:lnTo>
                  <a:lnTo>
                    <a:pt x="1330" y="664"/>
                  </a:lnTo>
                  <a:lnTo>
                    <a:pt x="1330" y="664"/>
                  </a:lnTo>
                  <a:lnTo>
                    <a:pt x="1328" y="664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6"/>
                  </a:lnTo>
                  <a:lnTo>
                    <a:pt x="1328" y="668"/>
                  </a:lnTo>
                  <a:lnTo>
                    <a:pt x="1328" y="668"/>
                  </a:lnTo>
                  <a:lnTo>
                    <a:pt x="1328" y="668"/>
                  </a:lnTo>
                  <a:lnTo>
                    <a:pt x="1328" y="668"/>
                  </a:lnTo>
                  <a:lnTo>
                    <a:pt x="1328" y="668"/>
                  </a:lnTo>
                  <a:lnTo>
                    <a:pt x="1328" y="668"/>
                  </a:lnTo>
                  <a:lnTo>
                    <a:pt x="1326" y="668"/>
                  </a:lnTo>
                  <a:lnTo>
                    <a:pt x="1326" y="668"/>
                  </a:lnTo>
                  <a:lnTo>
                    <a:pt x="1326" y="668"/>
                  </a:lnTo>
                  <a:lnTo>
                    <a:pt x="1324" y="668"/>
                  </a:lnTo>
                  <a:lnTo>
                    <a:pt x="1324" y="671"/>
                  </a:lnTo>
                  <a:lnTo>
                    <a:pt x="1324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1"/>
                  </a:lnTo>
                  <a:lnTo>
                    <a:pt x="1326" y="673"/>
                  </a:lnTo>
                  <a:lnTo>
                    <a:pt x="1324" y="673"/>
                  </a:lnTo>
                  <a:lnTo>
                    <a:pt x="1324" y="673"/>
                  </a:lnTo>
                  <a:lnTo>
                    <a:pt x="1324" y="675"/>
                  </a:lnTo>
                  <a:lnTo>
                    <a:pt x="1324" y="675"/>
                  </a:lnTo>
                  <a:lnTo>
                    <a:pt x="1324" y="675"/>
                  </a:lnTo>
                  <a:lnTo>
                    <a:pt x="1326" y="673"/>
                  </a:lnTo>
                  <a:lnTo>
                    <a:pt x="1326" y="673"/>
                  </a:lnTo>
                  <a:lnTo>
                    <a:pt x="1326" y="671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0" y="668"/>
                  </a:lnTo>
                  <a:lnTo>
                    <a:pt x="1333" y="668"/>
                  </a:lnTo>
                  <a:lnTo>
                    <a:pt x="1333" y="666"/>
                  </a:lnTo>
                  <a:lnTo>
                    <a:pt x="1333" y="666"/>
                  </a:lnTo>
                  <a:lnTo>
                    <a:pt x="1333" y="668"/>
                  </a:lnTo>
                  <a:lnTo>
                    <a:pt x="1335" y="668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5" y="666"/>
                  </a:lnTo>
                  <a:lnTo>
                    <a:pt x="1337" y="664"/>
                  </a:lnTo>
                  <a:lnTo>
                    <a:pt x="1337" y="664"/>
                  </a:lnTo>
                  <a:lnTo>
                    <a:pt x="1337" y="664"/>
                  </a:lnTo>
                  <a:lnTo>
                    <a:pt x="1337" y="664"/>
                  </a:lnTo>
                  <a:lnTo>
                    <a:pt x="1339" y="662"/>
                  </a:lnTo>
                  <a:lnTo>
                    <a:pt x="1339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59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2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39" y="664"/>
                  </a:lnTo>
                  <a:lnTo>
                    <a:pt x="1339" y="664"/>
                  </a:lnTo>
                  <a:lnTo>
                    <a:pt x="1339" y="666"/>
                  </a:lnTo>
                  <a:lnTo>
                    <a:pt x="1339" y="666"/>
                  </a:lnTo>
                  <a:lnTo>
                    <a:pt x="1339" y="666"/>
                  </a:lnTo>
                  <a:lnTo>
                    <a:pt x="1339" y="666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2" y="664"/>
                  </a:lnTo>
                  <a:lnTo>
                    <a:pt x="1344" y="664"/>
                  </a:lnTo>
                  <a:lnTo>
                    <a:pt x="1344" y="664"/>
                  </a:lnTo>
                  <a:lnTo>
                    <a:pt x="1344" y="664"/>
                  </a:lnTo>
                  <a:lnTo>
                    <a:pt x="1344" y="664"/>
                  </a:lnTo>
                  <a:lnTo>
                    <a:pt x="1346" y="664"/>
                  </a:lnTo>
                  <a:lnTo>
                    <a:pt x="1346" y="664"/>
                  </a:lnTo>
                  <a:lnTo>
                    <a:pt x="1346" y="664"/>
                  </a:lnTo>
                  <a:lnTo>
                    <a:pt x="1346" y="664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6" y="666"/>
                  </a:lnTo>
                  <a:lnTo>
                    <a:pt x="1348" y="666"/>
                  </a:lnTo>
                  <a:lnTo>
                    <a:pt x="1348" y="666"/>
                  </a:lnTo>
                  <a:lnTo>
                    <a:pt x="1348" y="666"/>
                  </a:lnTo>
                  <a:lnTo>
                    <a:pt x="1348" y="666"/>
                  </a:lnTo>
                  <a:lnTo>
                    <a:pt x="1348" y="664"/>
                  </a:lnTo>
                  <a:lnTo>
                    <a:pt x="1348" y="664"/>
                  </a:lnTo>
                  <a:lnTo>
                    <a:pt x="1348" y="664"/>
                  </a:lnTo>
                  <a:lnTo>
                    <a:pt x="1351" y="664"/>
                  </a:lnTo>
                  <a:lnTo>
                    <a:pt x="1351" y="664"/>
                  </a:lnTo>
                  <a:lnTo>
                    <a:pt x="1353" y="664"/>
                  </a:lnTo>
                  <a:lnTo>
                    <a:pt x="1353" y="664"/>
                  </a:lnTo>
                  <a:lnTo>
                    <a:pt x="1353" y="664"/>
                  </a:lnTo>
                  <a:lnTo>
                    <a:pt x="1353" y="666"/>
                  </a:lnTo>
                  <a:lnTo>
                    <a:pt x="1353" y="666"/>
                  </a:lnTo>
                  <a:lnTo>
                    <a:pt x="1351" y="666"/>
                  </a:lnTo>
                  <a:lnTo>
                    <a:pt x="1351" y="666"/>
                  </a:lnTo>
                  <a:lnTo>
                    <a:pt x="1351" y="666"/>
                  </a:lnTo>
                  <a:lnTo>
                    <a:pt x="1351" y="666"/>
                  </a:lnTo>
                  <a:lnTo>
                    <a:pt x="1351" y="666"/>
                  </a:lnTo>
                  <a:lnTo>
                    <a:pt x="1348" y="668"/>
                  </a:lnTo>
                  <a:lnTo>
                    <a:pt x="1346" y="668"/>
                  </a:lnTo>
                  <a:lnTo>
                    <a:pt x="1346" y="668"/>
                  </a:lnTo>
                  <a:lnTo>
                    <a:pt x="1344" y="668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39" y="671"/>
                  </a:lnTo>
                  <a:lnTo>
                    <a:pt x="1339" y="671"/>
                  </a:lnTo>
                  <a:lnTo>
                    <a:pt x="1339" y="671"/>
                  </a:lnTo>
                  <a:lnTo>
                    <a:pt x="1339" y="671"/>
                  </a:lnTo>
                  <a:lnTo>
                    <a:pt x="1339" y="671"/>
                  </a:lnTo>
                  <a:lnTo>
                    <a:pt x="1339" y="673"/>
                  </a:lnTo>
                  <a:lnTo>
                    <a:pt x="1337" y="673"/>
                  </a:lnTo>
                  <a:lnTo>
                    <a:pt x="1337" y="673"/>
                  </a:lnTo>
                  <a:lnTo>
                    <a:pt x="1337" y="673"/>
                  </a:lnTo>
                  <a:lnTo>
                    <a:pt x="1337" y="673"/>
                  </a:lnTo>
                  <a:lnTo>
                    <a:pt x="1337" y="673"/>
                  </a:lnTo>
                  <a:lnTo>
                    <a:pt x="1337" y="675"/>
                  </a:lnTo>
                  <a:lnTo>
                    <a:pt x="1337" y="673"/>
                  </a:lnTo>
                  <a:lnTo>
                    <a:pt x="1337" y="673"/>
                  </a:lnTo>
                  <a:lnTo>
                    <a:pt x="1337" y="673"/>
                  </a:lnTo>
                  <a:lnTo>
                    <a:pt x="1339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2" y="671"/>
                  </a:lnTo>
                  <a:lnTo>
                    <a:pt x="1344" y="671"/>
                  </a:lnTo>
                  <a:lnTo>
                    <a:pt x="1344" y="671"/>
                  </a:lnTo>
                  <a:lnTo>
                    <a:pt x="1344" y="671"/>
                  </a:lnTo>
                  <a:lnTo>
                    <a:pt x="1344" y="671"/>
                  </a:lnTo>
                  <a:lnTo>
                    <a:pt x="1342" y="671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3"/>
                  </a:lnTo>
                  <a:lnTo>
                    <a:pt x="1342" y="675"/>
                  </a:lnTo>
                  <a:lnTo>
                    <a:pt x="1339" y="675"/>
                  </a:lnTo>
                  <a:lnTo>
                    <a:pt x="1339" y="675"/>
                  </a:lnTo>
                  <a:lnTo>
                    <a:pt x="1339" y="675"/>
                  </a:lnTo>
                  <a:lnTo>
                    <a:pt x="1339" y="675"/>
                  </a:lnTo>
                  <a:lnTo>
                    <a:pt x="1337" y="675"/>
                  </a:lnTo>
                  <a:lnTo>
                    <a:pt x="1337" y="675"/>
                  </a:lnTo>
                  <a:lnTo>
                    <a:pt x="1337" y="675"/>
                  </a:lnTo>
                  <a:lnTo>
                    <a:pt x="1337" y="675"/>
                  </a:lnTo>
                  <a:lnTo>
                    <a:pt x="1337" y="675"/>
                  </a:lnTo>
                  <a:lnTo>
                    <a:pt x="1337" y="677"/>
                  </a:lnTo>
                  <a:lnTo>
                    <a:pt x="1337" y="677"/>
                  </a:lnTo>
                  <a:lnTo>
                    <a:pt x="1337" y="677"/>
                  </a:lnTo>
                  <a:lnTo>
                    <a:pt x="1337" y="677"/>
                  </a:lnTo>
                  <a:lnTo>
                    <a:pt x="1337" y="677"/>
                  </a:lnTo>
                  <a:lnTo>
                    <a:pt x="1337" y="677"/>
                  </a:lnTo>
                  <a:lnTo>
                    <a:pt x="1339" y="675"/>
                  </a:lnTo>
                  <a:lnTo>
                    <a:pt x="1339" y="675"/>
                  </a:lnTo>
                  <a:lnTo>
                    <a:pt x="1342" y="675"/>
                  </a:lnTo>
                  <a:lnTo>
                    <a:pt x="1342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5"/>
                  </a:lnTo>
                  <a:lnTo>
                    <a:pt x="1344" y="675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2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4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5"/>
                  </a:lnTo>
                  <a:lnTo>
                    <a:pt x="1348" y="675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80"/>
                  </a:lnTo>
                  <a:lnTo>
                    <a:pt x="1346" y="680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6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5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5"/>
                  </a:lnTo>
                  <a:lnTo>
                    <a:pt x="1348" y="675"/>
                  </a:lnTo>
                  <a:lnTo>
                    <a:pt x="1351" y="675"/>
                  </a:lnTo>
                  <a:lnTo>
                    <a:pt x="1351" y="675"/>
                  </a:lnTo>
                  <a:lnTo>
                    <a:pt x="1351" y="675"/>
                  </a:lnTo>
                  <a:lnTo>
                    <a:pt x="1351" y="675"/>
                  </a:lnTo>
                  <a:lnTo>
                    <a:pt x="1351" y="675"/>
                  </a:lnTo>
                  <a:lnTo>
                    <a:pt x="1351" y="675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48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48" y="677"/>
                  </a:lnTo>
                  <a:lnTo>
                    <a:pt x="1348" y="680"/>
                  </a:lnTo>
                  <a:lnTo>
                    <a:pt x="1348" y="680"/>
                  </a:lnTo>
                  <a:lnTo>
                    <a:pt x="1348" y="680"/>
                  </a:lnTo>
                  <a:lnTo>
                    <a:pt x="1348" y="680"/>
                  </a:lnTo>
                  <a:lnTo>
                    <a:pt x="1351" y="680"/>
                  </a:lnTo>
                  <a:lnTo>
                    <a:pt x="1348" y="680"/>
                  </a:lnTo>
                  <a:lnTo>
                    <a:pt x="1351" y="680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77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1" y="680"/>
                  </a:lnTo>
                  <a:lnTo>
                    <a:pt x="1353" y="680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3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5"/>
                  </a:lnTo>
                  <a:lnTo>
                    <a:pt x="1355" y="677"/>
                  </a:lnTo>
                  <a:lnTo>
                    <a:pt x="1355" y="677"/>
                  </a:lnTo>
                  <a:lnTo>
                    <a:pt x="1355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77"/>
                  </a:lnTo>
                  <a:lnTo>
                    <a:pt x="1353" y="680"/>
                  </a:lnTo>
                  <a:lnTo>
                    <a:pt x="1353" y="680"/>
                  </a:lnTo>
                  <a:lnTo>
                    <a:pt x="1353" y="680"/>
                  </a:lnTo>
                  <a:lnTo>
                    <a:pt x="1353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48" y="682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4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48" y="686"/>
                  </a:lnTo>
                  <a:lnTo>
                    <a:pt x="1351" y="686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4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1" y="682"/>
                  </a:lnTo>
                  <a:lnTo>
                    <a:pt x="1353" y="682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0"/>
                  </a:lnTo>
                  <a:lnTo>
                    <a:pt x="1355" y="682"/>
                  </a:lnTo>
                  <a:lnTo>
                    <a:pt x="1355" y="682"/>
                  </a:lnTo>
                  <a:lnTo>
                    <a:pt x="1355" y="682"/>
                  </a:lnTo>
                  <a:lnTo>
                    <a:pt x="1355" y="682"/>
                  </a:lnTo>
                  <a:lnTo>
                    <a:pt x="1355" y="682"/>
                  </a:lnTo>
                  <a:lnTo>
                    <a:pt x="1355" y="682"/>
                  </a:lnTo>
                  <a:lnTo>
                    <a:pt x="1355" y="682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57" y="682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57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57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77"/>
                  </a:lnTo>
                  <a:lnTo>
                    <a:pt x="1360" y="677"/>
                  </a:lnTo>
                  <a:lnTo>
                    <a:pt x="1360" y="677"/>
                  </a:lnTo>
                  <a:lnTo>
                    <a:pt x="1360" y="677"/>
                  </a:lnTo>
                  <a:lnTo>
                    <a:pt x="1360" y="677"/>
                  </a:lnTo>
                  <a:lnTo>
                    <a:pt x="1360" y="677"/>
                  </a:lnTo>
                  <a:lnTo>
                    <a:pt x="1360" y="677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2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0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0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80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2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7"/>
                  </a:lnTo>
                  <a:lnTo>
                    <a:pt x="1364" y="675"/>
                  </a:lnTo>
                  <a:lnTo>
                    <a:pt x="1366" y="675"/>
                  </a:lnTo>
                  <a:lnTo>
                    <a:pt x="1366" y="675"/>
                  </a:lnTo>
                  <a:lnTo>
                    <a:pt x="1366" y="675"/>
                  </a:lnTo>
                  <a:lnTo>
                    <a:pt x="1366" y="675"/>
                  </a:lnTo>
                  <a:lnTo>
                    <a:pt x="1369" y="675"/>
                  </a:lnTo>
                  <a:lnTo>
                    <a:pt x="1369" y="675"/>
                  </a:lnTo>
                  <a:lnTo>
                    <a:pt x="1369" y="675"/>
                  </a:lnTo>
                  <a:lnTo>
                    <a:pt x="1366" y="675"/>
                  </a:lnTo>
                  <a:lnTo>
                    <a:pt x="1366" y="675"/>
                  </a:lnTo>
                  <a:lnTo>
                    <a:pt x="1366" y="675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5"/>
                  </a:lnTo>
                  <a:lnTo>
                    <a:pt x="1369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77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2"/>
                  </a:lnTo>
                  <a:lnTo>
                    <a:pt x="1366" y="682"/>
                  </a:lnTo>
                  <a:lnTo>
                    <a:pt x="1366" y="682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6" y="680"/>
                  </a:lnTo>
                  <a:lnTo>
                    <a:pt x="1369" y="677"/>
                  </a:lnTo>
                  <a:lnTo>
                    <a:pt x="1369" y="677"/>
                  </a:lnTo>
                  <a:lnTo>
                    <a:pt x="1369" y="677"/>
                  </a:lnTo>
                  <a:lnTo>
                    <a:pt x="1371" y="677"/>
                  </a:lnTo>
                  <a:lnTo>
                    <a:pt x="1369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80"/>
                  </a:lnTo>
                  <a:lnTo>
                    <a:pt x="1371" y="680"/>
                  </a:lnTo>
                  <a:lnTo>
                    <a:pt x="1371" y="680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1" y="677"/>
                  </a:lnTo>
                  <a:lnTo>
                    <a:pt x="1373" y="677"/>
                  </a:lnTo>
                  <a:lnTo>
                    <a:pt x="1373" y="677"/>
                  </a:lnTo>
                  <a:lnTo>
                    <a:pt x="1373" y="677"/>
                  </a:lnTo>
                  <a:lnTo>
                    <a:pt x="1373" y="677"/>
                  </a:lnTo>
                  <a:lnTo>
                    <a:pt x="1373" y="677"/>
                  </a:lnTo>
                  <a:lnTo>
                    <a:pt x="1373" y="677"/>
                  </a:lnTo>
                  <a:lnTo>
                    <a:pt x="1373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5"/>
                  </a:lnTo>
                  <a:lnTo>
                    <a:pt x="1375" y="675"/>
                  </a:lnTo>
                  <a:lnTo>
                    <a:pt x="1375" y="675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5" y="677"/>
                  </a:lnTo>
                  <a:lnTo>
                    <a:pt x="1378" y="677"/>
                  </a:lnTo>
                  <a:lnTo>
                    <a:pt x="1378" y="677"/>
                  </a:lnTo>
                  <a:lnTo>
                    <a:pt x="1378" y="677"/>
                  </a:lnTo>
                  <a:lnTo>
                    <a:pt x="1378" y="677"/>
                  </a:lnTo>
                  <a:lnTo>
                    <a:pt x="1378" y="677"/>
                  </a:lnTo>
                  <a:lnTo>
                    <a:pt x="1378" y="677"/>
                  </a:lnTo>
                  <a:lnTo>
                    <a:pt x="1380" y="677"/>
                  </a:lnTo>
                  <a:lnTo>
                    <a:pt x="1380" y="677"/>
                  </a:lnTo>
                  <a:lnTo>
                    <a:pt x="1380" y="677"/>
                  </a:lnTo>
                  <a:lnTo>
                    <a:pt x="1380" y="680"/>
                  </a:lnTo>
                  <a:lnTo>
                    <a:pt x="1380" y="680"/>
                  </a:lnTo>
                  <a:lnTo>
                    <a:pt x="1382" y="680"/>
                  </a:lnTo>
                  <a:lnTo>
                    <a:pt x="1380" y="680"/>
                  </a:lnTo>
                  <a:lnTo>
                    <a:pt x="1380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0"/>
                  </a:lnTo>
                  <a:lnTo>
                    <a:pt x="1382" y="682"/>
                  </a:lnTo>
                  <a:lnTo>
                    <a:pt x="1384" y="682"/>
                  </a:lnTo>
                  <a:lnTo>
                    <a:pt x="1384" y="680"/>
                  </a:lnTo>
                  <a:lnTo>
                    <a:pt x="1384" y="682"/>
                  </a:lnTo>
                  <a:lnTo>
                    <a:pt x="1384" y="682"/>
                  </a:lnTo>
                  <a:lnTo>
                    <a:pt x="1384" y="682"/>
                  </a:lnTo>
                  <a:lnTo>
                    <a:pt x="1384" y="682"/>
                  </a:lnTo>
                  <a:lnTo>
                    <a:pt x="1384" y="682"/>
                  </a:lnTo>
                  <a:lnTo>
                    <a:pt x="1382" y="682"/>
                  </a:lnTo>
                  <a:lnTo>
                    <a:pt x="1382" y="682"/>
                  </a:lnTo>
                  <a:lnTo>
                    <a:pt x="1382" y="682"/>
                  </a:lnTo>
                  <a:lnTo>
                    <a:pt x="1382" y="682"/>
                  </a:lnTo>
                  <a:lnTo>
                    <a:pt x="1382" y="682"/>
                  </a:lnTo>
                  <a:lnTo>
                    <a:pt x="1382" y="682"/>
                  </a:lnTo>
                  <a:lnTo>
                    <a:pt x="1382" y="684"/>
                  </a:lnTo>
                  <a:lnTo>
                    <a:pt x="1382" y="684"/>
                  </a:lnTo>
                  <a:lnTo>
                    <a:pt x="1382" y="684"/>
                  </a:lnTo>
                  <a:lnTo>
                    <a:pt x="1382" y="684"/>
                  </a:lnTo>
                  <a:lnTo>
                    <a:pt x="1382" y="684"/>
                  </a:lnTo>
                  <a:lnTo>
                    <a:pt x="1382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4"/>
                  </a:lnTo>
                  <a:lnTo>
                    <a:pt x="1380" y="686"/>
                  </a:lnTo>
                  <a:lnTo>
                    <a:pt x="1380" y="686"/>
                  </a:lnTo>
                  <a:lnTo>
                    <a:pt x="1380" y="686"/>
                  </a:lnTo>
                  <a:lnTo>
                    <a:pt x="1375" y="686"/>
                  </a:lnTo>
                  <a:lnTo>
                    <a:pt x="1375" y="686"/>
                  </a:lnTo>
                  <a:lnTo>
                    <a:pt x="1375" y="686"/>
                  </a:lnTo>
                  <a:lnTo>
                    <a:pt x="1375" y="686"/>
                  </a:lnTo>
                  <a:lnTo>
                    <a:pt x="1375" y="686"/>
                  </a:lnTo>
                  <a:lnTo>
                    <a:pt x="1375" y="686"/>
                  </a:lnTo>
                  <a:lnTo>
                    <a:pt x="1378" y="686"/>
                  </a:lnTo>
                  <a:lnTo>
                    <a:pt x="1378" y="686"/>
                  </a:lnTo>
                  <a:lnTo>
                    <a:pt x="1378" y="686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6"/>
                  </a:lnTo>
                  <a:lnTo>
                    <a:pt x="1375" y="686"/>
                  </a:lnTo>
                  <a:lnTo>
                    <a:pt x="1373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5" y="689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73" y="689"/>
                  </a:lnTo>
                  <a:lnTo>
                    <a:pt x="1373" y="691"/>
                  </a:lnTo>
                  <a:lnTo>
                    <a:pt x="1373" y="691"/>
                  </a:lnTo>
                  <a:lnTo>
                    <a:pt x="1373" y="689"/>
                  </a:lnTo>
                  <a:lnTo>
                    <a:pt x="1373" y="691"/>
                  </a:lnTo>
                  <a:lnTo>
                    <a:pt x="1373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69" y="691"/>
                  </a:lnTo>
                  <a:lnTo>
                    <a:pt x="1369" y="691"/>
                  </a:lnTo>
                  <a:lnTo>
                    <a:pt x="1369" y="691"/>
                  </a:lnTo>
                  <a:lnTo>
                    <a:pt x="1369" y="691"/>
                  </a:lnTo>
                  <a:lnTo>
                    <a:pt x="1369" y="691"/>
                  </a:lnTo>
                  <a:lnTo>
                    <a:pt x="1369" y="693"/>
                  </a:lnTo>
                  <a:lnTo>
                    <a:pt x="1369" y="693"/>
                  </a:lnTo>
                  <a:lnTo>
                    <a:pt x="1366" y="693"/>
                  </a:lnTo>
                  <a:lnTo>
                    <a:pt x="1366" y="693"/>
                  </a:lnTo>
                  <a:lnTo>
                    <a:pt x="1366" y="693"/>
                  </a:lnTo>
                  <a:lnTo>
                    <a:pt x="1369" y="693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1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3" y="691"/>
                  </a:lnTo>
                  <a:lnTo>
                    <a:pt x="1373" y="691"/>
                  </a:lnTo>
                  <a:lnTo>
                    <a:pt x="1373" y="691"/>
                  </a:lnTo>
                  <a:lnTo>
                    <a:pt x="1375" y="691"/>
                  </a:lnTo>
                  <a:lnTo>
                    <a:pt x="1373" y="691"/>
                  </a:lnTo>
                  <a:lnTo>
                    <a:pt x="1373" y="691"/>
                  </a:lnTo>
                  <a:lnTo>
                    <a:pt x="1373" y="691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3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3" y="695"/>
                  </a:lnTo>
                  <a:lnTo>
                    <a:pt x="1373" y="695"/>
                  </a:lnTo>
                  <a:lnTo>
                    <a:pt x="1373" y="695"/>
                  </a:lnTo>
                  <a:lnTo>
                    <a:pt x="1371" y="695"/>
                  </a:lnTo>
                  <a:lnTo>
                    <a:pt x="1371" y="695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3" y="693"/>
                  </a:lnTo>
                  <a:lnTo>
                    <a:pt x="1375" y="693"/>
                  </a:lnTo>
                  <a:lnTo>
                    <a:pt x="1375" y="693"/>
                  </a:lnTo>
                  <a:lnTo>
                    <a:pt x="1375" y="693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8" y="693"/>
                  </a:lnTo>
                  <a:lnTo>
                    <a:pt x="1378" y="693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8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5" y="695"/>
                  </a:lnTo>
                  <a:lnTo>
                    <a:pt x="1373" y="695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1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698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1" y="700"/>
                  </a:lnTo>
                  <a:lnTo>
                    <a:pt x="1371" y="700"/>
                  </a:lnTo>
                  <a:lnTo>
                    <a:pt x="1371" y="700"/>
                  </a:lnTo>
                  <a:lnTo>
                    <a:pt x="1369" y="700"/>
                  </a:lnTo>
                  <a:lnTo>
                    <a:pt x="1369" y="700"/>
                  </a:lnTo>
                  <a:lnTo>
                    <a:pt x="1369" y="700"/>
                  </a:lnTo>
                  <a:lnTo>
                    <a:pt x="1366" y="700"/>
                  </a:lnTo>
                  <a:lnTo>
                    <a:pt x="1366" y="700"/>
                  </a:lnTo>
                  <a:lnTo>
                    <a:pt x="1366" y="700"/>
                  </a:lnTo>
                  <a:lnTo>
                    <a:pt x="1366" y="702"/>
                  </a:lnTo>
                  <a:lnTo>
                    <a:pt x="1366" y="702"/>
                  </a:lnTo>
                  <a:lnTo>
                    <a:pt x="1366" y="702"/>
                  </a:lnTo>
                  <a:lnTo>
                    <a:pt x="1366" y="702"/>
                  </a:lnTo>
                  <a:lnTo>
                    <a:pt x="1366" y="702"/>
                  </a:lnTo>
                  <a:lnTo>
                    <a:pt x="1366" y="702"/>
                  </a:lnTo>
                  <a:lnTo>
                    <a:pt x="1366" y="702"/>
                  </a:lnTo>
                  <a:lnTo>
                    <a:pt x="1366" y="700"/>
                  </a:lnTo>
                  <a:lnTo>
                    <a:pt x="1369" y="700"/>
                  </a:lnTo>
                  <a:lnTo>
                    <a:pt x="1369" y="702"/>
                  </a:lnTo>
                  <a:lnTo>
                    <a:pt x="1369" y="700"/>
                  </a:lnTo>
                  <a:lnTo>
                    <a:pt x="1371" y="700"/>
                  </a:lnTo>
                  <a:lnTo>
                    <a:pt x="1371" y="700"/>
                  </a:lnTo>
                  <a:lnTo>
                    <a:pt x="1373" y="700"/>
                  </a:lnTo>
                  <a:lnTo>
                    <a:pt x="1371" y="700"/>
                  </a:lnTo>
                  <a:lnTo>
                    <a:pt x="1371" y="700"/>
                  </a:lnTo>
                  <a:lnTo>
                    <a:pt x="1371" y="702"/>
                  </a:lnTo>
                  <a:lnTo>
                    <a:pt x="1371" y="702"/>
                  </a:lnTo>
                  <a:lnTo>
                    <a:pt x="1371" y="702"/>
                  </a:lnTo>
                  <a:lnTo>
                    <a:pt x="1371" y="702"/>
                  </a:lnTo>
                  <a:lnTo>
                    <a:pt x="1371" y="702"/>
                  </a:lnTo>
                  <a:lnTo>
                    <a:pt x="1371" y="702"/>
                  </a:lnTo>
                  <a:lnTo>
                    <a:pt x="1371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698"/>
                  </a:lnTo>
                  <a:lnTo>
                    <a:pt x="1375" y="700"/>
                  </a:lnTo>
                  <a:lnTo>
                    <a:pt x="1375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3" y="700"/>
                  </a:lnTo>
                  <a:lnTo>
                    <a:pt x="1375" y="700"/>
                  </a:lnTo>
                  <a:lnTo>
                    <a:pt x="1375" y="700"/>
                  </a:lnTo>
                  <a:lnTo>
                    <a:pt x="1375" y="700"/>
                  </a:lnTo>
                  <a:lnTo>
                    <a:pt x="1375" y="700"/>
                  </a:lnTo>
                  <a:lnTo>
                    <a:pt x="1378" y="698"/>
                  </a:lnTo>
                  <a:lnTo>
                    <a:pt x="1378" y="698"/>
                  </a:lnTo>
                  <a:lnTo>
                    <a:pt x="1378" y="698"/>
                  </a:lnTo>
                  <a:lnTo>
                    <a:pt x="1378" y="700"/>
                  </a:lnTo>
                  <a:lnTo>
                    <a:pt x="1375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5" y="700"/>
                  </a:lnTo>
                  <a:lnTo>
                    <a:pt x="1375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8" y="700"/>
                  </a:lnTo>
                  <a:lnTo>
                    <a:pt x="1378" y="698"/>
                  </a:lnTo>
                  <a:lnTo>
                    <a:pt x="1378" y="698"/>
                  </a:lnTo>
                  <a:lnTo>
                    <a:pt x="1378" y="698"/>
                  </a:lnTo>
                  <a:lnTo>
                    <a:pt x="1378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8"/>
                  </a:lnTo>
                  <a:lnTo>
                    <a:pt x="1380" y="695"/>
                  </a:lnTo>
                  <a:lnTo>
                    <a:pt x="1380" y="695"/>
                  </a:lnTo>
                  <a:lnTo>
                    <a:pt x="1380" y="695"/>
                  </a:lnTo>
                  <a:lnTo>
                    <a:pt x="1380" y="695"/>
                  </a:lnTo>
                  <a:lnTo>
                    <a:pt x="1380" y="695"/>
                  </a:lnTo>
                  <a:lnTo>
                    <a:pt x="1382" y="695"/>
                  </a:lnTo>
                  <a:lnTo>
                    <a:pt x="1382" y="695"/>
                  </a:lnTo>
                  <a:lnTo>
                    <a:pt x="1382" y="695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2" y="698"/>
                  </a:lnTo>
                  <a:lnTo>
                    <a:pt x="1384" y="698"/>
                  </a:lnTo>
                  <a:lnTo>
                    <a:pt x="1384" y="698"/>
                  </a:lnTo>
                  <a:lnTo>
                    <a:pt x="1384" y="698"/>
                  </a:lnTo>
                  <a:lnTo>
                    <a:pt x="1384" y="698"/>
                  </a:lnTo>
                  <a:lnTo>
                    <a:pt x="1384" y="698"/>
                  </a:lnTo>
                  <a:lnTo>
                    <a:pt x="1384" y="695"/>
                  </a:lnTo>
                  <a:lnTo>
                    <a:pt x="1384" y="695"/>
                  </a:lnTo>
                  <a:lnTo>
                    <a:pt x="1384" y="695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7" y="693"/>
                  </a:lnTo>
                  <a:lnTo>
                    <a:pt x="1387" y="693"/>
                  </a:lnTo>
                  <a:lnTo>
                    <a:pt x="1387" y="693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7" y="695"/>
                  </a:lnTo>
                  <a:lnTo>
                    <a:pt x="1389" y="695"/>
                  </a:lnTo>
                  <a:lnTo>
                    <a:pt x="1389" y="695"/>
                  </a:lnTo>
                  <a:lnTo>
                    <a:pt x="1389" y="695"/>
                  </a:lnTo>
                  <a:lnTo>
                    <a:pt x="1389" y="695"/>
                  </a:lnTo>
                  <a:lnTo>
                    <a:pt x="1389" y="695"/>
                  </a:lnTo>
                  <a:lnTo>
                    <a:pt x="1389" y="695"/>
                  </a:lnTo>
                  <a:lnTo>
                    <a:pt x="1389" y="698"/>
                  </a:lnTo>
                  <a:lnTo>
                    <a:pt x="1389" y="698"/>
                  </a:lnTo>
                  <a:lnTo>
                    <a:pt x="1389" y="698"/>
                  </a:lnTo>
                  <a:lnTo>
                    <a:pt x="1389" y="698"/>
                  </a:lnTo>
                  <a:lnTo>
                    <a:pt x="1389" y="698"/>
                  </a:lnTo>
                  <a:lnTo>
                    <a:pt x="1389" y="698"/>
                  </a:lnTo>
                  <a:lnTo>
                    <a:pt x="1387" y="698"/>
                  </a:lnTo>
                  <a:lnTo>
                    <a:pt x="1387" y="698"/>
                  </a:lnTo>
                  <a:lnTo>
                    <a:pt x="1387" y="698"/>
                  </a:lnTo>
                  <a:lnTo>
                    <a:pt x="1387" y="698"/>
                  </a:lnTo>
                  <a:lnTo>
                    <a:pt x="1387" y="700"/>
                  </a:lnTo>
                  <a:lnTo>
                    <a:pt x="1387" y="700"/>
                  </a:lnTo>
                  <a:lnTo>
                    <a:pt x="1387" y="700"/>
                  </a:lnTo>
                  <a:lnTo>
                    <a:pt x="1387" y="700"/>
                  </a:lnTo>
                  <a:lnTo>
                    <a:pt x="1387" y="700"/>
                  </a:lnTo>
                  <a:lnTo>
                    <a:pt x="1384" y="700"/>
                  </a:lnTo>
                  <a:lnTo>
                    <a:pt x="1384" y="702"/>
                  </a:lnTo>
                  <a:lnTo>
                    <a:pt x="1384" y="702"/>
                  </a:lnTo>
                  <a:lnTo>
                    <a:pt x="1382" y="702"/>
                  </a:lnTo>
                  <a:lnTo>
                    <a:pt x="1382" y="702"/>
                  </a:lnTo>
                  <a:lnTo>
                    <a:pt x="1382" y="702"/>
                  </a:lnTo>
                  <a:lnTo>
                    <a:pt x="1382" y="702"/>
                  </a:lnTo>
                  <a:lnTo>
                    <a:pt x="1382" y="702"/>
                  </a:lnTo>
                  <a:lnTo>
                    <a:pt x="1382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2"/>
                  </a:lnTo>
                  <a:lnTo>
                    <a:pt x="1380" y="704"/>
                  </a:lnTo>
                  <a:lnTo>
                    <a:pt x="1380" y="704"/>
                  </a:lnTo>
                  <a:lnTo>
                    <a:pt x="1380" y="704"/>
                  </a:lnTo>
                  <a:lnTo>
                    <a:pt x="1378" y="704"/>
                  </a:lnTo>
                  <a:lnTo>
                    <a:pt x="1378" y="704"/>
                  </a:lnTo>
                  <a:lnTo>
                    <a:pt x="1378" y="704"/>
                  </a:lnTo>
                  <a:lnTo>
                    <a:pt x="1378" y="704"/>
                  </a:lnTo>
                  <a:lnTo>
                    <a:pt x="1375" y="704"/>
                  </a:lnTo>
                  <a:lnTo>
                    <a:pt x="1375" y="704"/>
                  </a:lnTo>
                  <a:lnTo>
                    <a:pt x="1375" y="707"/>
                  </a:lnTo>
                  <a:lnTo>
                    <a:pt x="1373" y="707"/>
                  </a:lnTo>
                  <a:lnTo>
                    <a:pt x="1373" y="707"/>
                  </a:lnTo>
                  <a:lnTo>
                    <a:pt x="1373" y="707"/>
                  </a:lnTo>
                  <a:lnTo>
                    <a:pt x="1373" y="707"/>
                  </a:lnTo>
                  <a:lnTo>
                    <a:pt x="1373" y="707"/>
                  </a:lnTo>
                  <a:lnTo>
                    <a:pt x="1371" y="707"/>
                  </a:lnTo>
                  <a:lnTo>
                    <a:pt x="1371" y="707"/>
                  </a:lnTo>
                  <a:lnTo>
                    <a:pt x="1371" y="707"/>
                  </a:lnTo>
                  <a:lnTo>
                    <a:pt x="1371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4"/>
                  </a:lnTo>
                  <a:lnTo>
                    <a:pt x="1369" y="704"/>
                  </a:lnTo>
                  <a:lnTo>
                    <a:pt x="1369" y="704"/>
                  </a:lnTo>
                  <a:lnTo>
                    <a:pt x="1369" y="704"/>
                  </a:lnTo>
                  <a:lnTo>
                    <a:pt x="1369" y="704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7"/>
                  </a:lnTo>
                  <a:lnTo>
                    <a:pt x="1369" y="709"/>
                  </a:lnTo>
                  <a:lnTo>
                    <a:pt x="1369" y="709"/>
                  </a:lnTo>
                  <a:lnTo>
                    <a:pt x="1371" y="709"/>
                  </a:lnTo>
                  <a:lnTo>
                    <a:pt x="1371" y="709"/>
                  </a:lnTo>
                  <a:lnTo>
                    <a:pt x="1373" y="709"/>
                  </a:lnTo>
                  <a:lnTo>
                    <a:pt x="1373" y="709"/>
                  </a:lnTo>
                  <a:lnTo>
                    <a:pt x="1371" y="709"/>
                  </a:lnTo>
                  <a:lnTo>
                    <a:pt x="1371" y="709"/>
                  </a:lnTo>
                  <a:lnTo>
                    <a:pt x="1369" y="709"/>
                  </a:lnTo>
                  <a:lnTo>
                    <a:pt x="1369" y="709"/>
                  </a:lnTo>
                  <a:lnTo>
                    <a:pt x="1366" y="709"/>
                  </a:lnTo>
                  <a:lnTo>
                    <a:pt x="1369" y="709"/>
                  </a:lnTo>
                  <a:lnTo>
                    <a:pt x="1369" y="711"/>
                  </a:lnTo>
                  <a:lnTo>
                    <a:pt x="1369" y="711"/>
                  </a:lnTo>
                  <a:lnTo>
                    <a:pt x="1369" y="711"/>
                  </a:lnTo>
                  <a:lnTo>
                    <a:pt x="1369" y="711"/>
                  </a:lnTo>
                  <a:lnTo>
                    <a:pt x="1371" y="711"/>
                  </a:lnTo>
                  <a:lnTo>
                    <a:pt x="1371" y="711"/>
                  </a:lnTo>
                  <a:lnTo>
                    <a:pt x="1371" y="709"/>
                  </a:lnTo>
                  <a:lnTo>
                    <a:pt x="1373" y="709"/>
                  </a:lnTo>
                  <a:lnTo>
                    <a:pt x="1373" y="709"/>
                  </a:lnTo>
                  <a:lnTo>
                    <a:pt x="1373" y="709"/>
                  </a:lnTo>
                  <a:lnTo>
                    <a:pt x="1373" y="709"/>
                  </a:lnTo>
                  <a:lnTo>
                    <a:pt x="1373" y="709"/>
                  </a:lnTo>
                  <a:lnTo>
                    <a:pt x="1373" y="711"/>
                  </a:lnTo>
                  <a:lnTo>
                    <a:pt x="1373" y="711"/>
                  </a:lnTo>
                  <a:lnTo>
                    <a:pt x="1371" y="713"/>
                  </a:lnTo>
                  <a:lnTo>
                    <a:pt x="1371" y="713"/>
                  </a:lnTo>
                  <a:lnTo>
                    <a:pt x="1369" y="713"/>
                  </a:lnTo>
                  <a:lnTo>
                    <a:pt x="1369" y="713"/>
                  </a:lnTo>
                  <a:lnTo>
                    <a:pt x="1369" y="713"/>
                  </a:lnTo>
                  <a:lnTo>
                    <a:pt x="1371" y="713"/>
                  </a:lnTo>
                  <a:lnTo>
                    <a:pt x="1371" y="713"/>
                  </a:lnTo>
                  <a:lnTo>
                    <a:pt x="1369" y="713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6"/>
                  </a:lnTo>
                  <a:lnTo>
                    <a:pt x="1369" y="713"/>
                  </a:lnTo>
                  <a:lnTo>
                    <a:pt x="1366" y="713"/>
                  </a:lnTo>
                  <a:lnTo>
                    <a:pt x="1366" y="713"/>
                  </a:lnTo>
                  <a:lnTo>
                    <a:pt x="1366" y="713"/>
                  </a:lnTo>
                  <a:lnTo>
                    <a:pt x="1366" y="713"/>
                  </a:lnTo>
                  <a:lnTo>
                    <a:pt x="1366" y="713"/>
                  </a:lnTo>
                  <a:lnTo>
                    <a:pt x="1366" y="716"/>
                  </a:lnTo>
                  <a:lnTo>
                    <a:pt x="1366" y="716"/>
                  </a:lnTo>
                  <a:lnTo>
                    <a:pt x="1366" y="716"/>
                  </a:lnTo>
                  <a:lnTo>
                    <a:pt x="1366" y="716"/>
                  </a:lnTo>
                  <a:lnTo>
                    <a:pt x="1366" y="716"/>
                  </a:lnTo>
                  <a:lnTo>
                    <a:pt x="1366" y="716"/>
                  </a:lnTo>
                  <a:lnTo>
                    <a:pt x="1366" y="716"/>
                  </a:lnTo>
                  <a:lnTo>
                    <a:pt x="1366" y="718"/>
                  </a:lnTo>
                  <a:lnTo>
                    <a:pt x="1366" y="718"/>
                  </a:lnTo>
                  <a:lnTo>
                    <a:pt x="1366" y="718"/>
                  </a:lnTo>
                  <a:lnTo>
                    <a:pt x="1366" y="718"/>
                  </a:lnTo>
                  <a:lnTo>
                    <a:pt x="1366" y="718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18"/>
                  </a:lnTo>
                  <a:lnTo>
                    <a:pt x="1369" y="718"/>
                  </a:lnTo>
                  <a:lnTo>
                    <a:pt x="1369" y="718"/>
                  </a:lnTo>
                  <a:lnTo>
                    <a:pt x="1371" y="718"/>
                  </a:lnTo>
                  <a:lnTo>
                    <a:pt x="1371" y="718"/>
                  </a:lnTo>
                  <a:lnTo>
                    <a:pt x="1369" y="718"/>
                  </a:lnTo>
                  <a:lnTo>
                    <a:pt x="1369" y="718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69" y="722"/>
                  </a:lnTo>
                  <a:lnTo>
                    <a:pt x="1369" y="720"/>
                  </a:lnTo>
                  <a:lnTo>
                    <a:pt x="1369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1" y="720"/>
                  </a:lnTo>
                  <a:lnTo>
                    <a:pt x="1373" y="720"/>
                  </a:lnTo>
                  <a:lnTo>
                    <a:pt x="1373" y="720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8"/>
                  </a:lnTo>
                  <a:lnTo>
                    <a:pt x="1373" y="716"/>
                  </a:lnTo>
                  <a:lnTo>
                    <a:pt x="1373" y="716"/>
                  </a:lnTo>
                  <a:lnTo>
                    <a:pt x="1373" y="716"/>
                  </a:lnTo>
                  <a:lnTo>
                    <a:pt x="1373" y="716"/>
                  </a:lnTo>
                  <a:lnTo>
                    <a:pt x="1373" y="716"/>
                  </a:lnTo>
                  <a:lnTo>
                    <a:pt x="1375" y="716"/>
                  </a:lnTo>
                  <a:lnTo>
                    <a:pt x="1375" y="716"/>
                  </a:lnTo>
                  <a:lnTo>
                    <a:pt x="1375" y="716"/>
                  </a:lnTo>
                  <a:lnTo>
                    <a:pt x="1375" y="713"/>
                  </a:lnTo>
                  <a:lnTo>
                    <a:pt x="1375" y="713"/>
                  </a:lnTo>
                  <a:lnTo>
                    <a:pt x="1375" y="713"/>
                  </a:lnTo>
                  <a:lnTo>
                    <a:pt x="1375" y="713"/>
                  </a:lnTo>
                  <a:lnTo>
                    <a:pt x="1375" y="713"/>
                  </a:lnTo>
                  <a:lnTo>
                    <a:pt x="1375" y="713"/>
                  </a:lnTo>
                  <a:lnTo>
                    <a:pt x="1378" y="713"/>
                  </a:lnTo>
                  <a:lnTo>
                    <a:pt x="1378" y="713"/>
                  </a:lnTo>
                  <a:lnTo>
                    <a:pt x="1378" y="713"/>
                  </a:lnTo>
                  <a:lnTo>
                    <a:pt x="1378" y="713"/>
                  </a:lnTo>
                  <a:lnTo>
                    <a:pt x="1378" y="713"/>
                  </a:lnTo>
                  <a:lnTo>
                    <a:pt x="1378" y="711"/>
                  </a:lnTo>
                  <a:lnTo>
                    <a:pt x="1378" y="711"/>
                  </a:lnTo>
                  <a:lnTo>
                    <a:pt x="1378" y="711"/>
                  </a:lnTo>
                  <a:lnTo>
                    <a:pt x="1378" y="711"/>
                  </a:lnTo>
                  <a:lnTo>
                    <a:pt x="1380" y="711"/>
                  </a:lnTo>
                  <a:lnTo>
                    <a:pt x="1380" y="709"/>
                  </a:lnTo>
                  <a:lnTo>
                    <a:pt x="1380" y="709"/>
                  </a:lnTo>
                  <a:lnTo>
                    <a:pt x="1380" y="709"/>
                  </a:lnTo>
                  <a:lnTo>
                    <a:pt x="1380" y="709"/>
                  </a:lnTo>
                  <a:lnTo>
                    <a:pt x="1380" y="709"/>
                  </a:lnTo>
                  <a:lnTo>
                    <a:pt x="1380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2" y="709"/>
                  </a:lnTo>
                  <a:lnTo>
                    <a:pt x="1384" y="709"/>
                  </a:lnTo>
                  <a:lnTo>
                    <a:pt x="1384" y="709"/>
                  </a:lnTo>
                  <a:lnTo>
                    <a:pt x="1384" y="709"/>
                  </a:lnTo>
                  <a:lnTo>
                    <a:pt x="1384" y="709"/>
                  </a:lnTo>
                  <a:lnTo>
                    <a:pt x="1387" y="707"/>
                  </a:lnTo>
                  <a:lnTo>
                    <a:pt x="1387" y="707"/>
                  </a:lnTo>
                  <a:lnTo>
                    <a:pt x="1387" y="707"/>
                  </a:lnTo>
                  <a:lnTo>
                    <a:pt x="1387" y="707"/>
                  </a:lnTo>
                  <a:lnTo>
                    <a:pt x="1387" y="707"/>
                  </a:lnTo>
                  <a:lnTo>
                    <a:pt x="1389" y="709"/>
                  </a:lnTo>
                  <a:lnTo>
                    <a:pt x="1389" y="709"/>
                  </a:lnTo>
                  <a:lnTo>
                    <a:pt x="1389" y="709"/>
                  </a:lnTo>
                  <a:lnTo>
                    <a:pt x="1387" y="709"/>
                  </a:lnTo>
                  <a:lnTo>
                    <a:pt x="1387" y="709"/>
                  </a:lnTo>
                  <a:lnTo>
                    <a:pt x="1387" y="709"/>
                  </a:lnTo>
                  <a:lnTo>
                    <a:pt x="1387" y="709"/>
                  </a:lnTo>
                  <a:lnTo>
                    <a:pt x="1387" y="709"/>
                  </a:lnTo>
                  <a:lnTo>
                    <a:pt x="1387" y="709"/>
                  </a:lnTo>
                  <a:lnTo>
                    <a:pt x="1387" y="709"/>
                  </a:lnTo>
                  <a:lnTo>
                    <a:pt x="1384" y="709"/>
                  </a:lnTo>
                  <a:lnTo>
                    <a:pt x="1384" y="709"/>
                  </a:lnTo>
                  <a:lnTo>
                    <a:pt x="1384" y="709"/>
                  </a:lnTo>
                  <a:lnTo>
                    <a:pt x="1384" y="711"/>
                  </a:lnTo>
                  <a:lnTo>
                    <a:pt x="1384" y="711"/>
                  </a:lnTo>
                  <a:lnTo>
                    <a:pt x="1384" y="711"/>
                  </a:lnTo>
                  <a:lnTo>
                    <a:pt x="1384" y="711"/>
                  </a:lnTo>
                  <a:lnTo>
                    <a:pt x="1382" y="711"/>
                  </a:lnTo>
                  <a:lnTo>
                    <a:pt x="1382" y="713"/>
                  </a:lnTo>
                  <a:lnTo>
                    <a:pt x="1382" y="713"/>
                  </a:lnTo>
                  <a:lnTo>
                    <a:pt x="1382" y="713"/>
                  </a:lnTo>
                  <a:lnTo>
                    <a:pt x="1382" y="713"/>
                  </a:lnTo>
                  <a:lnTo>
                    <a:pt x="1382" y="713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6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80" y="718"/>
                  </a:lnTo>
                  <a:lnTo>
                    <a:pt x="1378" y="718"/>
                  </a:lnTo>
                  <a:lnTo>
                    <a:pt x="1378" y="718"/>
                  </a:lnTo>
                  <a:lnTo>
                    <a:pt x="1378" y="718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0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5"/>
                  </a:lnTo>
                  <a:lnTo>
                    <a:pt x="1378" y="725"/>
                  </a:lnTo>
                  <a:lnTo>
                    <a:pt x="1378" y="725"/>
                  </a:lnTo>
                  <a:lnTo>
                    <a:pt x="1378" y="722"/>
                  </a:lnTo>
                  <a:lnTo>
                    <a:pt x="1378" y="722"/>
                  </a:lnTo>
                  <a:lnTo>
                    <a:pt x="1378" y="725"/>
                  </a:lnTo>
                  <a:lnTo>
                    <a:pt x="1378" y="725"/>
                  </a:lnTo>
                  <a:lnTo>
                    <a:pt x="1378" y="725"/>
                  </a:lnTo>
                  <a:lnTo>
                    <a:pt x="1378" y="725"/>
                  </a:lnTo>
                  <a:lnTo>
                    <a:pt x="1380" y="722"/>
                  </a:lnTo>
                  <a:lnTo>
                    <a:pt x="1380" y="722"/>
                  </a:lnTo>
                  <a:lnTo>
                    <a:pt x="1382" y="722"/>
                  </a:lnTo>
                  <a:lnTo>
                    <a:pt x="1382" y="720"/>
                  </a:lnTo>
                  <a:lnTo>
                    <a:pt x="1384" y="720"/>
                  </a:lnTo>
                  <a:lnTo>
                    <a:pt x="1384" y="720"/>
                  </a:lnTo>
                  <a:lnTo>
                    <a:pt x="1384" y="720"/>
                  </a:lnTo>
                  <a:lnTo>
                    <a:pt x="1384" y="720"/>
                  </a:lnTo>
                  <a:lnTo>
                    <a:pt x="1384" y="718"/>
                  </a:lnTo>
                  <a:lnTo>
                    <a:pt x="1387" y="716"/>
                  </a:lnTo>
                  <a:lnTo>
                    <a:pt x="1387" y="716"/>
                  </a:lnTo>
                  <a:lnTo>
                    <a:pt x="1387" y="716"/>
                  </a:lnTo>
                  <a:lnTo>
                    <a:pt x="1387" y="716"/>
                  </a:lnTo>
                  <a:lnTo>
                    <a:pt x="1387" y="716"/>
                  </a:lnTo>
                  <a:lnTo>
                    <a:pt x="1387" y="716"/>
                  </a:lnTo>
                  <a:lnTo>
                    <a:pt x="1389" y="716"/>
                  </a:lnTo>
                  <a:lnTo>
                    <a:pt x="1389" y="716"/>
                  </a:lnTo>
                  <a:lnTo>
                    <a:pt x="1389" y="718"/>
                  </a:lnTo>
                  <a:lnTo>
                    <a:pt x="1389" y="718"/>
                  </a:lnTo>
                  <a:lnTo>
                    <a:pt x="1387" y="718"/>
                  </a:lnTo>
                  <a:lnTo>
                    <a:pt x="1387" y="718"/>
                  </a:lnTo>
                  <a:lnTo>
                    <a:pt x="1389" y="718"/>
                  </a:lnTo>
                  <a:lnTo>
                    <a:pt x="1389" y="718"/>
                  </a:lnTo>
                  <a:lnTo>
                    <a:pt x="1389" y="718"/>
                  </a:lnTo>
                  <a:lnTo>
                    <a:pt x="1389" y="718"/>
                  </a:lnTo>
                  <a:lnTo>
                    <a:pt x="1389" y="720"/>
                  </a:lnTo>
                  <a:lnTo>
                    <a:pt x="1389" y="720"/>
                  </a:lnTo>
                  <a:lnTo>
                    <a:pt x="1387" y="720"/>
                  </a:lnTo>
                  <a:lnTo>
                    <a:pt x="1387" y="720"/>
                  </a:lnTo>
                  <a:lnTo>
                    <a:pt x="1387" y="720"/>
                  </a:lnTo>
                  <a:lnTo>
                    <a:pt x="1387" y="720"/>
                  </a:lnTo>
                  <a:lnTo>
                    <a:pt x="1389" y="722"/>
                  </a:lnTo>
                  <a:lnTo>
                    <a:pt x="1389" y="722"/>
                  </a:lnTo>
                  <a:lnTo>
                    <a:pt x="1389" y="722"/>
                  </a:lnTo>
                  <a:lnTo>
                    <a:pt x="1389" y="722"/>
                  </a:lnTo>
                  <a:lnTo>
                    <a:pt x="1389" y="722"/>
                  </a:lnTo>
                  <a:lnTo>
                    <a:pt x="1387" y="722"/>
                  </a:lnTo>
                  <a:lnTo>
                    <a:pt x="1387" y="722"/>
                  </a:lnTo>
                  <a:lnTo>
                    <a:pt x="1387" y="722"/>
                  </a:lnTo>
                  <a:lnTo>
                    <a:pt x="1387" y="722"/>
                  </a:lnTo>
                  <a:lnTo>
                    <a:pt x="1387" y="722"/>
                  </a:lnTo>
                  <a:lnTo>
                    <a:pt x="1387" y="725"/>
                  </a:lnTo>
                  <a:lnTo>
                    <a:pt x="1387" y="725"/>
                  </a:lnTo>
                  <a:lnTo>
                    <a:pt x="1387" y="725"/>
                  </a:lnTo>
                  <a:lnTo>
                    <a:pt x="1387" y="725"/>
                  </a:lnTo>
                  <a:lnTo>
                    <a:pt x="1387" y="725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4" y="727"/>
                  </a:lnTo>
                  <a:lnTo>
                    <a:pt x="1382" y="727"/>
                  </a:lnTo>
                  <a:lnTo>
                    <a:pt x="1384" y="727"/>
                  </a:lnTo>
                  <a:lnTo>
                    <a:pt x="1382" y="727"/>
                  </a:lnTo>
                  <a:lnTo>
                    <a:pt x="1382" y="729"/>
                  </a:lnTo>
                  <a:lnTo>
                    <a:pt x="1382" y="729"/>
                  </a:lnTo>
                  <a:lnTo>
                    <a:pt x="1382" y="729"/>
                  </a:lnTo>
                  <a:lnTo>
                    <a:pt x="1382" y="729"/>
                  </a:lnTo>
                  <a:lnTo>
                    <a:pt x="1382" y="729"/>
                  </a:lnTo>
                  <a:lnTo>
                    <a:pt x="1382" y="729"/>
                  </a:lnTo>
                  <a:lnTo>
                    <a:pt x="1382" y="729"/>
                  </a:lnTo>
                  <a:lnTo>
                    <a:pt x="1382" y="731"/>
                  </a:lnTo>
                  <a:lnTo>
                    <a:pt x="1382" y="731"/>
                  </a:lnTo>
                  <a:lnTo>
                    <a:pt x="1382" y="731"/>
                  </a:lnTo>
                  <a:lnTo>
                    <a:pt x="1380" y="731"/>
                  </a:lnTo>
                  <a:lnTo>
                    <a:pt x="1380" y="731"/>
                  </a:lnTo>
                  <a:lnTo>
                    <a:pt x="1380" y="731"/>
                  </a:lnTo>
                  <a:lnTo>
                    <a:pt x="1380" y="731"/>
                  </a:lnTo>
                  <a:lnTo>
                    <a:pt x="1380" y="731"/>
                  </a:lnTo>
                  <a:lnTo>
                    <a:pt x="1382" y="731"/>
                  </a:lnTo>
                  <a:lnTo>
                    <a:pt x="1382" y="731"/>
                  </a:lnTo>
                  <a:lnTo>
                    <a:pt x="1382" y="731"/>
                  </a:lnTo>
                  <a:lnTo>
                    <a:pt x="1380" y="731"/>
                  </a:lnTo>
                  <a:lnTo>
                    <a:pt x="1380" y="731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4"/>
                  </a:lnTo>
                  <a:lnTo>
                    <a:pt x="1380" y="736"/>
                  </a:lnTo>
                  <a:lnTo>
                    <a:pt x="1380" y="736"/>
                  </a:lnTo>
                  <a:lnTo>
                    <a:pt x="1380" y="736"/>
                  </a:lnTo>
                  <a:lnTo>
                    <a:pt x="1378" y="736"/>
                  </a:lnTo>
                  <a:lnTo>
                    <a:pt x="1378" y="738"/>
                  </a:lnTo>
                  <a:lnTo>
                    <a:pt x="1378" y="738"/>
                  </a:lnTo>
                  <a:lnTo>
                    <a:pt x="1378" y="738"/>
                  </a:lnTo>
                  <a:lnTo>
                    <a:pt x="1378" y="738"/>
                  </a:lnTo>
                  <a:lnTo>
                    <a:pt x="1378" y="738"/>
                  </a:lnTo>
                  <a:lnTo>
                    <a:pt x="1378" y="738"/>
                  </a:lnTo>
                  <a:lnTo>
                    <a:pt x="1378" y="738"/>
                  </a:lnTo>
                  <a:lnTo>
                    <a:pt x="1378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5" y="740"/>
                  </a:lnTo>
                  <a:lnTo>
                    <a:pt x="1373" y="742"/>
                  </a:lnTo>
                  <a:lnTo>
                    <a:pt x="1373" y="742"/>
                  </a:lnTo>
                  <a:lnTo>
                    <a:pt x="1373" y="742"/>
                  </a:lnTo>
                  <a:lnTo>
                    <a:pt x="1373" y="742"/>
                  </a:lnTo>
                  <a:lnTo>
                    <a:pt x="1371" y="742"/>
                  </a:lnTo>
                  <a:lnTo>
                    <a:pt x="1371" y="742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71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9" y="740"/>
                  </a:lnTo>
                  <a:lnTo>
                    <a:pt x="1366" y="742"/>
                  </a:lnTo>
                  <a:lnTo>
                    <a:pt x="1366" y="742"/>
                  </a:lnTo>
                  <a:lnTo>
                    <a:pt x="1366" y="742"/>
                  </a:lnTo>
                  <a:lnTo>
                    <a:pt x="1366" y="742"/>
                  </a:lnTo>
                  <a:lnTo>
                    <a:pt x="1364" y="742"/>
                  </a:lnTo>
                  <a:lnTo>
                    <a:pt x="1364" y="742"/>
                  </a:lnTo>
                  <a:lnTo>
                    <a:pt x="1364" y="742"/>
                  </a:lnTo>
                  <a:lnTo>
                    <a:pt x="1364" y="742"/>
                  </a:lnTo>
                  <a:lnTo>
                    <a:pt x="1364" y="740"/>
                  </a:lnTo>
                  <a:lnTo>
                    <a:pt x="1364" y="740"/>
                  </a:lnTo>
                  <a:lnTo>
                    <a:pt x="1364" y="740"/>
                  </a:lnTo>
                  <a:lnTo>
                    <a:pt x="1364" y="740"/>
                  </a:lnTo>
                  <a:lnTo>
                    <a:pt x="1364" y="740"/>
                  </a:lnTo>
                  <a:lnTo>
                    <a:pt x="1366" y="738"/>
                  </a:lnTo>
                  <a:lnTo>
                    <a:pt x="1366" y="738"/>
                  </a:lnTo>
                  <a:lnTo>
                    <a:pt x="1366" y="738"/>
                  </a:lnTo>
                  <a:lnTo>
                    <a:pt x="1366" y="738"/>
                  </a:lnTo>
                  <a:lnTo>
                    <a:pt x="1366" y="738"/>
                  </a:lnTo>
                  <a:lnTo>
                    <a:pt x="1366" y="738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9" y="736"/>
                  </a:lnTo>
                  <a:lnTo>
                    <a:pt x="1369" y="736"/>
                  </a:lnTo>
                  <a:lnTo>
                    <a:pt x="1369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8"/>
                  </a:lnTo>
                  <a:lnTo>
                    <a:pt x="1364" y="738"/>
                  </a:lnTo>
                  <a:lnTo>
                    <a:pt x="1364" y="738"/>
                  </a:lnTo>
                  <a:lnTo>
                    <a:pt x="1364" y="738"/>
                  </a:lnTo>
                  <a:lnTo>
                    <a:pt x="1364" y="738"/>
                  </a:lnTo>
                  <a:lnTo>
                    <a:pt x="1364" y="738"/>
                  </a:lnTo>
                  <a:lnTo>
                    <a:pt x="1366" y="738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9" y="736"/>
                  </a:lnTo>
                  <a:lnTo>
                    <a:pt x="1369" y="734"/>
                  </a:lnTo>
                  <a:lnTo>
                    <a:pt x="1369" y="736"/>
                  </a:lnTo>
                  <a:lnTo>
                    <a:pt x="1369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6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6" y="734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31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29"/>
                  </a:lnTo>
                  <a:lnTo>
                    <a:pt x="1369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29"/>
                  </a:lnTo>
                  <a:lnTo>
                    <a:pt x="1366" y="729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6" y="731"/>
                  </a:lnTo>
                  <a:lnTo>
                    <a:pt x="1364" y="731"/>
                  </a:lnTo>
                  <a:lnTo>
                    <a:pt x="1364" y="734"/>
                  </a:lnTo>
                  <a:lnTo>
                    <a:pt x="1364" y="734"/>
                  </a:lnTo>
                  <a:lnTo>
                    <a:pt x="1364" y="734"/>
                  </a:lnTo>
                  <a:lnTo>
                    <a:pt x="1364" y="734"/>
                  </a:lnTo>
                  <a:lnTo>
                    <a:pt x="1364" y="734"/>
                  </a:lnTo>
                  <a:lnTo>
                    <a:pt x="1362" y="734"/>
                  </a:lnTo>
                  <a:lnTo>
                    <a:pt x="1362" y="734"/>
                  </a:lnTo>
                  <a:lnTo>
                    <a:pt x="1362" y="736"/>
                  </a:lnTo>
                  <a:lnTo>
                    <a:pt x="1362" y="736"/>
                  </a:lnTo>
                  <a:lnTo>
                    <a:pt x="1362" y="736"/>
                  </a:lnTo>
                  <a:lnTo>
                    <a:pt x="1362" y="736"/>
                  </a:lnTo>
                  <a:lnTo>
                    <a:pt x="1362" y="736"/>
                  </a:lnTo>
                  <a:lnTo>
                    <a:pt x="1362" y="736"/>
                  </a:lnTo>
                  <a:lnTo>
                    <a:pt x="1360" y="736"/>
                  </a:lnTo>
                  <a:lnTo>
                    <a:pt x="1360" y="736"/>
                  </a:lnTo>
                  <a:lnTo>
                    <a:pt x="1360" y="736"/>
                  </a:lnTo>
                  <a:lnTo>
                    <a:pt x="1360" y="736"/>
                  </a:lnTo>
                  <a:lnTo>
                    <a:pt x="1360" y="736"/>
                  </a:lnTo>
                  <a:lnTo>
                    <a:pt x="1360" y="738"/>
                  </a:lnTo>
                  <a:lnTo>
                    <a:pt x="1360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7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8"/>
                  </a:lnTo>
                  <a:lnTo>
                    <a:pt x="1355" y="736"/>
                  </a:lnTo>
                  <a:lnTo>
                    <a:pt x="1355" y="736"/>
                  </a:lnTo>
                  <a:lnTo>
                    <a:pt x="1355" y="736"/>
                  </a:lnTo>
                  <a:lnTo>
                    <a:pt x="1355" y="736"/>
                  </a:lnTo>
                  <a:lnTo>
                    <a:pt x="1355" y="734"/>
                  </a:lnTo>
                  <a:lnTo>
                    <a:pt x="1355" y="734"/>
                  </a:lnTo>
                  <a:lnTo>
                    <a:pt x="1357" y="734"/>
                  </a:lnTo>
                  <a:lnTo>
                    <a:pt x="1357" y="734"/>
                  </a:lnTo>
                  <a:lnTo>
                    <a:pt x="1357" y="734"/>
                  </a:lnTo>
                  <a:lnTo>
                    <a:pt x="1357" y="731"/>
                  </a:lnTo>
                  <a:lnTo>
                    <a:pt x="1360" y="729"/>
                  </a:lnTo>
                  <a:lnTo>
                    <a:pt x="1360" y="729"/>
                  </a:lnTo>
                  <a:lnTo>
                    <a:pt x="1360" y="729"/>
                  </a:lnTo>
                  <a:lnTo>
                    <a:pt x="1360" y="729"/>
                  </a:lnTo>
                  <a:lnTo>
                    <a:pt x="1360" y="729"/>
                  </a:lnTo>
                  <a:lnTo>
                    <a:pt x="1362" y="729"/>
                  </a:lnTo>
                  <a:lnTo>
                    <a:pt x="1362" y="729"/>
                  </a:lnTo>
                  <a:lnTo>
                    <a:pt x="1362" y="729"/>
                  </a:lnTo>
                  <a:lnTo>
                    <a:pt x="1362" y="729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2" y="727"/>
                  </a:lnTo>
                  <a:lnTo>
                    <a:pt x="1364" y="727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6" y="725"/>
                  </a:lnTo>
                  <a:lnTo>
                    <a:pt x="1366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5"/>
                  </a:lnTo>
                  <a:lnTo>
                    <a:pt x="1364" y="725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2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20"/>
                  </a:lnTo>
                  <a:lnTo>
                    <a:pt x="1364" y="718"/>
                  </a:lnTo>
                  <a:lnTo>
                    <a:pt x="1364" y="718"/>
                  </a:lnTo>
                  <a:lnTo>
                    <a:pt x="1364" y="718"/>
                  </a:lnTo>
                  <a:lnTo>
                    <a:pt x="1364" y="718"/>
                  </a:lnTo>
                  <a:lnTo>
                    <a:pt x="1364" y="718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6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4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0" y="713"/>
                  </a:lnTo>
                  <a:lnTo>
                    <a:pt x="1360" y="713"/>
                  </a:lnTo>
                  <a:lnTo>
                    <a:pt x="1360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2" y="713"/>
                  </a:lnTo>
                  <a:lnTo>
                    <a:pt x="1360" y="716"/>
                  </a:lnTo>
                  <a:lnTo>
                    <a:pt x="1360" y="716"/>
                  </a:lnTo>
                  <a:lnTo>
                    <a:pt x="1360" y="718"/>
                  </a:lnTo>
                  <a:lnTo>
                    <a:pt x="1357" y="718"/>
                  </a:lnTo>
                  <a:lnTo>
                    <a:pt x="1357" y="718"/>
                  </a:lnTo>
                  <a:lnTo>
                    <a:pt x="1357" y="718"/>
                  </a:lnTo>
                  <a:lnTo>
                    <a:pt x="1357" y="718"/>
                  </a:lnTo>
                  <a:lnTo>
                    <a:pt x="1357" y="718"/>
                  </a:lnTo>
                  <a:lnTo>
                    <a:pt x="1357" y="720"/>
                  </a:lnTo>
                  <a:lnTo>
                    <a:pt x="1357" y="720"/>
                  </a:lnTo>
                  <a:lnTo>
                    <a:pt x="1357" y="720"/>
                  </a:lnTo>
                  <a:lnTo>
                    <a:pt x="1355" y="720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5" y="722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2"/>
                  </a:lnTo>
                  <a:lnTo>
                    <a:pt x="1353" y="722"/>
                  </a:lnTo>
                  <a:lnTo>
                    <a:pt x="1353" y="722"/>
                  </a:lnTo>
                  <a:lnTo>
                    <a:pt x="1353" y="722"/>
                  </a:lnTo>
                  <a:lnTo>
                    <a:pt x="1353" y="722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3" y="725"/>
                  </a:lnTo>
                  <a:lnTo>
                    <a:pt x="1351" y="725"/>
                  </a:lnTo>
                  <a:lnTo>
                    <a:pt x="1351" y="725"/>
                  </a:lnTo>
                  <a:lnTo>
                    <a:pt x="1351" y="725"/>
                  </a:lnTo>
                  <a:lnTo>
                    <a:pt x="1351" y="725"/>
                  </a:lnTo>
                  <a:lnTo>
                    <a:pt x="1351" y="725"/>
                  </a:lnTo>
                  <a:lnTo>
                    <a:pt x="1355" y="720"/>
                  </a:lnTo>
                  <a:lnTo>
                    <a:pt x="1355" y="720"/>
                  </a:lnTo>
                  <a:lnTo>
                    <a:pt x="1355" y="720"/>
                  </a:lnTo>
                  <a:lnTo>
                    <a:pt x="1355" y="720"/>
                  </a:lnTo>
                  <a:lnTo>
                    <a:pt x="1355" y="720"/>
                  </a:lnTo>
                  <a:lnTo>
                    <a:pt x="1355" y="720"/>
                  </a:lnTo>
                  <a:lnTo>
                    <a:pt x="1353" y="722"/>
                  </a:lnTo>
                  <a:lnTo>
                    <a:pt x="1353" y="722"/>
                  </a:lnTo>
                  <a:lnTo>
                    <a:pt x="1351" y="725"/>
                  </a:lnTo>
                  <a:lnTo>
                    <a:pt x="1351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8" y="725"/>
                  </a:lnTo>
                  <a:lnTo>
                    <a:pt x="1348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6" y="725"/>
                  </a:lnTo>
                  <a:lnTo>
                    <a:pt x="1344" y="725"/>
                  </a:lnTo>
                  <a:lnTo>
                    <a:pt x="1344" y="727"/>
                  </a:lnTo>
                  <a:lnTo>
                    <a:pt x="1344" y="727"/>
                  </a:lnTo>
                  <a:lnTo>
                    <a:pt x="1344" y="727"/>
                  </a:lnTo>
                  <a:lnTo>
                    <a:pt x="1344" y="727"/>
                  </a:lnTo>
                  <a:lnTo>
                    <a:pt x="1344" y="727"/>
                  </a:lnTo>
                  <a:lnTo>
                    <a:pt x="1344" y="727"/>
                  </a:lnTo>
                  <a:lnTo>
                    <a:pt x="1344" y="727"/>
                  </a:lnTo>
                  <a:lnTo>
                    <a:pt x="1342" y="727"/>
                  </a:lnTo>
                  <a:lnTo>
                    <a:pt x="1342" y="727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42" y="729"/>
                  </a:lnTo>
                  <a:lnTo>
                    <a:pt x="1342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29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1"/>
                  </a:lnTo>
                  <a:lnTo>
                    <a:pt x="1339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1"/>
                  </a:lnTo>
                  <a:lnTo>
                    <a:pt x="1337" y="731"/>
                  </a:lnTo>
                  <a:lnTo>
                    <a:pt x="1337" y="731"/>
                  </a:lnTo>
                  <a:lnTo>
                    <a:pt x="1337" y="731"/>
                  </a:lnTo>
                  <a:lnTo>
                    <a:pt x="1337" y="731"/>
                  </a:lnTo>
                  <a:lnTo>
                    <a:pt x="1337" y="731"/>
                  </a:lnTo>
                  <a:lnTo>
                    <a:pt x="1337" y="731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4"/>
                  </a:lnTo>
                  <a:lnTo>
                    <a:pt x="1337" y="736"/>
                  </a:lnTo>
                  <a:lnTo>
                    <a:pt x="1335" y="736"/>
                  </a:lnTo>
                  <a:lnTo>
                    <a:pt x="1335" y="736"/>
                  </a:lnTo>
                  <a:lnTo>
                    <a:pt x="1335" y="736"/>
                  </a:lnTo>
                  <a:lnTo>
                    <a:pt x="1333" y="736"/>
                  </a:lnTo>
                  <a:lnTo>
                    <a:pt x="1333" y="736"/>
                  </a:lnTo>
                  <a:lnTo>
                    <a:pt x="1333" y="736"/>
                  </a:lnTo>
                  <a:lnTo>
                    <a:pt x="1333" y="736"/>
                  </a:lnTo>
                  <a:lnTo>
                    <a:pt x="1333" y="736"/>
                  </a:lnTo>
                  <a:lnTo>
                    <a:pt x="1333" y="736"/>
                  </a:lnTo>
                  <a:lnTo>
                    <a:pt x="1333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3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30" y="736"/>
                  </a:lnTo>
                  <a:lnTo>
                    <a:pt x="1328" y="736"/>
                  </a:lnTo>
                  <a:lnTo>
                    <a:pt x="1328" y="736"/>
                  </a:lnTo>
                  <a:lnTo>
                    <a:pt x="1328" y="736"/>
                  </a:lnTo>
                  <a:lnTo>
                    <a:pt x="1328" y="736"/>
                  </a:lnTo>
                  <a:lnTo>
                    <a:pt x="1328" y="736"/>
                  </a:lnTo>
                  <a:lnTo>
                    <a:pt x="1328" y="736"/>
                  </a:lnTo>
                  <a:lnTo>
                    <a:pt x="1326" y="736"/>
                  </a:lnTo>
                  <a:lnTo>
                    <a:pt x="1326" y="736"/>
                  </a:lnTo>
                  <a:lnTo>
                    <a:pt x="1326" y="738"/>
                  </a:lnTo>
                  <a:lnTo>
                    <a:pt x="1326" y="736"/>
                  </a:lnTo>
                  <a:lnTo>
                    <a:pt x="1326" y="736"/>
                  </a:lnTo>
                  <a:lnTo>
                    <a:pt x="1324" y="736"/>
                  </a:lnTo>
                  <a:lnTo>
                    <a:pt x="1324" y="736"/>
                  </a:lnTo>
                  <a:lnTo>
                    <a:pt x="1324" y="736"/>
                  </a:lnTo>
                  <a:lnTo>
                    <a:pt x="1321" y="736"/>
                  </a:lnTo>
                  <a:lnTo>
                    <a:pt x="1321" y="736"/>
                  </a:lnTo>
                  <a:lnTo>
                    <a:pt x="1321" y="736"/>
                  </a:lnTo>
                  <a:lnTo>
                    <a:pt x="1321" y="736"/>
                  </a:lnTo>
                  <a:lnTo>
                    <a:pt x="1321" y="734"/>
                  </a:lnTo>
                  <a:lnTo>
                    <a:pt x="1324" y="734"/>
                  </a:lnTo>
                  <a:lnTo>
                    <a:pt x="1324" y="734"/>
                  </a:lnTo>
                  <a:lnTo>
                    <a:pt x="1324" y="731"/>
                  </a:lnTo>
                  <a:lnTo>
                    <a:pt x="1326" y="731"/>
                  </a:lnTo>
                  <a:lnTo>
                    <a:pt x="1326" y="731"/>
                  </a:lnTo>
                  <a:lnTo>
                    <a:pt x="1326" y="731"/>
                  </a:lnTo>
                  <a:lnTo>
                    <a:pt x="1326" y="731"/>
                  </a:lnTo>
                  <a:lnTo>
                    <a:pt x="1328" y="731"/>
                  </a:lnTo>
                  <a:lnTo>
                    <a:pt x="1328" y="731"/>
                  </a:lnTo>
                  <a:lnTo>
                    <a:pt x="1328" y="731"/>
                  </a:lnTo>
                  <a:lnTo>
                    <a:pt x="1328" y="731"/>
                  </a:lnTo>
                  <a:lnTo>
                    <a:pt x="1330" y="731"/>
                  </a:lnTo>
                  <a:lnTo>
                    <a:pt x="1330" y="731"/>
                  </a:lnTo>
                  <a:lnTo>
                    <a:pt x="1333" y="731"/>
                  </a:lnTo>
                  <a:lnTo>
                    <a:pt x="1333" y="731"/>
                  </a:lnTo>
                  <a:lnTo>
                    <a:pt x="1333" y="731"/>
                  </a:lnTo>
                  <a:lnTo>
                    <a:pt x="1333" y="729"/>
                  </a:lnTo>
                  <a:lnTo>
                    <a:pt x="1333" y="729"/>
                  </a:lnTo>
                  <a:lnTo>
                    <a:pt x="1333" y="729"/>
                  </a:lnTo>
                  <a:lnTo>
                    <a:pt x="1333" y="729"/>
                  </a:lnTo>
                  <a:lnTo>
                    <a:pt x="1333" y="729"/>
                  </a:lnTo>
                  <a:lnTo>
                    <a:pt x="1333" y="729"/>
                  </a:lnTo>
                  <a:lnTo>
                    <a:pt x="1335" y="729"/>
                  </a:lnTo>
                  <a:lnTo>
                    <a:pt x="1335" y="729"/>
                  </a:lnTo>
                  <a:lnTo>
                    <a:pt x="1335" y="729"/>
                  </a:lnTo>
                  <a:lnTo>
                    <a:pt x="1335" y="727"/>
                  </a:lnTo>
                  <a:lnTo>
                    <a:pt x="1337" y="727"/>
                  </a:lnTo>
                  <a:lnTo>
                    <a:pt x="1337" y="727"/>
                  </a:lnTo>
                  <a:lnTo>
                    <a:pt x="1337" y="727"/>
                  </a:lnTo>
                  <a:lnTo>
                    <a:pt x="1337" y="727"/>
                  </a:lnTo>
                  <a:lnTo>
                    <a:pt x="1337" y="727"/>
                  </a:lnTo>
                  <a:lnTo>
                    <a:pt x="1337" y="727"/>
                  </a:lnTo>
                  <a:lnTo>
                    <a:pt x="1337" y="727"/>
                  </a:lnTo>
                  <a:lnTo>
                    <a:pt x="1337" y="725"/>
                  </a:lnTo>
                  <a:lnTo>
                    <a:pt x="1337" y="725"/>
                  </a:lnTo>
                  <a:lnTo>
                    <a:pt x="1339" y="725"/>
                  </a:lnTo>
                  <a:lnTo>
                    <a:pt x="1339" y="725"/>
                  </a:lnTo>
                  <a:lnTo>
                    <a:pt x="1339" y="722"/>
                  </a:lnTo>
                  <a:lnTo>
                    <a:pt x="1342" y="722"/>
                  </a:lnTo>
                  <a:lnTo>
                    <a:pt x="1342" y="722"/>
                  </a:lnTo>
                  <a:lnTo>
                    <a:pt x="1342" y="722"/>
                  </a:lnTo>
                  <a:lnTo>
                    <a:pt x="1342" y="722"/>
                  </a:lnTo>
                  <a:lnTo>
                    <a:pt x="1344" y="722"/>
                  </a:lnTo>
                  <a:lnTo>
                    <a:pt x="1344" y="722"/>
                  </a:lnTo>
                  <a:lnTo>
                    <a:pt x="1344" y="722"/>
                  </a:lnTo>
                  <a:lnTo>
                    <a:pt x="1344" y="722"/>
                  </a:lnTo>
                  <a:lnTo>
                    <a:pt x="1344" y="722"/>
                  </a:lnTo>
                  <a:lnTo>
                    <a:pt x="1344" y="722"/>
                  </a:lnTo>
                  <a:lnTo>
                    <a:pt x="1346" y="722"/>
                  </a:lnTo>
                  <a:lnTo>
                    <a:pt x="1346" y="722"/>
                  </a:lnTo>
                  <a:lnTo>
                    <a:pt x="1346" y="722"/>
                  </a:lnTo>
                  <a:lnTo>
                    <a:pt x="1346" y="722"/>
                  </a:lnTo>
                  <a:lnTo>
                    <a:pt x="1346" y="720"/>
                  </a:lnTo>
                  <a:lnTo>
                    <a:pt x="1346" y="720"/>
                  </a:lnTo>
                  <a:lnTo>
                    <a:pt x="1348" y="720"/>
                  </a:lnTo>
                  <a:lnTo>
                    <a:pt x="1348" y="720"/>
                  </a:lnTo>
                  <a:lnTo>
                    <a:pt x="1346" y="720"/>
                  </a:lnTo>
                  <a:lnTo>
                    <a:pt x="1346" y="720"/>
                  </a:lnTo>
                  <a:lnTo>
                    <a:pt x="1346" y="720"/>
                  </a:lnTo>
                  <a:lnTo>
                    <a:pt x="1346" y="720"/>
                  </a:lnTo>
                  <a:lnTo>
                    <a:pt x="1348" y="720"/>
                  </a:lnTo>
                  <a:lnTo>
                    <a:pt x="1348" y="720"/>
                  </a:lnTo>
                  <a:lnTo>
                    <a:pt x="1348" y="720"/>
                  </a:lnTo>
                  <a:lnTo>
                    <a:pt x="1348" y="718"/>
                  </a:lnTo>
                  <a:lnTo>
                    <a:pt x="1351" y="718"/>
                  </a:lnTo>
                  <a:lnTo>
                    <a:pt x="1351" y="718"/>
                  </a:lnTo>
                  <a:lnTo>
                    <a:pt x="1351" y="718"/>
                  </a:lnTo>
                  <a:lnTo>
                    <a:pt x="1351" y="718"/>
                  </a:lnTo>
                  <a:lnTo>
                    <a:pt x="1351" y="718"/>
                  </a:lnTo>
                  <a:lnTo>
                    <a:pt x="1351" y="718"/>
                  </a:lnTo>
                  <a:lnTo>
                    <a:pt x="1351" y="718"/>
                  </a:lnTo>
                  <a:lnTo>
                    <a:pt x="1348" y="718"/>
                  </a:lnTo>
                  <a:lnTo>
                    <a:pt x="1348" y="718"/>
                  </a:lnTo>
                  <a:lnTo>
                    <a:pt x="1348" y="718"/>
                  </a:lnTo>
                  <a:lnTo>
                    <a:pt x="1346" y="720"/>
                  </a:lnTo>
                  <a:lnTo>
                    <a:pt x="1346" y="720"/>
                  </a:lnTo>
                  <a:lnTo>
                    <a:pt x="1344" y="720"/>
                  </a:lnTo>
                  <a:lnTo>
                    <a:pt x="1344" y="720"/>
                  </a:lnTo>
                  <a:lnTo>
                    <a:pt x="1344" y="720"/>
                  </a:lnTo>
                  <a:lnTo>
                    <a:pt x="1344" y="718"/>
                  </a:lnTo>
                  <a:lnTo>
                    <a:pt x="1344" y="718"/>
                  </a:lnTo>
                  <a:lnTo>
                    <a:pt x="1344" y="718"/>
                  </a:lnTo>
                  <a:lnTo>
                    <a:pt x="1344" y="718"/>
                  </a:lnTo>
                  <a:lnTo>
                    <a:pt x="1346" y="716"/>
                  </a:lnTo>
                  <a:lnTo>
                    <a:pt x="1346" y="716"/>
                  </a:lnTo>
                  <a:lnTo>
                    <a:pt x="1346" y="716"/>
                  </a:lnTo>
                  <a:lnTo>
                    <a:pt x="1346" y="716"/>
                  </a:lnTo>
                  <a:lnTo>
                    <a:pt x="1344" y="718"/>
                  </a:lnTo>
                  <a:lnTo>
                    <a:pt x="1344" y="720"/>
                  </a:lnTo>
                  <a:lnTo>
                    <a:pt x="1344" y="720"/>
                  </a:lnTo>
                  <a:lnTo>
                    <a:pt x="1342" y="720"/>
                  </a:lnTo>
                  <a:lnTo>
                    <a:pt x="1342" y="720"/>
                  </a:lnTo>
                  <a:lnTo>
                    <a:pt x="1342" y="720"/>
                  </a:lnTo>
                  <a:lnTo>
                    <a:pt x="1342" y="720"/>
                  </a:lnTo>
                  <a:lnTo>
                    <a:pt x="1342" y="720"/>
                  </a:lnTo>
                  <a:lnTo>
                    <a:pt x="1342" y="718"/>
                  </a:lnTo>
                  <a:lnTo>
                    <a:pt x="1342" y="718"/>
                  </a:lnTo>
                  <a:lnTo>
                    <a:pt x="1342" y="718"/>
                  </a:lnTo>
                  <a:lnTo>
                    <a:pt x="1342" y="718"/>
                  </a:lnTo>
                  <a:lnTo>
                    <a:pt x="1342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8"/>
                  </a:lnTo>
                  <a:lnTo>
                    <a:pt x="1339" y="716"/>
                  </a:lnTo>
                  <a:lnTo>
                    <a:pt x="1339" y="716"/>
                  </a:lnTo>
                  <a:lnTo>
                    <a:pt x="1339" y="716"/>
                  </a:lnTo>
                  <a:lnTo>
                    <a:pt x="1339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9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18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18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0"/>
                  </a:lnTo>
                  <a:lnTo>
                    <a:pt x="1337" y="722"/>
                  </a:lnTo>
                  <a:lnTo>
                    <a:pt x="1337" y="722"/>
                  </a:lnTo>
                  <a:lnTo>
                    <a:pt x="1337" y="722"/>
                  </a:lnTo>
                  <a:lnTo>
                    <a:pt x="1335" y="722"/>
                  </a:lnTo>
                  <a:lnTo>
                    <a:pt x="1335" y="722"/>
                  </a:lnTo>
                  <a:lnTo>
                    <a:pt x="1335" y="722"/>
                  </a:lnTo>
                  <a:lnTo>
                    <a:pt x="1335" y="722"/>
                  </a:lnTo>
                  <a:lnTo>
                    <a:pt x="1335" y="722"/>
                  </a:lnTo>
                  <a:lnTo>
                    <a:pt x="1333" y="722"/>
                  </a:lnTo>
                  <a:lnTo>
                    <a:pt x="1333" y="725"/>
                  </a:lnTo>
                  <a:lnTo>
                    <a:pt x="1333" y="725"/>
                  </a:lnTo>
                  <a:lnTo>
                    <a:pt x="1333" y="725"/>
                  </a:lnTo>
                  <a:lnTo>
                    <a:pt x="1333" y="725"/>
                  </a:lnTo>
                  <a:lnTo>
                    <a:pt x="1333" y="725"/>
                  </a:lnTo>
                  <a:lnTo>
                    <a:pt x="1333" y="725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0" y="725"/>
                  </a:lnTo>
                  <a:lnTo>
                    <a:pt x="1330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0"/>
                  </a:lnTo>
                  <a:lnTo>
                    <a:pt x="1333" y="720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3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30" y="720"/>
                  </a:lnTo>
                  <a:lnTo>
                    <a:pt x="1330" y="722"/>
                  </a:lnTo>
                  <a:lnTo>
                    <a:pt x="1330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26" y="722"/>
                  </a:lnTo>
                  <a:lnTo>
                    <a:pt x="1326" y="725"/>
                  </a:lnTo>
                  <a:lnTo>
                    <a:pt x="1326" y="722"/>
                  </a:lnTo>
                  <a:lnTo>
                    <a:pt x="1328" y="722"/>
                  </a:lnTo>
                  <a:lnTo>
                    <a:pt x="1328" y="722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2"/>
                  </a:lnTo>
                  <a:lnTo>
                    <a:pt x="1328" y="720"/>
                  </a:lnTo>
                  <a:lnTo>
                    <a:pt x="1328" y="722"/>
                  </a:lnTo>
                  <a:lnTo>
                    <a:pt x="1326" y="722"/>
                  </a:lnTo>
                  <a:lnTo>
                    <a:pt x="1326" y="722"/>
                  </a:lnTo>
                  <a:lnTo>
                    <a:pt x="1326" y="722"/>
                  </a:lnTo>
                  <a:lnTo>
                    <a:pt x="1326" y="722"/>
                  </a:lnTo>
                  <a:lnTo>
                    <a:pt x="1324" y="722"/>
                  </a:lnTo>
                  <a:lnTo>
                    <a:pt x="1324" y="722"/>
                  </a:lnTo>
                  <a:lnTo>
                    <a:pt x="1321" y="722"/>
                  </a:lnTo>
                  <a:lnTo>
                    <a:pt x="1321" y="722"/>
                  </a:lnTo>
                  <a:lnTo>
                    <a:pt x="1324" y="722"/>
                  </a:lnTo>
                  <a:lnTo>
                    <a:pt x="1324" y="722"/>
                  </a:lnTo>
                  <a:lnTo>
                    <a:pt x="1324" y="720"/>
                  </a:lnTo>
                  <a:lnTo>
                    <a:pt x="1326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30" y="720"/>
                  </a:lnTo>
                  <a:lnTo>
                    <a:pt x="1330" y="720"/>
                  </a:lnTo>
                  <a:lnTo>
                    <a:pt x="1330" y="718"/>
                  </a:lnTo>
                  <a:lnTo>
                    <a:pt x="1333" y="718"/>
                  </a:lnTo>
                  <a:lnTo>
                    <a:pt x="1333" y="718"/>
                  </a:lnTo>
                  <a:lnTo>
                    <a:pt x="1333" y="718"/>
                  </a:lnTo>
                  <a:lnTo>
                    <a:pt x="1333" y="718"/>
                  </a:lnTo>
                  <a:lnTo>
                    <a:pt x="1333" y="718"/>
                  </a:lnTo>
                  <a:lnTo>
                    <a:pt x="1330" y="718"/>
                  </a:lnTo>
                  <a:lnTo>
                    <a:pt x="1330" y="720"/>
                  </a:lnTo>
                  <a:lnTo>
                    <a:pt x="1328" y="720"/>
                  </a:lnTo>
                  <a:lnTo>
                    <a:pt x="1328" y="720"/>
                  </a:lnTo>
                  <a:lnTo>
                    <a:pt x="1328" y="718"/>
                  </a:lnTo>
                  <a:lnTo>
                    <a:pt x="1328" y="718"/>
                  </a:lnTo>
                  <a:lnTo>
                    <a:pt x="1328" y="718"/>
                  </a:lnTo>
                  <a:lnTo>
                    <a:pt x="1328" y="718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3"/>
                  </a:lnTo>
                  <a:lnTo>
                    <a:pt x="1333" y="713"/>
                  </a:lnTo>
                  <a:lnTo>
                    <a:pt x="1333" y="713"/>
                  </a:lnTo>
                  <a:lnTo>
                    <a:pt x="1333" y="713"/>
                  </a:lnTo>
                  <a:lnTo>
                    <a:pt x="1333" y="713"/>
                  </a:lnTo>
                  <a:lnTo>
                    <a:pt x="1333" y="713"/>
                  </a:lnTo>
                  <a:lnTo>
                    <a:pt x="1333" y="711"/>
                  </a:lnTo>
                  <a:lnTo>
                    <a:pt x="1333" y="711"/>
                  </a:lnTo>
                  <a:lnTo>
                    <a:pt x="1333" y="711"/>
                  </a:lnTo>
                  <a:lnTo>
                    <a:pt x="1333" y="711"/>
                  </a:lnTo>
                  <a:lnTo>
                    <a:pt x="1333" y="711"/>
                  </a:lnTo>
                  <a:lnTo>
                    <a:pt x="1333" y="713"/>
                  </a:lnTo>
                  <a:lnTo>
                    <a:pt x="1333" y="713"/>
                  </a:lnTo>
                  <a:lnTo>
                    <a:pt x="1330" y="713"/>
                  </a:lnTo>
                  <a:lnTo>
                    <a:pt x="1330" y="713"/>
                  </a:lnTo>
                  <a:lnTo>
                    <a:pt x="1330" y="713"/>
                  </a:lnTo>
                  <a:lnTo>
                    <a:pt x="1330" y="713"/>
                  </a:lnTo>
                  <a:lnTo>
                    <a:pt x="1330" y="713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30" y="716"/>
                  </a:lnTo>
                  <a:lnTo>
                    <a:pt x="1328" y="716"/>
                  </a:lnTo>
                  <a:lnTo>
                    <a:pt x="1328" y="716"/>
                  </a:lnTo>
                  <a:lnTo>
                    <a:pt x="1326" y="716"/>
                  </a:lnTo>
                  <a:lnTo>
                    <a:pt x="1326" y="718"/>
                  </a:lnTo>
                  <a:lnTo>
                    <a:pt x="1326" y="718"/>
                  </a:lnTo>
                  <a:lnTo>
                    <a:pt x="1326" y="718"/>
                  </a:lnTo>
                  <a:lnTo>
                    <a:pt x="1326" y="718"/>
                  </a:lnTo>
                  <a:lnTo>
                    <a:pt x="1324" y="718"/>
                  </a:lnTo>
                  <a:lnTo>
                    <a:pt x="1326" y="718"/>
                  </a:lnTo>
                  <a:lnTo>
                    <a:pt x="1326" y="718"/>
                  </a:lnTo>
                  <a:lnTo>
                    <a:pt x="1326" y="718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6" y="713"/>
                  </a:lnTo>
                  <a:lnTo>
                    <a:pt x="1324" y="716"/>
                  </a:lnTo>
                  <a:lnTo>
                    <a:pt x="1324" y="716"/>
                  </a:lnTo>
                  <a:lnTo>
                    <a:pt x="1326" y="716"/>
                  </a:lnTo>
                  <a:lnTo>
                    <a:pt x="1326" y="716"/>
                  </a:lnTo>
                  <a:lnTo>
                    <a:pt x="1324" y="716"/>
                  </a:lnTo>
                  <a:lnTo>
                    <a:pt x="1324" y="716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4" y="720"/>
                  </a:lnTo>
                  <a:lnTo>
                    <a:pt x="1324" y="720"/>
                  </a:lnTo>
                  <a:lnTo>
                    <a:pt x="1324" y="718"/>
                  </a:lnTo>
                  <a:lnTo>
                    <a:pt x="1324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20"/>
                  </a:lnTo>
                  <a:lnTo>
                    <a:pt x="1321" y="720"/>
                  </a:lnTo>
                  <a:lnTo>
                    <a:pt x="1321" y="720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6"/>
                  </a:lnTo>
                  <a:lnTo>
                    <a:pt x="1321" y="716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21" y="718"/>
                  </a:lnTo>
                  <a:lnTo>
                    <a:pt x="1319" y="720"/>
                  </a:lnTo>
                  <a:lnTo>
                    <a:pt x="1319" y="720"/>
                  </a:lnTo>
                  <a:lnTo>
                    <a:pt x="1319" y="720"/>
                  </a:lnTo>
                  <a:lnTo>
                    <a:pt x="1317" y="720"/>
                  </a:lnTo>
                  <a:lnTo>
                    <a:pt x="1317" y="720"/>
                  </a:lnTo>
                  <a:lnTo>
                    <a:pt x="1317" y="720"/>
                  </a:lnTo>
                  <a:lnTo>
                    <a:pt x="1315" y="720"/>
                  </a:lnTo>
                  <a:lnTo>
                    <a:pt x="1315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5" y="720"/>
                  </a:lnTo>
                  <a:lnTo>
                    <a:pt x="1315" y="720"/>
                  </a:lnTo>
                  <a:lnTo>
                    <a:pt x="1315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18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2" y="720"/>
                  </a:lnTo>
                  <a:lnTo>
                    <a:pt x="1310" y="722"/>
                  </a:lnTo>
                  <a:lnTo>
                    <a:pt x="1310" y="722"/>
                  </a:lnTo>
                  <a:lnTo>
                    <a:pt x="1310" y="720"/>
                  </a:lnTo>
                  <a:lnTo>
                    <a:pt x="1310" y="720"/>
                  </a:lnTo>
                  <a:lnTo>
                    <a:pt x="1310" y="722"/>
                  </a:lnTo>
                  <a:lnTo>
                    <a:pt x="1310" y="722"/>
                  </a:lnTo>
                  <a:lnTo>
                    <a:pt x="1310" y="722"/>
                  </a:lnTo>
                  <a:lnTo>
                    <a:pt x="1310" y="720"/>
                  </a:lnTo>
                  <a:lnTo>
                    <a:pt x="1310" y="720"/>
                  </a:lnTo>
                  <a:lnTo>
                    <a:pt x="1310" y="720"/>
                  </a:lnTo>
                  <a:lnTo>
                    <a:pt x="1310" y="720"/>
                  </a:lnTo>
                  <a:lnTo>
                    <a:pt x="1308" y="720"/>
                  </a:lnTo>
                  <a:lnTo>
                    <a:pt x="1308" y="720"/>
                  </a:lnTo>
                  <a:lnTo>
                    <a:pt x="1308" y="720"/>
                  </a:lnTo>
                  <a:lnTo>
                    <a:pt x="1308" y="720"/>
                  </a:lnTo>
                  <a:lnTo>
                    <a:pt x="1306" y="720"/>
                  </a:lnTo>
                  <a:lnTo>
                    <a:pt x="1306" y="720"/>
                  </a:lnTo>
                  <a:lnTo>
                    <a:pt x="1306" y="720"/>
                  </a:lnTo>
                  <a:lnTo>
                    <a:pt x="1303" y="720"/>
                  </a:lnTo>
                  <a:lnTo>
                    <a:pt x="1303" y="720"/>
                  </a:lnTo>
                  <a:lnTo>
                    <a:pt x="1303" y="720"/>
                  </a:lnTo>
                  <a:lnTo>
                    <a:pt x="1306" y="720"/>
                  </a:lnTo>
                  <a:lnTo>
                    <a:pt x="1306" y="720"/>
                  </a:lnTo>
                  <a:lnTo>
                    <a:pt x="1306" y="720"/>
                  </a:lnTo>
                  <a:lnTo>
                    <a:pt x="1306" y="718"/>
                  </a:lnTo>
                  <a:lnTo>
                    <a:pt x="1303" y="720"/>
                  </a:lnTo>
                  <a:lnTo>
                    <a:pt x="1303" y="720"/>
                  </a:lnTo>
                  <a:lnTo>
                    <a:pt x="1303" y="720"/>
                  </a:lnTo>
                  <a:lnTo>
                    <a:pt x="1303" y="720"/>
                  </a:lnTo>
                  <a:lnTo>
                    <a:pt x="1303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18"/>
                  </a:lnTo>
                  <a:lnTo>
                    <a:pt x="1301" y="718"/>
                  </a:lnTo>
                  <a:lnTo>
                    <a:pt x="1301" y="718"/>
                  </a:lnTo>
                  <a:lnTo>
                    <a:pt x="1301" y="718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20"/>
                  </a:lnTo>
                  <a:lnTo>
                    <a:pt x="1301" y="718"/>
                  </a:lnTo>
                  <a:lnTo>
                    <a:pt x="1299" y="718"/>
                  </a:lnTo>
                  <a:lnTo>
                    <a:pt x="1299" y="720"/>
                  </a:lnTo>
                  <a:lnTo>
                    <a:pt x="1299" y="718"/>
                  </a:lnTo>
                  <a:lnTo>
                    <a:pt x="1299" y="718"/>
                  </a:lnTo>
                  <a:lnTo>
                    <a:pt x="1299" y="718"/>
                  </a:lnTo>
                  <a:lnTo>
                    <a:pt x="1299" y="718"/>
                  </a:lnTo>
                  <a:lnTo>
                    <a:pt x="1297" y="718"/>
                  </a:lnTo>
                  <a:lnTo>
                    <a:pt x="1297" y="718"/>
                  </a:lnTo>
                  <a:lnTo>
                    <a:pt x="1297" y="718"/>
                  </a:lnTo>
                  <a:lnTo>
                    <a:pt x="1297" y="720"/>
                  </a:lnTo>
                  <a:lnTo>
                    <a:pt x="1297" y="720"/>
                  </a:lnTo>
                  <a:lnTo>
                    <a:pt x="1297" y="720"/>
                  </a:lnTo>
                  <a:lnTo>
                    <a:pt x="1294" y="720"/>
                  </a:lnTo>
                  <a:lnTo>
                    <a:pt x="1294" y="720"/>
                  </a:lnTo>
                  <a:lnTo>
                    <a:pt x="1294" y="718"/>
                  </a:lnTo>
                  <a:lnTo>
                    <a:pt x="1294" y="718"/>
                  </a:lnTo>
                  <a:lnTo>
                    <a:pt x="1294" y="718"/>
                  </a:lnTo>
                  <a:lnTo>
                    <a:pt x="1294" y="718"/>
                  </a:lnTo>
                  <a:lnTo>
                    <a:pt x="1294" y="718"/>
                  </a:lnTo>
                  <a:lnTo>
                    <a:pt x="1294" y="720"/>
                  </a:lnTo>
                  <a:lnTo>
                    <a:pt x="1294" y="720"/>
                  </a:lnTo>
                  <a:lnTo>
                    <a:pt x="1292" y="720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2" y="720"/>
                  </a:lnTo>
                  <a:lnTo>
                    <a:pt x="1292" y="720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0" y="718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2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90" y="718"/>
                  </a:lnTo>
                  <a:lnTo>
                    <a:pt x="1288" y="718"/>
                  </a:lnTo>
                  <a:lnTo>
                    <a:pt x="1288" y="718"/>
                  </a:lnTo>
                  <a:lnTo>
                    <a:pt x="1288" y="718"/>
                  </a:lnTo>
                  <a:lnTo>
                    <a:pt x="1288" y="718"/>
                  </a:lnTo>
                  <a:lnTo>
                    <a:pt x="1288" y="718"/>
                  </a:lnTo>
                  <a:lnTo>
                    <a:pt x="1288" y="718"/>
                  </a:lnTo>
                  <a:lnTo>
                    <a:pt x="1285" y="718"/>
                  </a:lnTo>
                  <a:lnTo>
                    <a:pt x="1285" y="718"/>
                  </a:lnTo>
                  <a:lnTo>
                    <a:pt x="1285" y="718"/>
                  </a:lnTo>
                  <a:lnTo>
                    <a:pt x="1285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5" y="716"/>
                  </a:lnTo>
                  <a:lnTo>
                    <a:pt x="1285" y="716"/>
                  </a:lnTo>
                  <a:lnTo>
                    <a:pt x="1285" y="716"/>
                  </a:lnTo>
                  <a:lnTo>
                    <a:pt x="1285" y="716"/>
                  </a:lnTo>
                  <a:lnTo>
                    <a:pt x="1283" y="716"/>
                  </a:lnTo>
                  <a:lnTo>
                    <a:pt x="1283" y="716"/>
                  </a:lnTo>
                  <a:lnTo>
                    <a:pt x="1283" y="718"/>
                  </a:lnTo>
                  <a:lnTo>
                    <a:pt x="1283" y="718"/>
                  </a:lnTo>
                  <a:lnTo>
                    <a:pt x="1281" y="718"/>
                  </a:lnTo>
                  <a:lnTo>
                    <a:pt x="1281" y="718"/>
                  </a:lnTo>
                  <a:lnTo>
                    <a:pt x="1281" y="718"/>
                  </a:lnTo>
                  <a:lnTo>
                    <a:pt x="1281" y="718"/>
                  </a:lnTo>
                  <a:lnTo>
                    <a:pt x="1281" y="718"/>
                  </a:lnTo>
                  <a:lnTo>
                    <a:pt x="1281" y="718"/>
                  </a:lnTo>
                  <a:lnTo>
                    <a:pt x="1281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18"/>
                  </a:lnTo>
                  <a:lnTo>
                    <a:pt x="1279" y="720"/>
                  </a:lnTo>
                  <a:lnTo>
                    <a:pt x="1277" y="720"/>
                  </a:lnTo>
                  <a:lnTo>
                    <a:pt x="1277" y="720"/>
                  </a:lnTo>
                  <a:lnTo>
                    <a:pt x="1277" y="720"/>
                  </a:lnTo>
                  <a:lnTo>
                    <a:pt x="1277" y="720"/>
                  </a:lnTo>
                  <a:lnTo>
                    <a:pt x="1274" y="720"/>
                  </a:lnTo>
                  <a:lnTo>
                    <a:pt x="1272" y="720"/>
                  </a:lnTo>
                  <a:lnTo>
                    <a:pt x="1272" y="720"/>
                  </a:lnTo>
                  <a:lnTo>
                    <a:pt x="1272" y="720"/>
                  </a:lnTo>
                  <a:lnTo>
                    <a:pt x="1272" y="720"/>
                  </a:lnTo>
                  <a:lnTo>
                    <a:pt x="1270" y="720"/>
                  </a:lnTo>
                  <a:lnTo>
                    <a:pt x="1270" y="720"/>
                  </a:lnTo>
                  <a:lnTo>
                    <a:pt x="1270" y="720"/>
                  </a:lnTo>
                  <a:lnTo>
                    <a:pt x="1270" y="720"/>
                  </a:lnTo>
                  <a:lnTo>
                    <a:pt x="1270" y="720"/>
                  </a:lnTo>
                  <a:lnTo>
                    <a:pt x="1268" y="720"/>
                  </a:lnTo>
                  <a:lnTo>
                    <a:pt x="1268" y="720"/>
                  </a:lnTo>
                  <a:lnTo>
                    <a:pt x="1268" y="720"/>
                  </a:lnTo>
                  <a:lnTo>
                    <a:pt x="1268" y="720"/>
                  </a:lnTo>
                  <a:lnTo>
                    <a:pt x="1268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20"/>
                  </a:lnTo>
                  <a:lnTo>
                    <a:pt x="1265" y="718"/>
                  </a:lnTo>
                  <a:lnTo>
                    <a:pt x="1265" y="718"/>
                  </a:lnTo>
                  <a:lnTo>
                    <a:pt x="1265" y="718"/>
                  </a:lnTo>
                  <a:lnTo>
                    <a:pt x="1265" y="716"/>
                  </a:lnTo>
                  <a:lnTo>
                    <a:pt x="1265" y="716"/>
                  </a:lnTo>
                  <a:lnTo>
                    <a:pt x="1265" y="716"/>
                  </a:lnTo>
                  <a:lnTo>
                    <a:pt x="1265" y="716"/>
                  </a:lnTo>
                  <a:lnTo>
                    <a:pt x="1265" y="716"/>
                  </a:lnTo>
                  <a:lnTo>
                    <a:pt x="1265" y="716"/>
                  </a:lnTo>
                  <a:lnTo>
                    <a:pt x="1265" y="716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3"/>
                  </a:lnTo>
                  <a:lnTo>
                    <a:pt x="1265" y="711"/>
                  </a:lnTo>
                  <a:lnTo>
                    <a:pt x="1265" y="711"/>
                  </a:lnTo>
                  <a:lnTo>
                    <a:pt x="1265" y="711"/>
                  </a:lnTo>
                  <a:lnTo>
                    <a:pt x="1268" y="711"/>
                  </a:lnTo>
                  <a:lnTo>
                    <a:pt x="1268" y="711"/>
                  </a:lnTo>
                  <a:lnTo>
                    <a:pt x="1268" y="711"/>
                  </a:lnTo>
                  <a:lnTo>
                    <a:pt x="1268" y="711"/>
                  </a:lnTo>
                  <a:lnTo>
                    <a:pt x="1268" y="711"/>
                  </a:lnTo>
                  <a:lnTo>
                    <a:pt x="1270" y="711"/>
                  </a:lnTo>
                  <a:lnTo>
                    <a:pt x="1270" y="709"/>
                  </a:lnTo>
                  <a:lnTo>
                    <a:pt x="1274" y="707"/>
                  </a:lnTo>
                  <a:lnTo>
                    <a:pt x="1274" y="707"/>
                  </a:lnTo>
                  <a:lnTo>
                    <a:pt x="1277" y="707"/>
                  </a:lnTo>
                  <a:lnTo>
                    <a:pt x="1277" y="704"/>
                  </a:lnTo>
                  <a:lnTo>
                    <a:pt x="1279" y="704"/>
                  </a:lnTo>
                  <a:lnTo>
                    <a:pt x="1279" y="704"/>
                  </a:lnTo>
                  <a:lnTo>
                    <a:pt x="1279" y="704"/>
                  </a:lnTo>
                  <a:lnTo>
                    <a:pt x="1281" y="704"/>
                  </a:lnTo>
                  <a:lnTo>
                    <a:pt x="1281" y="704"/>
                  </a:lnTo>
                  <a:lnTo>
                    <a:pt x="1281" y="702"/>
                  </a:lnTo>
                  <a:lnTo>
                    <a:pt x="1281" y="702"/>
                  </a:lnTo>
                  <a:lnTo>
                    <a:pt x="1281" y="702"/>
                  </a:lnTo>
                  <a:lnTo>
                    <a:pt x="1283" y="702"/>
                  </a:lnTo>
                  <a:lnTo>
                    <a:pt x="1283" y="702"/>
                  </a:lnTo>
                  <a:lnTo>
                    <a:pt x="1283" y="702"/>
                  </a:lnTo>
                  <a:lnTo>
                    <a:pt x="1283" y="702"/>
                  </a:lnTo>
                  <a:lnTo>
                    <a:pt x="1283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3" y="700"/>
                  </a:lnTo>
                  <a:lnTo>
                    <a:pt x="1283" y="702"/>
                  </a:lnTo>
                  <a:lnTo>
                    <a:pt x="1283" y="702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5" y="700"/>
                  </a:lnTo>
                  <a:lnTo>
                    <a:pt x="1288" y="700"/>
                  </a:lnTo>
                  <a:lnTo>
                    <a:pt x="1288" y="700"/>
                  </a:lnTo>
                  <a:lnTo>
                    <a:pt x="1288" y="700"/>
                  </a:lnTo>
                  <a:lnTo>
                    <a:pt x="1290" y="698"/>
                  </a:lnTo>
                  <a:lnTo>
                    <a:pt x="1290" y="698"/>
                  </a:lnTo>
                  <a:lnTo>
                    <a:pt x="1290" y="698"/>
                  </a:lnTo>
                  <a:lnTo>
                    <a:pt x="1290" y="698"/>
                  </a:lnTo>
                  <a:lnTo>
                    <a:pt x="1290" y="698"/>
                  </a:lnTo>
                  <a:lnTo>
                    <a:pt x="1290" y="698"/>
                  </a:lnTo>
                  <a:lnTo>
                    <a:pt x="1290" y="698"/>
                  </a:lnTo>
                  <a:lnTo>
                    <a:pt x="1288" y="698"/>
                  </a:lnTo>
                  <a:lnTo>
                    <a:pt x="1288" y="698"/>
                  </a:lnTo>
                  <a:lnTo>
                    <a:pt x="1288" y="700"/>
                  </a:lnTo>
                  <a:lnTo>
                    <a:pt x="1288" y="698"/>
                  </a:lnTo>
                  <a:lnTo>
                    <a:pt x="1288" y="698"/>
                  </a:lnTo>
                  <a:lnTo>
                    <a:pt x="1285" y="698"/>
                  </a:lnTo>
                  <a:lnTo>
                    <a:pt x="1285" y="698"/>
                  </a:lnTo>
                  <a:lnTo>
                    <a:pt x="1285" y="698"/>
                  </a:lnTo>
                  <a:lnTo>
                    <a:pt x="1285" y="698"/>
                  </a:lnTo>
                  <a:lnTo>
                    <a:pt x="1283" y="698"/>
                  </a:lnTo>
                  <a:lnTo>
                    <a:pt x="1283" y="698"/>
                  </a:lnTo>
                  <a:lnTo>
                    <a:pt x="1281" y="698"/>
                  </a:lnTo>
                  <a:lnTo>
                    <a:pt x="1279" y="698"/>
                  </a:lnTo>
                  <a:lnTo>
                    <a:pt x="1277" y="698"/>
                  </a:lnTo>
                  <a:lnTo>
                    <a:pt x="1277" y="698"/>
                  </a:lnTo>
                  <a:lnTo>
                    <a:pt x="1272" y="700"/>
                  </a:lnTo>
                  <a:lnTo>
                    <a:pt x="1272" y="700"/>
                  </a:lnTo>
                  <a:lnTo>
                    <a:pt x="1272" y="700"/>
                  </a:lnTo>
                  <a:lnTo>
                    <a:pt x="1272" y="700"/>
                  </a:lnTo>
                  <a:lnTo>
                    <a:pt x="1272" y="700"/>
                  </a:lnTo>
                  <a:lnTo>
                    <a:pt x="1272" y="698"/>
                  </a:lnTo>
                  <a:lnTo>
                    <a:pt x="1272" y="698"/>
                  </a:lnTo>
                  <a:lnTo>
                    <a:pt x="1272" y="698"/>
                  </a:lnTo>
                  <a:lnTo>
                    <a:pt x="1274" y="698"/>
                  </a:lnTo>
                  <a:lnTo>
                    <a:pt x="1277" y="695"/>
                  </a:lnTo>
                  <a:lnTo>
                    <a:pt x="1279" y="695"/>
                  </a:lnTo>
                  <a:lnTo>
                    <a:pt x="1283" y="693"/>
                  </a:lnTo>
                  <a:lnTo>
                    <a:pt x="1283" y="693"/>
                  </a:lnTo>
                  <a:lnTo>
                    <a:pt x="1283" y="693"/>
                  </a:lnTo>
                  <a:lnTo>
                    <a:pt x="1281" y="693"/>
                  </a:lnTo>
                  <a:lnTo>
                    <a:pt x="1281" y="693"/>
                  </a:lnTo>
                  <a:lnTo>
                    <a:pt x="1281" y="693"/>
                  </a:lnTo>
                  <a:lnTo>
                    <a:pt x="1281" y="693"/>
                  </a:lnTo>
                  <a:lnTo>
                    <a:pt x="1279" y="695"/>
                  </a:lnTo>
                  <a:lnTo>
                    <a:pt x="1279" y="695"/>
                  </a:lnTo>
                  <a:lnTo>
                    <a:pt x="1279" y="695"/>
                  </a:lnTo>
                  <a:lnTo>
                    <a:pt x="1279" y="695"/>
                  </a:lnTo>
                  <a:lnTo>
                    <a:pt x="1279" y="695"/>
                  </a:lnTo>
                  <a:lnTo>
                    <a:pt x="1279" y="698"/>
                  </a:lnTo>
                  <a:lnTo>
                    <a:pt x="1279" y="698"/>
                  </a:lnTo>
                  <a:lnTo>
                    <a:pt x="1279" y="698"/>
                  </a:lnTo>
                  <a:lnTo>
                    <a:pt x="1279" y="698"/>
                  </a:lnTo>
                  <a:lnTo>
                    <a:pt x="1279" y="698"/>
                  </a:lnTo>
                  <a:lnTo>
                    <a:pt x="1279" y="698"/>
                  </a:lnTo>
                  <a:lnTo>
                    <a:pt x="1281" y="698"/>
                  </a:lnTo>
                  <a:lnTo>
                    <a:pt x="1281" y="698"/>
                  </a:lnTo>
                  <a:lnTo>
                    <a:pt x="1281" y="695"/>
                  </a:lnTo>
                  <a:lnTo>
                    <a:pt x="1281" y="695"/>
                  </a:lnTo>
                  <a:lnTo>
                    <a:pt x="1281" y="695"/>
                  </a:lnTo>
                  <a:lnTo>
                    <a:pt x="1281" y="695"/>
                  </a:lnTo>
                  <a:lnTo>
                    <a:pt x="1281" y="698"/>
                  </a:lnTo>
                  <a:lnTo>
                    <a:pt x="1281" y="698"/>
                  </a:lnTo>
                  <a:lnTo>
                    <a:pt x="1281" y="698"/>
                  </a:lnTo>
                  <a:lnTo>
                    <a:pt x="1281" y="698"/>
                  </a:lnTo>
                  <a:lnTo>
                    <a:pt x="1281" y="698"/>
                  </a:lnTo>
                  <a:lnTo>
                    <a:pt x="1281" y="698"/>
                  </a:lnTo>
                  <a:lnTo>
                    <a:pt x="1283" y="698"/>
                  </a:lnTo>
                  <a:lnTo>
                    <a:pt x="1283" y="698"/>
                  </a:lnTo>
                  <a:lnTo>
                    <a:pt x="1283" y="695"/>
                  </a:lnTo>
                  <a:lnTo>
                    <a:pt x="1283" y="695"/>
                  </a:lnTo>
                  <a:lnTo>
                    <a:pt x="1283" y="695"/>
                  </a:lnTo>
                  <a:lnTo>
                    <a:pt x="1285" y="693"/>
                  </a:lnTo>
                  <a:lnTo>
                    <a:pt x="1285" y="693"/>
                  </a:lnTo>
                  <a:lnTo>
                    <a:pt x="1285" y="691"/>
                  </a:lnTo>
                  <a:lnTo>
                    <a:pt x="1288" y="691"/>
                  </a:lnTo>
                  <a:lnTo>
                    <a:pt x="1288" y="691"/>
                  </a:lnTo>
                  <a:lnTo>
                    <a:pt x="1288" y="691"/>
                  </a:lnTo>
                  <a:lnTo>
                    <a:pt x="1288" y="691"/>
                  </a:lnTo>
                  <a:lnTo>
                    <a:pt x="1288" y="691"/>
                  </a:lnTo>
                  <a:lnTo>
                    <a:pt x="1288" y="689"/>
                  </a:lnTo>
                  <a:lnTo>
                    <a:pt x="1288" y="689"/>
                  </a:lnTo>
                  <a:lnTo>
                    <a:pt x="1290" y="689"/>
                  </a:lnTo>
                  <a:lnTo>
                    <a:pt x="1290" y="686"/>
                  </a:lnTo>
                  <a:lnTo>
                    <a:pt x="1290" y="686"/>
                  </a:lnTo>
                  <a:lnTo>
                    <a:pt x="1292" y="686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4" y="684"/>
                  </a:lnTo>
                  <a:lnTo>
                    <a:pt x="1294" y="684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2" y="684"/>
                  </a:lnTo>
                  <a:lnTo>
                    <a:pt x="1292" y="686"/>
                  </a:lnTo>
                  <a:lnTo>
                    <a:pt x="1292" y="686"/>
                  </a:lnTo>
                  <a:lnTo>
                    <a:pt x="1292" y="686"/>
                  </a:lnTo>
                  <a:lnTo>
                    <a:pt x="1292" y="686"/>
                  </a:lnTo>
                  <a:lnTo>
                    <a:pt x="1294" y="686"/>
                  </a:lnTo>
                  <a:lnTo>
                    <a:pt x="1294" y="686"/>
                  </a:lnTo>
                  <a:lnTo>
                    <a:pt x="1294" y="686"/>
                  </a:lnTo>
                  <a:lnTo>
                    <a:pt x="1297" y="686"/>
                  </a:lnTo>
                  <a:lnTo>
                    <a:pt x="1297" y="686"/>
                  </a:lnTo>
                  <a:lnTo>
                    <a:pt x="1297" y="686"/>
                  </a:lnTo>
                  <a:lnTo>
                    <a:pt x="1297" y="689"/>
                  </a:lnTo>
                  <a:lnTo>
                    <a:pt x="1299" y="689"/>
                  </a:lnTo>
                  <a:lnTo>
                    <a:pt x="1301" y="689"/>
                  </a:lnTo>
                  <a:lnTo>
                    <a:pt x="1301" y="689"/>
                  </a:lnTo>
                  <a:lnTo>
                    <a:pt x="1299" y="689"/>
                  </a:lnTo>
                  <a:lnTo>
                    <a:pt x="1299" y="686"/>
                  </a:lnTo>
                  <a:lnTo>
                    <a:pt x="1297" y="686"/>
                  </a:lnTo>
                  <a:lnTo>
                    <a:pt x="1297" y="686"/>
                  </a:lnTo>
                  <a:lnTo>
                    <a:pt x="1297" y="686"/>
                  </a:lnTo>
                  <a:lnTo>
                    <a:pt x="1297" y="686"/>
                  </a:lnTo>
                  <a:lnTo>
                    <a:pt x="1297" y="686"/>
                  </a:lnTo>
                  <a:lnTo>
                    <a:pt x="1297" y="684"/>
                  </a:lnTo>
                  <a:lnTo>
                    <a:pt x="1297" y="684"/>
                  </a:lnTo>
                  <a:lnTo>
                    <a:pt x="1297" y="684"/>
                  </a:lnTo>
                  <a:lnTo>
                    <a:pt x="1297" y="684"/>
                  </a:lnTo>
                  <a:lnTo>
                    <a:pt x="1297" y="684"/>
                  </a:lnTo>
                  <a:lnTo>
                    <a:pt x="1299" y="684"/>
                  </a:lnTo>
                  <a:lnTo>
                    <a:pt x="1299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3" y="684"/>
                  </a:lnTo>
                  <a:lnTo>
                    <a:pt x="1303" y="682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4"/>
                  </a:lnTo>
                  <a:lnTo>
                    <a:pt x="1301" y="682"/>
                  </a:lnTo>
                  <a:lnTo>
                    <a:pt x="1299" y="684"/>
                  </a:lnTo>
                  <a:lnTo>
                    <a:pt x="1299" y="684"/>
                  </a:lnTo>
                  <a:lnTo>
                    <a:pt x="1299" y="684"/>
                  </a:lnTo>
                  <a:lnTo>
                    <a:pt x="1299" y="684"/>
                  </a:lnTo>
                  <a:lnTo>
                    <a:pt x="1299" y="684"/>
                  </a:lnTo>
                  <a:lnTo>
                    <a:pt x="1301" y="682"/>
                  </a:lnTo>
                  <a:lnTo>
                    <a:pt x="1301" y="682"/>
                  </a:lnTo>
                  <a:lnTo>
                    <a:pt x="1301" y="682"/>
                  </a:lnTo>
                  <a:lnTo>
                    <a:pt x="1301" y="682"/>
                  </a:lnTo>
                  <a:lnTo>
                    <a:pt x="1301" y="682"/>
                  </a:lnTo>
                  <a:lnTo>
                    <a:pt x="1301" y="682"/>
                  </a:lnTo>
                  <a:lnTo>
                    <a:pt x="1299" y="682"/>
                  </a:lnTo>
                  <a:lnTo>
                    <a:pt x="1299" y="682"/>
                  </a:lnTo>
                  <a:lnTo>
                    <a:pt x="1297" y="682"/>
                  </a:lnTo>
                  <a:lnTo>
                    <a:pt x="1297" y="682"/>
                  </a:lnTo>
                  <a:lnTo>
                    <a:pt x="1297" y="682"/>
                  </a:lnTo>
                  <a:lnTo>
                    <a:pt x="1297" y="680"/>
                  </a:lnTo>
                  <a:lnTo>
                    <a:pt x="1297" y="680"/>
                  </a:lnTo>
                  <a:lnTo>
                    <a:pt x="1297" y="680"/>
                  </a:lnTo>
                  <a:lnTo>
                    <a:pt x="1299" y="677"/>
                  </a:lnTo>
                  <a:lnTo>
                    <a:pt x="1299" y="677"/>
                  </a:lnTo>
                  <a:lnTo>
                    <a:pt x="1299" y="675"/>
                  </a:lnTo>
                  <a:lnTo>
                    <a:pt x="1301" y="675"/>
                  </a:lnTo>
                  <a:lnTo>
                    <a:pt x="1301" y="675"/>
                  </a:lnTo>
                  <a:lnTo>
                    <a:pt x="1303" y="675"/>
                  </a:lnTo>
                  <a:lnTo>
                    <a:pt x="1303" y="675"/>
                  </a:lnTo>
                  <a:lnTo>
                    <a:pt x="1303" y="675"/>
                  </a:lnTo>
                  <a:lnTo>
                    <a:pt x="1303" y="675"/>
                  </a:lnTo>
                  <a:lnTo>
                    <a:pt x="1303" y="675"/>
                  </a:lnTo>
                  <a:lnTo>
                    <a:pt x="1303" y="675"/>
                  </a:lnTo>
                  <a:lnTo>
                    <a:pt x="1303" y="675"/>
                  </a:lnTo>
                  <a:lnTo>
                    <a:pt x="1303" y="677"/>
                  </a:lnTo>
                  <a:lnTo>
                    <a:pt x="1303" y="677"/>
                  </a:lnTo>
                  <a:lnTo>
                    <a:pt x="1303" y="677"/>
                  </a:lnTo>
                  <a:lnTo>
                    <a:pt x="1303" y="677"/>
                  </a:lnTo>
                  <a:lnTo>
                    <a:pt x="1303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7"/>
                  </a:lnTo>
                  <a:lnTo>
                    <a:pt x="1308" y="677"/>
                  </a:lnTo>
                  <a:lnTo>
                    <a:pt x="1308" y="677"/>
                  </a:lnTo>
                  <a:lnTo>
                    <a:pt x="1308" y="677"/>
                  </a:lnTo>
                  <a:lnTo>
                    <a:pt x="1308" y="677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5"/>
                  </a:lnTo>
                  <a:lnTo>
                    <a:pt x="1306" y="673"/>
                  </a:lnTo>
                  <a:lnTo>
                    <a:pt x="1303" y="673"/>
                  </a:lnTo>
                  <a:lnTo>
                    <a:pt x="1303" y="673"/>
                  </a:lnTo>
                  <a:lnTo>
                    <a:pt x="1303" y="673"/>
                  </a:lnTo>
                  <a:lnTo>
                    <a:pt x="1303" y="673"/>
                  </a:lnTo>
                  <a:lnTo>
                    <a:pt x="1306" y="673"/>
                  </a:lnTo>
                  <a:lnTo>
                    <a:pt x="1303" y="673"/>
                  </a:lnTo>
                  <a:lnTo>
                    <a:pt x="1303" y="673"/>
                  </a:lnTo>
                  <a:lnTo>
                    <a:pt x="1306" y="671"/>
                  </a:lnTo>
                  <a:lnTo>
                    <a:pt x="1306" y="671"/>
                  </a:lnTo>
                  <a:lnTo>
                    <a:pt x="1306" y="671"/>
                  </a:lnTo>
                  <a:lnTo>
                    <a:pt x="1306" y="671"/>
                  </a:lnTo>
                  <a:lnTo>
                    <a:pt x="1306" y="668"/>
                  </a:lnTo>
                  <a:lnTo>
                    <a:pt x="1306" y="668"/>
                  </a:lnTo>
                  <a:lnTo>
                    <a:pt x="1308" y="668"/>
                  </a:lnTo>
                  <a:lnTo>
                    <a:pt x="1308" y="668"/>
                  </a:lnTo>
                  <a:lnTo>
                    <a:pt x="1308" y="668"/>
                  </a:lnTo>
                  <a:lnTo>
                    <a:pt x="1308" y="668"/>
                  </a:lnTo>
                  <a:lnTo>
                    <a:pt x="1308" y="668"/>
                  </a:lnTo>
                  <a:lnTo>
                    <a:pt x="1308" y="668"/>
                  </a:lnTo>
                  <a:lnTo>
                    <a:pt x="1308" y="668"/>
                  </a:lnTo>
                  <a:lnTo>
                    <a:pt x="1308" y="666"/>
                  </a:lnTo>
                  <a:lnTo>
                    <a:pt x="1310" y="666"/>
                  </a:lnTo>
                  <a:lnTo>
                    <a:pt x="1310" y="666"/>
                  </a:lnTo>
                  <a:lnTo>
                    <a:pt x="1310" y="664"/>
                  </a:lnTo>
                  <a:lnTo>
                    <a:pt x="1312" y="664"/>
                  </a:lnTo>
                  <a:lnTo>
                    <a:pt x="1312" y="662"/>
                  </a:lnTo>
                  <a:lnTo>
                    <a:pt x="1315" y="659"/>
                  </a:lnTo>
                  <a:lnTo>
                    <a:pt x="1315" y="659"/>
                  </a:lnTo>
                  <a:lnTo>
                    <a:pt x="1315" y="659"/>
                  </a:lnTo>
                  <a:lnTo>
                    <a:pt x="1315" y="659"/>
                  </a:lnTo>
                  <a:lnTo>
                    <a:pt x="1317" y="657"/>
                  </a:lnTo>
                  <a:lnTo>
                    <a:pt x="1317" y="657"/>
                  </a:lnTo>
                  <a:lnTo>
                    <a:pt x="1317" y="657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7" y="655"/>
                  </a:lnTo>
                  <a:lnTo>
                    <a:pt x="1319" y="655"/>
                  </a:lnTo>
                  <a:lnTo>
                    <a:pt x="1319" y="655"/>
                  </a:lnTo>
                  <a:lnTo>
                    <a:pt x="1319" y="653"/>
                  </a:lnTo>
                  <a:lnTo>
                    <a:pt x="1319" y="653"/>
                  </a:lnTo>
                  <a:lnTo>
                    <a:pt x="1319" y="653"/>
                  </a:lnTo>
                  <a:lnTo>
                    <a:pt x="1319" y="653"/>
                  </a:lnTo>
                  <a:lnTo>
                    <a:pt x="1321" y="653"/>
                  </a:lnTo>
                  <a:lnTo>
                    <a:pt x="1321" y="653"/>
                  </a:lnTo>
                  <a:lnTo>
                    <a:pt x="1321" y="650"/>
                  </a:lnTo>
                  <a:lnTo>
                    <a:pt x="1321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6" y="650"/>
                  </a:lnTo>
                  <a:lnTo>
                    <a:pt x="1326" y="650"/>
                  </a:lnTo>
                  <a:lnTo>
                    <a:pt x="1326" y="650"/>
                  </a:lnTo>
                  <a:lnTo>
                    <a:pt x="1326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50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1" y="648"/>
                  </a:lnTo>
                  <a:lnTo>
                    <a:pt x="1321" y="648"/>
                  </a:lnTo>
                  <a:lnTo>
                    <a:pt x="1321" y="648"/>
                  </a:lnTo>
                  <a:lnTo>
                    <a:pt x="1321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4" y="648"/>
                  </a:lnTo>
                  <a:lnTo>
                    <a:pt x="1326" y="648"/>
                  </a:lnTo>
                  <a:lnTo>
                    <a:pt x="1326" y="646"/>
                  </a:lnTo>
                  <a:lnTo>
                    <a:pt x="1326" y="646"/>
                  </a:lnTo>
                  <a:lnTo>
                    <a:pt x="1326" y="646"/>
                  </a:lnTo>
                  <a:lnTo>
                    <a:pt x="1326" y="646"/>
                  </a:lnTo>
                  <a:lnTo>
                    <a:pt x="1326" y="646"/>
                  </a:lnTo>
                  <a:lnTo>
                    <a:pt x="1328" y="646"/>
                  </a:lnTo>
                  <a:lnTo>
                    <a:pt x="1328" y="646"/>
                  </a:lnTo>
                  <a:lnTo>
                    <a:pt x="1328" y="646"/>
                  </a:lnTo>
                  <a:lnTo>
                    <a:pt x="1328" y="646"/>
                  </a:lnTo>
                  <a:lnTo>
                    <a:pt x="1330" y="646"/>
                  </a:lnTo>
                  <a:lnTo>
                    <a:pt x="1330" y="646"/>
                  </a:lnTo>
                  <a:lnTo>
                    <a:pt x="1330" y="644"/>
                  </a:lnTo>
                  <a:lnTo>
                    <a:pt x="1330" y="644"/>
                  </a:lnTo>
                  <a:lnTo>
                    <a:pt x="1330" y="644"/>
                  </a:lnTo>
                  <a:lnTo>
                    <a:pt x="1330" y="644"/>
                  </a:lnTo>
                  <a:lnTo>
                    <a:pt x="1330" y="644"/>
                  </a:lnTo>
                  <a:lnTo>
                    <a:pt x="1330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3" y="644"/>
                  </a:lnTo>
                  <a:lnTo>
                    <a:pt x="1330" y="644"/>
                  </a:lnTo>
                  <a:lnTo>
                    <a:pt x="1330" y="644"/>
                  </a:lnTo>
                  <a:lnTo>
                    <a:pt x="1330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0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41"/>
                  </a:lnTo>
                  <a:lnTo>
                    <a:pt x="1333" y="639"/>
                  </a:lnTo>
                  <a:lnTo>
                    <a:pt x="1333" y="639"/>
                  </a:lnTo>
                  <a:lnTo>
                    <a:pt x="1333" y="639"/>
                  </a:lnTo>
                  <a:lnTo>
                    <a:pt x="1333" y="639"/>
                  </a:lnTo>
                  <a:lnTo>
                    <a:pt x="1335" y="639"/>
                  </a:lnTo>
                  <a:lnTo>
                    <a:pt x="1335" y="639"/>
                  </a:lnTo>
                  <a:lnTo>
                    <a:pt x="1335" y="639"/>
                  </a:lnTo>
                  <a:lnTo>
                    <a:pt x="1335" y="639"/>
                  </a:lnTo>
                  <a:lnTo>
                    <a:pt x="1337" y="639"/>
                  </a:lnTo>
                  <a:lnTo>
                    <a:pt x="1337" y="639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7"/>
                  </a:lnTo>
                  <a:lnTo>
                    <a:pt x="1337" y="635"/>
                  </a:lnTo>
                  <a:lnTo>
                    <a:pt x="1337" y="635"/>
                  </a:lnTo>
                  <a:lnTo>
                    <a:pt x="1337" y="635"/>
                  </a:lnTo>
                  <a:lnTo>
                    <a:pt x="1337" y="635"/>
                  </a:lnTo>
                  <a:lnTo>
                    <a:pt x="1339" y="635"/>
                  </a:lnTo>
                  <a:lnTo>
                    <a:pt x="1339" y="635"/>
                  </a:lnTo>
                  <a:lnTo>
                    <a:pt x="1339" y="635"/>
                  </a:lnTo>
                  <a:lnTo>
                    <a:pt x="1339" y="632"/>
                  </a:lnTo>
                  <a:lnTo>
                    <a:pt x="1344" y="632"/>
                  </a:lnTo>
                  <a:lnTo>
                    <a:pt x="1344" y="632"/>
                  </a:lnTo>
                  <a:lnTo>
                    <a:pt x="1346" y="632"/>
                  </a:lnTo>
                  <a:lnTo>
                    <a:pt x="1346" y="632"/>
                  </a:lnTo>
                  <a:lnTo>
                    <a:pt x="1346" y="630"/>
                  </a:lnTo>
                  <a:lnTo>
                    <a:pt x="1348" y="630"/>
                  </a:lnTo>
                  <a:lnTo>
                    <a:pt x="1348" y="630"/>
                  </a:lnTo>
                  <a:lnTo>
                    <a:pt x="1348" y="630"/>
                  </a:lnTo>
                  <a:lnTo>
                    <a:pt x="1351" y="630"/>
                  </a:lnTo>
                  <a:lnTo>
                    <a:pt x="1351" y="630"/>
                  </a:lnTo>
                  <a:lnTo>
                    <a:pt x="1353" y="630"/>
                  </a:lnTo>
                  <a:lnTo>
                    <a:pt x="1353" y="628"/>
                  </a:lnTo>
                  <a:lnTo>
                    <a:pt x="1353" y="628"/>
                  </a:lnTo>
                  <a:lnTo>
                    <a:pt x="1353" y="628"/>
                  </a:lnTo>
                  <a:lnTo>
                    <a:pt x="1353" y="628"/>
                  </a:lnTo>
                  <a:lnTo>
                    <a:pt x="1357" y="628"/>
                  </a:lnTo>
                  <a:lnTo>
                    <a:pt x="1357" y="628"/>
                  </a:lnTo>
                  <a:close/>
                  <a:moveTo>
                    <a:pt x="57" y="630"/>
                  </a:moveTo>
                  <a:lnTo>
                    <a:pt x="57" y="630"/>
                  </a:lnTo>
                  <a:lnTo>
                    <a:pt x="57" y="630"/>
                  </a:lnTo>
                  <a:lnTo>
                    <a:pt x="54" y="632"/>
                  </a:lnTo>
                  <a:lnTo>
                    <a:pt x="54" y="632"/>
                  </a:lnTo>
                  <a:lnTo>
                    <a:pt x="54" y="632"/>
                  </a:lnTo>
                  <a:lnTo>
                    <a:pt x="54" y="632"/>
                  </a:lnTo>
                  <a:lnTo>
                    <a:pt x="54" y="632"/>
                  </a:lnTo>
                  <a:lnTo>
                    <a:pt x="54" y="630"/>
                  </a:lnTo>
                  <a:lnTo>
                    <a:pt x="54" y="630"/>
                  </a:lnTo>
                  <a:lnTo>
                    <a:pt x="54" y="630"/>
                  </a:lnTo>
                  <a:lnTo>
                    <a:pt x="54" y="630"/>
                  </a:lnTo>
                  <a:lnTo>
                    <a:pt x="54" y="630"/>
                  </a:lnTo>
                  <a:lnTo>
                    <a:pt x="54" y="630"/>
                  </a:lnTo>
                  <a:lnTo>
                    <a:pt x="52" y="630"/>
                  </a:lnTo>
                  <a:lnTo>
                    <a:pt x="52" y="630"/>
                  </a:lnTo>
                  <a:lnTo>
                    <a:pt x="52" y="630"/>
                  </a:lnTo>
                  <a:lnTo>
                    <a:pt x="52" y="630"/>
                  </a:lnTo>
                  <a:lnTo>
                    <a:pt x="54" y="628"/>
                  </a:lnTo>
                  <a:lnTo>
                    <a:pt x="54" y="628"/>
                  </a:lnTo>
                  <a:lnTo>
                    <a:pt x="54" y="628"/>
                  </a:lnTo>
                  <a:lnTo>
                    <a:pt x="54" y="626"/>
                  </a:lnTo>
                  <a:lnTo>
                    <a:pt x="54" y="626"/>
                  </a:lnTo>
                  <a:lnTo>
                    <a:pt x="57" y="626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57" y="626"/>
                  </a:lnTo>
                  <a:lnTo>
                    <a:pt x="57" y="626"/>
                  </a:lnTo>
                  <a:lnTo>
                    <a:pt x="57" y="628"/>
                  </a:lnTo>
                  <a:lnTo>
                    <a:pt x="57" y="628"/>
                  </a:lnTo>
                  <a:lnTo>
                    <a:pt x="57" y="630"/>
                  </a:lnTo>
                  <a:lnTo>
                    <a:pt x="57" y="630"/>
                  </a:lnTo>
                  <a:lnTo>
                    <a:pt x="57" y="630"/>
                  </a:lnTo>
                  <a:lnTo>
                    <a:pt x="57" y="630"/>
                  </a:lnTo>
                  <a:close/>
                  <a:moveTo>
                    <a:pt x="1369" y="621"/>
                  </a:moveTo>
                  <a:lnTo>
                    <a:pt x="1366" y="621"/>
                  </a:lnTo>
                  <a:lnTo>
                    <a:pt x="1366" y="621"/>
                  </a:lnTo>
                  <a:lnTo>
                    <a:pt x="1366" y="621"/>
                  </a:lnTo>
                  <a:lnTo>
                    <a:pt x="1369" y="619"/>
                  </a:lnTo>
                  <a:lnTo>
                    <a:pt x="1369" y="619"/>
                  </a:lnTo>
                  <a:lnTo>
                    <a:pt x="1369" y="619"/>
                  </a:lnTo>
                  <a:lnTo>
                    <a:pt x="1369" y="619"/>
                  </a:lnTo>
                  <a:lnTo>
                    <a:pt x="1369" y="619"/>
                  </a:lnTo>
                  <a:lnTo>
                    <a:pt x="1371" y="619"/>
                  </a:lnTo>
                  <a:lnTo>
                    <a:pt x="1371" y="619"/>
                  </a:lnTo>
                  <a:lnTo>
                    <a:pt x="1371" y="619"/>
                  </a:lnTo>
                  <a:lnTo>
                    <a:pt x="1371" y="619"/>
                  </a:lnTo>
                  <a:lnTo>
                    <a:pt x="1369" y="621"/>
                  </a:lnTo>
                  <a:lnTo>
                    <a:pt x="1369" y="621"/>
                  </a:lnTo>
                  <a:close/>
                  <a:moveTo>
                    <a:pt x="66" y="617"/>
                  </a:moveTo>
                  <a:lnTo>
                    <a:pt x="66" y="617"/>
                  </a:lnTo>
                  <a:lnTo>
                    <a:pt x="63" y="619"/>
                  </a:lnTo>
                  <a:lnTo>
                    <a:pt x="63" y="619"/>
                  </a:lnTo>
                  <a:lnTo>
                    <a:pt x="63" y="619"/>
                  </a:lnTo>
                  <a:lnTo>
                    <a:pt x="63" y="619"/>
                  </a:lnTo>
                  <a:lnTo>
                    <a:pt x="63" y="619"/>
                  </a:lnTo>
                  <a:lnTo>
                    <a:pt x="61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7" y="623"/>
                  </a:lnTo>
                  <a:lnTo>
                    <a:pt x="59" y="623"/>
                  </a:lnTo>
                  <a:lnTo>
                    <a:pt x="59" y="623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9" y="621"/>
                  </a:lnTo>
                  <a:lnTo>
                    <a:pt x="57" y="621"/>
                  </a:lnTo>
                  <a:lnTo>
                    <a:pt x="57" y="621"/>
                  </a:lnTo>
                  <a:lnTo>
                    <a:pt x="57" y="621"/>
                  </a:lnTo>
                  <a:lnTo>
                    <a:pt x="57" y="621"/>
                  </a:lnTo>
                  <a:lnTo>
                    <a:pt x="57" y="621"/>
                  </a:lnTo>
                  <a:lnTo>
                    <a:pt x="57" y="621"/>
                  </a:lnTo>
                  <a:lnTo>
                    <a:pt x="59" y="621"/>
                  </a:lnTo>
                  <a:lnTo>
                    <a:pt x="59" y="619"/>
                  </a:lnTo>
                  <a:lnTo>
                    <a:pt x="59" y="619"/>
                  </a:lnTo>
                  <a:lnTo>
                    <a:pt x="59" y="619"/>
                  </a:lnTo>
                  <a:lnTo>
                    <a:pt x="59" y="619"/>
                  </a:lnTo>
                  <a:lnTo>
                    <a:pt x="59" y="619"/>
                  </a:lnTo>
                  <a:lnTo>
                    <a:pt x="61" y="619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6" y="617"/>
                  </a:lnTo>
                  <a:close/>
                  <a:moveTo>
                    <a:pt x="12" y="617"/>
                  </a:move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12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9"/>
                  </a:lnTo>
                  <a:lnTo>
                    <a:pt x="9" y="619"/>
                  </a:lnTo>
                  <a:lnTo>
                    <a:pt x="9" y="619"/>
                  </a:lnTo>
                  <a:lnTo>
                    <a:pt x="9" y="617"/>
                  </a:lnTo>
                  <a:lnTo>
                    <a:pt x="9" y="619"/>
                  </a:lnTo>
                  <a:lnTo>
                    <a:pt x="9" y="619"/>
                  </a:lnTo>
                  <a:lnTo>
                    <a:pt x="9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7" y="619"/>
                  </a:lnTo>
                  <a:lnTo>
                    <a:pt x="9" y="617"/>
                  </a:lnTo>
                  <a:lnTo>
                    <a:pt x="7" y="617"/>
                  </a:lnTo>
                  <a:lnTo>
                    <a:pt x="7" y="617"/>
                  </a:lnTo>
                  <a:lnTo>
                    <a:pt x="7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7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9" y="614"/>
                  </a:lnTo>
                  <a:lnTo>
                    <a:pt x="12" y="614"/>
                  </a:lnTo>
                  <a:lnTo>
                    <a:pt x="12" y="617"/>
                  </a:lnTo>
                  <a:lnTo>
                    <a:pt x="12" y="617"/>
                  </a:lnTo>
                  <a:close/>
                  <a:moveTo>
                    <a:pt x="68" y="614"/>
                  </a:moveTo>
                  <a:lnTo>
                    <a:pt x="68" y="614"/>
                  </a:lnTo>
                  <a:lnTo>
                    <a:pt x="68" y="614"/>
                  </a:lnTo>
                  <a:lnTo>
                    <a:pt x="68" y="617"/>
                  </a:lnTo>
                  <a:lnTo>
                    <a:pt x="66" y="617"/>
                  </a:lnTo>
                  <a:lnTo>
                    <a:pt x="66" y="617"/>
                  </a:lnTo>
                  <a:lnTo>
                    <a:pt x="66" y="617"/>
                  </a:lnTo>
                  <a:lnTo>
                    <a:pt x="66" y="617"/>
                  </a:lnTo>
                  <a:lnTo>
                    <a:pt x="66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7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close/>
                  <a:moveTo>
                    <a:pt x="59" y="619"/>
                  </a:moveTo>
                  <a:lnTo>
                    <a:pt x="59" y="619"/>
                  </a:lnTo>
                  <a:lnTo>
                    <a:pt x="59" y="619"/>
                  </a:lnTo>
                  <a:lnTo>
                    <a:pt x="59" y="619"/>
                  </a:lnTo>
                  <a:lnTo>
                    <a:pt x="59" y="617"/>
                  </a:lnTo>
                  <a:lnTo>
                    <a:pt x="59" y="617"/>
                  </a:lnTo>
                  <a:lnTo>
                    <a:pt x="59" y="617"/>
                  </a:lnTo>
                  <a:lnTo>
                    <a:pt x="59" y="617"/>
                  </a:lnTo>
                  <a:lnTo>
                    <a:pt x="59" y="617"/>
                  </a:lnTo>
                  <a:lnTo>
                    <a:pt x="59" y="617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61" y="617"/>
                  </a:lnTo>
                  <a:lnTo>
                    <a:pt x="59" y="619"/>
                  </a:lnTo>
                  <a:lnTo>
                    <a:pt x="59" y="619"/>
                  </a:lnTo>
                  <a:close/>
                  <a:moveTo>
                    <a:pt x="61" y="614"/>
                  </a:moveTo>
                  <a:lnTo>
                    <a:pt x="61" y="614"/>
                  </a:lnTo>
                  <a:lnTo>
                    <a:pt x="61" y="614"/>
                  </a:lnTo>
                  <a:lnTo>
                    <a:pt x="61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59" y="614"/>
                  </a:lnTo>
                  <a:lnTo>
                    <a:pt x="61" y="614"/>
                  </a:lnTo>
                  <a:lnTo>
                    <a:pt x="61" y="612"/>
                  </a:lnTo>
                  <a:lnTo>
                    <a:pt x="61" y="612"/>
                  </a:lnTo>
                  <a:lnTo>
                    <a:pt x="61" y="612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3" y="614"/>
                  </a:lnTo>
                  <a:lnTo>
                    <a:pt x="63" y="614"/>
                  </a:lnTo>
                  <a:lnTo>
                    <a:pt x="61" y="614"/>
                  </a:lnTo>
                  <a:lnTo>
                    <a:pt x="61" y="614"/>
                  </a:lnTo>
                  <a:close/>
                  <a:moveTo>
                    <a:pt x="70" y="612"/>
                  </a:moveTo>
                  <a:lnTo>
                    <a:pt x="68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8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6" y="614"/>
                  </a:lnTo>
                  <a:lnTo>
                    <a:pt x="66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6" y="612"/>
                  </a:lnTo>
                  <a:lnTo>
                    <a:pt x="66" y="612"/>
                  </a:lnTo>
                  <a:lnTo>
                    <a:pt x="66" y="612"/>
                  </a:lnTo>
                  <a:lnTo>
                    <a:pt x="66" y="612"/>
                  </a:lnTo>
                  <a:lnTo>
                    <a:pt x="66" y="612"/>
                  </a:lnTo>
                  <a:lnTo>
                    <a:pt x="66" y="612"/>
                  </a:lnTo>
                  <a:lnTo>
                    <a:pt x="66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68" y="612"/>
                  </a:lnTo>
                  <a:lnTo>
                    <a:pt x="70" y="612"/>
                  </a:lnTo>
                  <a:close/>
                  <a:moveTo>
                    <a:pt x="79" y="612"/>
                  </a:moveTo>
                  <a:lnTo>
                    <a:pt x="79" y="612"/>
                  </a:lnTo>
                  <a:lnTo>
                    <a:pt x="79" y="612"/>
                  </a:lnTo>
                  <a:lnTo>
                    <a:pt x="79" y="612"/>
                  </a:lnTo>
                  <a:lnTo>
                    <a:pt x="79" y="612"/>
                  </a:lnTo>
                  <a:lnTo>
                    <a:pt x="79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2" y="614"/>
                  </a:lnTo>
                  <a:lnTo>
                    <a:pt x="72" y="614"/>
                  </a:lnTo>
                  <a:lnTo>
                    <a:pt x="72" y="614"/>
                  </a:lnTo>
                  <a:lnTo>
                    <a:pt x="72" y="614"/>
                  </a:lnTo>
                  <a:lnTo>
                    <a:pt x="70" y="617"/>
                  </a:lnTo>
                  <a:lnTo>
                    <a:pt x="70" y="617"/>
                  </a:lnTo>
                  <a:lnTo>
                    <a:pt x="70" y="617"/>
                  </a:lnTo>
                  <a:lnTo>
                    <a:pt x="68" y="619"/>
                  </a:lnTo>
                  <a:lnTo>
                    <a:pt x="68" y="619"/>
                  </a:lnTo>
                  <a:lnTo>
                    <a:pt x="68" y="619"/>
                  </a:lnTo>
                  <a:lnTo>
                    <a:pt x="68" y="619"/>
                  </a:lnTo>
                  <a:lnTo>
                    <a:pt x="66" y="619"/>
                  </a:lnTo>
                  <a:lnTo>
                    <a:pt x="66" y="619"/>
                  </a:lnTo>
                  <a:lnTo>
                    <a:pt x="66" y="619"/>
                  </a:lnTo>
                  <a:lnTo>
                    <a:pt x="63" y="619"/>
                  </a:lnTo>
                  <a:lnTo>
                    <a:pt x="63" y="619"/>
                  </a:lnTo>
                  <a:lnTo>
                    <a:pt x="66" y="619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7"/>
                  </a:lnTo>
                  <a:lnTo>
                    <a:pt x="68" y="614"/>
                  </a:lnTo>
                  <a:lnTo>
                    <a:pt x="70" y="614"/>
                  </a:lnTo>
                  <a:lnTo>
                    <a:pt x="70" y="614"/>
                  </a:lnTo>
                  <a:lnTo>
                    <a:pt x="70" y="614"/>
                  </a:lnTo>
                  <a:lnTo>
                    <a:pt x="70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5" y="612"/>
                  </a:lnTo>
                  <a:lnTo>
                    <a:pt x="75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9" y="610"/>
                  </a:lnTo>
                  <a:lnTo>
                    <a:pt x="79" y="610"/>
                  </a:lnTo>
                  <a:lnTo>
                    <a:pt x="79" y="610"/>
                  </a:lnTo>
                  <a:lnTo>
                    <a:pt x="79" y="610"/>
                  </a:lnTo>
                  <a:lnTo>
                    <a:pt x="79" y="610"/>
                  </a:lnTo>
                  <a:lnTo>
                    <a:pt x="81" y="610"/>
                  </a:lnTo>
                  <a:lnTo>
                    <a:pt x="81" y="610"/>
                  </a:lnTo>
                  <a:lnTo>
                    <a:pt x="84" y="610"/>
                  </a:lnTo>
                  <a:lnTo>
                    <a:pt x="84" y="608"/>
                  </a:lnTo>
                  <a:lnTo>
                    <a:pt x="84" y="608"/>
                  </a:lnTo>
                  <a:lnTo>
                    <a:pt x="84" y="608"/>
                  </a:lnTo>
                  <a:lnTo>
                    <a:pt x="84" y="608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1" y="612"/>
                  </a:lnTo>
                  <a:lnTo>
                    <a:pt x="81" y="612"/>
                  </a:lnTo>
                  <a:lnTo>
                    <a:pt x="79" y="612"/>
                  </a:lnTo>
                  <a:lnTo>
                    <a:pt x="79" y="612"/>
                  </a:lnTo>
                  <a:close/>
                  <a:moveTo>
                    <a:pt x="59" y="608"/>
                  </a:move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10"/>
                  </a:lnTo>
                  <a:lnTo>
                    <a:pt x="59" y="610"/>
                  </a:lnTo>
                  <a:lnTo>
                    <a:pt x="57" y="612"/>
                  </a:lnTo>
                  <a:lnTo>
                    <a:pt x="57" y="612"/>
                  </a:lnTo>
                  <a:lnTo>
                    <a:pt x="57" y="612"/>
                  </a:lnTo>
                  <a:lnTo>
                    <a:pt x="57" y="612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10"/>
                  </a:lnTo>
                  <a:lnTo>
                    <a:pt x="57" y="608"/>
                  </a:lnTo>
                  <a:lnTo>
                    <a:pt x="57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close/>
                  <a:moveTo>
                    <a:pt x="63" y="605"/>
                  </a:moveTo>
                  <a:lnTo>
                    <a:pt x="63" y="608"/>
                  </a:lnTo>
                  <a:lnTo>
                    <a:pt x="63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61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5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8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59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59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3" y="605"/>
                  </a:lnTo>
                  <a:lnTo>
                    <a:pt x="63" y="605"/>
                  </a:lnTo>
                  <a:lnTo>
                    <a:pt x="63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3" y="605"/>
                  </a:lnTo>
                  <a:close/>
                  <a:moveTo>
                    <a:pt x="12" y="601"/>
                  </a:moveTo>
                  <a:lnTo>
                    <a:pt x="9" y="603"/>
                  </a:lnTo>
                  <a:lnTo>
                    <a:pt x="9" y="601"/>
                  </a:lnTo>
                  <a:lnTo>
                    <a:pt x="12" y="601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1"/>
                  </a:lnTo>
                  <a:lnTo>
                    <a:pt x="14" y="601"/>
                  </a:lnTo>
                  <a:lnTo>
                    <a:pt x="14" y="601"/>
                  </a:lnTo>
                  <a:lnTo>
                    <a:pt x="14" y="601"/>
                  </a:lnTo>
                  <a:lnTo>
                    <a:pt x="14" y="601"/>
                  </a:lnTo>
                  <a:lnTo>
                    <a:pt x="14" y="603"/>
                  </a:lnTo>
                  <a:lnTo>
                    <a:pt x="14" y="603"/>
                  </a:lnTo>
                  <a:lnTo>
                    <a:pt x="14" y="603"/>
                  </a:lnTo>
                  <a:lnTo>
                    <a:pt x="14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12" y="603"/>
                  </a:lnTo>
                  <a:lnTo>
                    <a:pt x="9" y="603"/>
                  </a:lnTo>
                  <a:lnTo>
                    <a:pt x="9" y="603"/>
                  </a:lnTo>
                  <a:lnTo>
                    <a:pt x="9" y="605"/>
                  </a:lnTo>
                  <a:lnTo>
                    <a:pt x="9" y="605"/>
                  </a:lnTo>
                  <a:lnTo>
                    <a:pt x="9" y="605"/>
                  </a:lnTo>
                  <a:lnTo>
                    <a:pt x="9" y="603"/>
                  </a:lnTo>
                  <a:lnTo>
                    <a:pt x="9" y="603"/>
                  </a:lnTo>
                  <a:lnTo>
                    <a:pt x="9" y="603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12" y="601"/>
                  </a:lnTo>
                  <a:close/>
                  <a:moveTo>
                    <a:pt x="63" y="610"/>
                  </a:moveTo>
                  <a:lnTo>
                    <a:pt x="63" y="610"/>
                  </a:lnTo>
                  <a:lnTo>
                    <a:pt x="61" y="610"/>
                  </a:lnTo>
                  <a:lnTo>
                    <a:pt x="61" y="610"/>
                  </a:lnTo>
                  <a:lnTo>
                    <a:pt x="61" y="610"/>
                  </a:lnTo>
                  <a:lnTo>
                    <a:pt x="63" y="610"/>
                  </a:lnTo>
                  <a:lnTo>
                    <a:pt x="63" y="608"/>
                  </a:lnTo>
                  <a:lnTo>
                    <a:pt x="63" y="608"/>
                  </a:lnTo>
                  <a:lnTo>
                    <a:pt x="63" y="608"/>
                  </a:lnTo>
                  <a:lnTo>
                    <a:pt x="63" y="608"/>
                  </a:lnTo>
                  <a:lnTo>
                    <a:pt x="63" y="608"/>
                  </a:lnTo>
                  <a:lnTo>
                    <a:pt x="66" y="605"/>
                  </a:lnTo>
                  <a:lnTo>
                    <a:pt x="66" y="605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8" y="603"/>
                  </a:lnTo>
                  <a:lnTo>
                    <a:pt x="68" y="603"/>
                  </a:lnTo>
                  <a:lnTo>
                    <a:pt x="68" y="603"/>
                  </a:lnTo>
                  <a:lnTo>
                    <a:pt x="68" y="603"/>
                  </a:lnTo>
                  <a:lnTo>
                    <a:pt x="68" y="601"/>
                  </a:lnTo>
                  <a:lnTo>
                    <a:pt x="68" y="601"/>
                  </a:lnTo>
                  <a:lnTo>
                    <a:pt x="68" y="601"/>
                  </a:lnTo>
                  <a:lnTo>
                    <a:pt x="68" y="601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8"/>
                  </a:lnTo>
                  <a:lnTo>
                    <a:pt x="68" y="608"/>
                  </a:lnTo>
                  <a:lnTo>
                    <a:pt x="68" y="608"/>
                  </a:lnTo>
                  <a:lnTo>
                    <a:pt x="66" y="608"/>
                  </a:lnTo>
                  <a:lnTo>
                    <a:pt x="66" y="608"/>
                  </a:lnTo>
                  <a:lnTo>
                    <a:pt x="66" y="608"/>
                  </a:lnTo>
                  <a:lnTo>
                    <a:pt x="66" y="608"/>
                  </a:lnTo>
                  <a:lnTo>
                    <a:pt x="63" y="610"/>
                  </a:lnTo>
                  <a:close/>
                  <a:moveTo>
                    <a:pt x="57" y="603"/>
                  </a:moveTo>
                  <a:lnTo>
                    <a:pt x="57" y="603"/>
                  </a:lnTo>
                  <a:lnTo>
                    <a:pt x="57" y="603"/>
                  </a:lnTo>
                  <a:lnTo>
                    <a:pt x="57" y="605"/>
                  </a:lnTo>
                  <a:lnTo>
                    <a:pt x="57" y="605"/>
                  </a:lnTo>
                  <a:lnTo>
                    <a:pt x="57" y="605"/>
                  </a:lnTo>
                  <a:lnTo>
                    <a:pt x="57" y="605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8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2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4" y="605"/>
                  </a:lnTo>
                  <a:lnTo>
                    <a:pt x="52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3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601"/>
                  </a:lnTo>
                  <a:lnTo>
                    <a:pt x="54" y="599"/>
                  </a:lnTo>
                  <a:lnTo>
                    <a:pt x="54" y="599"/>
                  </a:lnTo>
                  <a:lnTo>
                    <a:pt x="57" y="601"/>
                  </a:lnTo>
                  <a:lnTo>
                    <a:pt x="57" y="601"/>
                  </a:lnTo>
                  <a:lnTo>
                    <a:pt x="57" y="601"/>
                  </a:lnTo>
                  <a:lnTo>
                    <a:pt x="57" y="601"/>
                  </a:lnTo>
                  <a:lnTo>
                    <a:pt x="57" y="601"/>
                  </a:lnTo>
                  <a:lnTo>
                    <a:pt x="57" y="603"/>
                  </a:lnTo>
                  <a:close/>
                  <a:moveTo>
                    <a:pt x="70" y="603"/>
                  </a:moveTo>
                  <a:lnTo>
                    <a:pt x="68" y="605"/>
                  </a:lnTo>
                  <a:lnTo>
                    <a:pt x="68" y="605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0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lnTo>
                    <a:pt x="70" y="603"/>
                  </a:lnTo>
                  <a:close/>
                  <a:moveTo>
                    <a:pt x="12" y="599"/>
                  </a:move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close/>
                  <a:moveTo>
                    <a:pt x="70" y="601"/>
                  </a:moveTo>
                  <a:lnTo>
                    <a:pt x="68" y="601"/>
                  </a:lnTo>
                  <a:lnTo>
                    <a:pt x="68" y="601"/>
                  </a:lnTo>
                  <a:lnTo>
                    <a:pt x="68" y="603"/>
                  </a:lnTo>
                  <a:lnTo>
                    <a:pt x="68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6" y="601"/>
                  </a:lnTo>
                  <a:lnTo>
                    <a:pt x="66" y="601"/>
                  </a:lnTo>
                  <a:lnTo>
                    <a:pt x="68" y="601"/>
                  </a:lnTo>
                  <a:lnTo>
                    <a:pt x="68" y="601"/>
                  </a:lnTo>
                  <a:lnTo>
                    <a:pt x="68" y="601"/>
                  </a:lnTo>
                  <a:lnTo>
                    <a:pt x="68" y="601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601"/>
                  </a:lnTo>
                  <a:lnTo>
                    <a:pt x="70" y="601"/>
                  </a:lnTo>
                  <a:close/>
                  <a:moveTo>
                    <a:pt x="5" y="596"/>
                  </a:move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close/>
                  <a:moveTo>
                    <a:pt x="52" y="596"/>
                  </a:move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6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4" y="594"/>
                  </a:lnTo>
                  <a:lnTo>
                    <a:pt x="52" y="596"/>
                  </a:lnTo>
                  <a:lnTo>
                    <a:pt x="52" y="596"/>
                  </a:lnTo>
                  <a:close/>
                  <a:moveTo>
                    <a:pt x="52" y="594"/>
                  </a:moveTo>
                  <a:lnTo>
                    <a:pt x="52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6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4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close/>
                  <a:moveTo>
                    <a:pt x="54" y="594"/>
                  </a:moveTo>
                  <a:lnTo>
                    <a:pt x="54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4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4" y="592"/>
                  </a:lnTo>
                  <a:lnTo>
                    <a:pt x="54" y="592"/>
                  </a:lnTo>
                  <a:lnTo>
                    <a:pt x="54" y="592"/>
                  </a:lnTo>
                  <a:lnTo>
                    <a:pt x="54" y="592"/>
                  </a:lnTo>
                  <a:lnTo>
                    <a:pt x="54" y="594"/>
                  </a:lnTo>
                  <a:lnTo>
                    <a:pt x="54" y="594"/>
                  </a:lnTo>
                  <a:close/>
                  <a:moveTo>
                    <a:pt x="59" y="592"/>
                  </a:moveTo>
                  <a:lnTo>
                    <a:pt x="59" y="594"/>
                  </a:lnTo>
                  <a:lnTo>
                    <a:pt x="59" y="594"/>
                  </a:lnTo>
                  <a:lnTo>
                    <a:pt x="59" y="594"/>
                  </a:lnTo>
                  <a:lnTo>
                    <a:pt x="59" y="594"/>
                  </a:lnTo>
                  <a:lnTo>
                    <a:pt x="59" y="594"/>
                  </a:lnTo>
                  <a:lnTo>
                    <a:pt x="59" y="596"/>
                  </a:lnTo>
                  <a:lnTo>
                    <a:pt x="57" y="596"/>
                  </a:lnTo>
                  <a:lnTo>
                    <a:pt x="57" y="596"/>
                  </a:lnTo>
                  <a:lnTo>
                    <a:pt x="57" y="596"/>
                  </a:lnTo>
                  <a:lnTo>
                    <a:pt x="57" y="596"/>
                  </a:lnTo>
                  <a:lnTo>
                    <a:pt x="57" y="596"/>
                  </a:lnTo>
                  <a:lnTo>
                    <a:pt x="57" y="596"/>
                  </a:lnTo>
                  <a:lnTo>
                    <a:pt x="57" y="596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4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7" y="592"/>
                  </a:lnTo>
                  <a:lnTo>
                    <a:pt x="59" y="592"/>
                  </a:lnTo>
                  <a:lnTo>
                    <a:pt x="59" y="592"/>
                  </a:lnTo>
                  <a:lnTo>
                    <a:pt x="59" y="592"/>
                  </a:lnTo>
                  <a:lnTo>
                    <a:pt x="59" y="592"/>
                  </a:lnTo>
                  <a:lnTo>
                    <a:pt x="59" y="592"/>
                  </a:lnTo>
                  <a:close/>
                  <a:moveTo>
                    <a:pt x="915" y="590"/>
                  </a:moveTo>
                  <a:lnTo>
                    <a:pt x="919" y="590"/>
                  </a:lnTo>
                  <a:lnTo>
                    <a:pt x="919" y="592"/>
                  </a:lnTo>
                  <a:lnTo>
                    <a:pt x="922" y="592"/>
                  </a:lnTo>
                  <a:lnTo>
                    <a:pt x="922" y="592"/>
                  </a:lnTo>
                  <a:lnTo>
                    <a:pt x="922" y="592"/>
                  </a:lnTo>
                  <a:lnTo>
                    <a:pt x="922" y="594"/>
                  </a:lnTo>
                  <a:lnTo>
                    <a:pt x="922" y="594"/>
                  </a:lnTo>
                  <a:lnTo>
                    <a:pt x="922" y="594"/>
                  </a:lnTo>
                  <a:lnTo>
                    <a:pt x="922" y="594"/>
                  </a:lnTo>
                  <a:lnTo>
                    <a:pt x="922" y="596"/>
                  </a:lnTo>
                  <a:lnTo>
                    <a:pt x="922" y="596"/>
                  </a:lnTo>
                  <a:lnTo>
                    <a:pt x="922" y="596"/>
                  </a:lnTo>
                  <a:lnTo>
                    <a:pt x="922" y="599"/>
                  </a:lnTo>
                  <a:lnTo>
                    <a:pt x="922" y="599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1"/>
                  </a:lnTo>
                  <a:lnTo>
                    <a:pt x="922" y="603"/>
                  </a:lnTo>
                  <a:lnTo>
                    <a:pt x="922" y="603"/>
                  </a:lnTo>
                  <a:lnTo>
                    <a:pt x="922" y="603"/>
                  </a:lnTo>
                  <a:lnTo>
                    <a:pt x="919" y="601"/>
                  </a:lnTo>
                  <a:lnTo>
                    <a:pt x="917" y="601"/>
                  </a:lnTo>
                  <a:lnTo>
                    <a:pt x="915" y="601"/>
                  </a:lnTo>
                  <a:lnTo>
                    <a:pt x="913" y="599"/>
                  </a:lnTo>
                  <a:lnTo>
                    <a:pt x="910" y="599"/>
                  </a:lnTo>
                  <a:lnTo>
                    <a:pt x="906" y="599"/>
                  </a:lnTo>
                  <a:lnTo>
                    <a:pt x="904" y="596"/>
                  </a:lnTo>
                  <a:lnTo>
                    <a:pt x="901" y="596"/>
                  </a:lnTo>
                  <a:lnTo>
                    <a:pt x="901" y="594"/>
                  </a:lnTo>
                  <a:lnTo>
                    <a:pt x="901" y="594"/>
                  </a:lnTo>
                  <a:lnTo>
                    <a:pt x="901" y="594"/>
                  </a:lnTo>
                  <a:lnTo>
                    <a:pt x="901" y="594"/>
                  </a:lnTo>
                  <a:lnTo>
                    <a:pt x="901" y="594"/>
                  </a:lnTo>
                  <a:lnTo>
                    <a:pt x="904" y="594"/>
                  </a:lnTo>
                  <a:lnTo>
                    <a:pt x="904" y="592"/>
                  </a:lnTo>
                  <a:lnTo>
                    <a:pt x="906" y="592"/>
                  </a:lnTo>
                  <a:lnTo>
                    <a:pt x="906" y="592"/>
                  </a:lnTo>
                  <a:lnTo>
                    <a:pt x="908" y="592"/>
                  </a:lnTo>
                  <a:lnTo>
                    <a:pt x="908" y="592"/>
                  </a:lnTo>
                  <a:lnTo>
                    <a:pt x="910" y="592"/>
                  </a:lnTo>
                  <a:lnTo>
                    <a:pt x="910" y="590"/>
                  </a:lnTo>
                  <a:lnTo>
                    <a:pt x="913" y="590"/>
                  </a:lnTo>
                  <a:lnTo>
                    <a:pt x="915" y="590"/>
                  </a:lnTo>
                  <a:close/>
                  <a:moveTo>
                    <a:pt x="18" y="590"/>
                  </a:moveTo>
                  <a:lnTo>
                    <a:pt x="18" y="592"/>
                  </a:lnTo>
                  <a:lnTo>
                    <a:pt x="16" y="592"/>
                  </a:lnTo>
                  <a:lnTo>
                    <a:pt x="16" y="592"/>
                  </a:lnTo>
                  <a:lnTo>
                    <a:pt x="16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2"/>
                  </a:lnTo>
                  <a:lnTo>
                    <a:pt x="18" y="594"/>
                  </a:lnTo>
                  <a:lnTo>
                    <a:pt x="18" y="594"/>
                  </a:lnTo>
                  <a:lnTo>
                    <a:pt x="18" y="594"/>
                  </a:lnTo>
                  <a:lnTo>
                    <a:pt x="18" y="594"/>
                  </a:lnTo>
                  <a:lnTo>
                    <a:pt x="18" y="594"/>
                  </a:lnTo>
                  <a:lnTo>
                    <a:pt x="18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6" y="594"/>
                  </a:lnTo>
                  <a:lnTo>
                    <a:pt x="14" y="594"/>
                  </a:lnTo>
                  <a:lnTo>
                    <a:pt x="14" y="594"/>
                  </a:lnTo>
                  <a:lnTo>
                    <a:pt x="14" y="594"/>
                  </a:lnTo>
                  <a:lnTo>
                    <a:pt x="14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6"/>
                  </a:lnTo>
                  <a:lnTo>
                    <a:pt x="12" y="596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2" y="594"/>
                  </a:lnTo>
                  <a:lnTo>
                    <a:pt x="14" y="594"/>
                  </a:lnTo>
                  <a:lnTo>
                    <a:pt x="14" y="594"/>
                  </a:lnTo>
                  <a:lnTo>
                    <a:pt x="14" y="594"/>
                  </a:lnTo>
                  <a:lnTo>
                    <a:pt x="16" y="594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6" y="596"/>
                  </a:lnTo>
                  <a:lnTo>
                    <a:pt x="14" y="596"/>
                  </a:lnTo>
                  <a:lnTo>
                    <a:pt x="14" y="599"/>
                  </a:lnTo>
                  <a:lnTo>
                    <a:pt x="14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12" y="599"/>
                  </a:lnTo>
                  <a:lnTo>
                    <a:pt x="9" y="599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9" y="596"/>
                  </a:lnTo>
                  <a:lnTo>
                    <a:pt x="7" y="599"/>
                  </a:lnTo>
                  <a:lnTo>
                    <a:pt x="7" y="599"/>
                  </a:lnTo>
                  <a:lnTo>
                    <a:pt x="7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599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12" y="601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7" y="601"/>
                  </a:lnTo>
                  <a:lnTo>
                    <a:pt x="7" y="601"/>
                  </a:lnTo>
                  <a:lnTo>
                    <a:pt x="7" y="601"/>
                  </a:lnTo>
                  <a:lnTo>
                    <a:pt x="9" y="601"/>
                  </a:lnTo>
                  <a:lnTo>
                    <a:pt x="9" y="601"/>
                  </a:lnTo>
                  <a:lnTo>
                    <a:pt x="7" y="601"/>
                  </a:lnTo>
                  <a:lnTo>
                    <a:pt x="7" y="601"/>
                  </a:lnTo>
                  <a:lnTo>
                    <a:pt x="7" y="601"/>
                  </a:lnTo>
                  <a:lnTo>
                    <a:pt x="9" y="601"/>
                  </a:lnTo>
                  <a:lnTo>
                    <a:pt x="9" y="603"/>
                  </a:lnTo>
                  <a:lnTo>
                    <a:pt x="9" y="603"/>
                  </a:lnTo>
                  <a:lnTo>
                    <a:pt x="9" y="603"/>
                  </a:lnTo>
                  <a:lnTo>
                    <a:pt x="9" y="603"/>
                  </a:lnTo>
                  <a:lnTo>
                    <a:pt x="7" y="603"/>
                  </a:lnTo>
                  <a:lnTo>
                    <a:pt x="7" y="603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9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7" y="605"/>
                  </a:lnTo>
                  <a:lnTo>
                    <a:pt x="9" y="605"/>
                  </a:lnTo>
                  <a:lnTo>
                    <a:pt x="9" y="605"/>
                  </a:lnTo>
                  <a:lnTo>
                    <a:pt x="9" y="605"/>
                  </a:lnTo>
                  <a:lnTo>
                    <a:pt x="9" y="605"/>
                  </a:lnTo>
                  <a:lnTo>
                    <a:pt x="9" y="608"/>
                  </a:lnTo>
                  <a:lnTo>
                    <a:pt x="9" y="608"/>
                  </a:lnTo>
                  <a:lnTo>
                    <a:pt x="9" y="608"/>
                  </a:lnTo>
                  <a:lnTo>
                    <a:pt x="9" y="608"/>
                  </a:lnTo>
                  <a:lnTo>
                    <a:pt x="9" y="608"/>
                  </a:lnTo>
                  <a:lnTo>
                    <a:pt x="9" y="608"/>
                  </a:lnTo>
                  <a:lnTo>
                    <a:pt x="9" y="610"/>
                  </a:lnTo>
                  <a:lnTo>
                    <a:pt x="7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12" y="608"/>
                  </a:lnTo>
                  <a:lnTo>
                    <a:pt x="12" y="608"/>
                  </a:lnTo>
                  <a:lnTo>
                    <a:pt x="12" y="608"/>
                  </a:lnTo>
                  <a:lnTo>
                    <a:pt x="14" y="608"/>
                  </a:lnTo>
                  <a:lnTo>
                    <a:pt x="12" y="608"/>
                  </a:lnTo>
                  <a:lnTo>
                    <a:pt x="12" y="608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9" y="610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0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0"/>
                  </a:lnTo>
                  <a:lnTo>
                    <a:pt x="12" y="610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2" y="612"/>
                  </a:lnTo>
                  <a:lnTo>
                    <a:pt x="14" y="612"/>
                  </a:lnTo>
                  <a:lnTo>
                    <a:pt x="14" y="612"/>
                  </a:lnTo>
                  <a:lnTo>
                    <a:pt x="14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12" y="614"/>
                  </a:lnTo>
                  <a:lnTo>
                    <a:pt x="12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7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9" y="614"/>
                  </a:lnTo>
                  <a:lnTo>
                    <a:pt x="9" y="612"/>
                  </a:lnTo>
                  <a:lnTo>
                    <a:pt x="9" y="612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7" y="612"/>
                  </a:lnTo>
                  <a:lnTo>
                    <a:pt x="7" y="612"/>
                  </a:lnTo>
                  <a:lnTo>
                    <a:pt x="7" y="614"/>
                  </a:lnTo>
                  <a:lnTo>
                    <a:pt x="7" y="614"/>
                  </a:lnTo>
                  <a:lnTo>
                    <a:pt x="5" y="612"/>
                  </a:lnTo>
                  <a:lnTo>
                    <a:pt x="5" y="612"/>
                  </a:lnTo>
                  <a:lnTo>
                    <a:pt x="5" y="612"/>
                  </a:lnTo>
                  <a:lnTo>
                    <a:pt x="7" y="612"/>
                  </a:lnTo>
                  <a:lnTo>
                    <a:pt x="7" y="612"/>
                  </a:lnTo>
                  <a:lnTo>
                    <a:pt x="5" y="612"/>
                  </a:lnTo>
                  <a:lnTo>
                    <a:pt x="5" y="612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7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5" y="610"/>
                  </a:lnTo>
                  <a:lnTo>
                    <a:pt x="7" y="610"/>
                  </a:lnTo>
                  <a:lnTo>
                    <a:pt x="7" y="610"/>
                  </a:lnTo>
                  <a:lnTo>
                    <a:pt x="7" y="610"/>
                  </a:lnTo>
                  <a:lnTo>
                    <a:pt x="7" y="610"/>
                  </a:lnTo>
                  <a:lnTo>
                    <a:pt x="7" y="610"/>
                  </a:lnTo>
                  <a:lnTo>
                    <a:pt x="7" y="608"/>
                  </a:lnTo>
                  <a:lnTo>
                    <a:pt x="7" y="608"/>
                  </a:lnTo>
                  <a:lnTo>
                    <a:pt x="7" y="608"/>
                  </a:lnTo>
                  <a:lnTo>
                    <a:pt x="7" y="608"/>
                  </a:lnTo>
                  <a:lnTo>
                    <a:pt x="7" y="608"/>
                  </a:lnTo>
                  <a:lnTo>
                    <a:pt x="7" y="608"/>
                  </a:lnTo>
                  <a:lnTo>
                    <a:pt x="5" y="608"/>
                  </a:lnTo>
                  <a:lnTo>
                    <a:pt x="5" y="608"/>
                  </a:lnTo>
                  <a:lnTo>
                    <a:pt x="5" y="608"/>
                  </a:lnTo>
                  <a:lnTo>
                    <a:pt x="7" y="608"/>
                  </a:lnTo>
                  <a:lnTo>
                    <a:pt x="5" y="608"/>
                  </a:lnTo>
                  <a:lnTo>
                    <a:pt x="5" y="608"/>
                  </a:lnTo>
                  <a:lnTo>
                    <a:pt x="5" y="608"/>
                  </a:lnTo>
                  <a:lnTo>
                    <a:pt x="5" y="605"/>
                  </a:lnTo>
                  <a:lnTo>
                    <a:pt x="5" y="605"/>
                  </a:lnTo>
                  <a:lnTo>
                    <a:pt x="5" y="605"/>
                  </a:lnTo>
                  <a:lnTo>
                    <a:pt x="5" y="605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5" y="603"/>
                  </a:lnTo>
                  <a:lnTo>
                    <a:pt x="3" y="603"/>
                  </a:lnTo>
                  <a:lnTo>
                    <a:pt x="3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7" y="601"/>
                  </a:lnTo>
                  <a:lnTo>
                    <a:pt x="7" y="601"/>
                  </a:lnTo>
                  <a:lnTo>
                    <a:pt x="7" y="601"/>
                  </a:lnTo>
                  <a:lnTo>
                    <a:pt x="5" y="601"/>
                  </a:lnTo>
                  <a:lnTo>
                    <a:pt x="5" y="599"/>
                  </a:lnTo>
                  <a:lnTo>
                    <a:pt x="5" y="599"/>
                  </a:lnTo>
                  <a:lnTo>
                    <a:pt x="5" y="599"/>
                  </a:lnTo>
                  <a:lnTo>
                    <a:pt x="5" y="599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5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601"/>
                  </a:lnTo>
                  <a:lnTo>
                    <a:pt x="3" y="599"/>
                  </a:lnTo>
                  <a:lnTo>
                    <a:pt x="3" y="599"/>
                  </a:lnTo>
                  <a:lnTo>
                    <a:pt x="3" y="599"/>
                  </a:lnTo>
                  <a:lnTo>
                    <a:pt x="3" y="599"/>
                  </a:lnTo>
                  <a:lnTo>
                    <a:pt x="3" y="599"/>
                  </a:lnTo>
                  <a:lnTo>
                    <a:pt x="3" y="599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3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7" y="596"/>
                  </a:lnTo>
                  <a:lnTo>
                    <a:pt x="5" y="596"/>
                  </a:lnTo>
                  <a:lnTo>
                    <a:pt x="5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7" y="596"/>
                  </a:lnTo>
                  <a:lnTo>
                    <a:pt x="5" y="594"/>
                  </a:lnTo>
                  <a:lnTo>
                    <a:pt x="5" y="594"/>
                  </a:lnTo>
                  <a:lnTo>
                    <a:pt x="5" y="594"/>
                  </a:lnTo>
                  <a:lnTo>
                    <a:pt x="5" y="594"/>
                  </a:lnTo>
                  <a:lnTo>
                    <a:pt x="5" y="594"/>
                  </a:lnTo>
                  <a:lnTo>
                    <a:pt x="5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0" y="594"/>
                  </a:lnTo>
                  <a:lnTo>
                    <a:pt x="0" y="594"/>
                  </a:lnTo>
                  <a:lnTo>
                    <a:pt x="0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4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12" y="592"/>
                  </a:lnTo>
                  <a:lnTo>
                    <a:pt x="12" y="592"/>
                  </a:lnTo>
                  <a:lnTo>
                    <a:pt x="12" y="592"/>
                  </a:lnTo>
                  <a:lnTo>
                    <a:pt x="14" y="590"/>
                  </a:lnTo>
                  <a:lnTo>
                    <a:pt x="14" y="590"/>
                  </a:lnTo>
                  <a:lnTo>
                    <a:pt x="14" y="590"/>
                  </a:lnTo>
                  <a:lnTo>
                    <a:pt x="14" y="590"/>
                  </a:lnTo>
                  <a:lnTo>
                    <a:pt x="14" y="590"/>
                  </a:lnTo>
                  <a:lnTo>
                    <a:pt x="14" y="590"/>
                  </a:lnTo>
                  <a:lnTo>
                    <a:pt x="16" y="590"/>
                  </a:lnTo>
                  <a:lnTo>
                    <a:pt x="16" y="590"/>
                  </a:lnTo>
                  <a:lnTo>
                    <a:pt x="16" y="590"/>
                  </a:lnTo>
                  <a:lnTo>
                    <a:pt x="18" y="590"/>
                  </a:lnTo>
                  <a:lnTo>
                    <a:pt x="18" y="590"/>
                  </a:lnTo>
                  <a:lnTo>
                    <a:pt x="18" y="590"/>
                  </a:lnTo>
                  <a:lnTo>
                    <a:pt x="18" y="590"/>
                  </a:lnTo>
                  <a:close/>
                  <a:moveTo>
                    <a:pt x="72" y="592"/>
                  </a:moveTo>
                  <a:lnTo>
                    <a:pt x="72" y="592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6"/>
                  </a:lnTo>
                  <a:lnTo>
                    <a:pt x="70" y="596"/>
                  </a:lnTo>
                  <a:lnTo>
                    <a:pt x="70" y="599"/>
                  </a:lnTo>
                  <a:lnTo>
                    <a:pt x="68" y="599"/>
                  </a:lnTo>
                  <a:lnTo>
                    <a:pt x="66" y="601"/>
                  </a:lnTo>
                  <a:lnTo>
                    <a:pt x="66" y="601"/>
                  </a:lnTo>
                  <a:lnTo>
                    <a:pt x="66" y="601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3" y="603"/>
                  </a:lnTo>
                  <a:lnTo>
                    <a:pt x="63" y="603"/>
                  </a:lnTo>
                  <a:lnTo>
                    <a:pt x="63" y="603"/>
                  </a:lnTo>
                  <a:lnTo>
                    <a:pt x="66" y="603"/>
                  </a:lnTo>
                  <a:lnTo>
                    <a:pt x="66" y="603"/>
                  </a:lnTo>
                  <a:lnTo>
                    <a:pt x="63" y="603"/>
                  </a:lnTo>
                  <a:lnTo>
                    <a:pt x="63" y="603"/>
                  </a:lnTo>
                  <a:lnTo>
                    <a:pt x="63" y="603"/>
                  </a:lnTo>
                  <a:lnTo>
                    <a:pt x="63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5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3" y="603"/>
                  </a:lnTo>
                  <a:lnTo>
                    <a:pt x="63" y="601"/>
                  </a:lnTo>
                  <a:lnTo>
                    <a:pt x="63" y="601"/>
                  </a:lnTo>
                  <a:lnTo>
                    <a:pt x="63" y="601"/>
                  </a:lnTo>
                  <a:lnTo>
                    <a:pt x="66" y="601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8" y="599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6"/>
                  </a:lnTo>
                  <a:lnTo>
                    <a:pt x="68" y="599"/>
                  </a:lnTo>
                  <a:lnTo>
                    <a:pt x="68" y="599"/>
                  </a:lnTo>
                  <a:lnTo>
                    <a:pt x="68" y="599"/>
                  </a:lnTo>
                  <a:lnTo>
                    <a:pt x="66" y="596"/>
                  </a:lnTo>
                  <a:lnTo>
                    <a:pt x="66" y="596"/>
                  </a:lnTo>
                  <a:lnTo>
                    <a:pt x="66" y="596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6" y="599"/>
                  </a:lnTo>
                  <a:lnTo>
                    <a:pt x="63" y="599"/>
                  </a:lnTo>
                  <a:lnTo>
                    <a:pt x="63" y="601"/>
                  </a:lnTo>
                  <a:lnTo>
                    <a:pt x="63" y="601"/>
                  </a:lnTo>
                  <a:lnTo>
                    <a:pt x="61" y="601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61" y="603"/>
                  </a:lnTo>
                  <a:lnTo>
                    <a:pt x="59" y="603"/>
                  </a:lnTo>
                  <a:lnTo>
                    <a:pt x="59" y="603"/>
                  </a:lnTo>
                  <a:lnTo>
                    <a:pt x="59" y="603"/>
                  </a:lnTo>
                  <a:lnTo>
                    <a:pt x="59" y="601"/>
                  </a:lnTo>
                  <a:lnTo>
                    <a:pt x="57" y="601"/>
                  </a:lnTo>
                  <a:lnTo>
                    <a:pt x="57" y="601"/>
                  </a:lnTo>
                  <a:lnTo>
                    <a:pt x="57" y="601"/>
                  </a:lnTo>
                  <a:lnTo>
                    <a:pt x="59" y="601"/>
                  </a:lnTo>
                  <a:lnTo>
                    <a:pt x="59" y="601"/>
                  </a:lnTo>
                  <a:lnTo>
                    <a:pt x="59" y="601"/>
                  </a:lnTo>
                  <a:lnTo>
                    <a:pt x="59" y="601"/>
                  </a:lnTo>
                  <a:lnTo>
                    <a:pt x="59" y="601"/>
                  </a:lnTo>
                  <a:lnTo>
                    <a:pt x="59" y="601"/>
                  </a:lnTo>
                  <a:lnTo>
                    <a:pt x="59" y="601"/>
                  </a:lnTo>
                  <a:lnTo>
                    <a:pt x="59" y="599"/>
                  </a:lnTo>
                  <a:lnTo>
                    <a:pt x="59" y="599"/>
                  </a:lnTo>
                  <a:lnTo>
                    <a:pt x="59" y="599"/>
                  </a:lnTo>
                  <a:lnTo>
                    <a:pt x="59" y="599"/>
                  </a:lnTo>
                  <a:lnTo>
                    <a:pt x="59" y="599"/>
                  </a:lnTo>
                  <a:lnTo>
                    <a:pt x="61" y="599"/>
                  </a:lnTo>
                  <a:lnTo>
                    <a:pt x="61" y="599"/>
                  </a:lnTo>
                  <a:lnTo>
                    <a:pt x="61" y="599"/>
                  </a:lnTo>
                  <a:lnTo>
                    <a:pt x="59" y="599"/>
                  </a:lnTo>
                  <a:lnTo>
                    <a:pt x="61" y="599"/>
                  </a:lnTo>
                  <a:lnTo>
                    <a:pt x="61" y="596"/>
                  </a:lnTo>
                  <a:lnTo>
                    <a:pt x="61" y="596"/>
                  </a:lnTo>
                  <a:lnTo>
                    <a:pt x="63" y="596"/>
                  </a:lnTo>
                  <a:lnTo>
                    <a:pt x="63" y="596"/>
                  </a:lnTo>
                  <a:lnTo>
                    <a:pt x="63" y="596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8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2"/>
                  </a:lnTo>
                  <a:lnTo>
                    <a:pt x="66" y="592"/>
                  </a:lnTo>
                  <a:lnTo>
                    <a:pt x="66" y="592"/>
                  </a:lnTo>
                  <a:lnTo>
                    <a:pt x="66" y="592"/>
                  </a:lnTo>
                  <a:lnTo>
                    <a:pt x="66" y="592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6" y="594"/>
                  </a:lnTo>
                  <a:lnTo>
                    <a:pt x="63" y="594"/>
                  </a:lnTo>
                  <a:lnTo>
                    <a:pt x="63" y="596"/>
                  </a:lnTo>
                  <a:lnTo>
                    <a:pt x="63" y="596"/>
                  </a:lnTo>
                  <a:lnTo>
                    <a:pt x="63" y="596"/>
                  </a:lnTo>
                  <a:lnTo>
                    <a:pt x="63" y="596"/>
                  </a:lnTo>
                  <a:lnTo>
                    <a:pt x="63" y="596"/>
                  </a:lnTo>
                  <a:lnTo>
                    <a:pt x="61" y="596"/>
                  </a:lnTo>
                  <a:lnTo>
                    <a:pt x="61" y="596"/>
                  </a:lnTo>
                  <a:lnTo>
                    <a:pt x="59" y="599"/>
                  </a:lnTo>
                  <a:lnTo>
                    <a:pt x="59" y="596"/>
                  </a:lnTo>
                  <a:lnTo>
                    <a:pt x="59" y="596"/>
                  </a:lnTo>
                  <a:lnTo>
                    <a:pt x="59" y="596"/>
                  </a:lnTo>
                  <a:lnTo>
                    <a:pt x="59" y="596"/>
                  </a:lnTo>
                  <a:lnTo>
                    <a:pt x="59" y="596"/>
                  </a:lnTo>
                  <a:lnTo>
                    <a:pt x="59" y="596"/>
                  </a:lnTo>
                  <a:lnTo>
                    <a:pt x="59" y="596"/>
                  </a:lnTo>
                  <a:lnTo>
                    <a:pt x="61" y="594"/>
                  </a:lnTo>
                  <a:lnTo>
                    <a:pt x="61" y="594"/>
                  </a:lnTo>
                  <a:lnTo>
                    <a:pt x="61" y="594"/>
                  </a:lnTo>
                  <a:lnTo>
                    <a:pt x="61" y="594"/>
                  </a:lnTo>
                  <a:lnTo>
                    <a:pt x="61" y="594"/>
                  </a:lnTo>
                  <a:lnTo>
                    <a:pt x="63" y="594"/>
                  </a:lnTo>
                  <a:lnTo>
                    <a:pt x="63" y="594"/>
                  </a:lnTo>
                  <a:lnTo>
                    <a:pt x="63" y="594"/>
                  </a:lnTo>
                  <a:lnTo>
                    <a:pt x="63" y="594"/>
                  </a:lnTo>
                  <a:lnTo>
                    <a:pt x="63" y="592"/>
                  </a:lnTo>
                  <a:lnTo>
                    <a:pt x="66" y="592"/>
                  </a:lnTo>
                  <a:lnTo>
                    <a:pt x="66" y="592"/>
                  </a:lnTo>
                  <a:lnTo>
                    <a:pt x="66" y="592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68" y="590"/>
                  </a:lnTo>
                  <a:lnTo>
                    <a:pt x="70" y="590"/>
                  </a:lnTo>
                  <a:lnTo>
                    <a:pt x="70" y="590"/>
                  </a:lnTo>
                  <a:lnTo>
                    <a:pt x="70" y="590"/>
                  </a:lnTo>
                  <a:lnTo>
                    <a:pt x="72" y="592"/>
                  </a:lnTo>
                  <a:lnTo>
                    <a:pt x="72" y="592"/>
                  </a:lnTo>
                  <a:lnTo>
                    <a:pt x="72" y="592"/>
                  </a:lnTo>
                  <a:lnTo>
                    <a:pt x="72" y="592"/>
                  </a:lnTo>
                  <a:close/>
                  <a:moveTo>
                    <a:pt x="63" y="594"/>
                  </a:moveTo>
                  <a:lnTo>
                    <a:pt x="61" y="594"/>
                  </a:lnTo>
                  <a:lnTo>
                    <a:pt x="61" y="594"/>
                  </a:lnTo>
                  <a:lnTo>
                    <a:pt x="61" y="594"/>
                  </a:lnTo>
                  <a:lnTo>
                    <a:pt x="61" y="594"/>
                  </a:lnTo>
                  <a:lnTo>
                    <a:pt x="59" y="594"/>
                  </a:lnTo>
                  <a:lnTo>
                    <a:pt x="59" y="594"/>
                  </a:lnTo>
                  <a:lnTo>
                    <a:pt x="59" y="594"/>
                  </a:lnTo>
                  <a:lnTo>
                    <a:pt x="59" y="592"/>
                  </a:lnTo>
                  <a:lnTo>
                    <a:pt x="59" y="592"/>
                  </a:lnTo>
                  <a:lnTo>
                    <a:pt x="59" y="592"/>
                  </a:lnTo>
                  <a:lnTo>
                    <a:pt x="59" y="592"/>
                  </a:lnTo>
                  <a:lnTo>
                    <a:pt x="61" y="592"/>
                  </a:lnTo>
                  <a:lnTo>
                    <a:pt x="61" y="592"/>
                  </a:lnTo>
                  <a:lnTo>
                    <a:pt x="61" y="590"/>
                  </a:lnTo>
                  <a:lnTo>
                    <a:pt x="63" y="590"/>
                  </a:lnTo>
                  <a:lnTo>
                    <a:pt x="63" y="590"/>
                  </a:lnTo>
                  <a:lnTo>
                    <a:pt x="63" y="590"/>
                  </a:lnTo>
                  <a:lnTo>
                    <a:pt x="63" y="590"/>
                  </a:lnTo>
                  <a:lnTo>
                    <a:pt x="63" y="587"/>
                  </a:lnTo>
                  <a:lnTo>
                    <a:pt x="63" y="587"/>
                  </a:lnTo>
                  <a:lnTo>
                    <a:pt x="66" y="587"/>
                  </a:lnTo>
                  <a:lnTo>
                    <a:pt x="66" y="587"/>
                  </a:lnTo>
                  <a:lnTo>
                    <a:pt x="66" y="587"/>
                  </a:lnTo>
                  <a:lnTo>
                    <a:pt x="66" y="587"/>
                  </a:lnTo>
                  <a:lnTo>
                    <a:pt x="66" y="587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6" y="590"/>
                  </a:lnTo>
                  <a:lnTo>
                    <a:pt x="63" y="590"/>
                  </a:lnTo>
                  <a:lnTo>
                    <a:pt x="63" y="592"/>
                  </a:lnTo>
                  <a:lnTo>
                    <a:pt x="63" y="592"/>
                  </a:lnTo>
                  <a:lnTo>
                    <a:pt x="63" y="592"/>
                  </a:lnTo>
                  <a:lnTo>
                    <a:pt x="63" y="592"/>
                  </a:lnTo>
                  <a:lnTo>
                    <a:pt x="63" y="594"/>
                  </a:lnTo>
                  <a:close/>
                  <a:moveTo>
                    <a:pt x="1301" y="585"/>
                  </a:moveTo>
                  <a:lnTo>
                    <a:pt x="1299" y="585"/>
                  </a:lnTo>
                  <a:lnTo>
                    <a:pt x="1301" y="585"/>
                  </a:lnTo>
                  <a:lnTo>
                    <a:pt x="1301" y="585"/>
                  </a:lnTo>
                  <a:close/>
                  <a:moveTo>
                    <a:pt x="70" y="587"/>
                  </a:moveTo>
                  <a:lnTo>
                    <a:pt x="70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70" y="587"/>
                  </a:lnTo>
                  <a:lnTo>
                    <a:pt x="68" y="587"/>
                  </a:lnTo>
                  <a:lnTo>
                    <a:pt x="68" y="587"/>
                  </a:lnTo>
                  <a:lnTo>
                    <a:pt x="68" y="587"/>
                  </a:lnTo>
                  <a:lnTo>
                    <a:pt x="68" y="587"/>
                  </a:lnTo>
                  <a:lnTo>
                    <a:pt x="68" y="587"/>
                  </a:lnTo>
                  <a:lnTo>
                    <a:pt x="68" y="585"/>
                  </a:lnTo>
                  <a:lnTo>
                    <a:pt x="70" y="585"/>
                  </a:lnTo>
                  <a:lnTo>
                    <a:pt x="70" y="585"/>
                  </a:lnTo>
                  <a:lnTo>
                    <a:pt x="72" y="583"/>
                  </a:lnTo>
                  <a:lnTo>
                    <a:pt x="72" y="583"/>
                  </a:lnTo>
                  <a:lnTo>
                    <a:pt x="72" y="583"/>
                  </a:lnTo>
                  <a:lnTo>
                    <a:pt x="72" y="583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0" y="587"/>
                  </a:lnTo>
                  <a:lnTo>
                    <a:pt x="70" y="587"/>
                  </a:lnTo>
                  <a:close/>
                  <a:moveTo>
                    <a:pt x="52" y="583"/>
                  </a:moveTo>
                  <a:lnTo>
                    <a:pt x="52" y="583"/>
                  </a:lnTo>
                  <a:lnTo>
                    <a:pt x="52" y="583"/>
                  </a:lnTo>
                  <a:lnTo>
                    <a:pt x="52" y="585"/>
                  </a:lnTo>
                  <a:lnTo>
                    <a:pt x="54" y="585"/>
                  </a:lnTo>
                  <a:lnTo>
                    <a:pt x="54" y="585"/>
                  </a:lnTo>
                  <a:lnTo>
                    <a:pt x="54" y="585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87"/>
                  </a:lnTo>
                  <a:lnTo>
                    <a:pt x="54" y="590"/>
                  </a:lnTo>
                  <a:lnTo>
                    <a:pt x="54" y="590"/>
                  </a:lnTo>
                  <a:lnTo>
                    <a:pt x="54" y="590"/>
                  </a:lnTo>
                  <a:lnTo>
                    <a:pt x="54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2" y="592"/>
                  </a:lnTo>
                  <a:lnTo>
                    <a:pt x="50" y="592"/>
                  </a:lnTo>
                  <a:lnTo>
                    <a:pt x="50" y="592"/>
                  </a:lnTo>
                  <a:lnTo>
                    <a:pt x="50" y="592"/>
                  </a:lnTo>
                  <a:lnTo>
                    <a:pt x="50" y="592"/>
                  </a:lnTo>
                  <a:lnTo>
                    <a:pt x="50" y="592"/>
                  </a:lnTo>
                  <a:lnTo>
                    <a:pt x="50" y="592"/>
                  </a:lnTo>
                  <a:lnTo>
                    <a:pt x="50" y="590"/>
                  </a:lnTo>
                  <a:lnTo>
                    <a:pt x="50" y="590"/>
                  </a:lnTo>
                  <a:lnTo>
                    <a:pt x="50" y="590"/>
                  </a:lnTo>
                  <a:lnTo>
                    <a:pt x="50" y="590"/>
                  </a:lnTo>
                  <a:lnTo>
                    <a:pt x="50" y="590"/>
                  </a:lnTo>
                  <a:lnTo>
                    <a:pt x="50" y="590"/>
                  </a:lnTo>
                  <a:lnTo>
                    <a:pt x="50" y="590"/>
                  </a:lnTo>
                  <a:lnTo>
                    <a:pt x="50" y="587"/>
                  </a:lnTo>
                  <a:lnTo>
                    <a:pt x="50" y="587"/>
                  </a:lnTo>
                  <a:lnTo>
                    <a:pt x="50" y="587"/>
                  </a:lnTo>
                  <a:lnTo>
                    <a:pt x="50" y="587"/>
                  </a:lnTo>
                  <a:lnTo>
                    <a:pt x="48" y="587"/>
                  </a:lnTo>
                  <a:lnTo>
                    <a:pt x="50" y="587"/>
                  </a:lnTo>
                  <a:lnTo>
                    <a:pt x="50" y="587"/>
                  </a:lnTo>
                  <a:lnTo>
                    <a:pt x="50" y="587"/>
                  </a:lnTo>
                  <a:lnTo>
                    <a:pt x="48" y="587"/>
                  </a:lnTo>
                  <a:lnTo>
                    <a:pt x="48" y="587"/>
                  </a:lnTo>
                  <a:lnTo>
                    <a:pt x="48" y="587"/>
                  </a:lnTo>
                  <a:lnTo>
                    <a:pt x="48" y="587"/>
                  </a:lnTo>
                  <a:lnTo>
                    <a:pt x="48" y="587"/>
                  </a:lnTo>
                  <a:lnTo>
                    <a:pt x="48" y="587"/>
                  </a:lnTo>
                  <a:lnTo>
                    <a:pt x="48" y="587"/>
                  </a:lnTo>
                  <a:lnTo>
                    <a:pt x="48" y="585"/>
                  </a:lnTo>
                  <a:lnTo>
                    <a:pt x="48" y="585"/>
                  </a:lnTo>
                  <a:lnTo>
                    <a:pt x="48" y="585"/>
                  </a:lnTo>
                  <a:lnTo>
                    <a:pt x="48" y="585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50" y="583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48" y="583"/>
                  </a:lnTo>
                  <a:lnTo>
                    <a:pt x="45" y="583"/>
                  </a:lnTo>
                  <a:lnTo>
                    <a:pt x="45" y="583"/>
                  </a:lnTo>
                  <a:lnTo>
                    <a:pt x="45" y="583"/>
                  </a:lnTo>
                  <a:lnTo>
                    <a:pt x="45" y="583"/>
                  </a:lnTo>
                  <a:lnTo>
                    <a:pt x="45" y="583"/>
                  </a:lnTo>
                  <a:lnTo>
                    <a:pt x="48" y="583"/>
                  </a:lnTo>
                  <a:lnTo>
                    <a:pt x="48" y="581"/>
                  </a:lnTo>
                  <a:lnTo>
                    <a:pt x="48" y="581"/>
                  </a:lnTo>
                  <a:lnTo>
                    <a:pt x="48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3"/>
                  </a:lnTo>
                  <a:lnTo>
                    <a:pt x="52" y="583"/>
                  </a:lnTo>
                  <a:lnTo>
                    <a:pt x="52" y="583"/>
                  </a:lnTo>
                  <a:close/>
                  <a:moveTo>
                    <a:pt x="77" y="583"/>
                  </a:moveTo>
                  <a:lnTo>
                    <a:pt x="75" y="583"/>
                  </a:lnTo>
                  <a:lnTo>
                    <a:pt x="75" y="583"/>
                  </a:lnTo>
                  <a:lnTo>
                    <a:pt x="75" y="583"/>
                  </a:lnTo>
                  <a:lnTo>
                    <a:pt x="72" y="583"/>
                  </a:lnTo>
                  <a:lnTo>
                    <a:pt x="70" y="583"/>
                  </a:lnTo>
                  <a:lnTo>
                    <a:pt x="70" y="583"/>
                  </a:lnTo>
                  <a:lnTo>
                    <a:pt x="70" y="585"/>
                  </a:lnTo>
                  <a:lnTo>
                    <a:pt x="70" y="585"/>
                  </a:lnTo>
                  <a:lnTo>
                    <a:pt x="70" y="585"/>
                  </a:lnTo>
                  <a:lnTo>
                    <a:pt x="70" y="585"/>
                  </a:lnTo>
                  <a:lnTo>
                    <a:pt x="70" y="585"/>
                  </a:lnTo>
                  <a:lnTo>
                    <a:pt x="68" y="585"/>
                  </a:lnTo>
                  <a:lnTo>
                    <a:pt x="68" y="585"/>
                  </a:lnTo>
                  <a:lnTo>
                    <a:pt x="68" y="587"/>
                  </a:lnTo>
                  <a:lnTo>
                    <a:pt x="68" y="585"/>
                  </a:lnTo>
                  <a:lnTo>
                    <a:pt x="68" y="585"/>
                  </a:lnTo>
                  <a:lnTo>
                    <a:pt x="70" y="585"/>
                  </a:lnTo>
                  <a:lnTo>
                    <a:pt x="70" y="583"/>
                  </a:lnTo>
                  <a:lnTo>
                    <a:pt x="70" y="583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5" y="581"/>
                  </a:lnTo>
                  <a:lnTo>
                    <a:pt x="75" y="581"/>
                  </a:lnTo>
                  <a:lnTo>
                    <a:pt x="75" y="581"/>
                  </a:lnTo>
                  <a:lnTo>
                    <a:pt x="75" y="581"/>
                  </a:lnTo>
                  <a:lnTo>
                    <a:pt x="77" y="581"/>
                  </a:lnTo>
                  <a:lnTo>
                    <a:pt x="77" y="581"/>
                  </a:lnTo>
                  <a:lnTo>
                    <a:pt x="79" y="578"/>
                  </a:lnTo>
                  <a:lnTo>
                    <a:pt x="79" y="578"/>
                  </a:lnTo>
                  <a:lnTo>
                    <a:pt x="79" y="578"/>
                  </a:lnTo>
                  <a:lnTo>
                    <a:pt x="79" y="578"/>
                  </a:lnTo>
                  <a:lnTo>
                    <a:pt x="79" y="581"/>
                  </a:lnTo>
                  <a:lnTo>
                    <a:pt x="77" y="581"/>
                  </a:lnTo>
                  <a:lnTo>
                    <a:pt x="77" y="581"/>
                  </a:lnTo>
                  <a:lnTo>
                    <a:pt x="77" y="581"/>
                  </a:lnTo>
                  <a:lnTo>
                    <a:pt x="77" y="583"/>
                  </a:lnTo>
                  <a:close/>
                  <a:moveTo>
                    <a:pt x="54" y="581"/>
                  </a:moveTo>
                  <a:lnTo>
                    <a:pt x="54" y="583"/>
                  </a:lnTo>
                  <a:lnTo>
                    <a:pt x="54" y="583"/>
                  </a:lnTo>
                  <a:lnTo>
                    <a:pt x="52" y="583"/>
                  </a:lnTo>
                  <a:lnTo>
                    <a:pt x="52" y="583"/>
                  </a:lnTo>
                  <a:lnTo>
                    <a:pt x="52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0" y="581"/>
                  </a:lnTo>
                  <a:lnTo>
                    <a:pt x="52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7" y="578"/>
                  </a:lnTo>
                  <a:lnTo>
                    <a:pt x="57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7" y="578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4" y="581"/>
                  </a:lnTo>
                  <a:lnTo>
                    <a:pt x="54" y="581"/>
                  </a:lnTo>
                  <a:lnTo>
                    <a:pt x="54" y="581"/>
                  </a:lnTo>
                  <a:lnTo>
                    <a:pt x="54" y="581"/>
                  </a:lnTo>
                  <a:lnTo>
                    <a:pt x="54" y="581"/>
                  </a:lnTo>
                  <a:lnTo>
                    <a:pt x="54" y="581"/>
                  </a:lnTo>
                  <a:lnTo>
                    <a:pt x="54" y="581"/>
                  </a:lnTo>
                  <a:close/>
                  <a:moveTo>
                    <a:pt x="61" y="581"/>
                  </a:moveTo>
                  <a:lnTo>
                    <a:pt x="61" y="583"/>
                  </a:lnTo>
                  <a:lnTo>
                    <a:pt x="63" y="583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1" y="585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3" y="585"/>
                  </a:lnTo>
                  <a:lnTo>
                    <a:pt x="63" y="587"/>
                  </a:lnTo>
                  <a:lnTo>
                    <a:pt x="63" y="587"/>
                  </a:lnTo>
                  <a:lnTo>
                    <a:pt x="61" y="587"/>
                  </a:lnTo>
                  <a:lnTo>
                    <a:pt x="61" y="587"/>
                  </a:lnTo>
                  <a:lnTo>
                    <a:pt x="61" y="587"/>
                  </a:lnTo>
                  <a:lnTo>
                    <a:pt x="61" y="587"/>
                  </a:lnTo>
                  <a:lnTo>
                    <a:pt x="61" y="587"/>
                  </a:lnTo>
                  <a:lnTo>
                    <a:pt x="61" y="590"/>
                  </a:lnTo>
                  <a:lnTo>
                    <a:pt x="61" y="590"/>
                  </a:lnTo>
                  <a:lnTo>
                    <a:pt x="59" y="587"/>
                  </a:lnTo>
                  <a:lnTo>
                    <a:pt x="59" y="587"/>
                  </a:lnTo>
                  <a:lnTo>
                    <a:pt x="59" y="590"/>
                  </a:lnTo>
                  <a:lnTo>
                    <a:pt x="59" y="590"/>
                  </a:lnTo>
                  <a:lnTo>
                    <a:pt x="59" y="590"/>
                  </a:lnTo>
                  <a:lnTo>
                    <a:pt x="59" y="590"/>
                  </a:lnTo>
                  <a:lnTo>
                    <a:pt x="59" y="590"/>
                  </a:lnTo>
                  <a:lnTo>
                    <a:pt x="59" y="590"/>
                  </a:lnTo>
                  <a:lnTo>
                    <a:pt x="59" y="590"/>
                  </a:lnTo>
                  <a:lnTo>
                    <a:pt x="57" y="590"/>
                  </a:lnTo>
                  <a:lnTo>
                    <a:pt x="57" y="590"/>
                  </a:lnTo>
                  <a:lnTo>
                    <a:pt x="57" y="590"/>
                  </a:lnTo>
                  <a:lnTo>
                    <a:pt x="57" y="590"/>
                  </a:lnTo>
                  <a:lnTo>
                    <a:pt x="57" y="590"/>
                  </a:lnTo>
                  <a:lnTo>
                    <a:pt x="57" y="590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7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5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9" y="583"/>
                  </a:lnTo>
                  <a:lnTo>
                    <a:pt x="59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9" y="581"/>
                  </a:lnTo>
                  <a:lnTo>
                    <a:pt x="59" y="581"/>
                  </a:lnTo>
                  <a:lnTo>
                    <a:pt x="57" y="581"/>
                  </a:lnTo>
                  <a:lnTo>
                    <a:pt x="57" y="583"/>
                  </a:lnTo>
                  <a:lnTo>
                    <a:pt x="57" y="583"/>
                  </a:lnTo>
                  <a:lnTo>
                    <a:pt x="54" y="583"/>
                  </a:lnTo>
                  <a:lnTo>
                    <a:pt x="54" y="583"/>
                  </a:lnTo>
                  <a:lnTo>
                    <a:pt x="54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9" y="581"/>
                  </a:lnTo>
                  <a:lnTo>
                    <a:pt x="59" y="581"/>
                  </a:lnTo>
                  <a:lnTo>
                    <a:pt x="59" y="581"/>
                  </a:lnTo>
                  <a:lnTo>
                    <a:pt x="59" y="581"/>
                  </a:lnTo>
                  <a:lnTo>
                    <a:pt x="59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7" y="581"/>
                  </a:lnTo>
                  <a:lnTo>
                    <a:pt x="57" y="578"/>
                  </a:lnTo>
                  <a:lnTo>
                    <a:pt x="57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4" y="578"/>
                  </a:lnTo>
                  <a:lnTo>
                    <a:pt x="57" y="578"/>
                  </a:lnTo>
                  <a:lnTo>
                    <a:pt x="57" y="578"/>
                  </a:lnTo>
                  <a:lnTo>
                    <a:pt x="57" y="578"/>
                  </a:lnTo>
                  <a:lnTo>
                    <a:pt x="57" y="576"/>
                  </a:lnTo>
                  <a:lnTo>
                    <a:pt x="57" y="576"/>
                  </a:lnTo>
                  <a:lnTo>
                    <a:pt x="57" y="576"/>
                  </a:lnTo>
                  <a:lnTo>
                    <a:pt x="57" y="576"/>
                  </a:lnTo>
                  <a:lnTo>
                    <a:pt x="57" y="576"/>
                  </a:lnTo>
                  <a:lnTo>
                    <a:pt x="57" y="576"/>
                  </a:lnTo>
                  <a:lnTo>
                    <a:pt x="59" y="576"/>
                  </a:lnTo>
                  <a:lnTo>
                    <a:pt x="59" y="574"/>
                  </a:lnTo>
                  <a:lnTo>
                    <a:pt x="59" y="574"/>
                  </a:lnTo>
                  <a:lnTo>
                    <a:pt x="59" y="576"/>
                  </a:lnTo>
                  <a:lnTo>
                    <a:pt x="59" y="576"/>
                  </a:lnTo>
                  <a:lnTo>
                    <a:pt x="59" y="576"/>
                  </a:lnTo>
                  <a:lnTo>
                    <a:pt x="59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81"/>
                  </a:lnTo>
                  <a:lnTo>
                    <a:pt x="61" y="581"/>
                  </a:lnTo>
                  <a:lnTo>
                    <a:pt x="61" y="581"/>
                  </a:lnTo>
                  <a:close/>
                  <a:moveTo>
                    <a:pt x="59" y="572"/>
                  </a:moveTo>
                  <a:lnTo>
                    <a:pt x="59" y="574"/>
                  </a:lnTo>
                  <a:lnTo>
                    <a:pt x="59" y="574"/>
                  </a:lnTo>
                  <a:lnTo>
                    <a:pt x="59" y="574"/>
                  </a:lnTo>
                  <a:lnTo>
                    <a:pt x="59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2" y="576"/>
                  </a:lnTo>
                  <a:lnTo>
                    <a:pt x="52" y="576"/>
                  </a:lnTo>
                  <a:lnTo>
                    <a:pt x="52" y="576"/>
                  </a:lnTo>
                  <a:lnTo>
                    <a:pt x="52" y="576"/>
                  </a:lnTo>
                  <a:lnTo>
                    <a:pt x="52" y="576"/>
                  </a:lnTo>
                  <a:lnTo>
                    <a:pt x="52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4" y="576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7" y="574"/>
                  </a:lnTo>
                  <a:lnTo>
                    <a:pt x="54" y="574"/>
                  </a:lnTo>
                  <a:lnTo>
                    <a:pt x="54" y="574"/>
                  </a:lnTo>
                  <a:lnTo>
                    <a:pt x="54" y="574"/>
                  </a:lnTo>
                  <a:lnTo>
                    <a:pt x="52" y="576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50" y="576"/>
                  </a:lnTo>
                  <a:lnTo>
                    <a:pt x="48" y="576"/>
                  </a:lnTo>
                  <a:lnTo>
                    <a:pt x="48" y="576"/>
                  </a:lnTo>
                  <a:lnTo>
                    <a:pt x="48" y="576"/>
                  </a:lnTo>
                  <a:lnTo>
                    <a:pt x="48" y="576"/>
                  </a:lnTo>
                  <a:lnTo>
                    <a:pt x="50" y="576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2"/>
                  </a:lnTo>
                  <a:lnTo>
                    <a:pt x="52" y="572"/>
                  </a:lnTo>
                  <a:lnTo>
                    <a:pt x="54" y="572"/>
                  </a:lnTo>
                  <a:lnTo>
                    <a:pt x="54" y="572"/>
                  </a:lnTo>
                  <a:lnTo>
                    <a:pt x="54" y="572"/>
                  </a:lnTo>
                  <a:lnTo>
                    <a:pt x="57" y="572"/>
                  </a:lnTo>
                  <a:lnTo>
                    <a:pt x="57" y="572"/>
                  </a:lnTo>
                  <a:lnTo>
                    <a:pt x="57" y="572"/>
                  </a:lnTo>
                  <a:lnTo>
                    <a:pt x="57" y="572"/>
                  </a:lnTo>
                  <a:lnTo>
                    <a:pt x="59" y="569"/>
                  </a:lnTo>
                  <a:lnTo>
                    <a:pt x="59" y="572"/>
                  </a:lnTo>
                  <a:lnTo>
                    <a:pt x="59" y="572"/>
                  </a:lnTo>
                  <a:lnTo>
                    <a:pt x="59" y="572"/>
                  </a:lnTo>
                  <a:lnTo>
                    <a:pt x="59" y="572"/>
                  </a:lnTo>
                  <a:lnTo>
                    <a:pt x="59" y="572"/>
                  </a:lnTo>
                  <a:close/>
                  <a:moveTo>
                    <a:pt x="14" y="569"/>
                  </a:moveTo>
                  <a:lnTo>
                    <a:pt x="14" y="569"/>
                  </a:lnTo>
                  <a:lnTo>
                    <a:pt x="14" y="569"/>
                  </a:lnTo>
                  <a:lnTo>
                    <a:pt x="14" y="569"/>
                  </a:lnTo>
                  <a:lnTo>
                    <a:pt x="14" y="569"/>
                  </a:lnTo>
                  <a:lnTo>
                    <a:pt x="14" y="569"/>
                  </a:lnTo>
                  <a:lnTo>
                    <a:pt x="14" y="569"/>
                  </a:lnTo>
                  <a:lnTo>
                    <a:pt x="16" y="569"/>
                  </a:lnTo>
                  <a:lnTo>
                    <a:pt x="16" y="569"/>
                  </a:lnTo>
                  <a:lnTo>
                    <a:pt x="16" y="569"/>
                  </a:lnTo>
                  <a:lnTo>
                    <a:pt x="18" y="569"/>
                  </a:lnTo>
                  <a:lnTo>
                    <a:pt x="18" y="569"/>
                  </a:lnTo>
                  <a:lnTo>
                    <a:pt x="18" y="569"/>
                  </a:lnTo>
                  <a:lnTo>
                    <a:pt x="21" y="569"/>
                  </a:lnTo>
                  <a:lnTo>
                    <a:pt x="21" y="569"/>
                  </a:lnTo>
                  <a:lnTo>
                    <a:pt x="21" y="569"/>
                  </a:lnTo>
                  <a:lnTo>
                    <a:pt x="21" y="569"/>
                  </a:lnTo>
                  <a:lnTo>
                    <a:pt x="21" y="572"/>
                  </a:lnTo>
                  <a:lnTo>
                    <a:pt x="21" y="572"/>
                  </a:lnTo>
                  <a:lnTo>
                    <a:pt x="18" y="572"/>
                  </a:lnTo>
                  <a:lnTo>
                    <a:pt x="18" y="572"/>
                  </a:lnTo>
                  <a:lnTo>
                    <a:pt x="18" y="572"/>
                  </a:lnTo>
                  <a:lnTo>
                    <a:pt x="18" y="572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6" y="574"/>
                  </a:lnTo>
                  <a:lnTo>
                    <a:pt x="18" y="574"/>
                  </a:lnTo>
                  <a:lnTo>
                    <a:pt x="18" y="574"/>
                  </a:lnTo>
                  <a:lnTo>
                    <a:pt x="18" y="574"/>
                  </a:lnTo>
                  <a:lnTo>
                    <a:pt x="18" y="572"/>
                  </a:lnTo>
                  <a:lnTo>
                    <a:pt x="18" y="572"/>
                  </a:lnTo>
                  <a:lnTo>
                    <a:pt x="21" y="572"/>
                  </a:lnTo>
                  <a:lnTo>
                    <a:pt x="21" y="572"/>
                  </a:lnTo>
                  <a:lnTo>
                    <a:pt x="23" y="572"/>
                  </a:lnTo>
                  <a:lnTo>
                    <a:pt x="23" y="572"/>
                  </a:lnTo>
                  <a:lnTo>
                    <a:pt x="23" y="572"/>
                  </a:lnTo>
                  <a:lnTo>
                    <a:pt x="25" y="569"/>
                  </a:lnTo>
                  <a:lnTo>
                    <a:pt x="25" y="569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6"/>
                  </a:lnTo>
                  <a:lnTo>
                    <a:pt x="23" y="576"/>
                  </a:lnTo>
                  <a:lnTo>
                    <a:pt x="23" y="576"/>
                  </a:lnTo>
                  <a:lnTo>
                    <a:pt x="23" y="576"/>
                  </a:lnTo>
                  <a:lnTo>
                    <a:pt x="23" y="576"/>
                  </a:lnTo>
                  <a:lnTo>
                    <a:pt x="21" y="576"/>
                  </a:lnTo>
                  <a:lnTo>
                    <a:pt x="21" y="576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18" y="578"/>
                  </a:lnTo>
                  <a:lnTo>
                    <a:pt x="16" y="578"/>
                  </a:lnTo>
                  <a:lnTo>
                    <a:pt x="16" y="578"/>
                  </a:lnTo>
                  <a:lnTo>
                    <a:pt x="16" y="578"/>
                  </a:lnTo>
                  <a:lnTo>
                    <a:pt x="16" y="578"/>
                  </a:lnTo>
                  <a:lnTo>
                    <a:pt x="14" y="578"/>
                  </a:lnTo>
                  <a:lnTo>
                    <a:pt x="14" y="578"/>
                  </a:lnTo>
                  <a:lnTo>
                    <a:pt x="14" y="581"/>
                  </a:lnTo>
                  <a:lnTo>
                    <a:pt x="12" y="578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9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2" y="581"/>
                  </a:lnTo>
                  <a:lnTo>
                    <a:pt x="14" y="581"/>
                  </a:lnTo>
                  <a:lnTo>
                    <a:pt x="14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4" y="581"/>
                  </a:lnTo>
                  <a:lnTo>
                    <a:pt x="14" y="581"/>
                  </a:lnTo>
                  <a:lnTo>
                    <a:pt x="14" y="581"/>
                  </a:lnTo>
                  <a:lnTo>
                    <a:pt x="12" y="583"/>
                  </a:lnTo>
                  <a:lnTo>
                    <a:pt x="12" y="583"/>
                  </a:lnTo>
                  <a:lnTo>
                    <a:pt x="12" y="583"/>
                  </a:lnTo>
                  <a:lnTo>
                    <a:pt x="14" y="583"/>
                  </a:lnTo>
                  <a:lnTo>
                    <a:pt x="14" y="581"/>
                  </a:lnTo>
                  <a:lnTo>
                    <a:pt x="14" y="581"/>
                  </a:lnTo>
                  <a:lnTo>
                    <a:pt x="14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6" y="581"/>
                  </a:lnTo>
                  <a:lnTo>
                    <a:pt x="18" y="581"/>
                  </a:lnTo>
                  <a:lnTo>
                    <a:pt x="18" y="581"/>
                  </a:lnTo>
                  <a:lnTo>
                    <a:pt x="18" y="581"/>
                  </a:lnTo>
                  <a:lnTo>
                    <a:pt x="18" y="581"/>
                  </a:lnTo>
                  <a:lnTo>
                    <a:pt x="18" y="581"/>
                  </a:lnTo>
                  <a:lnTo>
                    <a:pt x="21" y="581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21" y="578"/>
                  </a:lnTo>
                  <a:lnTo>
                    <a:pt x="21" y="576"/>
                  </a:lnTo>
                  <a:lnTo>
                    <a:pt x="23" y="576"/>
                  </a:lnTo>
                  <a:lnTo>
                    <a:pt x="23" y="576"/>
                  </a:lnTo>
                  <a:lnTo>
                    <a:pt x="25" y="576"/>
                  </a:lnTo>
                  <a:lnTo>
                    <a:pt x="25" y="576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5" y="574"/>
                  </a:lnTo>
                  <a:lnTo>
                    <a:pt x="27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5" y="572"/>
                  </a:lnTo>
                  <a:lnTo>
                    <a:pt x="27" y="572"/>
                  </a:lnTo>
                  <a:lnTo>
                    <a:pt x="27" y="572"/>
                  </a:lnTo>
                  <a:lnTo>
                    <a:pt x="27" y="572"/>
                  </a:lnTo>
                  <a:lnTo>
                    <a:pt x="30" y="572"/>
                  </a:lnTo>
                  <a:lnTo>
                    <a:pt x="30" y="572"/>
                  </a:lnTo>
                  <a:lnTo>
                    <a:pt x="32" y="572"/>
                  </a:lnTo>
                  <a:lnTo>
                    <a:pt x="34" y="572"/>
                  </a:lnTo>
                  <a:lnTo>
                    <a:pt x="34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9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69"/>
                  </a:lnTo>
                  <a:lnTo>
                    <a:pt x="36" y="572"/>
                  </a:lnTo>
                  <a:lnTo>
                    <a:pt x="34" y="572"/>
                  </a:lnTo>
                  <a:lnTo>
                    <a:pt x="34" y="574"/>
                  </a:lnTo>
                  <a:lnTo>
                    <a:pt x="32" y="574"/>
                  </a:lnTo>
                  <a:lnTo>
                    <a:pt x="32" y="574"/>
                  </a:lnTo>
                  <a:lnTo>
                    <a:pt x="30" y="576"/>
                  </a:lnTo>
                  <a:lnTo>
                    <a:pt x="27" y="576"/>
                  </a:lnTo>
                  <a:lnTo>
                    <a:pt x="27" y="578"/>
                  </a:lnTo>
                  <a:lnTo>
                    <a:pt x="27" y="578"/>
                  </a:lnTo>
                  <a:lnTo>
                    <a:pt x="25" y="578"/>
                  </a:lnTo>
                  <a:lnTo>
                    <a:pt x="25" y="578"/>
                  </a:lnTo>
                  <a:lnTo>
                    <a:pt x="25" y="578"/>
                  </a:lnTo>
                  <a:lnTo>
                    <a:pt x="25" y="581"/>
                  </a:lnTo>
                  <a:lnTo>
                    <a:pt x="25" y="581"/>
                  </a:lnTo>
                  <a:lnTo>
                    <a:pt x="23" y="581"/>
                  </a:lnTo>
                  <a:lnTo>
                    <a:pt x="23" y="581"/>
                  </a:lnTo>
                  <a:lnTo>
                    <a:pt x="23" y="583"/>
                  </a:lnTo>
                  <a:lnTo>
                    <a:pt x="21" y="583"/>
                  </a:lnTo>
                  <a:lnTo>
                    <a:pt x="21" y="583"/>
                  </a:lnTo>
                  <a:lnTo>
                    <a:pt x="21" y="583"/>
                  </a:lnTo>
                  <a:lnTo>
                    <a:pt x="21" y="583"/>
                  </a:lnTo>
                  <a:lnTo>
                    <a:pt x="21" y="583"/>
                  </a:lnTo>
                  <a:lnTo>
                    <a:pt x="21" y="583"/>
                  </a:lnTo>
                  <a:lnTo>
                    <a:pt x="21" y="583"/>
                  </a:lnTo>
                  <a:lnTo>
                    <a:pt x="21" y="585"/>
                  </a:lnTo>
                  <a:lnTo>
                    <a:pt x="21" y="585"/>
                  </a:lnTo>
                  <a:lnTo>
                    <a:pt x="18" y="585"/>
                  </a:lnTo>
                  <a:lnTo>
                    <a:pt x="18" y="587"/>
                  </a:lnTo>
                  <a:lnTo>
                    <a:pt x="18" y="587"/>
                  </a:lnTo>
                  <a:lnTo>
                    <a:pt x="18" y="587"/>
                  </a:lnTo>
                  <a:lnTo>
                    <a:pt x="18" y="587"/>
                  </a:lnTo>
                  <a:lnTo>
                    <a:pt x="16" y="590"/>
                  </a:lnTo>
                  <a:lnTo>
                    <a:pt x="14" y="590"/>
                  </a:lnTo>
                  <a:lnTo>
                    <a:pt x="14" y="590"/>
                  </a:lnTo>
                  <a:lnTo>
                    <a:pt x="12" y="590"/>
                  </a:lnTo>
                  <a:lnTo>
                    <a:pt x="12" y="590"/>
                  </a:lnTo>
                  <a:lnTo>
                    <a:pt x="9" y="590"/>
                  </a:lnTo>
                  <a:lnTo>
                    <a:pt x="9" y="590"/>
                  </a:lnTo>
                  <a:lnTo>
                    <a:pt x="9" y="590"/>
                  </a:lnTo>
                  <a:lnTo>
                    <a:pt x="9" y="590"/>
                  </a:lnTo>
                  <a:lnTo>
                    <a:pt x="9" y="590"/>
                  </a:lnTo>
                  <a:lnTo>
                    <a:pt x="9" y="592"/>
                  </a:lnTo>
                  <a:lnTo>
                    <a:pt x="9" y="590"/>
                  </a:lnTo>
                  <a:lnTo>
                    <a:pt x="9" y="592"/>
                  </a:lnTo>
                  <a:lnTo>
                    <a:pt x="9" y="592"/>
                  </a:lnTo>
                  <a:lnTo>
                    <a:pt x="9" y="592"/>
                  </a:lnTo>
                  <a:lnTo>
                    <a:pt x="12" y="592"/>
                  </a:lnTo>
                  <a:lnTo>
                    <a:pt x="12" y="592"/>
                  </a:lnTo>
                  <a:lnTo>
                    <a:pt x="9" y="592"/>
                  </a:lnTo>
                  <a:lnTo>
                    <a:pt x="9" y="592"/>
                  </a:lnTo>
                  <a:lnTo>
                    <a:pt x="9" y="592"/>
                  </a:lnTo>
                  <a:lnTo>
                    <a:pt x="9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7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3" y="592"/>
                  </a:lnTo>
                  <a:lnTo>
                    <a:pt x="5" y="592"/>
                  </a:lnTo>
                  <a:lnTo>
                    <a:pt x="5" y="592"/>
                  </a:lnTo>
                  <a:lnTo>
                    <a:pt x="3" y="592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5" y="590"/>
                  </a:lnTo>
                  <a:lnTo>
                    <a:pt x="5" y="590"/>
                  </a:lnTo>
                  <a:lnTo>
                    <a:pt x="5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3" y="590"/>
                  </a:lnTo>
                  <a:lnTo>
                    <a:pt x="5" y="590"/>
                  </a:lnTo>
                  <a:lnTo>
                    <a:pt x="5" y="590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7" y="587"/>
                  </a:lnTo>
                  <a:lnTo>
                    <a:pt x="5" y="587"/>
                  </a:lnTo>
                  <a:lnTo>
                    <a:pt x="3" y="587"/>
                  </a:lnTo>
                  <a:lnTo>
                    <a:pt x="3" y="587"/>
                  </a:lnTo>
                  <a:lnTo>
                    <a:pt x="3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5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90"/>
                  </a:lnTo>
                  <a:lnTo>
                    <a:pt x="9" y="587"/>
                  </a:lnTo>
                  <a:lnTo>
                    <a:pt x="9" y="587"/>
                  </a:lnTo>
                  <a:lnTo>
                    <a:pt x="7" y="587"/>
                  </a:lnTo>
                  <a:lnTo>
                    <a:pt x="7" y="587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7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7" y="583"/>
                  </a:lnTo>
                  <a:lnTo>
                    <a:pt x="7" y="583"/>
                  </a:lnTo>
                  <a:lnTo>
                    <a:pt x="5" y="583"/>
                  </a:lnTo>
                  <a:lnTo>
                    <a:pt x="5" y="583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5" y="585"/>
                  </a:lnTo>
                  <a:lnTo>
                    <a:pt x="3" y="585"/>
                  </a:lnTo>
                  <a:lnTo>
                    <a:pt x="3" y="585"/>
                  </a:lnTo>
                  <a:lnTo>
                    <a:pt x="3" y="585"/>
                  </a:lnTo>
                  <a:lnTo>
                    <a:pt x="3" y="585"/>
                  </a:lnTo>
                  <a:lnTo>
                    <a:pt x="5" y="583"/>
                  </a:lnTo>
                  <a:lnTo>
                    <a:pt x="5" y="583"/>
                  </a:lnTo>
                  <a:lnTo>
                    <a:pt x="3" y="583"/>
                  </a:lnTo>
                  <a:lnTo>
                    <a:pt x="3" y="583"/>
                  </a:lnTo>
                  <a:lnTo>
                    <a:pt x="5" y="583"/>
                  </a:lnTo>
                  <a:lnTo>
                    <a:pt x="5" y="583"/>
                  </a:lnTo>
                  <a:lnTo>
                    <a:pt x="5" y="583"/>
                  </a:lnTo>
                  <a:lnTo>
                    <a:pt x="3" y="583"/>
                  </a:lnTo>
                  <a:lnTo>
                    <a:pt x="3" y="583"/>
                  </a:lnTo>
                  <a:lnTo>
                    <a:pt x="3" y="583"/>
                  </a:lnTo>
                  <a:lnTo>
                    <a:pt x="3" y="583"/>
                  </a:lnTo>
                  <a:lnTo>
                    <a:pt x="3" y="583"/>
                  </a:lnTo>
                  <a:lnTo>
                    <a:pt x="3" y="583"/>
                  </a:lnTo>
                  <a:lnTo>
                    <a:pt x="5" y="583"/>
                  </a:lnTo>
                  <a:lnTo>
                    <a:pt x="5" y="583"/>
                  </a:lnTo>
                  <a:lnTo>
                    <a:pt x="5" y="583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5" y="581"/>
                  </a:lnTo>
                  <a:lnTo>
                    <a:pt x="7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7" y="578"/>
                  </a:lnTo>
                  <a:lnTo>
                    <a:pt x="7" y="578"/>
                  </a:lnTo>
                  <a:lnTo>
                    <a:pt x="7" y="578"/>
                  </a:lnTo>
                  <a:lnTo>
                    <a:pt x="7" y="578"/>
                  </a:lnTo>
                  <a:lnTo>
                    <a:pt x="7" y="578"/>
                  </a:lnTo>
                  <a:lnTo>
                    <a:pt x="7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8"/>
                  </a:lnTo>
                  <a:lnTo>
                    <a:pt x="5" y="576"/>
                  </a:lnTo>
                  <a:lnTo>
                    <a:pt x="5" y="576"/>
                  </a:lnTo>
                  <a:lnTo>
                    <a:pt x="7" y="576"/>
                  </a:lnTo>
                  <a:lnTo>
                    <a:pt x="5" y="576"/>
                  </a:lnTo>
                  <a:lnTo>
                    <a:pt x="5" y="576"/>
                  </a:lnTo>
                  <a:lnTo>
                    <a:pt x="7" y="576"/>
                  </a:lnTo>
                  <a:lnTo>
                    <a:pt x="7" y="574"/>
                  </a:lnTo>
                  <a:lnTo>
                    <a:pt x="7" y="574"/>
                  </a:lnTo>
                  <a:lnTo>
                    <a:pt x="7" y="574"/>
                  </a:lnTo>
                  <a:lnTo>
                    <a:pt x="7" y="574"/>
                  </a:lnTo>
                  <a:lnTo>
                    <a:pt x="9" y="574"/>
                  </a:lnTo>
                  <a:lnTo>
                    <a:pt x="9" y="574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9" y="572"/>
                  </a:lnTo>
                  <a:lnTo>
                    <a:pt x="12" y="572"/>
                  </a:lnTo>
                  <a:lnTo>
                    <a:pt x="12" y="572"/>
                  </a:lnTo>
                  <a:lnTo>
                    <a:pt x="12" y="572"/>
                  </a:lnTo>
                  <a:lnTo>
                    <a:pt x="12" y="572"/>
                  </a:lnTo>
                  <a:lnTo>
                    <a:pt x="12" y="572"/>
                  </a:lnTo>
                  <a:lnTo>
                    <a:pt x="12" y="572"/>
                  </a:lnTo>
                  <a:lnTo>
                    <a:pt x="12" y="569"/>
                  </a:lnTo>
                  <a:lnTo>
                    <a:pt x="12" y="569"/>
                  </a:lnTo>
                  <a:lnTo>
                    <a:pt x="12" y="569"/>
                  </a:lnTo>
                  <a:lnTo>
                    <a:pt x="14" y="569"/>
                  </a:lnTo>
                  <a:lnTo>
                    <a:pt x="12" y="569"/>
                  </a:lnTo>
                  <a:lnTo>
                    <a:pt x="14" y="569"/>
                  </a:lnTo>
                  <a:lnTo>
                    <a:pt x="14" y="569"/>
                  </a:lnTo>
                  <a:lnTo>
                    <a:pt x="14" y="569"/>
                  </a:lnTo>
                  <a:close/>
                  <a:moveTo>
                    <a:pt x="1330" y="569"/>
                  </a:move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close/>
                  <a:moveTo>
                    <a:pt x="63" y="569"/>
                  </a:moveTo>
                  <a:lnTo>
                    <a:pt x="61" y="569"/>
                  </a:lnTo>
                  <a:lnTo>
                    <a:pt x="61" y="569"/>
                  </a:lnTo>
                  <a:lnTo>
                    <a:pt x="61" y="569"/>
                  </a:lnTo>
                  <a:lnTo>
                    <a:pt x="61" y="569"/>
                  </a:lnTo>
                  <a:lnTo>
                    <a:pt x="61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close/>
                  <a:moveTo>
                    <a:pt x="54" y="569"/>
                  </a:moveTo>
                  <a:lnTo>
                    <a:pt x="54" y="569"/>
                  </a:lnTo>
                  <a:lnTo>
                    <a:pt x="54" y="569"/>
                  </a:lnTo>
                  <a:lnTo>
                    <a:pt x="54" y="569"/>
                  </a:lnTo>
                  <a:lnTo>
                    <a:pt x="54" y="569"/>
                  </a:lnTo>
                  <a:lnTo>
                    <a:pt x="54" y="569"/>
                  </a:lnTo>
                  <a:lnTo>
                    <a:pt x="52" y="569"/>
                  </a:lnTo>
                  <a:lnTo>
                    <a:pt x="52" y="569"/>
                  </a:lnTo>
                  <a:lnTo>
                    <a:pt x="54" y="569"/>
                  </a:lnTo>
                  <a:lnTo>
                    <a:pt x="54" y="567"/>
                  </a:lnTo>
                  <a:lnTo>
                    <a:pt x="54" y="567"/>
                  </a:lnTo>
                  <a:lnTo>
                    <a:pt x="54" y="567"/>
                  </a:lnTo>
                  <a:lnTo>
                    <a:pt x="54" y="569"/>
                  </a:lnTo>
                  <a:lnTo>
                    <a:pt x="54" y="569"/>
                  </a:lnTo>
                  <a:lnTo>
                    <a:pt x="54" y="569"/>
                  </a:lnTo>
                  <a:close/>
                  <a:moveTo>
                    <a:pt x="14" y="569"/>
                  </a:moveTo>
                  <a:lnTo>
                    <a:pt x="14" y="569"/>
                  </a:lnTo>
                  <a:lnTo>
                    <a:pt x="14" y="569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4" y="567"/>
                  </a:lnTo>
                  <a:lnTo>
                    <a:pt x="16" y="567"/>
                  </a:lnTo>
                  <a:lnTo>
                    <a:pt x="16" y="567"/>
                  </a:lnTo>
                  <a:lnTo>
                    <a:pt x="16" y="567"/>
                  </a:lnTo>
                  <a:lnTo>
                    <a:pt x="16" y="567"/>
                  </a:lnTo>
                  <a:lnTo>
                    <a:pt x="16" y="567"/>
                  </a:lnTo>
                  <a:lnTo>
                    <a:pt x="16" y="567"/>
                  </a:lnTo>
                  <a:lnTo>
                    <a:pt x="14" y="567"/>
                  </a:lnTo>
                  <a:lnTo>
                    <a:pt x="14" y="569"/>
                  </a:lnTo>
                  <a:lnTo>
                    <a:pt x="14" y="569"/>
                  </a:lnTo>
                  <a:close/>
                  <a:moveTo>
                    <a:pt x="63" y="567"/>
                  </a:move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1" y="567"/>
                  </a:lnTo>
                  <a:lnTo>
                    <a:pt x="61" y="567"/>
                  </a:lnTo>
                  <a:lnTo>
                    <a:pt x="61" y="567"/>
                  </a:lnTo>
                  <a:lnTo>
                    <a:pt x="61" y="567"/>
                  </a:lnTo>
                  <a:lnTo>
                    <a:pt x="61" y="567"/>
                  </a:lnTo>
                  <a:lnTo>
                    <a:pt x="61" y="567"/>
                  </a:lnTo>
                  <a:lnTo>
                    <a:pt x="61" y="565"/>
                  </a:lnTo>
                  <a:lnTo>
                    <a:pt x="61" y="565"/>
                  </a:lnTo>
                  <a:lnTo>
                    <a:pt x="61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3" y="567"/>
                  </a:lnTo>
                  <a:close/>
                  <a:moveTo>
                    <a:pt x="59" y="563"/>
                  </a:moveTo>
                  <a:lnTo>
                    <a:pt x="59" y="563"/>
                  </a:lnTo>
                  <a:lnTo>
                    <a:pt x="59" y="563"/>
                  </a:lnTo>
                  <a:lnTo>
                    <a:pt x="59" y="563"/>
                  </a:lnTo>
                  <a:lnTo>
                    <a:pt x="59" y="565"/>
                  </a:lnTo>
                  <a:lnTo>
                    <a:pt x="59" y="565"/>
                  </a:lnTo>
                  <a:lnTo>
                    <a:pt x="59" y="565"/>
                  </a:lnTo>
                  <a:lnTo>
                    <a:pt x="59" y="565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7" y="565"/>
                  </a:lnTo>
                  <a:lnTo>
                    <a:pt x="57" y="565"/>
                  </a:lnTo>
                  <a:lnTo>
                    <a:pt x="59" y="565"/>
                  </a:lnTo>
                  <a:lnTo>
                    <a:pt x="59" y="563"/>
                  </a:lnTo>
                  <a:lnTo>
                    <a:pt x="59" y="563"/>
                  </a:lnTo>
                  <a:lnTo>
                    <a:pt x="59" y="563"/>
                  </a:lnTo>
                  <a:lnTo>
                    <a:pt x="59" y="563"/>
                  </a:lnTo>
                  <a:lnTo>
                    <a:pt x="59" y="563"/>
                  </a:lnTo>
                  <a:close/>
                  <a:moveTo>
                    <a:pt x="1351" y="563"/>
                  </a:moveTo>
                  <a:lnTo>
                    <a:pt x="1351" y="563"/>
                  </a:lnTo>
                  <a:lnTo>
                    <a:pt x="1353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close/>
                  <a:moveTo>
                    <a:pt x="1351" y="563"/>
                  </a:move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close/>
                  <a:moveTo>
                    <a:pt x="63" y="558"/>
                  </a:move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60"/>
                  </a:lnTo>
                  <a:lnTo>
                    <a:pt x="61" y="560"/>
                  </a:lnTo>
                  <a:lnTo>
                    <a:pt x="61" y="560"/>
                  </a:lnTo>
                  <a:lnTo>
                    <a:pt x="59" y="560"/>
                  </a:lnTo>
                  <a:lnTo>
                    <a:pt x="59" y="560"/>
                  </a:lnTo>
                  <a:lnTo>
                    <a:pt x="54" y="563"/>
                  </a:lnTo>
                  <a:lnTo>
                    <a:pt x="54" y="563"/>
                  </a:lnTo>
                  <a:lnTo>
                    <a:pt x="57" y="563"/>
                  </a:lnTo>
                  <a:lnTo>
                    <a:pt x="57" y="563"/>
                  </a:lnTo>
                  <a:lnTo>
                    <a:pt x="57" y="563"/>
                  </a:lnTo>
                  <a:lnTo>
                    <a:pt x="57" y="560"/>
                  </a:lnTo>
                  <a:lnTo>
                    <a:pt x="57" y="560"/>
                  </a:lnTo>
                  <a:lnTo>
                    <a:pt x="57" y="560"/>
                  </a:lnTo>
                  <a:lnTo>
                    <a:pt x="59" y="560"/>
                  </a:lnTo>
                  <a:lnTo>
                    <a:pt x="59" y="560"/>
                  </a:lnTo>
                  <a:lnTo>
                    <a:pt x="59" y="560"/>
                  </a:lnTo>
                  <a:lnTo>
                    <a:pt x="59" y="558"/>
                  </a:lnTo>
                  <a:lnTo>
                    <a:pt x="59" y="558"/>
                  </a:lnTo>
                  <a:lnTo>
                    <a:pt x="59" y="558"/>
                  </a:lnTo>
                  <a:lnTo>
                    <a:pt x="59" y="558"/>
                  </a:lnTo>
                  <a:lnTo>
                    <a:pt x="59" y="558"/>
                  </a:lnTo>
                  <a:lnTo>
                    <a:pt x="59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1" y="558"/>
                  </a:lnTo>
                  <a:lnTo>
                    <a:pt x="63" y="558"/>
                  </a:lnTo>
                  <a:lnTo>
                    <a:pt x="63" y="558"/>
                  </a:lnTo>
                  <a:close/>
                  <a:moveTo>
                    <a:pt x="70" y="556"/>
                  </a:moveTo>
                  <a:lnTo>
                    <a:pt x="70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68" y="556"/>
                  </a:lnTo>
                  <a:lnTo>
                    <a:pt x="70" y="554"/>
                  </a:lnTo>
                  <a:lnTo>
                    <a:pt x="70" y="554"/>
                  </a:lnTo>
                  <a:lnTo>
                    <a:pt x="70" y="554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0" y="556"/>
                  </a:lnTo>
                  <a:close/>
                  <a:moveTo>
                    <a:pt x="75" y="556"/>
                  </a:move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5" y="554"/>
                  </a:lnTo>
                  <a:lnTo>
                    <a:pt x="75" y="554"/>
                  </a:lnTo>
                  <a:lnTo>
                    <a:pt x="75" y="554"/>
                  </a:lnTo>
                  <a:lnTo>
                    <a:pt x="75" y="554"/>
                  </a:lnTo>
                  <a:lnTo>
                    <a:pt x="75" y="556"/>
                  </a:lnTo>
                  <a:close/>
                  <a:moveTo>
                    <a:pt x="1346" y="554"/>
                  </a:moveTo>
                  <a:lnTo>
                    <a:pt x="1346" y="554"/>
                  </a:lnTo>
                  <a:lnTo>
                    <a:pt x="1346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8" y="554"/>
                  </a:lnTo>
                  <a:lnTo>
                    <a:pt x="1346" y="554"/>
                  </a:lnTo>
                  <a:lnTo>
                    <a:pt x="1346" y="556"/>
                  </a:lnTo>
                  <a:lnTo>
                    <a:pt x="1346" y="554"/>
                  </a:lnTo>
                  <a:lnTo>
                    <a:pt x="1346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2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4"/>
                  </a:lnTo>
                  <a:lnTo>
                    <a:pt x="1344" y="551"/>
                  </a:lnTo>
                  <a:lnTo>
                    <a:pt x="1344" y="551"/>
                  </a:lnTo>
                  <a:lnTo>
                    <a:pt x="1344" y="551"/>
                  </a:lnTo>
                  <a:lnTo>
                    <a:pt x="1346" y="551"/>
                  </a:lnTo>
                  <a:lnTo>
                    <a:pt x="1346" y="551"/>
                  </a:lnTo>
                  <a:lnTo>
                    <a:pt x="1346" y="551"/>
                  </a:lnTo>
                  <a:lnTo>
                    <a:pt x="1346" y="551"/>
                  </a:lnTo>
                  <a:lnTo>
                    <a:pt x="1346" y="551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lnTo>
                    <a:pt x="1346" y="554"/>
                  </a:lnTo>
                  <a:close/>
                  <a:moveTo>
                    <a:pt x="72" y="556"/>
                  </a:moveTo>
                  <a:lnTo>
                    <a:pt x="70" y="556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0" y="556"/>
                  </a:lnTo>
                  <a:lnTo>
                    <a:pt x="70" y="554"/>
                  </a:lnTo>
                  <a:lnTo>
                    <a:pt x="72" y="554"/>
                  </a:lnTo>
                  <a:lnTo>
                    <a:pt x="72" y="554"/>
                  </a:lnTo>
                  <a:lnTo>
                    <a:pt x="72" y="554"/>
                  </a:lnTo>
                  <a:lnTo>
                    <a:pt x="77" y="551"/>
                  </a:lnTo>
                  <a:lnTo>
                    <a:pt x="79" y="549"/>
                  </a:lnTo>
                  <a:lnTo>
                    <a:pt x="79" y="549"/>
                  </a:lnTo>
                  <a:lnTo>
                    <a:pt x="79" y="549"/>
                  </a:lnTo>
                  <a:lnTo>
                    <a:pt x="79" y="551"/>
                  </a:lnTo>
                  <a:lnTo>
                    <a:pt x="79" y="551"/>
                  </a:lnTo>
                  <a:lnTo>
                    <a:pt x="79" y="551"/>
                  </a:lnTo>
                  <a:lnTo>
                    <a:pt x="79" y="551"/>
                  </a:lnTo>
                  <a:lnTo>
                    <a:pt x="77" y="551"/>
                  </a:lnTo>
                  <a:lnTo>
                    <a:pt x="77" y="551"/>
                  </a:lnTo>
                  <a:lnTo>
                    <a:pt x="77" y="554"/>
                  </a:lnTo>
                  <a:lnTo>
                    <a:pt x="75" y="554"/>
                  </a:lnTo>
                  <a:lnTo>
                    <a:pt x="75" y="554"/>
                  </a:lnTo>
                  <a:lnTo>
                    <a:pt x="75" y="554"/>
                  </a:lnTo>
                  <a:lnTo>
                    <a:pt x="72" y="554"/>
                  </a:lnTo>
                  <a:lnTo>
                    <a:pt x="72" y="556"/>
                  </a:lnTo>
                  <a:lnTo>
                    <a:pt x="72" y="556"/>
                  </a:lnTo>
                  <a:close/>
                  <a:moveTo>
                    <a:pt x="1306" y="529"/>
                  </a:moveTo>
                  <a:lnTo>
                    <a:pt x="1306" y="529"/>
                  </a:lnTo>
                  <a:lnTo>
                    <a:pt x="1306" y="529"/>
                  </a:lnTo>
                  <a:lnTo>
                    <a:pt x="1306" y="529"/>
                  </a:lnTo>
                  <a:lnTo>
                    <a:pt x="1306" y="529"/>
                  </a:lnTo>
                  <a:lnTo>
                    <a:pt x="1306" y="529"/>
                  </a:lnTo>
                  <a:lnTo>
                    <a:pt x="1306" y="529"/>
                  </a:lnTo>
                  <a:lnTo>
                    <a:pt x="1308" y="529"/>
                  </a:lnTo>
                  <a:lnTo>
                    <a:pt x="1308" y="529"/>
                  </a:lnTo>
                  <a:lnTo>
                    <a:pt x="1306" y="529"/>
                  </a:lnTo>
                  <a:lnTo>
                    <a:pt x="1306" y="531"/>
                  </a:lnTo>
                  <a:lnTo>
                    <a:pt x="1303" y="531"/>
                  </a:lnTo>
                  <a:lnTo>
                    <a:pt x="1303" y="531"/>
                  </a:lnTo>
                  <a:lnTo>
                    <a:pt x="1303" y="531"/>
                  </a:lnTo>
                  <a:lnTo>
                    <a:pt x="1303" y="531"/>
                  </a:lnTo>
                  <a:lnTo>
                    <a:pt x="1303" y="531"/>
                  </a:lnTo>
                  <a:lnTo>
                    <a:pt x="1306" y="531"/>
                  </a:lnTo>
                  <a:lnTo>
                    <a:pt x="1306" y="531"/>
                  </a:lnTo>
                  <a:lnTo>
                    <a:pt x="1303" y="529"/>
                  </a:lnTo>
                  <a:lnTo>
                    <a:pt x="1303" y="529"/>
                  </a:lnTo>
                  <a:lnTo>
                    <a:pt x="1303" y="529"/>
                  </a:lnTo>
                  <a:lnTo>
                    <a:pt x="1303" y="529"/>
                  </a:lnTo>
                  <a:lnTo>
                    <a:pt x="1303" y="529"/>
                  </a:lnTo>
                  <a:lnTo>
                    <a:pt x="1303" y="529"/>
                  </a:lnTo>
                  <a:lnTo>
                    <a:pt x="1306" y="529"/>
                  </a:lnTo>
                  <a:lnTo>
                    <a:pt x="1306" y="529"/>
                  </a:lnTo>
                  <a:close/>
                  <a:moveTo>
                    <a:pt x="1294" y="527"/>
                  </a:moveTo>
                  <a:lnTo>
                    <a:pt x="1297" y="529"/>
                  </a:lnTo>
                  <a:lnTo>
                    <a:pt x="1297" y="529"/>
                  </a:lnTo>
                  <a:lnTo>
                    <a:pt x="1297" y="529"/>
                  </a:lnTo>
                  <a:lnTo>
                    <a:pt x="1297" y="529"/>
                  </a:lnTo>
                  <a:lnTo>
                    <a:pt x="1297" y="529"/>
                  </a:lnTo>
                  <a:lnTo>
                    <a:pt x="1294" y="529"/>
                  </a:lnTo>
                  <a:lnTo>
                    <a:pt x="1294" y="529"/>
                  </a:lnTo>
                  <a:lnTo>
                    <a:pt x="1294" y="529"/>
                  </a:lnTo>
                  <a:lnTo>
                    <a:pt x="1294" y="529"/>
                  </a:lnTo>
                  <a:lnTo>
                    <a:pt x="1294" y="527"/>
                  </a:lnTo>
                  <a:lnTo>
                    <a:pt x="1294" y="527"/>
                  </a:lnTo>
                  <a:close/>
                  <a:moveTo>
                    <a:pt x="1294" y="527"/>
                  </a:moveTo>
                  <a:lnTo>
                    <a:pt x="1294" y="527"/>
                  </a:lnTo>
                  <a:lnTo>
                    <a:pt x="1294" y="527"/>
                  </a:lnTo>
                  <a:lnTo>
                    <a:pt x="1294" y="527"/>
                  </a:lnTo>
                  <a:close/>
                  <a:moveTo>
                    <a:pt x="1303" y="524"/>
                  </a:moveTo>
                  <a:lnTo>
                    <a:pt x="1303" y="524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303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4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301" y="527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7"/>
                  </a:lnTo>
                  <a:lnTo>
                    <a:pt x="1301" y="527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1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lnTo>
                    <a:pt x="1303" y="524"/>
                  </a:lnTo>
                  <a:close/>
                  <a:moveTo>
                    <a:pt x="1292" y="518"/>
                  </a:moveTo>
                  <a:lnTo>
                    <a:pt x="1297" y="520"/>
                  </a:lnTo>
                  <a:lnTo>
                    <a:pt x="1297" y="520"/>
                  </a:lnTo>
                  <a:lnTo>
                    <a:pt x="1297" y="520"/>
                  </a:lnTo>
                  <a:lnTo>
                    <a:pt x="1297" y="520"/>
                  </a:lnTo>
                  <a:lnTo>
                    <a:pt x="1297" y="518"/>
                  </a:lnTo>
                  <a:lnTo>
                    <a:pt x="1299" y="518"/>
                  </a:lnTo>
                  <a:lnTo>
                    <a:pt x="1299" y="520"/>
                  </a:lnTo>
                  <a:lnTo>
                    <a:pt x="1299" y="518"/>
                  </a:lnTo>
                  <a:lnTo>
                    <a:pt x="1299" y="520"/>
                  </a:lnTo>
                  <a:lnTo>
                    <a:pt x="1299" y="520"/>
                  </a:lnTo>
                  <a:lnTo>
                    <a:pt x="1299" y="520"/>
                  </a:lnTo>
                  <a:lnTo>
                    <a:pt x="1299" y="520"/>
                  </a:lnTo>
                  <a:lnTo>
                    <a:pt x="1299" y="520"/>
                  </a:lnTo>
                  <a:lnTo>
                    <a:pt x="1297" y="520"/>
                  </a:lnTo>
                  <a:lnTo>
                    <a:pt x="1297" y="520"/>
                  </a:lnTo>
                  <a:lnTo>
                    <a:pt x="1299" y="520"/>
                  </a:lnTo>
                  <a:lnTo>
                    <a:pt x="1299" y="520"/>
                  </a:lnTo>
                  <a:lnTo>
                    <a:pt x="1299" y="520"/>
                  </a:lnTo>
                  <a:lnTo>
                    <a:pt x="1297" y="520"/>
                  </a:lnTo>
                  <a:lnTo>
                    <a:pt x="1297" y="520"/>
                  </a:lnTo>
                  <a:lnTo>
                    <a:pt x="1297" y="520"/>
                  </a:lnTo>
                  <a:lnTo>
                    <a:pt x="1294" y="520"/>
                  </a:lnTo>
                  <a:lnTo>
                    <a:pt x="1294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18"/>
                  </a:lnTo>
                  <a:lnTo>
                    <a:pt x="1292" y="518"/>
                  </a:lnTo>
                  <a:lnTo>
                    <a:pt x="1292" y="518"/>
                  </a:lnTo>
                  <a:lnTo>
                    <a:pt x="1292" y="518"/>
                  </a:lnTo>
                  <a:close/>
                  <a:moveTo>
                    <a:pt x="1301" y="515"/>
                  </a:moveTo>
                  <a:lnTo>
                    <a:pt x="1301" y="515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1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303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7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9" y="518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9" y="515"/>
                  </a:lnTo>
                  <a:lnTo>
                    <a:pt x="1299" y="515"/>
                  </a:lnTo>
                  <a:lnTo>
                    <a:pt x="1299" y="515"/>
                  </a:lnTo>
                  <a:lnTo>
                    <a:pt x="1299" y="515"/>
                  </a:lnTo>
                  <a:lnTo>
                    <a:pt x="1301" y="515"/>
                  </a:lnTo>
                  <a:lnTo>
                    <a:pt x="1301" y="515"/>
                  </a:lnTo>
                  <a:lnTo>
                    <a:pt x="1301" y="515"/>
                  </a:lnTo>
                  <a:close/>
                  <a:moveTo>
                    <a:pt x="1308" y="513"/>
                  </a:moveTo>
                  <a:lnTo>
                    <a:pt x="1308" y="513"/>
                  </a:lnTo>
                  <a:lnTo>
                    <a:pt x="1308" y="513"/>
                  </a:lnTo>
                  <a:lnTo>
                    <a:pt x="1308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8" y="513"/>
                  </a:lnTo>
                  <a:lnTo>
                    <a:pt x="1308" y="513"/>
                  </a:lnTo>
                  <a:lnTo>
                    <a:pt x="1308" y="513"/>
                  </a:lnTo>
                  <a:lnTo>
                    <a:pt x="1308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5"/>
                  </a:lnTo>
                  <a:lnTo>
                    <a:pt x="1303" y="515"/>
                  </a:lnTo>
                  <a:lnTo>
                    <a:pt x="1303" y="515"/>
                  </a:lnTo>
                  <a:lnTo>
                    <a:pt x="1303" y="515"/>
                  </a:lnTo>
                  <a:lnTo>
                    <a:pt x="1303" y="513"/>
                  </a:lnTo>
                  <a:lnTo>
                    <a:pt x="1303" y="513"/>
                  </a:lnTo>
                  <a:lnTo>
                    <a:pt x="1303" y="513"/>
                  </a:lnTo>
                  <a:lnTo>
                    <a:pt x="1303" y="513"/>
                  </a:lnTo>
                  <a:lnTo>
                    <a:pt x="1303" y="513"/>
                  </a:lnTo>
                  <a:lnTo>
                    <a:pt x="1303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6" y="513"/>
                  </a:lnTo>
                  <a:lnTo>
                    <a:pt x="1308" y="513"/>
                  </a:lnTo>
                  <a:lnTo>
                    <a:pt x="1308" y="513"/>
                  </a:lnTo>
                  <a:lnTo>
                    <a:pt x="1308" y="513"/>
                  </a:lnTo>
                  <a:close/>
                  <a:moveTo>
                    <a:pt x="1303" y="506"/>
                  </a:move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1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3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11"/>
                  </a:lnTo>
                  <a:lnTo>
                    <a:pt x="1301" y="511"/>
                  </a:lnTo>
                  <a:lnTo>
                    <a:pt x="1301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301" y="511"/>
                  </a:lnTo>
                  <a:lnTo>
                    <a:pt x="1301" y="511"/>
                  </a:lnTo>
                  <a:lnTo>
                    <a:pt x="1301" y="511"/>
                  </a:lnTo>
                  <a:lnTo>
                    <a:pt x="1301" y="511"/>
                  </a:lnTo>
                  <a:lnTo>
                    <a:pt x="1301" y="511"/>
                  </a:lnTo>
                  <a:lnTo>
                    <a:pt x="1303" y="511"/>
                  </a:lnTo>
                  <a:lnTo>
                    <a:pt x="1303" y="511"/>
                  </a:lnTo>
                  <a:lnTo>
                    <a:pt x="1303" y="511"/>
                  </a:lnTo>
                  <a:lnTo>
                    <a:pt x="1303" y="511"/>
                  </a:lnTo>
                  <a:lnTo>
                    <a:pt x="1303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301" y="513"/>
                  </a:lnTo>
                  <a:lnTo>
                    <a:pt x="1299" y="513"/>
                  </a:lnTo>
                  <a:lnTo>
                    <a:pt x="1299" y="513"/>
                  </a:lnTo>
                  <a:lnTo>
                    <a:pt x="1299" y="513"/>
                  </a:lnTo>
                  <a:lnTo>
                    <a:pt x="1299" y="513"/>
                  </a:lnTo>
                  <a:lnTo>
                    <a:pt x="1299" y="513"/>
                  </a:lnTo>
                  <a:lnTo>
                    <a:pt x="1299" y="513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301" y="506"/>
                  </a:lnTo>
                  <a:lnTo>
                    <a:pt x="1301" y="506"/>
                  </a:lnTo>
                  <a:lnTo>
                    <a:pt x="1301" y="506"/>
                  </a:lnTo>
                  <a:lnTo>
                    <a:pt x="1301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close/>
                  <a:moveTo>
                    <a:pt x="1297" y="495"/>
                  </a:moveTo>
                  <a:lnTo>
                    <a:pt x="1297" y="495"/>
                  </a:lnTo>
                  <a:lnTo>
                    <a:pt x="1297" y="495"/>
                  </a:lnTo>
                  <a:lnTo>
                    <a:pt x="1297" y="495"/>
                  </a:lnTo>
                  <a:close/>
                  <a:moveTo>
                    <a:pt x="1306" y="495"/>
                  </a:moveTo>
                  <a:lnTo>
                    <a:pt x="1306" y="495"/>
                  </a:lnTo>
                  <a:lnTo>
                    <a:pt x="1306" y="495"/>
                  </a:lnTo>
                  <a:lnTo>
                    <a:pt x="1306" y="495"/>
                  </a:lnTo>
                  <a:lnTo>
                    <a:pt x="1306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6" y="495"/>
                  </a:lnTo>
                  <a:lnTo>
                    <a:pt x="1306" y="495"/>
                  </a:lnTo>
                  <a:lnTo>
                    <a:pt x="1303" y="497"/>
                  </a:lnTo>
                  <a:lnTo>
                    <a:pt x="1303" y="497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3" y="493"/>
                  </a:lnTo>
                  <a:lnTo>
                    <a:pt x="1303" y="493"/>
                  </a:lnTo>
                  <a:lnTo>
                    <a:pt x="1303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6" y="495"/>
                  </a:lnTo>
                  <a:lnTo>
                    <a:pt x="1306" y="495"/>
                  </a:lnTo>
                  <a:lnTo>
                    <a:pt x="1306" y="495"/>
                  </a:lnTo>
                  <a:lnTo>
                    <a:pt x="1303" y="495"/>
                  </a:lnTo>
                  <a:lnTo>
                    <a:pt x="1303" y="495"/>
                  </a:lnTo>
                  <a:lnTo>
                    <a:pt x="1306" y="495"/>
                  </a:lnTo>
                  <a:close/>
                  <a:moveTo>
                    <a:pt x="1301" y="493"/>
                  </a:moveTo>
                  <a:lnTo>
                    <a:pt x="1301" y="493"/>
                  </a:lnTo>
                  <a:lnTo>
                    <a:pt x="1303" y="493"/>
                  </a:lnTo>
                  <a:lnTo>
                    <a:pt x="1303" y="493"/>
                  </a:lnTo>
                  <a:lnTo>
                    <a:pt x="1303" y="493"/>
                  </a:lnTo>
                  <a:lnTo>
                    <a:pt x="1303" y="495"/>
                  </a:lnTo>
                  <a:lnTo>
                    <a:pt x="1301" y="495"/>
                  </a:lnTo>
                  <a:lnTo>
                    <a:pt x="1301" y="495"/>
                  </a:lnTo>
                  <a:lnTo>
                    <a:pt x="1299" y="495"/>
                  </a:lnTo>
                  <a:lnTo>
                    <a:pt x="1299" y="495"/>
                  </a:lnTo>
                  <a:lnTo>
                    <a:pt x="1299" y="495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lnTo>
                    <a:pt x="1301" y="493"/>
                  </a:lnTo>
                  <a:close/>
                  <a:moveTo>
                    <a:pt x="1306" y="486"/>
                  </a:moveTo>
                  <a:lnTo>
                    <a:pt x="1308" y="486"/>
                  </a:lnTo>
                  <a:lnTo>
                    <a:pt x="1308" y="486"/>
                  </a:lnTo>
                  <a:lnTo>
                    <a:pt x="1308" y="486"/>
                  </a:lnTo>
                  <a:lnTo>
                    <a:pt x="1308" y="486"/>
                  </a:lnTo>
                  <a:lnTo>
                    <a:pt x="1308" y="486"/>
                  </a:lnTo>
                  <a:lnTo>
                    <a:pt x="1308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8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91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6" y="488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6" y="486"/>
                  </a:lnTo>
                  <a:lnTo>
                    <a:pt x="1306" y="486"/>
                  </a:lnTo>
                  <a:lnTo>
                    <a:pt x="1306" y="486"/>
                  </a:lnTo>
                  <a:lnTo>
                    <a:pt x="1306" y="486"/>
                  </a:lnTo>
                  <a:close/>
                  <a:moveTo>
                    <a:pt x="1303" y="486"/>
                  </a:moveTo>
                  <a:lnTo>
                    <a:pt x="1303" y="486"/>
                  </a:lnTo>
                  <a:lnTo>
                    <a:pt x="1306" y="486"/>
                  </a:lnTo>
                  <a:lnTo>
                    <a:pt x="1306" y="486"/>
                  </a:lnTo>
                  <a:lnTo>
                    <a:pt x="1303" y="486"/>
                  </a:lnTo>
                  <a:lnTo>
                    <a:pt x="1303" y="486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3" y="488"/>
                  </a:lnTo>
                  <a:lnTo>
                    <a:pt x="1301" y="488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8"/>
                  </a:lnTo>
                  <a:lnTo>
                    <a:pt x="1301" y="488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3" y="486"/>
                  </a:lnTo>
                  <a:lnTo>
                    <a:pt x="1303" y="486"/>
                  </a:lnTo>
                  <a:lnTo>
                    <a:pt x="1303" y="486"/>
                  </a:lnTo>
                  <a:lnTo>
                    <a:pt x="1303" y="486"/>
                  </a:lnTo>
                  <a:lnTo>
                    <a:pt x="1303" y="486"/>
                  </a:lnTo>
                  <a:close/>
                  <a:moveTo>
                    <a:pt x="1292" y="477"/>
                  </a:moveTo>
                  <a:lnTo>
                    <a:pt x="1292" y="477"/>
                  </a:lnTo>
                  <a:lnTo>
                    <a:pt x="1292" y="477"/>
                  </a:lnTo>
                  <a:lnTo>
                    <a:pt x="1292" y="477"/>
                  </a:lnTo>
                  <a:close/>
                  <a:moveTo>
                    <a:pt x="1193" y="457"/>
                  </a:move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59"/>
                  </a:lnTo>
                  <a:lnTo>
                    <a:pt x="1193" y="461"/>
                  </a:lnTo>
                  <a:lnTo>
                    <a:pt x="1193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91" y="461"/>
                  </a:lnTo>
                  <a:lnTo>
                    <a:pt x="1191" y="461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7"/>
                  </a:lnTo>
                  <a:lnTo>
                    <a:pt x="1193" y="457"/>
                  </a:lnTo>
                  <a:lnTo>
                    <a:pt x="1193" y="457"/>
                  </a:lnTo>
                  <a:close/>
                  <a:moveTo>
                    <a:pt x="1256" y="455"/>
                  </a:moveTo>
                  <a:lnTo>
                    <a:pt x="1254" y="455"/>
                  </a:lnTo>
                  <a:lnTo>
                    <a:pt x="1256" y="455"/>
                  </a:lnTo>
                  <a:lnTo>
                    <a:pt x="1256" y="455"/>
                  </a:lnTo>
                  <a:close/>
                  <a:moveTo>
                    <a:pt x="1288" y="443"/>
                  </a:moveTo>
                  <a:lnTo>
                    <a:pt x="1288" y="446"/>
                  </a:lnTo>
                  <a:lnTo>
                    <a:pt x="1288" y="446"/>
                  </a:lnTo>
                  <a:lnTo>
                    <a:pt x="1288" y="446"/>
                  </a:lnTo>
                  <a:lnTo>
                    <a:pt x="1288" y="446"/>
                  </a:lnTo>
                  <a:lnTo>
                    <a:pt x="1285" y="446"/>
                  </a:lnTo>
                  <a:lnTo>
                    <a:pt x="1285" y="446"/>
                  </a:lnTo>
                  <a:lnTo>
                    <a:pt x="1285" y="446"/>
                  </a:lnTo>
                  <a:lnTo>
                    <a:pt x="1285" y="446"/>
                  </a:lnTo>
                  <a:lnTo>
                    <a:pt x="1285" y="446"/>
                  </a:lnTo>
                  <a:lnTo>
                    <a:pt x="1283" y="446"/>
                  </a:lnTo>
                  <a:lnTo>
                    <a:pt x="1285" y="446"/>
                  </a:lnTo>
                  <a:lnTo>
                    <a:pt x="1285" y="446"/>
                  </a:lnTo>
                  <a:lnTo>
                    <a:pt x="1285" y="446"/>
                  </a:lnTo>
                  <a:lnTo>
                    <a:pt x="1283" y="446"/>
                  </a:lnTo>
                  <a:lnTo>
                    <a:pt x="1283" y="446"/>
                  </a:lnTo>
                  <a:lnTo>
                    <a:pt x="1283" y="446"/>
                  </a:lnTo>
                  <a:lnTo>
                    <a:pt x="1283" y="446"/>
                  </a:lnTo>
                  <a:lnTo>
                    <a:pt x="1283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6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8" y="443"/>
                  </a:lnTo>
                  <a:lnTo>
                    <a:pt x="1288" y="441"/>
                  </a:lnTo>
                  <a:lnTo>
                    <a:pt x="1288" y="443"/>
                  </a:lnTo>
                  <a:lnTo>
                    <a:pt x="1288" y="443"/>
                  </a:lnTo>
                  <a:lnTo>
                    <a:pt x="1288" y="443"/>
                  </a:lnTo>
                  <a:lnTo>
                    <a:pt x="1288" y="443"/>
                  </a:lnTo>
                  <a:lnTo>
                    <a:pt x="1288" y="443"/>
                  </a:lnTo>
                  <a:lnTo>
                    <a:pt x="1288" y="443"/>
                  </a:lnTo>
                  <a:lnTo>
                    <a:pt x="1285" y="443"/>
                  </a:lnTo>
                  <a:lnTo>
                    <a:pt x="1288" y="443"/>
                  </a:lnTo>
                  <a:lnTo>
                    <a:pt x="1288" y="443"/>
                  </a:lnTo>
                  <a:close/>
                  <a:moveTo>
                    <a:pt x="1283" y="430"/>
                  </a:moveTo>
                  <a:lnTo>
                    <a:pt x="1285" y="430"/>
                  </a:lnTo>
                  <a:lnTo>
                    <a:pt x="1285" y="430"/>
                  </a:lnTo>
                  <a:lnTo>
                    <a:pt x="1283" y="430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0"/>
                  </a:lnTo>
                  <a:lnTo>
                    <a:pt x="1285" y="430"/>
                  </a:lnTo>
                  <a:lnTo>
                    <a:pt x="1288" y="430"/>
                  </a:lnTo>
                  <a:lnTo>
                    <a:pt x="1288" y="430"/>
                  </a:lnTo>
                  <a:lnTo>
                    <a:pt x="1288" y="430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3" y="432"/>
                  </a:lnTo>
                  <a:lnTo>
                    <a:pt x="1283" y="432"/>
                  </a:lnTo>
                  <a:lnTo>
                    <a:pt x="1283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0"/>
                  </a:lnTo>
                  <a:lnTo>
                    <a:pt x="1281" y="430"/>
                  </a:lnTo>
                  <a:lnTo>
                    <a:pt x="1281" y="430"/>
                  </a:lnTo>
                  <a:lnTo>
                    <a:pt x="1281" y="428"/>
                  </a:lnTo>
                  <a:lnTo>
                    <a:pt x="1281" y="428"/>
                  </a:lnTo>
                  <a:lnTo>
                    <a:pt x="1283" y="430"/>
                  </a:lnTo>
                  <a:lnTo>
                    <a:pt x="1283" y="430"/>
                  </a:lnTo>
                  <a:lnTo>
                    <a:pt x="1283" y="428"/>
                  </a:lnTo>
                  <a:lnTo>
                    <a:pt x="1283" y="428"/>
                  </a:lnTo>
                  <a:lnTo>
                    <a:pt x="1283" y="430"/>
                  </a:lnTo>
                  <a:close/>
                  <a:moveTo>
                    <a:pt x="1229" y="428"/>
                  </a:moveTo>
                  <a:lnTo>
                    <a:pt x="1229" y="428"/>
                  </a:lnTo>
                  <a:lnTo>
                    <a:pt x="1229" y="428"/>
                  </a:lnTo>
                  <a:lnTo>
                    <a:pt x="1229" y="428"/>
                  </a:lnTo>
                  <a:lnTo>
                    <a:pt x="1229" y="428"/>
                  </a:lnTo>
                  <a:lnTo>
                    <a:pt x="1229" y="428"/>
                  </a:lnTo>
                  <a:lnTo>
                    <a:pt x="1229" y="428"/>
                  </a:lnTo>
                  <a:lnTo>
                    <a:pt x="1232" y="430"/>
                  </a:lnTo>
                  <a:lnTo>
                    <a:pt x="1232" y="430"/>
                  </a:lnTo>
                  <a:lnTo>
                    <a:pt x="1229" y="430"/>
                  </a:lnTo>
                  <a:lnTo>
                    <a:pt x="1227" y="432"/>
                  </a:lnTo>
                  <a:lnTo>
                    <a:pt x="1227" y="432"/>
                  </a:lnTo>
                  <a:lnTo>
                    <a:pt x="1225" y="432"/>
                  </a:lnTo>
                  <a:lnTo>
                    <a:pt x="1223" y="434"/>
                  </a:lnTo>
                  <a:lnTo>
                    <a:pt x="1220" y="434"/>
                  </a:lnTo>
                  <a:lnTo>
                    <a:pt x="1220" y="434"/>
                  </a:lnTo>
                  <a:lnTo>
                    <a:pt x="1220" y="434"/>
                  </a:lnTo>
                  <a:lnTo>
                    <a:pt x="1218" y="434"/>
                  </a:lnTo>
                  <a:lnTo>
                    <a:pt x="1218" y="434"/>
                  </a:lnTo>
                  <a:lnTo>
                    <a:pt x="1220" y="432"/>
                  </a:lnTo>
                  <a:lnTo>
                    <a:pt x="1223" y="430"/>
                  </a:lnTo>
                  <a:lnTo>
                    <a:pt x="1223" y="430"/>
                  </a:lnTo>
                  <a:lnTo>
                    <a:pt x="1223" y="430"/>
                  </a:lnTo>
                  <a:lnTo>
                    <a:pt x="1225" y="430"/>
                  </a:lnTo>
                  <a:lnTo>
                    <a:pt x="1225" y="428"/>
                  </a:lnTo>
                  <a:lnTo>
                    <a:pt x="1227" y="428"/>
                  </a:lnTo>
                  <a:lnTo>
                    <a:pt x="1227" y="425"/>
                  </a:lnTo>
                  <a:lnTo>
                    <a:pt x="1227" y="425"/>
                  </a:lnTo>
                  <a:lnTo>
                    <a:pt x="1229" y="428"/>
                  </a:lnTo>
                  <a:close/>
                  <a:moveTo>
                    <a:pt x="1285" y="425"/>
                  </a:moveTo>
                  <a:lnTo>
                    <a:pt x="1283" y="428"/>
                  </a:lnTo>
                  <a:lnTo>
                    <a:pt x="1283" y="425"/>
                  </a:lnTo>
                  <a:lnTo>
                    <a:pt x="1283" y="425"/>
                  </a:lnTo>
                  <a:lnTo>
                    <a:pt x="1283" y="425"/>
                  </a:lnTo>
                  <a:lnTo>
                    <a:pt x="1285" y="425"/>
                  </a:lnTo>
                  <a:lnTo>
                    <a:pt x="1285" y="425"/>
                  </a:lnTo>
                  <a:lnTo>
                    <a:pt x="1285" y="425"/>
                  </a:lnTo>
                  <a:lnTo>
                    <a:pt x="1288" y="425"/>
                  </a:lnTo>
                  <a:lnTo>
                    <a:pt x="1288" y="425"/>
                  </a:lnTo>
                  <a:lnTo>
                    <a:pt x="1288" y="425"/>
                  </a:lnTo>
                  <a:lnTo>
                    <a:pt x="1288" y="425"/>
                  </a:lnTo>
                  <a:lnTo>
                    <a:pt x="1288" y="425"/>
                  </a:lnTo>
                  <a:lnTo>
                    <a:pt x="1285" y="425"/>
                  </a:lnTo>
                  <a:lnTo>
                    <a:pt x="1285" y="425"/>
                  </a:lnTo>
                  <a:lnTo>
                    <a:pt x="1285" y="425"/>
                  </a:lnTo>
                  <a:lnTo>
                    <a:pt x="1285" y="425"/>
                  </a:lnTo>
                  <a:close/>
                  <a:moveTo>
                    <a:pt x="1061" y="421"/>
                  </a:moveTo>
                  <a:lnTo>
                    <a:pt x="1061" y="421"/>
                  </a:lnTo>
                  <a:lnTo>
                    <a:pt x="1061" y="421"/>
                  </a:lnTo>
                  <a:lnTo>
                    <a:pt x="1061" y="421"/>
                  </a:lnTo>
                  <a:lnTo>
                    <a:pt x="1061" y="421"/>
                  </a:lnTo>
                  <a:lnTo>
                    <a:pt x="1059" y="423"/>
                  </a:lnTo>
                  <a:lnTo>
                    <a:pt x="1059" y="423"/>
                  </a:lnTo>
                  <a:lnTo>
                    <a:pt x="1061" y="423"/>
                  </a:lnTo>
                  <a:lnTo>
                    <a:pt x="1061" y="423"/>
                  </a:lnTo>
                  <a:lnTo>
                    <a:pt x="1059" y="423"/>
                  </a:lnTo>
                  <a:lnTo>
                    <a:pt x="1056" y="423"/>
                  </a:lnTo>
                  <a:lnTo>
                    <a:pt x="1054" y="423"/>
                  </a:lnTo>
                  <a:lnTo>
                    <a:pt x="1052" y="423"/>
                  </a:lnTo>
                  <a:lnTo>
                    <a:pt x="1052" y="423"/>
                  </a:lnTo>
                  <a:lnTo>
                    <a:pt x="1052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61" y="421"/>
                  </a:lnTo>
                  <a:lnTo>
                    <a:pt x="1061" y="421"/>
                  </a:lnTo>
                  <a:lnTo>
                    <a:pt x="1061" y="421"/>
                  </a:lnTo>
                  <a:lnTo>
                    <a:pt x="1061" y="421"/>
                  </a:lnTo>
                  <a:lnTo>
                    <a:pt x="1061" y="421"/>
                  </a:lnTo>
                  <a:lnTo>
                    <a:pt x="1061" y="421"/>
                  </a:lnTo>
                  <a:close/>
                  <a:moveTo>
                    <a:pt x="1294" y="405"/>
                  </a:moveTo>
                  <a:lnTo>
                    <a:pt x="1294" y="405"/>
                  </a:lnTo>
                  <a:lnTo>
                    <a:pt x="1294" y="405"/>
                  </a:lnTo>
                  <a:lnTo>
                    <a:pt x="1294" y="403"/>
                  </a:lnTo>
                  <a:lnTo>
                    <a:pt x="1294" y="403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5"/>
                  </a:lnTo>
                  <a:lnTo>
                    <a:pt x="1294" y="407"/>
                  </a:lnTo>
                  <a:lnTo>
                    <a:pt x="1294" y="407"/>
                  </a:lnTo>
                  <a:lnTo>
                    <a:pt x="1294" y="407"/>
                  </a:lnTo>
                  <a:lnTo>
                    <a:pt x="1294" y="407"/>
                  </a:lnTo>
                  <a:lnTo>
                    <a:pt x="1294" y="407"/>
                  </a:lnTo>
                  <a:lnTo>
                    <a:pt x="1294" y="407"/>
                  </a:lnTo>
                  <a:lnTo>
                    <a:pt x="1292" y="407"/>
                  </a:lnTo>
                  <a:lnTo>
                    <a:pt x="1292" y="407"/>
                  </a:lnTo>
                  <a:lnTo>
                    <a:pt x="1292" y="407"/>
                  </a:lnTo>
                  <a:lnTo>
                    <a:pt x="1290" y="410"/>
                  </a:lnTo>
                  <a:lnTo>
                    <a:pt x="1290" y="410"/>
                  </a:lnTo>
                  <a:lnTo>
                    <a:pt x="1290" y="410"/>
                  </a:lnTo>
                  <a:lnTo>
                    <a:pt x="1290" y="410"/>
                  </a:lnTo>
                  <a:lnTo>
                    <a:pt x="1290" y="410"/>
                  </a:lnTo>
                  <a:lnTo>
                    <a:pt x="1290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88" y="410"/>
                  </a:lnTo>
                  <a:lnTo>
                    <a:pt x="1290" y="410"/>
                  </a:lnTo>
                  <a:lnTo>
                    <a:pt x="1288" y="410"/>
                  </a:lnTo>
                  <a:lnTo>
                    <a:pt x="1285" y="410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8" y="407"/>
                  </a:lnTo>
                  <a:lnTo>
                    <a:pt x="1288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5" y="407"/>
                  </a:lnTo>
                  <a:lnTo>
                    <a:pt x="1283" y="407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3" y="405"/>
                  </a:lnTo>
                  <a:lnTo>
                    <a:pt x="1281" y="405"/>
                  </a:lnTo>
                  <a:lnTo>
                    <a:pt x="1281" y="405"/>
                  </a:lnTo>
                  <a:lnTo>
                    <a:pt x="1281" y="405"/>
                  </a:lnTo>
                  <a:lnTo>
                    <a:pt x="1283" y="403"/>
                  </a:lnTo>
                  <a:lnTo>
                    <a:pt x="1283" y="403"/>
                  </a:lnTo>
                  <a:lnTo>
                    <a:pt x="1283" y="403"/>
                  </a:lnTo>
                  <a:lnTo>
                    <a:pt x="1290" y="403"/>
                  </a:lnTo>
                  <a:lnTo>
                    <a:pt x="1290" y="403"/>
                  </a:lnTo>
                  <a:lnTo>
                    <a:pt x="1290" y="403"/>
                  </a:lnTo>
                  <a:lnTo>
                    <a:pt x="1294" y="403"/>
                  </a:lnTo>
                  <a:lnTo>
                    <a:pt x="1294" y="403"/>
                  </a:lnTo>
                  <a:lnTo>
                    <a:pt x="1294" y="403"/>
                  </a:lnTo>
                  <a:lnTo>
                    <a:pt x="1294" y="405"/>
                  </a:lnTo>
                  <a:close/>
                  <a:moveTo>
                    <a:pt x="1279" y="401"/>
                  </a:moveTo>
                  <a:lnTo>
                    <a:pt x="1279" y="401"/>
                  </a:lnTo>
                  <a:lnTo>
                    <a:pt x="1279" y="401"/>
                  </a:lnTo>
                  <a:lnTo>
                    <a:pt x="1279" y="398"/>
                  </a:lnTo>
                  <a:lnTo>
                    <a:pt x="1281" y="398"/>
                  </a:lnTo>
                  <a:lnTo>
                    <a:pt x="1281" y="398"/>
                  </a:lnTo>
                  <a:lnTo>
                    <a:pt x="1281" y="401"/>
                  </a:lnTo>
                  <a:lnTo>
                    <a:pt x="1281" y="401"/>
                  </a:lnTo>
                  <a:lnTo>
                    <a:pt x="1281" y="401"/>
                  </a:lnTo>
                  <a:lnTo>
                    <a:pt x="1281" y="401"/>
                  </a:lnTo>
                  <a:lnTo>
                    <a:pt x="1281" y="401"/>
                  </a:lnTo>
                  <a:lnTo>
                    <a:pt x="1281" y="401"/>
                  </a:lnTo>
                  <a:lnTo>
                    <a:pt x="1279" y="401"/>
                  </a:lnTo>
                  <a:lnTo>
                    <a:pt x="1279" y="401"/>
                  </a:lnTo>
                  <a:lnTo>
                    <a:pt x="1279" y="401"/>
                  </a:lnTo>
                  <a:lnTo>
                    <a:pt x="1279" y="401"/>
                  </a:lnTo>
                  <a:lnTo>
                    <a:pt x="1279" y="401"/>
                  </a:lnTo>
                  <a:lnTo>
                    <a:pt x="1279" y="401"/>
                  </a:lnTo>
                  <a:lnTo>
                    <a:pt x="1277" y="401"/>
                  </a:lnTo>
                  <a:lnTo>
                    <a:pt x="1277" y="401"/>
                  </a:lnTo>
                  <a:lnTo>
                    <a:pt x="1277" y="401"/>
                  </a:lnTo>
                  <a:lnTo>
                    <a:pt x="1277" y="401"/>
                  </a:lnTo>
                  <a:lnTo>
                    <a:pt x="1277" y="401"/>
                  </a:lnTo>
                  <a:lnTo>
                    <a:pt x="1279" y="398"/>
                  </a:lnTo>
                  <a:lnTo>
                    <a:pt x="1279" y="398"/>
                  </a:lnTo>
                  <a:lnTo>
                    <a:pt x="1281" y="398"/>
                  </a:lnTo>
                  <a:lnTo>
                    <a:pt x="1279" y="398"/>
                  </a:lnTo>
                  <a:lnTo>
                    <a:pt x="1279" y="398"/>
                  </a:lnTo>
                  <a:lnTo>
                    <a:pt x="1279" y="401"/>
                  </a:lnTo>
                  <a:lnTo>
                    <a:pt x="1279" y="401"/>
                  </a:lnTo>
                  <a:close/>
                  <a:moveTo>
                    <a:pt x="1169" y="396"/>
                  </a:move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close/>
                  <a:moveTo>
                    <a:pt x="1292" y="398"/>
                  </a:moveTo>
                  <a:lnTo>
                    <a:pt x="1292" y="398"/>
                  </a:lnTo>
                  <a:lnTo>
                    <a:pt x="1292" y="398"/>
                  </a:lnTo>
                  <a:lnTo>
                    <a:pt x="1292" y="398"/>
                  </a:lnTo>
                  <a:lnTo>
                    <a:pt x="1292" y="398"/>
                  </a:lnTo>
                  <a:lnTo>
                    <a:pt x="1292" y="398"/>
                  </a:lnTo>
                  <a:lnTo>
                    <a:pt x="1292" y="398"/>
                  </a:lnTo>
                  <a:lnTo>
                    <a:pt x="1292" y="398"/>
                  </a:lnTo>
                  <a:lnTo>
                    <a:pt x="1292" y="401"/>
                  </a:lnTo>
                  <a:lnTo>
                    <a:pt x="1292" y="401"/>
                  </a:lnTo>
                  <a:lnTo>
                    <a:pt x="1292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4" y="401"/>
                  </a:lnTo>
                  <a:lnTo>
                    <a:pt x="1292" y="401"/>
                  </a:lnTo>
                  <a:lnTo>
                    <a:pt x="1292" y="403"/>
                  </a:lnTo>
                  <a:lnTo>
                    <a:pt x="1292" y="403"/>
                  </a:lnTo>
                  <a:lnTo>
                    <a:pt x="1292" y="403"/>
                  </a:lnTo>
                  <a:lnTo>
                    <a:pt x="1290" y="401"/>
                  </a:lnTo>
                  <a:lnTo>
                    <a:pt x="1290" y="401"/>
                  </a:lnTo>
                  <a:lnTo>
                    <a:pt x="1290" y="401"/>
                  </a:lnTo>
                  <a:lnTo>
                    <a:pt x="1290" y="401"/>
                  </a:lnTo>
                  <a:lnTo>
                    <a:pt x="1290" y="401"/>
                  </a:lnTo>
                  <a:lnTo>
                    <a:pt x="1290" y="401"/>
                  </a:lnTo>
                  <a:lnTo>
                    <a:pt x="1288" y="401"/>
                  </a:lnTo>
                  <a:lnTo>
                    <a:pt x="1288" y="401"/>
                  </a:lnTo>
                  <a:lnTo>
                    <a:pt x="1288" y="401"/>
                  </a:lnTo>
                  <a:lnTo>
                    <a:pt x="1288" y="398"/>
                  </a:lnTo>
                  <a:lnTo>
                    <a:pt x="1288" y="398"/>
                  </a:lnTo>
                  <a:lnTo>
                    <a:pt x="1288" y="398"/>
                  </a:lnTo>
                  <a:lnTo>
                    <a:pt x="1290" y="398"/>
                  </a:lnTo>
                  <a:lnTo>
                    <a:pt x="1290" y="398"/>
                  </a:lnTo>
                  <a:lnTo>
                    <a:pt x="1290" y="398"/>
                  </a:lnTo>
                  <a:lnTo>
                    <a:pt x="1290" y="398"/>
                  </a:lnTo>
                  <a:lnTo>
                    <a:pt x="1290" y="398"/>
                  </a:lnTo>
                  <a:lnTo>
                    <a:pt x="1290" y="396"/>
                  </a:lnTo>
                  <a:lnTo>
                    <a:pt x="1290" y="396"/>
                  </a:lnTo>
                  <a:lnTo>
                    <a:pt x="1290" y="396"/>
                  </a:lnTo>
                  <a:lnTo>
                    <a:pt x="1292" y="396"/>
                  </a:lnTo>
                  <a:lnTo>
                    <a:pt x="1292" y="398"/>
                  </a:lnTo>
                  <a:close/>
                  <a:moveTo>
                    <a:pt x="838" y="392"/>
                  </a:move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close/>
                  <a:moveTo>
                    <a:pt x="1061" y="387"/>
                  </a:moveTo>
                  <a:lnTo>
                    <a:pt x="1061" y="387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1" y="389"/>
                  </a:lnTo>
                  <a:lnTo>
                    <a:pt x="1063" y="389"/>
                  </a:lnTo>
                  <a:lnTo>
                    <a:pt x="1063" y="389"/>
                  </a:lnTo>
                  <a:lnTo>
                    <a:pt x="1063" y="392"/>
                  </a:lnTo>
                  <a:lnTo>
                    <a:pt x="1063" y="392"/>
                  </a:lnTo>
                  <a:lnTo>
                    <a:pt x="1061" y="392"/>
                  </a:lnTo>
                  <a:lnTo>
                    <a:pt x="1061" y="392"/>
                  </a:lnTo>
                  <a:lnTo>
                    <a:pt x="1061" y="392"/>
                  </a:lnTo>
                  <a:lnTo>
                    <a:pt x="1061" y="394"/>
                  </a:lnTo>
                  <a:lnTo>
                    <a:pt x="1061" y="394"/>
                  </a:lnTo>
                  <a:lnTo>
                    <a:pt x="1059" y="394"/>
                  </a:lnTo>
                  <a:lnTo>
                    <a:pt x="1059" y="394"/>
                  </a:lnTo>
                  <a:lnTo>
                    <a:pt x="1059" y="396"/>
                  </a:lnTo>
                  <a:lnTo>
                    <a:pt x="1059" y="396"/>
                  </a:lnTo>
                  <a:lnTo>
                    <a:pt x="1059" y="396"/>
                  </a:lnTo>
                  <a:lnTo>
                    <a:pt x="1059" y="396"/>
                  </a:lnTo>
                  <a:lnTo>
                    <a:pt x="1059" y="396"/>
                  </a:lnTo>
                  <a:lnTo>
                    <a:pt x="1059" y="396"/>
                  </a:lnTo>
                  <a:lnTo>
                    <a:pt x="1059" y="396"/>
                  </a:lnTo>
                  <a:lnTo>
                    <a:pt x="1056" y="396"/>
                  </a:lnTo>
                  <a:lnTo>
                    <a:pt x="1056" y="396"/>
                  </a:lnTo>
                  <a:lnTo>
                    <a:pt x="1056" y="396"/>
                  </a:lnTo>
                  <a:lnTo>
                    <a:pt x="1056" y="396"/>
                  </a:lnTo>
                  <a:lnTo>
                    <a:pt x="1056" y="396"/>
                  </a:lnTo>
                  <a:lnTo>
                    <a:pt x="1056" y="396"/>
                  </a:lnTo>
                  <a:lnTo>
                    <a:pt x="1056" y="396"/>
                  </a:lnTo>
                  <a:lnTo>
                    <a:pt x="1056" y="398"/>
                  </a:lnTo>
                  <a:lnTo>
                    <a:pt x="1056" y="398"/>
                  </a:lnTo>
                  <a:lnTo>
                    <a:pt x="1054" y="398"/>
                  </a:lnTo>
                  <a:lnTo>
                    <a:pt x="1054" y="398"/>
                  </a:lnTo>
                  <a:lnTo>
                    <a:pt x="1054" y="398"/>
                  </a:lnTo>
                  <a:lnTo>
                    <a:pt x="1052" y="398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2" y="401"/>
                  </a:lnTo>
                  <a:lnTo>
                    <a:pt x="1050" y="401"/>
                  </a:lnTo>
                  <a:lnTo>
                    <a:pt x="1050" y="401"/>
                  </a:lnTo>
                  <a:lnTo>
                    <a:pt x="1050" y="401"/>
                  </a:lnTo>
                  <a:lnTo>
                    <a:pt x="1050" y="401"/>
                  </a:lnTo>
                  <a:lnTo>
                    <a:pt x="1050" y="403"/>
                  </a:lnTo>
                  <a:lnTo>
                    <a:pt x="1050" y="403"/>
                  </a:lnTo>
                  <a:lnTo>
                    <a:pt x="1050" y="403"/>
                  </a:lnTo>
                  <a:lnTo>
                    <a:pt x="1047" y="403"/>
                  </a:lnTo>
                  <a:lnTo>
                    <a:pt x="1047" y="405"/>
                  </a:lnTo>
                  <a:lnTo>
                    <a:pt x="1047" y="405"/>
                  </a:lnTo>
                  <a:lnTo>
                    <a:pt x="1047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5" y="405"/>
                  </a:lnTo>
                  <a:lnTo>
                    <a:pt x="1043" y="405"/>
                  </a:lnTo>
                  <a:lnTo>
                    <a:pt x="1043" y="405"/>
                  </a:lnTo>
                  <a:lnTo>
                    <a:pt x="1043" y="403"/>
                  </a:lnTo>
                  <a:lnTo>
                    <a:pt x="1043" y="403"/>
                  </a:lnTo>
                  <a:lnTo>
                    <a:pt x="1043" y="403"/>
                  </a:lnTo>
                  <a:lnTo>
                    <a:pt x="1043" y="403"/>
                  </a:lnTo>
                  <a:lnTo>
                    <a:pt x="1043" y="403"/>
                  </a:lnTo>
                  <a:lnTo>
                    <a:pt x="1043" y="403"/>
                  </a:lnTo>
                  <a:lnTo>
                    <a:pt x="1043" y="403"/>
                  </a:lnTo>
                  <a:lnTo>
                    <a:pt x="1043" y="401"/>
                  </a:lnTo>
                  <a:lnTo>
                    <a:pt x="1043" y="401"/>
                  </a:lnTo>
                  <a:lnTo>
                    <a:pt x="1041" y="401"/>
                  </a:lnTo>
                  <a:lnTo>
                    <a:pt x="1041" y="401"/>
                  </a:lnTo>
                  <a:lnTo>
                    <a:pt x="1041" y="401"/>
                  </a:lnTo>
                  <a:lnTo>
                    <a:pt x="1041" y="401"/>
                  </a:lnTo>
                  <a:lnTo>
                    <a:pt x="1041" y="401"/>
                  </a:lnTo>
                  <a:lnTo>
                    <a:pt x="1041" y="401"/>
                  </a:lnTo>
                  <a:lnTo>
                    <a:pt x="1041" y="401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1" y="398"/>
                  </a:lnTo>
                  <a:lnTo>
                    <a:pt x="1043" y="396"/>
                  </a:lnTo>
                  <a:lnTo>
                    <a:pt x="1043" y="396"/>
                  </a:lnTo>
                  <a:lnTo>
                    <a:pt x="1043" y="394"/>
                  </a:lnTo>
                  <a:lnTo>
                    <a:pt x="1043" y="394"/>
                  </a:lnTo>
                  <a:lnTo>
                    <a:pt x="1043" y="394"/>
                  </a:lnTo>
                  <a:lnTo>
                    <a:pt x="1047" y="392"/>
                  </a:lnTo>
                  <a:lnTo>
                    <a:pt x="1047" y="392"/>
                  </a:lnTo>
                  <a:lnTo>
                    <a:pt x="1050" y="389"/>
                  </a:lnTo>
                  <a:lnTo>
                    <a:pt x="1050" y="389"/>
                  </a:lnTo>
                  <a:lnTo>
                    <a:pt x="1050" y="389"/>
                  </a:lnTo>
                  <a:lnTo>
                    <a:pt x="1052" y="389"/>
                  </a:lnTo>
                  <a:lnTo>
                    <a:pt x="1052" y="389"/>
                  </a:lnTo>
                  <a:lnTo>
                    <a:pt x="1052" y="387"/>
                  </a:lnTo>
                  <a:lnTo>
                    <a:pt x="1052" y="387"/>
                  </a:lnTo>
                  <a:lnTo>
                    <a:pt x="1054" y="387"/>
                  </a:lnTo>
                  <a:lnTo>
                    <a:pt x="1054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6" y="387"/>
                  </a:lnTo>
                  <a:lnTo>
                    <a:pt x="1059" y="387"/>
                  </a:lnTo>
                  <a:lnTo>
                    <a:pt x="1059" y="387"/>
                  </a:lnTo>
                  <a:lnTo>
                    <a:pt x="1059" y="387"/>
                  </a:lnTo>
                  <a:lnTo>
                    <a:pt x="1059" y="387"/>
                  </a:lnTo>
                  <a:lnTo>
                    <a:pt x="1059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lnTo>
                    <a:pt x="1061" y="387"/>
                  </a:lnTo>
                  <a:close/>
                  <a:moveTo>
                    <a:pt x="1306" y="385"/>
                  </a:moveTo>
                  <a:lnTo>
                    <a:pt x="1306" y="385"/>
                  </a:lnTo>
                  <a:lnTo>
                    <a:pt x="1306" y="385"/>
                  </a:lnTo>
                  <a:lnTo>
                    <a:pt x="1306" y="385"/>
                  </a:lnTo>
                  <a:lnTo>
                    <a:pt x="1306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10" y="385"/>
                  </a:lnTo>
                  <a:lnTo>
                    <a:pt x="1310" y="385"/>
                  </a:lnTo>
                  <a:lnTo>
                    <a:pt x="1310" y="385"/>
                  </a:lnTo>
                  <a:lnTo>
                    <a:pt x="1310" y="385"/>
                  </a:lnTo>
                  <a:lnTo>
                    <a:pt x="1310" y="385"/>
                  </a:lnTo>
                  <a:lnTo>
                    <a:pt x="1310" y="385"/>
                  </a:lnTo>
                  <a:lnTo>
                    <a:pt x="1310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08" y="385"/>
                  </a:lnTo>
                  <a:lnTo>
                    <a:pt x="1308" y="387"/>
                  </a:lnTo>
                  <a:lnTo>
                    <a:pt x="1308" y="387"/>
                  </a:lnTo>
                  <a:lnTo>
                    <a:pt x="1308" y="387"/>
                  </a:lnTo>
                  <a:lnTo>
                    <a:pt x="1308" y="387"/>
                  </a:lnTo>
                  <a:lnTo>
                    <a:pt x="1308" y="387"/>
                  </a:lnTo>
                  <a:lnTo>
                    <a:pt x="1308" y="387"/>
                  </a:lnTo>
                  <a:lnTo>
                    <a:pt x="1308" y="387"/>
                  </a:lnTo>
                  <a:lnTo>
                    <a:pt x="1306" y="387"/>
                  </a:lnTo>
                  <a:lnTo>
                    <a:pt x="1306" y="387"/>
                  </a:lnTo>
                  <a:lnTo>
                    <a:pt x="1308" y="387"/>
                  </a:lnTo>
                  <a:lnTo>
                    <a:pt x="1306" y="387"/>
                  </a:lnTo>
                  <a:lnTo>
                    <a:pt x="1306" y="387"/>
                  </a:lnTo>
                  <a:lnTo>
                    <a:pt x="1306" y="387"/>
                  </a:lnTo>
                  <a:lnTo>
                    <a:pt x="1306" y="387"/>
                  </a:lnTo>
                  <a:lnTo>
                    <a:pt x="1306" y="387"/>
                  </a:lnTo>
                  <a:lnTo>
                    <a:pt x="1303" y="387"/>
                  </a:lnTo>
                  <a:lnTo>
                    <a:pt x="1303" y="387"/>
                  </a:lnTo>
                  <a:lnTo>
                    <a:pt x="1303" y="387"/>
                  </a:lnTo>
                  <a:lnTo>
                    <a:pt x="1303" y="387"/>
                  </a:lnTo>
                  <a:lnTo>
                    <a:pt x="1303" y="387"/>
                  </a:lnTo>
                  <a:lnTo>
                    <a:pt x="1301" y="387"/>
                  </a:lnTo>
                  <a:lnTo>
                    <a:pt x="1299" y="387"/>
                  </a:lnTo>
                  <a:lnTo>
                    <a:pt x="1299" y="387"/>
                  </a:lnTo>
                  <a:lnTo>
                    <a:pt x="1299" y="387"/>
                  </a:lnTo>
                  <a:lnTo>
                    <a:pt x="1299" y="387"/>
                  </a:lnTo>
                  <a:lnTo>
                    <a:pt x="1299" y="387"/>
                  </a:lnTo>
                  <a:lnTo>
                    <a:pt x="1301" y="385"/>
                  </a:lnTo>
                  <a:lnTo>
                    <a:pt x="1301" y="385"/>
                  </a:lnTo>
                  <a:lnTo>
                    <a:pt x="1303" y="385"/>
                  </a:lnTo>
                  <a:lnTo>
                    <a:pt x="1303" y="385"/>
                  </a:lnTo>
                  <a:lnTo>
                    <a:pt x="1301" y="385"/>
                  </a:lnTo>
                  <a:lnTo>
                    <a:pt x="1301" y="385"/>
                  </a:lnTo>
                  <a:lnTo>
                    <a:pt x="1303" y="385"/>
                  </a:lnTo>
                  <a:lnTo>
                    <a:pt x="1303" y="385"/>
                  </a:lnTo>
                  <a:lnTo>
                    <a:pt x="1303" y="385"/>
                  </a:lnTo>
                  <a:lnTo>
                    <a:pt x="1303" y="385"/>
                  </a:lnTo>
                  <a:lnTo>
                    <a:pt x="1306" y="385"/>
                  </a:lnTo>
                  <a:close/>
                  <a:moveTo>
                    <a:pt x="1090" y="385"/>
                  </a:moveTo>
                  <a:lnTo>
                    <a:pt x="1088" y="385"/>
                  </a:lnTo>
                  <a:lnTo>
                    <a:pt x="1086" y="385"/>
                  </a:lnTo>
                  <a:lnTo>
                    <a:pt x="1086" y="385"/>
                  </a:lnTo>
                  <a:lnTo>
                    <a:pt x="1086" y="383"/>
                  </a:lnTo>
                  <a:lnTo>
                    <a:pt x="1086" y="383"/>
                  </a:lnTo>
                  <a:lnTo>
                    <a:pt x="1086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5"/>
                  </a:lnTo>
                  <a:lnTo>
                    <a:pt x="1090" y="385"/>
                  </a:lnTo>
                  <a:close/>
                  <a:moveTo>
                    <a:pt x="1092" y="383"/>
                  </a:moveTo>
                  <a:lnTo>
                    <a:pt x="1092" y="383"/>
                  </a:lnTo>
                  <a:lnTo>
                    <a:pt x="1092" y="383"/>
                  </a:lnTo>
                  <a:lnTo>
                    <a:pt x="1092" y="383"/>
                  </a:lnTo>
                  <a:lnTo>
                    <a:pt x="1095" y="383"/>
                  </a:lnTo>
                  <a:lnTo>
                    <a:pt x="1092" y="385"/>
                  </a:lnTo>
                  <a:lnTo>
                    <a:pt x="1092" y="385"/>
                  </a:lnTo>
                  <a:lnTo>
                    <a:pt x="1092" y="385"/>
                  </a:lnTo>
                  <a:lnTo>
                    <a:pt x="1092" y="385"/>
                  </a:lnTo>
                  <a:lnTo>
                    <a:pt x="1092" y="385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0" y="383"/>
                  </a:lnTo>
                  <a:lnTo>
                    <a:pt x="1092" y="383"/>
                  </a:lnTo>
                  <a:lnTo>
                    <a:pt x="1092" y="383"/>
                  </a:lnTo>
                  <a:lnTo>
                    <a:pt x="1092" y="383"/>
                  </a:lnTo>
                  <a:close/>
                  <a:moveTo>
                    <a:pt x="1301" y="385"/>
                  </a:moveTo>
                  <a:lnTo>
                    <a:pt x="1301" y="385"/>
                  </a:lnTo>
                  <a:lnTo>
                    <a:pt x="1301" y="385"/>
                  </a:lnTo>
                  <a:lnTo>
                    <a:pt x="1301" y="385"/>
                  </a:lnTo>
                  <a:lnTo>
                    <a:pt x="1301" y="385"/>
                  </a:lnTo>
                  <a:lnTo>
                    <a:pt x="1301" y="385"/>
                  </a:lnTo>
                  <a:lnTo>
                    <a:pt x="1301" y="385"/>
                  </a:lnTo>
                  <a:lnTo>
                    <a:pt x="1299" y="385"/>
                  </a:lnTo>
                  <a:lnTo>
                    <a:pt x="1299" y="385"/>
                  </a:lnTo>
                  <a:lnTo>
                    <a:pt x="1297" y="385"/>
                  </a:lnTo>
                  <a:lnTo>
                    <a:pt x="1297" y="385"/>
                  </a:lnTo>
                  <a:lnTo>
                    <a:pt x="1299" y="385"/>
                  </a:lnTo>
                  <a:lnTo>
                    <a:pt x="1299" y="385"/>
                  </a:lnTo>
                  <a:lnTo>
                    <a:pt x="1299" y="383"/>
                  </a:lnTo>
                  <a:lnTo>
                    <a:pt x="1299" y="383"/>
                  </a:lnTo>
                  <a:lnTo>
                    <a:pt x="1299" y="383"/>
                  </a:lnTo>
                  <a:lnTo>
                    <a:pt x="1299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3" y="383"/>
                  </a:lnTo>
                  <a:lnTo>
                    <a:pt x="1301" y="385"/>
                  </a:lnTo>
                  <a:lnTo>
                    <a:pt x="1301" y="385"/>
                  </a:lnTo>
                  <a:close/>
                  <a:moveTo>
                    <a:pt x="1146" y="380"/>
                  </a:move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48" y="380"/>
                  </a:lnTo>
                  <a:lnTo>
                    <a:pt x="1151" y="380"/>
                  </a:lnTo>
                  <a:lnTo>
                    <a:pt x="1153" y="380"/>
                  </a:lnTo>
                  <a:lnTo>
                    <a:pt x="1153" y="380"/>
                  </a:lnTo>
                  <a:lnTo>
                    <a:pt x="1153" y="383"/>
                  </a:lnTo>
                  <a:lnTo>
                    <a:pt x="1153" y="383"/>
                  </a:lnTo>
                  <a:lnTo>
                    <a:pt x="1153" y="383"/>
                  </a:lnTo>
                  <a:lnTo>
                    <a:pt x="1153" y="383"/>
                  </a:lnTo>
                  <a:lnTo>
                    <a:pt x="1153" y="383"/>
                  </a:lnTo>
                  <a:lnTo>
                    <a:pt x="1151" y="383"/>
                  </a:lnTo>
                  <a:lnTo>
                    <a:pt x="1146" y="383"/>
                  </a:lnTo>
                  <a:lnTo>
                    <a:pt x="1146" y="383"/>
                  </a:lnTo>
                  <a:lnTo>
                    <a:pt x="1146" y="383"/>
                  </a:lnTo>
                  <a:lnTo>
                    <a:pt x="1146" y="383"/>
                  </a:lnTo>
                  <a:lnTo>
                    <a:pt x="1146" y="383"/>
                  </a:lnTo>
                  <a:lnTo>
                    <a:pt x="1144" y="383"/>
                  </a:lnTo>
                  <a:lnTo>
                    <a:pt x="1144" y="380"/>
                  </a:lnTo>
                  <a:lnTo>
                    <a:pt x="1144" y="380"/>
                  </a:lnTo>
                  <a:lnTo>
                    <a:pt x="1144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lnTo>
                    <a:pt x="1146" y="380"/>
                  </a:lnTo>
                  <a:close/>
                  <a:moveTo>
                    <a:pt x="1209" y="378"/>
                  </a:moveTo>
                  <a:lnTo>
                    <a:pt x="1211" y="380"/>
                  </a:lnTo>
                  <a:lnTo>
                    <a:pt x="1211" y="380"/>
                  </a:lnTo>
                  <a:lnTo>
                    <a:pt x="1211" y="380"/>
                  </a:lnTo>
                  <a:lnTo>
                    <a:pt x="1211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4" y="380"/>
                  </a:lnTo>
                  <a:lnTo>
                    <a:pt x="1211" y="383"/>
                  </a:lnTo>
                  <a:lnTo>
                    <a:pt x="1211" y="383"/>
                  </a:lnTo>
                  <a:lnTo>
                    <a:pt x="1214" y="383"/>
                  </a:lnTo>
                  <a:lnTo>
                    <a:pt x="1214" y="383"/>
                  </a:lnTo>
                  <a:lnTo>
                    <a:pt x="1214" y="383"/>
                  </a:lnTo>
                  <a:lnTo>
                    <a:pt x="1214" y="383"/>
                  </a:lnTo>
                  <a:lnTo>
                    <a:pt x="1214" y="383"/>
                  </a:lnTo>
                  <a:lnTo>
                    <a:pt x="1214" y="383"/>
                  </a:lnTo>
                  <a:lnTo>
                    <a:pt x="1216" y="383"/>
                  </a:lnTo>
                  <a:lnTo>
                    <a:pt x="1216" y="383"/>
                  </a:lnTo>
                  <a:lnTo>
                    <a:pt x="1214" y="383"/>
                  </a:lnTo>
                  <a:lnTo>
                    <a:pt x="1214" y="383"/>
                  </a:lnTo>
                  <a:lnTo>
                    <a:pt x="1214" y="385"/>
                  </a:lnTo>
                  <a:lnTo>
                    <a:pt x="1211" y="385"/>
                  </a:lnTo>
                  <a:lnTo>
                    <a:pt x="1211" y="385"/>
                  </a:lnTo>
                  <a:lnTo>
                    <a:pt x="1209" y="385"/>
                  </a:lnTo>
                  <a:lnTo>
                    <a:pt x="1209" y="385"/>
                  </a:lnTo>
                  <a:lnTo>
                    <a:pt x="1207" y="385"/>
                  </a:lnTo>
                  <a:lnTo>
                    <a:pt x="1207" y="385"/>
                  </a:lnTo>
                  <a:lnTo>
                    <a:pt x="1207" y="385"/>
                  </a:lnTo>
                  <a:lnTo>
                    <a:pt x="1207" y="385"/>
                  </a:lnTo>
                  <a:lnTo>
                    <a:pt x="1207" y="385"/>
                  </a:lnTo>
                  <a:lnTo>
                    <a:pt x="1207" y="385"/>
                  </a:lnTo>
                  <a:lnTo>
                    <a:pt x="1207" y="385"/>
                  </a:lnTo>
                  <a:lnTo>
                    <a:pt x="1205" y="385"/>
                  </a:lnTo>
                  <a:lnTo>
                    <a:pt x="1205" y="383"/>
                  </a:lnTo>
                  <a:lnTo>
                    <a:pt x="1207" y="383"/>
                  </a:lnTo>
                  <a:lnTo>
                    <a:pt x="1207" y="383"/>
                  </a:lnTo>
                  <a:lnTo>
                    <a:pt x="1205" y="383"/>
                  </a:lnTo>
                  <a:lnTo>
                    <a:pt x="1205" y="383"/>
                  </a:lnTo>
                  <a:lnTo>
                    <a:pt x="1205" y="383"/>
                  </a:lnTo>
                  <a:lnTo>
                    <a:pt x="1207" y="380"/>
                  </a:lnTo>
                  <a:lnTo>
                    <a:pt x="1205" y="380"/>
                  </a:lnTo>
                  <a:lnTo>
                    <a:pt x="1205" y="380"/>
                  </a:lnTo>
                  <a:lnTo>
                    <a:pt x="1205" y="380"/>
                  </a:lnTo>
                  <a:lnTo>
                    <a:pt x="1205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7" y="380"/>
                  </a:lnTo>
                  <a:lnTo>
                    <a:pt x="1205" y="380"/>
                  </a:lnTo>
                  <a:lnTo>
                    <a:pt x="1205" y="378"/>
                  </a:lnTo>
                  <a:lnTo>
                    <a:pt x="1205" y="378"/>
                  </a:lnTo>
                  <a:lnTo>
                    <a:pt x="1205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5" y="378"/>
                  </a:lnTo>
                  <a:lnTo>
                    <a:pt x="1205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8"/>
                  </a:lnTo>
                  <a:lnTo>
                    <a:pt x="1202" y="376"/>
                  </a:lnTo>
                  <a:lnTo>
                    <a:pt x="1209" y="378"/>
                  </a:lnTo>
                  <a:close/>
                  <a:moveTo>
                    <a:pt x="1025" y="376"/>
                  </a:moveTo>
                  <a:lnTo>
                    <a:pt x="1027" y="376"/>
                  </a:lnTo>
                  <a:lnTo>
                    <a:pt x="1029" y="376"/>
                  </a:lnTo>
                  <a:lnTo>
                    <a:pt x="1029" y="376"/>
                  </a:lnTo>
                  <a:lnTo>
                    <a:pt x="1027" y="376"/>
                  </a:lnTo>
                  <a:lnTo>
                    <a:pt x="1027" y="376"/>
                  </a:lnTo>
                  <a:lnTo>
                    <a:pt x="1027" y="378"/>
                  </a:lnTo>
                  <a:lnTo>
                    <a:pt x="1027" y="378"/>
                  </a:lnTo>
                  <a:lnTo>
                    <a:pt x="1027" y="378"/>
                  </a:lnTo>
                  <a:lnTo>
                    <a:pt x="1027" y="378"/>
                  </a:lnTo>
                  <a:lnTo>
                    <a:pt x="1027" y="378"/>
                  </a:lnTo>
                  <a:lnTo>
                    <a:pt x="1027" y="378"/>
                  </a:lnTo>
                  <a:lnTo>
                    <a:pt x="1025" y="378"/>
                  </a:lnTo>
                  <a:lnTo>
                    <a:pt x="1025" y="378"/>
                  </a:lnTo>
                  <a:lnTo>
                    <a:pt x="1025" y="380"/>
                  </a:lnTo>
                  <a:lnTo>
                    <a:pt x="1025" y="380"/>
                  </a:lnTo>
                  <a:lnTo>
                    <a:pt x="1025" y="380"/>
                  </a:lnTo>
                  <a:lnTo>
                    <a:pt x="1025" y="380"/>
                  </a:lnTo>
                  <a:lnTo>
                    <a:pt x="1025" y="380"/>
                  </a:lnTo>
                  <a:lnTo>
                    <a:pt x="1025" y="380"/>
                  </a:lnTo>
                  <a:lnTo>
                    <a:pt x="1023" y="380"/>
                  </a:lnTo>
                  <a:lnTo>
                    <a:pt x="1023" y="383"/>
                  </a:lnTo>
                  <a:lnTo>
                    <a:pt x="1023" y="383"/>
                  </a:lnTo>
                  <a:lnTo>
                    <a:pt x="1020" y="383"/>
                  </a:lnTo>
                  <a:lnTo>
                    <a:pt x="1020" y="383"/>
                  </a:lnTo>
                  <a:lnTo>
                    <a:pt x="1018" y="383"/>
                  </a:lnTo>
                  <a:lnTo>
                    <a:pt x="1016" y="385"/>
                  </a:lnTo>
                  <a:lnTo>
                    <a:pt x="1016" y="385"/>
                  </a:lnTo>
                  <a:lnTo>
                    <a:pt x="1016" y="385"/>
                  </a:lnTo>
                  <a:lnTo>
                    <a:pt x="1014" y="385"/>
                  </a:lnTo>
                  <a:lnTo>
                    <a:pt x="1014" y="385"/>
                  </a:lnTo>
                  <a:lnTo>
                    <a:pt x="1014" y="385"/>
                  </a:lnTo>
                  <a:lnTo>
                    <a:pt x="1009" y="387"/>
                  </a:lnTo>
                  <a:lnTo>
                    <a:pt x="1007" y="389"/>
                  </a:lnTo>
                  <a:lnTo>
                    <a:pt x="1002" y="392"/>
                  </a:lnTo>
                  <a:lnTo>
                    <a:pt x="998" y="392"/>
                  </a:lnTo>
                  <a:lnTo>
                    <a:pt x="998" y="392"/>
                  </a:lnTo>
                  <a:lnTo>
                    <a:pt x="998" y="392"/>
                  </a:lnTo>
                  <a:lnTo>
                    <a:pt x="998" y="392"/>
                  </a:lnTo>
                  <a:lnTo>
                    <a:pt x="998" y="392"/>
                  </a:lnTo>
                  <a:lnTo>
                    <a:pt x="998" y="392"/>
                  </a:lnTo>
                  <a:lnTo>
                    <a:pt x="998" y="392"/>
                  </a:lnTo>
                  <a:lnTo>
                    <a:pt x="996" y="392"/>
                  </a:lnTo>
                  <a:lnTo>
                    <a:pt x="996" y="392"/>
                  </a:lnTo>
                  <a:lnTo>
                    <a:pt x="993" y="392"/>
                  </a:lnTo>
                  <a:lnTo>
                    <a:pt x="989" y="394"/>
                  </a:lnTo>
                  <a:lnTo>
                    <a:pt x="989" y="394"/>
                  </a:lnTo>
                  <a:lnTo>
                    <a:pt x="989" y="392"/>
                  </a:lnTo>
                  <a:lnTo>
                    <a:pt x="989" y="392"/>
                  </a:lnTo>
                  <a:lnTo>
                    <a:pt x="989" y="389"/>
                  </a:lnTo>
                  <a:lnTo>
                    <a:pt x="989" y="389"/>
                  </a:lnTo>
                  <a:lnTo>
                    <a:pt x="989" y="387"/>
                  </a:lnTo>
                  <a:lnTo>
                    <a:pt x="989" y="387"/>
                  </a:lnTo>
                  <a:lnTo>
                    <a:pt x="989" y="387"/>
                  </a:lnTo>
                  <a:lnTo>
                    <a:pt x="989" y="385"/>
                  </a:lnTo>
                  <a:lnTo>
                    <a:pt x="993" y="385"/>
                  </a:lnTo>
                  <a:lnTo>
                    <a:pt x="996" y="383"/>
                  </a:lnTo>
                  <a:lnTo>
                    <a:pt x="996" y="383"/>
                  </a:lnTo>
                  <a:lnTo>
                    <a:pt x="996" y="383"/>
                  </a:lnTo>
                  <a:lnTo>
                    <a:pt x="996" y="383"/>
                  </a:lnTo>
                  <a:lnTo>
                    <a:pt x="998" y="383"/>
                  </a:lnTo>
                  <a:lnTo>
                    <a:pt x="998" y="380"/>
                  </a:lnTo>
                  <a:lnTo>
                    <a:pt x="998" y="380"/>
                  </a:lnTo>
                  <a:lnTo>
                    <a:pt x="998" y="380"/>
                  </a:lnTo>
                  <a:lnTo>
                    <a:pt x="998" y="380"/>
                  </a:lnTo>
                  <a:lnTo>
                    <a:pt x="998" y="380"/>
                  </a:lnTo>
                  <a:lnTo>
                    <a:pt x="998" y="380"/>
                  </a:lnTo>
                  <a:lnTo>
                    <a:pt x="1000" y="380"/>
                  </a:lnTo>
                  <a:lnTo>
                    <a:pt x="1000" y="378"/>
                  </a:lnTo>
                  <a:lnTo>
                    <a:pt x="1000" y="378"/>
                  </a:lnTo>
                  <a:lnTo>
                    <a:pt x="1000" y="378"/>
                  </a:lnTo>
                  <a:lnTo>
                    <a:pt x="1002" y="378"/>
                  </a:lnTo>
                  <a:lnTo>
                    <a:pt x="1002" y="376"/>
                  </a:lnTo>
                  <a:lnTo>
                    <a:pt x="1005" y="376"/>
                  </a:lnTo>
                  <a:lnTo>
                    <a:pt x="1005" y="376"/>
                  </a:lnTo>
                  <a:lnTo>
                    <a:pt x="1005" y="376"/>
                  </a:lnTo>
                  <a:lnTo>
                    <a:pt x="1005" y="376"/>
                  </a:lnTo>
                  <a:lnTo>
                    <a:pt x="1005" y="376"/>
                  </a:lnTo>
                  <a:lnTo>
                    <a:pt x="1007" y="376"/>
                  </a:lnTo>
                  <a:lnTo>
                    <a:pt x="1007" y="376"/>
                  </a:lnTo>
                  <a:lnTo>
                    <a:pt x="1007" y="376"/>
                  </a:lnTo>
                  <a:lnTo>
                    <a:pt x="1007" y="378"/>
                  </a:lnTo>
                  <a:lnTo>
                    <a:pt x="1007" y="378"/>
                  </a:lnTo>
                  <a:lnTo>
                    <a:pt x="1007" y="378"/>
                  </a:lnTo>
                  <a:lnTo>
                    <a:pt x="1009" y="378"/>
                  </a:lnTo>
                  <a:lnTo>
                    <a:pt x="1014" y="376"/>
                  </a:lnTo>
                  <a:lnTo>
                    <a:pt x="1016" y="376"/>
                  </a:lnTo>
                  <a:lnTo>
                    <a:pt x="1016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0" y="376"/>
                  </a:lnTo>
                  <a:lnTo>
                    <a:pt x="1023" y="376"/>
                  </a:lnTo>
                  <a:lnTo>
                    <a:pt x="1023" y="376"/>
                  </a:lnTo>
                  <a:lnTo>
                    <a:pt x="1023" y="376"/>
                  </a:lnTo>
                  <a:lnTo>
                    <a:pt x="1023" y="374"/>
                  </a:lnTo>
                  <a:lnTo>
                    <a:pt x="1025" y="376"/>
                  </a:lnTo>
                  <a:lnTo>
                    <a:pt x="1025" y="376"/>
                  </a:lnTo>
                  <a:lnTo>
                    <a:pt x="1025" y="376"/>
                  </a:lnTo>
                  <a:lnTo>
                    <a:pt x="1025" y="376"/>
                  </a:lnTo>
                  <a:close/>
                  <a:moveTo>
                    <a:pt x="1193" y="365"/>
                  </a:move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close/>
                  <a:moveTo>
                    <a:pt x="1097" y="365"/>
                  </a:moveTo>
                  <a:lnTo>
                    <a:pt x="1097" y="365"/>
                  </a:lnTo>
                  <a:lnTo>
                    <a:pt x="1099" y="365"/>
                  </a:lnTo>
                  <a:lnTo>
                    <a:pt x="1099" y="365"/>
                  </a:lnTo>
                  <a:lnTo>
                    <a:pt x="1099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1" y="365"/>
                  </a:lnTo>
                  <a:lnTo>
                    <a:pt x="1104" y="365"/>
                  </a:lnTo>
                  <a:lnTo>
                    <a:pt x="1104" y="365"/>
                  </a:lnTo>
                  <a:lnTo>
                    <a:pt x="1104" y="365"/>
                  </a:lnTo>
                  <a:lnTo>
                    <a:pt x="1104" y="365"/>
                  </a:lnTo>
                  <a:lnTo>
                    <a:pt x="1104" y="365"/>
                  </a:lnTo>
                  <a:lnTo>
                    <a:pt x="1104" y="365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7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4" y="369"/>
                  </a:lnTo>
                  <a:lnTo>
                    <a:pt x="1101" y="369"/>
                  </a:lnTo>
                  <a:lnTo>
                    <a:pt x="1101" y="371"/>
                  </a:lnTo>
                  <a:lnTo>
                    <a:pt x="1101" y="371"/>
                  </a:lnTo>
                  <a:lnTo>
                    <a:pt x="1099" y="371"/>
                  </a:lnTo>
                  <a:lnTo>
                    <a:pt x="1099" y="371"/>
                  </a:lnTo>
                  <a:lnTo>
                    <a:pt x="1099" y="371"/>
                  </a:lnTo>
                  <a:lnTo>
                    <a:pt x="1097" y="371"/>
                  </a:lnTo>
                  <a:lnTo>
                    <a:pt x="1097" y="374"/>
                  </a:lnTo>
                  <a:lnTo>
                    <a:pt x="1095" y="374"/>
                  </a:lnTo>
                  <a:lnTo>
                    <a:pt x="1095" y="374"/>
                  </a:lnTo>
                  <a:lnTo>
                    <a:pt x="1095" y="371"/>
                  </a:lnTo>
                  <a:lnTo>
                    <a:pt x="1095" y="371"/>
                  </a:lnTo>
                  <a:lnTo>
                    <a:pt x="1095" y="371"/>
                  </a:lnTo>
                  <a:lnTo>
                    <a:pt x="1092" y="371"/>
                  </a:lnTo>
                  <a:lnTo>
                    <a:pt x="1092" y="371"/>
                  </a:lnTo>
                  <a:lnTo>
                    <a:pt x="1092" y="371"/>
                  </a:lnTo>
                  <a:lnTo>
                    <a:pt x="1092" y="371"/>
                  </a:lnTo>
                  <a:lnTo>
                    <a:pt x="1092" y="371"/>
                  </a:lnTo>
                  <a:lnTo>
                    <a:pt x="1092" y="369"/>
                  </a:lnTo>
                  <a:lnTo>
                    <a:pt x="1092" y="369"/>
                  </a:lnTo>
                  <a:lnTo>
                    <a:pt x="1092" y="369"/>
                  </a:lnTo>
                  <a:lnTo>
                    <a:pt x="1090" y="369"/>
                  </a:lnTo>
                  <a:lnTo>
                    <a:pt x="1090" y="367"/>
                  </a:lnTo>
                  <a:lnTo>
                    <a:pt x="1090" y="367"/>
                  </a:lnTo>
                  <a:lnTo>
                    <a:pt x="1090" y="367"/>
                  </a:lnTo>
                  <a:lnTo>
                    <a:pt x="1090" y="367"/>
                  </a:lnTo>
                  <a:lnTo>
                    <a:pt x="1088" y="367"/>
                  </a:lnTo>
                  <a:lnTo>
                    <a:pt x="1088" y="367"/>
                  </a:lnTo>
                  <a:lnTo>
                    <a:pt x="1088" y="367"/>
                  </a:lnTo>
                  <a:lnTo>
                    <a:pt x="1088" y="365"/>
                  </a:lnTo>
                  <a:lnTo>
                    <a:pt x="1090" y="365"/>
                  </a:lnTo>
                  <a:lnTo>
                    <a:pt x="1090" y="365"/>
                  </a:lnTo>
                  <a:lnTo>
                    <a:pt x="1090" y="365"/>
                  </a:lnTo>
                  <a:lnTo>
                    <a:pt x="1092" y="365"/>
                  </a:lnTo>
                  <a:lnTo>
                    <a:pt x="1092" y="365"/>
                  </a:lnTo>
                  <a:lnTo>
                    <a:pt x="1095" y="365"/>
                  </a:lnTo>
                  <a:lnTo>
                    <a:pt x="1097" y="365"/>
                  </a:lnTo>
                  <a:lnTo>
                    <a:pt x="1097" y="365"/>
                  </a:lnTo>
                  <a:lnTo>
                    <a:pt x="1097" y="365"/>
                  </a:lnTo>
                  <a:close/>
                  <a:moveTo>
                    <a:pt x="895" y="365"/>
                  </a:move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5" y="365"/>
                  </a:lnTo>
                  <a:lnTo>
                    <a:pt x="895" y="365"/>
                  </a:lnTo>
                  <a:lnTo>
                    <a:pt x="895" y="365"/>
                  </a:lnTo>
                  <a:lnTo>
                    <a:pt x="895" y="365"/>
                  </a:lnTo>
                  <a:lnTo>
                    <a:pt x="895" y="365"/>
                  </a:lnTo>
                  <a:lnTo>
                    <a:pt x="895" y="365"/>
                  </a:lnTo>
                  <a:lnTo>
                    <a:pt x="895" y="365"/>
                  </a:lnTo>
                  <a:close/>
                  <a:moveTo>
                    <a:pt x="890" y="362"/>
                  </a:moveTo>
                  <a:lnTo>
                    <a:pt x="892" y="362"/>
                  </a:lnTo>
                  <a:lnTo>
                    <a:pt x="892" y="362"/>
                  </a:lnTo>
                  <a:lnTo>
                    <a:pt x="892" y="362"/>
                  </a:lnTo>
                  <a:lnTo>
                    <a:pt x="892" y="362"/>
                  </a:lnTo>
                  <a:lnTo>
                    <a:pt x="892" y="362"/>
                  </a:lnTo>
                  <a:lnTo>
                    <a:pt x="892" y="362"/>
                  </a:lnTo>
                  <a:lnTo>
                    <a:pt x="895" y="362"/>
                  </a:lnTo>
                  <a:lnTo>
                    <a:pt x="895" y="362"/>
                  </a:lnTo>
                  <a:lnTo>
                    <a:pt x="895" y="362"/>
                  </a:lnTo>
                  <a:lnTo>
                    <a:pt x="895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2" y="365"/>
                  </a:lnTo>
                  <a:lnTo>
                    <a:pt x="890" y="365"/>
                  </a:lnTo>
                  <a:lnTo>
                    <a:pt x="890" y="362"/>
                  </a:lnTo>
                  <a:lnTo>
                    <a:pt x="890" y="362"/>
                  </a:lnTo>
                  <a:lnTo>
                    <a:pt x="890" y="362"/>
                  </a:lnTo>
                  <a:close/>
                  <a:moveTo>
                    <a:pt x="883" y="362"/>
                  </a:moveTo>
                  <a:lnTo>
                    <a:pt x="883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3" y="362"/>
                  </a:lnTo>
                  <a:lnTo>
                    <a:pt x="883" y="362"/>
                  </a:lnTo>
                  <a:lnTo>
                    <a:pt x="883" y="362"/>
                  </a:lnTo>
                  <a:lnTo>
                    <a:pt x="883" y="362"/>
                  </a:lnTo>
                  <a:lnTo>
                    <a:pt x="886" y="362"/>
                  </a:lnTo>
                  <a:lnTo>
                    <a:pt x="883" y="362"/>
                  </a:lnTo>
                  <a:lnTo>
                    <a:pt x="883" y="362"/>
                  </a:lnTo>
                  <a:close/>
                  <a:moveTo>
                    <a:pt x="1321" y="367"/>
                  </a:move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4" y="367"/>
                  </a:lnTo>
                  <a:lnTo>
                    <a:pt x="1324" y="367"/>
                  </a:lnTo>
                  <a:lnTo>
                    <a:pt x="1324" y="367"/>
                  </a:lnTo>
                  <a:lnTo>
                    <a:pt x="1324" y="369"/>
                  </a:lnTo>
                  <a:lnTo>
                    <a:pt x="1324" y="369"/>
                  </a:lnTo>
                  <a:lnTo>
                    <a:pt x="1324" y="369"/>
                  </a:lnTo>
                  <a:lnTo>
                    <a:pt x="1321" y="369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9"/>
                  </a:lnTo>
                  <a:lnTo>
                    <a:pt x="1321" y="369"/>
                  </a:lnTo>
                  <a:lnTo>
                    <a:pt x="1321" y="369"/>
                  </a:lnTo>
                  <a:lnTo>
                    <a:pt x="1321" y="369"/>
                  </a:lnTo>
                  <a:lnTo>
                    <a:pt x="1321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7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5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2"/>
                  </a:lnTo>
                  <a:lnTo>
                    <a:pt x="1321" y="362"/>
                  </a:lnTo>
                  <a:lnTo>
                    <a:pt x="1321" y="362"/>
                  </a:lnTo>
                  <a:lnTo>
                    <a:pt x="1321" y="362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5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lnTo>
                    <a:pt x="1321" y="367"/>
                  </a:lnTo>
                  <a:close/>
                  <a:moveTo>
                    <a:pt x="1115" y="360"/>
                  </a:moveTo>
                  <a:lnTo>
                    <a:pt x="1115" y="360"/>
                  </a:lnTo>
                  <a:lnTo>
                    <a:pt x="1115" y="360"/>
                  </a:lnTo>
                  <a:lnTo>
                    <a:pt x="1115" y="360"/>
                  </a:lnTo>
                  <a:lnTo>
                    <a:pt x="1115" y="360"/>
                  </a:lnTo>
                  <a:lnTo>
                    <a:pt x="1115" y="360"/>
                  </a:lnTo>
                  <a:lnTo>
                    <a:pt x="1121" y="362"/>
                  </a:lnTo>
                  <a:lnTo>
                    <a:pt x="1121" y="362"/>
                  </a:lnTo>
                  <a:lnTo>
                    <a:pt x="1121" y="362"/>
                  </a:lnTo>
                  <a:lnTo>
                    <a:pt x="1121" y="362"/>
                  </a:lnTo>
                  <a:lnTo>
                    <a:pt x="1121" y="362"/>
                  </a:lnTo>
                  <a:lnTo>
                    <a:pt x="1121" y="362"/>
                  </a:lnTo>
                  <a:lnTo>
                    <a:pt x="1121" y="362"/>
                  </a:lnTo>
                  <a:lnTo>
                    <a:pt x="1121" y="365"/>
                  </a:lnTo>
                  <a:lnTo>
                    <a:pt x="1119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21" y="365"/>
                  </a:lnTo>
                  <a:lnTo>
                    <a:pt x="1119" y="365"/>
                  </a:lnTo>
                  <a:lnTo>
                    <a:pt x="1119" y="365"/>
                  </a:lnTo>
                  <a:lnTo>
                    <a:pt x="1119" y="365"/>
                  </a:lnTo>
                  <a:lnTo>
                    <a:pt x="1119" y="367"/>
                  </a:lnTo>
                  <a:lnTo>
                    <a:pt x="1119" y="367"/>
                  </a:lnTo>
                  <a:lnTo>
                    <a:pt x="1119" y="367"/>
                  </a:lnTo>
                  <a:lnTo>
                    <a:pt x="1117" y="367"/>
                  </a:lnTo>
                  <a:lnTo>
                    <a:pt x="1117" y="367"/>
                  </a:lnTo>
                  <a:lnTo>
                    <a:pt x="1117" y="367"/>
                  </a:lnTo>
                  <a:lnTo>
                    <a:pt x="1117" y="367"/>
                  </a:lnTo>
                  <a:lnTo>
                    <a:pt x="1117" y="367"/>
                  </a:lnTo>
                  <a:lnTo>
                    <a:pt x="1117" y="367"/>
                  </a:lnTo>
                  <a:lnTo>
                    <a:pt x="1117" y="367"/>
                  </a:lnTo>
                  <a:lnTo>
                    <a:pt x="1115" y="367"/>
                  </a:lnTo>
                  <a:lnTo>
                    <a:pt x="1115" y="367"/>
                  </a:lnTo>
                  <a:lnTo>
                    <a:pt x="1115" y="367"/>
                  </a:lnTo>
                  <a:lnTo>
                    <a:pt x="1115" y="365"/>
                  </a:lnTo>
                  <a:lnTo>
                    <a:pt x="1115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5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3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0" y="362"/>
                  </a:lnTo>
                  <a:lnTo>
                    <a:pt x="1113" y="362"/>
                  </a:lnTo>
                  <a:lnTo>
                    <a:pt x="1113" y="360"/>
                  </a:lnTo>
                  <a:lnTo>
                    <a:pt x="1110" y="360"/>
                  </a:lnTo>
                  <a:lnTo>
                    <a:pt x="1110" y="360"/>
                  </a:lnTo>
                  <a:lnTo>
                    <a:pt x="1110" y="360"/>
                  </a:lnTo>
                  <a:lnTo>
                    <a:pt x="1110" y="360"/>
                  </a:lnTo>
                  <a:lnTo>
                    <a:pt x="1110" y="360"/>
                  </a:lnTo>
                  <a:lnTo>
                    <a:pt x="1113" y="360"/>
                  </a:lnTo>
                  <a:lnTo>
                    <a:pt x="1113" y="360"/>
                  </a:lnTo>
                  <a:lnTo>
                    <a:pt x="1113" y="360"/>
                  </a:lnTo>
                  <a:lnTo>
                    <a:pt x="1115" y="360"/>
                  </a:lnTo>
                  <a:lnTo>
                    <a:pt x="1115" y="360"/>
                  </a:lnTo>
                  <a:lnTo>
                    <a:pt x="1115" y="360"/>
                  </a:lnTo>
                  <a:close/>
                  <a:moveTo>
                    <a:pt x="1191" y="360"/>
                  </a:moveTo>
                  <a:lnTo>
                    <a:pt x="1191" y="360"/>
                  </a:lnTo>
                  <a:lnTo>
                    <a:pt x="1191" y="360"/>
                  </a:lnTo>
                  <a:lnTo>
                    <a:pt x="1191" y="360"/>
                  </a:lnTo>
                  <a:lnTo>
                    <a:pt x="1191" y="360"/>
                  </a:lnTo>
                  <a:lnTo>
                    <a:pt x="1191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9" y="360"/>
                  </a:lnTo>
                  <a:lnTo>
                    <a:pt x="1187" y="360"/>
                  </a:lnTo>
                  <a:lnTo>
                    <a:pt x="1187" y="360"/>
                  </a:lnTo>
                  <a:lnTo>
                    <a:pt x="1187" y="360"/>
                  </a:lnTo>
                  <a:lnTo>
                    <a:pt x="1187" y="360"/>
                  </a:lnTo>
                  <a:lnTo>
                    <a:pt x="1191" y="360"/>
                  </a:lnTo>
                  <a:lnTo>
                    <a:pt x="1191" y="360"/>
                  </a:lnTo>
                  <a:close/>
                  <a:moveTo>
                    <a:pt x="1196" y="358"/>
                  </a:move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close/>
                  <a:moveTo>
                    <a:pt x="863" y="356"/>
                  </a:moveTo>
                  <a:lnTo>
                    <a:pt x="863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3" y="356"/>
                  </a:lnTo>
                  <a:close/>
                  <a:moveTo>
                    <a:pt x="1319" y="356"/>
                  </a:moveTo>
                  <a:lnTo>
                    <a:pt x="1319" y="356"/>
                  </a:lnTo>
                  <a:lnTo>
                    <a:pt x="1321" y="356"/>
                  </a:lnTo>
                  <a:lnTo>
                    <a:pt x="1321" y="356"/>
                  </a:lnTo>
                  <a:lnTo>
                    <a:pt x="1321" y="356"/>
                  </a:lnTo>
                  <a:lnTo>
                    <a:pt x="1319" y="356"/>
                  </a:lnTo>
                  <a:lnTo>
                    <a:pt x="1319" y="356"/>
                  </a:lnTo>
                  <a:lnTo>
                    <a:pt x="1321" y="356"/>
                  </a:lnTo>
                  <a:lnTo>
                    <a:pt x="1321" y="356"/>
                  </a:lnTo>
                  <a:lnTo>
                    <a:pt x="1321" y="356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58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21" y="360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9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5" y="358"/>
                  </a:lnTo>
                  <a:lnTo>
                    <a:pt x="1315" y="358"/>
                  </a:lnTo>
                  <a:lnTo>
                    <a:pt x="1315" y="358"/>
                  </a:lnTo>
                  <a:lnTo>
                    <a:pt x="1315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9" y="356"/>
                  </a:lnTo>
                  <a:lnTo>
                    <a:pt x="1319" y="356"/>
                  </a:lnTo>
                  <a:lnTo>
                    <a:pt x="1319" y="356"/>
                  </a:lnTo>
                  <a:lnTo>
                    <a:pt x="1319" y="356"/>
                  </a:lnTo>
                  <a:lnTo>
                    <a:pt x="1319" y="356"/>
                  </a:lnTo>
                  <a:lnTo>
                    <a:pt x="1319" y="356"/>
                  </a:lnTo>
                  <a:close/>
                  <a:moveTo>
                    <a:pt x="1113" y="354"/>
                  </a:moveTo>
                  <a:lnTo>
                    <a:pt x="1113" y="354"/>
                  </a:lnTo>
                  <a:lnTo>
                    <a:pt x="1113" y="354"/>
                  </a:lnTo>
                  <a:lnTo>
                    <a:pt x="1113" y="354"/>
                  </a:lnTo>
                  <a:lnTo>
                    <a:pt x="1110" y="354"/>
                  </a:lnTo>
                  <a:lnTo>
                    <a:pt x="1110" y="356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08" y="356"/>
                  </a:lnTo>
                  <a:lnTo>
                    <a:pt x="1106" y="354"/>
                  </a:lnTo>
                  <a:lnTo>
                    <a:pt x="1106" y="354"/>
                  </a:lnTo>
                  <a:lnTo>
                    <a:pt x="1106" y="354"/>
                  </a:lnTo>
                  <a:lnTo>
                    <a:pt x="1106" y="354"/>
                  </a:lnTo>
                  <a:lnTo>
                    <a:pt x="1106" y="354"/>
                  </a:lnTo>
                  <a:lnTo>
                    <a:pt x="1106" y="354"/>
                  </a:lnTo>
                  <a:lnTo>
                    <a:pt x="1106" y="354"/>
                  </a:lnTo>
                  <a:lnTo>
                    <a:pt x="1108" y="354"/>
                  </a:lnTo>
                  <a:lnTo>
                    <a:pt x="1108" y="354"/>
                  </a:lnTo>
                  <a:lnTo>
                    <a:pt x="1108" y="354"/>
                  </a:lnTo>
                  <a:lnTo>
                    <a:pt x="1110" y="354"/>
                  </a:lnTo>
                  <a:lnTo>
                    <a:pt x="1110" y="354"/>
                  </a:lnTo>
                  <a:lnTo>
                    <a:pt x="1110" y="354"/>
                  </a:lnTo>
                  <a:lnTo>
                    <a:pt x="1113" y="354"/>
                  </a:lnTo>
                  <a:lnTo>
                    <a:pt x="1113" y="354"/>
                  </a:lnTo>
                  <a:lnTo>
                    <a:pt x="1113" y="354"/>
                  </a:lnTo>
                  <a:close/>
                  <a:moveTo>
                    <a:pt x="1054" y="349"/>
                  </a:moveTo>
                  <a:lnTo>
                    <a:pt x="1052" y="349"/>
                  </a:lnTo>
                  <a:lnTo>
                    <a:pt x="1052" y="349"/>
                  </a:lnTo>
                  <a:lnTo>
                    <a:pt x="1052" y="349"/>
                  </a:lnTo>
                  <a:lnTo>
                    <a:pt x="1052" y="349"/>
                  </a:lnTo>
                  <a:lnTo>
                    <a:pt x="1052" y="349"/>
                  </a:lnTo>
                  <a:lnTo>
                    <a:pt x="1054" y="349"/>
                  </a:lnTo>
                  <a:lnTo>
                    <a:pt x="1054" y="349"/>
                  </a:lnTo>
                  <a:lnTo>
                    <a:pt x="1054" y="349"/>
                  </a:lnTo>
                  <a:lnTo>
                    <a:pt x="1054" y="349"/>
                  </a:lnTo>
                  <a:lnTo>
                    <a:pt x="1054" y="349"/>
                  </a:lnTo>
                  <a:close/>
                  <a:moveTo>
                    <a:pt x="1184" y="349"/>
                  </a:move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7" y="349"/>
                  </a:lnTo>
                  <a:lnTo>
                    <a:pt x="1187" y="349"/>
                  </a:lnTo>
                  <a:lnTo>
                    <a:pt x="1187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51"/>
                  </a:lnTo>
                  <a:lnTo>
                    <a:pt x="1184" y="351"/>
                  </a:lnTo>
                  <a:lnTo>
                    <a:pt x="1184" y="351"/>
                  </a:lnTo>
                  <a:lnTo>
                    <a:pt x="1182" y="349"/>
                  </a:lnTo>
                  <a:lnTo>
                    <a:pt x="1182" y="351"/>
                  </a:lnTo>
                  <a:lnTo>
                    <a:pt x="1182" y="351"/>
                  </a:lnTo>
                  <a:lnTo>
                    <a:pt x="1182" y="351"/>
                  </a:lnTo>
                  <a:lnTo>
                    <a:pt x="1182" y="351"/>
                  </a:lnTo>
                  <a:lnTo>
                    <a:pt x="1182" y="351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2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lnTo>
                    <a:pt x="1184" y="349"/>
                  </a:lnTo>
                  <a:close/>
                  <a:moveTo>
                    <a:pt x="1312" y="349"/>
                  </a:move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close/>
                  <a:moveTo>
                    <a:pt x="1184" y="342"/>
                  </a:moveTo>
                  <a:lnTo>
                    <a:pt x="1184" y="342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0" y="347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2" y="347"/>
                  </a:lnTo>
                  <a:lnTo>
                    <a:pt x="1180" y="347"/>
                  </a:lnTo>
                  <a:lnTo>
                    <a:pt x="1180" y="347"/>
                  </a:lnTo>
                  <a:lnTo>
                    <a:pt x="1180" y="347"/>
                  </a:lnTo>
                  <a:lnTo>
                    <a:pt x="1180" y="345"/>
                  </a:lnTo>
                  <a:lnTo>
                    <a:pt x="1180" y="345"/>
                  </a:lnTo>
                  <a:lnTo>
                    <a:pt x="1180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5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close/>
                  <a:moveTo>
                    <a:pt x="1319" y="338"/>
                  </a:moveTo>
                  <a:lnTo>
                    <a:pt x="1319" y="338"/>
                  </a:lnTo>
                  <a:lnTo>
                    <a:pt x="1319" y="338"/>
                  </a:lnTo>
                  <a:lnTo>
                    <a:pt x="1319" y="338"/>
                  </a:lnTo>
                  <a:lnTo>
                    <a:pt x="1317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9" y="340"/>
                  </a:lnTo>
                  <a:lnTo>
                    <a:pt x="1317" y="340"/>
                  </a:lnTo>
                  <a:lnTo>
                    <a:pt x="1317" y="340"/>
                  </a:lnTo>
                  <a:lnTo>
                    <a:pt x="1317" y="340"/>
                  </a:lnTo>
                  <a:lnTo>
                    <a:pt x="1317" y="340"/>
                  </a:lnTo>
                  <a:lnTo>
                    <a:pt x="1315" y="340"/>
                  </a:lnTo>
                  <a:lnTo>
                    <a:pt x="1315" y="340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7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5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5" y="340"/>
                  </a:lnTo>
                  <a:lnTo>
                    <a:pt x="1315" y="340"/>
                  </a:lnTo>
                  <a:lnTo>
                    <a:pt x="1315" y="340"/>
                  </a:lnTo>
                  <a:lnTo>
                    <a:pt x="1317" y="338"/>
                  </a:lnTo>
                  <a:lnTo>
                    <a:pt x="1317" y="338"/>
                  </a:lnTo>
                  <a:lnTo>
                    <a:pt x="1317" y="338"/>
                  </a:lnTo>
                  <a:lnTo>
                    <a:pt x="1317" y="338"/>
                  </a:lnTo>
                  <a:lnTo>
                    <a:pt x="1317" y="338"/>
                  </a:lnTo>
                  <a:lnTo>
                    <a:pt x="1317" y="340"/>
                  </a:lnTo>
                  <a:lnTo>
                    <a:pt x="1317" y="340"/>
                  </a:lnTo>
                  <a:lnTo>
                    <a:pt x="1317" y="340"/>
                  </a:lnTo>
                  <a:lnTo>
                    <a:pt x="1317" y="338"/>
                  </a:lnTo>
                  <a:lnTo>
                    <a:pt x="1317" y="338"/>
                  </a:lnTo>
                  <a:lnTo>
                    <a:pt x="1319" y="338"/>
                  </a:lnTo>
                  <a:lnTo>
                    <a:pt x="1319" y="338"/>
                  </a:lnTo>
                  <a:lnTo>
                    <a:pt x="1319" y="338"/>
                  </a:lnTo>
                  <a:lnTo>
                    <a:pt x="1319" y="338"/>
                  </a:lnTo>
                  <a:close/>
                  <a:moveTo>
                    <a:pt x="1171" y="336"/>
                  </a:moveTo>
                  <a:lnTo>
                    <a:pt x="1171" y="336"/>
                  </a:lnTo>
                  <a:lnTo>
                    <a:pt x="1171" y="336"/>
                  </a:lnTo>
                  <a:lnTo>
                    <a:pt x="1171" y="336"/>
                  </a:lnTo>
                  <a:close/>
                  <a:moveTo>
                    <a:pt x="1375" y="318"/>
                  </a:move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80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78" y="318"/>
                  </a:lnTo>
                  <a:lnTo>
                    <a:pt x="1380" y="318"/>
                  </a:lnTo>
                  <a:lnTo>
                    <a:pt x="1380" y="318"/>
                  </a:lnTo>
                  <a:lnTo>
                    <a:pt x="1380" y="318"/>
                  </a:lnTo>
                  <a:lnTo>
                    <a:pt x="1380" y="318"/>
                  </a:lnTo>
                  <a:lnTo>
                    <a:pt x="1380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20"/>
                  </a:lnTo>
                  <a:lnTo>
                    <a:pt x="1378" y="318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20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5" y="318"/>
                  </a:lnTo>
                  <a:lnTo>
                    <a:pt x="1375" y="318"/>
                  </a:lnTo>
                  <a:lnTo>
                    <a:pt x="1375" y="318"/>
                  </a:lnTo>
                  <a:close/>
                  <a:moveTo>
                    <a:pt x="1045" y="315"/>
                  </a:moveTo>
                  <a:lnTo>
                    <a:pt x="1045" y="315"/>
                  </a:lnTo>
                  <a:lnTo>
                    <a:pt x="1045" y="315"/>
                  </a:lnTo>
                  <a:lnTo>
                    <a:pt x="1045" y="315"/>
                  </a:lnTo>
                  <a:lnTo>
                    <a:pt x="1045" y="315"/>
                  </a:lnTo>
                  <a:lnTo>
                    <a:pt x="1043" y="315"/>
                  </a:lnTo>
                  <a:lnTo>
                    <a:pt x="1043" y="315"/>
                  </a:lnTo>
                  <a:lnTo>
                    <a:pt x="1043" y="315"/>
                  </a:lnTo>
                  <a:lnTo>
                    <a:pt x="1043" y="315"/>
                  </a:lnTo>
                  <a:lnTo>
                    <a:pt x="1043" y="315"/>
                  </a:lnTo>
                  <a:lnTo>
                    <a:pt x="1043" y="315"/>
                  </a:lnTo>
                  <a:lnTo>
                    <a:pt x="1041" y="315"/>
                  </a:lnTo>
                  <a:lnTo>
                    <a:pt x="1041" y="315"/>
                  </a:lnTo>
                  <a:lnTo>
                    <a:pt x="1043" y="315"/>
                  </a:lnTo>
                  <a:lnTo>
                    <a:pt x="1045" y="315"/>
                  </a:lnTo>
                  <a:lnTo>
                    <a:pt x="1045" y="315"/>
                  </a:lnTo>
                  <a:lnTo>
                    <a:pt x="1045" y="315"/>
                  </a:lnTo>
                  <a:lnTo>
                    <a:pt x="1045" y="315"/>
                  </a:lnTo>
                  <a:close/>
                  <a:moveTo>
                    <a:pt x="1011" y="315"/>
                  </a:moveTo>
                  <a:lnTo>
                    <a:pt x="1011" y="315"/>
                  </a:lnTo>
                  <a:lnTo>
                    <a:pt x="1011" y="315"/>
                  </a:lnTo>
                  <a:lnTo>
                    <a:pt x="1011" y="315"/>
                  </a:lnTo>
                  <a:lnTo>
                    <a:pt x="1014" y="315"/>
                  </a:lnTo>
                  <a:lnTo>
                    <a:pt x="1014" y="315"/>
                  </a:lnTo>
                  <a:lnTo>
                    <a:pt x="1014" y="315"/>
                  </a:lnTo>
                  <a:lnTo>
                    <a:pt x="1014" y="315"/>
                  </a:lnTo>
                  <a:lnTo>
                    <a:pt x="1016" y="315"/>
                  </a:lnTo>
                  <a:lnTo>
                    <a:pt x="1016" y="315"/>
                  </a:lnTo>
                  <a:lnTo>
                    <a:pt x="1016" y="315"/>
                  </a:lnTo>
                  <a:lnTo>
                    <a:pt x="1016" y="315"/>
                  </a:lnTo>
                  <a:lnTo>
                    <a:pt x="1016" y="315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4" y="318"/>
                  </a:lnTo>
                  <a:lnTo>
                    <a:pt x="1014" y="318"/>
                  </a:lnTo>
                  <a:lnTo>
                    <a:pt x="1016" y="320"/>
                  </a:lnTo>
                  <a:lnTo>
                    <a:pt x="1016" y="320"/>
                  </a:lnTo>
                  <a:lnTo>
                    <a:pt x="1016" y="320"/>
                  </a:lnTo>
                  <a:lnTo>
                    <a:pt x="1014" y="320"/>
                  </a:lnTo>
                  <a:lnTo>
                    <a:pt x="1014" y="320"/>
                  </a:lnTo>
                  <a:lnTo>
                    <a:pt x="1011" y="320"/>
                  </a:lnTo>
                  <a:lnTo>
                    <a:pt x="1011" y="320"/>
                  </a:lnTo>
                  <a:lnTo>
                    <a:pt x="1009" y="320"/>
                  </a:lnTo>
                  <a:lnTo>
                    <a:pt x="1009" y="322"/>
                  </a:lnTo>
                  <a:lnTo>
                    <a:pt x="1009" y="322"/>
                  </a:lnTo>
                  <a:lnTo>
                    <a:pt x="1011" y="322"/>
                  </a:lnTo>
                  <a:lnTo>
                    <a:pt x="1011" y="322"/>
                  </a:lnTo>
                  <a:lnTo>
                    <a:pt x="1011" y="322"/>
                  </a:lnTo>
                  <a:lnTo>
                    <a:pt x="1014" y="324"/>
                  </a:lnTo>
                  <a:lnTo>
                    <a:pt x="1014" y="324"/>
                  </a:lnTo>
                  <a:lnTo>
                    <a:pt x="1014" y="324"/>
                  </a:lnTo>
                  <a:lnTo>
                    <a:pt x="1014" y="324"/>
                  </a:lnTo>
                  <a:lnTo>
                    <a:pt x="1011" y="324"/>
                  </a:lnTo>
                  <a:lnTo>
                    <a:pt x="1011" y="324"/>
                  </a:lnTo>
                  <a:lnTo>
                    <a:pt x="1011" y="327"/>
                  </a:lnTo>
                  <a:lnTo>
                    <a:pt x="1011" y="327"/>
                  </a:lnTo>
                  <a:lnTo>
                    <a:pt x="1011" y="327"/>
                  </a:lnTo>
                  <a:lnTo>
                    <a:pt x="1011" y="327"/>
                  </a:lnTo>
                  <a:lnTo>
                    <a:pt x="1011" y="327"/>
                  </a:lnTo>
                  <a:lnTo>
                    <a:pt x="1011" y="329"/>
                  </a:lnTo>
                  <a:lnTo>
                    <a:pt x="1011" y="329"/>
                  </a:lnTo>
                  <a:lnTo>
                    <a:pt x="1011" y="329"/>
                  </a:lnTo>
                  <a:lnTo>
                    <a:pt x="1014" y="329"/>
                  </a:lnTo>
                  <a:lnTo>
                    <a:pt x="1014" y="327"/>
                  </a:lnTo>
                  <a:lnTo>
                    <a:pt x="1014" y="327"/>
                  </a:lnTo>
                  <a:lnTo>
                    <a:pt x="1014" y="327"/>
                  </a:lnTo>
                  <a:lnTo>
                    <a:pt x="1016" y="327"/>
                  </a:lnTo>
                  <a:lnTo>
                    <a:pt x="1016" y="327"/>
                  </a:lnTo>
                  <a:lnTo>
                    <a:pt x="1016" y="327"/>
                  </a:lnTo>
                  <a:lnTo>
                    <a:pt x="1016" y="327"/>
                  </a:lnTo>
                  <a:lnTo>
                    <a:pt x="1016" y="327"/>
                  </a:lnTo>
                  <a:lnTo>
                    <a:pt x="1016" y="327"/>
                  </a:lnTo>
                  <a:lnTo>
                    <a:pt x="1016" y="327"/>
                  </a:lnTo>
                  <a:lnTo>
                    <a:pt x="1016" y="324"/>
                  </a:lnTo>
                  <a:lnTo>
                    <a:pt x="1016" y="324"/>
                  </a:lnTo>
                  <a:lnTo>
                    <a:pt x="1016" y="324"/>
                  </a:lnTo>
                  <a:lnTo>
                    <a:pt x="1018" y="324"/>
                  </a:lnTo>
                  <a:lnTo>
                    <a:pt x="1018" y="324"/>
                  </a:lnTo>
                  <a:lnTo>
                    <a:pt x="1020" y="322"/>
                  </a:lnTo>
                  <a:lnTo>
                    <a:pt x="1020" y="322"/>
                  </a:lnTo>
                  <a:lnTo>
                    <a:pt x="1020" y="322"/>
                  </a:lnTo>
                  <a:lnTo>
                    <a:pt x="1020" y="322"/>
                  </a:lnTo>
                  <a:lnTo>
                    <a:pt x="1020" y="322"/>
                  </a:lnTo>
                  <a:lnTo>
                    <a:pt x="1020" y="322"/>
                  </a:lnTo>
                  <a:lnTo>
                    <a:pt x="1023" y="322"/>
                  </a:lnTo>
                  <a:lnTo>
                    <a:pt x="1023" y="322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3" y="324"/>
                  </a:lnTo>
                  <a:lnTo>
                    <a:pt x="1025" y="324"/>
                  </a:lnTo>
                  <a:lnTo>
                    <a:pt x="1025" y="324"/>
                  </a:lnTo>
                  <a:lnTo>
                    <a:pt x="1025" y="324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5" y="327"/>
                  </a:lnTo>
                  <a:lnTo>
                    <a:pt x="1023" y="327"/>
                  </a:lnTo>
                  <a:lnTo>
                    <a:pt x="1023" y="327"/>
                  </a:lnTo>
                  <a:lnTo>
                    <a:pt x="1023" y="327"/>
                  </a:lnTo>
                  <a:lnTo>
                    <a:pt x="1023" y="327"/>
                  </a:lnTo>
                  <a:lnTo>
                    <a:pt x="1023" y="327"/>
                  </a:lnTo>
                  <a:lnTo>
                    <a:pt x="1025" y="329"/>
                  </a:lnTo>
                  <a:lnTo>
                    <a:pt x="1025" y="329"/>
                  </a:lnTo>
                  <a:lnTo>
                    <a:pt x="1025" y="329"/>
                  </a:lnTo>
                  <a:lnTo>
                    <a:pt x="1027" y="329"/>
                  </a:lnTo>
                  <a:lnTo>
                    <a:pt x="1027" y="329"/>
                  </a:lnTo>
                  <a:lnTo>
                    <a:pt x="1027" y="329"/>
                  </a:lnTo>
                  <a:lnTo>
                    <a:pt x="1027" y="329"/>
                  </a:lnTo>
                  <a:lnTo>
                    <a:pt x="1027" y="329"/>
                  </a:lnTo>
                  <a:lnTo>
                    <a:pt x="1027" y="329"/>
                  </a:lnTo>
                  <a:lnTo>
                    <a:pt x="1029" y="329"/>
                  </a:lnTo>
                  <a:lnTo>
                    <a:pt x="1029" y="329"/>
                  </a:lnTo>
                  <a:lnTo>
                    <a:pt x="1032" y="329"/>
                  </a:lnTo>
                  <a:lnTo>
                    <a:pt x="1034" y="329"/>
                  </a:lnTo>
                  <a:lnTo>
                    <a:pt x="1034" y="329"/>
                  </a:lnTo>
                  <a:lnTo>
                    <a:pt x="1034" y="329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4" y="331"/>
                  </a:lnTo>
                  <a:lnTo>
                    <a:pt x="1034" y="333"/>
                  </a:lnTo>
                  <a:lnTo>
                    <a:pt x="1034" y="333"/>
                  </a:lnTo>
                  <a:lnTo>
                    <a:pt x="1034" y="333"/>
                  </a:lnTo>
                  <a:lnTo>
                    <a:pt x="1034" y="333"/>
                  </a:lnTo>
                  <a:lnTo>
                    <a:pt x="1034" y="333"/>
                  </a:lnTo>
                  <a:lnTo>
                    <a:pt x="1036" y="333"/>
                  </a:lnTo>
                  <a:lnTo>
                    <a:pt x="1036" y="333"/>
                  </a:lnTo>
                  <a:lnTo>
                    <a:pt x="1038" y="333"/>
                  </a:lnTo>
                  <a:lnTo>
                    <a:pt x="1038" y="333"/>
                  </a:lnTo>
                  <a:lnTo>
                    <a:pt x="1038" y="333"/>
                  </a:lnTo>
                  <a:lnTo>
                    <a:pt x="1038" y="336"/>
                  </a:lnTo>
                  <a:lnTo>
                    <a:pt x="1038" y="336"/>
                  </a:lnTo>
                  <a:lnTo>
                    <a:pt x="1038" y="336"/>
                  </a:lnTo>
                  <a:lnTo>
                    <a:pt x="1038" y="336"/>
                  </a:lnTo>
                  <a:lnTo>
                    <a:pt x="1038" y="336"/>
                  </a:lnTo>
                  <a:lnTo>
                    <a:pt x="1038" y="336"/>
                  </a:lnTo>
                  <a:lnTo>
                    <a:pt x="1041" y="336"/>
                  </a:lnTo>
                  <a:lnTo>
                    <a:pt x="1041" y="336"/>
                  </a:lnTo>
                  <a:lnTo>
                    <a:pt x="1041" y="338"/>
                  </a:lnTo>
                  <a:lnTo>
                    <a:pt x="1041" y="338"/>
                  </a:lnTo>
                  <a:lnTo>
                    <a:pt x="1043" y="338"/>
                  </a:lnTo>
                  <a:lnTo>
                    <a:pt x="1043" y="338"/>
                  </a:lnTo>
                  <a:lnTo>
                    <a:pt x="1043" y="338"/>
                  </a:lnTo>
                  <a:lnTo>
                    <a:pt x="1043" y="338"/>
                  </a:lnTo>
                  <a:lnTo>
                    <a:pt x="1043" y="338"/>
                  </a:lnTo>
                  <a:lnTo>
                    <a:pt x="1043" y="338"/>
                  </a:lnTo>
                  <a:lnTo>
                    <a:pt x="1045" y="338"/>
                  </a:lnTo>
                  <a:lnTo>
                    <a:pt x="1045" y="338"/>
                  </a:lnTo>
                  <a:lnTo>
                    <a:pt x="1045" y="338"/>
                  </a:lnTo>
                  <a:lnTo>
                    <a:pt x="1045" y="338"/>
                  </a:lnTo>
                  <a:lnTo>
                    <a:pt x="1047" y="338"/>
                  </a:lnTo>
                  <a:lnTo>
                    <a:pt x="1047" y="338"/>
                  </a:lnTo>
                  <a:lnTo>
                    <a:pt x="1047" y="338"/>
                  </a:lnTo>
                  <a:lnTo>
                    <a:pt x="1047" y="338"/>
                  </a:lnTo>
                  <a:lnTo>
                    <a:pt x="1047" y="338"/>
                  </a:lnTo>
                  <a:lnTo>
                    <a:pt x="1047" y="338"/>
                  </a:lnTo>
                  <a:lnTo>
                    <a:pt x="1047" y="340"/>
                  </a:lnTo>
                  <a:lnTo>
                    <a:pt x="1050" y="338"/>
                  </a:lnTo>
                  <a:lnTo>
                    <a:pt x="1050" y="340"/>
                  </a:lnTo>
                  <a:lnTo>
                    <a:pt x="1050" y="340"/>
                  </a:lnTo>
                  <a:lnTo>
                    <a:pt x="1050" y="340"/>
                  </a:lnTo>
                  <a:lnTo>
                    <a:pt x="1050" y="340"/>
                  </a:lnTo>
                  <a:lnTo>
                    <a:pt x="1050" y="340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2"/>
                  </a:lnTo>
                  <a:lnTo>
                    <a:pt x="1052" y="345"/>
                  </a:lnTo>
                  <a:lnTo>
                    <a:pt x="1052" y="345"/>
                  </a:lnTo>
                  <a:lnTo>
                    <a:pt x="1052" y="345"/>
                  </a:lnTo>
                  <a:lnTo>
                    <a:pt x="1052" y="345"/>
                  </a:lnTo>
                  <a:lnTo>
                    <a:pt x="1050" y="345"/>
                  </a:lnTo>
                  <a:lnTo>
                    <a:pt x="1050" y="345"/>
                  </a:lnTo>
                  <a:lnTo>
                    <a:pt x="1050" y="345"/>
                  </a:lnTo>
                  <a:lnTo>
                    <a:pt x="1050" y="345"/>
                  </a:lnTo>
                  <a:lnTo>
                    <a:pt x="1050" y="347"/>
                  </a:lnTo>
                  <a:lnTo>
                    <a:pt x="1050" y="347"/>
                  </a:lnTo>
                  <a:lnTo>
                    <a:pt x="1050" y="347"/>
                  </a:lnTo>
                  <a:lnTo>
                    <a:pt x="1050" y="347"/>
                  </a:lnTo>
                  <a:lnTo>
                    <a:pt x="1050" y="347"/>
                  </a:lnTo>
                  <a:lnTo>
                    <a:pt x="1050" y="347"/>
                  </a:lnTo>
                  <a:lnTo>
                    <a:pt x="1050" y="349"/>
                  </a:lnTo>
                  <a:lnTo>
                    <a:pt x="1050" y="349"/>
                  </a:lnTo>
                  <a:lnTo>
                    <a:pt x="1050" y="349"/>
                  </a:lnTo>
                  <a:lnTo>
                    <a:pt x="1050" y="349"/>
                  </a:lnTo>
                  <a:lnTo>
                    <a:pt x="1050" y="349"/>
                  </a:lnTo>
                  <a:lnTo>
                    <a:pt x="1050" y="349"/>
                  </a:lnTo>
                  <a:lnTo>
                    <a:pt x="1050" y="351"/>
                  </a:lnTo>
                  <a:lnTo>
                    <a:pt x="1050" y="351"/>
                  </a:lnTo>
                  <a:lnTo>
                    <a:pt x="1050" y="351"/>
                  </a:lnTo>
                  <a:lnTo>
                    <a:pt x="1050" y="351"/>
                  </a:lnTo>
                  <a:lnTo>
                    <a:pt x="1047" y="351"/>
                  </a:lnTo>
                  <a:lnTo>
                    <a:pt x="1045" y="351"/>
                  </a:lnTo>
                  <a:lnTo>
                    <a:pt x="1045" y="351"/>
                  </a:lnTo>
                  <a:lnTo>
                    <a:pt x="1045" y="351"/>
                  </a:lnTo>
                  <a:lnTo>
                    <a:pt x="1043" y="351"/>
                  </a:lnTo>
                  <a:lnTo>
                    <a:pt x="1043" y="351"/>
                  </a:lnTo>
                  <a:lnTo>
                    <a:pt x="1043" y="354"/>
                  </a:lnTo>
                  <a:lnTo>
                    <a:pt x="1043" y="351"/>
                  </a:lnTo>
                  <a:lnTo>
                    <a:pt x="1043" y="351"/>
                  </a:lnTo>
                  <a:lnTo>
                    <a:pt x="1043" y="351"/>
                  </a:lnTo>
                  <a:lnTo>
                    <a:pt x="1043" y="351"/>
                  </a:lnTo>
                  <a:lnTo>
                    <a:pt x="1043" y="354"/>
                  </a:lnTo>
                  <a:lnTo>
                    <a:pt x="1043" y="354"/>
                  </a:lnTo>
                  <a:lnTo>
                    <a:pt x="1043" y="354"/>
                  </a:lnTo>
                  <a:lnTo>
                    <a:pt x="1041" y="354"/>
                  </a:lnTo>
                  <a:lnTo>
                    <a:pt x="1041" y="354"/>
                  </a:lnTo>
                  <a:lnTo>
                    <a:pt x="1041" y="354"/>
                  </a:lnTo>
                  <a:lnTo>
                    <a:pt x="1041" y="354"/>
                  </a:lnTo>
                  <a:lnTo>
                    <a:pt x="1043" y="354"/>
                  </a:lnTo>
                  <a:lnTo>
                    <a:pt x="1045" y="354"/>
                  </a:lnTo>
                  <a:lnTo>
                    <a:pt x="1047" y="354"/>
                  </a:lnTo>
                  <a:lnTo>
                    <a:pt x="1047" y="354"/>
                  </a:lnTo>
                  <a:lnTo>
                    <a:pt x="1050" y="354"/>
                  </a:lnTo>
                  <a:lnTo>
                    <a:pt x="1050" y="354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2" y="351"/>
                  </a:lnTo>
                  <a:lnTo>
                    <a:pt x="1054" y="351"/>
                  </a:lnTo>
                  <a:lnTo>
                    <a:pt x="1054" y="351"/>
                  </a:lnTo>
                  <a:lnTo>
                    <a:pt x="1056" y="354"/>
                  </a:lnTo>
                  <a:lnTo>
                    <a:pt x="1059" y="354"/>
                  </a:lnTo>
                  <a:lnTo>
                    <a:pt x="1059" y="354"/>
                  </a:lnTo>
                  <a:lnTo>
                    <a:pt x="1059" y="354"/>
                  </a:lnTo>
                  <a:lnTo>
                    <a:pt x="1059" y="354"/>
                  </a:lnTo>
                  <a:lnTo>
                    <a:pt x="1059" y="354"/>
                  </a:lnTo>
                  <a:lnTo>
                    <a:pt x="1059" y="351"/>
                  </a:lnTo>
                  <a:lnTo>
                    <a:pt x="1059" y="351"/>
                  </a:lnTo>
                  <a:lnTo>
                    <a:pt x="1059" y="351"/>
                  </a:lnTo>
                  <a:lnTo>
                    <a:pt x="1061" y="351"/>
                  </a:lnTo>
                  <a:lnTo>
                    <a:pt x="1061" y="351"/>
                  </a:lnTo>
                  <a:lnTo>
                    <a:pt x="1061" y="351"/>
                  </a:lnTo>
                  <a:lnTo>
                    <a:pt x="1061" y="351"/>
                  </a:lnTo>
                  <a:lnTo>
                    <a:pt x="1061" y="351"/>
                  </a:lnTo>
                  <a:lnTo>
                    <a:pt x="1063" y="351"/>
                  </a:lnTo>
                  <a:lnTo>
                    <a:pt x="1063" y="354"/>
                  </a:lnTo>
                  <a:lnTo>
                    <a:pt x="1063" y="354"/>
                  </a:lnTo>
                  <a:lnTo>
                    <a:pt x="1063" y="354"/>
                  </a:lnTo>
                  <a:lnTo>
                    <a:pt x="1063" y="354"/>
                  </a:lnTo>
                  <a:lnTo>
                    <a:pt x="1063" y="354"/>
                  </a:lnTo>
                  <a:lnTo>
                    <a:pt x="1065" y="354"/>
                  </a:lnTo>
                  <a:lnTo>
                    <a:pt x="1065" y="354"/>
                  </a:lnTo>
                  <a:lnTo>
                    <a:pt x="1063" y="354"/>
                  </a:lnTo>
                  <a:lnTo>
                    <a:pt x="1063" y="356"/>
                  </a:lnTo>
                  <a:lnTo>
                    <a:pt x="1065" y="356"/>
                  </a:lnTo>
                  <a:lnTo>
                    <a:pt x="1063" y="356"/>
                  </a:lnTo>
                  <a:lnTo>
                    <a:pt x="1063" y="356"/>
                  </a:lnTo>
                  <a:lnTo>
                    <a:pt x="1063" y="356"/>
                  </a:lnTo>
                  <a:lnTo>
                    <a:pt x="1061" y="356"/>
                  </a:lnTo>
                  <a:lnTo>
                    <a:pt x="1061" y="356"/>
                  </a:lnTo>
                  <a:lnTo>
                    <a:pt x="1061" y="356"/>
                  </a:lnTo>
                  <a:lnTo>
                    <a:pt x="1065" y="356"/>
                  </a:lnTo>
                  <a:lnTo>
                    <a:pt x="1065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8" y="358"/>
                  </a:lnTo>
                  <a:lnTo>
                    <a:pt x="1065" y="358"/>
                  </a:lnTo>
                  <a:lnTo>
                    <a:pt x="1065" y="358"/>
                  </a:lnTo>
                  <a:lnTo>
                    <a:pt x="1063" y="360"/>
                  </a:lnTo>
                  <a:lnTo>
                    <a:pt x="1063" y="360"/>
                  </a:lnTo>
                  <a:lnTo>
                    <a:pt x="1061" y="360"/>
                  </a:lnTo>
                  <a:lnTo>
                    <a:pt x="1061" y="360"/>
                  </a:lnTo>
                  <a:lnTo>
                    <a:pt x="1061" y="360"/>
                  </a:lnTo>
                  <a:lnTo>
                    <a:pt x="1061" y="360"/>
                  </a:lnTo>
                  <a:lnTo>
                    <a:pt x="1061" y="360"/>
                  </a:lnTo>
                  <a:lnTo>
                    <a:pt x="1059" y="360"/>
                  </a:lnTo>
                  <a:lnTo>
                    <a:pt x="1059" y="360"/>
                  </a:lnTo>
                  <a:lnTo>
                    <a:pt x="1059" y="360"/>
                  </a:lnTo>
                  <a:lnTo>
                    <a:pt x="1059" y="360"/>
                  </a:lnTo>
                  <a:lnTo>
                    <a:pt x="1056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4" y="362"/>
                  </a:lnTo>
                  <a:lnTo>
                    <a:pt x="1052" y="362"/>
                  </a:lnTo>
                  <a:lnTo>
                    <a:pt x="1052" y="362"/>
                  </a:lnTo>
                  <a:lnTo>
                    <a:pt x="1052" y="365"/>
                  </a:lnTo>
                  <a:lnTo>
                    <a:pt x="1052" y="365"/>
                  </a:lnTo>
                  <a:lnTo>
                    <a:pt x="1052" y="365"/>
                  </a:lnTo>
                  <a:lnTo>
                    <a:pt x="1052" y="365"/>
                  </a:lnTo>
                  <a:lnTo>
                    <a:pt x="1052" y="365"/>
                  </a:lnTo>
                  <a:lnTo>
                    <a:pt x="1050" y="365"/>
                  </a:lnTo>
                  <a:lnTo>
                    <a:pt x="1050" y="365"/>
                  </a:lnTo>
                  <a:lnTo>
                    <a:pt x="1050" y="365"/>
                  </a:lnTo>
                  <a:lnTo>
                    <a:pt x="1047" y="365"/>
                  </a:lnTo>
                  <a:lnTo>
                    <a:pt x="1047" y="365"/>
                  </a:lnTo>
                  <a:lnTo>
                    <a:pt x="1043" y="362"/>
                  </a:lnTo>
                  <a:lnTo>
                    <a:pt x="1043" y="362"/>
                  </a:lnTo>
                  <a:lnTo>
                    <a:pt x="1043" y="362"/>
                  </a:lnTo>
                  <a:lnTo>
                    <a:pt x="1041" y="362"/>
                  </a:lnTo>
                  <a:lnTo>
                    <a:pt x="1041" y="362"/>
                  </a:lnTo>
                  <a:lnTo>
                    <a:pt x="1041" y="362"/>
                  </a:lnTo>
                  <a:lnTo>
                    <a:pt x="1041" y="362"/>
                  </a:lnTo>
                  <a:lnTo>
                    <a:pt x="1041" y="360"/>
                  </a:lnTo>
                  <a:lnTo>
                    <a:pt x="1041" y="360"/>
                  </a:lnTo>
                  <a:lnTo>
                    <a:pt x="1038" y="360"/>
                  </a:lnTo>
                  <a:lnTo>
                    <a:pt x="1038" y="360"/>
                  </a:lnTo>
                  <a:lnTo>
                    <a:pt x="1038" y="360"/>
                  </a:lnTo>
                  <a:lnTo>
                    <a:pt x="1038" y="360"/>
                  </a:lnTo>
                  <a:lnTo>
                    <a:pt x="1038" y="360"/>
                  </a:lnTo>
                  <a:lnTo>
                    <a:pt x="1038" y="360"/>
                  </a:lnTo>
                  <a:lnTo>
                    <a:pt x="1036" y="360"/>
                  </a:lnTo>
                  <a:lnTo>
                    <a:pt x="1036" y="360"/>
                  </a:lnTo>
                  <a:lnTo>
                    <a:pt x="1036" y="360"/>
                  </a:lnTo>
                  <a:lnTo>
                    <a:pt x="1034" y="360"/>
                  </a:lnTo>
                  <a:lnTo>
                    <a:pt x="1032" y="360"/>
                  </a:lnTo>
                  <a:lnTo>
                    <a:pt x="1032" y="360"/>
                  </a:lnTo>
                  <a:lnTo>
                    <a:pt x="1032" y="360"/>
                  </a:lnTo>
                  <a:lnTo>
                    <a:pt x="1032" y="360"/>
                  </a:lnTo>
                  <a:lnTo>
                    <a:pt x="1032" y="360"/>
                  </a:lnTo>
                  <a:lnTo>
                    <a:pt x="1029" y="360"/>
                  </a:lnTo>
                  <a:lnTo>
                    <a:pt x="1029" y="360"/>
                  </a:lnTo>
                  <a:lnTo>
                    <a:pt x="1029" y="360"/>
                  </a:lnTo>
                  <a:lnTo>
                    <a:pt x="1029" y="360"/>
                  </a:lnTo>
                  <a:lnTo>
                    <a:pt x="1029" y="360"/>
                  </a:lnTo>
                  <a:lnTo>
                    <a:pt x="1029" y="360"/>
                  </a:lnTo>
                  <a:lnTo>
                    <a:pt x="1029" y="358"/>
                  </a:lnTo>
                  <a:lnTo>
                    <a:pt x="1029" y="358"/>
                  </a:lnTo>
                  <a:lnTo>
                    <a:pt x="1029" y="358"/>
                  </a:lnTo>
                  <a:lnTo>
                    <a:pt x="1029" y="358"/>
                  </a:lnTo>
                  <a:lnTo>
                    <a:pt x="1029" y="358"/>
                  </a:lnTo>
                  <a:lnTo>
                    <a:pt x="1032" y="358"/>
                  </a:lnTo>
                  <a:lnTo>
                    <a:pt x="1032" y="358"/>
                  </a:lnTo>
                  <a:lnTo>
                    <a:pt x="1032" y="358"/>
                  </a:lnTo>
                  <a:lnTo>
                    <a:pt x="1032" y="358"/>
                  </a:lnTo>
                  <a:lnTo>
                    <a:pt x="1032" y="358"/>
                  </a:lnTo>
                  <a:lnTo>
                    <a:pt x="1032" y="358"/>
                  </a:lnTo>
                  <a:lnTo>
                    <a:pt x="1032" y="358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4" y="356"/>
                  </a:lnTo>
                  <a:lnTo>
                    <a:pt x="1032" y="354"/>
                  </a:lnTo>
                  <a:lnTo>
                    <a:pt x="1032" y="354"/>
                  </a:lnTo>
                  <a:lnTo>
                    <a:pt x="1032" y="354"/>
                  </a:lnTo>
                  <a:lnTo>
                    <a:pt x="1032" y="354"/>
                  </a:lnTo>
                  <a:lnTo>
                    <a:pt x="1032" y="354"/>
                  </a:lnTo>
                  <a:lnTo>
                    <a:pt x="1029" y="354"/>
                  </a:lnTo>
                  <a:lnTo>
                    <a:pt x="1027" y="354"/>
                  </a:lnTo>
                  <a:lnTo>
                    <a:pt x="1027" y="354"/>
                  </a:lnTo>
                  <a:lnTo>
                    <a:pt x="1025" y="354"/>
                  </a:lnTo>
                  <a:lnTo>
                    <a:pt x="1025" y="354"/>
                  </a:lnTo>
                  <a:lnTo>
                    <a:pt x="1025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3" y="354"/>
                  </a:lnTo>
                  <a:lnTo>
                    <a:pt x="1025" y="354"/>
                  </a:lnTo>
                  <a:lnTo>
                    <a:pt x="1025" y="351"/>
                  </a:lnTo>
                  <a:lnTo>
                    <a:pt x="1027" y="351"/>
                  </a:lnTo>
                  <a:lnTo>
                    <a:pt x="1027" y="351"/>
                  </a:lnTo>
                  <a:lnTo>
                    <a:pt x="1027" y="351"/>
                  </a:lnTo>
                  <a:lnTo>
                    <a:pt x="1027" y="351"/>
                  </a:lnTo>
                  <a:lnTo>
                    <a:pt x="1027" y="351"/>
                  </a:lnTo>
                  <a:lnTo>
                    <a:pt x="1027" y="349"/>
                  </a:lnTo>
                  <a:lnTo>
                    <a:pt x="1027" y="349"/>
                  </a:lnTo>
                  <a:lnTo>
                    <a:pt x="1027" y="349"/>
                  </a:lnTo>
                  <a:lnTo>
                    <a:pt x="1025" y="349"/>
                  </a:lnTo>
                  <a:lnTo>
                    <a:pt x="1025" y="349"/>
                  </a:lnTo>
                  <a:lnTo>
                    <a:pt x="1025" y="351"/>
                  </a:lnTo>
                  <a:lnTo>
                    <a:pt x="1023" y="351"/>
                  </a:lnTo>
                  <a:lnTo>
                    <a:pt x="1023" y="351"/>
                  </a:lnTo>
                  <a:lnTo>
                    <a:pt x="1023" y="351"/>
                  </a:lnTo>
                  <a:lnTo>
                    <a:pt x="1023" y="351"/>
                  </a:lnTo>
                  <a:lnTo>
                    <a:pt x="1023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20" y="351"/>
                  </a:lnTo>
                  <a:lnTo>
                    <a:pt x="1018" y="351"/>
                  </a:lnTo>
                  <a:lnTo>
                    <a:pt x="1018" y="351"/>
                  </a:lnTo>
                  <a:lnTo>
                    <a:pt x="1018" y="351"/>
                  </a:lnTo>
                  <a:lnTo>
                    <a:pt x="1016" y="351"/>
                  </a:lnTo>
                  <a:lnTo>
                    <a:pt x="1016" y="351"/>
                  </a:lnTo>
                  <a:lnTo>
                    <a:pt x="1016" y="354"/>
                  </a:lnTo>
                  <a:lnTo>
                    <a:pt x="1016" y="354"/>
                  </a:lnTo>
                  <a:lnTo>
                    <a:pt x="1016" y="354"/>
                  </a:lnTo>
                  <a:lnTo>
                    <a:pt x="1016" y="354"/>
                  </a:lnTo>
                  <a:lnTo>
                    <a:pt x="1014" y="354"/>
                  </a:lnTo>
                  <a:lnTo>
                    <a:pt x="1014" y="354"/>
                  </a:lnTo>
                  <a:lnTo>
                    <a:pt x="1014" y="354"/>
                  </a:lnTo>
                  <a:lnTo>
                    <a:pt x="1014" y="354"/>
                  </a:lnTo>
                  <a:lnTo>
                    <a:pt x="1014" y="354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6"/>
                  </a:lnTo>
                  <a:lnTo>
                    <a:pt x="1014" y="358"/>
                  </a:lnTo>
                  <a:lnTo>
                    <a:pt x="1014" y="358"/>
                  </a:lnTo>
                  <a:lnTo>
                    <a:pt x="1014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11" y="358"/>
                  </a:lnTo>
                  <a:lnTo>
                    <a:pt x="1009" y="358"/>
                  </a:lnTo>
                  <a:lnTo>
                    <a:pt x="1009" y="358"/>
                  </a:lnTo>
                  <a:lnTo>
                    <a:pt x="1009" y="358"/>
                  </a:lnTo>
                  <a:lnTo>
                    <a:pt x="1007" y="360"/>
                  </a:lnTo>
                  <a:lnTo>
                    <a:pt x="1007" y="360"/>
                  </a:lnTo>
                  <a:lnTo>
                    <a:pt x="1005" y="360"/>
                  </a:lnTo>
                  <a:lnTo>
                    <a:pt x="1005" y="360"/>
                  </a:lnTo>
                  <a:lnTo>
                    <a:pt x="1005" y="360"/>
                  </a:lnTo>
                  <a:lnTo>
                    <a:pt x="1005" y="360"/>
                  </a:lnTo>
                  <a:lnTo>
                    <a:pt x="1005" y="360"/>
                  </a:lnTo>
                  <a:lnTo>
                    <a:pt x="1002" y="362"/>
                  </a:lnTo>
                  <a:lnTo>
                    <a:pt x="1002" y="362"/>
                  </a:lnTo>
                  <a:lnTo>
                    <a:pt x="1002" y="362"/>
                  </a:lnTo>
                  <a:lnTo>
                    <a:pt x="1000" y="360"/>
                  </a:lnTo>
                  <a:lnTo>
                    <a:pt x="1000" y="362"/>
                  </a:lnTo>
                  <a:lnTo>
                    <a:pt x="1000" y="360"/>
                  </a:lnTo>
                  <a:lnTo>
                    <a:pt x="1000" y="360"/>
                  </a:lnTo>
                  <a:lnTo>
                    <a:pt x="998" y="362"/>
                  </a:lnTo>
                  <a:lnTo>
                    <a:pt x="998" y="362"/>
                  </a:lnTo>
                  <a:lnTo>
                    <a:pt x="998" y="362"/>
                  </a:lnTo>
                  <a:lnTo>
                    <a:pt x="998" y="362"/>
                  </a:lnTo>
                  <a:lnTo>
                    <a:pt x="998" y="362"/>
                  </a:lnTo>
                  <a:lnTo>
                    <a:pt x="998" y="362"/>
                  </a:lnTo>
                  <a:lnTo>
                    <a:pt x="996" y="362"/>
                  </a:lnTo>
                  <a:lnTo>
                    <a:pt x="996" y="362"/>
                  </a:lnTo>
                  <a:lnTo>
                    <a:pt x="996" y="362"/>
                  </a:lnTo>
                  <a:lnTo>
                    <a:pt x="993" y="365"/>
                  </a:lnTo>
                  <a:lnTo>
                    <a:pt x="993" y="365"/>
                  </a:lnTo>
                  <a:lnTo>
                    <a:pt x="993" y="367"/>
                  </a:lnTo>
                  <a:lnTo>
                    <a:pt x="991" y="367"/>
                  </a:lnTo>
                  <a:lnTo>
                    <a:pt x="991" y="367"/>
                  </a:lnTo>
                  <a:lnTo>
                    <a:pt x="989" y="367"/>
                  </a:lnTo>
                  <a:lnTo>
                    <a:pt x="989" y="369"/>
                  </a:lnTo>
                  <a:lnTo>
                    <a:pt x="989" y="369"/>
                  </a:lnTo>
                  <a:lnTo>
                    <a:pt x="987" y="369"/>
                  </a:lnTo>
                  <a:lnTo>
                    <a:pt x="987" y="369"/>
                  </a:lnTo>
                  <a:lnTo>
                    <a:pt x="987" y="369"/>
                  </a:lnTo>
                  <a:lnTo>
                    <a:pt x="982" y="371"/>
                  </a:lnTo>
                  <a:lnTo>
                    <a:pt x="980" y="371"/>
                  </a:lnTo>
                  <a:lnTo>
                    <a:pt x="975" y="371"/>
                  </a:lnTo>
                  <a:lnTo>
                    <a:pt x="973" y="371"/>
                  </a:lnTo>
                  <a:lnTo>
                    <a:pt x="971" y="371"/>
                  </a:lnTo>
                  <a:lnTo>
                    <a:pt x="971" y="371"/>
                  </a:lnTo>
                  <a:lnTo>
                    <a:pt x="971" y="371"/>
                  </a:lnTo>
                  <a:lnTo>
                    <a:pt x="971" y="369"/>
                  </a:lnTo>
                  <a:lnTo>
                    <a:pt x="971" y="369"/>
                  </a:lnTo>
                  <a:lnTo>
                    <a:pt x="971" y="369"/>
                  </a:lnTo>
                  <a:lnTo>
                    <a:pt x="971" y="369"/>
                  </a:lnTo>
                  <a:lnTo>
                    <a:pt x="971" y="369"/>
                  </a:lnTo>
                  <a:lnTo>
                    <a:pt x="973" y="369"/>
                  </a:lnTo>
                  <a:lnTo>
                    <a:pt x="973" y="367"/>
                  </a:lnTo>
                  <a:lnTo>
                    <a:pt x="973" y="367"/>
                  </a:lnTo>
                  <a:lnTo>
                    <a:pt x="973" y="367"/>
                  </a:lnTo>
                  <a:lnTo>
                    <a:pt x="973" y="365"/>
                  </a:lnTo>
                  <a:lnTo>
                    <a:pt x="973" y="365"/>
                  </a:lnTo>
                  <a:lnTo>
                    <a:pt x="975" y="365"/>
                  </a:lnTo>
                  <a:lnTo>
                    <a:pt x="975" y="365"/>
                  </a:lnTo>
                  <a:lnTo>
                    <a:pt x="975" y="365"/>
                  </a:lnTo>
                  <a:lnTo>
                    <a:pt x="975" y="365"/>
                  </a:lnTo>
                  <a:lnTo>
                    <a:pt x="975" y="365"/>
                  </a:lnTo>
                  <a:lnTo>
                    <a:pt x="975" y="362"/>
                  </a:lnTo>
                  <a:lnTo>
                    <a:pt x="975" y="362"/>
                  </a:lnTo>
                  <a:lnTo>
                    <a:pt x="975" y="362"/>
                  </a:lnTo>
                  <a:lnTo>
                    <a:pt x="978" y="362"/>
                  </a:lnTo>
                  <a:lnTo>
                    <a:pt x="978" y="362"/>
                  </a:lnTo>
                  <a:lnTo>
                    <a:pt x="978" y="362"/>
                  </a:lnTo>
                  <a:lnTo>
                    <a:pt x="978" y="362"/>
                  </a:lnTo>
                  <a:lnTo>
                    <a:pt x="978" y="362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60"/>
                  </a:lnTo>
                  <a:lnTo>
                    <a:pt x="978" y="358"/>
                  </a:lnTo>
                  <a:lnTo>
                    <a:pt x="978" y="358"/>
                  </a:lnTo>
                  <a:lnTo>
                    <a:pt x="978" y="358"/>
                  </a:lnTo>
                  <a:lnTo>
                    <a:pt x="975" y="360"/>
                  </a:lnTo>
                  <a:lnTo>
                    <a:pt x="975" y="360"/>
                  </a:lnTo>
                  <a:lnTo>
                    <a:pt x="975" y="360"/>
                  </a:lnTo>
                  <a:lnTo>
                    <a:pt x="973" y="360"/>
                  </a:lnTo>
                  <a:lnTo>
                    <a:pt x="969" y="360"/>
                  </a:lnTo>
                  <a:lnTo>
                    <a:pt x="966" y="360"/>
                  </a:lnTo>
                  <a:lnTo>
                    <a:pt x="964" y="360"/>
                  </a:lnTo>
                  <a:lnTo>
                    <a:pt x="962" y="360"/>
                  </a:lnTo>
                  <a:lnTo>
                    <a:pt x="962" y="360"/>
                  </a:lnTo>
                  <a:lnTo>
                    <a:pt x="960" y="360"/>
                  </a:lnTo>
                  <a:lnTo>
                    <a:pt x="960" y="362"/>
                  </a:lnTo>
                  <a:lnTo>
                    <a:pt x="957" y="362"/>
                  </a:lnTo>
                  <a:lnTo>
                    <a:pt x="955" y="362"/>
                  </a:lnTo>
                  <a:lnTo>
                    <a:pt x="953" y="362"/>
                  </a:lnTo>
                  <a:lnTo>
                    <a:pt x="953" y="362"/>
                  </a:lnTo>
                  <a:lnTo>
                    <a:pt x="951" y="362"/>
                  </a:lnTo>
                  <a:lnTo>
                    <a:pt x="951" y="362"/>
                  </a:lnTo>
                  <a:lnTo>
                    <a:pt x="951" y="360"/>
                  </a:lnTo>
                  <a:lnTo>
                    <a:pt x="953" y="360"/>
                  </a:lnTo>
                  <a:lnTo>
                    <a:pt x="953" y="360"/>
                  </a:lnTo>
                  <a:lnTo>
                    <a:pt x="960" y="356"/>
                  </a:lnTo>
                  <a:lnTo>
                    <a:pt x="962" y="356"/>
                  </a:lnTo>
                  <a:lnTo>
                    <a:pt x="966" y="354"/>
                  </a:lnTo>
                  <a:lnTo>
                    <a:pt x="969" y="354"/>
                  </a:lnTo>
                  <a:lnTo>
                    <a:pt x="969" y="354"/>
                  </a:lnTo>
                  <a:lnTo>
                    <a:pt x="971" y="351"/>
                  </a:lnTo>
                  <a:lnTo>
                    <a:pt x="971" y="351"/>
                  </a:lnTo>
                  <a:lnTo>
                    <a:pt x="973" y="351"/>
                  </a:lnTo>
                  <a:lnTo>
                    <a:pt x="973" y="351"/>
                  </a:lnTo>
                  <a:lnTo>
                    <a:pt x="975" y="351"/>
                  </a:lnTo>
                  <a:lnTo>
                    <a:pt x="975" y="351"/>
                  </a:lnTo>
                  <a:lnTo>
                    <a:pt x="975" y="351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9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7"/>
                  </a:lnTo>
                  <a:lnTo>
                    <a:pt x="975" y="345"/>
                  </a:lnTo>
                  <a:lnTo>
                    <a:pt x="975" y="345"/>
                  </a:lnTo>
                  <a:lnTo>
                    <a:pt x="975" y="345"/>
                  </a:lnTo>
                  <a:lnTo>
                    <a:pt x="978" y="345"/>
                  </a:lnTo>
                  <a:lnTo>
                    <a:pt x="975" y="345"/>
                  </a:lnTo>
                  <a:lnTo>
                    <a:pt x="975" y="345"/>
                  </a:lnTo>
                  <a:lnTo>
                    <a:pt x="978" y="345"/>
                  </a:lnTo>
                  <a:lnTo>
                    <a:pt x="978" y="345"/>
                  </a:lnTo>
                  <a:lnTo>
                    <a:pt x="978" y="342"/>
                  </a:lnTo>
                  <a:lnTo>
                    <a:pt x="978" y="342"/>
                  </a:lnTo>
                  <a:lnTo>
                    <a:pt x="978" y="340"/>
                  </a:lnTo>
                  <a:lnTo>
                    <a:pt x="980" y="340"/>
                  </a:lnTo>
                  <a:lnTo>
                    <a:pt x="980" y="340"/>
                  </a:lnTo>
                  <a:lnTo>
                    <a:pt x="984" y="336"/>
                  </a:lnTo>
                  <a:lnTo>
                    <a:pt x="984" y="336"/>
                  </a:lnTo>
                  <a:lnTo>
                    <a:pt x="984" y="336"/>
                  </a:lnTo>
                  <a:lnTo>
                    <a:pt x="984" y="336"/>
                  </a:lnTo>
                  <a:lnTo>
                    <a:pt x="984" y="336"/>
                  </a:lnTo>
                  <a:lnTo>
                    <a:pt x="987" y="336"/>
                  </a:lnTo>
                  <a:lnTo>
                    <a:pt x="984" y="336"/>
                  </a:lnTo>
                  <a:lnTo>
                    <a:pt x="984" y="336"/>
                  </a:lnTo>
                  <a:lnTo>
                    <a:pt x="984" y="336"/>
                  </a:lnTo>
                  <a:lnTo>
                    <a:pt x="987" y="336"/>
                  </a:lnTo>
                  <a:lnTo>
                    <a:pt x="987" y="336"/>
                  </a:lnTo>
                  <a:lnTo>
                    <a:pt x="987" y="336"/>
                  </a:lnTo>
                  <a:lnTo>
                    <a:pt x="987" y="336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87" y="333"/>
                  </a:lnTo>
                  <a:lnTo>
                    <a:pt x="987" y="331"/>
                  </a:lnTo>
                  <a:lnTo>
                    <a:pt x="989" y="331"/>
                  </a:lnTo>
                  <a:lnTo>
                    <a:pt x="989" y="331"/>
                  </a:lnTo>
                  <a:lnTo>
                    <a:pt x="989" y="331"/>
                  </a:lnTo>
                  <a:lnTo>
                    <a:pt x="989" y="331"/>
                  </a:lnTo>
                  <a:lnTo>
                    <a:pt x="989" y="331"/>
                  </a:lnTo>
                  <a:lnTo>
                    <a:pt x="991" y="331"/>
                  </a:lnTo>
                  <a:lnTo>
                    <a:pt x="991" y="329"/>
                  </a:lnTo>
                  <a:lnTo>
                    <a:pt x="991" y="329"/>
                  </a:lnTo>
                  <a:lnTo>
                    <a:pt x="991" y="329"/>
                  </a:lnTo>
                  <a:lnTo>
                    <a:pt x="991" y="327"/>
                  </a:lnTo>
                  <a:lnTo>
                    <a:pt x="991" y="327"/>
                  </a:lnTo>
                  <a:lnTo>
                    <a:pt x="991" y="327"/>
                  </a:lnTo>
                  <a:lnTo>
                    <a:pt x="991" y="327"/>
                  </a:lnTo>
                  <a:lnTo>
                    <a:pt x="993" y="327"/>
                  </a:lnTo>
                  <a:lnTo>
                    <a:pt x="993" y="324"/>
                  </a:lnTo>
                  <a:lnTo>
                    <a:pt x="993" y="324"/>
                  </a:lnTo>
                  <a:lnTo>
                    <a:pt x="993" y="324"/>
                  </a:lnTo>
                  <a:lnTo>
                    <a:pt x="993" y="324"/>
                  </a:lnTo>
                  <a:lnTo>
                    <a:pt x="993" y="324"/>
                  </a:lnTo>
                  <a:lnTo>
                    <a:pt x="993" y="324"/>
                  </a:lnTo>
                  <a:lnTo>
                    <a:pt x="993" y="324"/>
                  </a:lnTo>
                  <a:lnTo>
                    <a:pt x="996" y="324"/>
                  </a:lnTo>
                  <a:lnTo>
                    <a:pt x="996" y="324"/>
                  </a:lnTo>
                  <a:lnTo>
                    <a:pt x="996" y="322"/>
                  </a:lnTo>
                  <a:lnTo>
                    <a:pt x="996" y="322"/>
                  </a:lnTo>
                  <a:lnTo>
                    <a:pt x="998" y="320"/>
                  </a:lnTo>
                  <a:lnTo>
                    <a:pt x="998" y="320"/>
                  </a:lnTo>
                  <a:lnTo>
                    <a:pt x="1000" y="320"/>
                  </a:lnTo>
                  <a:lnTo>
                    <a:pt x="1000" y="320"/>
                  </a:lnTo>
                  <a:lnTo>
                    <a:pt x="1000" y="318"/>
                  </a:lnTo>
                  <a:lnTo>
                    <a:pt x="1000" y="318"/>
                  </a:lnTo>
                  <a:lnTo>
                    <a:pt x="1002" y="318"/>
                  </a:lnTo>
                  <a:lnTo>
                    <a:pt x="1007" y="315"/>
                  </a:lnTo>
                  <a:lnTo>
                    <a:pt x="1009" y="313"/>
                  </a:lnTo>
                  <a:lnTo>
                    <a:pt x="1011" y="313"/>
                  </a:lnTo>
                  <a:lnTo>
                    <a:pt x="1011" y="313"/>
                  </a:lnTo>
                  <a:lnTo>
                    <a:pt x="1014" y="313"/>
                  </a:lnTo>
                  <a:lnTo>
                    <a:pt x="1011" y="315"/>
                  </a:lnTo>
                  <a:lnTo>
                    <a:pt x="1011" y="315"/>
                  </a:lnTo>
                  <a:lnTo>
                    <a:pt x="1011" y="315"/>
                  </a:lnTo>
                  <a:lnTo>
                    <a:pt x="1011" y="315"/>
                  </a:lnTo>
                  <a:close/>
                  <a:moveTo>
                    <a:pt x="1337" y="311"/>
                  </a:moveTo>
                  <a:lnTo>
                    <a:pt x="1337" y="311"/>
                  </a:lnTo>
                  <a:lnTo>
                    <a:pt x="1337" y="311"/>
                  </a:lnTo>
                  <a:lnTo>
                    <a:pt x="1337" y="311"/>
                  </a:lnTo>
                  <a:close/>
                  <a:moveTo>
                    <a:pt x="1020" y="311"/>
                  </a:moveTo>
                  <a:lnTo>
                    <a:pt x="1020" y="311"/>
                  </a:lnTo>
                  <a:lnTo>
                    <a:pt x="1023" y="311"/>
                  </a:lnTo>
                  <a:lnTo>
                    <a:pt x="1023" y="311"/>
                  </a:lnTo>
                  <a:lnTo>
                    <a:pt x="1023" y="311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3"/>
                  </a:lnTo>
                  <a:lnTo>
                    <a:pt x="1023" y="315"/>
                  </a:lnTo>
                  <a:lnTo>
                    <a:pt x="1023" y="315"/>
                  </a:lnTo>
                  <a:lnTo>
                    <a:pt x="1023" y="315"/>
                  </a:lnTo>
                  <a:lnTo>
                    <a:pt x="1023" y="315"/>
                  </a:lnTo>
                  <a:lnTo>
                    <a:pt x="1023" y="315"/>
                  </a:lnTo>
                  <a:lnTo>
                    <a:pt x="1023" y="315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18"/>
                  </a:lnTo>
                  <a:lnTo>
                    <a:pt x="1023" y="320"/>
                  </a:lnTo>
                  <a:lnTo>
                    <a:pt x="1023" y="320"/>
                  </a:lnTo>
                  <a:lnTo>
                    <a:pt x="1023" y="320"/>
                  </a:lnTo>
                  <a:lnTo>
                    <a:pt x="1023" y="320"/>
                  </a:lnTo>
                  <a:lnTo>
                    <a:pt x="1020" y="320"/>
                  </a:lnTo>
                  <a:lnTo>
                    <a:pt x="1020" y="320"/>
                  </a:lnTo>
                  <a:lnTo>
                    <a:pt x="1020" y="320"/>
                  </a:lnTo>
                  <a:lnTo>
                    <a:pt x="1020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20"/>
                  </a:lnTo>
                  <a:lnTo>
                    <a:pt x="1018" y="318"/>
                  </a:lnTo>
                  <a:lnTo>
                    <a:pt x="1018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8"/>
                  </a:lnTo>
                  <a:lnTo>
                    <a:pt x="1016" y="315"/>
                  </a:lnTo>
                  <a:lnTo>
                    <a:pt x="1016" y="315"/>
                  </a:lnTo>
                  <a:lnTo>
                    <a:pt x="1016" y="315"/>
                  </a:lnTo>
                  <a:lnTo>
                    <a:pt x="1018" y="313"/>
                  </a:lnTo>
                  <a:lnTo>
                    <a:pt x="1018" y="313"/>
                  </a:lnTo>
                  <a:lnTo>
                    <a:pt x="1018" y="313"/>
                  </a:lnTo>
                  <a:lnTo>
                    <a:pt x="1018" y="313"/>
                  </a:lnTo>
                  <a:lnTo>
                    <a:pt x="1018" y="313"/>
                  </a:lnTo>
                  <a:lnTo>
                    <a:pt x="1018" y="313"/>
                  </a:lnTo>
                  <a:lnTo>
                    <a:pt x="1018" y="313"/>
                  </a:lnTo>
                  <a:lnTo>
                    <a:pt x="1018" y="311"/>
                  </a:lnTo>
                  <a:lnTo>
                    <a:pt x="1018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lnTo>
                    <a:pt x="1020" y="311"/>
                  </a:lnTo>
                  <a:close/>
                  <a:moveTo>
                    <a:pt x="1045" y="311"/>
                  </a:move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close/>
                  <a:moveTo>
                    <a:pt x="1045" y="309"/>
                  </a:move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5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3" y="311"/>
                  </a:lnTo>
                  <a:lnTo>
                    <a:pt x="1043" y="309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5" y="309"/>
                  </a:lnTo>
                  <a:close/>
                  <a:moveTo>
                    <a:pt x="1034" y="309"/>
                  </a:moveTo>
                  <a:lnTo>
                    <a:pt x="1036" y="311"/>
                  </a:lnTo>
                  <a:lnTo>
                    <a:pt x="1036" y="311"/>
                  </a:lnTo>
                  <a:lnTo>
                    <a:pt x="1036" y="311"/>
                  </a:lnTo>
                  <a:lnTo>
                    <a:pt x="1036" y="311"/>
                  </a:lnTo>
                  <a:lnTo>
                    <a:pt x="1036" y="311"/>
                  </a:lnTo>
                  <a:lnTo>
                    <a:pt x="1036" y="311"/>
                  </a:lnTo>
                  <a:lnTo>
                    <a:pt x="1036" y="311"/>
                  </a:lnTo>
                  <a:lnTo>
                    <a:pt x="1036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1"/>
                  </a:lnTo>
                  <a:lnTo>
                    <a:pt x="1038" y="313"/>
                  </a:lnTo>
                  <a:lnTo>
                    <a:pt x="1041" y="313"/>
                  </a:lnTo>
                  <a:lnTo>
                    <a:pt x="1041" y="313"/>
                  </a:lnTo>
                  <a:lnTo>
                    <a:pt x="1041" y="313"/>
                  </a:lnTo>
                  <a:lnTo>
                    <a:pt x="1041" y="313"/>
                  </a:lnTo>
                  <a:lnTo>
                    <a:pt x="1041" y="313"/>
                  </a:lnTo>
                  <a:lnTo>
                    <a:pt x="1041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1" y="318"/>
                  </a:lnTo>
                  <a:lnTo>
                    <a:pt x="1045" y="318"/>
                  </a:lnTo>
                  <a:lnTo>
                    <a:pt x="1045" y="318"/>
                  </a:lnTo>
                  <a:lnTo>
                    <a:pt x="1045" y="318"/>
                  </a:lnTo>
                  <a:lnTo>
                    <a:pt x="1045" y="318"/>
                  </a:lnTo>
                  <a:lnTo>
                    <a:pt x="1045" y="318"/>
                  </a:lnTo>
                  <a:lnTo>
                    <a:pt x="1045" y="318"/>
                  </a:lnTo>
                  <a:lnTo>
                    <a:pt x="1045" y="318"/>
                  </a:lnTo>
                  <a:lnTo>
                    <a:pt x="1043" y="320"/>
                  </a:lnTo>
                  <a:lnTo>
                    <a:pt x="1043" y="320"/>
                  </a:lnTo>
                  <a:lnTo>
                    <a:pt x="1043" y="320"/>
                  </a:lnTo>
                  <a:lnTo>
                    <a:pt x="1043" y="320"/>
                  </a:lnTo>
                  <a:lnTo>
                    <a:pt x="1043" y="320"/>
                  </a:lnTo>
                  <a:lnTo>
                    <a:pt x="1043" y="320"/>
                  </a:lnTo>
                  <a:lnTo>
                    <a:pt x="1041" y="320"/>
                  </a:lnTo>
                  <a:lnTo>
                    <a:pt x="1041" y="320"/>
                  </a:lnTo>
                  <a:lnTo>
                    <a:pt x="1041" y="320"/>
                  </a:lnTo>
                  <a:lnTo>
                    <a:pt x="1041" y="320"/>
                  </a:lnTo>
                  <a:lnTo>
                    <a:pt x="1041" y="320"/>
                  </a:lnTo>
                  <a:lnTo>
                    <a:pt x="1041" y="320"/>
                  </a:lnTo>
                  <a:lnTo>
                    <a:pt x="1038" y="320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20"/>
                  </a:lnTo>
                  <a:lnTo>
                    <a:pt x="1038" y="320"/>
                  </a:lnTo>
                  <a:lnTo>
                    <a:pt x="1038" y="320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20"/>
                  </a:lnTo>
                  <a:lnTo>
                    <a:pt x="1034" y="320"/>
                  </a:lnTo>
                  <a:lnTo>
                    <a:pt x="1034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6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8" y="318"/>
                  </a:lnTo>
                  <a:lnTo>
                    <a:pt x="1036" y="318"/>
                  </a:lnTo>
                  <a:lnTo>
                    <a:pt x="1036" y="315"/>
                  </a:lnTo>
                  <a:lnTo>
                    <a:pt x="1038" y="315"/>
                  </a:lnTo>
                  <a:lnTo>
                    <a:pt x="1038" y="315"/>
                  </a:lnTo>
                  <a:lnTo>
                    <a:pt x="1036" y="315"/>
                  </a:lnTo>
                  <a:lnTo>
                    <a:pt x="1036" y="315"/>
                  </a:lnTo>
                  <a:lnTo>
                    <a:pt x="1034" y="318"/>
                  </a:lnTo>
                  <a:lnTo>
                    <a:pt x="1034" y="318"/>
                  </a:lnTo>
                  <a:lnTo>
                    <a:pt x="1034" y="318"/>
                  </a:lnTo>
                  <a:lnTo>
                    <a:pt x="1034" y="318"/>
                  </a:lnTo>
                  <a:lnTo>
                    <a:pt x="1034" y="318"/>
                  </a:lnTo>
                  <a:lnTo>
                    <a:pt x="1034" y="318"/>
                  </a:lnTo>
                  <a:lnTo>
                    <a:pt x="1032" y="318"/>
                  </a:lnTo>
                  <a:lnTo>
                    <a:pt x="1032" y="318"/>
                  </a:lnTo>
                  <a:lnTo>
                    <a:pt x="1032" y="318"/>
                  </a:lnTo>
                  <a:lnTo>
                    <a:pt x="1032" y="315"/>
                  </a:lnTo>
                  <a:lnTo>
                    <a:pt x="1032" y="315"/>
                  </a:lnTo>
                  <a:lnTo>
                    <a:pt x="1032" y="315"/>
                  </a:lnTo>
                  <a:lnTo>
                    <a:pt x="1032" y="315"/>
                  </a:lnTo>
                  <a:lnTo>
                    <a:pt x="1034" y="315"/>
                  </a:lnTo>
                  <a:lnTo>
                    <a:pt x="1034" y="315"/>
                  </a:lnTo>
                  <a:lnTo>
                    <a:pt x="1034" y="315"/>
                  </a:lnTo>
                  <a:lnTo>
                    <a:pt x="1034" y="315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4" y="313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11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4" y="309"/>
                  </a:lnTo>
                  <a:close/>
                  <a:moveTo>
                    <a:pt x="1319" y="306"/>
                  </a:move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close/>
                  <a:moveTo>
                    <a:pt x="1054" y="306"/>
                  </a:moveTo>
                  <a:lnTo>
                    <a:pt x="1054" y="306"/>
                  </a:lnTo>
                  <a:lnTo>
                    <a:pt x="1054" y="306"/>
                  </a:lnTo>
                  <a:lnTo>
                    <a:pt x="1054" y="306"/>
                  </a:lnTo>
                  <a:lnTo>
                    <a:pt x="1054" y="306"/>
                  </a:lnTo>
                  <a:lnTo>
                    <a:pt x="1056" y="306"/>
                  </a:lnTo>
                  <a:lnTo>
                    <a:pt x="1056" y="306"/>
                  </a:lnTo>
                  <a:lnTo>
                    <a:pt x="1056" y="306"/>
                  </a:lnTo>
                  <a:lnTo>
                    <a:pt x="1056" y="306"/>
                  </a:lnTo>
                  <a:lnTo>
                    <a:pt x="1059" y="306"/>
                  </a:lnTo>
                  <a:lnTo>
                    <a:pt x="1059" y="306"/>
                  </a:lnTo>
                  <a:lnTo>
                    <a:pt x="1056" y="306"/>
                  </a:lnTo>
                  <a:lnTo>
                    <a:pt x="1056" y="306"/>
                  </a:lnTo>
                  <a:lnTo>
                    <a:pt x="1056" y="306"/>
                  </a:lnTo>
                  <a:lnTo>
                    <a:pt x="1056" y="309"/>
                  </a:lnTo>
                  <a:lnTo>
                    <a:pt x="1054" y="309"/>
                  </a:lnTo>
                  <a:lnTo>
                    <a:pt x="1054" y="309"/>
                  </a:lnTo>
                  <a:lnTo>
                    <a:pt x="1054" y="306"/>
                  </a:lnTo>
                  <a:lnTo>
                    <a:pt x="1054" y="306"/>
                  </a:lnTo>
                  <a:lnTo>
                    <a:pt x="1054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6"/>
                  </a:lnTo>
                  <a:lnTo>
                    <a:pt x="1052" y="304"/>
                  </a:lnTo>
                  <a:lnTo>
                    <a:pt x="1052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6"/>
                  </a:lnTo>
                  <a:close/>
                  <a:moveTo>
                    <a:pt x="1041" y="293"/>
                  </a:moveTo>
                  <a:lnTo>
                    <a:pt x="1041" y="293"/>
                  </a:lnTo>
                  <a:lnTo>
                    <a:pt x="1041" y="293"/>
                  </a:lnTo>
                  <a:lnTo>
                    <a:pt x="1041" y="293"/>
                  </a:lnTo>
                  <a:close/>
                  <a:moveTo>
                    <a:pt x="677" y="293"/>
                  </a:moveTo>
                  <a:lnTo>
                    <a:pt x="674" y="295"/>
                  </a:lnTo>
                  <a:lnTo>
                    <a:pt x="674" y="293"/>
                  </a:lnTo>
                  <a:lnTo>
                    <a:pt x="677" y="293"/>
                  </a:lnTo>
                  <a:lnTo>
                    <a:pt x="677" y="293"/>
                  </a:lnTo>
                  <a:lnTo>
                    <a:pt x="677" y="293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7" y="293"/>
                  </a:lnTo>
                  <a:lnTo>
                    <a:pt x="677" y="293"/>
                  </a:lnTo>
                  <a:lnTo>
                    <a:pt x="677" y="293"/>
                  </a:lnTo>
                  <a:lnTo>
                    <a:pt x="677" y="293"/>
                  </a:lnTo>
                  <a:close/>
                  <a:moveTo>
                    <a:pt x="677" y="293"/>
                  </a:moveTo>
                  <a:lnTo>
                    <a:pt x="677" y="293"/>
                  </a:lnTo>
                  <a:lnTo>
                    <a:pt x="677" y="293"/>
                  </a:lnTo>
                  <a:lnTo>
                    <a:pt x="677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7" y="293"/>
                  </a:lnTo>
                  <a:close/>
                  <a:moveTo>
                    <a:pt x="1391" y="286"/>
                  </a:moveTo>
                  <a:lnTo>
                    <a:pt x="1391" y="288"/>
                  </a:lnTo>
                  <a:lnTo>
                    <a:pt x="1391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2" y="291"/>
                  </a:lnTo>
                  <a:lnTo>
                    <a:pt x="1382" y="291"/>
                  </a:lnTo>
                  <a:lnTo>
                    <a:pt x="1382" y="291"/>
                  </a:lnTo>
                  <a:lnTo>
                    <a:pt x="1384" y="291"/>
                  </a:lnTo>
                  <a:lnTo>
                    <a:pt x="1384" y="291"/>
                  </a:lnTo>
                  <a:lnTo>
                    <a:pt x="1384" y="288"/>
                  </a:lnTo>
                  <a:lnTo>
                    <a:pt x="1384" y="288"/>
                  </a:lnTo>
                  <a:lnTo>
                    <a:pt x="1384" y="288"/>
                  </a:lnTo>
                  <a:lnTo>
                    <a:pt x="1384" y="288"/>
                  </a:lnTo>
                  <a:lnTo>
                    <a:pt x="1384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7" y="288"/>
                  </a:lnTo>
                  <a:lnTo>
                    <a:pt x="1389" y="288"/>
                  </a:lnTo>
                  <a:lnTo>
                    <a:pt x="1389" y="288"/>
                  </a:lnTo>
                  <a:lnTo>
                    <a:pt x="1389" y="286"/>
                  </a:lnTo>
                  <a:lnTo>
                    <a:pt x="1389" y="286"/>
                  </a:lnTo>
                  <a:lnTo>
                    <a:pt x="1391" y="286"/>
                  </a:lnTo>
                  <a:lnTo>
                    <a:pt x="1391" y="286"/>
                  </a:lnTo>
                  <a:close/>
                  <a:moveTo>
                    <a:pt x="688" y="288"/>
                  </a:moveTo>
                  <a:lnTo>
                    <a:pt x="686" y="288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8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6"/>
                  </a:lnTo>
                  <a:lnTo>
                    <a:pt x="686" y="288"/>
                  </a:lnTo>
                  <a:lnTo>
                    <a:pt x="688" y="288"/>
                  </a:lnTo>
                  <a:lnTo>
                    <a:pt x="688" y="288"/>
                  </a:lnTo>
                  <a:lnTo>
                    <a:pt x="688" y="288"/>
                  </a:lnTo>
                  <a:lnTo>
                    <a:pt x="688" y="288"/>
                  </a:lnTo>
                  <a:lnTo>
                    <a:pt x="688" y="288"/>
                  </a:lnTo>
                  <a:close/>
                  <a:moveTo>
                    <a:pt x="1373" y="284"/>
                  </a:moveTo>
                  <a:lnTo>
                    <a:pt x="1373" y="284"/>
                  </a:lnTo>
                  <a:lnTo>
                    <a:pt x="1375" y="284"/>
                  </a:lnTo>
                  <a:lnTo>
                    <a:pt x="1375" y="284"/>
                  </a:lnTo>
                  <a:lnTo>
                    <a:pt x="1375" y="284"/>
                  </a:lnTo>
                  <a:lnTo>
                    <a:pt x="1375" y="284"/>
                  </a:lnTo>
                  <a:lnTo>
                    <a:pt x="1375" y="284"/>
                  </a:lnTo>
                  <a:lnTo>
                    <a:pt x="1375" y="284"/>
                  </a:lnTo>
                  <a:lnTo>
                    <a:pt x="1378" y="284"/>
                  </a:lnTo>
                  <a:lnTo>
                    <a:pt x="1378" y="284"/>
                  </a:lnTo>
                  <a:lnTo>
                    <a:pt x="1375" y="286"/>
                  </a:lnTo>
                  <a:lnTo>
                    <a:pt x="1375" y="286"/>
                  </a:lnTo>
                  <a:lnTo>
                    <a:pt x="1371" y="286"/>
                  </a:lnTo>
                  <a:lnTo>
                    <a:pt x="1369" y="286"/>
                  </a:lnTo>
                  <a:lnTo>
                    <a:pt x="1371" y="286"/>
                  </a:lnTo>
                  <a:lnTo>
                    <a:pt x="1371" y="284"/>
                  </a:lnTo>
                  <a:lnTo>
                    <a:pt x="1371" y="284"/>
                  </a:lnTo>
                  <a:lnTo>
                    <a:pt x="1373" y="284"/>
                  </a:lnTo>
                  <a:lnTo>
                    <a:pt x="1373" y="284"/>
                  </a:lnTo>
                  <a:lnTo>
                    <a:pt x="1373" y="284"/>
                  </a:lnTo>
                  <a:lnTo>
                    <a:pt x="1373" y="284"/>
                  </a:lnTo>
                  <a:lnTo>
                    <a:pt x="1373" y="284"/>
                  </a:lnTo>
                  <a:close/>
                  <a:moveTo>
                    <a:pt x="686" y="282"/>
                  </a:moveTo>
                  <a:lnTo>
                    <a:pt x="686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1" y="284"/>
                  </a:lnTo>
                  <a:lnTo>
                    <a:pt x="681" y="284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4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8" y="282"/>
                  </a:lnTo>
                  <a:lnTo>
                    <a:pt x="688" y="282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6" y="282"/>
                  </a:lnTo>
                  <a:close/>
                  <a:moveTo>
                    <a:pt x="681" y="279"/>
                  </a:move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79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81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81" y="279"/>
                  </a:lnTo>
                  <a:lnTo>
                    <a:pt x="681" y="279"/>
                  </a:lnTo>
                  <a:close/>
                  <a:moveTo>
                    <a:pt x="1373" y="282"/>
                  </a:moveTo>
                  <a:lnTo>
                    <a:pt x="1371" y="282"/>
                  </a:lnTo>
                  <a:lnTo>
                    <a:pt x="1369" y="282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71" y="279"/>
                  </a:lnTo>
                  <a:lnTo>
                    <a:pt x="1371" y="279"/>
                  </a:lnTo>
                  <a:lnTo>
                    <a:pt x="1371" y="279"/>
                  </a:lnTo>
                  <a:lnTo>
                    <a:pt x="1371" y="277"/>
                  </a:lnTo>
                  <a:lnTo>
                    <a:pt x="1371" y="277"/>
                  </a:lnTo>
                  <a:lnTo>
                    <a:pt x="1371" y="277"/>
                  </a:lnTo>
                  <a:lnTo>
                    <a:pt x="1371" y="277"/>
                  </a:lnTo>
                  <a:lnTo>
                    <a:pt x="1371" y="277"/>
                  </a:lnTo>
                  <a:lnTo>
                    <a:pt x="1373" y="277"/>
                  </a:lnTo>
                  <a:lnTo>
                    <a:pt x="1373" y="279"/>
                  </a:lnTo>
                  <a:lnTo>
                    <a:pt x="1373" y="279"/>
                  </a:lnTo>
                  <a:lnTo>
                    <a:pt x="1373" y="279"/>
                  </a:lnTo>
                  <a:lnTo>
                    <a:pt x="1373" y="282"/>
                  </a:lnTo>
                  <a:close/>
                  <a:moveTo>
                    <a:pt x="688" y="279"/>
                  </a:move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6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82"/>
                  </a:lnTo>
                  <a:lnTo>
                    <a:pt x="683" y="279"/>
                  </a:lnTo>
                  <a:lnTo>
                    <a:pt x="683" y="279"/>
                  </a:lnTo>
                  <a:lnTo>
                    <a:pt x="683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9"/>
                  </a:lnTo>
                  <a:lnTo>
                    <a:pt x="686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lnTo>
                    <a:pt x="688" y="279"/>
                  </a:lnTo>
                  <a:close/>
                  <a:moveTo>
                    <a:pt x="856" y="277"/>
                  </a:moveTo>
                  <a:lnTo>
                    <a:pt x="854" y="277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2" y="277"/>
                  </a:lnTo>
                  <a:lnTo>
                    <a:pt x="850" y="277"/>
                  </a:lnTo>
                  <a:lnTo>
                    <a:pt x="850" y="277"/>
                  </a:lnTo>
                  <a:lnTo>
                    <a:pt x="850" y="277"/>
                  </a:lnTo>
                  <a:lnTo>
                    <a:pt x="850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4" y="275"/>
                  </a:lnTo>
                  <a:lnTo>
                    <a:pt x="856" y="277"/>
                  </a:lnTo>
                  <a:close/>
                  <a:moveTo>
                    <a:pt x="841" y="275"/>
                  </a:moveTo>
                  <a:lnTo>
                    <a:pt x="841" y="275"/>
                  </a:lnTo>
                  <a:lnTo>
                    <a:pt x="841" y="275"/>
                  </a:lnTo>
                  <a:lnTo>
                    <a:pt x="841" y="275"/>
                  </a:lnTo>
                  <a:close/>
                  <a:moveTo>
                    <a:pt x="674" y="275"/>
                  </a:moveTo>
                  <a:lnTo>
                    <a:pt x="674" y="275"/>
                  </a:lnTo>
                  <a:lnTo>
                    <a:pt x="674" y="275"/>
                  </a:lnTo>
                  <a:lnTo>
                    <a:pt x="674" y="275"/>
                  </a:lnTo>
                  <a:lnTo>
                    <a:pt x="674" y="275"/>
                  </a:lnTo>
                  <a:lnTo>
                    <a:pt x="674" y="275"/>
                  </a:lnTo>
                  <a:lnTo>
                    <a:pt x="672" y="275"/>
                  </a:lnTo>
                  <a:lnTo>
                    <a:pt x="672" y="275"/>
                  </a:lnTo>
                  <a:lnTo>
                    <a:pt x="672" y="275"/>
                  </a:lnTo>
                  <a:lnTo>
                    <a:pt x="674" y="275"/>
                  </a:lnTo>
                  <a:lnTo>
                    <a:pt x="674" y="275"/>
                  </a:lnTo>
                  <a:close/>
                  <a:moveTo>
                    <a:pt x="598" y="273"/>
                  </a:moveTo>
                  <a:lnTo>
                    <a:pt x="598" y="273"/>
                  </a:lnTo>
                  <a:lnTo>
                    <a:pt x="600" y="273"/>
                  </a:lnTo>
                  <a:lnTo>
                    <a:pt x="600" y="273"/>
                  </a:lnTo>
                  <a:lnTo>
                    <a:pt x="600" y="273"/>
                  </a:lnTo>
                  <a:lnTo>
                    <a:pt x="600" y="273"/>
                  </a:lnTo>
                  <a:lnTo>
                    <a:pt x="600" y="273"/>
                  </a:lnTo>
                  <a:lnTo>
                    <a:pt x="596" y="273"/>
                  </a:lnTo>
                  <a:lnTo>
                    <a:pt x="596" y="273"/>
                  </a:lnTo>
                  <a:lnTo>
                    <a:pt x="596" y="273"/>
                  </a:lnTo>
                  <a:lnTo>
                    <a:pt x="596" y="273"/>
                  </a:lnTo>
                  <a:lnTo>
                    <a:pt x="596" y="273"/>
                  </a:lnTo>
                  <a:lnTo>
                    <a:pt x="596" y="273"/>
                  </a:lnTo>
                  <a:lnTo>
                    <a:pt x="598" y="273"/>
                  </a:lnTo>
                  <a:lnTo>
                    <a:pt x="598" y="273"/>
                  </a:lnTo>
                  <a:close/>
                  <a:moveTo>
                    <a:pt x="612" y="273"/>
                  </a:moveTo>
                  <a:lnTo>
                    <a:pt x="612" y="273"/>
                  </a:lnTo>
                  <a:lnTo>
                    <a:pt x="612" y="273"/>
                  </a:lnTo>
                  <a:lnTo>
                    <a:pt x="612" y="273"/>
                  </a:lnTo>
                  <a:lnTo>
                    <a:pt x="607" y="273"/>
                  </a:lnTo>
                  <a:lnTo>
                    <a:pt x="607" y="273"/>
                  </a:lnTo>
                  <a:lnTo>
                    <a:pt x="607" y="273"/>
                  </a:lnTo>
                  <a:lnTo>
                    <a:pt x="607" y="273"/>
                  </a:lnTo>
                  <a:lnTo>
                    <a:pt x="609" y="273"/>
                  </a:lnTo>
                  <a:lnTo>
                    <a:pt x="609" y="273"/>
                  </a:lnTo>
                  <a:lnTo>
                    <a:pt x="609" y="273"/>
                  </a:lnTo>
                  <a:lnTo>
                    <a:pt x="609" y="273"/>
                  </a:lnTo>
                  <a:lnTo>
                    <a:pt x="609" y="273"/>
                  </a:lnTo>
                  <a:lnTo>
                    <a:pt x="609" y="273"/>
                  </a:lnTo>
                  <a:lnTo>
                    <a:pt x="609" y="273"/>
                  </a:lnTo>
                  <a:lnTo>
                    <a:pt x="612" y="273"/>
                  </a:lnTo>
                  <a:lnTo>
                    <a:pt x="612" y="273"/>
                  </a:lnTo>
                  <a:close/>
                  <a:moveTo>
                    <a:pt x="645" y="273"/>
                  </a:moveTo>
                  <a:lnTo>
                    <a:pt x="645" y="273"/>
                  </a:lnTo>
                  <a:lnTo>
                    <a:pt x="645" y="273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50" y="273"/>
                  </a:lnTo>
                  <a:lnTo>
                    <a:pt x="652" y="270"/>
                  </a:lnTo>
                  <a:lnTo>
                    <a:pt x="652" y="270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47" y="273"/>
                  </a:lnTo>
                  <a:lnTo>
                    <a:pt x="647" y="273"/>
                  </a:lnTo>
                  <a:lnTo>
                    <a:pt x="645" y="273"/>
                  </a:lnTo>
                  <a:close/>
                  <a:moveTo>
                    <a:pt x="692" y="273"/>
                  </a:moveTo>
                  <a:lnTo>
                    <a:pt x="692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0" y="273"/>
                  </a:lnTo>
                  <a:lnTo>
                    <a:pt x="692" y="270"/>
                  </a:lnTo>
                  <a:lnTo>
                    <a:pt x="692" y="270"/>
                  </a:lnTo>
                  <a:lnTo>
                    <a:pt x="695" y="270"/>
                  </a:lnTo>
                  <a:lnTo>
                    <a:pt x="692" y="273"/>
                  </a:lnTo>
                  <a:lnTo>
                    <a:pt x="692" y="273"/>
                  </a:lnTo>
                  <a:lnTo>
                    <a:pt x="692" y="273"/>
                  </a:lnTo>
                  <a:close/>
                  <a:moveTo>
                    <a:pt x="677" y="270"/>
                  </a:moveTo>
                  <a:lnTo>
                    <a:pt x="679" y="273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79" y="270"/>
                  </a:lnTo>
                  <a:lnTo>
                    <a:pt x="681" y="270"/>
                  </a:lnTo>
                  <a:lnTo>
                    <a:pt x="681" y="270"/>
                  </a:lnTo>
                  <a:lnTo>
                    <a:pt x="681" y="273"/>
                  </a:lnTo>
                  <a:lnTo>
                    <a:pt x="681" y="273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79" y="273"/>
                  </a:lnTo>
                  <a:lnTo>
                    <a:pt x="677" y="273"/>
                  </a:lnTo>
                  <a:lnTo>
                    <a:pt x="677" y="270"/>
                  </a:lnTo>
                  <a:lnTo>
                    <a:pt x="677" y="270"/>
                  </a:lnTo>
                  <a:lnTo>
                    <a:pt x="677" y="270"/>
                  </a:lnTo>
                  <a:close/>
                  <a:moveTo>
                    <a:pt x="836" y="268"/>
                  </a:moveTo>
                  <a:lnTo>
                    <a:pt x="836" y="270"/>
                  </a:lnTo>
                  <a:lnTo>
                    <a:pt x="836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6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4" y="270"/>
                  </a:lnTo>
                  <a:lnTo>
                    <a:pt x="836" y="268"/>
                  </a:lnTo>
                  <a:lnTo>
                    <a:pt x="836" y="268"/>
                  </a:lnTo>
                  <a:close/>
                  <a:moveTo>
                    <a:pt x="674" y="270"/>
                  </a:moveTo>
                  <a:lnTo>
                    <a:pt x="674" y="270"/>
                  </a:lnTo>
                  <a:lnTo>
                    <a:pt x="674" y="270"/>
                  </a:lnTo>
                  <a:lnTo>
                    <a:pt x="674" y="270"/>
                  </a:lnTo>
                  <a:lnTo>
                    <a:pt x="674" y="270"/>
                  </a:lnTo>
                  <a:lnTo>
                    <a:pt x="674" y="270"/>
                  </a:lnTo>
                  <a:lnTo>
                    <a:pt x="672" y="270"/>
                  </a:lnTo>
                  <a:lnTo>
                    <a:pt x="672" y="270"/>
                  </a:lnTo>
                  <a:lnTo>
                    <a:pt x="672" y="270"/>
                  </a:lnTo>
                  <a:lnTo>
                    <a:pt x="672" y="270"/>
                  </a:lnTo>
                  <a:lnTo>
                    <a:pt x="672" y="270"/>
                  </a:lnTo>
                  <a:lnTo>
                    <a:pt x="672" y="270"/>
                  </a:lnTo>
                  <a:lnTo>
                    <a:pt x="674" y="270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68"/>
                  </a:lnTo>
                  <a:lnTo>
                    <a:pt x="674" y="270"/>
                  </a:lnTo>
                  <a:lnTo>
                    <a:pt x="674" y="270"/>
                  </a:lnTo>
                  <a:lnTo>
                    <a:pt x="674" y="270"/>
                  </a:lnTo>
                  <a:lnTo>
                    <a:pt x="674" y="270"/>
                  </a:lnTo>
                  <a:close/>
                  <a:moveTo>
                    <a:pt x="663" y="270"/>
                  </a:moveTo>
                  <a:lnTo>
                    <a:pt x="663" y="270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70"/>
                  </a:lnTo>
                  <a:lnTo>
                    <a:pt x="661" y="270"/>
                  </a:lnTo>
                  <a:lnTo>
                    <a:pt x="661" y="270"/>
                  </a:lnTo>
                  <a:lnTo>
                    <a:pt x="663" y="268"/>
                  </a:lnTo>
                  <a:lnTo>
                    <a:pt x="663" y="268"/>
                  </a:lnTo>
                  <a:lnTo>
                    <a:pt x="665" y="268"/>
                  </a:lnTo>
                  <a:lnTo>
                    <a:pt x="665" y="268"/>
                  </a:lnTo>
                  <a:lnTo>
                    <a:pt x="668" y="268"/>
                  </a:lnTo>
                  <a:lnTo>
                    <a:pt x="668" y="268"/>
                  </a:lnTo>
                  <a:lnTo>
                    <a:pt x="668" y="268"/>
                  </a:lnTo>
                  <a:lnTo>
                    <a:pt x="668" y="268"/>
                  </a:lnTo>
                  <a:lnTo>
                    <a:pt x="668" y="268"/>
                  </a:lnTo>
                  <a:lnTo>
                    <a:pt x="668" y="268"/>
                  </a:lnTo>
                  <a:lnTo>
                    <a:pt x="665" y="268"/>
                  </a:lnTo>
                  <a:lnTo>
                    <a:pt x="665" y="268"/>
                  </a:lnTo>
                  <a:lnTo>
                    <a:pt x="663" y="270"/>
                  </a:lnTo>
                  <a:close/>
                  <a:moveTo>
                    <a:pt x="1218" y="268"/>
                  </a:moveTo>
                  <a:lnTo>
                    <a:pt x="1218" y="270"/>
                  </a:lnTo>
                  <a:lnTo>
                    <a:pt x="1218" y="268"/>
                  </a:lnTo>
                  <a:lnTo>
                    <a:pt x="1220" y="268"/>
                  </a:lnTo>
                  <a:lnTo>
                    <a:pt x="1220" y="270"/>
                  </a:lnTo>
                  <a:lnTo>
                    <a:pt x="1223" y="270"/>
                  </a:lnTo>
                  <a:lnTo>
                    <a:pt x="1223" y="270"/>
                  </a:lnTo>
                  <a:lnTo>
                    <a:pt x="1223" y="270"/>
                  </a:lnTo>
                  <a:lnTo>
                    <a:pt x="1223" y="270"/>
                  </a:lnTo>
                  <a:lnTo>
                    <a:pt x="1223" y="270"/>
                  </a:lnTo>
                  <a:lnTo>
                    <a:pt x="1225" y="270"/>
                  </a:lnTo>
                  <a:lnTo>
                    <a:pt x="1225" y="270"/>
                  </a:lnTo>
                  <a:lnTo>
                    <a:pt x="1225" y="270"/>
                  </a:lnTo>
                  <a:lnTo>
                    <a:pt x="1225" y="270"/>
                  </a:lnTo>
                  <a:lnTo>
                    <a:pt x="1225" y="270"/>
                  </a:lnTo>
                  <a:lnTo>
                    <a:pt x="1227" y="270"/>
                  </a:lnTo>
                  <a:lnTo>
                    <a:pt x="1227" y="270"/>
                  </a:lnTo>
                  <a:lnTo>
                    <a:pt x="1229" y="270"/>
                  </a:lnTo>
                  <a:lnTo>
                    <a:pt x="1229" y="270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9" y="273"/>
                  </a:lnTo>
                  <a:lnTo>
                    <a:pt x="1227" y="273"/>
                  </a:lnTo>
                  <a:lnTo>
                    <a:pt x="1227" y="273"/>
                  </a:lnTo>
                  <a:lnTo>
                    <a:pt x="1229" y="275"/>
                  </a:lnTo>
                  <a:lnTo>
                    <a:pt x="1229" y="275"/>
                  </a:lnTo>
                  <a:lnTo>
                    <a:pt x="1227" y="275"/>
                  </a:lnTo>
                  <a:lnTo>
                    <a:pt x="1227" y="275"/>
                  </a:lnTo>
                  <a:lnTo>
                    <a:pt x="1227" y="275"/>
                  </a:lnTo>
                  <a:lnTo>
                    <a:pt x="1227" y="275"/>
                  </a:lnTo>
                  <a:lnTo>
                    <a:pt x="1211" y="275"/>
                  </a:lnTo>
                  <a:lnTo>
                    <a:pt x="1209" y="275"/>
                  </a:lnTo>
                  <a:lnTo>
                    <a:pt x="1209" y="275"/>
                  </a:lnTo>
                  <a:lnTo>
                    <a:pt x="1209" y="273"/>
                  </a:lnTo>
                  <a:lnTo>
                    <a:pt x="1209" y="273"/>
                  </a:lnTo>
                  <a:lnTo>
                    <a:pt x="1209" y="270"/>
                  </a:lnTo>
                  <a:lnTo>
                    <a:pt x="1209" y="270"/>
                  </a:lnTo>
                  <a:lnTo>
                    <a:pt x="1209" y="270"/>
                  </a:lnTo>
                  <a:lnTo>
                    <a:pt x="1209" y="270"/>
                  </a:lnTo>
                  <a:lnTo>
                    <a:pt x="1209" y="270"/>
                  </a:lnTo>
                  <a:lnTo>
                    <a:pt x="1209" y="268"/>
                  </a:lnTo>
                  <a:lnTo>
                    <a:pt x="1211" y="268"/>
                  </a:lnTo>
                  <a:lnTo>
                    <a:pt x="1214" y="268"/>
                  </a:lnTo>
                  <a:lnTo>
                    <a:pt x="1214" y="268"/>
                  </a:lnTo>
                  <a:lnTo>
                    <a:pt x="1214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6" y="268"/>
                  </a:lnTo>
                  <a:lnTo>
                    <a:pt x="1218" y="268"/>
                  </a:lnTo>
                  <a:lnTo>
                    <a:pt x="1218" y="266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lnTo>
                    <a:pt x="1218" y="268"/>
                  </a:lnTo>
                  <a:close/>
                  <a:moveTo>
                    <a:pt x="674" y="266"/>
                  </a:moveTo>
                  <a:lnTo>
                    <a:pt x="674" y="266"/>
                  </a:lnTo>
                  <a:lnTo>
                    <a:pt x="674" y="266"/>
                  </a:lnTo>
                  <a:lnTo>
                    <a:pt x="674" y="266"/>
                  </a:lnTo>
                  <a:lnTo>
                    <a:pt x="674" y="266"/>
                  </a:lnTo>
                  <a:lnTo>
                    <a:pt x="672" y="266"/>
                  </a:lnTo>
                  <a:lnTo>
                    <a:pt x="672" y="266"/>
                  </a:lnTo>
                  <a:lnTo>
                    <a:pt x="672" y="266"/>
                  </a:lnTo>
                  <a:lnTo>
                    <a:pt x="672" y="268"/>
                  </a:lnTo>
                  <a:lnTo>
                    <a:pt x="670" y="268"/>
                  </a:lnTo>
                  <a:lnTo>
                    <a:pt x="670" y="268"/>
                  </a:lnTo>
                  <a:lnTo>
                    <a:pt x="670" y="268"/>
                  </a:lnTo>
                  <a:lnTo>
                    <a:pt x="670" y="266"/>
                  </a:lnTo>
                  <a:lnTo>
                    <a:pt x="674" y="266"/>
                  </a:lnTo>
                  <a:lnTo>
                    <a:pt x="677" y="266"/>
                  </a:lnTo>
                  <a:lnTo>
                    <a:pt x="674" y="266"/>
                  </a:lnTo>
                  <a:lnTo>
                    <a:pt x="674" y="266"/>
                  </a:lnTo>
                  <a:close/>
                  <a:moveTo>
                    <a:pt x="1344" y="266"/>
                  </a:moveTo>
                  <a:lnTo>
                    <a:pt x="1342" y="266"/>
                  </a:lnTo>
                  <a:lnTo>
                    <a:pt x="1342" y="266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7" y="266"/>
                  </a:lnTo>
                  <a:lnTo>
                    <a:pt x="1339" y="266"/>
                  </a:lnTo>
                  <a:lnTo>
                    <a:pt x="1339" y="266"/>
                  </a:lnTo>
                  <a:lnTo>
                    <a:pt x="1339" y="266"/>
                  </a:lnTo>
                  <a:lnTo>
                    <a:pt x="1342" y="266"/>
                  </a:lnTo>
                  <a:lnTo>
                    <a:pt x="1342" y="266"/>
                  </a:lnTo>
                  <a:lnTo>
                    <a:pt x="1342" y="266"/>
                  </a:lnTo>
                  <a:lnTo>
                    <a:pt x="1342" y="266"/>
                  </a:lnTo>
                  <a:lnTo>
                    <a:pt x="1342" y="266"/>
                  </a:lnTo>
                  <a:lnTo>
                    <a:pt x="1342" y="266"/>
                  </a:lnTo>
                  <a:lnTo>
                    <a:pt x="1344" y="266"/>
                  </a:lnTo>
                  <a:lnTo>
                    <a:pt x="1344" y="266"/>
                  </a:lnTo>
                  <a:lnTo>
                    <a:pt x="1344" y="266"/>
                  </a:lnTo>
                  <a:lnTo>
                    <a:pt x="1344" y="266"/>
                  </a:lnTo>
                  <a:lnTo>
                    <a:pt x="1344" y="266"/>
                  </a:lnTo>
                  <a:lnTo>
                    <a:pt x="1344" y="266"/>
                  </a:lnTo>
                  <a:lnTo>
                    <a:pt x="1344" y="266"/>
                  </a:lnTo>
                  <a:close/>
                  <a:moveTo>
                    <a:pt x="1029" y="273"/>
                  </a:moveTo>
                  <a:lnTo>
                    <a:pt x="1027" y="273"/>
                  </a:lnTo>
                  <a:lnTo>
                    <a:pt x="1027" y="275"/>
                  </a:lnTo>
                  <a:lnTo>
                    <a:pt x="1025" y="275"/>
                  </a:lnTo>
                  <a:lnTo>
                    <a:pt x="1025" y="275"/>
                  </a:lnTo>
                  <a:lnTo>
                    <a:pt x="1023" y="275"/>
                  </a:lnTo>
                  <a:lnTo>
                    <a:pt x="1023" y="275"/>
                  </a:lnTo>
                  <a:lnTo>
                    <a:pt x="1023" y="277"/>
                  </a:lnTo>
                  <a:lnTo>
                    <a:pt x="1020" y="277"/>
                  </a:lnTo>
                  <a:lnTo>
                    <a:pt x="1020" y="275"/>
                  </a:lnTo>
                  <a:lnTo>
                    <a:pt x="1020" y="275"/>
                  </a:lnTo>
                  <a:lnTo>
                    <a:pt x="1020" y="275"/>
                  </a:lnTo>
                  <a:lnTo>
                    <a:pt x="1020" y="275"/>
                  </a:lnTo>
                  <a:lnTo>
                    <a:pt x="1020" y="275"/>
                  </a:lnTo>
                  <a:lnTo>
                    <a:pt x="1018" y="275"/>
                  </a:lnTo>
                  <a:lnTo>
                    <a:pt x="1018" y="275"/>
                  </a:lnTo>
                  <a:lnTo>
                    <a:pt x="1018" y="275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18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3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3" y="270"/>
                  </a:lnTo>
                  <a:lnTo>
                    <a:pt x="1023" y="270"/>
                  </a:lnTo>
                  <a:lnTo>
                    <a:pt x="1023" y="270"/>
                  </a:lnTo>
                  <a:lnTo>
                    <a:pt x="1023" y="270"/>
                  </a:lnTo>
                  <a:lnTo>
                    <a:pt x="1023" y="270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0" y="268"/>
                  </a:lnTo>
                  <a:lnTo>
                    <a:pt x="1023" y="268"/>
                  </a:lnTo>
                  <a:lnTo>
                    <a:pt x="1023" y="268"/>
                  </a:lnTo>
                  <a:lnTo>
                    <a:pt x="1023" y="268"/>
                  </a:lnTo>
                  <a:lnTo>
                    <a:pt x="1023" y="268"/>
                  </a:lnTo>
                  <a:lnTo>
                    <a:pt x="1023" y="268"/>
                  </a:lnTo>
                  <a:lnTo>
                    <a:pt x="1023" y="268"/>
                  </a:lnTo>
                  <a:lnTo>
                    <a:pt x="1025" y="266"/>
                  </a:lnTo>
                  <a:lnTo>
                    <a:pt x="1025" y="266"/>
                  </a:lnTo>
                  <a:lnTo>
                    <a:pt x="1027" y="266"/>
                  </a:lnTo>
                  <a:lnTo>
                    <a:pt x="1027" y="266"/>
                  </a:lnTo>
                  <a:lnTo>
                    <a:pt x="1027" y="266"/>
                  </a:lnTo>
                  <a:lnTo>
                    <a:pt x="1029" y="264"/>
                  </a:lnTo>
                  <a:lnTo>
                    <a:pt x="1029" y="264"/>
                  </a:lnTo>
                  <a:lnTo>
                    <a:pt x="1029" y="264"/>
                  </a:lnTo>
                  <a:lnTo>
                    <a:pt x="1029" y="264"/>
                  </a:lnTo>
                  <a:lnTo>
                    <a:pt x="1032" y="266"/>
                  </a:lnTo>
                  <a:lnTo>
                    <a:pt x="1032" y="266"/>
                  </a:lnTo>
                  <a:lnTo>
                    <a:pt x="1032" y="266"/>
                  </a:lnTo>
                  <a:lnTo>
                    <a:pt x="1032" y="266"/>
                  </a:lnTo>
                  <a:lnTo>
                    <a:pt x="1032" y="266"/>
                  </a:lnTo>
                  <a:lnTo>
                    <a:pt x="1032" y="268"/>
                  </a:lnTo>
                  <a:lnTo>
                    <a:pt x="1032" y="268"/>
                  </a:lnTo>
                  <a:lnTo>
                    <a:pt x="1029" y="268"/>
                  </a:lnTo>
                  <a:lnTo>
                    <a:pt x="1029" y="268"/>
                  </a:lnTo>
                  <a:lnTo>
                    <a:pt x="1029" y="270"/>
                  </a:lnTo>
                  <a:lnTo>
                    <a:pt x="1029" y="270"/>
                  </a:lnTo>
                  <a:lnTo>
                    <a:pt x="1029" y="270"/>
                  </a:lnTo>
                  <a:lnTo>
                    <a:pt x="1029" y="270"/>
                  </a:lnTo>
                  <a:lnTo>
                    <a:pt x="1029" y="273"/>
                  </a:lnTo>
                  <a:close/>
                  <a:moveTo>
                    <a:pt x="643" y="266"/>
                  </a:moveTo>
                  <a:lnTo>
                    <a:pt x="641" y="266"/>
                  </a:lnTo>
                  <a:lnTo>
                    <a:pt x="641" y="266"/>
                  </a:lnTo>
                  <a:lnTo>
                    <a:pt x="641" y="266"/>
                  </a:lnTo>
                  <a:lnTo>
                    <a:pt x="643" y="266"/>
                  </a:lnTo>
                  <a:lnTo>
                    <a:pt x="643" y="266"/>
                  </a:lnTo>
                  <a:lnTo>
                    <a:pt x="643" y="266"/>
                  </a:lnTo>
                  <a:lnTo>
                    <a:pt x="643" y="264"/>
                  </a:lnTo>
                  <a:lnTo>
                    <a:pt x="643" y="264"/>
                  </a:lnTo>
                  <a:lnTo>
                    <a:pt x="643" y="264"/>
                  </a:lnTo>
                  <a:lnTo>
                    <a:pt x="643" y="264"/>
                  </a:lnTo>
                  <a:lnTo>
                    <a:pt x="645" y="264"/>
                  </a:lnTo>
                  <a:lnTo>
                    <a:pt x="647" y="264"/>
                  </a:lnTo>
                  <a:lnTo>
                    <a:pt x="647" y="264"/>
                  </a:lnTo>
                  <a:lnTo>
                    <a:pt x="647" y="264"/>
                  </a:lnTo>
                  <a:lnTo>
                    <a:pt x="647" y="264"/>
                  </a:lnTo>
                  <a:lnTo>
                    <a:pt x="645" y="264"/>
                  </a:lnTo>
                  <a:lnTo>
                    <a:pt x="645" y="264"/>
                  </a:lnTo>
                  <a:lnTo>
                    <a:pt x="645" y="266"/>
                  </a:lnTo>
                  <a:lnTo>
                    <a:pt x="645" y="266"/>
                  </a:lnTo>
                  <a:lnTo>
                    <a:pt x="643" y="266"/>
                  </a:lnTo>
                  <a:lnTo>
                    <a:pt x="643" y="266"/>
                  </a:lnTo>
                  <a:lnTo>
                    <a:pt x="643" y="266"/>
                  </a:lnTo>
                  <a:close/>
                  <a:moveTo>
                    <a:pt x="1200" y="264"/>
                  </a:moveTo>
                  <a:lnTo>
                    <a:pt x="1200" y="266"/>
                  </a:lnTo>
                  <a:lnTo>
                    <a:pt x="1207" y="266"/>
                  </a:lnTo>
                  <a:lnTo>
                    <a:pt x="1207" y="266"/>
                  </a:lnTo>
                  <a:lnTo>
                    <a:pt x="1207" y="266"/>
                  </a:lnTo>
                  <a:lnTo>
                    <a:pt x="1207" y="266"/>
                  </a:lnTo>
                  <a:lnTo>
                    <a:pt x="1207" y="266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7" y="268"/>
                  </a:lnTo>
                  <a:lnTo>
                    <a:pt x="1205" y="268"/>
                  </a:lnTo>
                  <a:lnTo>
                    <a:pt x="1205" y="270"/>
                  </a:lnTo>
                  <a:lnTo>
                    <a:pt x="1205" y="270"/>
                  </a:lnTo>
                  <a:lnTo>
                    <a:pt x="1202" y="270"/>
                  </a:lnTo>
                  <a:lnTo>
                    <a:pt x="1202" y="273"/>
                  </a:lnTo>
                  <a:lnTo>
                    <a:pt x="1202" y="273"/>
                  </a:lnTo>
                  <a:lnTo>
                    <a:pt x="1202" y="273"/>
                  </a:lnTo>
                  <a:lnTo>
                    <a:pt x="1202" y="273"/>
                  </a:lnTo>
                  <a:lnTo>
                    <a:pt x="1202" y="273"/>
                  </a:lnTo>
                  <a:lnTo>
                    <a:pt x="1202" y="275"/>
                  </a:lnTo>
                  <a:lnTo>
                    <a:pt x="1202" y="275"/>
                  </a:lnTo>
                  <a:lnTo>
                    <a:pt x="1200" y="275"/>
                  </a:lnTo>
                  <a:lnTo>
                    <a:pt x="1200" y="277"/>
                  </a:lnTo>
                  <a:lnTo>
                    <a:pt x="1200" y="277"/>
                  </a:lnTo>
                  <a:lnTo>
                    <a:pt x="1200" y="277"/>
                  </a:lnTo>
                  <a:lnTo>
                    <a:pt x="1200" y="277"/>
                  </a:lnTo>
                  <a:lnTo>
                    <a:pt x="1200" y="277"/>
                  </a:lnTo>
                  <a:lnTo>
                    <a:pt x="1200" y="277"/>
                  </a:lnTo>
                  <a:lnTo>
                    <a:pt x="1200" y="279"/>
                  </a:lnTo>
                  <a:lnTo>
                    <a:pt x="1200" y="279"/>
                  </a:lnTo>
                  <a:lnTo>
                    <a:pt x="1198" y="279"/>
                  </a:lnTo>
                  <a:lnTo>
                    <a:pt x="1198" y="279"/>
                  </a:lnTo>
                  <a:lnTo>
                    <a:pt x="1198" y="279"/>
                  </a:lnTo>
                  <a:lnTo>
                    <a:pt x="1196" y="282"/>
                  </a:lnTo>
                  <a:lnTo>
                    <a:pt x="1196" y="282"/>
                  </a:lnTo>
                  <a:lnTo>
                    <a:pt x="1196" y="282"/>
                  </a:lnTo>
                  <a:lnTo>
                    <a:pt x="1193" y="282"/>
                  </a:lnTo>
                  <a:lnTo>
                    <a:pt x="1193" y="282"/>
                  </a:lnTo>
                  <a:lnTo>
                    <a:pt x="1193" y="282"/>
                  </a:lnTo>
                  <a:lnTo>
                    <a:pt x="1191" y="282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91" y="284"/>
                  </a:lnTo>
                  <a:lnTo>
                    <a:pt x="1189" y="284"/>
                  </a:lnTo>
                  <a:lnTo>
                    <a:pt x="1189" y="284"/>
                  </a:lnTo>
                  <a:lnTo>
                    <a:pt x="1189" y="284"/>
                  </a:lnTo>
                  <a:lnTo>
                    <a:pt x="1187" y="284"/>
                  </a:lnTo>
                  <a:lnTo>
                    <a:pt x="1187" y="284"/>
                  </a:lnTo>
                  <a:lnTo>
                    <a:pt x="1187" y="284"/>
                  </a:lnTo>
                  <a:lnTo>
                    <a:pt x="1184" y="284"/>
                  </a:lnTo>
                  <a:lnTo>
                    <a:pt x="1182" y="286"/>
                  </a:lnTo>
                  <a:lnTo>
                    <a:pt x="1180" y="286"/>
                  </a:lnTo>
                  <a:lnTo>
                    <a:pt x="1178" y="286"/>
                  </a:lnTo>
                  <a:lnTo>
                    <a:pt x="1178" y="286"/>
                  </a:lnTo>
                  <a:lnTo>
                    <a:pt x="1175" y="286"/>
                  </a:lnTo>
                  <a:lnTo>
                    <a:pt x="1175" y="286"/>
                  </a:lnTo>
                  <a:lnTo>
                    <a:pt x="1175" y="286"/>
                  </a:lnTo>
                  <a:lnTo>
                    <a:pt x="1173" y="286"/>
                  </a:lnTo>
                  <a:lnTo>
                    <a:pt x="1171" y="286"/>
                  </a:lnTo>
                  <a:lnTo>
                    <a:pt x="1171" y="286"/>
                  </a:lnTo>
                  <a:lnTo>
                    <a:pt x="1169" y="286"/>
                  </a:lnTo>
                  <a:lnTo>
                    <a:pt x="1164" y="286"/>
                  </a:lnTo>
                  <a:lnTo>
                    <a:pt x="1164" y="286"/>
                  </a:lnTo>
                  <a:lnTo>
                    <a:pt x="1164" y="286"/>
                  </a:lnTo>
                  <a:lnTo>
                    <a:pt x="1164" y="286"/>
                  </a:lnTo>
                  <a:lnTo>
                    <a:pt x="1164" y="286"/>
                  </a:lnTo>
                  <a:lnTo>
                    <a:pt x="1164" y="284"/>
                  </a:lnTo>
                  <a:lnTo>
                    <a:pt x="1164" y="282"/>
                  </a:lnTo>
                  <a:lnTo>
                    <a:pt x="1164" y="282"/>
                  </a:lnTo>
                  <a:lnTo>
                    <a:pt x="1164" y="282"/>
                  </a:lnTo>
                  <a:lnTo>
                    <a:pt x="1164" y="282"/>
                  </a:lnTo>
                  <a:lnTo>
                    <a:pt x="1164" y="282"/>
                  </a:lnTo>
                  <a:lnTo>
                    <a:pt x="1162" y="282"/>
                  </a:lnTo>
                  <a:lnTo>
                    <a:pt x="1164" y="282"/>
                  </a:lnTo>
                  <a:lnTo>
                    <a:pt x="1164" y="282"/>
                  </a:lnTo>
                  <a:lnTo>
                    <a:pt x="1164" y="282"/>
                  </a:lnTo>
                  <a:lnTo>
                    <a:pt x="1164" y="279"/>
                  </a:lnTo>
                  <a:lnTo>
                    <a:pt x="1164" y="279"/>
                  </a:lnTo>
                  <a:lnTo>
                    <a:pt x="1164" y="279"/>
                  </a:lnTo>
                  <a:lnTo>
                    <a:pt x="1164" y="279"/>
                  </a:lnTo>
                  <a:lnTo>
                    <a:pt x="1164" y="279"/>
                  </a:lnTo>
                  <a:lnTo>
                    <a:pt x="1164" y="279"/>
                  </a:lnTo>
                  <a:lnTo>
                    <a:pt x="1164" y="279"/>
                  </a:lnTo>
                  <a:lnTo>
                    <a:pt x="1164" y="277"/>
                  </a:lnTo>
                  <a:lnTo>
                    <a:pt x="1164" y="277"/>
                  </a:lnTo>
                  <a:lnTo>
                    <a:pt x="1166" y="277"/>
                  </a:lnTo>
                  <a:lnTo>
                    <a:pt x="1166" y="275"/>
                  </a:lnTo>
                  <a:lnTo>
                    <a:pt x="1169" y="275"/>
                  </a:lnTo>
                  <a:lnTo>
                    <a:pt x="1169" y="273"/>
                  </a:lnTo>
                  <a:lnTo>
                    <a:pt x="1175" y="270"/>
                  </a:lnTo>
                  <a:lnTo>
                    <a:pt x="1178" y="268"/>
                  </a:lnTo>
                  <a:lnTo>
                    <a:pt x="1178" y="268"/>
                  </a:lnTo>
                  <a:lnTo>
                    <a:pt x="1178" y="268"/>
                  </a:lnTo>
                  <a:lnTo>
                    <a:pt x="1178" y="268"/>
                  </a:lnTo>
                  <a:lnTo>
                    <a:pt x="1178" y="268"/>
                  </a:lnTo>
                  <a:lnTo>
                    <a:pt x="1182" y="266"/>
                  </a:lnTo>
                  <a:lnTo>
                    <a:pt x="1182" y="266"/>
                  </a:lnTo>
                  <a:lnTo>
                    <a:pt x="1189" y="264"/>
                  </a:lnTo>
                  <a:lnTo>
                    <a:pt x="1189" y="264"/>
                  </a:lnTo>
                  <a:lnTo>
                    <a:pt x="1191" y="264"/>
                  </a:lnTo>
                  <a:lnTo>
                    <a:pt x="1189" y="264"/>
                  </a:lnTo>
                  <a:lnTo>
                    <a:pt x="1191" y="264"/>
                  </a:lnTo>
                  <a:lnTo>
                    <a:pt x="1191" y="264"/>
                  </a:lnTo>
                  <a:lnTo>
                    <a:pt x="1191" y="264"/>
                  </a:lnTo>
                  <a:lnTo>
                    <a:pt x="1193" y="264"/>
                  </a:lnTo>
                  <a:lnTo>
                    <a:pt x="1193" y="264"/>
                  </a:lnTo>
                  <a:lnTo>
                    <a:pt x="1196" y="264"/>
                  </a:lnTo>
                  <a:lnTo>
                    <a:pt x="1200" y="264"/>
                  </a:lnTo>
                  <a:close/>
                  <a:moveTo>
                    <a:pt x="1146" y="268"/>
                  </a:moveTo>
                  <a:lnTo>
                    <a:pt x="1144" y="268"/>
                  </a:lnTo>
                  <a:lnTo>
                    <a:pt x="1144" y="266"/>
                  </a:lnTo>
                  <a:lnTo>
                    <a:pt x="1144" y="266"/>
                  </a:lnTo>
                  <a:lnTo>
                    <a:pt x="1144" y="266"/>
                  </a:lnTo>
                  <a:lnTo>
                    <a:pt x="1144" y="266"/>
                  </a:lnTo>
                  <a:lnTo>
                    <a:pt x="1144" y="266"/>
                  </a:lnTo>
                  <a:lnTo>
                    <a:pt x="1144" y="266"/>
                  </a:lnTo>
                  <a:lnTo>
                    <a:pt x="1144" y="264"/>
                  </a:lnTo>
                  <a:lnTo>
                    <a:pt x="1144" y="264"/>
                  </a:lnTo>
                  <a:lnTo>
                    <a:pt x="1144" y="264"/>
                  </a:lnTo>
                  <a:lnTo>
                    <a:pt x="1144" y="264"/>
                  </a:lnTo>
                  <a:lnTo>
                    <a:pt x="1144" y="264"/>
                  </a:lnTo>
                  <a:lnTo>
                    <a:pt x="1146" y="264"/>
                  </a:lnTo>
                  <a:lnTo>
                    <a:pt x="1146" y="264"/>
                  </a:lnTo>
                  <a:lnTo>
                    <a:pt x="1148" y="264"/>
                  </a:lnTo>
                  <a:lnTo>
                    <a:pt x="1148" y="264"/>
                  </a:lnTo>
                  <a:lnTo>
                    <a:pt x="1148" y="264"/>
                  </a:lnTo>
                  <a:lnTo>
                    <a:pt x="1148" y="264"/>
                  </a:lnTo>
                  <a:lnTo>
                    <a:pt x="1148" y="264"/>
                  </a:lnTo>
                  <a:lnTo>
                    <a:pt x="1151" y="264"/>
                  </a:lnTo>
                  <a:lnTo>
                    <a:pt x="1151" y="266"/>
                  </a:lnTo>
                  <a:lnTo>
                    <a:pt x="1148" y="266"/>
                  </a:lnTo>
                  <a:lnTo>
                    <a:pt x="1148" y="266"/>
                  </a:lnTo>
                  <a:lnTo>
                    <a:pt x="1146" y="266"/>
                  </a:lnTo>
                  <a:lnTo>
                    <a:pt x="1146" y="268"/>
                  </a:lnTo>
                  <a:close/>
                  <a:moveTo>
                    <a:pt x="823" y="264"/>
                  </a:moveTo>
                  <a:lnTo>
                    <a:pt x="823" y="266"/>
                  </a:lnTo>
                  <a:lnTo>
                    <a:pt x="820" y="264"/>
                  </a:lnTo>
                  <a:lnTo>
                    <a:pt x="820" y="264"/>
                  </a:lnTo>
                  <a:lnTo>
                    <a:pt x="820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lnTo>
                    <a:pt x="823" y="264"/>
                  </a:lnTo>
                  <a:close/>
                  <a:moveTo>
                    <a:pt x="1101" y="264"/>
                  </a:moveTo>
                  <a:lnTo>
                    <a:pt x="1099" y="264"/>
                  </a:lnTo>
                  <a:lnTo>
                    <a:pt x="1099" y="264"/>
                  </a:lnTo>
                  <a:lnTo>
                    <a:pt x="1101" y="264"/>
                  </a:lnTo>
                  <a:lnTo>
                    <a:pt x="1101" y="264"/>
                  </a:lnTo>
                  <a:lnTo>
                    <a:pt x="1101" y="264"/>
                  </a:lnTo>
                  <a:lnTo>
                    <a:pt x="1101" y="264"/>
                  </a:lnTo>
                  <a:lnTo>
                    <a:pt x="1101" y="264"/>
                  </a:lnTo>
                  <a:lnTo>
                    <a:pt x="1101" y="264"/>
                  </a:lnTo>
                  <a:lnTo>
                    <a:pt x="1101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7" y="264"/>
                  </a:lnTo>
                  <a:lnTo>
                    <a:pt x="1097" y="264"/>
                  </a:lnTo>
                  <a:lnTo>
                    <a:pt x="1097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099" y="264"/>
                  </a:lnTo>
                  <a:lnTo>
                    <a:pt x="1101" y="264"/>
                  </a:lnTo>
                  <a:close/>
                  <a:moveTo>
                    <a:pt x="1220" y="266"/>
                  </a:moveTo>
                  <a:lnTo>
                    <a:pt x="1220" y="266"/>
                  </a:lnTo>
                  <a:lnTo>
                    <a:pt x="1220" y="266"/>
                  </a:lnTo>
                  <a:lnTo>
                    <a:pt x="1220" y="266"/>
                  </a:lnTo>
                  <a:lnTo>
                    <a:pt x="1220" y="264"/>
                  </a:lnTo>
                  <a:lnTo>
                    <a:pt x="1220" y="264"/>
                  </a:lnTo>
                  <a:lnTo>
                    <a:pt x="1220" y="264"/>
                  </a:lnTo>
                  <a:lnTo>
                    <a:pt x="1220" y="264"/>
                  </a:lnTo>
                  <a:lnTo>
                    <a:pt x="1220" y="264"/>
                  </a:lnTo>
                  <a:lnTo>
                    <a:pt x="1220" y="264"/>
                  </a:lnTo>
                  <a:lnTo>
                    <a:pt x="1220" y="264"/>
                  </a:lnTo>
                  <a:lnTo>
                    <a:pt x="1220" y="261"/>
                  </a:lnTo>
                  <a:lnTo>
                    <a:pt x="1220" y="261"/>
                  </a:lnTo>
                  <a:lnTo>
                    <a:pt x="1220" y="261"/>
                  </a:lnTo>
                  <a:lnTo>
                    <a:pt x="1220" y="261"/>
                  </a:lnTo>
                  <a:lnTo>
                    <a:pt x="1220" y="261"/>
                  </a:lnTo>
                  <a:lnTo>
                    <a:pt x="1220" y="261"/>
                  </a:lnTo>
                  <a:lnTo>
                    <a:pt x="1223" y="261"/>
                  </a:lnTo>
                  <a:lnTo>
                    <a:pt x="1223" y="261"/>
                  </a:lnTo>
                  <a:lnTo>
                    <a:pt x="1223" y="261"/>
                  </a:lnTo>
                  <a:lnTo>
                    <a:pt x="1223" y="261"/>
                  </a:lnTo>
                  <a:lnTo>
                    <a:pt x="1223" y="264"/>
                  </a:lnTo>
                  <a:lnTo>
                    <a:pt x="1223" y="264"/>
                  </a:lnTo>
                  <a:lnTo>
                    <a:pt x="1223" y="264"/>
                  </a:lnTo>
                  <a:lnTo>
                    <a:pt x="1223" y="264"/>
                  </a:lnTo>
                  <a:lnTo>
                    <a:pt x="1223" y="264"/>
                  </a:lnTo>
                  <a:lnTo>
                    <a:pt x="1223" y="264"/>
                  </a:lnTo>
                  <a:lnTo>
                    <a:pt x="1223" y="264"/>
                  </a:lnTo>
                  <a:lnTo>
                    <a:pt x="1220" y="266"/>
                  </a:lnTo>
                  <a:lnTo>
                    <a:pt x="1220" y="266"/>
                  </a:lnTo>
                  <a:close/>
                  <a:moveTo>
                    <a:pt x="663" y="261"/>
                  </a:moveTo>
                  <a:lnTo>
                    <a:pt x="663" y="261"/>
                  </a:lnTo>
                  <a:lnTo>
                    <a:pt x="663" y="261"/>
                  </a:lnTo>
                  <a:lnTo>
                    <a:pt x="659" y="261"/>
                  </a:lnTo>
                  <a:lnTo>
                    <a:pt x="656" y="261"/>
                  </a:lnTo>
                  <a:lnTo>
                    <a:pt x="656" y="261"/>
                  </a:lnTo>
                  <a:lnTo>
                    <a:pt x="656" y="261"/>
                  </a:lnTo>
                  <a:lnTo>
                    <a:pt x="659" y="261"/>
                  </a:lnTo>
                  <a:lnTo>
                    <a:pt x="661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61"/>
                  </a:lnTo>
                  <a:close/>
                  <a:moveTo>
                    <a:pt x="665" y="259"/>
                  </a:moveTo>
                  <a:lnTo>
                    <a:pt x="665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8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5" y="259"/>
                  </a:lnTo>
                  <a:close/>
                  <a:moveTo>
                    <a:pt x="755" y="261"/>
                  </a:moveTo>
                  <a:lnTo>
                    <a:pt x="753" y="264"/>
                  </a:lnTo>
                  <a:lnTo>
                    <a:pt x="753" y="261"/>
                  </a:lnTo>
                  <a:lnTo>
                    <a:pt x="753" y="261"/>
                  </a:lnTo>
                  <a:lnTo>
                    <a:pt x="753" y="261"/>
                  </a:lnTo>
                  <a:lnTo>
                    <a:pt x="751" y="261"/>
                  </a:lnTo>
                  <a:lnTo>
                    <a:pt x="751" y="261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1" y="259"/>
                  </a:lnTo>
                  <a:lnTo>
                    <a:pt x="753" y="259"/>
                  </a:lnTo>
                  <a:lnTo>
                    <a:pt x="753" y="259"/>
                  </a:lnTo>
                  <a:lnTo>
                    <a:pt x="758" y="259"/>
                  </a:lnTo>
                  <a:lnTo>
                    <a:pt x="758" y="259"/>
                  </a:lnTo>
                  <a:lnTo>
                    <a:pt x="758" y="259"/>
                  </a:lnTo>
                  <a:lnTo>
                    <a:pt x="758" y="259"/>
                  </a:lnTo>
                  <a:lnTo>
                    <a:pt x="760" y="259"/>
                  </a:lnTo>
                  <a:lnTo>
                    <a:pt x="760" y="259"/>
                  </a:lnTo>
                  <a:lnTo>
                    <a:pt x="760" y="261"/>
                  </a:lnTo>
                  <a:lnTo>
                    <a:pt x="760" y="261"/>
                  </a:lnTo>
                  <a:lnTo>
                    <a:pt x="758" y="261"/>
                  </a:lnTo>
                  <a:lnTo>
                    <a:pt x="758" y="261"/>
                  </a:lnTo>
                  <a:lnTo>
                    <a:pt x="755" y="261"/>
                  </a:lnTo>
                  <a:close/>
                  <a:moveTo>
                    <a:pt x="618" y="259"/>
                  </a:moveTo>
                  <a:lnTo>
                    <a:pt x="616" y="259"/>
                  </a:lnTo>
                  <a:lnTo>
                    <a:pt x="614" y="259"/>
                  </a:lnTo>
                  <a:lnTo>
                    <a:pt x="616" y="259"/>
                  </a:lnTo>
                  <a:lnTo>
                    <a:pt x="616" y="259"/>
                  </a:lnTo>
                  <a:lnTo>
                    <a:pt x="616" y="259"/>
                  </a:lnTo>
                  <a:lnTo>
                    <a:pt x="616" y="259"/>
                  </a:lnTo>
                  <a:lnTo>
                    <a:pt x="616" y="259"/>
                  </a:lnTo>
                  <a:lnTo>
                    <a:pt x="618" y="259"/>
                  </a:lnTo>
                  <a:close/>
                  <a:moveTo>
                    <a:pt x="1157" y="257"/>
                  </a:moveTo>
                  <a:lnTo>
                    <a:pt x="1157" y="257"/>
                  </a:lnTo>
                  <a:lnTo>
                    <a:pt x="1160" y="257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60" y="259"/>
                  </a:lnTo>
                  <a:lnTo>
                    <a:pt x="1157" y="259"/>
                  </a:lnTo>
                  <a:lnTo>
                    <a:pt x="1157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61"/>
                  </a:lnTo>
                  <a:lnTo>
                    <a:pt x="1155" y="261"/>
                  </a:lnTo>
                  <a:lnTo>
                    <a:pt x="1155" y="261"/>
                  </a:lnTo>
                  <a:lnTo>
                    <a:pt x="1153" y="261"/>
                  </a:lnTo>
                  <a:lnTo>
                    <a:pt x="1153" y="261"/>
                  </a:lnTo>
                  <a:lnTo>
                    <a:pt x="1153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61"/>
                  </a:lnTo>
                  <a:lnTo>
                    <a:pt x="1151" y="259"/>
                  </a:lnTo>
                  <a:lnTo>
                    <a:pt x="1151" y="259"/>
                  </a:lnTo>
                  <a:lnTo>
                    <a:pt x="1151" y="259"/>
                  </a:lnTo>
                  <a:lnTo>
                    <a:pt x="1153" y="259"/>
                  </a:lnTo>
                  <a:lnTo>
                    <a:pt x="1153" y="259"/>
                  </a:lnTo>
                  <a:lnTo>
                    <a:pt x="1153" y="259"/>
                  </a:lnTo>
                  <a:lnTo>
                    <a:pt x="1153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7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5" y="259"/>
                  </a:lnTo>
                  <a:lnTo>
                    <a:pt x="1153" y="257"/>
                  </a:lnTo>
                  <a:lnTo>
                    <a:pt x="1153" y="257"/>
                  </a:lnTo>
                  <a:lnTo>
                    <a:pt x="1153" y="257"/>
                  </a:lnTo>
                  <a:lnTo>
                    <a:pt x="1155" y="257"/>
                  </a:lnTo>
                  <a:lnTo>
                    <a:pt x="1155" y="257"/>
                  </a:lnTo>
                  <a:lnTo>
                    <a:pt x="1157" y="257"/>
                  </a:lnTo>
                  <a:lnTo>
                    <a:pt x="1157" y="257"/>
                  </a:lnTo>
                  <a:lnTo>
                    <a:pt x="1157" y="257"/>
                  </a:lnTo>
                  <a:close/>
                  <a:moveTo>
                    <a:pt x="1220" y="259"/>
                  </a:moveTo>
                  <a:lnTo>
                    <a:pt x="1220" y="259"/>
                  </a:lnTo>
                  <a:lnTo>
                    <a:pt x="1216" y="259"/>
                  </a:lnTo>
                  <a:lnTo>
                    <a:pt x="1216" y="259"/>
                  </a:lnTo>
                  <a:lnTo>
                    <a:pt x="1216" y="259"/>
                  </a:lnTo>
                  <a:lnTo>
                    <a:pt x="1216" y="259"/>
                  </a:lnTo>
                  <a:lnTo>
                    <a:pt x="1216" y="257"/>
                  </a:lnTo>
                  <a:lnTo>
                    <a:pt x="1216" y="257"/>
                  </a:lnTo>
                  <a:lnTo>
                    <a:pt x="1218" y="257"/>
                  </a:lnTo>
                  <a:lnTo>
                    <a:pt x="1218" y="257"/>
                  </a:lnTo>
                  <a:lnTo>
                    <a:pt x="1218" y="257"/>
                  </a:lnTo>
                  <a:lnTo>
                    <a:pt x="1218" y="257"/>
                  </a:lnTo>
                  <a:lnTo>
                    <a:pt x="1218" y="259"/>
                  </a:lnTo>
                  <a:lnTo>
                    <a:pt x="1218" y="259"/>
                  </a:lnTo>
                  <a:lnTo>
                    <a:pt x="1220" y="259"/>
                  </a:lnTo>
                  <a:lnTo>
                    <a:pt x="1220" y="259"/>
                  </a:lnTo>
                  <a:lnTo>
                    <a:pt x="1220" y="259"/>
                  </a:lnTo>
                  <a:close/>
                  <a:moveTo>
                    <a:pt x="614" y="257"/>
                  </a:moveTo>
                  <a:lnTo>
                    <a:pt x="614" y="259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lnTo>
                    <a:pt x="614" y="257"/>
                  </a:lnTo>
                  <a:close/>
                  <a:moveTo>
                    <a:pt x="917" y="257"/>
                  </a:moveTo>
                  <a:lnTo>
                    <a:pt x="917" y="257"/>
                  </a:lnTo>
                  <a:lnTo>
                    <a:pt x="917" y="257"/>
                  </a:lnTo>
                  <a:lnTo>
                    <a:pt x="917" y="257"/>
                  </a:lnTo>
                  <a:close/>
                  <a:moveTo>
                    <a:pt x="1214" y="259"/>
                  </a:moveTo>
                  <a:lnTo>
                    <a:pt x="1214" y="259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6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1" y="261"/>
                  </a:lnTo>
                  <a:lnTo>
                    <a:pt x="1211" y="261"/>
                  </a:lnTo>
                  <a:lnTo>
                    <a:pt x="1211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1"/>
                  </a:lnTo>
                  <a:lnTo>
                    <a:pt x="1214" y="264"/>
                  </a:lnTo>
                  <a:lnTo>
                    <a:pt x="1214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4" y="264"/>
                  </a:lnTo>
                  <a:lnTo>
                    <a:pt x="1214" y="264"/>
                  </a:lnTo>
                  <a:lnTo>
                    <a:pt x="1214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11" y="264"/>
                  </a:lnTo>
                  <a:lnTo>
                    <a:pt x="1209" y="264"/>
                  </a:lnTo>
                  <a:lnTo>
                    <a:pt x="1209" y="264"/>
                  </a:lnTo>
                  <a:lnTo>
                    <a:pt x="1209" y="264"/>
                  </a:lnTo>
                  <a:lnTo>
                    <a:pt x="1209" y="264"/>
                  </a:lnTo>
                  <a:lnTo>
                    <a:pt x="1209" y="264"/>
                  </a:lnTo>
                  <a:lnTo>
                    <a:pt x="1209" y="264"/>
                  </a:lnTo>
                  <a:lnTo>
                    <a:pt x="1207" y="261"/>
                  </a:lnTo>
                  <a:lnTo>
                    <a:pt x="1205" y="261"/>
                  </a:lnTo>
                  <a:lnTo>
                    <a:pt x="1205" y="259"/>
                  </a:lnTo>
                  <a:lnTo>
                    <a:pt x="1207" y="259"/>
                  </a:lnTo>
                  <a:lnTo>
                    <a:pt x="1207" y="259"/>
                  </a:lnTo>
                  <a:lnTo>
                    <a:pt x="1207" y="259"/>
                  </a:lnTo>
                  <a:lnTo>
                    <a:pt x="1207" y="259"/>
                  </a:lnTo>
                  <a:lnTo>
                    <a:pt x="1207" y="259"/>
                  </a:lnTo>
                  <a:lnTo>
                    <a:pt x="1207" y="257"/>
                  </a:lnTo>
                  <a:lnTo>
                    <a:pt x="1209" y="257"/>
                  </a:lnTo>
                  <a:lnTo>
                    <a:pt x="1209" y="257"/>
                  </a:lnTo>
                  <a:lnTo>
                    <a:pt x="1209" y="257"/>
                  </a:lnTo>
                  <a:lnTo>
                    <a:pt x="1209" y="257"/>
                  </a:lnTo>
                  <a:lnTo>
                    <a:pt x="1209" y="257"/>
                  </a:lnTo>
                  <a:lnTo>
                    <a:pt x="1211" y="257"/>
                  </a:lnTo>
                  <a:lnTo>
                    <a:pt x="1211" y="257"/>
                  </a:lnTo>
                  <a:lnTo>
                    <a:pt x="1211" y="257"/>
                  </a:lnTo>
                  <a:lnTo>
                    <a:pt x="1211" y="257"/>
                  </a:lnTo>
                  <a:lnTo>
                    <a:pt x="1211" y="257"/>
                  </a:lnTo>
                  <a:lnTo>
                    <a:pt x="1214" y="257"/>
                  </a:lnTo>
                  <a:lnTo>
                    <a:pt x="1214" y="257"/>
                  </a:lnTo>
                  <a:lnTo>
                    <a:pt x="1214" y="257"/>
                  </a:lnTo>
                  <a:lnTo>
                    <a:pt x="1214" y="259"/>
                  </a:lnTo>
                  <a:lnTo>
                    <a:pt x="1214" y="259"/>
                  </a:lnTo>
                  <a:lnTo>
                    <a:pt x="1214" y="259"/>
                  </a:lnTo>
                  <a:lnTo>
                    <a:pt x="1214" y="259"/>
                  </a:lnTo>
                  <a:close/>
                  <a:moveTo>
                    <a:pt x="1317" y="255"/>
                  </a:moveTo>
                  <a:lnTo>
                    <a:pt x="1317" y="255"/>
                  </a:lnTo>
                  <a:lnTo>
                    <a:pt x="1319" y="255"/>
                  </a:lnTo>
                  <a:lnTo>
                    <a:pt x="1321" y="255"/>
                  </a:lnTo>
                  <a:lnTo>
                    <a:pt x="1326" y="257"/>
                  </a:lnTo>
                  <a:lnTo>
                    <a:pt x="1326" y="257"/>
                  </a:lnTo>
                  <a:lnTo>
                    <a:pt x="1326" y="257"/>
                  </a:lnTo>
                  <a:lnTo>
                    <a:pt x="1324" y="257"/>
                  </a:lnTo>
                  <a:lnTo>
                    <a:pt x="1319" y="255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7" y="255"/>
                  </a:lnTo>
                  <a:lnTo>
                    <a:pt x="1317" y="255"/>
                  </a:lnTo>
                  <a:lnTo>
                    <a:pt x="1317" y="255"/>
                  </a:lnTo>
                  <a:lnTo>
                    <a:pt x="1317" y="255"/>
                  </a:lnTo>
                  <a:lnTo>
                    <a:pt x="1317" y="255"/>
                  </a:lnTo>
                  <a:close/>
                  <a:moveTo>
                    <a:pt x="805" y="255"/>
                  </a:moveTo>
                  <a:lnTo>
                    <a:pt x="805" y="255"/>
                  </a:lnTo>
                  <a:lnTo>
                    <a:pt x="807" y="255"/>
                  </a:lnTo>
                  <a:lnTo>
                    <a:pt x="807" y="255"/>
                  </a:lnTo>
                  <a:lnTo>
                    <a:pt x="807" y="255"/>
                  </a:lnTo>
                  <a:lnTo>
                    <a:pt x="807" y="255"/>
                  </a:lnTo>
                  <a:lnTo>
                    <a:pt x="805" y="257"/>
                  </a:lnTo>
                  <a:lnTo>
                    <a:pt x="805" y="257"/>
                  </a:lnTo>
                  <a:lnTo>
                    <a:pt x="805" y="257"/>
                  </a:lnTo>
                  <a:lnTo>
                    <a:pt x="805" y="257"/>
                  </a:lnTo>
                  <a:lnTo>
                    <a:pt x="805" y="257"/>
                  </a:lnTo>
                  <a:lnTo>
                    <a:pt x="805" y="257"/>
                  </a:lnTo>
                  <a:lnTo>
                    <a:pt x="805" y="257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800" y="259"/>
                  </a:lnTo>
                  <a:lnTo>
                    <a:pt x="798" y="259"/>
                  </a:lnTo>
                  <a:lnTo>
                    <a:pt x="798" y="259"/>
                  </a:lnTo>
                  <a:lnTo>
                    <a:pt x="798" y="259"/>
                  </a:lnTo>
                  <a:lnTo>
                    <a:pt x="798" y="259"/>
                  </a:lnTo>
                  <a:lnTo>
                    <a:pt x="798" y="259"/>
                  </a:lnTo>
                  <a:lnTo>
                    <a:pt x="798" y="257"/>
                  </a:lnTo>
                  <a:lnTo>
                    <a:pt x="798" y="257"/>
                  </a:lnTo>
                  <a:lnTo>
                    <a:pt x="798" y="257"/>
                  </a:lnTo>
                  <a:lnTo>
                    <a:pt x="798" y="257"/>
                  </a:lnTo>
                  <a:lnTo>
                    <a:pt x="798" y="257"/>
                  </a:lnTo>
                  <a:lnTo>
                    <a:pt x="796" y="257"/>
                  </a:lnTo>
                  <a:lnTo>
                    <a:pt x="796" y="257"/>
                  </a:lnTo>
                  <a:lnTo>
                    <a:pt x="796" y="257"/>
                  </a:lnTo>
                  <a:lnTo>
                    <a:pt x="796" y="257"/>
                  </a:lnTo>
                  <a:lnTo>
                    <a:pt x="793" y="257"/>
                  </a:lnTo>
                  <a:lnTo>
                    <a:pt x="796" y="257"/>
                  </a:lnTo>
                  <a:lnTo>
                    <a:pt x="796" y="257"/>
                  </a:lnTo>
                  <a:lnTo>
                    <a:pt x="798" y="257"/>
                  </a:lnTo>
                  <a:lnTo>
                    <a:pt x="798" y="255"/>
                  </a:lnTo>
                  <a:lnTo>
                    <a:pt x="800" y="255"/>
                  </a:lnTo>
                  <a:lnTo>
                    <a:pt x="800" y="255"/>
                  </a:lnTo>
                  <a:lnTo>
                    <a:pt x="800" y="255"/>
                  </a:lnTo>
                  <a:lnTo>
                    <a:pt x="800" y="255"/>
                  </a:lnTo>
                  <a:lnTo>
                    <a:pt x="800" y="255"/>
                  </a:lnTo>
                  <a:lnTo>
                    <a:pt x="800" y="255"/>
                  </a:lnTo>
                  <a:lnTo>
                    <a:pt x="800" y="255"/>
                  </a:lnTo>
                  <a:lnTo>
                    <a:pt x="802" y="255"/>
                  </a:lnTo>
                  <a:lnTo>
                    <a:pt x="802" y="255"/>
                  </a:lnTo>
                  <a:lnTo>
                    <a:pt x="805" y="255"/>
                  </a:lnTo>
                  <a:close/>
                  <a:moveTo>
                    <a:pt x="614" y="252"/>
                  </a:moveTo>
                  <a:lnTo>
                    <a:pt x="614" y="252"/>
                  </a:lnTo>
                  <a:lnTo>
                    <a:pt x="614" y="252"/>
                  </a:lnTo>
                  <a:lnTo>
                    <a:pt x="614" y="252"/>
                  </a:lnTo>
                  <a:lnTo>
                    <a:pt x="614" y="252"/>
                  </a:lnTo>
                  <a:lnTo>
                    <a:pt x="614" y="252"/>
                  </a:lnTo>
                  <a:lnTo>
                    <a:pt x="614" y="252"/>
                  </a:lnTo>
                  <a:lnTo>
                    <a:pt x="614" y="252"/>
                  </a:lnTo>
                  <a:lnTo>
                    <a:pt x="614" y="252"/>
                  </a:lnTo>
                  <a:lnTo>
                    <a:pt x="616" y="252"/>
                  </a:lnTo>
                  <a:lnTo>
                    <a:pt x="614" y="252"/>
                  </a:lnTo>
                  <a:close/>
                  <a:moveTo>
                    <a:pt x="832" y="252"/>
                  </a:moveTo>
                  <a:lnTo>
                    <a:pt x="832" y="252"/>
                  </a:lnTo>
                  <a:lnTo>
                    <a:pt x="832" y="252"/>
                  </a:lnTo>
                  <a:lnTo>
                    <a:pt x="832" y="252"/>
                  </a:lnTo>
                  <a:lnTo>
                    <a:pt x="832" y="252"/>
                  </a:lnTo>
                  <a:lnTo>
                    <a:pt x="832" y="252"/>
                  </a:lnTo>
                  <a:lnTo>
                    <a:pt x="829" y="252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9" y="255"/>
                  </a:lnTo>
                  <a:lnTo>
                    <a:pt x="827" y="255"/>
                  </a:lnTo>
                  <a:lnTo>
                    <a:pt x="827" y="255"/>
                  </a:lnTo>
                  <a:lnTo>
                    <a:pt x="827" y="255"/>
                  </a:lnTo>
                  <a:lnTo>
                    <a:pt x="827" y="255"/>
                  </a:lnTo>
                  <a:lnTo>
                    <a:pt x="825" y="257"/>
                  </a:lnTo>
                  <a:lnTo>
                    <a:pt x="825" y="257"/>
                  </a:lnTo>
                  <a:lnTo>
                    <a:pt x="825" y="257"/>
                  </a:lnTo>
                  <a:lnTo>
                    <a:pt x="825" y="257"/>
                  </a:lnTo>
                  <a:lnTo>
                    <a:pt x="825" y="255"/>
                  </a:lnTo>
                  <a:lnTo>
                    <a:pt x="825" y="255"/>
                  </a:lnTo>
                  <a:lnTo>
                    <a:pt x="825" y="255"/>
                  </a:lnTo>
                  <a:lnTo>
                    <a:pt x="825" y="255"/>
                  </a:lnTo>
                  <a:lnTo>
                    <a:pt x="825" y="255"/>
                  </a:lnTo>
                  <a:lnTo>
                    <a:pt x="825" y="255"/>
                  </a:lnTo>
                  <a:lnTo>
                    <a:pt x="825" y="255"/>
                  </a:lnTo>
                  <a:lnTo>
                    <a:pt x="823" y="255"/>
                  </a:lnTo>
                  <a:lnTo>
                    <a:pt x="823" y="255"/>
                  </a:lnTo>
                  <a:lnTo>
                    <a:pt x="823" y="255"/>
                  </a:lnTo>
                  <a:lnTo>
                    <a:pt x="823" y="255"/>
                  </a:lnTo>
                  <a:lnTo>
                    <a:pt x="823" y="255"/>
                  </a:lnTo>
                  <a:lnTo>
                    <a:pt x="823" y="255"/>
                  </a:lnTo>
                  <a:lnTo>
                    <a:pt x="825" y="252"/>
                  </a:lnTo>
                  <a:lnTo>
                    <a:pt x="825" y="252"/>
                  </a:lnTo>
                  <a:lnTo>
                    <a:pt x="825" y="252"/>
                  </a:lnTo>
                  <a:lnTo>
                    <a:pt x="825" y="252"/>
                  </a:lnTo>
                  <a:lnTo>
                    <a:pt x="825" y="252"/>
                  </a:lnTo>
                  <a:lnTo>
                    <a:pt x="827" y="252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32" y="250"/>
                  </a:lnTo>
                  <a:lnTo>
                    <a:pt x="832" y="250"/>
                  </a:lnTo>
                  <a:lnTo>
                    <a:pt x="832" y="250"/>
                  </a:lnTo>
                  <a:lnTo>
                    <a:pt x="832" y="250"/>
                  </a:lnTo>
                  <a:lnTo>
                    <a:pt x="832" y="252"/>
                  </a:lnTo>
                  <a:lnTo>
                    <a:pt x="832" y="252"/>
                  </a:lnTo>
                  <a:lnTo>
                    <a:pt x="832" y="252"/>
                  </a:lnTo>
                  <a:close/>
                  <a:moveTo>
                    <a:pt x="926" y="248"/>
                  </a:moveTo>
                  <a:lnTo>
                    <a:pt x="926" y="248"/>
                  </a:lnTo>
                  <a:lnTo>
                    <a:pt x="926" y="248"/>
                  </a:lnTo>
                  <a:lnTo>
                    <a:pt x="926" y="248"/>
                  </a:lnTo>
                  <a:close/>
                  <a:moveTo>
                    <a:pt x="836" y="252"/>
                  </a:moveTo>
                  <a:lnTo>
                    <a:pt x="834" y="252"/>
                  </a:lnTo>
                  <a:lnTo>
                    <a:pt x="834" y="252"/>
                  </a:lnTo>
                  <a:lnTo>
                    <a:pt x="834" y="250"/>
                  </a:lnTo>
                  <a:lnTo>
                    <a:pt x="834" y="250"/>
                  </a:lnTo>
                  <a:lnTo>
                    <a:pt x="832" y="250"/>
                  </a:lnTo>
                  <a:lnTo>
                    <a:pt x="832" y="250"/>
                  </a:lnTo>
                  <a:lnTo>
                    <a:pt x="834" y="250"/>
                  </a:lnTo>
                  <a:lnTo>
                    <a:pt x="834" y="248"/>
                  </a:lnTo>
                  <a:lnTo>
                    <a:pt x="834" y="248"/>
                  </a:lnTo>
                  <a:lnTo>
                    <a:pt x="834" y="248"/>
                  </a:lnTo>
                  <a:lnTo>
                    <a:pt x="834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8" y="248"/>
                  </a:lnTo>
                  <a:lnTo>
                    <a:pt x="836" y="248"/>
                  </a:lnTo>
                  <a:lnTo>
                    <a:pt x="836" y="248"/>
                  </a:lnTo>
                  <a:lnTo>
                    <a:pt x="836" y="250"/>
                  </a:lnTo>
                  <a:lnTo>
                    <a:pt x="836" y="250"/>
                  </a:lnTo>
                  <a:lnTo>
                    <a:pt x="836" y="250"/>
                  </a:lnTo>
                  <a:lnTo>
                    <a:pt x="836" y="250"/>
                  </a:lnTo>
                  <a:lnTo>
                    <a:pt x="836" y="250"/>
                  </a:lnTo>
                  <a:lnTo>
                    <a:pt x="836" y="252"/>
                  </a:lnTo>
                  <a:close/>
                  <a:moveTo>
                    <a:pt x="987" y="248"/>
                  </a:moveTo>
                  <a:lnTo>
                    <a:pt x="987" y="248"/>
                  </a:lnTo>
                  <a:lnTo>
                    <a:pt x="987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48"/>
                  </a:lnTo>
                  <a:lnTo>
                    <a:pt x="989" y="250"/>
                  </a:lnTo>
                  <a:lnTo>
                    <a:pt x="989" y="250"/>
                  </a:lnTo>
                  <a:lnTo>
                    <a:pt x="987" y="250"/>
                  </a:lnTo>
                  <a:lnTo>
                    <a:pt x="987" y="250"/>
                  </a:lnTo>
                  <a:lnTo>
                    <a:pt x="987" y="250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lnTo>
                    <a:pt x="987" y="248"/>
                  </a:lnTo>
                  <a:close/>
                  <a:moveTo>
                    <a:pt x="811" y="248"/>
                  </a:moveTo>
                  <a:lnTo>
                    <a:pt x="811" y="248"/>
                  </a:lnTo>
                  <a:lnTo>
                    <a:pt x="811" y="248"/>
                  </a:lnTo>
                  <a:lnTo>
                    <a:pt x="811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4" y="246"/>
                  </a:lnTo>
                  <a:lnTo>
                    <a:pt x="814" y="246"/>
                  </a:lnTo>
                  <a:lnTo>
                    <a:pt x="816" y="246"/>
                  </a:lnTo>
                  <a:lnTo>
                    <a:pt x="816" y="246"/>
                  </a:lnTo>
                  <a:lnTo>
                    <a:pt x="816" y="246"/>
                  </a:lnTo>
                  <a:lnTo>
                    <a:pt x="816" y="246"/>
                  </a:lnTo>
                  <a:lnTo>
                    <a:pt x="816" y="246"/>
                  </a:lnTo>
                  <a:lnTo>
                    <a:pt x="816" y="246"/>
                  </a:lnTo>
                  <a:lnTo>
                    <a:pt x="816" y="246"/>
                  </a:lnTo>
                  <a:lnTo>
                    <a:pt x="816" y="248"/>
                  </a:lnTo>
                  <a:lnTo>
                    <a:pt x="816" y="248"/>
                  </a:lnTo>
                  <a:lnTo>
                    <a:pt x="816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4" y="248"/>
                  </a:lnTo>
                  <a:lnTo>
                    <a:pt x="811" y="248"/>
                  </a:lnTo>
                  <a:close/>
                  <a:moveTo>
                    <a:pt x="353" y="246"/>
                  </a:moveTo>
                  <a:lnTo>
                    <a:pt x="353" y="246"/>
                  </a:lnTo>
                  <a:lnTo>
                    <a:pt x="353" y="246"/>
                  </a:lnTo>
                  <a:lnTo>
                    <a:pt x="353" y="246"/>
                  </a:lnTo>
                  <a:close/>
                  <a:moveTo>
                    <a:pt x="1324" y="243"/>
                  </a:moveTo>
                  <a:lnTo>
                    <a:pt x="1324" y="243"/>
                  </a:lnTo>
                  <a:lnTo>
                    <a:pt x="1324" y="243"/>
                  </a:lnTo>
                  <a:lnTo>
                    <a:pt x="1324" y="243"/>
                  </a:lnTo>
                  <a:close/>
                  <a:moveTo>
                    <a:pt x="987" y="243"/>
                  </a:move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4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2" y="243"/>
                  </a:lnTo>
                  <a:lnTo>
                    <a:pt x="982" y="246"/>
                  </a:lnTo>
                  <a:lnTo>
                    <a:pt x="982" y="246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7" y="243"/>
                  </a:lnTo>
                  <a:close/>
                  <a:moveTo>
                    <a:pt x="1171" y="243"/>
                  </a:moveTo>
                  <a:lnTo>
                    <a:pt x="1171" y="243"/>
                  </a:lnTo>
                  <a:lnTo>
                    <a:pt x="1173" y="243"/>
                  </a:lnTo>
                  <a:lnTo>
                    <a:pt x="1173" y="243"/>
                  </a:lnTo>
                  <a:lnTo>
                    <a:pt x="1173" y="243"/>
                  </a:lnTo>
                  <a:lnTo>
                    <a:pt x="1173" y="243"/>
                  </a:lnTo>
                  <a:lnTo>
                    <a:pt x="1173" y="243"/>
                  </a:lnTo>
                  <a:lnTo>
                    <a:pt x="1173" y="243"/>
                  </a:lnTo>
                  <a:lnTo>
                    <a:pt x="1173" y="246"/>
                  </a:lnTo>
                  <a:lnTo>
                    <a:pt x="1171" y="246"/>
                  </a:lnTo>
                  <a:lnTo>
                    <a:pt x="1171" y="246"/>
                  </a:lnTo>
                  <a:lnTo>
                    <a:pt x="1171" y="246"/>
                  </a:lnTo>
                  <a:lnTo>
                    <a:pt x="1171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9" y="246"/>
                  </a:lnTo>
                  <a:lnTo>
                    <a:pt x="1166" y="248"/>
                  </a:lnTo>
                  <a:lnTo>
                    <a:pt x="1166" y="248"/>
                  </a:lnTo>
                  <a:lnTo>
                    <a:pt x="1166" y="248"/>
                  </a:lnTo>
                  <a:lnTo>
                    <a:pt x="1166" y="248"/>
                  </a:lnTo>
                  <a:lnTo>
                    <a:pt x="1164" y="248"/>
                  </a:lnTo>
                  <a:lnTo>
                    <a:pt x="1164" y="248"/>
                  </a:lnTo>
                  <a:lnTo>
                    <a:pt x="1162" y="250"/>
                  </a:lnTo>
                  <a:lnTo>
                    <a:pt x="1162" y="250"/>
                  </a:lnTo>
                  <a:lnTo>
                    <a:pt x="1162" y="250"/>
                  </a:lnTo>
                  <a:lnTo>
                    <a:pt x="1162" y="250"/>
                  </a:lnTo>
                  <a:lnTo>
                    <a:pt x="1160" y="250"/>
                  </a:lnTo>
                  <a:lnTo>
                    <a:pt x="1160" y="252"/>
                  </a:lnTo>
                  <a:lnTo>
                    <a:pt x="1160" y="252"/>
                  </a:lnTo>
                  <a:lnTo>
                    <a:pt x="1160" y="252"/>
                  </a:lnTo>
                  <a:lnTo>
                    <a:pt x="1160" y="252"/>
                  </a:lnTo>
                  <a:lnTo>
                    <a:pt x="1157" y="252"/>
                  </a:lnTo>
                  <a:lnTo>
                    <a:pt x="1157" y="252"/>
                  </a:lnTo>
                  <a:lnTo>
                    <a:pt x="1157" y="252"/>
                  </a:lnTo>
                  <a:lnTo>
                    <a:pt x="1157" y="252"/>
                  </a:lnTo>
                  <a:lnTo>
                    <a:pt x="1155" y="252"/>
                  </a:lnTo>
                  <a:lnTo>
                    <a:pt x="1155" y="252"/>
                  </a:lnTo>
                  <a:lnTo>
                    <a:pt x="1153" y="252"/>
                  </a:lnTo>
                  <a:lnTo>
                    <a:pt x="1153" y="252"/>
                  </a:lnTo>
                  <a:lnTo>
                    <a:pt x="1151" y="255"/>
                  </a:lnTo>
                  <a:lnTo>
                    <a:pt x="1151" y="255"/>
                  </a:lnTo>
                  <a:lnTo>
                    <a:pt x="1151" y="255"/>
                  </a:lnTo>
                  <a:lnTo>
                    <a:pt x="1151" y="255"/>
                  </a:lnTo>
                  <a:lnTo>
                    <a:pt x="1151" y="252"/>
                  </a:lnTo>
                  <a:lnTo>
                    <a:pt x="1148" y="252"/>
                  </a:lnTo>
                  <a:lnTo>
                    <a:pt x="1148" y="252"/>
                  </a:lnTo>
                  <a:lnTo>
                    <a:pt x="1148" y="252"/>
                  </a:lnTo>
                  <a:lnTo>
                    <a:pt x="1148" y="252"/>
                  </a:lnTo>
                  <a:lnTo>
                    <a:pt x="1151" y="252"/>
                  </a:lnTo>
                  <a:lnTo>
                    <a:pt x="1151" y="252"/>
                  </a:lnTo>
                  <a:lnTo>
                    <a:pt x="1151" y="252"/>
                  </a:lnTo>
                  <a:lnTo>
                    <a:pt x="1151" y="252"/>
                  </a:lnTo>
                  <a:lnTo>
                    <a:pt x="1148" y="252"/>
                  </a:lnTo>
                  <a:lnTo>
                    <a:pt x="1151" y="252"/>
                  </a:lnTo>
                  <a:lnTo>
                    <a:pt x="1151" y="250"/>
                  </a:lnTo>
                  <a:lnTo>
                    <a:pt x="1155" y="250"/>
                  </a:lnTo>
                  <a:lnTo>
                    <a:pt x="1155" y="248"/>
                  </a:lnTo>
                  <a:lnTo>
                    <a:pt x="1155" y="248"/>
                  </a:lnTo>
                  <a:lnTo>
                    <a:pt x="1155" y="248"/>
                  </a:lnTo>
                  <a:lnTo>
                    <a:pt x="1155" y="248"/>
                  </a:lnTo>
                  <a:lnTo>
                    <a:pt x="1157" y="248"/>
                  </a:lnTo>
                  <a:lnTo>
                    <a:pt x="1157" y="248"/>
                  </a:lnTo>
                  <a:lnTo>
                    <a:pt x="1157" y="248"/>
                  </a:lnTo>
                  <a:lnTo>
                    <a:pt x="1157" y="248"/>
                  </a:lnTo>
                  <a:lnTo>
                    <a:pt x="1160" y="248"/>
                  </a:lnTo>
                  <a:lnTo>
                    <a:pt x="1160" y="248"/>
                  </a:lnTo>
                  <a:lnTo>
                    <a:pt x="1160" y="248"/>
                  </a:lnTo>
                  <a:lnTo>
                    <a:pt x="1160" y="248"/>
                  </a:lnTo>
                  <a:lnTo>
                    <a:pt x="1162" y="248"/>
                  </a:lnTo>
                  <a:lnTo>
                    <a:pt x="1162" y="248"/>
                  </a:lnTo>
                  <a:lnTo>
                    <a:pt x="1162" y="248"/>
                  </a:lnTo>
                  <a:lnTo>
                    <a:pt x="1162" y="248"/>
                  </a:lnTo>
                  <a:lnTo>
                    <a:pt x="1162" y="246"/>
                  </a:lnTo>
                  <a:lnTo>
                    <a:pt x="1162" y="246"/>
                  </a:lnTo>
                  <a:lnTo>
                    <a:pt x="1162" y="246"/>
                  </a:lnTo>
                  <a:lnTo>
                    <a:pt x="1164" y="246"/>
                  </a:lnTo>
                  <a:lnTo>
                    <a:pt x="1164" y="246"/>
                  </a:lnTo>
                  <a:lnTo>
                    <a:pt x="1166" y="246"/>
                  </a:lnTo>
                  <a:lnTo>
                    <a:pt x="1166" y="246"/>
                  </a:lnTo>
                  <a:lnTo>
                    <a:pt x="1166" y="246"/>
                  </a:lnTo>
                  <a:lnTo>
                    <a:pt x="1166" y="243"/>
                  </a:lnTo>
                  <a:lnTo>
                    <a:pt x="1166" y="243"/>
                  </a:lnTo>
                  <a:lnTo>
                    <a:pt x="1166" y="243"/>
                  </a:lnTo>
                  <a:lnTo>
                    <a:pt x="1166" y="243"/>
                  </a:lnTo>
                  <a:lnTo>
                    <a:pt x="1166" y="243"/>
                  </a:lnTo>
                  <a:lnTo>
                    <a:pt x="1166" y="243"/>
                  </a:lnTo>
                  <a:lnTo>
                    <a:pt x="1169" y="243"/>
                  </a:lnTo>
                  <a:lnTo>
                    <a:pt x="1169" y="243"/>
                  </a:lnTo>
                  <a:lnTo>
                    <a:pt x="1169" y="243"/>
                  </a:lnTo>
                  <a:lnTo>
                    <a:pt x="1171" y="243"/>
                  </a:lnTo>
                  <a:lnTo>
                    <a:pt x="1171" y="243"/>
                  </a:lnTo>
                  <a:close/>
                  <a:moveTo>
                    <a:pt x="304" y="241"/>
                  </a:moveTo>
                  <a:lnTo>
                    <a:pt x="304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4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4" y="243"/>
                  </a:lnTo>
                  <a:lnTo>
                    <a:pt x="304" y="243"/>
                  </a:lnTo>
                  <a:lnTo>
                    <a:pt x="304" y="243"/>
                  </a:lnTo>
                  <a:lnTo>
                    <a:pt x="304" y="243"/>
                  </a:lnTo>
                  <a:lnTo>
                    <a:pt x="301" y="243"/>
                  </a:lnTo>
                  <a:lnTo>
                    <a:pt x="304" y="241"/>
                  </a:lnTo>
                  <a:lnTo>
                    <a:pt x="304" y="241"/>
                  </a:lnTo>
                  <a:close/>
                  <a:moveTo>
                    <a:pt x="993" y="243"/>
                  </a:moveTo>
                  <a:lnTo>
                    <a:pt x="991" y="243"/>
                  </a:lnTo>
                  <a:lnTo>
                    <a:pt x="991" y="243"/>
                  </a:lnTo>
                  <a:lnTo>
                    <a:pt x="993" y="243"/>
                  </a:lnTo>
                  <a:lnTo>
                    <a:pt x="993" y="243"/>
                  </a:lnTo>
                  <a:lnTo>
                    <a:pt x="993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89" y="243"/>
                  </a:lnTo>
                  <a:lnTo>
                    <a:pt x="989" y="246"/>
                  </a:lnTo>
                  <a:lnTo>
                    <a:pt x="989" y="246"/>
                  </a:lnTo>
                  <a:lnTo>
                    <a:pt x="989" y="246"/>
                  </a:lnTo>
                  <a:lnTo>
                    <a:pt x="989" y="246"/>
                  </a:lnTo>
                  <a:lnTo>
                    <a:pt x="989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6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7" y="243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3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1"/>
                  </a:lnTo>
                  <a:lnTo>
                    <a:pt x="993" y="243"/>
                  </a:lnTo>
                  <a:close/>
                  <a:moveTo>
                    <a:pt x="1193" y="241"/>
                  </a:moveTo>
                  <a:lnTo>
                    <a:pt x="1193" y="241"/>
                  </a:lnTo>
                  <a:lnTo>
                    <a:pt x="1196" y="241"/>
                  </a:lnTo>
                  <a:lnTo>
                    <a:pt x="1198" y="241"/>
                  </a:lnTo>
                  <a:lnTo>
                    <a:pt x="1198" y="241"/>
                  </a:lnTo>
                  <a:lnTo>
                    <a:pt x="1198" y="241"/>
                  </a:lnTo>
                  <a:lnTo>
                    <a:pt x="1198" y="241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8" y="243"/>
                  </a:lnTo>
                  <a:lnTo>
                    <a:pt x="1196" y="243"/>
                  </a:lnTo>
                  <a:lnTo>
                    <a:pt x="1196" y="243"/>
                  </a:lnTo>
                  <a:lnTo>
                    <a:pt x="1196" y="246"/>
                  </a:lnTo>
                  <a:lnTo>
                    <a:pt x="1193" y="246"/>
                  </a:lnTo>
                  <a:lnTo>
                    <a:pt x="1193" y="246"/>
                  </a:lnTo>
                  <a:lnTo>
                    <a:pt x="1193" y="246"/>
                  </a:lnTo>
                  <a:lnTo>
                    <a:pt x="1193" y="246"/>
                  </a:lnTo>
                  <a:lnTo>
                    <a:pt x="1191" y="246"/>
                  </a:lnTo>
                  <a:lnTo>
                    <a:pt x="1191" y="246"/>
                  </a:lnTo>
                  <a:lnTo>
                    <a:pt x="1191" y="246"/>
                  </a:lnTo>
                  <a:lnTo>
                    <a:pt x="1191" y="246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91" y="248"/>
                  </a:lnTo>
                  <a:lnTo>
                    <a:pt x="1189" y="248"/>
                  </a:lnTo>
                  <a:lnTo>
                    <a:pt x="1189" y="248"/>
                  </a:lnTo>
                  <a:lnTo>
                    <a:pt x="1191" y="248"/>
                  </a:lnTo>
                  <a:lnTo>
                    <a:pt x="1189" y="248"/>
                  </a:lnTo>
                  <a:lnTo>
                    <a:pt x="1189" y="248"/>
                  </a:lnTo>
                  <a:lnTo>
                    <a:pt x="1187" y="248"/>
                  </a:lnTo>
                  <a:lnTo>
                    <a:pt x="1187" y="248"/>
                  </a:lnTo>
                  <a:lnTo>
                    <a:pt x="1184" y="248"/>
                  </a:lnTo>
                  <a:lnTo>
                    <a:pt x="1184" y="246"/>
                  </a:lnTo>
                  <a:lnTo>
                    <a:pt x="1184" y="246"/>
                  </a:lnTo>
                  <a:lnTo>
                    <a:pt x="1184" y="246"/>
                  </a:lnTo>
                  <a:lnTo>
                    <a:pt x="1187" y="246"/>
                  </a:lnTo>
                  <a:lnTo>
                    <a:pt x="1187" y="243"/>
                  </a:lnTo>
                  <a:lnTo>
                    <a:pt x="1187" y="243"/>
                  </a:lnTo>
                  <a:lnTo>
                    <a:pt x="1187" y="243"/>
                  </a:lnTo>
                  <a:lnTo>
                    <a:pt x="1187" y="243"/>
                  </a:lnTo>
                  <a:lnTo>
                    <a:pt x="1187" y="243"/>
                  </a:lnTo>
                  <a:lnTo>
                    <a:pt x="1187" y="243"/>
                  </a:lnTo>
                  <a:lnTo>
                    <a:pt x="1189" y="241"/>
                  </a:lnTo>
                  <a:lnTo>
                    <a:pt x="1189" y="241"/>
                  </a:lnTo>
                  <a:lnTo>
                    <a:pt x="1191" y="241"/>
                  </a:lnTo>
                  <a:lnTo>
                    <a:pt x="1191" y="241"/>
                  </a:lnTo>
                  <a:lnTo>
                    <a:pt x="1193" y="241"/>
                  </a:lnTo>
                  <a:close/>
                  <a:moveTo>
                    <a:pt x="827" y="239"/>
                  </a:move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9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9" y="239"/>
                  </a:lnTo>
                  <a:lnTo>
                    <a:pt x="829" y="239"/>
                  </a:lnTo>
                  <a:lnTo>
                    <a:pt x="829" y="239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9" y="241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27" y="241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5" y="243"/>
                  </a:lnTo>
                  <a:lnTo>
                    <a:pt x="823" y="243"/>
                  </a:lnTo>
                  <a:lnTo>
                    <a:pt x="823" y="243"/>
                  </a:lnTo>
                  <a:lnTo>
                    <a:pt x="825" y="243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7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41"/>
                  </a:lnTo>
                  <a:lnTo>
                    <a:pt x="825" y="239"/>
                  </a:lnTo>
                  <a:lnTo>
                    <a:pt x="825" y="239"/>
                  </a:lnTo>
                  <a:lnTo>
                    <a:pt x="825" y="239"/>
                  </a:lnTo>
                  <a:lnTo>
                    <a:pt x="825" y="239"/>
                  </a:lnTo>
                  <a:lnTo>
                    <a:pt x="825" y="239"/>
                  </a:lnTo>
                  <a:lnTo>
                    <a:pt x="825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lnTo>
                    <a:pt x="827" y="239"/>
                  </a:lnTo>
                  <a:close/>
                  <a:moveTo>
                    <a:pt x="897" y="239"/>
                  </a:moveTo>
                  <a:lnTo>
                    <a:pt x="897" y="239"/>
                  </a:lnTo>
                  <a:lnTo>
                    <a:pt x="899" y="239"/>
                  </a:lnTo>
                  <a:lnTo>
                    <a:pt x="901" y="239"/>
                  </a:lnTo>
                  <a:lnTo>
                    <a:pt x="901" y="239"/>
                  </a:lnTo>
                  <a:lnTo>
                    <a:pt x="901" y="239"/>
                  </a:lnTo>
                  <a:lnTo>
                    <a:pt x="901" y="239"/>
                  </a:lnTo>
                  <a:lnTo>
                    <a:pt x="901" y="239"/>
                  </a:lnTo>
                  <a:lnTo>
                    <a:pt x="901" y="239"/>
                  </a:lnTo>
                  <a:lnTo>
                    <a:pt x="901" y="239"/>
                  </a:lnTo>
                  <a:lnTo>
                    <a:pt x="904" y="239"/>
                  </a:lnTo>
                  <a:lnTo>
                    <a:pt x="904" y="239"/>
                  </a:lnTo>
                  <a:lnTo>
                    <a:pt x="904" y="239"/>
                  </a:lnTo>
                  <a:lnTo>
                    <a:pt x="904" y="239"/>
                  </a:lnTo>
                  <a:lnTo>
                    <a:pt x="904" y="239"/>
                  </a:lnTo>
                  <a:lnTo>
                    <a:pt x="904" y="239"/>
                  </a:lnTo>
                  <a:lnTo>
                    <a:pt x="904" y="239"/>
                  </a:lnTo>
                  <a:lnTo>
                    <a:pt x="904" y="241"/>
                  </a:lnTo>
                  <a:lnTo>
                    <a:pt x="904" y="241"/>
                  </a:lnTo>
                  <a:lnTo>
                    <a:pt x="904" y="241"/>
                  </a:lnTo>
                  <a:lnTo>
                    <a:pt x="904" y="241"/>
                  </a:lnTo>
                  <a:lnTo>
                    <a:pt x="904" y="241"/>
                  </a:lnTo>
                  <a:lnTo>
                    <a:pt x="901" y="241"/>
                  </a:lnTo>
                  <a:lnTo>
                    <a:pt x="901" y="241"/>
                  </a:lnTo>
                  <a:lnTo>
                    <a:pt x="901" y="241"/>
                  </a:lnTo>
                  <a:lnTo>
                    <a:pt x="901" y="243"/>
                  </a:lnTo>
                  <a:lnTo>
                    <a:pt x="901" y="243"/>
                  </a:lnTo>
                  <a:lnTo>
                    <a:pt x="901" y="243"/>
                  </a:lnTo>
                  <a:lnTo>
                    <a:pt x="901" y="243"/>
                  </a:lnTo>
                  <a:lnTo>
                    <a:pt x="901" y="243"/>
                  </a:lnTo>
                  <a:lnTo>
                    <a:pt x="899" y="243"/>
                  </a:lnTo>
                  <a:lnTo>
                    <a:pt x="899" y="243"/>
                  </a:lnTo>
                  <a:lnTo>
                    <a:pt x="899" y="243"/>
                  </a:lnTo>
                  <a:lnTo>
                    <a:pt x="899" y="241"/>
                  </a:lnTo>
                  <a:lnTo>
                    <a:pt x="899" y="241"/>
                  </a:lnTo>
                  <a:lnTo>
                    <a:pt x="897" y="241"/>
                  </a:lnTo>
                  <a:lnTo>
                    <a:pt x="897" y="241"/>
                  </a:lnTo>
                  <a:lnTo>
                    <a:pt x="897" y="241"/>
                  </a:lnTo>
                  <a:lnTo>
                    <a:pt x="897" y="241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lnTo>
                    <a:pt x="897" y="239"/>
                  </a:lnTo>
                  <a:close/>
                  <a:moveTo>
                    <a:pt x="1342" y="239"/>
                  </a:moveTo>
                  <a:lnTo>
                    <a:pt x="1342" y="239"/>
                  </a:lnTo>
                  <a:lnTo>
                    <a:pt x="1339" y="239"/>
                  </a:lnTo>
                  <a:lnTo>
                    <a:pt x="1337" y="239"/>
                  </a:lnTo>
                  <a:lnTo>
                    <a:pt x="1339" y="239"/>
                  </a:lnTo>
                  <a:lnTo>
                    <a:pt x="1339" y="241"/>
                  </a:lnTo>
                  <a:lnTo>
                    <a:pt x="1339" y="241"/>
                  </a:lnTo>
                  <a:lnTo>
                    <a:pt x="1339" y="241"/>
                  </a:lnTo>
                  <a:lnTo>
                    <a:pt x="1339" y="241"/>
                  </a:lnTo>
                  <a:lnTo>
                    <a:pt x="1339" y="241"/>
                  </a:lnTo>
                  <a:lnTo>
                    <a:pt x="1337" y="241"/>
                  </a:lnTo>
                  <a:lnTo>
                    <a:pt x="1337" y="241"/>
                  </a:lnTo>
                  <a:lnTo>
                    <a:pt x="1337" y="241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7" y="239"/>
                  </a:lnTo>
                  <a:lnTo>
                    <a:pt x="1337" y="239"/>
                  </a:lnTo>
                  <a:lnTo>
                    <a:pt x="1337" y="239"/>
                  </a:lnTo>
                  <a:lnTo>
                    <a:pt x="1337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39" y="239"/>
                  </a:lnTo>
                  <a:lnTo>
                    <a:pt x="1342" y="239"/>
                  </a:lnTo>
                  <a:lnTo>
                    <a:pt x="1342" y="239"/>
                  </a:lnTo>
                  <a:lnTo>
                    <a:pt x="1342" y="239"/>
                  </a:lnTo>
                  <a:lnTo>
                    <a:pt x="1342" y="239"/>
                  </a:lnTo>
                  <a:lnTo>
                    <a:pt x="1342" y="239"/>
                  </a:lnTo>
                  <a:lnTo>
                    <a:pt x="1342" y="239"/>
                  </a:lnTo>
                  <a:lnTo>
                    <a:pt x="1342" y="239"/>
                  </a:lnTo>
                  <a:close/>
                  <a:moveTo>
                    <a:pt x="333" y="239"/>
                  </a:move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3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close/>
                  <a:moveTo>
                    <a:pt x="913" y="239"/>
                  </a:moveTo>
                  <a:lnTo>
                    <a:pt x="913" y="239"/>
                  </a:lnTo>
                  <a:lnTo>
                    <a:pt x="913" y="239"/>
                  </a:lnTo>
                  <a:lnTo>
                    <a:pt x="913" y="239"/>
                  </a:lnTo>
                  <a:lnTo>
                    <a:pt x="913" y="239"/>
                  </a:lnTo>
                  <a:lnTo>
                    <a:pt x="913" y="239"/>
                  </a:lnTo>
                  <a:lnTo>
                    <a:pt x="913" y="239"/>
                  </a:lnTo>
                  <a:lnTo>
                    <a:pt x="915" y="239"/>
                  </a:lnTo>
                  <a:lnTo>
                    <a:pt x="915" y="239"/>
                  </a:lnTo>
                  <a:lnTo>
                    <a:pt x="915" y="239"/>
                  </a:lnTo>
                  <a:lnTo>
                    <a:pt x="915" y="241"/>
                  </a:lnTo>
                  <a:lnTo>
                    <a:pt x="915" y="241"/>
                  </a:lnTo>
                  <a:lnTo>
                    <a:pt x="915" y="241"/>
                  </a:lnTo>
                  <a:lnTo>
                    <a:pt x="915" y="241"/>
                  </a:lnTo>
                  <a:lnTo>
                    <a:pt x="915" y="241"/>
                  </a:lnTo>
                  <a:lnTo>
                    <a:pt x="913" y="241"/>
                  </a:lnTo>
                  <a:lnTo>
                    <a:pt x="913" y="243"/>
                  </a:lnTo>
                  <a:lnTo>
                    <a:pt x="913" y="243"/>
                  </a:lnTo>
                  <a:lnTo>
                    <a:pt x="913" y="243"/>
                  </a:lnTo>
                  <a:lnTo>
                    <a:pt x="910" y="243"/>
                  </a:lnTo>
                  <a:lnTo>
                    <a:pt x="910" y="243"/>
                  </a:lnTo>
                  <a:lnTo>
                    <a:pt x="910" y="243"/>
                  </a:lnTo>
                  <a:lnTo>
                    <a:pt x="910" y="243"/>
                  </a:lnTo>
                  <a:lnTo>
                    <a:pt x="908" y="243"/>
                  </a:lnTo>
                  <a:lnTo>
                    <a:pt x="906" y="243"/>
                  </a:lnTo>
                  <a:lnTo>
                    <a:pt x="908" y="243"/>
                  </a:lnTo>
                  <a:lnTo>
                    <a:pt x="908" y="243"/>
                  </a:lnTo>
                  <a:lnTo>
                    <a:pt x="908" y="243"/>
                  </a:lnTo>
                  <a:lnTo>
                    <a:pt x="908" y="243"/>
                  </a:lnTo>
                  <a:lnTo>
                    <a:pt x="908" y="243"/>
                  </a:lnTo>
                  <a:lnTo>
                    <a:pt x="908" y="243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41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08" y="241"/>
                  </a:lnTo>
                  <a:lnTo>
                    <a:pt x="908" y="241"/>
                  </a:lnTo>
                  <a:lnTo>
                    <a:pt x="908" y="241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6" y="243"/>
                  </a:lnTo>
                  <a:lnTo>
                    <a:pt x="904" y="243"/>
                  </a:lnTo>
                  <a:lnTo>
                    <a:pt x="904" y="243"/>
                  </a:lnTo>
                  <a:lnTo>
                    <a:pt x="904" y="243"/>
                  </a:lnTo>
                  <a:lnTo>
                    <a:pt x="904" y="243"/>
                  </a:lnTo>
                  <a:lnTo>
                    <a:pt x="904" y="243"/>
                  </a:lnTo>
                  <a:lnTo>
                    <a:pt x="904" y="243"/>
                  </a:lnTo>
                  <a:lnTo>
                    <a:pt x="904" y="243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41"/>
                  </a:lnTo>
                  <a:lnTo>
                    <a:pt x="906" y="239"/>
                  </a:lnTo>
                  <a:lnTo>
                    <a:pt x="906" y="239"/>
                  </a:lnTo>
                  <a:lnTo>
                    <a:pt x="908" y="239"/>
                  </a:lnTo>
                  <a:lnTo>
                    <a:pt x="908" y="239"/>
                  </a:lnTo>
                  <a:lnTo>
                    <a:pt x="908" y="239"/>
                  </a:lnTo>
                  <a:lnTo>
                    <a:pt x="908" y="239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10" y="239"/>
                  </a:lnTo>
                  <a:lnTo>
                    <a:pt x="910" y="237"/>
                  </a:lnTo>
                  <a:lnTo>
                    <a:pt x="910" y="237"/>
                  </a:lnTo>
                  <a:lnTo>
                    <a:pt x="913" y="237"/>
                  </a:lnTo>
                  <a:lnTo>
                    <a:pt x="913" y="239"/>
                  </a:lnTo>
                  <a:lnTo>
                    <a:pt x="913" y="239"/>
                  </a:lnTo>
                  <a:lnTo>
                    <a:pt x="913" y="239"/>
                  </a:lnTo>
                  <a:close/>
                  <a:moveTo>
                    <a:pt x="257" y="239"/>
                  </a:moveTo>
                  <a:lnTo>
                    <a:pt x="257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2" y="239"/>
                  </a:lnTo>
                  <a:lnTo>
                    <a:pt x="252" y="239"/>
                  </a:lnTo>
                  <a:lnTo>
                    <a:pt x="252" y="239"/>
                  </a:lnTo>
                  <a:lnTo>
                    <a:pt x="252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2" y="237"/>
                  </a:lnTo>
                  <a:lnTo>
                    <a:pt x="254" y="237"/>
                  </a:lnTo>
                  <a:lnTo>
                    <a:pt x="254" y="237"/>
                  </a:lnTo>
                  <a:lnTo>
                    <a:pt x="254" y="237"/>
                  </a:lnTo>
                  <a:lnTo>
                    <a:pt x="257" y="237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lnTo>
                    <a:pt x="257" y="239"/>
                  </a:lnTo>
                  <a:close/>
                  <a:moveTo>
                    <a:pt x="308" y="239"/>
                  </a:moveTo>
                  <a:lnTo>
                    <a:pt x="306" y="239"/>
                  </a:lnTo>
                  <a:lnTo>
                    <a:pt x="306" y="239"/>
                  </a:lnTo>
                  <a:lnTo>
                    <a:pt x="306" y="239"/>
                  </a:lnTo>
                  <a:lnTo>
                    <a:pt x="308" y="239"/>
                  </a:lnTo>
                  <a:lnTo>
                    <a:pt x="308" y="237"/>
                  </a:lnTo>
                  <a:lnTo>
                    <a:pt x="308" y="237"/>
                  </a:lnTo>
                  <a:lnTo>
                    <a:pt x="310" y="237"/>
                  </a:lnTo>
                  <a:lnTo>
                    <a:pt x="310" y="237"/>
                  </a:lnTo>
                  <a:lnTo>
                    <a:pt x="310" y="237"/>
                  </a:lnTo>
                  <a:lnTo>
                    <a:pt x="308" y="239"/>
                  </a:lnTo>
                  <a:lnTo>
                    <a:pt x="308" y="239"/>
                  </a:lnTo>
                  <a:lnTo>
                    <a:pt x="308" y="239"/>
                  </a:lnTo>
                  <a:close/>
                  <a:moveTo>
                    <a:pt x="1335" y="237"/>
                  </a:moveTo>
                  <a:lnTo>
                    <a:pt x="1335" y="237"/>
                  </a:lnTo>
                  <a:lnTo>
                    <a:pt x="1335" y="237"/>
                  </a:lnTo>
                  <a:lnTo>
                    <a:pt x="1335" y="237"/>
                  </a:lnTo>
                  <a:lnTo>
                    <a:pt x="1337" y="237"/>
                  </a:lnTo>
                  <a:lnTo>
                    <a:pt x="1337" y="237"/>
                  </a:lnTo>
                  <a:lnTo>
                    <a:pt x="1337" y="237"/>
                  </a:lnTo>
                  <a:lnTo>
                    <a:pt x="1337" y="237"/>
                  </a:lnTo>
                  <a:lnTo>
                    <a:pt x="1337" y="237"/>
                  </a:lnTo>
                  <a:lnTo>
                    <a:pt x="1337" y="237"/>
                  </a:lnTo>
                  <a:lnTo>
                    <a:pt x="1337" y="237"/>
                  </a:lnTo>
                  <a:lnTo>
                    <a:pt x="1335" y="239"/>
                  </a:lnTo>
                  <a:lnTo>
                    <a:pt x="1335" y="239"/>
                  </a:lnTo>
                  <a:lnTo>
                    <a:pt x="1333" y="239"/>
                  </a:lnTo>
                  <a:lnTo>
                    <a:pt x="1333" y="239"/>
                  </a:lnTo>
                  <a:lnTo>
                    <a:pt x="1333" y="239"/>
                  </a:lnTo>
                  <a:lnTo>
                    <a:pt x="1328" y="239"/>
                  </a:lnTo>
                  <a:lnTo>
                    <a:pt x="1328" y="239"/>
                  </a:lnTo>
                  <a:lnTo>
                    <a:pt x="1328" y="239"/>
                  </a:lnTo>
                  <a:lnTo>
                    <a:pt x="1328" y="239"/>
                  </a:lnTo>
                  <a:lnTo>
                    <a:pt x="1328" y="239"/>
                  </a:lnTo>
                  <a:lnTo>
                    <a:pt x="1330" y="237"/>
                  </a:lnTo>
                  <a:lnTo>
                    <a:pt x="1330" y="237"/>
                  </a:lnTo>
                  <a:lnTo>
                    <a:pt x="1333" y="237"/>
                  </a:lnTo>
                  <a:lnTo>
                    <a:pt x="1333" y="237"/>
                  </a:lnTo>
                  <a:lnTo>
                    <a:pt x="1335" y="237"/>
                  </a:lnTo>
                  <a:lnTo>
                    <a:pt x="1335" y="237"/>
                  </a:lnTo>
                  <a:lnTo>
                    <a:pt x="1335" y="237"/>
                  </a:lnTo>
                  <a:lnTo>
                    <a:pt x="1333" y="237"/>
                  </a:lnTo>
                  <a:lnTo>
                    <a:pt x="1335" y="237"/>
                  </a:lnTo>
                  <a:lnTo>
                    <a:pt x="1335" y="237"/>
                  </a:lnTo>
                  <a:lnTo>
                    <a:pt x="1335" y="237"/>
                  </a:lnTo>
                  <a:lnTo>
                    <a:pt x="1335" y="237"/>
                  </a:lnTo>
                  <a:lnTo>
                    <a:pt x="1335" y="237"/>
                  </a:lnTo>
                  <a:close/>
                  <a:moveTo>
                    <a:pt x="816" y="237"/>
                  </a:moveTo>
                  <a:lnTo>
                    <a:pt x="816" y="237"/>
                  </a:lnTo>
                  <a:lnTo>
                    <a:pt x="814" y="237"/>
                  </a:lnTo>
                  <a:lnTo>
                    <a:pt x="814" y="237"/>
                  </a:lnTo>
                  <a:lnTo>
                    <a:pt x="814" y="237"/>
                  </a:lnTo>
                  <a:lnTo>
                    <a:pt x="816" y="237"/>
                  </a:lnTo>
                  <a:lnTo>
                    <a:pt x="816" y="237"/>
                  </a:lnTo>
                  <a:lnTo>
                    <a:pt x="816" y="237"/>
                  </a:lnTo>
                  <a:lnTo>
                    <a:pt x="816" y="237"/>
                  </a:lnTo>
                  <a:lnTo>
                    <a:pt x="816" y="237"/>
                  </a:lnTo>
                  <a:lnTo>
                    <a:pt x="816" y="237"/>
                  </a:lnTo>
                  <a:close/>
                  <a:moveTo>
                    <a:pt x="1182" y="237"/>
                  </a:moveTo>
                  <a:lnTo>
                    <a:pt x="1182" y="237"/>
                  </a:lnTo>
                  <a:lnTo>
                    <a:pt x="1182" y="237"/>
                  </a:lnTo>
                  <a:lnTo>
                    <a:pt x="1182" y="237"/>
                  </a:lnTo>
                  <a:lnTo>
                    <a:pt x="1180" y="239"/>
                  </a:lnTo>
                  <a:lnTo>
                    <a:pt x="1180" y="239"/>
                  </a:lnTo>
                  <a:lnTo>
                    <a:pt x="1180" y="239"/>
                  </a:lnTo>
                  <a:lnTo>
                    <a:pt x="1180" y="239"/>
                  </a:lnTo>
                  <a:lnTo>
                    <a:pt x="1180" y="239"/>
                  </a:lnTo>
                  <a:lnTo>
                    <a:pt x="1178" y="239"/>
                  </a:lnTo>
                  <a:lnTo>
                    <a:pt x="1178" y="239"/>
                  </a:lnTo>
                  <a:lnTo>
                    <a:pt x="1175" y="239"/>
                  </a:lnTo>
                  <a:lnTo>
                    <a:pt x="1173" y="239"/>
                  </a:lnTo>
                  <a:lnTo>
                    <a:pt x="1173" y="239"/>
                  </a:lnTo>
                  <a:lnTo>
                    <a:pt x="1171" y="241"/>
                  </a:lnTo>
                  <a:lnTo>
                    <a:pt x="1171" y="241"/>
                  </a:lnTo>
                  <a:lnTo>
                    <a:pt x="1171" y="241"/>
                  </a:lnTo>
                  <a:lnTo>
                    <a:pt x="1171" y="241"/>
                  </a:lnTo>
                  <a:lnTo>
                    <a:pt x="1169" y="241"/>
                  </a:lnTo>
                  <a:lnTo>
                    <a:pt x="1166" y="241"/>
                  </a:lnTo>
                  <a:lnTo>
                    <a:pt x="1166" y="241"/>
                  </a:lnTo>
                  <a:lnTo>
                    <a:pt x="1166" y="241"/>
                  </a:lnTo>
                  <a:lnTo>
                    <a:pt x="1166" y="241"/>
                  </a:lnTo>
                  <a:lnTo>
                    <a:pt x="1166" y="241"/>
                  </a:lnTo>
                  <a:lnTo>
                    <a:pt x="1166" y="241"/>
                  </a:lnTo>
                  <a:lnTo>
                    <a:pt x="1166" y="241"/>
                  </a:lnTo>
                  <a:lnTo>
                    <a:pt x="1169" y="239"/>
                  </a:lnTo>
                  <a:lnTo>
                    <a:pt x="1171" y="239"/>
                  </a:lnTo>
                  <a:lnTo>
                    <a:pt x="1171" y="239"/>
                  </a:lnTo>
                  <a:lnTo>
                    <a:pt x="1173" y="237"/>
                  </a:lnTo>
                  <a:lnTo>
                    <a:pt x="1173" y="237"/>
                  </a:lnTo>
                  <a:lnTo>
                    <a:pt x="1173" y="237"/>
                  </a:lnTo>
                  <a:lnTo>
                    <a:pt x="1173" y="237"/>
                  </a:lnTo>
                  <a:lnTo>
                    <a:pt x="1175" y="237"/>
                  </a:lnTo>
                  <a:lnTo>
                    <a:pt x="1175" y="237"/>
                  </a:lnTo>
                  <a:lnTo>
                    <a:pt x="1175" y="237"/>
                  </a:lnTo>
                  <a:lnTo>
                    <a:pt x="1175" y="237"/>
                  </a:lnTo>
                  <a:lnTo>
                    <a:pt x="1175" y="237"/>
                  </a:lnTo>
                  <a:lnTo>
                    <a:pt x="1175" y="237"/>
                  </a:lnTo>
                  <a:lnTo>
                    <a:pt x="1175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78" y="237"/>
                  </a:lnTo>
                  <a:lnTo>
                    <a:pt x="1180" y="237"/>
                  </a:lnTo>
                  <a:lnTo>
                    <a:pt x="1180" y="234"/>
                  </a:lnTo>
                  <a:lnTo>
                    <a:pt x="1180" y="234"/>
                  </a:lnTo>
                  <a:lnTo>
                    <a:pt x="1180" y="234"/>
                  </a:lnTo>
                  <a:lnTo>
                    <a:pt x="1180" y="234"/>
                  </a:lnTo>
                  <a:lnTo>
                    <a:pt x="1180" y="234"/>
                  </a:lnTo>
                  <a:lnTo>
                    <a:pt x="1180" y="237"/>
                  </a:lnTo>
                  <a:lnTo>
                    <a:pt x="1182" y="237"/>
                  </a:lnTo>
                  <a:lnTo>
                    <a:pt x="1182" y="237"/>
                  </a:lnTo>
                  <a:lnTo>
                    <a:pt x="1182" y="237"/>
                  </a:lnTo>
                  <a:lnTo>
                    <a:pt x="1182" y="237"/>
                  </a:lnTo>
                  <a:close/>
                  <a:moveTo>
                    <a:pt x="1157" y="234"/>
                  </a:moveTo>
                  <a:lnTo>
                    <a:pt x="1160" y="234"/>
                  </a:lnTo>
                  <a:lnTo>
                    <a:pt x="1160" y="234"/>
                  </a:lnTo>
                  <a:lnTo>
                    <a:pt x="1162" y="234"/>
                  </a:lnTo>
                  <a:lnTo>
                    <a:pt x="1162" y="234"/>
                  </a:lnTo>
                  <a:lnTo>
                    <a:pt x="1162" y="234"/>
                  </a:lnTo>
                  <a:lnTo>
                    <a:pt x="1162" y="234"/>
                  </a:lnTo>
                  <a:lnTo>
                    <a:pt x="1162" y="237"/>
                  </a:lnTo>
                  <a:lnTo>
                    <a:pt x="1162" y="237"/>
                  </a:lnTo>
                  <a:lnTo>
                    <a:pt x="1162" y="237"/>
                  </a:lnTo>
                  <a:lnTo>
                    <a:pt x="1162" y="237"/>
                  </a:lnTo>
                  <a:lnTo>
                    <a:pt x="1157" y="237"/>
                  </a:lnTo>
                  <a:lnTo>
                    <a:pt x="1157" y="239"/>
                  </a:lnTo>
                  <a:lnTo>
                    <a:pt x="1153" y="239"/>
                  </a:lnTo>
                  <a:lnTo>
                    <a:pt x="1153" y="239"/>
                  </a:lnTo>
                  <a:lnTo>
                    <a:pt x="1151" y="239"/>
                  </a:lnTo>
                  <a:lnTo>
                    <a:pt x="1151" y="239"/>
                  </a:lnTo>
                  <a:lnTo>
                    <a:pt x="1151" y="237"/>
                  </a:lnTo>
                  <a:lnTo>
                    <a:pt x="1151" y="237"/>
                  </a:lnTo>
                  <a:lnTo>
                    <a:pt x="1151" y="237"/>
                  </a:lnTo>
                  <a:lnTo>
                    <a:pt x="1151" y="237"/>
                  </a:lnTo>
                  <a:lnTo>
                    <a:pt x="1148" y="237"/>
                  </a:lnTo>
                  <a:lnTo>
                    <a:pt x="1148" y="239"/>
                  </a:lnTo>
                  <a:lnTo>
                    <a:pt x="1151" y="239"/>
                  </a:lnTo>
                  <a:lnTo>
                    <a:pt x="1151" y="239"/>
                  </a:lnTo>
                  <a:lnTo>
                    <a:pt x="1148" y="241"/>
                  </a:lnTo>
                  <a:lnTo>
                    <a:pt x="1148" y="241"/>
                  </a:lnTo>
                  <a:lnTo>
                    <a:pt x="1148" y="241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6" y="239"/>
                  </a:lnTo>
                  <a:lnTo>
                    <a:pt x="1144" y="239"/>
                  </a:lnTo>
                  <a:lnTo>
                    <a:pt x="1144" y="239"/>
                  </a:lnTo>
                  <a:lnTo>
                    <a:pt x="1144" y="239"/>
                  </a:lnTo>
                  <a:lnTo>
                    <a:pt x="1144" y="239"/>
                  </a:lnTo>
                  <a:lnTo>
                    <a:pt x="1146" y="239"/>
                  </a:lnTo>
                  <a:lnTo>
                    <a:pt x="1144" y="239"/>
                  </a:lnTo>
                  <a:lnTo>
                    <a:pt x="1144" y="239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2" y="237"/>
                  </a:lnTo>
                  <a:lnTo>
                    <a:pt x="1139" y="237"/>
                  </a:lnTo>
                  <a:lnTo>
                    <a:pt x="1139" y="237"/>
                  </a:lnTo>
                  <a:lnTo>
                    <a:pt x="1139" y="237"/>
                  </a:lnTo>
                  <a:lnTo>
                    <a:pt x="1139" y="237"/>
                  </a:lnTo>
                  <a:lnTo>
                    <a:pt x="1139" y="237"/>
                  </a:lnTo>
                  <a:lnTo>
                    <a:pt x="1142" y="237"/>
                  </a:lnTo>
                  <a:lnTo>
                    <a:pt x="1142" y="237"/>
                  </a:lnTo>
                  <a:lnTo>
                    <a:pt x="1142" y="234"/>
                  </a:lnTo>
                  <a:lnTo>
                    <a:pt x="1142" y="234"/>
                  </a:lnTo>
                  <a:lnTo>
                    <a:pt x="1142" y="234"/>
                  </a:lnTo>
                  <a:lnTo>
                    <a:pt x="1142" y="234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4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6" y="237"/>
                  </a:lnTo>
                  <a:lnTo>
                    <a:pt x="1144" y="234"/>
                  </a:lnTo>
                  <a:lnTo>
                    <a:pt x="1144" y="234"/>
                  </a:lnTo>
                  <a:lnTo>
                    <a:pt x="1144" y="234"/>
                  </a:lnTo>
                  <a:lnTo>
                    <a:pt x="1146" y="234"/>
                  </a:lnTo>
                  <a:lnTo>
                    <a:pt x="1146" y="234"/>
                  </a:lnTo>
                  <a:lnTo>
                    <a:pt x="1146" y="234"/>
                  </a:lnTo>
                  <a:lnTo>
                    <a:pt x="1146" y="234"/>
                  </a:lnTo>
                  <a:lnTo>
                    <a:pt x="1148" y="234"/>
                  </a:lnTo>
                  <a:lnTo>
                    <a:pt x="1148" y="234"/>
                  </a:lnTo>
                  <a:lnTo>
                    <a:pt x="1148" y="234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1" y="237"/>
                  </a:lnTo>
                  <a:lnTo>
                    <a:pt x="1151" y="237"/>
                  </a:lnTo>
                  <a:lnTo>
                    <a:pt x="1151" y="237"/>
                  </a:lnTo>
                  <a:lnTo>
                    <a:pt x="1151" y="234"/>
                  </a:lnTo>
                  <a:lnTo>
                    <a:pt x="1151" y="234"/>
                  </a:lnTo>
                  <a:lnTo>
                    <a:pt x="1153" y="237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5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lnTo>
                    <a:pt x="1157" y="234"/>
                  </a:lnTo>
                  <a:close/>
                  <a:moveTo>
                    <a:pt x="1099" y="234"/>
                  </a:moveTo>
                  <a:lnTo>
                    <a:pt x="1099" y="234"/>
                  </a:lnTo>
                  <a:lnTo>
                    <a:pt x="1099" y="234"/>
                  </a:lnTo>
                  <a:lnTo>
                    <a:pt x="1097" y="234"/>
                  </a:lnTo>
                  <a:lnTo>
                    <a:pt x="1097" y="234"/>
                  </a:lnTo>
                  <a:lnTo>
                    <a:pt x="1097" y="234"/>
                  </a:lnTo>
                  <a:lnTo>
                    <a:pt x="1097" y="234"/>
                  </a:lnTo>
                  <a:lnTo>
                    <a:pt x="1097" y="234"/>
                  </a:lnTo>
                  <a:lnTo>
                    <a:pt x="1097" y="234"/>
                  </a:lnTo>
                  <a:lnTo>
                    <a:pt x="1097" y="237"/>
                  </a:lnTo>
                  <a:lnTo>
                    <a:pt x="1097" y="237"/>
                  </a:lnTo>
                  <a:lnTo>
                    <a:pt x="1095" y="237"/>
                  </a:lnTo>
                  <a:lnTo>
                    <a:pt x="1095" y="234"/>
                  </a:lnTo>
                  <a:lnTo>
                    <a:pt x="1095" y="234"/>
                  </a:lnTo>
                  <a:lnTo>
                    <a:pt x="1095" y="234"/>
                  </a:lnTo>
                  <a:lnTo>
                    <a:pt x="1095" y="234"/>
                  </a:lnTo>
                  <a:lnTo>
                    <a:pt x="1095" y="234"/>
                  </a:lnTo>
                  <a:lnTo>
                    <a:pt x="1095" y="234"/>
                  </a:lnTo>
                  <a:lnTo>
                    <a:pt x="1099" y="234"/>
                  </a:lnTo>
                  <a:lnTo>
                    <a:pt x="1099" y="234"/>
                  </a:lnTo>
                  <a:lnTo>
                    <a:pt x="1099" y="234"/>
                  </a:lnTo>
                  <a:close/>
                  <a:moveTo>
                    <a:pt x="975" y="234"/>
                  </a:moveTo>
                  <a:lnTo>
                    <a:pt x="973" y="234"/>
                  </a:lnTo>
                  <a:lnTo>
                    <a:pt x="973" y="234"/>
                  </a:lnTo>
                  <a:lnTo>
                    <a:pt x="973" y="234"/>
                  </a:lnTo>
                  <a:lnTo>
                    <a:pt x="973" y="234"/>
                  </a:lnTo>
                  <a:lnTo>
                    <a:pt x="975" y="232"/>
                  </a:lnTo>
                  <a:lnTo>
                    <a:pt x="975" y="232"/>
                  </a:lnTo>
                  <a:lnTo>
                    <a:pt x="975" y="232"/>
                  </a:lnTo>
                  <a:lnTo>
                    <a:pt x="975" y="232"/>
                  </a:lnTo>
                  <a:lnTo>
                    <a:pt x="978" y="232"/>
                  </a:lnTo>
                  <a:lnTo>
                    <a:pt x="978" y="232"/>
                  </a:lnTo>
                  <a:lnTo>
                    <a:pt x="978" y="234"/>
                  </a:lnTo>
                  <a:lnTo>
                    <a:pt x="975" y="234"/>
                  </a:lnTo>
                  <a:lnTo>
                    <a:pt x="975" y="234"/>
                  </a:lnTo>
                  <a:close/>
                  <a:moveTo>
                    <a:pt x="980" y="234"/>
                  </a:moveTo>
                  <a:lnTo>
                    <a:pt x="980" y="234"/>
                  </a:lnTo>
                  <a:lnTo>
                    <a:pt x="980" y="234"/>
                  </a:lnTo>
                  <a:lnTo>
                    <a:pt x="980" y="234"/>
                  </a:lnTo>
                  <a:lnTo>
                    <a:pt x="980" y="234"/>
                  </a:lnTo>
                  <a:lnTo>
                    <a:pt x="980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5" y="234"/>
                  </a:lnTo>
                  <a:lnTo>
                    <a:pt x="975" y="234"/>
                  </a:lnTo>
                  <a:lnTo>
                    <a:pt x="975" y="234"/>
                  </a:lnTo>
                  <a:lnTo>
                    <a:pt x="975" y="234"/>
                  </a:lnTo>
                  <a:lnTo>
                    <a:pt x="975" y="234"/>
                  </a:lnTo>
                  <a:lnTo>
                    <a:pt x="975" y="234"/>
                  </a:lnTo>
                  <a:lnTo>
                    <a:pt x="975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80" y="234"/>
                  </a:lnTo>
                  <a:lnTo>
                    <a:pt x="980" y="234"/>
                  </a:lnTo>
                  <a:lnTo>
                    <a:pt x="980" y="234"/>
                  </a:lnTo>
                  <a:lnTo>
                    <a:pt x="980" y="232"/>
                  </a:lnTo>
                  <a:lnTo>
                    <a:pt x="980" y="232"/>
                  </a:lnTo>
                  <a:lnTo>
                    <a:pt x="980" y="232"/>
                  </a:lnTo>
                  <a:lnTo>
                    <a:pt x="980" y="232"/>
                  </a:lnTo>
                  <a:lnTo>
                    <a:pt x="982" y="232"/>
                  </a:lnTo>
                  <a:lnTo>
                    <a:pt x="982" y="232"/>
                  </a:lnTo>
                  <a:lnTo>
                    <a:pt x="982" y="232"/>
                  </a:lnTo>
                  <a:lnTo>
                    <a:pt x="982" y="232"/>
                  </a:lnTo>
                  <a:lnTo>
                    <a:pt x="980" y="232"/>
                  </a:lnTo>
                  <a:lnTo>
                    <a:pt x="980" y="232"/>
                  </a:lnTo>
                  <a:lnTo>
                    <a:pt x="980" y="232"/>
                  </a:lnTo>
                  <a:lnTo>
                    <a:pt x="980" y="234"/>
                  </a:lnTo>
                  <a:close/>
                  <a:moveTo>
                    <a:pt x="886" y="239"/>
                  </a:moveTo>
                  <a:lnTo>
                    <a:pt x="886" y="239"/>
                  </a:lnTo>
                  <a:lnTo>
                    <a:pt x="888" y="239"/>
                  </a:lnTo>
                  <a:lnTo>
                    <a:pt x="888" y="239"/>
                  </a:lnTo>
                  <a:lnTo>
                    <a:pt x="888" y="237"/>
                  </a:lnTo>
                  <a:lnTo>
                    <a:pt x="888" y="237"/>
                  </a:lnTo>
                  <a:lnTo>
                    <a:pt x="890" y="237"/>
                  </a:lnTo>
                  <a:lnTo>
                    <a:pt x="890" y="237"/>
                  </a:lnTo>
                  <a:lnTo>
                    <a:pt x="890" y="237"/>
                  </a:lnTo>
                  <a:lnTo>
                    <a:pt x="890" y="237"/>
                  </a:lnTo>
                  <a:lnTo>
                    <a:pt x="890" y="237"/>
                  </a:lnTo>
                  <a:lnTo>
                    <a:pt x="890" y="239"/>
                  </a:lnTo>
                  <a:lnTo>
                    <a:pt x="890" y="239"/>
                  </a:lnTo>
                  <a:lnTo>
                    <a:pt x="890" y="239"/>
                  </a:lnTo>
                  <a:lnTo>
                    <a:pt x="890" y="239"/>
                  </a:lnTo>
                  <a:lnTo>
                    <a:pt x="890" y="239"/>
                  </a:lnTo>
                  <a:lnTo>
                    <a:pt x="892" y="241"/>
                  </a:lnTo>
                  <a:lnTo>
                    <a:pt x="892" y="241"/>
                  </a:lnTo>
                  <a:lnTo>
                    <a:pt x="895" y="241"/>
                  </a:lnTo>
                  <a:lnTo>
                    <a:pt x="895" y="241"/>
                  </a:lnTo>
                  <a:lnTo>
                    <a:pt x="895" y="241"/>
                  </a:lnTo>
                  <a:lnTo>
                    <a:pt x="895" y="241"/>
                  </a:lnTo>
                  <a:lnTo>
                    <a:pt x="895" y="241"/>
                  </a:lnTo>
                  <a:lnTo>
                    <a:pt x="897" y="241"/>
                  </a:lnTo>
                  <a:lnTo>
                    <a:pt x="897" y="241"/>
                  </a:lnTo>
                  <a:lnTo>
                    <a:pt x="897" y="241"/>
                  </a:lnTo>
                  <a:lnTo>
                    <a:pt x="897" y="241"/>
                  </a:lnTo>
                  <a:lnTo>
                    <a:pt x="897" y="243"/>
                  </a:lnTo>
                  <a:lnTo>
                    <a:pt x="899" y="243"/>
                  </a:lnTo>
                  <a:lnTo>
                    <a:pt x="899" y="243"/>
                  </a:lnTo>
                  <a:lnTo>
                    <a:pt x="899" y="243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7" y="246"/>
                  </a:lnTo>
                  <a:lnTo>
                    <a:pt x="897" y="246"/>
                  </a:lnTo>
                  <a:lnTo>
                    <a:pt x="897" y="246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5" y="248"/>
                  </a:lnTo>
                  <a:lnTo>
                    <a:pt x="895" y="248"/>
                  </a:lnTo>
                  <a:lnTo>
                    <a:pt x="895" y="250"/>
                  </a:lnTo>
                  <a:lnTo>
                    <a:pt x="895" y="250"/>
                  </a:lnTo>
                  <a:lnTo>
                    <a:pt x="895" y="250"/>
                  </a:lnTo>
                  <a:lnTo>
                    <a:pt x="895" y="250"/>
                  </a:lnTo>
                  <a:lnTo>
                    <a:pt x="897" y="250"/>
                  </a:lnTo>
                  <a:lnTo>
                    <a:pt x="897" y="250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7" y="248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899" y="246"/>
                  </a:lnTo>
                  <a:lnTo>
                    <a:pt x="901" y="246"/>
                  </a:lnTo>
                  <a:lnTo>
                    <a:pt x="901" y="246"/>
                  </a:lnTo>
                  <a:lnTo>
                    <a:pt x="899" y="246"/>
                  </a:lnTo>
                  <a:lnTo>
                    <a:pt x="899" y="248"/>
                  </a:lnTo>
                  <a:lnTo>
                    <a:pt x="901" y="248"/>
                  </a:lnTo>
                  <a:lnTo>
                    <a:pt x="901" y="248"/>
                  </a:lnTo>
                  <a:lnTo>
                    <a:pt x="901" y="248"/>
                  </a:lnTo>
                  <a:lnTo>
                    <a:pt x="899" y="248"/>
                  </a:lnTo>
                  <a:lnTo>
                    <a:pt x="899" y="248"/>
                  </a:lnTo>
                  <a:lnTo>
                    <a:pt x="899" y="248"/>
                  </a:lnTo>
                  <a:lnTo>
                    <a:pt x="899" y="248"/>
                  </a:lnTo>
                  <a:lnTo>
                    <a:pt x="899" y="248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0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7" y="252"/>
                  </a:lnTo>
                  <a:lnTo>
                    <a:pt x="897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2"/>
                  </a:lnTo>
                  <a:lnTo>
                    <a:pt x="899" y="255"/>
                  </a:lnTo>
                  <a:lnTo>
                    <a:pt x="899" y="255"/>
                  </a:lnTo>
                  <a:lnTo>
                    <a:pt x="899" y="255"/>
                  </a:lnTo>
                  <a:lnTo>
                    <a:pt x="901" y="255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8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2"/>
                  </a:lnTo>
                  <a:lnTo>
                    <a:pt x="906" y="255"/>
                  </a:lnTo>
                  <a:lnTo>
                    <a:pt x="906" y="255"/>
                  </a:lnTo>
                  <a:lnTo>
                    <a:pt x="906" y="255"/>
                  </a:lnTo>
                  <a:lnTo>
                    <a:pt x="904" y="255"/>
                  </a:lnTo>
                  <a:lnTo>
                    <a:pt x="901" y="255"/>
                  </a:lnTo>
                  <a:lnTo>
                    <a:pt x="901" y="255"/>
                  </a:lnTo>
                  <a:lnTo>
                    <a:pt x="899" y="257"/>
                  </a:lnTo>
                  <a:lnTo>
                    <a:pt x="899" y="257"/>
                  </a:lnTo>
                  <a:lnTo>
                    <a:pt x="899" y="257"/>
                  </a:lnTo>
                  <a:lnTo>
                    <a:pt x="899" y="257"/>
                  </a:lnTo>
                  <a:lnTo>
                    <a:pt x="899" y="255"/>
                  </a:lnTo>
                  <a:lnTo>
                    <a:pt x="899" y="255"/>
                  </a:lnTo>
                  <a:lnTo>
                    <a:pt x="897" y="257"/>
                  </a:lnTo>
                  <a:lnTo>
                    <a:pt x="897" y="257"/>
                  </a:lnTo>
                  <a:lnTo>
                    <a:pt x="897" y="255"/>
                  </a:lnTo>
                  <a:lnTo>
                    <a:pt x="897" y="255"/>
                  </a:lnTo>
                  <a:lnTo>
                    <a:pt x="897" y="255"/>
                  </a:lnTo>
                  <a:lnTo>
                    <a:pt x="895" y="257"/>
                  </a:lnTo>
                  <a:lnTo>
                    <a:pt x="895" y="257"/>
                  </a:lnTo>
                  <a:lnTo>
                    <a:pt x="895" y="257"/>
                  </a:lnTo>
                  <a:lnTo>
                    <a:pt x="895" y="257"/>
                  </a:lnTo>
                  <a:lnTo>
                    <a:pt x="895" y="257"/>
                  </a:lnTo>
                  <a:lnTo>
                    <a:pt x="895" y="257"/>
                  </a:lnTo>
                  <a:lnTo>
                    <a:pt x="895" y="257"/>
                  </a:lnTo>
                  <a:lnTo>
                    <a:pt x="892" y="259"/>
                  </a:lnTo>
                  <a:lnTo>
                    <a:pt x="892" y="259"/>
                  </a:lnTo>
                  <a:lnTo>
                    <a:pt x="892" y="257"/>
                  </a:lnTo>
                  <a:lnTo>
                    <a:pt x="890" y="257"/>
                  </a:lnTo>
                  <a:lnTo>
                    <a:pt x="890" y="259"/>
                  </a:lnTo>
                  <a:lnTo>
                    <a:pt x="890" y="259"/>
                  </a:lnTo>
                  <a:lnTo>
                    <a:pt x="890" y="259"/>
                  </a:lnTo>
                  <a:lnTo>
                    <a:pt x="888" y="259"/>
                  </a:lnTo>
                  <a:lnTo>
                    <a:pt x="888" y="259"/>
                  </a:lnTo>
                  <a:lnTo>
                    <a:pt x="888" y="259"/>
                  </a:lnTo>
                  <a:lnTo>
                    <a:pt x="888" y="259"/>
                  </a:lnTo>
                  <a:lnTo>
                    <a:pt x="883" y="261"/>
                  </a:lnTo>
                  <a:lnTo>
                    <a:pt x="883" y="261"/>
                  </a:lnTo>
                  <a:lnTo>
                    <a:pt x="881" y="261"/>
                  </a:lnTo>
                  <a:lnTo>
                    <a:pt x="879" y="261"/>
                  </a:lnTo>
                  <a:lnTo>
                    <a:pt x="879" y="261"/>
                  </a:lnTo>
                  <a:lnTo>
                    <a:pt x="877" y="261"/>
                  </a:lnTo>
                  <a:lnTo>
                    <a:pt x="877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4" y="259"/>
                  </a:lnTo>
                  <a:lnTo>
                    <a:pt x="872" y="259"/>
                  </a:lnTo>
                  <a:lnTo>
                    <a:pt x="872" y="259"/>
                  </a:lnTo>
                  <a:lnTo>
                    <a:pt x="872" y="259"/>
                  </a:lnTo>
                  <a:lnTo>
                    <a:pt x="872" y="259"/>
                  </a:lnTo>
                  <a:lnTo>
                    <a:pt x="872" y="259"/>
                  </a:lnTo>
                  <a:lnTo>
                    <a:pt x="872" y="259"/>
                  </a:lnTo>
                  <a:lnTo>
                    <a:pt x="872" y="259"/>
                  </a:lnTo>
                  <a:lnTo>
                    <a:pt x="870" y="259"/>
                  </a:lnTo>
                  <a:lnTo>
                    <a:pt x="870" y="259"/>
                  </a:lnTo>
                  <a:lnTo>
                    <a:pt x="870" y="259"/>
                  </a:lnTo>
                  <a:lnTo>
                    <a:pt x="868" y="259"/>
                  </a:lnTo>
                  <a:lnTo>
                    <a:pt x="868" y="259"/>
                  </a:lnTo>
                  <a:lnTo>
                    <a:pt x="868" y="259"/>
                  </a:lnTo>
                  <a:lnTo>
                    <a:pt x="868" y="259"/>
                  </a:lnTo>
                  <a:lnTo>
                    <a:pt x="868" y="259"/>
                  </a:lnTo>
                  <a:lnTo>
                    <a:pt x="865" y="259"/>
                  </a:lnTo>
                  <a:lnTo>
                    <a:pt x="865" y="259"/>
                  </a:lnTo>
                  <a:lnTo>
                    <a:pt x="865" y="259"/>
                  </a:lnTo>
                  <a:lnTo>
                    <a:pt x="865" y="259"/>
                  </a:lnTo>
                  <a:lnTo>
                    <a:pt x="865" y="257"/>
                  </a:lnTo>
                  <a:lnTo>
                    <a:pt x="863" y="257"/>
                  </a:lnTo>
                  <a:lnTo>
                    <a:pt x="863" y="257"/>
                  </a:lnTo>
                  <a:lnTo>
                    <a:pt x="861" y="257"/>
                  </a:lnTo>
                  <a:lnTo>
                    <a:pt x="861" y="257"/>
                  </a:lnTo>
                  <a:lnTo>
                    <a:pt x="861" y="257"/>
                  </a:lnTo>
                  <a:lnTo>
                    <a:pt x="861" y="257"/>
                  </a:lnTo>
                  <a:lnTo>
                    <a:pt x="859" y="257"/>
                  </a:lnTo>
                  <a:lnTo>
                    <a:pt x="859" y="257"/>
                  </a:lnTo>
                  <a:lnTo>
                    <a:pt x="859" y="257"/>
                  </a:lnTo>
                  <a:lnTo>
                    <a:pt x="859" y="257"/>
                  </a:lnTo>
                  <a:lnTo>
                    <a:pt x="859" y="257"/>
                  </a:lnTo>
                  <a:lnTo>
                    <a:pt x="859" y="257"/>
                  </a:lnTo>
                  <a:lnTo>
                    <a:pt x="859" y="255"/>
                  </a:lnTo>
                  <a:lnTo>
                    <a:pt x="859" y="255"/>
                  </a:lnTo>
                  <a:lnTo>
                    <a:pt x="859" y="255"/>
                  </a:lnTo>
                  <a:lnTo>
                    <a:pt x="859" y="255"/>
                  </a:lnTo>
                  <a:lnTo>
                    <a:pt x="859" y="255"/>
                  </a:lnTo>
                  <a:lnTo>
                    <a:pt x="861" y="255"/>
                  </a:lnTo>
                  <a:lnTo>
                    <a:pt x="859" y="255"/>
                  </a:lnTo>
                  <a:lnTo>
                    <a:pt x="859" y="252"/>
                  </a:lnTo>
                  <a:lnTo>
                    <a:pt x="859" y="252"/>
                  </a:lnTo>
                  <a:lnTo>
                    <a:pt x="859" y="252"/>
                  </a:lnTo>
                  <a:lnTo>
                    <a:pt x="856" y="255"/>
                  </a:lnTo>
                  <a:lnTo>
                    <a:pt x="856" y="255"/>
                  </a:lnTo>
                  <a:lnTo>
                    <a:pt x="856" y="255"/>
                  </a:lnTo>
                  <a:lnTo>
                    <a:pt x="856" y="255"/>
                  </a:lnTo>
                  <a:lnTo>
                    <a:pt x="856" y="255"/>
                  </a:lnTo>
                  <a:lnTo>
                    <a:pt x="854" y="255"/>
                  </a:lnTo>
                  <a:lnTo>
                    <a:pt x="854" y="255"/>
                  </a:lnTo>
                  <a:lnTo>
                    <a:pt x="854" y="255"/>
                  </a:lnTo>
                  <a:lnTo>
                    <a:pt x="854" y="255"/>
                  </a:lnTo>
                  <a:lnTo>
                    <a:pt x="854" y="255"/>
                  </a:lnTo>
                  <a:lnTo>
                    <a:pt x="854" y="255"/>
                  </a:lnTo>
                  <a:lnTo>
                    <a:pt x="854" y="255"/>
                  </a:lnTo>
                  <a:lnTo>
                    <a:pt x="852" y="255"/>
                  </a:lnTo>
                  <a:lnTo>
                    <a:pt x="852" y="255"/>
                  </a:lnTo>
                  <a:lnTo>
                    <a:pt x="852" y="255"/>
                  </a:lnTo>
                  <a:lnTo>
                    <a:pt x="850" y="255"/>
                  </a:lnTo>
                  <a:lnTo>
                    <a:pt x="850" y="255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2"/>
                  </a:lnTo>
                  <a:lnTo>
                    <a:pt x="852" y="250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50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7" y="252"/>
                  </a:lnTo>
                  <a:lnTo>
                    <a:pt x="845" y="255"/>
                  </a:lnTo>
                  <a:lnTo>
                    <a:pt x="845" y="255"/>
                  </a:lnTo>
                  <a:lnTo>
                    <a:pt x="845" y="255"/>
                  </a:lnTo>
                  <a:lnTo>
                    <a:pt x="845" y="252"/>
                  </a:lnTo>
                  <a:lnTo>
                    <a:pt x="845" y="252"/>
                  </a:lnTo>
                  <a:lnTo>
                    <a:pt x="845" y="252"/>
                  </a:lnTo>
                  <a:lnTo>
                    <a:pt x="843" y="252"/>
                  </a:lnTo>
                  <a:lnTo>
                    <a:pt x="843" y="252"/>
                  </a:lnTo>
                  <a:lnTo>
                    <a:pt x="843" y="252"/>
                  </a:lnTo>
                  <a:lnTo>
                    <a:pt x="843" y="252"/>
                  </a:lnTo>
                  <a:lnTo>
                    <a:pt x="843" y="252"/>
                  </a:lnTo>
                  <a:lnTo>
                    <a:pt x="843" y="250"/>
                  </a:lnTo>
                  <a:lnTo>
                    <a:pt x="843" y="250"/>
                  </a:lnTo>
                  <a:lnTo>
                    <a:pt x="843" y="250"/>
                  </a:lnTo>
                  <a:lnTo>
                    <a:pt x="843" y="250"/>
                  </a:lnTo>
                  <a:lnTo>
                    <a:pt x="843" y="250"/>
                  </a:lnTo>
                  <a:lnTo>
                    <a:pt x="843" y="250"/>
                  </a:lnTo>
                  <a:lnTo>
                    <a:pt x="843" y="250"/>
                  </a:lnTo>
                  <a:lnTo>
                    <a:pt x="845" y="248"/>
                  </a:lnTo>
                  <a:lnTo>
                    <a:pt x="845" y="248"/>
                  </a:lnTo>
                  <a:lnTo>
                    <a:pt x="847" y="248"/>
                  </a:lnTo>
                  <a:lnTo>
                    <a:pt x="847" y="248"/>
                  </a:lnTo>
                  <a:lnTo>
                    <a:pt x="847" y="248"/>
                  </a:lnTo>
                  <a:lnTo>
                    <a:pt x="847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0" y="248"/>
                  </a:lnTo>
                  <a:lnTo>
                    <a:pt x="852" y="248"/>
                  </a:lnTo>
                  <a:lnTo>
                    <a:pt x="852" y="248"/>
                  </a:lnTo>
                  <a:lnTo>
                    <a:pt x="854" y="248"/>
                  </a:lnTo>
                  <a:lnTo>
                    <a:pt x="854" y="248"/>
                  </a:lnTo>
                  <a:lnTo>
                    <a:pt x="856" y="248"/>
                  </a:lnTo>
                  <a:lnTo>
                    <a:pt x="856" y="248"/>
                  </a:lnTo>
                  <a:lnTo>
                    <a:pt x="856" y="246"/>
                  </a:lnTo>
                  <a:lnTo>
                    <a:pt x="856" y="248"/>
                  </a:lnTo>
                  <a:lnTo>
                    <a:pt x="859" y="248"/>
                  </a:lnTo>
                  <a:lnTo>
                    <a:pt x="859" y="246"/>
                  </a:lnTo>
                  <a:lnTo>
                    <a:pt x="859" y="246"/>
                  </a:lnTo>
                  <a:lnTo>
                    <a:pt x="861" y="246"/>
                  </a:lnTo>
                  <a:lnTo>
                    <a:pt x="861" y="246"/>
                  </a:lnTo>
                  <a:lnTo>
                    <a:pt x="861" y="246"/>
                  </a:lnTo>
                  <a:lnTo>
                    <a:pt x="861" y="246"/>
                  </a:lnTo>
                  <a:lnTo>
                    <a:pt x="861" y="246"/>
                  </a:lnTo>
                  <a:lnTo>
                    <a:pt x="861" y="246"/>
                  </a:lnTo>
                  <a:lnTo>
                    <a:pt x="861" y="243"/>
                  </a:lnTo>
                  <a:lnTo>
                    <a:pt x="863" y="243"/>
                  </a:lnTo>
                  <a:lnTo>
                    <a:pt x="863" y="243"/>
                  </a:lnTo>
                  <a:lnTo>
                    <a:pt x="863" y="246"/>
                  </a:lnTo>
                  <a:lnTo>
                    <a:pt x="863" y="246"/>
                  </a:lnTo>
                  <a:lnTo>
                    <a:pt x="863" y="246"/>
                  </a:lnTo>
                  <a:lnTo>
                    <a:pt x="863" y="246"/>
                  </a:lnTo>
                  <a:lnTo>
                    <a:pt x="863" y="243"/>
                  </a:lnTo>
                  <a:lnTo>
                    <a:pt x="863" y="243"/>
                  </a:lnTo>
                  <a:lnTo>
                    <a:pt x="865" y="243"/>
                  </a:lnTo>
                  <a:lnTo>
                    <a:pt x="865" y="243"/>
                  </a:lnTo>
                  <a:lnTo>
                    <a:pt x="865" y="243"/>
                  </a:lnTo>
                  <a:lnTo>
                    <a:pt x="865" y="243"/>
                  </a:lnTo>
                  <a:lnTo>
                    <a:pt x="865" y="243"/>
                  </a:lnTo>
                  <a:lnTo>
                    <a:pt x="868" y="243"/>
                  </a:lnTo>
                  <a:lnTo>
                    <a:pt x="865" y="243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5" y="241"/>
                  </a:lnTo>
                  <a:lnTo>
                    <a:pt x="868" y="241"/>
                  </a:lnTo>
                  <a:lnTo>
                    <a:pt x="868" y="241"/>
                  </a:lnTo>
                  <a:lnTo>
                    <a:pt x="868" y="241"/>
                  </a:lnTo>
                  <a:lnTo>
                    <a:pt x="868" y="241"/>
                  </a:lnTo>
                  <a:lnTo>
                    <a:pt x="868" y="239"/>
                  </a:lnTo>
                  <a:lnTo>
                    <a:pt x="868" y="239"/>
                  </a:lnTo>
                  <a:lnTo>
                    <a:pt x="868" y="239"/>
                  </a:lnTo>
                  <a:lnTo>
                    <a:pt x="868" y="239"/>
                  </a:lnTo>
                  <a:lnTo>
                    <a:pt x="870" y="239"/>
                  </a:lnTo>
                  <a:lnTo>
                    <a:pt x="870" y="239"/>
                  </a:lnTo>
                  <a:lnTo>
                    <a:pt x="870" y="239"/>
                  </a:lnTo>
                  <a:lnTo>
                    <a:pt x="870" y="239"/>
                  </a:lnTo>
                  <a:lnTo>
                    <a:pt x="872" y="239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2" y="241"/>
                  </a:lnTo>
                  <a:lnTo>
                    <a:pt x="874" y="241"/>
                  </a:lnTo>
                  <a:lnTo>
                    <a:pt x="874" y="241"/>
                  </a:lnTo>
                  <a:lnTo>
                    <a:pt x="872" y="241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9"/>
                  </a:lnTo>
                  <a:lnTo>
                    <a:pt x="872" y="237"/>
                  </a:lnTo>
                  <a:lnTo>
                    <a:pt x="872" y="237"/>
                  </a:lnTo>
                  <a:lnTo>
                    <a:pt x="872" y="237"/>
                  </a:lnTo>
                  <a:lnTo>
                    <a:pt x="874" y="237"/>
                  </a:lnTo>
                  <a:lnTo>
                    <a:pt x="874" y="237"/>
                  </a:lnTo>
                  <a:lnTo>
                    <a:pt x="874" y="237"/>
                  </a:lnTo>
                  <a:lnTo>
                    <a:pt x="874" y="237"/>
                  </a:lnTo>
                  <a:lnTo>
                    <a:pt x="877" y="234"/>
                  </a:lnTo>
                  <a:lnTo>
                    <a:pt x="877" y="234"/>
                  </a:lnTo>
                  <a:lnTo>
                    <a:pt x="877" y="234"/>
                  </a:lnTo>
                  <a:lnTo>
                    <a:pt x="879" y="234"/>
                  </a:lnTo>
                  <a:lnTo>
                    <a:pt x="879" y="234"/>
                  </a:lnTo>
                  <a:lnTo>
                    <a:pt x="879" y="234"/>
                  </a:lnTo>
                  <a:lnTo>
                    <a:pt x="881" y="232"/>
                  </a:lnTo>
                  <a:lnTo>
                    <a:pt x="881" y="232"/>
                  </a:lnTo>
                  <a:lnTo>
                    <a:pt x="883" y="232"/>
                  </a:lnTo>
                  <a:lnTo>
                    <a:pt x="883" y="232"/>
                  </a:lnTo>
                  <a:lnTo>
                    <a:pt x="883" y="232"/>
                  </a:lnTo>
                  <a:lnTo>
                    <a:pt x="883" y="232"/>
                  </a:lnTo>
                  <a:lnTo>
                    <a:pt x="883" y="232"/>
                  </a:lnTo>
                  <a:lnTo>
                    <a:pt x="886" y="232"/>
                  </a:lnTo>
                  <a:lnTo>
                    <a:pt x="886" y="232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886" y="234"/>
                  </a:lnTo>
                  <a:lnTo>
                    <a:pt x="888" y="234"/>
                  </a:lnTo>
                  <a:lnTo>
                    <a:pt x="888" y="234"/>
                  </a:lnTo>
                  <a:lnTo>
                    <a:pt x="888" y="234"/>
                  </a:lnTo>
                  <a:lnTo>
                    <a:pt x="888" y="237"/>
                  </a:lnTo>
                  <a:lnTo>
                    <a:pt x="888" y="237"/>
                  </a:lnTo>
                  <a:lnTo>
                    <a:pt x="888" y="237"/>
                  </a:lnTo>
                  <a:lnTo>
                    <a:pt x="888" y="237"/>
                  </a:lnTo>
                  <a:lnTo>
                    <a:pt x="886" y="237"/>
                  </a:lnTo>
                  <a:lnTo>
                    <a:pt x="886" y="239"/>
                  </a:lnTo>
                  <a:lnTo>
                    <a:pt x="886" y="239"/>
                  </a:lnTo>
                  <a:close/>
                  <a:moveTo>
                    <a:pt x="892" y="232"/>
                  </a:moveTo>
                  <a:lnTo>
                    <a:pt x="892" y="232"/>
                  </a:lnTo>
                  <a:lnTo>
                    <a:pt x="892" y="232"/>
                  </a:lnTo>
                  <a:lnTo>
                    <a:pt x="895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0" y="232"/>
                  </a:lnTo>
                  <a:lnTo>
                    <a:pt x="890" y="232"/>
                  </a:lnTo>
                  <a:lnTo>
                    <a:pt x="890" y="232"/>
                  </a:lnTo>
                  <a:lnTo>
                    <a:pt x="890" y="232"/>
                  </a:lnTo>
                  <a:lnTo>
                    <a:pt x="890" y="232"/>
                  </a:lnTo>
                  <a:lnTo>
                    <a:pt x="892" y="232"/>
                  </a:lnTo>
                  <a:lnTo>
                    <a:pt x="892" y="230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lnTo>
                    <a:pt x="892" y="232"/>
                  </a:lnTo>
                  <a:close/>
                  <a:moveTo>
                    <a:pt x="1052" y="228"/>
                  </a:moveTo>
                  <a:lnTo>
                    <a:pt x="1054" y="228"/>
                  </a:lnTo>
                  <a:lnTo>
                    <a:pt x="1056" y="228"/>
                  </a:lnTo>
                  <a:lnTo>
                    <a:pt x="1059" y="228"/>
                  </a:lnTo>
                  <a:lnTo>
                    <a:pt x="1059" y="228"/>
                  </a:lnTo>
                  <a:lnTo>
                    <a:pt x="1059" y="228"/>
                  </a:lnTo>
                  <a:lnTo>
                    <a:pt x="1059" y="230"/>
                  </a:lnTo>
                  <a:lnTo>
                    <a:pt x="1059" y="230"/>
                  </a:lnTo>
                  <a:lnTo>
                    <a:pt x="1059" y="230"/>
                  </a:lnTo>
                  <a:lnTo>
                    <a:pt x="1059" y="230"/>
                  </a:lnTo>
                  <a:lnTo>
                    <a:pt x="1059" y="230"/>
                  </a:lnTo>
                  <a:lnTo>
                    <a:pt x="1059" y="230"/>
                  </a:lnTo>
                  <a:lnTo>
                    <a:pt x="1059" y="230"/>
                  </a:lnTo>
                  <a:lnTo>
                    <a:pt x="1056" y="230"/>
                  </a:lnTo>
                  <a:lnTo>
                    <a:pt x="1054" y="230"/>
                  </a:lnTo>
                  <a:lnTo>
                    <a:pt x="1052" y="230"/>
                  </a:lnTo>
                  <a:lnTo>
                    <a:pt x="1050" y="230"/>
                  </a:lnTo>
                  <a:lnTo>
                    <a:pt x="1050" y="230"/>
                  </a:lnTo>
                  <a:lnTo>
                    <a:pt x="1050" y="230"/>
                  </a:lnTo>
                  <a:lnTo>
                    <a:pt x="1050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30"/>
                  </a:lnTo>
                  <a:lnTo>
                    <a:pt x="1047" y="228"/>
                  </a:lnTo>
                  <a:lnTo>
                    <a:pt x="1045" y="228"/>
                  </a:lnTo>
                  <a:lnTo>
                    <a:pt x="1045" y="228"/>
                  </a:lnTo>
                  <a:lnTo>
                    <a:pt x="1047" y="228"/>
                  </a:lnTo>
                  <a:lnTo>
                    <a:pt x="1047" y="228"/>
                  </a:lnTo>
                  <a:lnTo>
                    <a:pt x="1047" y="228"/>
                  </a:lnTo>
                  <a:lnTo>
                    <a:pt x="1047" y="228"/>
                  </a:lnTo>
                  <a:lnTo>
                    <a:pt x="1050" y="228"/>
                  </a:lnTo>
                  <a:lnTo>
                    <a:pt x="1050" y="228"/>
                  </a:lnTo>
                  <a:lnTo>
                    <a:pt x="1050" y="228"/>
                  </a:lnTo>
                  <a:lnTo>
                    <a:pt x="1050" y="228"/>
                  </a:lnTo>
                  <a:lnTo>
                    <a:pt x="1052" y="228"/>
                  </a:lnTo>
                  <a:lnTo>
                    <a:pt x="1052" y="228"/>
                  </a:lnTo>
                  <a:lnTo>
                    <a:pt x="1052" y="228"/>
                  </a:lnTo>
                  <a:close/>
                  <a:moveTo>
                    <a:pt x="479" y="228"/>
                  </a:move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7" y="228"/>
                  </a:lnTo>
                  <a:lnTo>
                    <a:pt x="477" y="228"/>
                  </a:lnTo>
                  <a:lnTo>
                    <a:pt x="477" y="228"/>
                  </a:lnTo>
                  <a:lnTo>
                    <a:pt x="477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81" y="228"/>
                  </a:lnTo>
                  <a:lnTo>
                    <a:pt x="481" y="228"/>
                  </a:lnTo>
                  <a:lnTo>
                    <a:pt x="481" y="228"/>
                  </a:lnTo>
                  <a:lnTo>
                    <a:pt x="481" y="228"/>
                  </a:lnTo>
                  <a:lnTo>
                    <a:pt x="479" y="228"/>
                  </a:lnTo>
                  <a:close/>
                  <a:moveTo>
                    <a:pt x="663" y="225"/>
                  </a:moveTo>
                  <a:lnTo>
                    <a:pt x="661" y="225"/>
                  </a:lnTo>
                  <a:lnTo>
                    <a:pt x="661" y="225"/>
                  </a:lnTo>
                  <a:lnTo>
                    <a:pt x="661" y="225"/>
                  </a:lnTo>
                  <a:lnTo>
                    <a:pt x="661" y="225"/>
                  </a:lnTo>
                  <a:lnTo>
                    <a:pt x="661" y="223"/>
                  </a:lnTo>
                  <a:lnTo>
                    <a:pt x="661" y="223"/>
                  </a:lnTo>
                  <a:lnTo>
                    <a:pt x="663" y="223"/>
                  </a:lnTo>
                  <a:lnTo>
                    <a:pt x="663" y="225"/>
                  </a:lnTo>
                  <a:lnTo>
                    <a:pt x="663" y="225"/>
                  </a:lnTo>
                  <a:lnTo>
                    <a:pt x="663" y="225"/>
                  </a:lnTo>
                  <a:lnTo>
                    <a:pt x="663" y="225"/>
                  </a:lnTo>
                  <a:close/>
                  <a:moveTo>
                    <a:pt x="847" y="225"/>
                  </a:moveTo>
                  <a:lnTo>
                    <a:pt x="847" y="225"/>
                  </a:lnTo>
                  <a:lnTo>
                    <a:pt x="847" y="225"/>
                  </a:lnTo>
                  <a:lnTo>
                    <a:pt x="845" y="225"/>
                  </a:lnTo>
                  <a:lnTo>
                    <a:pt x="847" y="225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7" y="225"/>
                  </a:lnTo>
                  <a:lnTo>
                    <a:pt x="847" y="225"/>
                  </a:lnTo>
                  <a:lnTo>
                    <a:pt x="847" y="225"/>
                  </a:lnTo>
                  <a:lnTo>
                    <a:pt x="847" y="225"/>
                  </a:lnTo>
                  <a:lnTo>
                    <a:pt x="847" y="225"/>
                  </a:lnTo>
                  <a:lnTo>
                    <a:pt x="847" y="225"/>
                  </a:lnTo>
                  <a:lnTo>
                    <a:pt x="847" y="225"/>
                  </a:lnTo>
                  <a:close/>
                  <a:moveTo>
                    <a:pt x="683" y="223"/>
                  </a:moveTo>
                  <a:lnTo>
                    <a:pt x="677" y="225"/>
                  </a:lnTo>
                  <a:lnTo>
                    <a:pt x="674" y="223"/>
                  </a:lnTo>
                  <a:lnTo>
                    <a:pt x="674" y="223"/>
                  </a:lnTo>
                  <a:lnTo>
                    <a:pt x="674" y="223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3"/>
                  </a:lnTo>
                  <a:lnTo>
                    <a:pt x="681" y="223"/>
                  </a:lnTo>
                  <a:lnTo>
                    <a:pt x="683" y="223"/>
                  </a:lnTo>
                  <a:close/>
                  <a:moveTo>
                    <a:pt x="614" y="221"/>
                  </a:moveTo>
                  <a:lnTo>
                    <a:pt x="614" y="221"/>
                  </a:lnTo>
                  <a:lnTo>
                    <a:pt x="614" y="221"/>
                  </a:lnTo>
                  <a:lnTo>
                    <a:pt x="612" y="221"/>
                  </a:lnTo>
                  <a:lnTo>
                    <a:pt x="612" y="221"/>
                  </a:lnTo>
                  <a:lnTo>
                    <a:pt x="612" y="221"/>
                  </a:lnTo>
                  <a:lnTo>
                    <a:pt x="612" y="221"/>
                  </a:lnTo>
                  <a:lnTo>
                    <a:pt x="612" y="221"/>
                  </a:lnTo>
                  <a:lnTo>
                    <a:pt x="614" y="221"/>
                  </a:lnTo>
                  <a:lnTo>
                    <a:pt x="614" y="221"/>
                  </a:lnTo>
                  <a:lnTo>
                    <a:pt x="614" y="221"/>
                  </a:lnTo>
                  <a:close/>
                  <a:moveTo>
                    <a:pt x="621" y="219"/>
                  </a:moveTo>
                  <a:lnTo>
                    <a:pt x="618" y="221"/>
                  </a:lnTo>
                  <a:lnTo>
                    <a:pt x="618" y="221"/>
                  </a:lnTo>
                  <a:lnTo>
                    <a:pt x="618" y="221"/>
                  </a:lnTo>
                  <a:lnTo>
                    <a:pt x="616" y="221"/>
                  </a:lnTo>
                  <a:lnTo>
                    <a:pt x="616" y="221"/>
                  </a:lnTo>
                  <a:lnTo>
                    <a:pt x="616" y="221"/>
                  </a:lnTo>
                  <a:lnTo>
                    <a:pt x="616" y="219"/>
                  </a:lnTo>
                  <a:lnTo>
                    <a:pt x="616" y="219"/>
                  </a:lnTo>
                  <a:lnTo>
                    <a:pt x="618" y="219"/>
                  </a:lnTo>
                  <a:lnTo>
                    <a:pt x="618" y="219"/>
                  </a:lnTo>
                  <a:lnTo>
                    <a:pt x="618" y="219"/>
                  </a:lnTo>
                  <a:lnTo>
                    <a:pt x="621" y="219"/>
                  </a:lnTo>
                  <a:lnTo>
                    <a:pt x="621" y="219"/>
                  </a:lnTo>
                  <a:lnTo>
                    <a:pt x="621" y="219"/>
                  </a:lnTo>
                  <a:lnTo>
                    <a:pt x="623" y="219"/>
                  </a:lnTo>
                  <a:lnTo>
                    <a:pt x="621" y="219"/>
                  </a:lnTo>
                  <a:lnTo>
                    <a:pt x="621" y="219"/>
                  </a:lnTo>
                  <a:close/>
                  <a:moveTo>
                    <a:pt x="616" y="219"/>
                  </a:moveTo>
                  <a:lnTo>
                    <a:pt x="616" y="219"/>
                  </a:lnTo>
                  <a:lnTo>
                    <a:pt x="616" y="219"/>
                  </a:lnTo>
                  <a:lnTo>
                    <a:pt x="612" y="219"/>
                  </a:lnTo>
                  <a:lnTo>
                    <a:pt x="612" y="219"/>
                  </a:lnTo>
                  <a:lnTo>
                    <a:pt x="614" y="219"/>
                  </a:lnTo>
                  <a:lnTo>
                    <a:pt x="614" y="219"/>
                  </a:lnTo>
                  <a:lnTo>
                    <a:pt x="614" y="219"/>
                  </a:lnTo>
                  <a:lnTo>
                    <a:pt x="614" y="219"/>
                  </a:lnTo>
                  <a:lnTo>
                    <a:pt x="616" y="219"/>
                  </a:lnTo>
                  <a:lnTo>
                    <a:pt x="616" y="219"/>
                  </a:lnTo>
                  <a:close/>
                  <a:moveTo>
                    <a:pt x="922" y="219"/>
                  </a:move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close/>
                  <a:moveTo>
                    <a:pt x="625" y="219"/>
                  </a:moveTo>
                  <a:lnTo>
                    <a:pt x="625" y="219"/>
                  </a:lnTo>
                  <a:lnTo>
                    <a:pt x="623" y="219"/>
                  </a:lnTo>
                  <a:lnTo>
                    <a:pt x="625" y="219"/>
                  </a:lnTo>
                  <a:lnTo>
                    <a:pt x="625" y="219"/>
                  </a:lnTo>
                  <a:lnTo>
                    <a:pt x="625" y="219"/>
                  </a:lnTo>
                  <a:lnTo>
                    <a:pt x="627" y="219"/>
                  </a:lnTo>
                  <a:lnTo>
                    <a:pt x="627" y="219"/>
                  </a:lnTo>
                  <a:lnTo>
                    <a:pt x="627" y="219"/>
                  </a:lnTo>
                  <a:lnTo>
                    <a:pt x="627" y="219"/>
                  </a:lnTo>
                  <a:lnTo>
                    <a:pt x="627" y="219"/>
                  </a:lnTo>
                  <a:lnTo>
                    <a:pt x="625" y="219"/>
                  </a:lnTo>
                  <a:close/>
                  <a:moveTo>
                    <a:pt x="612" y="219"/>
                  </a:moveTo>
                  <a:lnTo>
                    <a:pt x="609" y="219"/>
                  </a:lnTo>
                  <a:lnTo>
                    <a:pt x="609" y="219"/>
                  </a:lnTo>
                  <a:lnTo>
                    <a:pt x="605" y="219"/>
                  </a:lnTo>
                  <a:lnTo>
                    <a:pt x="605" y="219"/>
                  </a:lnTo>
                  <a:lnTo>
                    <a:pt x="605" y="219"/>
                  </a:lnTo>
                  <a:lnTo>
                    <a:pt x="607" y="219"/>
                  </a:lnTo>
                  <a:lnTo>
                    <a:pt x="607" y="219"/>
                  </a:lnTo>
                  <a:lnTo>
                    <a:pt x="609" y="219"/>
                  </a:lnTo>
                  <a:lnTo>
                    <a:pt x="612" y="219"/>
                  </a:lnTo>
                  <a:lnTo>
                    <a:pt x="612" y="219"/>
                  </a:lnTo>
                  <a:close/>
                  <a:moveTo>
                    <a:pt x="443" y="219"/>
                  </a:moveTo>
                  <a:lnTo>
                    <a:pt x="443" y="219"/>
                  </a:lnTo>
                  <a:lnTo>
                    <a:pt x="443" y="219"/>
                  </a:lnTo>
                  <a:lnTo>
                    <a:pt x="443" y="219"/>
                  </a:lnTo>
                  <a:lnTo>
                    <a:pt x="443" y="219"/>
                  </a:lnTo>
                  <a:lnTo>
                    <a:pt x="443" y="219"/>
                  </a:lnTo>
                  <a:lnTo>
                    <a:pt x="443" y="219"/>
                  </a:lnTo>
                  <a:lnTo>
                    <a:pt x="443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41" y="219"/>
                  </a:lnTo>
                  <a:lnTo>
                    <a:pt x="439" y="219"/>
                  </a:lnTo>
                  <a:lnTo>
                    <a:pt x="439" y="219"/>
                  </a:lnTo>
                  <a:lnTo>
                    <a:pt x="443" y="216"/>
                  </a:lnTo>
                  <a:lnTo>
                    <a:pt x="443" y="216"/>
                  </a:lnTo>
                  <a:lnTo>
                    <a:pt x="443" y="216"/>
                  </a:lnTo>
                  <a:lnTo>
                    <a:pt x="443" y="216"/>
                  </a:lnTo>
                  <a:lnTo>
                    <a:pt x="443" y="219"/>
                  </a:lnTo>
                  <a:lnTo>
                    <a:pt x="443" y="219"/>
                  </a:lnTo>
                  <a:close/>
                  <a:moveTo>
                    <a:pt x="856" y="216"/>
                  </a:moveTo>
                  <a:lnTo>
                    <a:pt x="856" y="216"/>
                  </a:lnTo>
                  <a:lnTo>
                    <a:pt x="859" y="216"/>
                  </a:lnTo>
                  <a:lnTo>
                    <a:pt x="859" y="216"/>
                  </a:lnTo>
                  <a:lnTo>
                    <a:pt x="859" y="216"/>
                  </a:lnTo>
                  <a:lnTo>
                    <a:pt x="859" y="216"/>
                  </a:lnTo>
                  <a:lnTo>
                    <a:pt x="859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59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61" y="219"/>
                  </a:lnTo>
                  <a:lnTo>
                    <a:pt x="859" y="219"/>
                  </a:lnTo>
                  <a:lnTo>
                    <a:pt x="859" y="219"/>
                  </a:lnTo>
                  <a:lnTo>
                    <a:pt x="859" y="219"/>
                  </a:lnTo>
                  <a:lnTo>
                    <a:pt x="859" y="219"/>
                  </a:lnTo>
                  <a:lnTo>
                    <a:pt x="859" y="219"/>
                  </a:lnTo>
                  <a:lnTo>
                    <a:pt x="859" y="219"/>
                  </a:lnTo>
                  <a:lnTo>
                    <a:pt x="859" y="221"/>
                  </a:lnTo>
                  <a:lnTo>
                    <a:pt x="859" y="221"/>
                  </a:lnTo>
                  <a:lnTo>
                    <a:pt x="859" y="221"/>
                  </a:lnTo>
                  <a:lnTo>
                    <a:pt x="859" y="221"/>
                  </a:lnTo>
                  <a:lnTo>
                    <a:pt x="859" y="221"/>
                  </a:lnTo>
                  <a:lnTo>
                    <a:pt x="859" y="221"/>
                  </a:lnTo>
                  <a:lnTo>
                    <a:pt x="856" y="221"/>
                  </a:lnTo>
                  <a:lnTo>
                    <a:pt x="856" y="221"/>
                  </a:lnTo>
                  <a:lnTo>
                    <a:pt x="854" y="219"/>
                  </a:lnTo>
                  <a:lnTo>
                    <a:pt x="854" y="219"/>
                  </a:lnTo>
                  <a:lnTo>
                    <a:pt x="854" y="219"/>
                  </a:lnTo>
                  <a:lnTo>
                    <a:pt x="854" y="219"/>
                  </a:lnTo>
                  <a:lnTo>
                    <a:pt x="856" y="219"/>
                  </a:lnTo>
                  <a:lnTo>
                    <a:pt x="856" y="219"/>
                  </a:lnTo>
                  <a:lnTo>
                    <a:pt x="856" y="216"/>
                  </a:lnTo>
                  <a:lnTo>
                    <a:pt x="856" y="216"/>
                  </a:lnTo>
                  <a:lnTo>
                    <a:pt x="856" y="216"/>
                  </a:lnTo>
                  <a:close/>
                  <a:moveTo>
                    <a:pt x="1292" y="210"/>
                  </a:moveTo>
                  <a:lnTo>
                    <a:pt x="1294" y="210"/>
                  </a:lnTo>
                  <a:lnTo>
                    <a:pt x="1294" y="210"/>
                  </a:lnTo>
                  <a:lnTo>
                    <a:pt x="1297" y="210"/>
                  </a:lnTo>
                  <a:lnTo>
                    <a:pt x="1299" y="210"/>
                  </a:lnTo>
                  <a:lnTo>
                    <a:pt x="1299" y="210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7" y="212"/>
                  </a:lnTo>
                  <a:lnTo>
                    <a:pt x="1297" y="212"/>
                  </a:lnTo>
                  <a:lnTo>
                    <a:pt x="1294" y="212"/>
                  </a:lnTo>
                  <a:lnTo>
                    <a:pt x="1290" y="214"/>
                  </a:lnTo>
                  <a:lnTo>
                    <a:pt x="1290" y="214"/>
                  </a:lnTo>
                  <a:lnTo>
                    <a:pt x="1288" y="214"/>
                  </a:lnTo>
                  <a:lnTo>
                    <a:pt x="1288" y="214"/>
                  </a:lnTo>
                  <a:lnTo>
                    <a:pt x="1288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2" y="210"/>
                  </a:lnTo>
                  <a:lnTo>
                    <a:pt x="1294" y="210"/>
                  </a:lnTo>
                  <a:lnTo>
                    <a:pt x="1292" y="210"/>
                  </a:lnTo>
                  <a:lnTo>
                    <a:pt x="1292" y="210"/>
                  </a:lnTo>
                  <a:close/>
                  <a:moveTo>
                    <a:pt x="940" y="203"/>
                  </a:moveTo>
                  <a:lnTo>
                    <a:pt x="940" y="203"/>
                  </a:lnTo>
                  <a:lnTo>
                    <a:pt x="940" y="203"/>
                  </a:lnTo>
                  <a:lnTo>
                    <a:pt x="940" y="203"/>
                  </a:lnTo>
                  <a:close/>
                  <a:moveTo>
                    <a:pt x="1279" y="203"/>
                  </a:move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1"/>
                  </a:lnTo>
                  <a:lnTo>
                    <a:pt x="1279" y="201"/>
                  </a:lnTo>
                  <a:lnTo>
                    <a:pt x="1281" y="201"/>
                  </a:lnTo>
                  <a:lnTo>
                    <a:pt x="1281" y="201"/>
                  </a:lnTo>
                  <a:lnTo>
                    <a:pt x="1281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3"/>
                  </a:lnTo>
                  <a:lnTo>
                    <a:pt x="1283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3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3"/>
                  </a:lnTo>
                  <a:lnTo>
                    <a:pt x="1277" y="203"/>
                  </a:lnTo>
                  <a:lnTo>
                    <a:pt x="1277" y="203"/>
                  </a:lnTo>
                  <a:lnTo>
                    <a:pt x="1277" y="203"/>
                  </a:lnTo>
                  <a:lnTo>
                    <a:pt x="1277" y="203"/>
                  </a:lnTo>
                  <a:lnTo>
                    <a:pt x="1277" y="203"/>
                  </a:lnTo>
                  <a:lnTo>
                    <a:pt x="1277" y="203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77" y="201"/>
                  </a:lnTo>
                  <a:lnTo>
                    <a:pt x="1281" y="198"/>
                  </a:lnTo>
                  <a:lnTo>
                    <a:pt x="1281" y="198"/>
                  </a:lnTo>
                  <a:lnTo>
                    <a:pt x="1281" y="201"/>
                  </a:lnTo>
                  <a:lnTo>
                    <a:pt x="1281" y="201"/>
                  </a:lnTo>
                  <a:lnTo>
                    <a:pt x="1281" y="201"/>
                  </a:lnTo>
                  <a:lnTo>
                    <a:pt x="1281" y="201"/>
                  </a:lnTo>
                  <a:lnTo>
                    <a:pt x="1281" y="201"/>
                  </a:lnTo>
                  <a:lnTo>
                    <a:pt x="1279" y="201"/>
                  </a:lnTo>
                  <a:lnTo>
                    <a:pt x="1279" y="201"/>
                  </a:lnTo>
                  <a:lnTo>
                    <a:pt x="1279" y="201"/>
                  </a:lnTo>
                  <a:lnTo>
                    <a:pt x="1279" y="203"/>
                  </a:lnTo>
                  <a:lnTo>
                    <a:pt x="1279" y="203"/>
                  </a:lnTo>
                  <a:close/>
                  <a:moveTo>
                    <a:pt x="1285" y="201"/>
                  </a:moveTo>
                  <a:lnTo>
                    <a:pt x="1285" y="201"/>
                  </a:lnTo>
                  <a:lnTo>
                    <a:pt x="1283" y="201"/>
                  </a:lnTo>
                  <a:lnTo>
                    <a:pt x="1283" y="198"/>
                  </a:lnTo>
                  <a:lnTo>
                    <a:pt x="1283" y="198"/>
                  </a:lnTo>
                  <a:lnTo>
                    <a:pt x="1283" y="198"/>
                  </a:lnTo>
                  <a:lnTo>
                    <a:pt x="1285" y="198"/>
                  </a:lnTo>
                  <a:lnTo>
                    <a:pt x="1288" y="198"/>
                  </a:lnTo>
                  <a:lnTo>
                    <a:pt x="1288" y="198"/>
                  </a:lnTo>
                  <a:lnTo>
                    <a:pt x="1288" y="198"/>
                  </a:lnTo>
                  <a:lnTo>
                    <a:pt x="1288" y="198"/>
                  </a:lnTo>
                  <a:lnTo>
                    <a:pt x="1285" y="201"/>
                  </a:lnTo>
                  <a:close/>
                  <a:moveTo>
                    <a:pt x="957" y="194"/>
                  </a:move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3" y="196"/>
                  </a:lnTo>
                  <a:lnTo>
                    <a:pt x="953" y="196"/>
                  </a:lnTo>
                  <a:lnTo>
                    <a:pt x="953" y="196"/>
                  </a:lnTo>
                  <a:lnTo>
                    <a:pt x="953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5" y="194"/>
                  </a:lnTo>
                  <a:lnTo>
                    <a:pt x="957" y="194"/>
                  </a:lnTo>
                  <a:lnTo>
                    <a:pt x="957" y="194"/>
                  </a:lnTo>
                  <a:lnTo>
                    <a:pt x="957" y="194"/>
                  </a:lnTo>
                  <a:lnTo>
                    <a:pt x="957" y="194"/>
                  </a:lnTo>
                  <a:lnTo>
                    <a:pt x="957" y="194"/>
                  </a:lnTo>
                  <a:close/>
                  <a:moveTo>
                    <a:pt x="962" y="192"/>
                  </a:move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close/>
                  <a:moveTo>
                    <a:pt x="508" y="192"/>
                  </a:moveTo>
                  <a:lnTo>
                    <a:pt x="508" y="192"/>
                  </a:lnTo>
                  <a:lnTo>
                    <a:pt x="508" y="192"/>
                  </a:lnTo>
                  <a:lnTo>
                    <a:pt x="508" y="192"/>
                  </a:lnTo>
                  <a:lnTo>
                    <a:pt x="508" y="192"/>
                  </a:lnTo>
                  <a:lnTo>
                    <a:pt x="508" y="192"/>
                  </a:lnTo>
                  <a:lnTo>
                    <a:pt x="508" y="192"/>
                  </a:lnTo>
                  <a:lnTo>
                    <a:pt x="508" y="192"/>
                  </a:lnTo>
                  <a:close/>
                  <a:moveTo>
                    <a:pt x="1041" y="293"/>
                  </a:moveTo>
                  <a:lnTo>
                    <a:pt x="1038" y="293"/>
                  </a:lnTo>
                  <a:lnTo>
                    <a:pt x="1038" y="293"/>
                  </a:lnTo>
                  <a:lnTo>
                    <a:pt x="1041" y="293"/>
                  </a:lnTo>
                  <a:lnTo>
                    <a:pt x="1041" y="295"/>
                  </a:lnTo>
                  <a:lnTo>
                    <a:pt x="1041" y="295"/>
                  </a:lnTo>
                  <a:lnTo>
                    <a:pt x="1041" y="295"/>
                  </a:lnTo>
                  <a:lnTo>
                    <a:pt x="1038" y="295"/>
                  </a:lnTo>
                  <a:lnTo>
                    <a:pt x="1038" y="295"/>
                  </a:lnTo>
                  <a:lnTo>
                    <a:pt x="1038" y="295"/>
                  </a:lnTo>
                  <a:lnTo>
                    <a:pt x="1041" y="295"/>
                  </a:lnTo>
                  <a:lnTo>
                    <a:pt x="1041" y="295"/>
                  </a:lnTo>
                  <a:lnTo>
                    <a:pt x="1041" y="295"/>
                  </a:lnTo>
                  <a:lnTo>
                    <a:pt x="1043" y="295"/>
                  </a:lnTo>
                  <a:lnTo>
                    <a:pt x="1043" y="295"/>
                  </a:lnTo>
                  <a:lnTo>
                    <a:pt x="1043" y="295"/>
                  </a:lnTo>
                  <a:lnTo>
                    <a:pt x="1043" y="295"/>
                  </a:lnTo>
                  <a:lnTo>
                    <a:pt x="1041" y="297"/>
                  </a:lnTo>
                  <a:lnTo>
                    <a:pt x="1041" y="297"/>
                  </a:lnTo>
                  <a:lnTo>
                    <a:pt x="1041" y="297"/>
                  </a:lnTo>
                  <a:lnTo>
                    <a:pt x="1041" y="297"/>
                  </a:lnTo>
                  <a:lnTo>
                    <a:pt x="1041" y="297"/>
                  </a:lnTo>
                  <a:lnTo>
                    <a:pt x="1041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3" y="300"/>
                  </a:lnTo>
                  <a:lnTo>
                    <a:pt x="1043" y="300"/>
                  </a:lnTo>
                  <a:lnTo>
                    <a:pt x="1043" y="300"/>
                  </a:lnTo>
                  <a:lnTo>
                    <a:pt x="1043" y="300"/>
                  </a:lnTo>
                  <a:lnTo>
                    <a:pt x="1043" y="300"/>
                  </a:lnTo>
                  <a:lnTo>
                    <a:pt x="1043" y="300"/>
                  </a:lnTo>
                  <a:lnTo>
                    <a:pt x="1043" y="302"/>
                  </a:lnTo>
                  <a:lnTo>
                    <a:pt x="1043" y="302"/>
                  </a:lnTo>
                  <a:lnTo>
                    <a:pt x="1043" y="302"/>
                  </a:lnTo>
                  <a:lnTo>
                    <a:pt x="1045" y="302"/>
                  </a:lnTo>
                  <a:lnTo>
                    <a:pt x="1045" y="302"/>
                  </a:lnTo>
                  <a:lnTo>
                    <a:pt x="1045" y="302"/>
                  </a:lnTo>
                  <a:lnTo>
                    <a:pt x="1045" y="302"/>
                  </a:lnTo>
                  <a:lnTo>
                    <a:pt x="1045" y="302"/>
                  </a:lnTo>
                  <a:lnTo>
                    <a:pt x="1045" y="304"/>
                  </a:lnTo>
                  <a:lnTo>
                    <a:pt x="1045" y="304"/>
                  </a:lnTo>
                  <a:lnTo>
                    <a:pt x="1045" y="304"/>
                  </a:lnTo>
                  <a:lnTo>
                    <a:pt x="1043" y="304"/>
                  </a:lnTo>
                  <a:lnTo>
                    <a:pt x="1043" y="304"/>
                  </a:lnTo>
                  <a:lnTo>
                    <a:pt x="1045" y="306"/>
                  </a:lnTo>
                  <a:lnTo>
                    <a:pt x="1045" y="306"/>
                  </a:lnTo>
                  <a:lnTo>
                    <a:pt x="1045" y="306"/>
                  </a:lnTo>
                  <a:lnTo>
                    <a:pt x="1045" y="306"/>
                  </a:lnTo>
                  <a:lnTo>
                    <a:pt x="1045" y="306"/>
                  </a:lnTo>
                  <a:lnTo>
                    <a:pt x="1045" y="306"/>
                  </a:lnTo>
                  <a:lnTo>
                    <a:pt x="1045" y="306"/>
                  </a:lnTo>
                  <a:lnTo>
                    <a:pt x="1045" y="309"/>
                  </a:lnTo>
                  <a:lnTo>
                    <a:pt x="1045" y="309"/>
                  </a:lnTo>
                  <a:lnTo>
                    <a:pt x="1043" y="309"/>
                  </a:lnTo>
                  <a:lnTo>
                    <a:pt x="1043" y="309"/>
                  </a:lnTo>
                  <a:lnTo>
                    <a:pt x="1043" y="309"/>
                  </a:lnTo>
                  <a:lnTo>
                    <a:pt x="1041" y="309"/>
                  </a:lnTo>
                  <a:lnTo>
                    <a:pt x="1043" y="309"/>
                  </a:lnTo>
                  <a:lnTo>
                    <a:pt x="1043" y="309"/>
                  </a:lnTo>
                  <a:lnTo>
                    <a:pt x="1043" y="309"/>
                  </a:lnTo>
                  <a:lnTo>
                    <a:pt x="1043" y="309"/>
                  </a:lnTo>
                  <a:lnTo>
                    <a:pt x="1043" y="309"/>
                  </a:lnTo>
                  <a:lnTo>
                    <a:pt x="1043" y="306"/>
                  </a:lnTo>
                  <a:lnTo>
                    <a:pt x="1043" y="306"/>
                  </a:lnTo>
                  <a:lnTo>
                    <a:pt x="1043" y="306"/>
                  </a:lnTo>
                  <a:lnTo>
                    <a:pt x="1043" y="306"/>
                  </a:lnTo>
                  <a:lnTo>
                    <a:pt x="1041" y="306"/>
                  </a:lnTo>
                  <a:lnTo>
                    <a:pt x="1041" y="306"/>
                  </a:lnTo>
                  <a:lnTo>
                    <a:pt x="1041" y="306"/>
                  </a:lnTo>
                  <a:lnTo>
                    <a:pt x="1041" y="306"/>
                  </a:lnTo>
                  <a:lnTo>
                    <a:pt x="1038" y="306"/>
                  </a:lnTo>
                  <a:lnTo>
                    <a:pt x="1038" y="306"/>
                  </a:lnTo>
                  <a:lnTo>
                    <a:pt x="1038" y="306"/>
                  </a:lnTo>
                  <a:lnTo>
                    <a:pt x="1038" y="306"/>
                  </a:lnTo>
                  <a:lnTo>
                    <a:pt x="1038" y="306"/>
                  </a:lnTo>
                  <a:lnTo>
                    <a:pt x="1038" y="306"/>
                  </a:lnTo>
                  <a:lnTo>
                    <a:pt x="1038" y="306"/>
                  </a:lnTo>
                  <a:lnTo>
                    <a:pt x="1038" y="304"/>
                  </a:lnTo>
                  <a:lnTo>
                    <a:pt x="1038" y="304"/>
                  </a:lnTo>
                  <a:lnTo>
                    <a:pt x="1038" y="304"/>
                  </a:lnTo>
                  <a:lnTo>
                    <a:pt x="1038" y="304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6"/>
                  </a:lnTo>
                  <a:lnTo>
                    <a:pt x="1036" y="304"/>
                  </a:lnTo>
                  <a:lnTo>
                    <a:pt x="1036" y="304"/>
                  </a:lnTo>
                  <a:lnTo>
                    <a:pt x="1036" y="304"/>
                  </a:lnTo>
                  <a:lnTo>
                    <a:pt x="1036" y="304"/>
                  </a:lnTo>
                  <a:lnTo>
                    <a:pt x="1036" y="304"/>
                  </a:lnTo>
                  <a:lnTo>
                    <a:pt x="1036" y="304"/>
                  </a:lnTo>
                  <a:lnTo>
                    <a:pt x="1034" y="304"/>
                  </a:lnTo>
                  <a:lnTo>
                    <a:pt x="1034" y="304"/>
                  </a:lnTo>
                  <a:lnTo>
                    <a:pt x="1034" y="304"/>
                  </a:lnTo>
                  <a:lnTo>
                    <a:pt x="1034" y="304"/>
                  </a:lnTo>
                  <a:lnTo>
                    <a:pt x="1034" y="304"/>
                  </a:lnTo>
                  <a:lnTo>
                    <a:pt x="1032" y="304"/>
                  </a:lnTo>
                  <a:lnTo>
                    <a:pt x="1032" y="304"/>
                  </a:lnTo>
                  <a:lnTo>
                    <a:pt x="1032" y="304"/>
                  </a:lnTo>
                  <a:lnTo>
                    <a:pt x="1032" y="306"/>
                  </a:lnTo>
                  <a:lnTo>
                    <a:pt x="1032" y="306"/>
                  </a:lnTo>
                  <a:lnTo>
                    <a:pt x="1032" y="306"/>
                  </a:lnTo>
                  <a:lnTo>
                    <a:pt x="1032" y="306"/>
                  </a:lnTo>
                  <a:lnTo>
                    <a:pt x="1034" y="306"/>
                  </a:lnTo>
                  <a:lnTo>
                    <a:pt x="1034" y="306"/>
                  </a:lnTo>
                  <a:lnTo>
                    <a:pt x="1034" y="306"/>
                  </a:lnTo>
                  <a:lnTo>
                    <a:pt x="1034" y="309"/>
                  </a:lnTo>
                  <a:lnTo>
                    <a:pt x="1034" y="309"/>
                  </a:lnTo>
                  <a:lnTo>
                    <a:pt x="1034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9"/>
                  </a:lnTo>
                  <a:lnTo>
                    <a:pt x="1032" y="306"/>
                  </a:lnTo>
                  <a:lnTo>
                    <a:pt x="1029" y="306"/>
                  </a:lnTo>
                  <a:lnTo>
                    <a:pt x="1027" y="306"/>
                  </a:lnTo>
                  <a:lnTo>
                    <a:pt x="1027" y="306"/>
                  </a:lnTo>
                  <a:lnTo>
                    <a:pt x="1027" y="306"/>
                  </a:lnTo>
                  <a:lnTo>
                    <a:pt x="1027" y="306"/>
                  </a:lnTo>
                  <a:lnTo>
                    <a:pt x="1027" y="306"/>
                  </a:lnTo>
                  <a:lnTo>
                    <a:pt x="1027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6"/>
                  </a:lnTo>
                  <a:lnTo>
                    <a:pt x="1025" y="304"/>
                  </a:lnTo>
                  <a:lnTo>
                    <a:pt x="1025" y="304"/>
                  </a:lnTo>
                  <a:lnTo>
                    <a:pt x="1025" y="304"/>
                  </a:lnTo>
                  <a:lnTo>
                    <a:pt x="1025" y="304"/>
                  </a:lnTo>
                  <a:lnTo>
                    <a:pt x="1023" y="304"/>
                  </a:lnTo>
                  <a:lnTo>
                    <a:pt x="1023" y="306"/>
                  </a:lnTo>
                  <a:lnTo>
                    <a:pt x="1023" y="306"/>
                  </a:lnTo>
                  <a:lnTo>
                    <a:pt x="1023" y="306"/>
                  </a:lnTo>
                  <a:lnTo>
                    <a:pt x="1023" y="306"/>
                  </a:lnTo>
                  <a:lnTo>
                    <a:pt x="1023" y="306"/>
                  </a:lnTo>
                  <a:lnTo>
                    <a:pt x="1023" y="306"/>
                  </a:lnTo>
                  <a:lnTo>
                    <a:pt x="1020" y="306"/>
                  </a:lnTo>
                  <a:lnTo>
                    <a:pt x="1020" y="306"/>
                  </a:lnTo>
                  <a:lnTo>
                    <a:pt x="1020" y="306"/>
                  </a:lnTo>
                  <a:lnTo>
                    <a:pt x="1020" y="306"/>
                  </a:lnTo>
                  <a:lnTo>
                    <a:pt x="1020" y="306"/>
                  </a:lnTo>
                  <a:lnTo>
                    <a:pt x="1020" y="304"/>
                  </a:lnTo>
                  <a:lnTo>
                    <a:pt x="1020" y="304"/>
                  </a:lnTo>
                  <a:lnTo>
                    <a:pt x="1020" y="304"/>
                  </a:lnTo>
                  <a:lnTo>
                    <a:pt x="1020" y="304"/>
                  </a:lnTo>
                  <a:lnTo>
                    <a:pt x="1023" y="304"/>
                  </a:lnTo>
                  <a:lnTo>
                    <a:pt x="1023" y="304"/>
                  </a:lnTo>
                  <a:lnTo>
                    <a:pt x="1023" y="304"/>
                  </a:lnTo>
                  <a:lnTo>
                    <a:pt x="1023" y="304"/>
                  </a:lnTo>
                  <a:lnTo>
                    <a:pt x="1023" y="302"/>
                  </a:lnTo>
                  <a:lnTo>
                    <a:pt x="1023" y="302"/>
                  </a:lnTo>
                  <a:lnTo>
                    <a:pt x="1023" y="302"/>
                  </a:lnTo>
                  <a:lnTo>
                    <a:pt x="1023" y="302"/>
                  </a:lnTo>
                  <a:lnTo>
                    <a:pt x="1023" y="302"/>
                  </a:lnTo>
                  <a:lnTo>
                    <a:pt x="1023" y="302"/>
                  </a:lnTo>
                  <a:lnTo>
                    <a:pt x="1023" y="300"/>
                  </a:lnTo>
                  <a:lnTo>
                    <a:pt x="1023" y="300"/>
                  </a:lnTo>
                  <a:lnTo>
                    <a:pt x="1020" y="300"/>
                  </a:lnTo>
                  <a:lnTo>
                    <a:pt x="1018" y="300"/>
                  </a:lnTo>
                  <a:lnTo>
                    <a:pt x="1016" y="300"/>
                  </a:lnTo>
                  <a:lnTo>
                    <a:pt x="1016" y="302"/>
                  </a:lnTo>
                  <a:lnTo>
                    <a:pt x="1016" y="302"/>
                  </a:lnTo>
                  <a:lnTo>
                    <a:pt x="1016" y="302"/>
                  </a:lnTo>
                  <a:lnTo>
                    <a:pt x="1014" y="302"/>
                  </a:lnTo>
                  <a:lnTo>
                    <a:pt x="1011" y="302"/>
                  </a:lnTo>
                  <a:lnTo>
                    <a:pt x="1011" y="302"/>
                  </a:lnTo>
                  <a:lnTo>
                    <a:pt x="1009" y="302"/>
                  </a:lnTo>
                  <a:lnTo>
                    <a:pt x="1009" y="302"/>
                  </a:lnTo>
                  <a:lnTo>
                    <a:pt x="1009" y="302"/>
                  </a:lnTo>
                  <a:lnTo>
                    <a:pt x="1009" y="302"/>
                  </a:lnTo>
                  <a:lnTo>
                    <a:pt x="1009" y="300"/>
                  </a:lnTo>
                  <a:lnTo>
                    <a:pt x="1009" y="300"/>
                  </a:lnTo>
                  <a:lnTo>
                    <a:pt x="1009" y="300"/>
                  </a:lnTo>
                  <a:lnTo>
                    <a:pt x="1007" y="300"/>
                  </a:lnTo>
                  <a:lnTo>
                    <a:pt x="1007" y="300"/>
                  </a:lnTo>
                  <a:lnTo>
                    <a:pt x="1007" y="302"/>
                  </a:lnTo>
                  <a:lnTo>
                    <a:pt x="1007" y="302"/>
                  </a:lnTo>
                  <a:lnTo>
                    <a:pt x="1007" y="302"/>
                  </a:lnTo>
                  <a:lnTo>
                    <a:pt x="1005" y="300"/>
                  </a:lnTo>
                  <a:lnTo>
                    <a:pt x="1005" y="300"/>
                  </a:lnTo>
                  <a:lnTo>
                    <a:pt x="1005" y="300"/>
                  </a:lnTo>
                  <a:lnTo>
                    <a:pt x="1005" y="300"/>
                  </a:lnTo>
                  <a:lnTo>
                    <a:pt x="1005" y="300"/>
                  </a:lnTo>
                  <a:lnTo>
                    <a:pt x="1002" y="302"/>
                  </a:lnTo>
                  <a:lnTo>
                    <a:pt x="1002" y="302"/>
                  </a:lnTo>
                  <a:lnTo>
                    <a:pt x="1002" y="300"/>
                  </a:lnTo>
                  <a:lnTo>
                    <a:pt x="1000" y="302"/>
                  </a:lnTo>
                  <a:lnTo>
                    <a:pt x="1000" y="302"/>
                  </a:lnTo>
                  <a:lnTo>
                    <a:pt x="1002" y="302"/>
                  </a:lnTo>
                  <a:lnTo>
                    <a:pt x="1000" y="302"/>
                  </a:lnTo>
                  <a:lnTo>
                    <a:pt x="1000" y="302"/>
                  </a:lnTo>
                  <a:lnTo>
                    <a:pt x="1000" y="302"/>
                  </a:lnTo>
                  <a:lnTo>
                    <a:pt x="1000" y="302"/>
                  </a:lnTo>
                  <a:lnTo>
                    <a:pt x="1000" y="304"/>
                  </a:lnTo>
                  <a:lnTo>
                    <a:pt x="1000" y="304"/>
                  </a:lnTo>
                  <a:lnTo>
                    <a:pt x="1000" y="304"/>
                  </a:lnTo>
                  <a:lnTo>
                    <a:pt x="1002" y="304"/>
                  </a:lnTo>
                  <a:lnTo>
                    <a:pt x="1002" y="306"/>
                  </a:lnTo>
                  <a:lnTo>
                    <a:pt x="1005" y="306"/>
                  </a:lnTo>
                  <a:lnTo>
                    <a:pt x="1005" y="306"/>
                  </a:lnTo>
                  <a:lnTo>
                    <a:pt x="1005" y="306"/>
                  </a:lnTo>
                  <a:lnTo>
                    <a:pt x="1009" y="309"/>
                  </a:lnTo>
                  <a:lnTo>
                    <a:pt x="1009" y="309"/>
                  </a:lnTo>
                  <a:lnTo>
                    <a:pt x="1009" y="309"/>
                  </a:lnTo>
                  <a:lnTo>
                    <a:pt x="1009" y="309"/>
                  </a:lnTo>
                  <a:lnTo>
                    <a:pt x="1007" y="309"/>
                  </a:lnTo>
                  <a:lnTo>
                    <a:pt x="1007" y="309"/>
                  </a:lnTo>
                  <a:lnTo>
                    <a:pt x="1007" y="309"/>
                  </a:lnTo>
                  <a:lnTo>
                    <a:pt x="1007" y="311"/>
                  </a:lnTo>
                  <a:lnTo>
                    <a:pt x="1007" y="311"/>
                  </a:lnTo>
                  <a:lnTo>
                    <a:pt x="1007" y="311"/>
                  </a:lnTo>
                  <a:lnTo>
                    <a:pt x="1007" y="311"/>
                  </a:lnTo>
                  <a:lnTo>
                    <a:pt x="1007" y="311"/>
                  </a:lnTo>
                  <a:lnTo>
                    <a:pt x="1005" y="311"/>
                  </a:lnTo>
                  <a:lnTo>
                    <a:pt x="1005" y="311"/>
                  </a:lnTo>
                  <a:lnTo>
                    <a:pt x="1002" y="311"/>
                  </a:lnTo>
                  <a:lnTo>
                    <a:pt x="1002" y="313"/>
                  </a:lnTo>
                  <a:lnTo>
                    <a:pt x="1002" y="313"/>
                  </a:lnTo>
                  <a:lnTo>
                    <a:pt x="1002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1000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998" y="313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5"/>
                  </a:lnTo>
                  <a:lnTo>
                    <a:pt x="996" y="318"/>
                  </a:lnTo>
                  <a:lnTo>
                    <a:pt x="996" y="318"/>
                  </a:lnTo>
                  <a:lnTo>
                    <a:pt x="993" y="318"/>
                  </a:lnTo>
                  <a:lnTo>
                    <a:pt x="993" y="318"/>
                  </a:lnTo>
                  <a:lnTo>
                    <a:pt x="993" y="318"/>
                  </a:lnTo>
                  <a:lnTo>
                    <a:pt x="993" y="318"/>
                  </a:lnTo>
                  <a:lnTo>
                    <a:pt x="993" y="318"/>
                  </a:lnTo>
                  <a:lnTo>
                    <a:pt x="993" y="318"/>
                  </a:lnTo>
                  <a:lnTo>
                    <a:pt x="993" y="318"/>
                  </a:lnTo>
                  <a:lnTo>
                    <a:pt x="991" y="318"/>
                  </a:lnTo>
                  <a:lnTo>
                    <a:pt x="991" y="318"/>
                  </a:lnTo>
                  <a:lnTo>
                    <a:pt x="991" y="318"/>
                  </a:lnTo>
                  <a:lnTo>
                    <a:pt x="991" y="318"/>
                  </a:lnTo>
                  <a:lnTo>
                    <a:pt x="991" y="318"/>
                  </a:lnTo>
                  <a:lnTo>
                    <a:pt x="991" y="318"/>
                  </a:lnTo>
                  <a:lnTo>
                    <a:pt x="989" y="320"/>
                  </a:lnTo>
                  <a:lnTo>
                    <a:pt x="989" y="320"/>
                  </a:lnTo>
                  <a:lnTo>
                    <a:pt x="989" y="320"/>
                  </a:lnTo>
                  <a:lnTo>
                    <a:pt x="989" y="320"/>
                  </a:lnTo>
                  <a:lnTo>
                    <a:pt x="989" y="320"/>
                  </a:lnTo>
                  <a:lnTo>
                    <a:pt x="987" y="320"/>
                  </a:lnTo>
                  <a:lnTo>
                    <a:pt x="987" y="320"/>
                  </a:lnTo>
                  <a:lnTo>
                    <a:pt x="987" y="320"/>
                  </a:lnTo>
                  <a:lnTo>
                    <a:pt x="984" y="320"/>
                  </a:lnTo>
                  <a:lnTo>
                    <a:pt x="984" y="320"/>
                  </a:lnTo>
                  <a:lnTo>
                    <a:pt x="984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2" y="322"/>
                  </a:lnTo>
                  <a:lnTo>
                    <a:pt x="980" y="322"/>
                  </a:lnTo>
                  <a:lnTo>
                    <a:pt x="980" y="322"/>
                  </a:lnTo>
                  <a:lnTo>
                    <a:pt x="980" y="322"/>
                  </a:lnTo>
                  <a:lnTo>
                    <a:pt x="980" y="322"/>
                  </a:lnTo>
                  <a:lnTo>
                    <a:pt x="980" y="322"/>
                  </a:lnTo>
                  <a:lnTo>
                    <a:pt x="980" y="322"/>
                  </a:lnTo>
                  <a:lnTo>
                    <a:pt x="980" y="324"/>
                  </a:lnTo>
                  <a:lnTo>
                    <a:pt x="980" y="324"/>
                  </a:lnTo>
                  <a:lnTo>
                    <a:pt x="980" y="324"/>
                  </a:lnTo>
                  <a:lnTo>
                    <a:pt x="980" y="324"/>
                  </a:lnTo>
                  <a:lnTo>
                    <a:pt x="978" y="324"/>
                  </a:lnTo>
                  <a:lnTo>
                    <a:pt x="978" y="324"/>
                  </a:lnTo>
                  <a:lnTo>
                    <a:pt x="978" y="324"/>
                  </a:lnTo>
                  <a:lnTo>
                    <a:pt x="978" y="324"/>
                  </a:lnTo>
                  <a:lnTo>
                    <a:pt x="975" y="324"/>
                  </a:lnTo>
                  <a:lnTo>
                    <a:pt x="975" y="324"/>
                  </a:lnTo>
                  <a:lnTo>
                    <a:pt x="973" y="327"/>
                  </a:lnTo>
                  <a:lnTo>
                    <a:pt x="964" y="327"/>
                  </a:lnTo>
                  <a:lnTo>
                    <a:pt x="964" y="324"/>
                  </a:lnTo>
                  <a:lnTo>
                    <a:pt x="962" y="324"/>
                  </a:lnTo>
                  <a:lnTo>
                    <a:pt x="962" y="324"/>
                  </a:lnTo>
                  <a:lnTo>
                    <a:pt x="962" y="324"/>
                  </a:lnTo>
                  <a:lnTo>
                    <a:pt x="962" y="324"/>
                  </a:lnTo>
                  <a:lnTo>
                    <a:pt x="962" y="324"/>
                  </a:lnTo>
                  <a:lnTo>
                    <a:pt x="962" y="322"/>
                  </a:lnTo>
                  <a:lnTo>
                    <a:pt x="962" y="322"/>
                  </a:lnTo>
                  <a:lnTo>
                    <a:pt x="962" y="322"/>
                  </a:lnTo>
                  <a:lnTo>
                    <a:pt x="962" y="322"/>
                  </a:lnTo>
                  <a:lnTo>
                    <a:pt x="962" y="322"/>
                  </a:lnTo>
                  <a:lnTo>
                    <a:pt x="962" y="322"/>
                  </a:lnTo>
                  <a:lnTo>
                    <a:pt x="960" y="322"/>
                  </a:lnTo>
                  <a:lnTo>
                    <a:pt x="960" y="322"/>
                  </a:lnTo>
                  <a:lnTo>
                    <a:pt x="960" y="320"/>
                  </a:lnTo>
                  <a:lnTo>
                    <a:pt x="960" y="320"/>
                  </a:lnTo>
                  <a:lnTo>
                    <a:pt x="957" y="320"/>
                  </a:lnTo>
                  <a:lnTo>
                    <a:pt x="957" y="320"/>
                  </a:lnTo>
                  <a:lnTo>
                    <a:pt x="957" y="320"/>
                  </a:lnTo>
                  <a:lnTo>
                    <a:pt x="957" y="320"/>
                  </a:lnTo>
                  <a:lnTo>
                    <a:pt x="957" y="320"/>
                  </a:lnTo>
                  <a:lnTo>
                    <a:pt x="955" y="320"/>
                  </a:lnTo>
                  <a:lnTo>
                    <a:pt x="960" y="320"/>
                  </a:lnTo>
                  <a:lnTo>
                    <a:pt x="960" y="320"/>
                  </a:lnTo>
                  <a:lnTo>
                    <a:pt x="962" y="320"/>
                  </a:lnTo>
                  <a:lnTo>
                    <a:pt x="962" y="320"/>
                  </a:lnTo>
                  <a:lnTo>
                    <a:pt x="962" y="320"/>
                  </a:lnTo>
                  <a:lnTo>
                    <a:pt x="957" y="318"/>
                  </a:lnTo>
                  <a:lnTo>
                    <a:pt x="957" y="318"/>
                  </a:lnTo>
                  <a:lnTo>
                    <a:pt x="957" y="318"/>
                  </a:lnTo>
                  <a:lnTo>
                    <a:pt x="955" y="318"/>
                  </a:lnTo>
                  <a:lnTo>
                    <a:pt x="955" y="318"/>
                  </a:lnTo>
                  <a:lnTo>
                    <a:pt x="955" y="318"/>
                  </a:lnTo>
                  <a:lnTo>
                    <a:pt x="955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8"/>
                  </a:lnTo>
                  <a:lnTo>
                    <a:pt x="953" y="315"/>
                  </a:lnTo>
                  <a:lnTo>
                    <a:pt x="953" y="315"/>
                  </a:lnTo>
                  <a:lnTo>
                    <a:pt x="951" y="315"/>
                  </a:lnTo>
                  <a:lnTo>
                    <a:pt x="951" y="315"/>
                  </a:lnTo>
                  <a:lnTo>
                    <a:pt x="951" y="315"/>
                  </a:lnTo>
                  <a:lnTo>
                    <a:pt x="951" y="315"/>
                  </a:lnTo>
                  <a:lnTo>
                    <a:pt x="951" y="315"/>
                  </a:lnTo>
                  <a:lnTo>
                    <a:pt x="951" y="315"/>
                  </a:lnTo>
                  <a:lnTo>
                    <a:pt x="951" y="315"/>
                  </a:lnTo>
                  <a:lnTo>
                    <a:pt x="949" y="315"/>
                  </a:lnTo>
                  <a:lnTo>
                    <a:pt x="949" y="313"/>
                  </a:lnTo>
                  <a:lnTo>
                    <a:pt x="949" y="315"/>
                  </a:lnTo>
                  <a:lnTo>
                    <a:pt x="949" y="315"/>
                  </a:lnTo>
                  <a:lnTo>
                    <a:pt x="949" y="315"/>
                  </a:lnTo>
                  <a:lnTo>
                    <a:pt x="949" y="315"/>
                  </a:lnTo>
                  <a:lnTo>
                    <a:pt x="949" y="315"/>
                  </a:lnTo>
                  <a:lnTo>
                    <a:pt x="949" y="315"/>
                  </a:lnTo>
                  <a:lnTo>
                    <a:pt x="949" y="313"/>
                  </a:lnTo>
                  <a:lnTo>
                    <a:pt x="949" y="313"/>
                  </a:lnTo>
                  <a:lnTo>
                    <a:pt x="949" y="313"/>
                  </a:lnTo>
                  <a:lnTo>
                    <a:pt x="946" y="313"/>
                  </a:lnTo>
                  <a:lnTo>
                    <a:pt x="946" y="313"/>
                  </a:lnTo>
                  <a:lnTo>
                    <a:pt x="946" y="313"/>
                  </a:lnTo>
                  <a:lnTo>
                    <a:pt x="946" y="313"/>
                  </a:lnTo>
                  <a:lnTo>
                    <a:pt x="944" y="313"/>
                  </a:lnTo>
                  <a:lnTo>
                    <a:pt x="944" y="313"/>
                  </a:lnTo>
                  <a:lnTo>
                    <a:pt x="942" y="313"/>
                  </a:lnTo>
                  <a:lnTo>
                    <a:pt x="942" y="313"/>
                  </a:lnTo>
                  <a:lnTo>
                    <a:pt x="944" y="313"/>
                  </a:lnTo>
                  <a:lnTo>
                    <a:pt x="944" y="313"/>
                  </a:lnTo>
                  <a:lnTo>
                    <a:pt x="944" y="315"/>
                  </a:lnTo>
                  <a:lnTo>
                    <a:pt x="944" y="315"/>
                  </a:lnTo>
                  <a:lnTo>
                    <a:pt x="944" y="315"/>
                  </a:lnTo>
                  <a:lnTo>
                    <a:pt x="944" y="315"/>
                  </a:lnTo>
                  <a:lnTo>
                    <a:pt x="942" y="315"/>
                  </a:lnTo>
                  <a:lnTo>
                    <a:pt x="942" y="315"/>
                  </a:lnTo>
                  <a:lnTo>
                    <a:pt x="942" y="315"/>
                  </a:lnTo>
                  <a:lnTo>
                    <a:pt x="942" y="315"/>
                  </a:lnTo>
                  <a:lnTo>
                    <a:pt x="942" y="315"/>
                  </a:lnTo>
                  <a:lnTo>
                    <a:pt x="942" y="315"/>
                  </a:lnTo>
                  <a:lnTo>
                    <a:pt x="940" y="313"/>
                  </a:lnTo>
                  <a:lnTo>
                    <a:pt x="940" y="313"/>
                  </a:lnTo>
                  <a:lnTo>
                    <a:pt x="940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7" y="315"/>
                  </a:lnTo>
                  <a:lnTo>
                    <a:pt x="935" y="315"/>
                  </a:lnTo>
                  <a:lnTo>
                    <a:pt x="933" y="313"/>
                  </a:lnTo>
                  <a:lnTo>
                    <a:pt x="935" y="313"/>
                  </a:lnTo>
                  <a:lnTo>
                    <a:pt x="935" y="313"/>
                  </a:lnTo>
                  <a:lnTo>
                    <a:pt x="935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7" y="313"/>
                  </a:lnTo>
                  <a:lnTo>
                    <a:pt x="935" y="313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2" y="313"/>
                  </a:lnTo>
                  <a:lnTo>
                    <a:pt x="922" y="313"/>
                  </a:lnTo>
                  <a:lnTo>
                    <a:pt x="919" y="313"/>
                  </a:lnTo>
                  <a:lnTo>
                    <a:pt x="919" y="313"/>
                  </a:lnTo>
                  <a:lnTo>
                    <a:pt x="917" y="313"/>
                  </a:lnTo>
                  <a:lnTo>
                    <a:pt x="922" y="315"/>
                  </a:lnTo>
                  <a:lnTo>
                    <a:pt x="922" y="315"/>
                  </a:lnTo>
                  <a:lnTo>
                    <a:pt x="924" y="315"/>
                  </a:lnTo>
                  <a:lnTo>
                    <a:pt x="924" y="315"/>
                  </a:lnTo>
                  <a:lnTo>
                    <a:pt x="924" y="315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4" y="313"/>
                  </a:lnTo>
                  <a:lnTo>
                    <a:pt x="926" y="313"/>
                  </a:lnTo>
                  <a:lnTo>
                    <a:pt x="926" y="313"/>
                  </a:lnTo>
                  <a:lnTo>
                    <a:pt x="931" y="313"/>
                  </a:lnTo>
                  <a:lnTo>
                    <a:pt x="933" y="313"/>
                  </a:lnTo>
                  <a:lnTo>
                    <a:pt x="935" y="315"/>
                  </a:lnTo>
                  <a:lnTo>
                    <a:pt x="937" y="315"/>
                  </a:lnTo>
                  <a:lnTo>
                    <a:pt x="940" y="315"/>
                  </a:lnTo>
                  <a:lnTo>
                    <a:pt x="942" y="318"/>
                  </a:lnTo>
                  <a:lnTo>
                    <a:pt x="942" y="318"/>
                  </a:lnTo>
                  <a:lnTo>
                    <a:pt x="942" y="318"/>
                  </a:lnTo>
                  <a:lnTo>
                    <a:pt x="944" y="318"/>
                  </a:lnTo>
                  <a:lnTo>
                    <a:pt x="944" y="318"/>
                  </a:lnTo>
                  <a:lnTo>
                    <a:pt x="944" y="320"/>
                  </a:lnTo>
                  <a:lnTo>
                    <a:pt x="944" y="320"/>
                  </a:lnTo>
                  <a:lnTo>
                    <a:pt x="944" y="320"/>
                  </a:lnTo>
                  <a:lnTo>
                    <a:pt x="944" y="320"/>
                  </a:lnTo>
                  <a:lnTo>
                    <a:pt x="944" y="320"/>
                  </a:lnTo>
                  <a:lnTo>
                    <a:pt x="944" y="320"/>
                  </a:lnTo>
                  <a:lnTo>
                    <a:pt x="944" y="320"/>
                  </a:lnTo>
                  <a:lnTo>
                    <a:pt x="944" y="322"/>
                  </a:lnTo>
                  <a:lnTo>
                    <a:pt x="944" y="322"/>
                  </a:lnTo>
                  <a:lnTo>
                    <a:pt x="944" y="322"/>
                  </a:lnTo>
                  <a:lnTo>
                    <a:pt x="944" y="322"/>
                  </a:lnTo>
                  <a:lnTo>
                    <a:pt x="946" y="322"/>
                  </a:lnTo>
                  <a:lnTo>
                    <a:pt x="946" y="322"/>
                  </a:lnTo>
                  <a:lnTo>
                    <a:pt x="946" y="322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4"/>
                  </a:lnTo>
                  <a:lnTo>
                    <a:pt x="946" y="327"/>
                  </a:lnTo>
                  <a:lnTo>
                    <a:pt x="949" y="324"/>
                  </a:lnTo>
                  <a:lnTo>
                    <a:pt x="949" y="324"/>
                  </a:lnTo>
                  <a:lnTo>
                    <a:pt x="949" y="327"/>
                  </a:lnTo>
                  <a:lnTo>
                    <a:pt x="951" y="327"/>
                  </a:lnTo>
                  <a:lnTo>
                    <a:pt x="953" y="327"/>
                  </a:lnTo>
                  <a:lnTo>
                    <a:pt x="955" y="327"/>
                  </a:lnTo>
                  <a:lnTo>
                    <a:pt x="962" y="327"/>
                  </a:lnTo>
                  <a:lnTo>
                    <a:pt x="962" y="327"/>
                  </a:lnTo>
                  <a:lnTo>
                    <a:pt x="962" y="327"/>
                  </a:lnTo>
                  <a:lnTo>
                    <a:pt x="964" y="327"/>
                  </a:lnTo>
                  <a:lnTo>
                    <a:pt x="964" y="327"/>
                  </a:lnTo>
                  <a:lnTo>
                    <a:pt x="966" y="327"/>
                  </a:lnTo>
                  <a:lnTo>
                    <a:pt x="966" y="327"/>
                  </a:lnTo>
                  <a:lnTo>
                    <a:pt x="966" y="327"/>
                  </a:lnTo>
                  <a:lnTo>
                    <a:pt x="966" y="327"/>
                  </a:lnTo>
                  <a:lnTo>
                    <a:pt x="966" y="327"/>
                  </a:lnTo>
                  <a:lnTo>
                    <a:pt x="969" y="327"/>
                  </a:lnTo>
                  <a:lnTo>
                    <a:pt x="969" y="327"/>
                  </a:lnTo>
                  <a:lnTo>
                    <a:pt x="969" y="327"/>
                  </a:lnTo>
                  <a:lnTo>
                    <a:pt x="971" y="327"/>
                  </a:lnTo>
                  <a:lnTo>
                    <a:pt x="973" y="327"/>
                  </a:lnTo>
                  <a:lnTo>
                    <a:pt x="978" y="327"/>
                  </a:lnTo>
                  <a:lnTo>
                    <a:pt x="978" y="327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8" y="329"/>
                  </a:lnTo>
                  <a:lnTo>
                    <a:pt x="975" y="331"/>
                  </a:lnTo>
                  <a:lnTo>
                    <a:pt x="975" y="331"/>
                  </a:lnTo>
                  <a:lnTo>
                    <a:pt x="975" y="331"/>
                  </a:lnTo>
                  <a:lnTo>
                    <a:pt x="975" y="331"/>
                  </a:lnTo>
                  <a:lnTo>
                    <a:pt x="975" y="331"/>
                  </a:lnTo>
                  <a:lnTo>
                    <a:pt x="973" y="331"/>
                  </a:lnTo>
                  <a:lnTo>
                    <a:pt x="973" y="333"/>
                  </a:lnTo>
                  <a:lnTo>
                    <a:pt x="973" y="333"/>
                  </a:lnTo>
                  <a:lnTo>
                    <a:pt x="973" y="333"/>
                  </a:lnTo>
                  <a:lnTo>
                    <a:pt x="973" y="333"/>
                  </a:lnTo>
                  <a:lnTo>
                    <a:pt x="973" y="333"/>
                  </a:lnTo>
                  <a:lnTo>
                    <a:pt x="973" y="333"/>
                  </a:lnTo>
                  <a:lnTo>
                    <a:pt x="973" y="333"/>
                  </a:lnTo>
                  <a:lnTo>
                    <a:pt x="971" y="333"/>
                  </a:lnTo>
                  <a:lnTo>
                    <a:pt x="971" y="333"/>
                  </a:lnTo>
                  <a:lnTo>
                    <a:pt x="971" y="333"/>
                  </a:lnTo>
                  <a:lnTo>
                    <a:pt x="971" y="333"/>
                  </a:lnTo>
                  <a:lnTo>
                    <a:pt x="971" y="333"/>
                  </a:lnTo>
                  <a:lnTo>
                    <a:pt x="969" y="336"/>
                  </a:lnTo>
                  <a:lnTo>
                    <a:pt x="969" y="336"/>
                  </a:lnTo>
                  <a:lnTo>
                    <a:pt x="966" y="336"/>
                  </a:lnTo>
                  <a:lnTo>
                    <a:pt x="966" y="336"/>
                  </a:lnTo>
                  <a:lnTo>
                    <a:pt x="966" y="338"/>
                  </a:lnTo>
                  <a:lnTo>
                    <a:pt x="966" y="338"/>
                  </a:lnTo>
                  <a:lnTo>
                    <a:pt x="966" y="338"/>
                  </a:lnTo>
                  <a:lnTo>
                    <a:pt x="966" y="338"/>
                  </a:lnTo>
                  <a:lnTo>
                    <a:pt x="966" y="338"/>
                  </a:lnTo>
                  <a:lnTo>
                    <a:pt x="966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2" y="338"/>
                  </a:lnTo>
                  <a:lnTo>
                    <a:pt x="962" y="338"/>
                  </a:lnTo>
                  <a:lnTo>
                    <a:pt x="962" y="338"/>
                  </a:lnTo>
                  <a:lnTo>
                    <a:pt x="962" y="338"/>
                  </a:lnTo>
                  <a:lnTo>
                    <a:pt x="962" y="340"/>
                  </a:lnTo>
                  <a:lnTo>
                    <a:pt x="962" y="340"/>
                  </a:lnTo>
                  <a:lnTo>
                    <a:pt x="962" y="340"/>
                  </a:lnTo>
                  <a:lnTo>
                    <a:pt x="962" y="340"/>
                  </a:lnTo>
                  <a:lnTo>
                    <a:pt x="960" y="340"/>
                  </a:lnTo>
                  <a:lnTo>
                    <a:pt x="960" y="340"/>
                  </a:lnTo>
                  <a:lnTo>
                    <a:pt x="960" y="342"/>
                  </a:lnTo>
                  <a:lnTo>
                    <a:pt x="960" y="342"/>
                  </a:lnTo>
                  <a:lnTo>
                    <a:pt x="960" y="342"/>
                  </a:lnTo>
                  <a:lnTo>
                    <a:pt x="955" y="342"/>
                  </a:lnTo>
                  <a:lnTo>
                    <a:pt x="955" y="342"/>
                  </a:lnTo>
                  <a:lnTo>
                    <a:pt x="955" y="342"/>
                  </a:lnTo>
                  <a:lnTo>
                    <a:pt x="955" y="342"/>
                  </a:lnTo>
                  <a:lnTo>
                    <a:pt x="955" y="342"/>
                  </a:lnTo>
                  <a:lnTo>
                    <a:pt x="955" y="342"/>
                  </a:lnTo>
                  <a:lnTo>
                    <a:pt x="955" y="342"/>
                  </a:lnTo>
                  <a:lnTo>
                    <a:pt x="953" y="345"/>
                  </a:lnTo>
                  <a:lnTo>
                    <a:pt x="953" y="345"/>
                  </a:lnTo>
                  <a:lnTo>
                    <a:pt x="953" y="345"/>
                  </a:lnTo>
                  <a:lnTo>
                    <a:pt x="953" y="345"/>
                  </a:lnTo>
                  <a:lnTo>
                    <a:pt x="953" y="345"/>
                  </a:lnTo>
                  <a:lnTo>
                    <a:pt x="951" y="347"/>
                  </a:lnTo>
                  <a:lnTo>
                    <a:pt x="951" y="347"/>
                  </a:lnTo>
                  <a:lnTo>
                    <a:pt x="949" y="347"/>
                  </a:lnTo>
                  <a:lnTo>
                    <a:pt x="946" y="349"/>
                  </a:lnTo>
                  <a:lnTo>
                    <a:pt x="946" y="349"/>
                  </a:lnTo>
                  <a:lnTo>
                    <a:pt x="946" y="349"/>
                  </a:lnTo>
                  <a:lnTo>
                    <a:pt x="946" y="349"/>
                  </a:lnTo>
                  <a:lnTo>
                    <a:pt x="946" y="349"/>
                  </a:lnTo>
                  <a:lnTo>
                    <a:pt x="946" y="349"/>
                  </a:lnTo>
                  <a:lnTo>
                    <a:pt x="946" y="349"/>
                  </a:lnTo>
                  <a:lnTo>
                    <a:pt x="944" y="351"/>
                  </a:lnTo>
                  <a:lnTo>
                    <a:pt x="944" y="351"/>
                  </a:lnTo>
                  <a:lnTo>
                    <a:pt x="944" y="351"/>
                  </a:lnTo>
                  <a:lnTo>
                    <a:pt x="942" y="351"/>
                  </a:lnTo>
                  <a:lnTo>
                    <a:pt x="942" y="351"/>
                  </a:lnTo>
                  <a:lnTo>
                    <a:pt x="942" y="351"/>
                  </a:lnTo>
                  <a:lnTo>
                    <a:pt x="942" y="351"/>
                  </a:lnTo>
                  <a:lnTo>
                    <a:pt x="942" y="351"/>
                  </a:lnTo>
                  <a:lnTo>
                    <a:pt x="937" y="351"/>
                  </a:lnTo>
                  <a:lnTo>
                    <a:pt x="937" y="354"/>
                  </a:lnTo>
                  <a:lnTo>
                    <a:pt x="935" y="354"/>
                  </a:lnTo>
                  <a:lnTo>
                    <a:pt x="935" y="354"/>
                  </a:lnTo>
                  <a:lnTo>
                    <a:pt x="935" y="354"/>
                  </a:lnTo>
                  <a:lnTo>
                    <a:pt x="935" y="354"/>
                  </a:lnTo>
                  <a:lnTo>
                    <a:pt x="933" y="354"/>
                  </a:lnTo>
                  <a:lnTo>
                    <a:pt x="933" y="354"/>
                  </a:lnTo>
                  <a:lnTo>
                    <a:pt x="933" y="354"/>
                  </a:lnTo>
                  <a:lnTo>
                    <a:pt x="933" y="354"/>
                  </a:lnTo>
                  <a:lnTo>
                    <a:pt x="933" y="354"/>
                  </a:lnTo>
                  <a:lnTo>
                    <a:pt x="933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31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8" y="354"/>
                  </a:lnTo>
                  <a:lnTo>
                    <a:pt x="926" y="354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49"/>
                  </a:lnTo>
                  <a:lnTo>
                    <a:pt x="926" y="349"/>
                  </a:lnTo>
                  <a:lnTo>
                    <a:pt x="926" y="349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1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6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4" y="354"/>
                  </a:lnTo>
                  <a:lnTo>
                    <a:pt x="922" y="354"/>
                  </a:lnTo>
                  <a:lnTo>
                    <a:pt x="922" y="354"/>
                  </a:lnTo>
                  <a:lnTo>
                    <a:pt x="922" y="354"/>
                  </a:lnTo>
                  <a:lnTo>
                    <a:pt x="922" y="351"/>
                  </a:lnTo>
                  <a:lnTo>
                    <a:pt x="922" y="351"/>
                  </a:lnTo>
                  <a:lnTo>
                    <a:pt x="922" y="351"/>
                  </a:lnTo>
                  <a:lnTo>
                    <a:pt x="919" y="351"/>
                  </a:lnTo>
                  <a:lnTo>
                    <a:pt x="919" y="351"/>
                  </a:lnTo>
                  <a:lnTo>
                    <a:pt x="919" y="354"/>
                  </a:lnTo>
                  <a:lnTo>
                    <a:pt x="919" y="354"/>
                  </a:lnTo>
                  <a:lnTo>
                    <a:pt x="919" y="354"/>
                  </a:lnTo>
                  <a:lnTo>
                    <a:pt x="919" y="354"/>
                  </a:lnTo>
                  <a:lnTo>
                    <a:pt x="919" y="354"/>
                  </a:lnTo>
                  <a:lnTo>
                    <a:pt x="919" y="354"/>
                  </a:lnTo>
                  <a:lnTo>
                    <a:pt x="919" y="354"/>
                  </a:lnTo>
                  <a:lnTo>
                    <a:pt x="919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4"/>
                  </a:lnTo>
                  <a:lnTo>
                    <a:pt x="917" y="354"/>
                  </a:lnTo>
                  <a:lnTo>
                    <a:pt x="917" y="354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9" y="351"/>
                  </a:lnTo>
                  <a:lnTo>
                    <a:pt x="919" y="351"/>
                  </a:lnTo>
                  <a:lnTo>
                    <a:pt x="919" y="351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9" y="349"/>
                  </a:lnTo>
                  <a:lnTo>
                    <a:pt x="917" y="349"/>
                  </a:lnTo>
                  <a:lnTo>
                    <a:pt x="917" y="349"/>
                  </a:lnTo>
                  <a:lnTo>
                    <a:pt x="917" y="349"/>
                  </a:lnTo>
                  <a:lnTo>
                    <a:pt x="917" y="349"/>
                  </a:lnTo>
                  <a:lnTo>
                    <a:pt x="917" y="349"/>
                  </a:lnTo>
                  <a:lnTo>
                    <a:pt x="917" y="349"/>
                  </a:lnTo>
                  <a:lnTo>
                    <a:pt x="917" y="349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7" y="351"/>
                  </a:lnTo>
                  <a:lnTo>
                    <a:pt x="915" y="349"/>
                  </a:lnTo>
                  <a:lnTo>
                    <a:pt x="915" y="349"/>
                  </a:lnTo>
                  <a:lnTo>
                    <a:pt x="915" y="349"/>
                  </a:lnTo>
                  <a:lnTo>
                    <a:pt x="915" y="349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3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1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4"/>
                  </a:lnTo>
                  <a:lnTo>
                    <a:pt x="915" y="356"/>
                  </a:lnTo>
                  <a:lnTo>
                    <a:pt x="915" y="356"/>
                  </a:lnTo>
                  <a:lnTo>
                    <a:pt x="913" y="356"/>
                  </a:lnTo>
                  <a:lnTo>
                    <a:pt x="913" y="356"/>
                  </a:lnTo>
                  <a:lnTo>
                    <a:pt x="913" y="356"/>
                  </a:lnTo>
                  <a:lnTo>
                    <a:pt x="913" y="356"/>
                  </a:lnTo>
                  <a:lnTo>
                    <a:pt x="913" y="356"/>
                  </a:lnTo>
                  <a:lnTo>
                    <a:pt x="910" y="356"/>
                  </a:lnTo>
                  <a:lnTo>
                    <a:pt x="910" y="356"/>
                  </a:lnTo>
                  <a:lnTo>
                    <a:pt x="910" y="356"/>
                  </a:lnTo>
                  <a:lnTo>
                    <a:pt x="913" y="356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3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10" y="354"/>
                  </a:lnTo>
                  <a:lnTo>
                    <a:pt x="908" y="354"/>
                  </a:lnTo>
                  <a:lnTo>
                    <a:pt x="908" y="354"/>
                  </a:lnTo>
                  <a:lnTo>
                    <a:pt x="908" y="354"/>
                  </a:lnTo>
                  <a:lnTo>
                    <a:pt x="908" y="354"/>
                  </a:lnTo>
                  <a:lnTo>
                    <a:pt x="908" y="354"/>
                  </a:lnTo>
                  <a:lnTo>
                    <a:pt x="908" y="354"/>
                  </a:lnTo>
                  <a:lnTo>
                    <a:pt x="908" y="356"/>
                  </a:lnTo>
                  <a:lnTo>
                    <a:pt x="910" y="356"/>
                  </a:lnTo>
                  <a:lnTo>
                    <a:pt x="910" y="356"/>
                  </a:lnTo>
                  <a:lnTo>
                    <a:pt x="908" y="356"/>
                  </a:lnTo>
                  <a:lnTo>
                    <a:pt x="908" y="356"/>
                  </a:lnTo>
                  <a:lnTo>
                    <a:pt x="908" y="356"/>
                  </a:lnTo>
                  <a:lnTo>
                    <a:pt x="908" y="356"/>
                  </a:lnTo>
                  <a:lnTo>
                    <a:pt x="908" y="356"/>
                  </a:lnTo>
                  <a:lnTo>
                    <a:pt x="910" y="358"/>
                  </a:lnTo>
                  <a:lnTo>
                    <a:pt x="910" y="358"/>
                  </a:lnTo>
                  <a:lnTo>
                    <a:pt x="910" y="358"/>
                  </a:lnTo>
                  <a:lnTo>
                    <a:pt x="910" y="358"/>
                  </a:lnTo>
                  <a:lnTo>
                    <a:pt x="910" y="358"/>
                  </a:lnTo>
                  <a:lnTo>
                    <a:pt x="910" y="358"/>
                  </a:lnTo>
                  <a:lnTo>
                    <a:pt x="908" y="358"/>
                  </a:lnTo>
                  <a:lnTo>
                    <a:pt x="908" y="358"/>
                  </a:lnTo>
                  <a:lnTo>
                    <a:pt x="908" y="358"/>
                  </a:lnTo>
                  <a:lnTo>
                    <a:pt x="906" y="358"/>
                  </a:lnTo>
                  <a:lnTo>
                    <a:pt x="906" y="358"/>
                  </a:lnTo>
                  <a:lnTo>
                    <a:pt x="908" y="358"/>
                  </a:lnTo>
                  <a:lnTo>
                    <a:pt x="908" y="358"/>
                  </a:lnTo>
                  <a:lnTo>
                    <a:pt x="908" y="358"/>
                  </a:lnTo>
                  <a:lnTo>
                    <a:pt x="906" y="360"/>
                  </a:lnTo>
                  <a:lnTo>
                    <a:pt x="906" y="360"/>
                  </a:lnTo>
                  <a:lnTo>
                    <a:pt x="906" y="360"/>
                  </a:lnTo>
                  <a:lnTo>
                    <a:pt x="906" y="360"/>
                  </a:lnTo>
                  <a:lnTo>
                    <a:pt x="906" y="360"/>
                  </a:lnTo>
                  <a:lnTo>
                    <a:pt x="906" y="360"/>
                  </a:lnTo>
                  <a:lnTo>
                    <a:pt x="906" y="360"/>
                  </a:lnTo>
                  <a:lnTo>
                    <a:pt x="904" y="360"/>
                  </a:lnTo>
                  <a:lnTo>
                    <a:pt x="904" y="360"/>
                  </a:lnTo>
                  <a:lnTo>
                    <a:pt x="904" y="360"/>
                  </a:lnTo>
                  <a:lnTo>
                    <a:pt x="904" y="362"/>
                  </a:lnTo>
                  <a:lnTo>
                    <a:pt x="904" y="362"/>
                  </a:lnTo>
                  <a:lnTo>
                    <a:pt x="901" y="362"/>
                  </a:lnTo>
                  <a:lnTo>
                    <a:pt x="901" y="362"/>
                  </a:lnTo>
                  <a:lnTo>
                    <a:pt x="901" y="362"/>
                  </a:lnTo>
                  <a:lnTo>
                    <a:pt x="904" y="360"/>
                  </a:lnTo>
                  <a:lnTo>
                    <a:pt x="904" y="360"/>
                  </a:lnTo>
                  <a:lnTo>
                    <a:pt x="904" y="360"/>
                  </a:lnTo>
                  <a:lnTo>
                    <a:pt x="901" y="360"/>
                  </a:lnTo>
                  <a:lnTo>
                    <a:pt x="901" y="360"/>
                  </a:lnTo>
                  <a:lnTo>
                    <a:pt x="901" y="360"/>
                  </a:lnTo>
                  <a:lnTo>
                    <a:pt x="901" y="360"/>
                  </a:lnTo>
                  <a:lnTo>
                    <a:pt x="901" y="360"/>
                  </a:lnTo>
                  <a:lnTo>
                    <a:pt x="901" y="362"/>
                  </a:lnTo>
                  <a:lnTo>
                    <a:pt x="899" y="362"/>
                  </a:lnTo>
                  <a:lnTo>
                    <a:pt x="899" y="362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9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5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0"/>
                  </a:lnTo>
                  <a:lnTo>
                    <a:pt x="897" y="362"/>
                  </a:lnTo>
                  <a:lnTo>
                    <a:pt x="897" y="362"/>
                  </a:lnTo>
                  <a:lnTo>
                    <a:pt x="897" y="362"/>
                  </a:lnTo>
                  <a:lnTo>
                    <a:pt x="897" y="362"/>
                  </a:lnTo>
                  <a:lnTo>
                    <a:pt x="895" y="362"/>
                  </a:lnTo>
                  <a:lnTo>
                    <a:pt x="895" y="362"/>
                  </a:lnTo>
                  <a:lnTo>
                    <a:pt x="895" y="362"/>
                  </a:lnTo>
                  <a:lnTo>
                    <a:pt x="895" y="362"/>
                  </a:lnTo>
                  <a:lnTo>
                    <a:pt x="890" y="362"/>
                  </a:lnTo>
                  <a:lnTo>
                    <a:pt x="890" y="362"/>
                  </a:lnTo>
                  <a:lnTo>
                    <a:pt x="890" y="362"/>
                  </a:lnTo>
                  <a:lnTo>
                    <a:pt x="890" y="362"/>
                  </a:lnTo>
                  <a:lnTo>
                    <a:pt x="890" y="362"/>
                  </a:lnTo>
                  <a:lnTo>
                    <a:pt x="888" y="362"/>
                  </a:lnTo>
                  <a:lnTo>
                    <a:pt x="888" y="360"/>
                  </a:lnTo>
                  <a:lnTo>
                    <a:pt x="888" y="360"/>
                  </a:lnTo>
                  <a:lnTo>
                    <a:pt x="888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3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6" y="360"/>
                  </a:lnTo>
                  <a:lnTo>
                    <a:pt x="883" y="360"/>
                  </a:lnTo>
                  <a:lnTo>
                    <a:pt x="883" y="360"/>
                  </a:lnTo>
                  <a:lnTo>
                    <a:pt x="883" y="360"/>
                  </a:lnTo>
                  <a:lnTo>
                    <a:pt x="883" y="360"/>
                  </a:lnTo>
                  <a:lnTo>
                    <a:pt x="881" y="360"/>
                  </a:lnTo>
                  <a:lnTo>
                    <a:pt x="881" y="360"/>
                  </a:lnTo>
                  <a:lnTo>
                    <a:pt x="881" y="360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81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9" y="358"/>
                  </a:lnTo>
                  <a:lnTo>
                    <a:pt x="879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7" y="358"/>
                  </a:lnTo>
                  <a:lnTo>
                    <a:pt x="874" y="358"/>
                  </a:lnTo>
                  <a:lnTo>
                    <a:pt x="874" y="358"/>
                  </a:lnTo>
                  <a:lnTo>
                    <a:pt x="874" y="358"/>
                  </a:lnTo>
                  <a:lnTo>
                    <a:pt x="874" y="358"/>
                  </a:lnTo>
                  <a:lnTo>
                    <a:pt x="874" y="358"/>
                  </a:lnTo>
                  <a:lnTo>
                    <a:pt x="874" y="358"/>
                  </a:lnTo>
                  <a:lnTo>
                    <a:pt x="874" y="358"/>
                  </a:lnTo>
                  <a:lnTo>
                    <a:pt x="872" y="358"/>
                  </a:lnTo>
                  <a:lnTo>
                    <a:pt x="872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65" y="356"/>
                  </a:lnTo>
                  <a:lnTo>
                    <a:pt x="865" y="356"/>
                  </a:lnTo>
                  <a:lnTo>
                    <a:pt x="865" y="356"/>
                  </a:lnTo>
                  <a:lnTo>
                    <a:pt x="865" y="356"/>
                  </a:lnTo>
                  <a:lnTo>
                    <a:pt x="865" y="356"/>
                  </a:lnTo>
                  <a:lnTo>
                    <a:pt x="865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3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1" y="354"/>
                  </a:lnTo>
                  <a:lnTo>
                    <a:pt x="861" y="354"/>
                  </a:lnTo>
                  <a:lnTo>
                    <a:pt x="859" y="354"/>
                  </a:lnTo>
                  <a:lnTo>
                    <a:pt x="859" y="354"/>
                  </a:lnTo>
                  <a:lnTo>
                    <a:pt x="856" y="354"/>
                  </a:lnTo>
                  <a:lnTo>
                    <a:pt x="856" y="354"/>
                  </a:lnTo>
                  <a:lnTo>
                    <a:pt x="856" y="354"/>
                  </a:lnTo>
                  <a:lnTo>
                    <a:pt x="856" y="354"/>
                  </a:lnTo>
                  <a:lnTo>
                    <a:pt x="856" y="351"/>
                  </a:lnTo>
                  <a:lnTo>
                    <a:pt x="856" y="351"/>
                  </a:lnTo>
                  <a:lnTo>
                    <a:pt x="856" y="351"/>
                  </a:lnTo>
                  <a:lnTo>
                    <a:pt x="854" y="351"/>
                  </a:lnTo>
                  <a:lnTo>
                    <a:pt x="856" y="351"/>
                  </a:lnTo>
                  <a:lnTo>
                    <a:pt x="856" y="351"/>
                  </a:lnTo>
                  <a:lnTo>
                    <a:pt x="856" y="349"/>
                  </a:lnTo>
                  <a:lnTo>
                    <a:pt x="856" y="349"/>
                  </a:lnTo>
                  <a:lnTo>
                    <a:pt x="854" y="349"/>
                  </a:lnTo>
                  <a:lnTo>
                    <a:pt x="854" y="349"/>
                  </a:lnTo>
                  <a:lnTo>
                    <a:pt x="854" y="349"/>
                  </a:lnTo>
                  <a:lnTo>
                    <a:pt x="854" y="349"/>
                  </a:lnTo>
                  <a:lnTo>
                    <a:pt x="854" y="349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1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4" y="354"/>
                  </a:lnTo>
                  <a:lnTo>
                    <a:pt x="852" y="354"/>
                  </a:lnTo>
                  <a:lnTo>
                    <a:pt x="852" y="354"/>
                  </a:lnTo>
                  <a:lnTo>
                    <a:pt x="852" y="354"/>
                  </a:lnTo>
                  <a:lnTo>
                    <a:pt x="852" y="354"/>
                  </a:lnTo>
                  <a:lnTo>
                    <a:pt x="850" y="354"/>
                  </a:lnTo>
                  <a:lnTo>
                    <a:pt x="852" y="354"/>
                  </a:lnTo>
                  <a:lnTo>
                    <a:pt x="852" y="354"/>
                  </a:lnTo>
                  <a:lnTo>
                    <a:pt x="852" y="354"/>
                  </a:lnTo>
                  <a:lnTo>
                    <a:pt x="852" y="354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4" y="356"/>
                  </a:lnTo>
                  <a:lnTo>
                    <a:pt x="854" y="358"/>
                  </a:lnTo>
                  <a:lnTo>
                    <a:pt x="854" y="358"/>
                  </a:lnTo>
                  <a:lnTo>
                    <a:pt x="856" y="358"/>
                  </a:lnTo>
                  <a:lnTo>
                    <a:pt x="856" y="358"/>
                  </a:lnTo>
                  <a:lnTo>
                    <a:pt x="854" y="358"/>
                  </a:lnTo>
                  <a:lnTo>
                    <a:pt x="854" y="358"/>
                  </a:lnTo>
                  <a:lnTo>
                    <a:pt x="854" y="356"/>
                  </a:lnTo>
                  <a:lnTo>
                    <a:pt x="856" y="356"/>
                  </a:lnTo>
                  <a:lnTo>
                    <a:pt x="856" y="358"/>
                  </a:lnTo>
                  <a:lnTo>
                    <a:pt x="856" y="358"/>
                  </a:lnTo>
                  <a:lnTo>
                    <a:pt x="859" y="358"/>
                  </a:lnTo>
                  <a:lnTo>
                    <a:pt x="859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6"/>
                  </a:lnTo>
                  <a:lnTo>
                    <a:pt x="856" y="354"/>
                  </a:lnTo>
                  <a:lnTo>
                    <a:pt x="856" y="354"/>
                  </a:lnTo>
                  <a:lnTo>
                    <a:pt x="856" y="354"/>
                  </a:lnTo>
                  <a:lnTo>
                    <a:pt x="859" y="354"/>
                  </a:lnTo>
                  <a:lnTo>
                    <a:pt x="859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1" y="356"/>
                  </a:lnTo>
                  <a:lnTo>
                    <a:pt x="863" y="358"/>
                  </a:lnTo>
                  <a:lnTo>
                    <a:pt x="865" y="358"/>
                  </a:lnTo>
                  <a:lnTo>
                    <a:pt x="865" y="358"/>
                  </a:lnTo>
                  <a:lnTo>
                    <a:pt x="868" y="358"/>
                  </a:lnTo>
                  <a:lnTo>
                    <a:pt x="868" y="358"/>
                  </a:lnTo>
                  <a:lnTo>
                    <a:pt x="868" y="358"/>
                  </a:lnTo>
                  <a:lnTo>
                    <a:pt x="868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0" y="358"/>
                  </a:lnTo>
                  <a:lnTo>
                    <a:pt x="872" y="358"/>
                  </a:lnTo>
                  <a:lnTo>
                    <a:pt x="872" y="358"/>
                  </a:lnTo>
                  <a:lnTo>
                    <a:pt x="872" y="358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4" y="360"/>
                  </a:lnTo>
                  <a:lnTo>
                    <a:pt x="874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0" y="362"/>
                  </a:lnTo>
                  <a:lnTo>
                    <a:pt x="870" y="362"/>
                  </a:lnTo>
                  <a:lnTo>
                    <a:pt x="870" y="360"/>
                  </a:lnTo>
                  <a:lnTo>
                    <a:pt x="870" y="360"/>
                  </a:lnTo>
                  <a:lnTo>
                    <a:pt x="870" y="360"/>
                  </a:lnTo>
                  <a:lnTo>
                    <a:pt x="868" y="360"/>
                  </a:lnTo>
                  <a:lnTo>
                    <a:pt x="868" y="360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5" y="362"/>
                  </a:lnTo>
                  <a:lnTo>
                    <a:pt x="863" y="362"/>
                  </a:lnTo>
                  <a:lnTo>
                    <a:pt x="865" y="362"/>
                  </a:lnTo>
                  <a:lnTo>
                    <a:pt x="865" y="362"/>
                  </a:lnTo>
                  <a:lnTo>
                    <a:pt x="865" y="362"/>
                  </a:lnTo>
                  <a:lnTo>
                    <a:pt x="865" y="362"/>
                  </a:lnTo>
                  <a:lnTo>
                    <a:pt x="865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68" y="362"/>
                  </a:lnTo>
                  <a:lnTo>
                    <a:pt x="870" y="362"/>
                  </a:lnTo>
                  <a:lnTo>
                    <a:pt x="870" y="362"/>
                  </a:lnTo>
                  <a:lnTo>
                    <a:pt x="870" y="362"/>
                  </a:lnTo>
                  <a:lnTo>
                    <a:pt x="870" y="362"/>
                  </a:lnTo>
                  <a:lnTo>
                    <a:pt x="870" y="362"/>
                  </a:lnTo>
                  <a:lnTo>
                    <a:pt x="872" y="362"/>
                  </a:lnTo>
                  <a:lnTo>
                    <a:pt x="872" y="362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2" y="360"/>
                  </a:lnTo>
                  <a:lnTo>
                    <a:pt x="874" y="360"/>
                  </a:lnTo>
                  <a:lnTo>
                    <a:pt x="874" y="360"/>
                  </a:lnTo>
                  <a:lnTo>
                    <a:pt x="874" y="360"/>
                  </a:lnTo>
                  <a:lnTo>
                    <a:pt x="877" y="360"/>
                  </a:lnTo>
                  <a:lnTo>
                    <a:pt x="877" y="360"/>
                  </a:lnTo>
                  <a:lnTo>
                    <a:pt x="879" y="360"/>
                  </a:lnTo>
                  <a:lnTo>
                    <a:pt x="879" y="360"/>
                  </a:lnTo>
                  <a:lnTo>
                    <a:pt x="879" y="360"/>
                  </a:lnTo>
                  <a:lnTo>
                    <a:pt x="881" y="360"/>
                  </a:lnTo>
                  <a:lnTo>
                    <a:pt x="881" y="360"/>
                  </a:lnTo>
                  <a:lnTo>
                    <a:pt x="881" y="360"/>
                  </a:lnTo>
                  <a:lnTo>
                    <a:pt x="881" y="360"/>
                  </a:lnTo>
                  <a:lnTo>
                    <a:pt x="881" y="360"/>
                  </a:lnTo>
                  <a:lnTo>
                    <a:pt x="881" y="362"/>
                  </a:lnTo>
                  <a:lnTo>
                    <a:pt x="879" y="362"/>
                  </a:lnTo>
                  <a:lnTo>
                    <a:pt x="879" y="362"/>
                  </a:lnTo>
                  <a:lnTo>
                    <a:pt x="879" y="362"/>
                  </a:lnTo>
                  <a:lnTo>
                    <a:pt x="879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1" y="362"/>
                  </a:lnTo>
                  <a:lnTo>
                    <a:pt x="883" y="362"/>
                  </a:lnTo>
                  <a:lnTo>
                    <a:pt x="883" y="365"/>
                  </a:lnTo>
                  <a:lnTo>
                    <a:pt x="881" y="365"/>
                  </a:lnTo>
                  <a:lnTo>
                    <a:pt x="881" y="365"/>
                  </a:lnTo>
                  <a:lnTo>
                    <a:pt x="881" y="365"/>
                  </a:lnTo>
                  <a:lnTo>
                    <a:pt x="881" y="365"/>
                  </a:lnTo>
                  <a:lnTo>
                    <a:pt x="883" y="365"/>
                  </a:lnTo>
                  <a:lnTo>
                    <a:pt x="883" y="365"/>
                  </a:lnTo>
                  <a:lnTo>
                    <a:pt x="883" y="365"/>
                  </a:lnTo>
                  <a:lnTo>
                    <a:pt x="886" y="365"/>
                  </a:lnTo>
                  <a:lnTo>
                    <a:pt x="886" y="365"/>
                  </a:lnTo>
                  <a:lnTo>
                    <a:pt x="886" y="365"/>
                  </a:lnTo>
                  <a:lnTo>
                    <a:pt x="886" y="365"/>
                  </a:lnTo>
                  <a:lnTo>
                    <a:pt x="886" y="365"/>
                  </a:lnTo>
                  <a:lnTo>
                    <a:pt x="888" y="365"/>
                  </a:lnTo>
                  <a:lnTo>
                    <a:pt x="888" y="365"/>
                  </a:lnTo>
                  <a:lnTo>
                    <a:pt x="888" y="365"/>
                  </a:lnTo>
                  <a:lnTo>
                    <a:pt x="888" y="365"/>
                  </a:lnTo>
                  <a:lnTo>
                    <a:pt x="888" y="365"/>
                  </a:lnTo>
                  <a:lnTo>
                    <a:pt x="888" y="365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88" y="365"/>
                  </a:lnTo>
                  <a:lnTo>
                    <a:pt x="888" y="365"/>
                  </a:lnTo>
                  <a:lnTo>
                    <a:pt x="888" y="367"/>
                  </a:lnTo>
                  <a:lnTo>
                    <a:pt x="888" y="367"/>
                  </a:lnTo>
                  <a:lnTo>
                    <a:pt x="888" y="367"/>
                  </a:lnTo>
                  <a:lnTo>
                    <a:pt x="888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7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90" y="369"/>
                  </a:lnTo>
                  <a:lnTo>
                    <a:pt x="888" y="369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1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8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4"/>
                  </a:lnTo>
                  <a:lnTo>
                    <a:pt x="886" y="376"/>
                  </a:lnTo>
                  <a:lnTo>
                    <a:pt x="886" y="376"/>
                  </a:lnTo>
                  <a:lnTo>
                    <a:pt x="886" y="376"/>
                  </a:lnTo>
                  <a:lnTo>
                    <a:pt x="886" y="376"/>
                  </a:lnTo>
                  <a:lnTo>
                    <a:pt x="883" y="376"/>
                  </a:lnTo>
                  <a:lnTo>
                    <a:pt x="883" y="376"/>
                  </a:lnTo>
                  <a:lnTo>
                    <a:pt x="883" y="376"/>
                  </a:lnTo>
                  <a:lnTo>
                    <a:pt x="883" y="376"/>
                  </a:lnTo>
                  <a:lnTo>
                    <a:pt x="883" y="376"/>
                  </a:lnTo>
                  <a:lnTo>
                    <a:pt x="879" y="376"/>
                  </a:lnTo>
                  <a:lnTo>
                    <a:pt x="879" y="376"/>
                  </a:lnTo>
                  <a:lnTo>
                    <a:pt x="879" y="376"/>
                  </a:lnTo>
                  <a:lnTo>
                    <a:pt x="877" y="376"/>
                  </a:lnTo>
                  <a:lnTo>
                    <a:pt x="877" y="376"/>
                  </a:lnTo>
                  <a:lnTo>
                    <a:pt x="877" y="376"/>
                  </a:lnTo>
                  <a:lnTo>
                    <a:pt x="877" y="376"/>
                  </a:lnTo>
                  <a:lnTo>
                    <a:pt x="877" y="378"/>
                  </a:lnTo>
                  <a:lnTo>
                    <a:pt x="874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2" y="378"/>
                  </a:lnTo>
                  <a:lnTo>
                    <a:pt x="870" y="378"/>
                  </a:lnTo>
                  <a:lnTo>
                    <a:pt x="868" y="378"/>
                  </a:lnTo>
                  <a:lnTo>
                    <a:pt x="868" y="378"/>
                  </a:lnTo>
                  <a:lnTo>
                    <a:pt x="865" y="378"/>
                  </a:lnTo>
                  <a:lnTo>
                    <a:pt x="865" y="378"/>
                  </a:lnTo>
                  <a:lnTo>
                    <a:pt x="863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61" y="378"/>
                  </a:lnTo>
                  <a:lnTo>
                    <a:pt x="859" y="378"/>
                  </a:lnTo>
                  <a:lnTo>
                    <a:pt x="859" y="378"/>
                  </a:lnTo>
                  <a:lnTo>
                    <a:pt x="859" y="378"/>
                  </a:lnTo>
                  <a:lnTo>
                    <a:pt x="856" y="378"/>
                  </a:lnTo>
                  <a:lnTo>
                    <a:pt x="856" y="378"/>
                  </a:lnTo>
                  <a:lnTo>
                    <a:pt x="854" y="378"/>
                  </a:lnTo>
                  <a:lnTo>
                    <a:pt x="854" y="378"/>
                  </a:lnTo>
                  <a:lnTo>
                    <a:pt x="854" y="378"/>
                  </a:lnTo>
                  <a:lnTo>
                    <a:pt x="854" y="378"/>
                  </a:lnTo>
                  <a:lnTo>
                    <a:pt x="854" y="380"/>
                  </a:lnTo>
                  <a:lnTo>
                    <a:pt x="854" y="380"/>
                  </a:lnTo>
                  <a:lnTo>
                    <a:pt x="854" y="380"/>
                  </a:lnTo>
                  <a:lnTo>
                    <a:pt x="854" y="380"/>
                  </a:lnTo>
                  <a:lnTo>
                    <a:pt x="854" y="380"/>
                  </a:lnTo>
                  <a:lnTo>
                    <a:pt x="856" y="380"/>
                  </a:lnTo>
                  <a:lnTo>
                    <a:pt x="856" y="380"/>
                  </a:lnTo>
                  <a:lnTo>
                    <a:pt x="856" y="380"/>
                  </a:lnTo>
                  <a:lnTo>
                    <a:pt x="856" y="380"/>
                  </a:lnTo>
                  <a:lnTo>
                    <a:pt x="856" y="380"/>
                  </a:lnTo>
                  <a:lnTo>
                    <a:pt x="854" y="380"/>
                  </a:lnTo>
                  <a:lnTo>
                    <a:pt x="854" y="380"/>
                  </a:lnTo>
                  <a:lnTo>
                    <a:pt x="856" y="383"/>
                  </a:lnTo>
                  <a:lnTo>
                    <a:pt x="861" y="383"/>
                  </a:lnTo>
                  <a:lnTo>
                    <a:pt x="861" y="383"/>
                  </a:lnTo>
                  <a:lnTo>
                    <a:pt x="861" y="383"/>
                  </a:lnTo>
                  <a:lnTo>
                    <a:pt x="861" y="383"/>
                  </a:lnTo>
                  <a:lnTo>
                    <a:pt x="861" y="383"/>
                  </a:lnTo>
                  <a:lnTo>
                    <a:pt x="861" y="383"/>
                  </a:lnTo>
                  <a:lnTo>
                    <a:pt x="859" y="383"/>
                  </a:lnTo>
                  <a:lnTo>
                    <a:pt x="859" y="385"/>
                  </a:lnTo>
                  <a:lnTo>
                    <a:pt x="859" y="385"/>
                  </a:lnTo>
                  <a:lnTo>
                    <a:pt x="859" y="385"/>
                  </a:lnTo>
                  <a:lnTo>
                    <a:pt x="859" y="385"/>
                  </a:lnTo>
                  <a:lnTo>
                    <a:pt x="859" y="385"/>
                  </a:lnTo>
                  <a:lnTo>
                    <a:pt x="859" y="385"/>
                  </a:lnTo>
                  <a:lnTo>
                    <a:pt x="856" y="385"/>
                  </a:lnTo>
                  <a:lnTo>
                    <a:pt x="856" y="385"/>
                  </a:lnTo>
                  <a:lnTo>
                    <a:pt x="854" y="385"/>
                  </a:lnTo>
                  <a:lnTo>
                    <a:pt x="854" y="385"/>
                  </a:lnTo>
                  <a:lnTo>
                    <a:pt x="854" y="385"/>
                  </a:lnTo>
                  <a:lnTo>
                    <a:pt x="854" y="385"/>
                  </a:lnTo>
                  <a:lnTo>
                    <a:pt x="856" y="383"/>
                  </a:lnTo>
                  <a:lnTo>
                    <a:pt x="856" y="383"/>
                  </a:lnTo>
                  <a:lnTo>
                    <a:pt x="856" y="383"/>
                  </a:lnTo>
                  <a:lnTo>
                    <a:pt x="856" y="383"/>
                  </a:lnTo>
                  <a:lnTo>
                    <a:pt x="854" y="383"/>
                  </a:lnTo>
                  <a:lnTo>
                    <a:pt x="854" y="383"/>
                  </a:lnTo>
                  <a:lnTo>
                    <a:pt x="854" y="383"/>
                  </a:lnTo>
                  <a:lnTo>
                    <a:pt x="854" y="383"/>
                  </a:lnTo>
                  <a:lnTo>
                    <a:pt x="854" y="385"/>
                  </a:lnTo>
                  <a:lnTo>
                    <a:pt x="854" y="385"/>
                  </a:lnTo>
                  <a:lnTo>
                    <a:pt x="852" y="385"/>
                  </a:lnTo>
                  <a:lnTo>
                    <a:pt x="852" y="385"/>
                  </a:lnTo>
                  <a:lnTo>
                    <a:pt x="852" y="385"/>
                  </a:lnTo>
                  <a:lnTo>
                    <a:pt x="852" y="385"/>
                  </a:lnTo>
                  <a:lnTo>
                    <a:pt x="852" y="385"/>
                  </a:lnTo>
                  <a:lnTo>
                    <a:pt x="852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47" y="383"/>
                  </a:lnTo>
                  <a:lnTo>
                    <a:pt x="847" y="383"/>
                  </a:lnTo>
                  <a:lnTo>
                    <a:pt x="850" y="383"/>
                  </a:lnTo>
                  <a:lnTo>
                    <a:pt x="850" y="383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50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5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7" y="387"/>
                  </a:lnTo>
                  <a:lnTo>
                    <a:pt x="845" y="387"/>
                  </a:lnTo>
                  <a:lnTo>
                    <a:pt x="845" y="387"/>
                  </a:lnTo>
                  <a:lnTo>
                    <a:pt x="845" y="387"/>
                  </a:lnTo>
                  <a:lnTo>
                    <a:pt x="845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7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5" y="389"/>
                  </a:lnTo>
                  <a:lnTo>
                    <a:pt x="845" y="389"/>
                  </a:lnTo>
                  <a:lnTo>
                    <a:pt x="845" y="389"/>
                  </a:lnTo>
                  <a:lnTo>
                    <a:pt x="845" y="389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4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1" y="392"/>
                  </a:lnTo>
                  <a:lnTo>
                    <a:pt x="841" y="392"/>
                  </a:lnTo>
                  <a:lnTo>
                    <a:pt x="841" y="392"/>
                  </a:lnTo>
                  <a:lnTo>
                    <a:pt x="841" y="392"/>
                  </a:lnTo>
                  <a:lnTo>
                    <a:pt x="843" y="392"/>
                  </a:lnTo>
                  <a:lnTo>
                    <a:pt x="843" y="392"/>
                  </a:lnTo>
                  <a:lnTo>
                    <a:pt x="843" y="389"/>
                  </a:lnTo>
                  <a:lnTo>
                    <a:pt x="843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41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6" y="389"/>
                  </a:lnTo>
                  <a:lnTo>
                    <a:pt x="834" y="387"/>
                  </a:lnTo>
                  <a:lnTo>
                    <a:pt x="836" y="389"/>
                  </a:lnTo>
                  <a:lnTo>
                    <a:pt x="836" y="389"/>
                  </a:lnTo>
                  <a:lnTo>
                    <a:pt x="836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41" y="392"/>
                  </a:lnTo>
                  <a:lnTo>
                    <a:pt x="841" y="392"/>
                  </a:lnTo>
                  <a:lnTo>
                    <a:pt x="841" y="392"/>
                  </a:lnTo>
                  <a:lnTo>
                    <a:pt x="841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8" y="392"/>
                  </a:lnTo>
                  <a:lnTo>
                    <a:pt x="836" y="392"/>
                  </a:lnTo>
                  <a:lnTo>
                    <a:pt x="836" y="392"/>
                  </a:lnTo>
                  <a:lnTo>
                    <a:pt x="836" y="392"/>
                  </a:lnTo>
                  <a:lnTo>
                    <a:pt x="836" y="392"/>
                  </a:lnTo>
                  <a:lnTo>
                    <a:pt x="836" y="392"/>
                  </a:lnTo>
                  <a:lnTo>
                    <a:pt x="836" y="392"/>
                  </a:lnTo>
                  <a:lnTo>
                    <a:pt x="836" y="392"/>
                  </a:lnTo>
                  <a:lnTo>
                    <a:pt x="834" y="392"/>
                  </a:lnTo>
                  <a:lnTo>
                    <a:pt x="834" y="392"/>
                  </a:lnTo>
                  <a:lnTo>
                    <a:pt x="834" y="392"/>
                  </a:lnTo>
                  <a:lnTo>
                    <a:pt x="834" y="392"/>
                  </a:lnTo>
                  <a:lnTo>
                    <a:pt x="834" y="392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6" y="394"/>
                  </a:lnTo>
                  <a:lnTo>
                    <a:pt x="836" y="394"/>
                  </a:lnTo>
                  <a:lnTo>
                    <a:pt x="836" y="394"/>
                  </a:lnTo>
                  <a:lnTo>
                    <a:pt x="836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2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4" y="394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4"/>
                  </a:lnTo>
                  <a:lnTo>
                    <a:pt x="832" y="394"/>
                  </a:lnTo>
                  <a:lnTo>
                    <a:pt x="832" y="394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32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4"/>
                  </a:lnTo>
                  <a:lnTo>
                    <a:pt x="829" y="394"/>
                  </a:lnTo>
                  <a:lnTo>
                    <a:pt x="827" y="394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7" y="396"/>
                  </a:lnTo>
                  <a:lnTo>
                    <a:pt x="827" y="396"/>
                  </a:lnTo>
                  <a:lnTo>
                    <a:pt x="829" y="396"/>
                  </a:lnTo>
                  <a:lnTo>
                    <a:pt x="829" y="396"/>
                  </a:lnTo>
                  <a:lnTo>
                    <a:pt x="827" y="396"/>
                  </a:lnTo>
                  <a:lnTo>
                    <a:pt x="825" y="396"/>
                  </a:lnTo>
                  <a:lnTo>
                    <a:pt x="827" y="398"/>
                  </a:lnTo>
                  <a:lnTo>
                    <a:pt x="827" y="398"/>
                  </a:lnTo>
                  <a:lnTo>
                    <a:pt x="827" y="398"/>
                  </a:lnTo>
                  <a:lnTo>
                    <a:pt x="827" y="398"/>
                  </a:lnTo>
                  <a:lnTo>
                    <a:pt x="827" y="398"/>
                  </a:lnTo>
                  <a:lnTo>
                    <a:pt x="827" y="398"/>
                  </a:lnTo>
                  <a:lnTo>
                    <a:pt x="827" y="398"/>
                  </a:lnTo>
                  <a:lnTo>
                    <a:pt x="825" y="398"/>
                  </a:lnTo>
                  <a:lnTo>
                    <a:pt x="825" y="398"/>
                  </a:lnTo>
                  <a:lnTo>
                    <a:pt x="823" y="396"/>
                  </a:lnTo>
                  <a:lnTo>
                    <a:pt x="823" y="396"/>
                  </a:lnTo>
                  <a:lnTo>
                    <a:pt x="823" y="398"/>
                  </a:lnTo>
                  <a:lnTo>
                    <a:pt x="823" y="398"/>
                  </a:lnTo>
                  <a:lnTo>
                    <a:pt x="823" y="398"/>
                  </a:lnTo>
                  <a:lnTo>
                    <a:pt x="823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3" y="398"/>
                  </a:lnTo>
                  <a:lnTo>
                    <a:pt x="823" y="398"/>
                  </a:lnTo>
                  <a:lnTo>
                    <a:pt x="823" y="398"/>
                  </a:lnTo>
                  <a:lnTo>
                    <a:pt x="823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5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1"/>
                  </a:lnTo>
                  <a:lnTo>
                    <a:pt x="823" y="403"/>
                  </a:lnTo>
                  <a:lnTo>
                    <a:pt x="823" y="403"/>
                  </a:lnTo>
                  <a:lnTo>
                    <a:pt x="823" y="401"/>
                  </a:lnTo>
                  <a:lnTo>
                    <a:pt x="823" y="403"/>
                  </a:lnTo>
                  <a:lnTo>
                    <a:pt x="820" y="403"/>
                  </a:lnTo>
                  <a:lnTo>
                    <a:pt x="820" y="403"/>
                  </a:lnTo>
                  <a:lnTo>
                    <a:pt x="820" y="403"/>
                  </a:lnTo>
                  <a:lnTo>
                    <a:pt x="820" y="403"/>
                  </a:lnTo>
                  <a:lnTo>
                    <a:pt x="816" y="405"/>
                  </a:lnTo>
                  <a:lnTo>
                    <a:pt x="816" y="405"/>
                  </a:lnTo>
                  <a:lnTo>
                    <a:pt x="814" y="405"/>
                  </a:lnTo>
                  <a:lnTo>
                    <a:pt x="814" y="405"/>
                  </a:lnTo>
                  <a:lnTo>
                    <a:pt x="814" y="405"/>
                  </a:lnTo>
                  <a:lnTo>
                    <a:pt x="814" y="405"/>
                  </a:lnTo>
                  <a:lnTo>
                    <a:pt x="814" y="405"/>
                  </a:lnTo>
                  <a:lnTo>
                    <a:pt x="814" y="405"/>
                  </a:lnTo>
                  <a:lnTo>
                    <a:pt x="811" y="405"/>
                  </a:lnTo>
                  <a:lnTo>
                    <a:pt x="811" y="407"/>
                  </a:lnTo>
                  <a:lnTo>
                    <a:pt x="811" y="407"/>
                  </a:lnTo>
                  <a:lnTo>
                    <a:pt x="811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07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7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9" y="410"/>
                  </a:lnTo>
                  <a:lnTo>
                    <a:pt x="807" y="412"/>
                  </a:lnTo>
                  <a:lnTo>
                    <a:pt x="807" y="412"/>
                  </a:lnTo>
                  <a:lnTo>
                    <a:pt x="807" y="412"/>
                  </a:lnTo>
                  <a:lnTo>
                    <a:pt x="805" y="410"/>
                  </a:lnTo>
                  <a:lnTo>
                    <a:pt x="805" y="410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2"/>
                  </a:lnTo>
                  <a:lnTo>
                    <a:pt x="805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4"/>
                  </a:lnTo>
                  <a:lnTo>
                    <a:pt x="802" y="416"/>
                  </a:lnTo>
                  <a:lnTo>
                    <a:pt x="802" y="416"/>
                  </a:lnTo>
                  <a:lnTo>
                    <a:pt x="802" y="416"/>
                  </a:lnTo>
                  <a:lnTo>
                    <a:pt x="802" y="416"/>
                  </a:lnTo>
                  <a:lnTo>
                    <a:pt x="802" y="416"/>
                  </a:lnTo>
                  <a:lnTo>
                    <a:pt x="800" y="416"/>
                  </a:lnTo>
                  <a:lnTo>
                    <a:pt x="800" y="416"/>
                  </a:lnTo>
                  <a:lnTo>
                    <a:pt x="800" y="416"/>
                  </a:lnTo>
                  <a:lnTo>
                    <a:pt x="800" y="416"/>
                  </a:lnTo>
                  <a:lnTo>
                    <a:pt x="800" y="416"/>
                  </a:lnTo>
                  <a:lnTo>
                    <a:pt x="800" y="416"/>
                  </a:lnTo>
                  <a:lnTo>
                    <a:pt x="800" y="416"/>
                  </a:lnTo>
                  <a:lnTo>
                    <a:pt x="798" y="416"/>
                  </a:lnTo>
                  <a:lnTo>
                    <a:pt x="798" y="419"/>
                  </a:lnTo>
                  <a:lnTo>
                    <a:pt x="798" y="419"/>
                  </a:lnTo>
                  <a:lnTo>
                    <a:pt x="798" y="419"/>
                  </a:lnTo>
                  <a:lnTo>
                    <a:pt x="796" y="419"/>
                  </a:lnTo>
                  <a:lnTo>
                    <a:pt x="796" y="419"/>
                  </a:lnTo>
                  <a:lnTo>
                    <a:pt x="796" y="419"/>
                  </a:lnTo>
                  <a:lnTo>
                    <a:pt x="796" y="419"/>
                  </a:lnTo>
                  <a:lnTo>
                    <a:pt x="796" y="421"/>
                  </a:lnTo>
                  <a:lnTo>
                    <a:pt x="796" y="421"/>
                  </a:lnTo>
                  <a:lnTo>
                    <a:pt x="796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3" y="421"/>
                  </a:lnTo>
                  <a:lnTo>
                    <a:pt x="791" y="423"/>
                  </a:lnTo>
                  <a:lnTo>
                    <a:pt x="791" y="423"/>
                  </a:lnTo>
                  <a:lnTo>
                    <a:pt x="791" y="423"/>
                  </a:lnTo>
                  <a:lnTo>
                    <a:pt x="791" y="423"/>
                  </a:lnTo>
                  <a:lnTo>
                    <a:pt x="791" y="423"/>
                  </a:lnTo>
                  <a:lnTo>
                    <a:pt x="789" y="425"/>
                  </a:lnTo>
                  <a:lnTo>
                    <a:pt x="789" y="425"/>
                  </a:lnTo>
                  <a:lnTo>
                    <a:pt x="789" y="425"/>
                  </a:lnTo>
                  <a:lnTo>
                    <a:pt x="787" y="425"/>
                  </a:lnTo>
                  <a:lnTo>
                    <a:pt x="787" y="425"/>
                  </a:lnTo>
                  <a:lnTo>
                    <a:pt x="787" y="425"/>
                  </a:lnTo>
                  <a:lnTo>
                    <a:pt x="787" y="425"/>
                  </a:lnTo>
                  <a:lnTo>
                    <a:pt x="787" y="425"/>
                  </a:lnTo>
                  <a:lnTo>
                    <a:pt x="787" y="428"/>
                  </a:lnTo>
                  <a:lnTo>
                    <a:pt x="787" y="428"/>
                  </a:lnTo>
                  <a:lnTo>
                    <a:pt x="787" y="428"/>
                  </a:lnTo>
                  <a:lnTo>
                    <a:pt x="787" y="428"/>
                  </a:lnTo>
                  <a:lnTo>
                    <a:pt x="787" y="428"/>
                  </a:lnTo>
                  <a:lnTo>
                    <a:pt x="787" y="428"/>
                  </a:lnTo>
                  <a:lnTo>
                    <a:pt x="785" y="428"/>
                  </a:lnTo>
                  <a:lnTo>
                    <a:pt x="782" y="428"/>
                  </a:lnTo>
                  <a:lnTo>
                    <a:pt x="782" y="428"/>
                  </a:lnTo>
                  <a:lnTo>
                    <a:pt x="782" y="428"/>
                  </a:lnTo>
                  <a:lnTo>
                    <a:pt x="782" y="428"/>
                  </a:lnTo>
                  <a:lnTo>
                    <a:pt x="782" y="428"/>
                  </a:lnTo>
                  <a:lnTo>
                    <a:pt x="782" y="428"/>
                  </a:lnTo>
                  <a:lnTo>
                    <a:pt x="782" y="428"/>
                  </a:lnTo>
                  <a:lnTo>
                    <a:pt x="780" y="428"/>
                  </a:lnTo>
                  <a:lnTo>
                    <a:pt x="782" y="428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30"/>
                  </a:lnTo>
                  <a:lnTo>
                    <a:pt x="782" y="432"/>
                  </a:lnTo>
                  <a:lnTo>
                    <a:pt x="780" y="432"/>
                  </a:lnTo>
                  <a:lnTo>
                    <a:pt x="780" y="432"/>
                  </a:lnTo>
                  <a:lnTo>
                    <a:pt x="780" y="432"/>
                  </a:lnTo>
                  <a:lnTo>
                    <a:pt x="780" y="432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4"/>
                  </a:lnTo>
                  <a:lnTo>
                    <a:pt x="778" y="437"/>
                  </a:lnTo>
                  <a:lnTo>
                    <a:pt x="778" y="437"/>
                  </a:lnTo>
                  <a:lnTo>
                    <a:pt x="778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6" y="437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39"/>
                  </a:lnTo>
                  <a:lnTo>
                    <a:pt x="773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1"/>
                  </a:lnTo>
                  <a:lnTo>
                    <a:pt x="771" y="443"/>
                  </a:lnTo>
                  <a:lnTo>
                    <a:pt x="771" y="443"/>
                  </a:lnTo>
                  <a:lnTo>
                    <a:pt x="771" y="443"/>
                  </a:lnTo>
                  <a:lnTo>
                    <a:pt x="771" y="443"/>
                  </a:lnTo>
                  <a:lnTo>
                    <a:pt x="771" y="443"/>
                  </a:lnTo>
                  <a:lnTo>
                    <a:pt x="769" y="446"/>
                  </a:lnTo>
                  <a:lnTo>
                    <a:pt x="769" y="446"/>
                  </a:lnTo>
                  <a:lnTo>
                    <a:pt x="769" y="446"/>
                  </a:lnTo>
                  <a:lnTo>
                    <a:pt x="769" y="446"/>
                  </a:lnTo>
                  <a:lnTo>
                    <a:pt x="769" y="446"/>
                  </a:lnTo>
                  <a:lnTo>
                    <a:pt x="769" y="446"/>
                  </a:lnTo>
                  <a:lnTo>
                    <a:pt x="769" y="446"/>
                  </a:lnTo>
                  <a:lnTo>
                    <a:pt x="767" y="446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48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0"/>
                  </a:lnTo>
                  <a:lnTo>
                    <a:pt x="767" y="452"/>
                  </a:lnTo>
                  <a:lnTo>
                    <a:pt x="767" y="452"/>
                  </a:lnTo>
                  <a:lnTo>
                    <a:pt x="767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5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7" y="452"/>
                  </a:lnTo>
                  <a:lnTo>
                    <a:pt x="767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2"/>
                  </a:lnTo>
                  <a:lnTo>
                    <a:pt x="764" y="455"/>
                  </a:lnTo>
                  <a:lnTo>
                    <a:pt x="764" y="455"/>
                  </a:lnTo>
                  <a:lnTo>
                    <a:pt x="764" y="455"/>
                  </a:lnTo>
                  <a:lnTo>
                    <a:pt x="764" y="455"/>
                  </a:lnTo>
                  <a:lnTo>
                    <a:pt x="764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5"/>
                  </a:lnTo>
                  <a:lnTo>
                    <a:pt x="762" y="457"/>
                  </a:lnTo>
                  <a:lnTo>
                    <a:pt x="762" y="457"/>
                  </a:lnTo>
                  <a:lnTo>
                    <a:pt x="762" y="457"/>
                  </a:lnTo>
                  <a:lnTo>
                    <a:pt x="762" y="457"/>
                  </a:lnTo>
                  <a:lnTo>
                    <a:pt x="762" y="457"/>
                  </a:lnTo>
                  <a:lnTo>
                    <a:pt x="762" y="457"/>
                  </a:lnTo>
                  <a:lnTo>
                    <a:pt x="762" y="457"/>
                  </a:lnTo>
                  <a:lnTo>
                    <a:pt x="760" y="457"/>
                  </a:lnTo>
                  <a:lnTo>
                    <a:pt x="760" y="457"/>
                  </a:lnTo>
                  <a:lnTo>
                    <a:pt x="760" y="457"/>
                  </a:lnTo>
                  <a:lnTo>
                    <a:pt x="760" y="457"/>
                  </a:lnTo>
                  <a:lnTo>
                    <a:pt x="760" y="457"/>
                  </a:lnTo>
                  <a:lnTo>
                    <a:pt x="760" y="457"/>
                  </a:lnTo>
                  <a:lnTo>
                    <a:pt x="760" y="459"/>
                  </a:lnTo>
                  <a:lnTo>
                    <a:pt x="760" y="459"/>
                  </a:lnTo>
                  <a:lnTo>
                    <a:pt x="760" y="459"/>
                  </a:lnTo>
                  <a:lnTo>
                    <a:pt x="758" y="459"/>
                  </a:lnTo>
                  <a:lnTo>
                    <a:pt x="758" y="459"/>
                  </a:lnTo>
                  <a:lnTo>
                    <a:pt x="755" y="459"/>
                  </a:lnTo>
                  <a:lnTo>
                    <a:pt x="755" y="459"/>
                  </a:lnTo>
                  <a:lnTo>
                    <a:pt x="755" y="459"/>
                  </a:lnTo>
                  <a:lnTo>
                    <a:pt x="758" y="459"/>
                  </a:lnTo>
                  <a:lnTo>
                    <a:pt x="760" y="459"/>
                  </a:lnTo>
                  <a:lnTo>
                    <a:pt x="760" y="459"/>
                  </a:lnTo>
                  <a:lnTo>
                    <a:pt x="758" y="459"/>
                  </a:lnTo>
                  <a:lnTo>
                    <a:pt x="758" y="459"/>
                  </a:lnTo>
                  <a:lnTo>
                    <a:pt x="758" y="461"/>
                  </a:lnTo>
                  <a:lnTo>
                    <a:pt x="758" y="461"/>
                  </a:lnTo>
                  <a:lnTo>
                    <a:pt x="758" y="461"/>
                  </a:lnTo>
                  <a:lnTo>
                    <a:pt x="758" y="461"/>
                  </a:lnTo>
                  <a:lnTo>
                    <a:pt x="760" y="461"/>
                  </a:lnTo>
                  <a:lnTo>
                    <a:pt x="760" y="461"/>
                  </a:lnTo>
                  <a:lnTo>
                    <a:pt x="760" y="461"/>
                  </a:lnTo>
                  <a:lnTo>
                    <a:pt x="760" y="461"/>
                  </a:lnTo>
                  <a:lnTo>
                    <a:pt x="760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8" y="464"/>
                  </a:lnTo>
                  <a:lnTo>
                    <a:pt x="755" y="466"/>
                  </a:lnTo>
                  <a:lnTo>
                    <a:pt x="758" y="464"/>
                  </a:lnTo>
                  <a:lnTo>
                    <a:pt x="760" y="464"/>
                  </a:lnTo>
                  <a:lnTo>
                    <a:pt x="760" y="464"/>
                  </a:lnTo>
                  <a:lnTo>
                    <a:pt x="760" y="464"/>
                  </a:lnTo>
                  <a:lnTo>
                    <a:pt x="760" y="464"/>
                  </a:lnTo>
                  <a:lnTo>
                    <a:pt x="760" y="466"/>
                  </a:lnTo>
                  <a:lnTo>
                    <a:pt x="760" y="466"/>
                  </a:lnTo>
                  <a:lnTo>
                    <a:pt x="760" y="466"/>
                  </a:lnTo>
                  <a:lnTo>
                    <a:pt x="760" y="468"/>
                  </a:lnTo>
                  <a:lnTo>
                    <a:pt x="760" y="468"/>
                  </a:lnTo>
                  <a:lnTo>
                    <a:pt x="762" y="468"/>
                  </a:lnTo>
                  <a:lnTo>
                    <a:pt x="762" y="466"/>
                  </a:lnTo>
                  <a:lnTo>
                    <a:pt x="762" y="466"/>
                  </a:lnTo>
                  <a:lnTo>
                    <a:pt x="762" y="466"/>
                  </a:lnTo>
                  <a:lnTo>
                    <a:pt x="762" y="466"/>
                  </a:lnTo>
                  <a:lnTo>
                    <a:pt x="762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2" y="468"/>
                  </a:lnTo>
                  <a:lnTo>
                    <a:pt x="762" y="468"/>
                  </a:lnTo>
                  <a:lnTo>
                    <a:pt x="762" y="468"/>
                  </a:lnTo>
                  <a:lnTo>
                    <a:pt x="762" y="470"/>
                  </a:lnTo>
                  <a:lnTo>
                    <a:pt x="760" y="470"/>
                  </a:lnTo>
                  <a:lnTo>
                    <a:pt x="760" y="470"/>
                  </a:lnTo>
                  <a:lnTo>
                    <a:pt x="760" y="473"/>
                  </a:lnTo>
                  <a:lnTo>
                    <a:pt x="760" y="473"/>
                  </a:lnTo>
                  <a:lnTo>
                    <a:pt x="758" y="473"/>
                  </a:lnTo>
                  <a:lnTo>
                    <a:pt x="758" y="473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5" y="475"/>
                  </a:lnTo>
                  <a:lnTo>
                    <a:pt x="755" y="475"/>
                  </a:lnTo>
                  <a:lnTo>
                    <a:pt x="755" y="477"/>
                  </a:lnTo>
                  <a:lnTo>
                    <a:pt x="755" y="477"/>
                  </a:lnTo>
                  <a:lnTo>
                    <a:pt x="753" y="477"/>
                  </a:lnTo>
                  <a:lnTo>
                    <a:pt x="753" y="477"/>
                  </a:lnTo>
                  <a:lnTo>
                    <a:pt x="753" y="479"/>
                  </a:lnTo>
                  <a:lnTo>
                    <a:pt x="755" y="477"/>
                  </a:lnTo>
                  <a:lnTo>
                    <a:pt x="755" y="477"/>
                  </a:lnTo>
                  <a:lnTo>
                    <a:pt x="755" y="477"/>
                  </a:lnTo>
                  <a:lnTo>
                    <a:pt x="755" y="477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58" y="475"/>
                  </a:lnTo>
                  <a:lnTo>
                    <a:pt x="760" y="475"/>
                  </a:lnTo>
                  <a:lnTo>
                    <a:pt x="760" y="475"/>
                  </a:lnTo>
                  <a:lnTo>
                    <a:pt x="760" y="473"/>
                  </a:lnTo>
                  <a:lnTo>
                    <a:pt x="760" y="473"/>
                  </a:lnTo>
                  <a:lnTo>
                    <a:pt x="760" y="473"/>
                  </a:lnTo>
                  <a:lnTo>
                    <a:pt x="760" y="473"/>
                  </a:lnTo>
                  <a:lnTo>
                    <a:pt x="760" y="470"/>
                  </a:lnTo>
                  <a:lnTo>
                    <a:pt x="760" y="470"/>
                  </a:lnTo>
                  <a:lnTo>
                    <a:pt x="760" y="470"/>
                  </a:lnTo>
                  <a:lnTo>
                    <a:pt x="760" y="470"/>
                  </a:lnTo>
                  <a:lnTo>
                    <a:pt x="762" y="470"/>
                  </a:lnTo>
                  <a:lnTo>
                    <a:pt x="762" y="470"/>
                  </a:lnTo>
                  <a:lnTo>
                    <a:pt x="762" y="470"/>
                  </a:lnTo>
                  <a:lnTo>
                    <a:pt x="762" y="470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8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4" y="466"/>
                  </a:lnTo>
                  <a:lnTo>
                    <a:pt x="767" y="466"/>
                  </a:lnTo>
                  <a:lnTo>
                    <a:pt x="767" y="466"/>
                  </a:lnTo>
                  <a:lnTo>
                    <a:pt x="767" y="466"/>
                  </a:lnTo>
                  <a:lnTo>
                    <a:pt x="769" y="466"/>
                  </a:lnTo>
                  <a:lnTo>
                    <a:pt x="771" y="466"/>
                  </a:lnTo>
                  <a:lnTo>
                    <a:pt x="771" y="466"/>
                  </a:lnTo>
                  <a:lnTo>
                    <a:pt x="771" y="466"/>
                  </a:lnTo>
                  <a:lnTo>
                    <a:pt x="771" y="466"/>
                  </a:lnTo>
                  <a:lnTo>
                    <a:pt x="771" y="466"/>
                  </a:lnTo>
                  <a:lnTo>
                    <a:pt x="771" y="466"/>
                  </a:lnTo>
                  <a:lnTo>
                    <a:pt x="771" y="466"/>
                  </a:lnTo>
                  <a:lnTo>
                    <a:pt x="773" y="466"/>
                  </a:lnTo>
                  <a:lnTo>
                    <a:pt x="773" y="466"/>
                  </a:lnTo>
                  <a:lnTo>
                    <a:pt x="773" y="466"/>
                  </a:lnTo>
                  <a:lnTo>
                    <a:pt x="773" y="466"/>
                  </a:lnTo>
                  <a:lnTo>
                    <a:pt x="776" y="466"/>
                  </a:lnTo>
                  <a:lnTo>
                    <a:pt x="776" y="466"/>
                  </a:lnTo>
                  <a:lnTo>
                    <a:pt x="776" y="466"/>
                  </a:lnTo>
                  <a:lnTo>
                    <a:pt x="778" y="466"/>
                  </a:lnTo>
                  <a:lnTo>
                    <a:pt x="778" y="466"/>
                  </a:lnTo>
                  <a:lnTo>
                    <a:pt x="778" y="466"/>
                  </a:lnTo>
                  <a:lnTo>
                    <a:pt x="776" y="468"/>
                  </a:lnTo>
                  <a:lnTo>
                    <a:pt x="776" y="468"/>
                  </a:lnTo>
                  <a:lnTo>
                    <a:pt x="778" y="468"/>
                  </a:lnTo>
                  <a:lnTo>
                    <a:pt x="778" y="468"/>
                  </a:lnTo>
                  <a:lnTo>
                    <a:pt x="778" y="468"/>
                  </a:lnTo>
                  <a:lnTo>
                    <a:pt x="778" y="468"/>
                  </a:lnTo>
                  <a:lnTo>
                    <a:pt x="778" y="468"/>
                  </a:lnTo>
                  <a:lnTo>
                    <a:pt x="778" y="466"/>
                  </a:lnTo>
                  <a:lnTo>
                    <a:pt x="778" y="466"/>
                  </a:lnTo>
                  <a:lnTo>
                    <a:pt x="780" y="466"/>
                  </a:lnTo>
                  <a:lnTo>
                    <a:pt x="780" y="466"/>
                  </a:lnTo>
                  <a:lnTo>
                    <a:pt x="782" y="466"/>
                  </a:lnTo>
                  <a:lnTo>
                    <a:pt x="782" y="466"/>
                  </a:lnTo>
                  <a:lnTo>
                    <a:pt x="782" y="466"/>
                  </a:lnTo>
                  <a:lnTo>
                    <a:pt x="782" y="466"/>
                  </a:lnTo>
                  <a:lnTo>
                    <a:pt x="782" y="468"/>
                  </a:lnTo>
                  <a:lnTo>
                    <a:pt x="782" y="468"/>
                  </a:lnTo>
                  <a:lnTo>
                    <a:pt x="782" y="468"/>
                  </a:lnTo>
                  <a:lnTo>
                    <a:pt x="780" y="468"/>
                  </a:lnTo>
                  <a:lnTo>
                    <a:pt x="780" y="468"/>
                  </a:lnTo>
                  <a:lnTo>
                    <a:pt x="780" y="470"/>
                  </a:lnTo>
                  <a:lnTo>
                    <a:pt x="780" y="470"/>
                  </a:lnTo>
                  <a:lnTo>
                    <a:pt x="780" y="470"/>
                  </a:lnTo>
                  <a:lnTo>
                    <a:pt x="780" y="470"/>
                  </a:lnTo>
                  <a:lnTo>
                    <a:pt x="780" y="470"/>
                  </a:lnTo>
                  <a:lnTo>
                    <a:pt x="780" y="473"/>
                  </a:lnTo>
                  <a:lnTo>
                    <a:pt x="780" y="473"/>
                  </a:lnTo>
                  <a:lnTo>
                    <a:pt x="780" y="473"/>
                  </a:lnTo>
                  <a:lnTo>
                    <a:pt x="780" y="475"/>
                  </a:lnTo>
                  <a:lnTo>
                    <a:pt x="778" y="475"/>
                  </a:lnTo>
                  <a:lnTo>
                    <a:pt x="778" y="475"/>
                  </a:lnTo>
                  <a:lnTo>
                    <a:pt x="778" y="475"/>
                  </a:lnTo>
                  <a:lnTo>
                    <a:pt x="778" y="477"/>
                  </a:lnTo>
                  <a:lnTo>
                    <a:pt x="778" y="477"/>
                  </a:lnTo>
                  <a:lnTo>
                    <a:pt x="778" y="477"/>
                  </a:lnTo>
                  <a:lnTo>
                    <a:pt x="778" y="477"/>
                  </a:lnTo>
                  <a:lnTo>
                    <a:pt x="778" y="477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79"/>
                  </a:lnTo>
                  <a:lnTo>
                    <a:pt x="778" y="482"/>
                  </a:lnTo>
                  <a:lnTo>
                    <a:pt x="778" y="482"/>
                  </a:lnTo>
                  <a:lnTo>
                    <a:pt x="778" y="482"/>
                  </a:lnTo>
                  <a:lnTo>
                    <a:pt x="778" y="482"/>
                  </a:lnTo>
                  <a:lnTo>
                    <a:pt x="778" y="482"/>
                  </a:lnTo>
                  <a:lnTo>
                    <a:pt x="778" y="484"/>
                  </a:lnTo>
                  <a:lnTo>
                    <a:pt x="776" y="486"/>
                  </a:lnTo>
                  <a:lnTo>
                    <a:pt x="776" y="486"/>
                  </a:lnTo>
                  <a:lnTo>
                    <a:pt x="776" y="486"/>
                  </a:lnTo>
                  <a:lnTo>
                    <a:pt x="776" y="486"/>
                  </a:lnTo>
                  <a:lnTo>
                    <a:pt x="776" y="486"/>
                  </a:lnTo>
                  <a:lnTo>
                    <a:pt x="776" y="486"/>
                  </a:lnTo>
                  <a:lnTo>
                    <a:pt x="776" y="488"/>
                  </a:lnTo>
                  <a:lnTo>
                    <a:pt x="776" y="488"/>
                  </a:lnTo>
                  <a:lnTo>
                    <a:pt x="776" y="488"/>
                  </a:lnTo>
                  <a:lnTo>
                    <a:pt x="776" y="491"/>
                  </a:lnTo>
                  <a:lnTo>
                    <a:pt x="776" y="491"/>
                  </a:lnTo>
                  <a:lnTo>
                    <a:pt x="776" y="491"/>
                  </a:lnTo>
                  <a:lnTo>
                    <a:pt x="776" y="491"/>
                  </a:lnTo>
                  <a:lnTo>
                    <a:pt x="776" y="491"/>
                  </a:lnTo>
                  <a:lnTo>
                    <a:pt x="776" y="493"/>
                  </a:lnTo>
                  <a:lnTo>
                    <a:pt x="776" y="493"/>
                  </a:lnTo>
                  <a:lnTo>
                    <a:pt x="776" y="493"/>
                  </a:lnTo>
                  <a:lnTo>
                    <a:pt x="776" y="493"/>
                  </a:lnTo>
                  <a:lnTo>
                    <a:pt x="776" y="493"/>
                  </a:lnTo>
                  <a:lnTo>
                    <a:pt x="776" y="493"/>
                  </a:lnTo>
                  <a:lnTo>
                    <a:pt x="776" y="493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5"/>
                  </a:lnTo>
                  <a:lnTo>
                    <a:pt x="776" y="497"/>
                  </a:lnTo>
                  <a:lnTo>
                    <a:pt x="776" y="497"/>
                  </a:lnTo>
                  <a:lnTo>
                    <a:pt x="773" y="497"/>
                  </a:lnTo>
                  <a:lnTo>
                    <a:pt x="773" y="500"/>
                  </a:lnTo>
                  <a:lnTo>
                    <a:pt x="773" y="500"/>
                  </a:lnTo>
                  <a:lnTo>
                    <a:pt x="771" y="500"/>
                  </a:lnTo>
                  <a:lnTo>
                    <a:pt x="769" y="504"/>
                  </a:lnTo>
                  <a:lnTo>
                    <a:pt x="767" y="504"/>
                  </a:lnTo>
                  <a:lnTo>
                    <a:pt x="767" y="506"/>
                  </a:lnTo>
                  <a:lnTo>
                    <a:pt x="764" y="506"/>
                  </a:lnTo>
                  <a:lnTo>
                    <a:pt x="764" y="506"/>
                  </a:lnTo>
                  <a:lnTo>
                    <a:pt x="764" y="506"/>
                  </a:lnTo>
                  <a:lnTo>
                    <a:pt x="762" y="506"/>
                  </a:lnTo>
                  <a:lnTo>
                    <a:pt x="762" y="506"/>
                  </a:lnTo>
                  <a:lnTo>
                    <a:pt x="760" y="506"/>
                  </a:lnTo>
                  <a:lnTo>
                    <a:pt x="760" y="509"/>
                  </a:lnTo>
                  <a:lnTo>
                    <a:pt x="764" y="506"/>
                  </a:lnTo>
                  <a:lnTo>
                    <a:pt x="764" y="506"/>
                  </a:lnTo>
                  <a:lnTo>
                    <a:pt x="769" y="504"/>
                  </a:lnTo>
                  <a:lnTo>
                    <a:pt x="769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3" y="504"/>
                  </a:lnTo>
                  <a:lnTo>
                    <a:pt x="771" y="506"/>
                  </a:lnTo>
                  <a:lnTo>
                    <a:pt x="771" y="506"/>
                  </a:lnTo>
                  <a:lnTo>
                    <a:pt x="771" y="506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69" y="506"/>
                  </a:lnTo>
                  <a:lnTo>
                    <a:pt x="771" y="506"/>
                  </a:lnTo>
                  <a:lnTo>
                    <a:pt x="771" y="506"/>
                  </a:lnTo>
                  <a:lnTo>
                    <a:pt x="773" y="504"/>
                  </a:lnTo>
                  <a:lnTo>
                    <a:pt x="776" y="504"/>
                  </a:lnTo>
                  <a:lnTo>
                    <a:pt x="778" y="504"/>
                  </a:lnTo>
                  <a:lnTo>
                    <a:pt x="782" y="502"/>
                  </a:lnTo>
                  <a:lnTo>
                    <a:pt x="789" y="502"/>
                  </a:lnTo>
                  <a:lnTo>
                    <a:pt x="793" y="500"/>
                  </a:lnTo>
                  <a:lnTo>
                    <a:pt x="798" y="500"/>
                  </a:lnTo>
                  <a:lnTo>
                    <a:pt x="800" y="500"/>
                  </a:lnTo>
                  <a:lnTo>
                    <a:pt x="802" y="500"/>
                  </a:lnTo>
                  <a:lnTo>
                    <a:pt x="805" y="500"/>
                  </a:lnTo>
                  <a:lnTo>
                    <a:pt x="805" y="500"/>
                  </a:lnTo>
                  <a:lnTo>
                    <a:pt x="805" y="502"/>
                  </a:lnTo>
                  <a:lnTo>
                    <a:pt x="805" y="502"/>
                  </a:lnTo>
                  <a:lnTo>
                    <a:pt x="807" y="502"/>
                  </a:lnTo>
                  <a:lnTo>
                    <a:pt x="807" y="502"/>
                  </a:lnTo>
                  <a:lnTo>
                    <a:pt x="807" y="502"/>
                  </a:lnTo>
                  <a:lnTo>
                    <a:pt x="807" y="502"/>
                  </a:lnTo>
                  <a:lnTo>
                    <a:pt x="807" y="502"/>
                  </a:lnTo>
                  <a:lnTo>
                    <a:pt x="809" y="502"/>
                  </a:lnTo>
                  <a:lnTo>
                    <a:pt x="809" y="504"/>
                  </a:lnTo>
                  <a:lnTo>
                    <a:pt x="809" y="504"/>
                  </a:lnTo>
                  <a:lnTo>
                    <a:pt x="809" y="504"/>
                  </a:lnTo>
                  <a:lnTo>
                    <a:pt x="811" y="504"/>
                  </a:lnTo>
                  <a:lnTo>
                    <a:pt x="811" y="504"/>
                  </a:lnTo>
                  <a:lnTo>
                    <a:pt x="811" y="504"/>
                  </a:lnTo>
                  <a:lnTo>
                    <a:pt x="811" y="506"/>
                  </a:lnTo>
                  <a:lnTo>
                    <a:pt x="814" y="506"/>
                  </a:lnTo>
                  <a:lnTo>
                    <a:pt x="814" y="506"/>
                  </a:lnTo>
                  <a:lnTo>
                    <a:pt x="818" y="506"/>
                  </a:lnTo>
                  <a:lnTo>
                    <a:pt x="818" y="506"/>
                  </a:lnTo>
                  <a:lnTo>
                    <a:pt x="818" y="506"/>
                  </a:lnTo>
                  <a:lnTo>
                    <a:pt x="820" y="506"/>
                  </a:lnTo>
                  <a:lnTo>
                    <a:pt x="820" y="506"/>
                  </a:lnTo>
                  <a:lnTo>
                    <a:pt x="823" y="509"/>
                  </a:lnTo>
                  <a:lnTo>
                    <a:pt x="823" y="509"/>
                  </a:lnTo>
                  <a:lnTo>
                    <a:pt x="823" y="509"/>
                  </a:lnTo>
                  <a:lnTo>
                    <a:pt x="825" y="509"/>
                  </a:lnTo>
                  <a:lnTo>
                    <a:pt x="825" y="509"/>
                  </a:lnTo>
                  <a:lnTo>
                    <a:pt x="825" y="509"/>
                  </a:lnTo>
                  <a:lnTo>
                    <a:pt x="825" y="509"/>
                  </a:lnTo>
                  <a:lnTo>
                    <a:pt x="825" y="509"/>
                  </a:lnTo>
                  <a:lnTo>
                    <a:pt x="827" y="509"/>
                  </a:lnTo>
                  <a:lnTo>
                    <a:pt x="827" y="509"/>
                  </a:lnTo>
                  <a:lnTo>
                    <a:pt x="827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09"/>
                  </a:lnTo>
                  <a:lnTo>
                    <a:pt x="829" y="511"/>
                  </a:lnTo>
                  <a:lnTo>
                    <a:pt x="829" y="511"/>
                  </a:lnTo>
                  <a:lnTo>
                    <a:pt x="829" y="511"/>
                  </a:lnTo>
                  <a:lnTo>
                    <a:pt x="829" y="513"/>
                  </a:lnTo>
                  <a:lnTo>
                    <a:pt x="832" y="513"/>
                  </a:lnTo>
                  <a:lnTo>
                    <a:pt x="832" y="513"/>
                  </a:lnTo>
                  <a:lnTo>
                    <a:pt x="832" y="513"/>
                  </a:lnTo>
                  <a:lnTo>
                    <a:pt x="832" y="513"/>
                  </a:lnTo>
                  <a:lnTo>
                    <a:pt x="832" y="513"/>
                  </a:lnTo>
                  <a:lnTo>
                    <a:pt x="834" y="513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4" y="515"/>
                  </a:lnTo>
                  <a:lnTo>
                    <a:pt x="836" y="518"/>
                  </a:lnTo>
                  <a:lnTo>
                    <a:pt x="838" y="518"/>
                  </a:lnTo>
                  <a:lnTo>
                    <a:pt x="838" y="518"/>
                  </a:lnTo>
                  <a:lnTo>
                    <a:pt x="838" y="518"/>
                  </a:lnTo>
                  <a:lnTo>
                    <a:pt x="838" y="518"/>
                  </a:lnTo>
                  <a:lnTo>
                    <a:pt x="838" y="518"/>
                  </a:lnTo>
                  <a:lnTo>
                    <a:pt x="838" y="520"/>
                  </a:lnTo>
                  <a:lnTo>
                    <a:pt x="838" y="520"/>
                  </a:lnTo>
                  <a:lnTo>
                    <a:pt x="838" y="520"/>
                  </a:lnTo>
                  <a:lnTo>
                    <a:pt x="841" y="524"/>
                  </a:lnTo>
                  <a:lnTo>
                    <a:pt x="841" y="524"/>
                  </a:lnTo>
                  <a:lnTo>
                    <a:pt x="841" y="524"/>
                  </a:lnTo>
                  <a:lnTo>
                    <a:pt x="841" y="524"/>
                  </a:lnTo>
                  <a:lnTo>
                    <a:pt x="841" y="524"/>
                  </a:lnTo>
                  <a:lnTo>
                    <a:pt x="841" y="524"/>
                  </a:lnTo>
                  <a:lnTo>
                    <a:pt x="841" y="524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38" y="527"/>
                  </a:lnTo>
                  <a:lnTo>
                    <a:pt x="838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1" y="527"/>
                  </a:lnTo>
                  <a:lnTo>
                    <a:pt x="843" y="527"/>
                  </a:lnTo>
                  <a:lnTo>
                    <a:pt x="843" y="527"/>
                  </a:lnTo>
                  <a:lnTo>
                    <a:pt x="843" y="527"/>
                  </a:lnTo>
                  <a:lnTo>
                    <a:pt x="843" y="527"/>
                  </a:lnTo>
                  <a:lnTo>
                    <a:pt x="843" y="527"/>
                  </a:lnTo>
                  <a:lnTo>
                    <a:pt x="843" y="527"/>
                  </a:lnTo>
                  <a:lnTo>
                    <a:pt x="843" y="529"/>
                  </a:lnTo>
                  <a:lnTo>
                    <a:pt x="843" y="529"/>
                  </a:lnTo>
                  <a:lnTo>
                    <a:pt x="845" y="529"/>
                  </a:lnTo>
                  <a:lnTo>
                    <a:pt x="847" y="529"/>
                  </a:lnTo>
                  <a:lnTo>
                    <a:pt x="850" y="529"/>
                  </a:lnTo>
                  <a:lnTo>
                    <a:pt x="850" y="529"/>
                  </a:lnTo>
                  <a:lnTo>
                    <a:pt x="850" y="529"/>
                  </a:lnTo>
                  <a:lnTo>
                    <a:pt x="850" y="529"/>
                  </a:lnTo>
                  <a:lnTo>
                    <a:pt x="850" y="529"/>
                  </a:lnTo>
                  <a:lnTo>
                    <a:pt x="850" y="529"/>
                  </a:lnTo>
                  <a:lnTo>
                    <a:pt x="850" y="529"/>
                  </a:lnTo>
                  <a:lnTo>
                    <a:pt x="852" y="529"/>
                  </a:lnTo>
                  <a:lnTo>
                    <a:pt x="852" y="529"/>
                  </a:lnTo>
                  <a:lnTo>
                    <a:pt x="852" y="531"/>
                  </a:lnTo>
                  <a:lnTo>
                    <a:pt x="852" y="531"/>
                  </a:lnTo>
                  <a:lnTo>
                    <a:pt x="852" y="531"/>
                  </a:lnTo>
                  <a:lnTo>
                    <a:pt x="854" y="531"/>
                  </a:lnTo>
                  <a:lnTo>
                    <a:pt x="854" y="531"/>
                  </a:lnTo>
                  <a:lnTo>
                    <a:pt x="854" y="531"/>
                  </a:lnTo>
                  <a:lnTo>
                    <a:pt x="856" y="531"/>
                  </a:lnTo>
                  <a:lnTo>
                    <a:pt x="859" y="533"/>
                  </a:lnTo>
                  <a:lnTo>
                    <a:pt x="863" y="533"/>
                  </a:lnTo>
                  <a:lnTo>
                    <a:pt x="863" y="533"/>
                  </a:lnTo>
                  <a:lnTo>
                    <a:pt x="865" y="536"/>
                  </a:lnTo>
                  <a:lnTo>
                    <a:pt x="865" y="536"/>
                  </a:lnTo>
                  <a:lnTo>
                    <a:pt x="868" y="536"/>
                  </a:lnTo>
                  <a:lnTo>
                    <a:pt x="868" y="536"/>
                  </a:lnTo>
                  <a:lnTo>
                    <a:pt x="868" y="536"/>
                  </a:lnTo>
                  <a:lnTo>
                    <a:pt x="868" y="536"/>
                  </a:lnTo>
                  <a:lnTo>
                    <a:pt x="868" y="536"/>
                  </a:lnTo>
                  <a:lnTo>
                    <a:pt x="868" y="538"/>
                  </a:lnTo>
                  <a:lnTo>
                    <a:pt x="870" y="538"/>
                  </a:lnTo>
                  <a:lnTo>
                    <a:pt x="870" y="538"/>
                  </a:lnTo>
                  <a:lnTo>
                    <a:pt x="870" y="538"/>
                  </a:lnTo>
                  <a:lnTo>
                    <a:pt x="870" y="538"/>
                  </a:lnTo>
                  <a:lnTo>
                    <a:pt x="870" y="540"/>
                  </a:lnTo>
                  <a:lnTo>
                    <a:pt x="870" y="540"/>
                  </a:lnTo>
                  <a:lnTo>
                    <a:pt x="870" y="540"/>
                  </a:lnTo>
                  <a:lnTo>
                    <a:pt x="872" y="542"/>
                  </a:lnTo>
                  <a:lnTo>
                    <a:pt x="872" y="542"/>
                  </a:lnTo>
                  <a:lnTo>
                    <a:pt x="874" y="542"/>
                  </a:lnTo>
                  <a:lnTo>
                    <a:pt x="874" y="542"/>
                  </a:lnTo>
                  <a:lnTo>
                    <a:pt x="874" y="542"/>
                  </a:lnTo>
                  <a:lnTo>
                    <a:pt x="874" y="542"/>
                  </a:lnTo>
                  <a:lnTo>
                    <a:pt x="874" y="545"/>
                  </a:lnTo>
                  <a:lnTo>
                    <a:pt x="872" y="545"/>
                  </a:lnTo>
                  <a:lnTo>
                    <a:pt x="872" y="545"/>
                  </a:lnTo>
                  <a:lnTo>
                    <a:pt x="872" y="545"/>
                  </a:lnTo>
                  <a:lnTo>
                    <a:pt x="872" y="545"/>
                  </a:lnTo>
                  <a:lnTo>
                    <a:pt x="872" y="545"/>
                  </a:lnTo>
                  <a:lnTo>
                    <a:pt x="872" y="545"/>
                  </a:lnTo>
                  <a:lnTo>
                    <a:pt x="870" y="545"/>
                  </a:lnTo>
                  <a:lnTo>
                    <a:pt x="870" y="545"/>
                  </a:lnTo>
                  <a:lnTo>
                    <a:pt x="870" y="545"/>
                  </a:lnTo>
                  <a:lnTo>
                    <a:pt x="870" y="547"/>
                  </a:lnTo>
                  <a:lnTo>
                    <a:pt x="868" y="547"/>
                  </a:lnTo>
                  <a:lnTo>
                    <a:pt x="868" y="547"/>
                  </a:lnTo>
                  <a:lnTo>
                    <a:pt x="868" y="549"/>
                  </a:lnTo>
                  <a:lnTo>
                    <a:pt x="868" y="549"/>
                  </a:lnTo>
                  <a:lnTo>
                    <a:pt x="868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5" y="549"/>
                  </a:lnTo>
                  <a:lnTo>
                    <a:pt x="868" y="547"/>
                  </a:lnTo>
                  <a:lnTo>
                    <a:pt x="868" y="547"/>
                  </a:lnTo>
                  <a:lnTo>
                    <a:pt x="872" y="545"/>
                  </a:lnTo>
                  <a:lnTo>
                    <a:pt x="872" y="545"/>
                  </a:lnTo>
                  <a:lnTo>
                    <a:pt x="874" y="545"/>
                  </a:lnTo>
                  <a:lnTo>
                    <a:pt x="874" y="545"/>
                  </a:lnTo>
                  <a:lnTo>
                    <a:pt x="877" y="545"/>
                  </a:lnTo>
                  <a:lnTo>
                    <a:pt x="881" y="545"/>
                  </a:lnTo>
                  <a:lnTo>
                    <a:pt x="883" y="545"/>
                  </a:lnTo>
                  <a:lnTo>
                    <a:pt x="886" y="545"/>
                  </a:lnTo>
                  <a:lnTo>
                    <a:pt x="886" y="545"/>
                  </a:lnTo>
                  <a:lnTo>
                    <a:pt x="886" y="545"/>
                  </a:lnTo>
                  <a:lnTo>
                    <a:pt x="890" y="545"/>
                  </a:lnTo>
                  <a:lnTo>
                    <a:pt x="890" y="545"/>
                  </a:lnTo>
                  <a:lnTo>
                    <a:pt x="890" y="545"/>
                  </a:lnTo>
                  <a:lnTo>
                    <a:pt x="892" y="545"/>
                  </a:lnTo>
                  <a:lnTo>
                    <a:pt x="892" y="545"/>
                  </a:lnTo>
                  <a:lnTo>
                    <a:pt x="895" y="542"/>
                  </a:lnTo>
                  <a:lnTo>
                    <a:pt x="895" y="542"/>
                  </a:lnTo>
                  <a:lnTo>
                    <a:pt x="895" y="542"/>
                  </a:lnTo>
                  <a:lnTo>
                    <a:pt x="897" y="542"/>
                  </a:lnTo>
                  <a:lnTo>
                    <a:pt x="897" y="545"/>
                  </a:lnTo>
                  <a:lnTo>
                    <a:pt x="897" y="545"/>
                  </a:lnTo>
                  <a:lnTo>
                    <a:pt x="897" y="545"/>
                  </a:lnTo>
                  <a:lnTo>
                    <a:pt x="897" y="545"/>
                  </a:lnTo>
                  <a:lnTo>
                    <a:pt x="897" y="545"/>
                  </a:lnTo>
                  <a:lnTo>
                    <a:pt x="897" y="545"/>
                  </a:lnTo>
                  <a:lnTo>
                    <a:pt x="897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7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899" y="545"/>
                  </a:lnTo>
                  <a:lnTo>
                    <a:pt x="901" y="545"/>
                  </a:lnTo>
                  <a:lnTo>
                    <a:pt x="901" y="545"/>
                  </a:lnTo>
                  <a:lnTo>
                    <a:pt x="901" y="545"/>
                  </a:lnTo>
                  <a:lnTo>
                    <a:pt x="904" y="545"/>
                  </a:lnTo>
                  <a:lnTo>
                    <a:pt x="904" y="545"/>
                  </a:lnTo>
                  <a:lnTo>
                    <a:pt x="904" y="545"/>
                  </a:lnTo>
                  <a:lnTo>
                    <a:pt x="906" y="545"/>
                  </a:lnTo>
                  <a:lnTo>
                    <a:pt x="906" y="545"/>
                  </a:lnTo>
                  <a:lnTo>
                    <a:pt x="906" y="545"/>
                  </a:lnTo>
                  <a:lnTo>
                    <a:pt x="906" y="545"/>
                  </a:lnTo>
                  <a:lnTo>
                    <a:pt x="906" y="545"/>
                  </a:lnTo>
                  <a:lnTo>
                    <a:pt x="906" y="545"/>
                  </a:lnTo>
                  <a:lnTo>
                    <a:pt x="908" y="545"/>
                  </a:lnTo>
                  <a:lnTo>
                    <a:pt x="908" y="545"/>
                  </a:lnTo>
                  <a:lnTo>
                    <a:pt x="910" y="545"/>
                  </a:lnTo>
                  <a:lnTo>
                    <a:pt x="910" y="545"/>
                  </a:lnTo>
                  <a:lnTo>
                    <a:pt x="913" y="545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0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3" y="547"/>
                  </a:lnTo>
                  <a:lnTo>
                    <a:pt x="915" y="547"/>
                  </a:lnTo>
                  <a:lnTo>
                    <a:pt x="915" y="547"/>
                  </a:lnTo>
                  <a:lnTo>
                    <a:pt x="915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7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7"/>
                  </a:lnTo>
                  <a:lnTo>
                    <a:pt x="919" y="549"/>
                  </a:lnTo>
                  <a:lnTo>
                    <a:pt x="919" y="549"/>
                  </a:lnTo>
                  <a:lnTo>
                    <a:pt x="919" y="549"/>
                  </a:lnTo>
                  <a:lnTo>
                    <a:pt x="919" y="549"/>
                  </a:lnTo>
                  <a:lnTo>
                    <a:pt x="919" y="549"/>
                  </a:lnTo>
                  <a:lnTo>
                    <a:pt x="919" y="549"/>
                  </a:lnTo>
                  <a:lnTo>
                    <a:pt x="919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7"/>
                  </a:lnTo>
                  <a:lnTo>
                    <a:pt x="922" y="549"/>
                  </a:lnTo>
                  <a:lnTo>
                    <a:pt x="922" y="549"/>
                  </a:lnTo>
                  <a:lnTo>
                    <a:pt x="919" y="549"/>
                  </a:lnTo>
                  <a:lnTo>
                    <a:pt x="919" y="549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1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9" y="554"/>
                  </a:lnTo>
                  <a:lnTo>
                    <a:pt x="917" y="556"/>
                  </a:lnTo>
                  <a:lnTo>
                    <a:pt x="915" y="560"/>
                  </a:lnTo>
                  <a:lnTo>
                    <a:pt x="913" y="563"/>
                  </a:lnTo>
                  <a:lnTo>
                    <a:pt x="910" y="563"/>
                  </a:lnTo>
                  <a:lnTo>
                    <a:pt x="910" y="563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10" y="565"/>
                  </a:lnTo>
                  <a:lnTo>
                    <a:pt x="908" y="567"/>
                  </a:lnTo>
                  <a:lnTo>
                    <a:pt x="908" y="567"/>
                  </a:lnTo>
                  <a:lnTo>
                    <a:pt x="908" y="567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08" y="569"/>
                  </a:lnTo>
                  <a:lnTo>
                    <a:pt x="910" y="572"/>
                  </a:lnTo>
                  <a:lnTo>
                    <a:pt x="910" y="572"/>
                  </a:lnTo>
                  <a:lnTo>
                    <a:pt x="908" y="574"/>
                  </a:lnTo>
                  <a:lnTo>
                    <a:pt x="908" y="576"/>
                  </a:lnTo>
                  <a:lnTo>
                    <a:pt x="908" y="576"/>
                  </a:lnTo>
                  <a:lnTo>
                    <a:pt x="908" y="576"/>
                  </a:lnTo>
                  <a:lnTo>
                    <a:pt x="908" y="576"/>
                  </a:lnTo>
                  <a:lnTo>
                    <a:pt x="908" y="576"/>
                  </a:lnTo>
                  <a:lnTo>
                    <a:pt x="908" y="578"/>
                  </a:lnTo>
                  <a:lnTo>
                    <a:pt x="908" y="578"/>
                  </a:lnTo>
                  <a:lnTo>
                    <a:pt x="908" y="578"/>
                  </a:lnTo>
                  <a:lnTo>
                    <a:pt x="906" y="581"/>
                  </a:lnTo>
                  <a:lnTo>
                    <a:pt x="906" y="581"/>
                  </a:lnTo>
                  <a:lnTo>
                    <a:pt x="906" y="581"/>
                  </a:lnTo>
                  <a:lnTo>
                    <a:pt x="906" y="581"/>
                  </a:lnTo>
                  <a:lnTo>
                    <a:pt x="904" y="581"/>
                  </a:lnTo>
                  <a:lnTo>
                    <a:pt x="904" y="583"/>
                  </a:lnTo>
                  <a:lnTo>
                    <a:pt x="904" y="583"/>
                  </a:lnTo>
                  <a:lnTo>
                    <a:pt x="904" y="583"/>
                  </a:lnTo>
                  <a:lnTo>
                    <a:pt x="904" y="583"/>
                  </a:lnTo>
                  <a:lnTo>
                    <a:pt x="904" y="583"/>
                  </a:lnTo>
                  <a:lnTo>
                    <a:pt x="904" y="583"/>
                  </a:lnTo>
                  <a:lnTo>
                    <a:pt x="904" y="585"/>
                  </a:lnTo>
                  <a:lnTo>
                    <a:pt x="904" y="585"/>
                  </a:lnTo>
                  <a:lnTo>
                    <a:pt x="904" y="585"/>
                  </a:lnTo>
                  <a:lnTo>
                    <a:pt x="904" y="587"/>
                  </a:lnTo>
                  <a:lnTo>
                    <a:pt x="904" y="590"/>
                  </a:lnTo>
                  <a:lnTo>
                    <a:pt x="904" y="590"/>
                  </a:lnTo>
                  <a:lnTo>
                    <a:pt x="901" y="590"/>
                  </a:lnTo>
                  <a:lnTo>
                    <a:pt x="901" y="590"/>
                  </a:lnTo>
                  <a:lnTo>
                    <a:pt x="901" y="590"/>
                  </a:lnTo>
                  <a:lnTo>
                    <a:pt x="899" y="590"/>
                  </a:lnTo>
                  <a:lnTo>
                    <a:pt x="899" y="590"/>
                  </a:lnTo>
                  <a:lnTo>
                    <a:pt x="899" y="590"/>
                  </a:lnTo>
                  <a:lnTo>
                    <a:pt x="899" y="592"/>
                  </a:lnTo>
                  <a:lnTo>
                    <a:pt x="899" y="592"/>
                  </a:lnTo>
                  <a:lnTo>
                    <a:pt x="897" y="592"/>
                  </a:lnTo>
                  <a:lnTo>
                    <a:pt x="897" y="594"/>
                  </a:lnTo>
                  <a:lnTo>
                    <a:pt x="897" y="594"/>
                  </a:lnTo>
                  <a:lnTo>
                    <a:pt x="897" y="596"/>
                  </a:lnTo>
                  <a:lnTo>
                    <a:pt x="897" y="596"/>
                  </a:lnTo>
                  <a:lnTo>
                    <a:pt x="897" y="596"/>
                  </a:lnTo>
                  <a:lnTo>
                    <a:pt x="895" y="596"/>
                  </a:lnTo>
                  <a:lnTo>
                    <a:pt x="897" y="596"/>
                  </a:lnTo>
                  <a:lnTo>
                    <a:pt x="897" y="596"/>
                  </a:lnTo>
                  <a:lnTo>
                    <a:pt x="897" y="596"/>
                  </a:lnTo>
                  <a:lnTo>
                    <a:pt x="897" y="596"/>
                  </a:lnTo>
                  <a:lnTo>
                    <a:pt x="897" y="599"/>
                  </a:lnTo>
                  <a:lnTo>
                    <a:pt x="897" y="599"/>
                  </a:lnTo>
                  <a:lnTo>
                    <a:pt x="899" y="599"/>
                  </a:lnTo>
                  <a:lnTo>
                    <a:pt x="899" y="599"/>
                  </a:lnTo>
                  <a:lnTo>
                    <a:pt x="899" y="599"/>
                  </a:lnTo>
                  <a:lnTo>
                    <a:pt x="899" y="601"/>
                  </a:lnTo>
                  <a:lnTo>
                    <a:pt x="899" y="601"/>
                  </a:lnTo>
                  <a:lnTo>
                    <a:pt x="899" y="601"/>
                  </a:lnTo>
                  <a:lnTo>
                    <a:pt x="899" y="601"/>
                  </a:lnTo>
                  <a:lnTo>
                    <a:pt x="899" y="603"/>
                  </a:lnTo>
                  <a:lnTo>
                    <a:pt x="899" y="603"/>
                  </a:lnTo>
                  <a:lnTo>
                    <a:pt x="899" y="603"/>
                  </a:lnTo>
                  <a:lnTo>
                    <a:pt x="901" y="603"/>
                  </a:lnTo>
                  <a:lnTo>
                    <a:pt x="901" y="605"/>
                  </a:lnTo>
                  <a:lnTo>
                    <a:pt x="901" y="608"/>
                  </a:lnTo>
                  <a:lnTo>
                    <a:pt x="901" y="608"/>
                  </a:lnTo>
                  <a:lnTo>
                    <a:pt x="904" y="608"/>
                  </a:lnTo>
                  <a:lnTo>
                    <a:pt x="904" y="608"/>
                  </a:lnTo>
                  <a:lnTo>
                    <a:pt x="904" y="608"/>
                  </a:lnTo>
                  <a:lnTo>
                    <a:pt x="901" y="610"/>
                  </a:lnTo>
                  <a:lnTo>
                    <a:pt x="901" y="610"/>
                  </a:lnTo>
                  <a:lnTo>
                    <a:pt x="901" y="610"/>
                  </a:lnTo>
                  <a:lnTo>
                    <a:pt x="901" y="610"/>
                  </a:lnTo>
                  <a:lnTo>
                    <a:pt x="901" y="610"/>
                  </a:lnTo>
                  <a:lnTo>
                    <a:pt x="904" y="612"/>
                  </a:lnTo>
                  <a:lnTo>
                    <a:pt x="904" y="612"/>
                  </a:lnTo>
                  <a:lnTo>
                    <a:pt x="901" y="612"/>
                  </a:lnTo>
                  <a:lnTo>
                    <a:pt x="901" y="612"/>
                  </a:lnTo>
                  <a:lnTo>
                    <a:pt x="899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5" y="612"/>
                  </a:lnTo>
                  <a:lnTo>
                    <a:pt x="895" y="612"/>
                  </a:lnTo>
                  <a:lnTo>
                    <a:pt x="895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895" y="612"/>
                  </a:lnTo>
                  <a:lnTo>
                    <a:pt x="895" y="614"/>
                  </a:lnTo>
                  <a:lnTo>
                    <a:pt x="895" y="614"/>
                  </a:lnTo>
                  <a:lnTo>
                    <a:pt x="895" y="614"/>
                  </a:lnTo>
                  <a:lnTo>
                    <a:pt x="897" y="614"/>
                  </a:lnTo>
                  <a:lnTo>
                    <a:pt x="897" y="612"/>
                  </a:lnTo>
                  <a:lnTo>
                    <a:pt x="897" y="612"/>
                  </a:lnTo>
                  <a:lnTo>
                    <a:pt x="901" y="612"/>
                  </a:lnTo>
                  <a:lnTo>
                    <a:pt x="901" y="612"/>
                  </a:lnTo>
                  <a:lnTo>
                    <a:pt x="901" y="614"/>
                  </a:lnTo>
                  <a:lnTo>
                    <a:pt x="904" y="614"/>
                  </a:lnTo>
                  <a:lnTo>
                    <a:pt x="904" y="617"/>
                  </a:lnTo>
                  <a:lnTo>
                    <a:pt x="904" y="617"/>
                  </a:lnTo>
                  <a:lnTo>
                    <a:pt x="904" y="617"/>
                  </a:lnTo>
                  <a:lnTo>
                    <a:pt x="906" y="617"/>
                  </a:lnTo>
                  <a:lnTo>
                    <a:pt x="906" y="617"/>
                  </a:lnTo>
                  <a:lnTo>
                    <a:pt x="906" y="617"/>
                  </a:lnTo>
                  <a:lnTo>
                    <a:pt x="906" y="617"/>
                  </a:lnTo>
                  <a:lnTo>
                    <a:pt x="908" y="617"/>
                  </a:lnTo>
                  <a:lnTo>
                    <a:pt x="908" y="617"/>
                  </a:lnTo>
                  <a:lnTo>
                    <a:pt x="908" y="619"/>
                  </a:lnTo>
                  <a:lnTo>
                    <a:pt x="908" y="619"/>
                  </a:lnTo>
                  <a:lnTo>
                    <a:pt x="908" y="619"/>
                  </a:lnTo>
                  <a:lnTo>
                    <a:pt x="908" y="619"/>
                  </a:lnTo>
                  <a:lnTo>
                    <a:pt x="908" y="619"/>
                  </a:lnTo>
                  <a:lnTo>
                    <a:pt x="908" y="619"/>
                  </a:lnTo>
                  <a:lnTo>
                    <a:pt x="908" y="621"/>
                  </a:lnTo>
                  <a:lnTo>
                    <a:pt x="908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1"/>
                  </a:lnTo>
                  <a:lnTo>
                    <a:pt x="910" y="623"/>
                  </a:lnTo>
                  <a:lnTo>
                    <a:pt x="910" y="623"/>
                  </a:lnTo>
                  <a:lnTo>
                    <a:pt x="910" y="623"/>
                  </a:lnTo>
                  <a:lnTo>
                    <a:pt x="913" y="623"/>
                  </a:lnTo>
                  <a:lnTo>
                    <a:pt x="913" y="623"/>
                  </a:lnTo>
                  <a:lnTo>
                    <a:pt x="913" y="623"/>
                  </a:lnTo>
                  <a:lnTo>
                    <a:pt x="913" y="623"/>
                  </a:lnTo>
                  <a:lnTo>
                    <a:pt x="913" y="626"/>
                  </a:lnTo>
                  <a:lnTo>
                    <a:pt x="913" y="626"/>
                  </a:lnTo>
                  <a:lnTo>
                    <a:pt x="913" y="626"/>
                  </a:lnTo>
                  <a:lnTo>
                    <a:pt x="913" y="626"/>
                  </a:lnTo>
                  <a:lnTo>
                    <a:pt x="913" y="626"/>
                  </a:lnTo>
                  <a:lnTo>
                    <a:pt x="913" y="626"/>
                  </a:lnTo>
                  <a:lnTo>
                    <a:pt x="913" y="628"/>
                  </a:lnTo>
                  <a:lnTo>
                    <a:pt x="913" y="628"/>
                  </a:lnTo>
                  <a:lnTo>
                    <a:pt x="913" y="628"/>
                  </a:lnTo>
                  <a:lnTo>
                    <a:pt x="913" y="630"/>
                  </a:lnTo>
                  <a:lnTo>
                    <a:pt x="913" y="630"/>
                  </a:lnTo>
                  <a:lnTo>
                    <a:pt x="913" y="630"/>
                  </a:lnTo>
                  <a:lnTo>
                    <a:pt x="913" y="630"/>
                  </a:lnTo>
                  <a:lnTo>
                    <a:pt x="913" y="630"/>
                  </a:lnTo>
                  <a:lnTo>
                    <a:pt x="913" y="630"/>
                  </a:lnTo>
                  <a:lnTo>
                    <a:pt x="913" y="632"/>
                  </a:lnTo>
                  <a:lnTo>
                    <a:pt x="913" y="632"/>
                  </a:lnTo>
                  <a:lnTo>
                    <a:pt x="910" y="632"/>
                  </a:lnTo>
                  <a:lnTo>
                    <a:pt x="910" y="632"/>
                  </a:lnTo>
                  <a:lnTo>
                    <a:pt x="910" y="632"/>
                  </a:lnTo>
                  <a:lnTo>
                    <a:pt x="908" y="635"/>
                  </a:lnTo>
                  <a:lnTo>
                    <a:pt x="908" y="635"/>
                  </a:lnTo>
                  <a:lnTo>
                    <a:pt x="906" y="635"/>
                  </a:lnTo>
                  <a:lnTo>
                    <a:pt x="906" y="635"/>
                  </a:lnTo>
                  <a:lnTo>
                    <a:pt x="906" y="637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1" y="637"/>
                  </a:lnTo>
                  <a:lnTo>
                    <a:pt x="901" y="637"/>
                  </a:lnTo>
                  <a:lnTo>
                    <a:pt x="901" y="639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7" y="639"/>
                  </a:lnTo>
                  <a:lnTo>
                    <a:pt x="897" y="641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9" y="639"/>
                  </a:lnTo>
                  <a:lnTo>
                    <a:pt x="899" y="641"/>
                  </a:lnTo>
                  <a:lnTo>
                    <a:pt x="899" y="641"/>
                  </a:lnTo>
                  <a:lnTo>
                    <a:pt x="899" y="641"/>
                  </a:lnTo>
                  <a:lnTo>
                    <a:pt x="899" y="641"/>
                  </a:lnTo>
                  <a:lnTo>
                    <a:pt x="899" y="641"/>
                  </a:lnTo>
                  <a:lnTo>
                    <a:pt x="901" y="639"/>
                  </a:lnTo>
                  <a:lnTo>
                    <a:pt x="901" y="639"/>
                  </a:lnTo>
                  <a:lnTo>
                    <a:pt x="901" y="639"/>
                  </a:lnTo>
                  <a:lnTo>
                    <a:pt x="904" y="639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4" y="637"/>
                  </a:lnTo>
                  <a:lnTo>
                    <a:pt x="906" y="637"/>
                  </a:lnTo>
                  <a:lnTo>
                    <a:pt x="906" y="637"/>
                  </a:lnTo>
                  <a:lnTo>
                    <a:pt x="906" y="637"/>
                  </a:lnTo>
                  <a:lnTo>
                    <a:pt x="906" y="637"/>
                  </a:lnTo>
                  <a:lnTo>
                    <a:pt x="908" y="637"/>
                  </a:lnTo>
                  <a:lnTo>
                    <a:pt x="908" y="635"/>
                  </a:lnTo>
                  <a:lnTo>
                    <a:pt x="908" y="635"/>
                  </a:lnTo>
                  <a:lnTo>
                    <a:pt x="908" y="635"/>
                  </a:lnTo>
                  <a:lnTo>
                    <a:pt x="910" y="635"/>
                  </a:lnTo>
                  <a:lnTo>
                    <a:pt x="913" y="632"/>
                  </a:lnTo>
                  <a:lnTo>
                    <a:pt x="913" y="632"/>
                  </a:lnTo>
                  <a:lnTo>
                    <a:pt x="915" y="635"/>
                  </a:lnTo>
                  <a:lnTo>
                    <a:pt x="915" y="635"/>
                  </a:lnTo>
                  <a:lnTo>
                    <a:pt x="915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7" y="635"/>
                  </a:lnTo>
                  <a:lnTo>
                    <a:pt x="919" y="635"/>
                  </a:lnTo>
                  <a:lnTo>
                    <a:pt x="919" y="637"/>
                  </a:lnTo>
                  <a:lnTo>
                    <a:pt x="919" y="637"/>
                  </a:lnTo>
                  <a:lnTo>
                    <a:pt x="922" y="637"/>
                  </a:lnTo>
                  <a:lnTo>
                    <a:pt x="922" y="639"/>
                  </a:lnTo>
                  <a:lnTo>
                    <a:pt x="922" y="639"/>
                  </a:lnTo>
                  <a:lnTo>
                    <a:pt x="922" y="639"/>
                  </a:lnTo>
                  <a:lnTo>
                    <a:pt x="922" y="639"/>
                  </a:lnTo>
                  <a:lnTo>
                    <a:pt x="924" y="641"/>
                  </a:lnTo>
                  <a:lnTo>
                    <a:pt x="924" y="644"/>
                  </a:lnTo>
                  <a:lnTo>
                    <a:pt x="924" y="644"/>
                  </a:lnTo>
                  <a:lnTo>
                    <a:pt x="924" y="646"/>
                  </a:lnTo>
                  <a:lnTo>
                    <a:pt x="924" y="646"/>
                  </a:lnTo>
                  <a:lnTo>
                    <a:pt x="924" y="646"/>
                  </a:lnTo>
                  <a:lnTo>
                    <a:pt x="924" y="646"/>
                  </a:lnTo>
                  <a:lnTo>
                    <a:pt x="924" y="646"/>
                  </a:lnTo>
                  <a:lnTo>
                    <a:pt x="924" y="646"/>
                  </a:lnTo>
                  <a:lnTo>
                    <a:pt x="924" y="648"/>
                  </a:lnTo>
                  <a:lnTo>
                    <a:pt x="924" y="648"/>
                  </a:lnTo>
                  <a:lnTo>
                    <a:pt x="924" y="646"/>
                  </a:lnTo>
                  <a:lnTo>
                    <a:pt x="926" y="646"/>
                  </a:lnTo>
                  <a:lnTo>
                    <a:pt x="924" y="646"/>
                  </a:lnTo>
                  <a:lnTo>
                    <a:pt x="924" y="646"/>
                  </a:lnTo>
                  <a:lnTo>
                    <a:pt x="924" y="644"/>
                  </a:lnTo>
                  <a:lnTo>
                    <a:pt x="924" y="644"/>
                  </a:lnTo>
                  <a:lnTo>
                    <a:pt x="924" y="644"/>
                  </a:lnTo>
                  <a:lnTo>
                    <a:pt x="924" y="644"/>
                  </a:lnTo>
                  <a:lnTo>
                    <a:pt x="924" y="644"/>
                  </a:lnTo>
                  <a:lnTo>
                    <a:pt x="924" y="641"/>
                  </a:lnTo>
                  <a:lnTo>
                    <a:pt x="924" y="641"/>
                  </a:lnTo>
                  <a:lnTo>
                    <a:pt x="922" y="639"/>
                  </a:lnTo>
                  <a:lnTo>
                    <a:pt x="922" y="639"/>
                  </a:lnTo>
                  <a:lnTo>
                    <a:pt x="922" y="639"/>
                  </a:lnTo>
                  <a:lnTo>
                    <a:pt x="922" y="637"/>
                  </a:lnTo>
                  <a:lnTo>
                    <a:pt x="922" y="637"/>
                  </a:lnTo>
                  <a:lnTo>
                    <a:pt x="922" y="635"/>
                  </a:lnTo>
                  <a:lnTo>
                    <a:pt x="924" y="635"/>
                  </a:lnTo>
                  <a:lnTo>
                    <a:pt x="924" y="635"/>
                  </a:lnTo>
                  <a:lnTo>
                    <a:pt x="924" y="632"/>
                  </a:lnTo>
                  <a:lnTo>
                    <a:pt x="924" y="632"/>
                  </a:lnTo>
                  <a:lnTo>
                    <a:pt x="924" y="632"/>
                  </a:lnTo>
                  <a:lnTo>
                    <a:pt x="924" y="632"/>
                  </a:lnTo>
                  <a:lnTo>
                    <a:pt x="926" y="632"/>
                  </a:lnTo>
                  <a:lnTo>
                    <a:pt x="926" y="632"/>
                  </a:lnTo>
                  <a:lnTo>
                    <a:pt x="926" y="632"/>
                  </a:lnTo>
                  <a:lnTo>
                    <a:pt x="926" y="632"/>
                  </a:lnTo>
                  <a:lnTo>
                    <a:pt x="928" y="630"/>
                  </a:lnTo>
                  <a:lnTo>
                    <a:pt x="928" y="630"/>
                  </a:lnTo>
                  <a:lnTo>
                    <a:pt x="928" y="630"/>
                  </a:lnTo>
                  <a:lnTo>
                    <a:pt x="928" y="630"/>
                  </a:lnTo>
                  <a:lnTo>
                    <a:pt x="928" y="630"/>
                  </a:lnTo>
                  <a:lnTo>
                    <a:pt x="928" y="630"/>
                  </a:lnTo>
                  <a:lnTo>
                    <a:pt x="928" y="628"/>
                  </a:lnTo>
                  <a:lnTo>
                    <a:pt x="928" y="628"/>
                  </a:lnTo>
                  <a:lnTo>
                    <a:pt x="931" y="628"/>
                  </a:lnTo>
                  <a:lnTo>
                    <a:pt x="931" y="628"/>
                  </a:lnTo>
                  <a:lnTo>
                    <a:pt x="935" y="626"/>
                  </a:lnTo>
                  <a:lnTo>
                    <a:pt x="935" y="626"/>
                  </a:lnTo>
                  <a:lnTo>
                    <a:pt x="935" y="626"/>
                  </a:lnTo>
                  <a:lnTo>
                    <a:pt x="935" y="626"/>
                  </a:lnTo>
                  <a:lnTo>
                    <a:pt x="935" y="626"/>
                  </a:lnTo>
                  <a:lnTo>
                    <a:pt x="935" y="628"/>
                  </a:lnTo>
                  <a:lnTo>
                    <a:pt x="935" y="628"/>
                  </a:lnTo>
                  <a:lnTo>
                    <a:pt x="935" y="628"/>
                  </a:lnTo>
                  <a:lnTo>
                    <a:pt x="935" y="628"/>
                  </a:lnTo>
                  <a:lnTo>
                    <a:pt x="935" y="628"/>
                  </a:lnTo>
                  <a:lnTo>
                    <a:pt x="935" y="630"/>
                  </a:lnTo>
                  <a:lnTo>
                    <a:pt x="935" y="628"/>
                  </a:lnTo>
                  <a:lnTo>
                    <a:pt x="937" y="628"/>
                  </a:lnTo>
                  <a:lnTo>
                    <a:pt x="937" y="628"/>
                  </a:lnTo>
                  <a:lnTo>
                    <a:pt x="937" y="628"/>
                  </a:lnTo>
                  <a:lnTo>
                    <a:pt x="937" y="628"/>
                  </a:lnTo>
                  <a:lnTo>
                    <a:pt x="937" y="628"/>
                  </a:lnTo>
                  <a:lnTo>
                    <a:pt x="937" y="630"/>
                  </a:lnTo>
                  <a:lnTo>
                    <a:pt x="937" y="630"/>
                  </a:lnTo>
                  <a:lnTo>
                    <a:pt x="937" y="630"/>
                  </a:lnTo>
                  <a:lnTo>
                    <a:pt x="937" y="630"/>
                  </a:lnTo>
                  <a:lnTo>
                    <a:pt x="937" y="630"/>
                  </a:lnTo>
                  <a:lnTo>
                    <a:pt x="937" y="630"/>
                  </a:lnTo>
                  <a:lnTo>
                    <a:pt x="937" y="632"/>
                  </a:lnTo>
                  <a:lnTo>
                    <a:pt x="937" y="632"/>
                  </a:lnTo>
                  <a:lnTo>
                    <a:pt x="937" y="632"/>
                  </a:lnTo>
                  <a:lnTo>
                    <a:pt x="937" y="632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7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37" y="635"/>
                  </a:lnTo>
                  <a:lnTo>
                    <a:pt x="940" y="635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0" y="632"/>
                  </a:lnTo>
                  <a:lnTo>
                    <a:pt x="942" y="630"/>
                  </a:lnTo>
                  <a:lnTo>
                    <a:pt x="942" y="630"/>
                  </a:lnTo>
                  <a:lnTo>
                    <a:pt x="942" y="630"/>
                  </a:lnTo>
                  <a:lnTo>
                    <a:pt x="944" y="630"/>
                  </a:lnTo>
                  <a:lnTo>
                    <a:pt x="944" y="630"/>
                  </a:lnTo>
                  <a:lnTo>
                    <a:pt x="944" y="630"/>
                  </a:lnTo>
                  <a:lnTo>
                    <a:pt x="944" y="630"/>
                  </a:lnTo>
                  <a:lnTo>
                    <a:pt x="942" y="630"/>
                  </a:lnTo>
                  <a:lnTo>
                    <a:pt x="942" y="630"/>
                  </a:lnTo>
                  <a:lnTo>
                    <a:pt x="942" y="628"/>
                  </a:lnTo>
                  <a:lnTo>
                    <a:pt x="942" y="628"/>
                  </a:lnTo>
                  <a:lnTo>
                    <a:pt x="944" y="628"/>
                  </a:lnTo>
                  <a:lnTo>
                    <a:pt x="944" y="628"/>
                  </a:lnTo>
                  <a:lnTo>
                    <a:pt x="944" y="628"/>
                  </a:lnTo>
                  <a:lnTo>
                    <a:pt x="944" y="628"/>
                  </a:lnTo>
                  <a:lnTo>
                    <a:pt x="942" y="628"/>
                  </a:lnTo>
                  <a:lnTo>
                    <a:pt x="942" y="628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6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2" y="623"/>
                  </a:lnTo>
                  <a:lnTo>
                    <a:pt x="944" y="623"/>
                  </a:lnTo>
                  <a:lnTo>
                    <a:pt x="944" y="623"/>
                  </a:lnTo>
                  <a:lnTo>
                    <a:pt x="944" y="623"/>
                  </a:lnTo>
                  <a:lnTo>
                    <a:pt x="944" y="623"/>
                  </a:lnTo>
                  <a:lnTo>
                    <a:pt x="944" y="621"/>
                  </a:lnTo>
                  <a:lnTo>
                    <a:pt x="946" y="621"/>
                  </a:lnTo>
                  <a:lnTo>
                    <a:pt x="946" y="621"/>
                  </a:lnTo>
                  <a:lnTo>
                    <a:pt x="946" y="621"/>
                  </a:lnTo>
                  <a:lnTo>
                    <a:pt x="946" y="621"/>
                  </a:lnTo>
                  <a:lnTo>
                    <a:pt x="946" y="621"/>
                  </a:lnTo>
                  <a:lnTo>
                    <a:pt x="946" y="619"/>
                  </a:lnTo>
                  <a:lnTo>
                    <a:pt x="946" y="619"/>
                  </a:lnTo>
                  <a:lnTo>
                    <a:pt x="946" y="619"/>
                  </a:lnTo>
                  <a:lnTo>
                    <a:pt x="946" y="619"/>
                  </a:lnTo>
                  <a:lnTo>
                    <a:pt x="949" y="619"/>
                  </a:lnTo>
                  <a:lnTo>
                    <a:pt x="949" y="619"/>
                  </a:lnTo>
                  <a:lnTo>
                    <a:pt x="949" y="619"/>
                  </a:lnTo>
                  <a:lnTo>
                    <a:pt x="949" y="619"/>
                  </a:lnTo>
                  <a:lnTo>
                    <a:pt x="949" y="619"/>
                  </a:lnTo>
                  <a:lnTo>
                    <a:pt x="951" y="619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1" y="617"/>
                  </a:lnTo>
                  <a:lnTo>
                    <a:pt x="953" y="617"/>
                  </a:lnTo>
                  <a:lnTo>
                    <a:pt x="953" y="617"/>
                  </a:lnTo>
                  <a:lnTo>
                    <a:pt x="953" y="614"/>
                  </a:lnTo>
                  <a:lnTo>
                    <a:pt x="953" y="614"/>
                  </a:lnTo>
                  <a:lnTo>
                    <a:pt x="953" y="614"/>
                  </a:lnTo>
                  <a:lnTo>
                    <a:pt x="953" y="614"/>
                  </a:lnTo>
                  <a:lnTo>
                    <a:pt x="953" y="614"/>
                  </a:lnTo>
                  <a:lnTo>
                    <a:pt x="955" y="614"/>
                  </a:lnTo>
                  <a:lnTo>
                    <a:pt x="955" y="614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7" y="612"/>
                  </a:lnTo>
                  <a:lnTo>
                    <a:pt x="957" y="612"/>
                  </a:lnTo>
                  <a:lnTo>
                    <a:pt x="957" y="612"/>
                  </a:lnTo>
                  <a:lnTo>
                    <a:pt x="957" y="612"/>
                  </a:lnTo>
                  <a:lnTo>
                    <a:pt x="957" y="612"/>
                  </a:lnTo>
                  <a:lnTo>
                    <a:pt x="957" y="612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5" y="612"/>
                  </a:lnTo>
                  <a:lnTo>
                    <a:pt x="957" y="610"/>
                  </a:lnTo>
                  <a:lnTo>
                    <a:pt x="957" y="610"/>
                  </a:lnTo>
                  <a:lnTo>
                    <a:pt x="957" y="610"/>
                  </a:lnTo>
                  <a:lnTo>
                    <a:pt x="957" y="610"/>
                  </a:lnTo>
                  <a:lnTo>
                    <a:pt x="957" y="610"/>
                  </a:lnTo>
                  <a:lnTo>
                    <a:pt x="957" y="610"/>
                  </a:lnTo>
                  <a:lnTo>
                    <a:pt x="957" y="610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8"/>
                  </a:lnTo>
                  <a:lnTo>
                    <a:pt x="957" y="605"/>
                  </a:lnTo>
                  <a:lnTo>
                    <a:pt x="957" y="605"/>
                  </a:lnTo>
                  <a:lnTo>
                    <a:pt x="957" y="605"/>
                  </a:lnTo>
                  <a:lnTo>
                    <a:pt x="957" y="605"/>
                  </a:lnTo>
                  <a:lnTo>
                    <a:pt x="957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5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3"/>
                  </a:lnTo>
                  <a:lnTo>
                    <a:pt x="955" y="601"/>
                  </a:lnTo>
                  <a:lnTo>
                    <a:pt x="955" y="601"/>
                  </a:lnTo>
                  <a:lnTo>
                    <a:pt x="955" y="601"/>
                  </a:lnTo>
                  <a:lnTo>
                    <a:pt x="955" y="601"/>
                  </a:lnTo>
                  <a:lnTo>
                    <a:pt x="955" y="601"/>
                  </a:lnTo>
                  <a:lnTo>
                    <a:pt x="955" y="601"/>
                  </a:lnTo>
                  <a:lnTo>
                    <a:pt x="955" y="601"/>
                  </a:lnTo>
                  <a:lnTo>
                    <a:pt x="957" y="601"/>
                  </a:lnTo>
                  <a:lnTo>
                    <a:pt x="957" y="601"/>
                  </a:lnTo>
                  <a:lnTo>
                    <a:pt x="957" y="601"/>
                  </a:lnTo>
                  <a:lnTo>
                    <a:pt x="957" y="601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60" y="599"/>
                  </a:lnTo>
                  <a:lnTo>
                    <a:pt x="960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7" y="599"/>
                  </a:lnTo>
                  <a:lnTo>
                    <a:pt x="955" y="599"/>
                  </a:lnTo>
                  <a:lnTo>
                    <a:pt x="955" y="599"/>
                  </a:lnTo>
                  <a:lnTo>
                    <a:pt x="955" y="599"/>
                  </a:lnTo>
                  <a:lnTo>
                    <a:pt x="955" y="596"/>
                  </a:lnTo>
                  <a:lnTo>
                    <a:pt x="955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60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4"/>
                  </a:lnTo>
                  <a:lnTo>
                    <a:pt x="957" y="594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7" y="596"/>
                  </a:lnTo>
                  <a:lnTo>
                    <a:pt x="955" y="596"/>
                  </a:lnTo>
                  <a:lnTo>
                    <a:pt x="955" y="594"/>
                  </a:lnTo>
                  <a:lnTo>
                    <a:pt x="955" y="594"/>
                  </a:lnTo>
                  <a:lnTo>
                    <a:pt x="955" y="594"/>
                  </a:lnTo>
                  <a:lnTo>
                    <a:pt x="957" y="594"/>
                  </a:lnTo>
                  <a:lnTo>
                    <a:pt x="957" y="594"/>
                  </a:lnTo>
                  <a:lnTo>
                    <a:pt x="957" y="594"/>
                  </a:lnTo>
                  <a:lnTo>
                    <a:pt x="957" y="594"/>
                  </a:lnTo>
                  <a:lnTo>
                    <a:pt x="957" y="594"/>
                  </a:lnTo>
                  <a:lnTo>
                    <a:pt x="957" y="594"/>
                  </a:lnTo>
                  <a:lnTo>
                    <a:pt x="955" y="594"/>
                  </a:lnTo>
                  <a:lnTo>
                    <a:pt x="957" y="592"/>
                  </a:lnTo>
                  <a:lnTo>
                    <a:pt x="957" y="592"/>
                  </a:lnTo>
                  <a:lnTo>
                    <a:pt x="957" y="592"/>
                  </a:lnTo>
                  <a:lnTo>
                    <a:pt x="957" y="592"/>
                  </a:lnTo>
                  <a:lnTo>
                    <a:pt x="960" y="592"/>
                  </a:lnTo>
                  <a:lnTo>
                    <a:pt x="960" y="592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90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7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5"/>
                  </a:lnTo>
                  <a:lnTo>
                    <a:pt x="960" y="585"/>
                  </a:lnTo>
                  <a:lnTo>
                    <a:pt x="962" y="585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3"/>
                  </a:lnTo>
                  <a:lnTo>
                    <a:pt x="962" y="583"/>
                  </a:lnTo>
                  <a:lnTo>
                    <a:pt x="960" y="583"/>
                  </a:lnTo>
                  <a:lnTo>
                    <a:pt x="960" y="583"/>
                  </a:lnTo>
                  <a:lnTo>
                    <a:pt x="960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2" y="581"/>
                  </a:lnTo>
                  <a:lnTo>
                    <a:pt x="960" y="578"/>
                  </a:lnTo>
                  <a:lnTo>
                    <a:pt x="960" y="578"/>
                  </a:lnTo>
                  <a:lnTo>
                    <a:pt x="960" y="578"/>
                  </a:lnTo>
                  <a:lnTo>
                    <a:pt x="960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2" y="578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6" y="576"/>
                  </a:lnTo>
                  <a:lnTo>
                    <a:pt x="966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6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6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4" y="574"/>
                  </a:lnTo>
                  <a:lnTo>
                    <a:pt x="966" y="572"/>
                  </a:lnTo>
                  <a:lnTo>
                    <a:pt x="966" y="574"/>
                  </a:lnTo>
                  <a:lnTo>
                    <a:pt x="966" y="572"/>
                  </a:lnTo>
                  <a:lnTo>
                    <a:pt x="966" y="572"/>
                  </a:lnTo>
                  <a:lnTo>
                    <a:pt x="966" y="572"/>
                  </a:lnTo>
                  <a:lnTo>
                    <a:pt x="966" y="572"/>
                  </a:lnTo>
                  <a:lnTo>
                    <a:pt x="964" y="572"/>
                  </a:lnTo>
                  <a:lnTo>
                    <a:pt x="964" y="572"/>
                  </a:lnTo>
                  <a:lnTo>
                    <a:pt x="964" y="572"/>
                  </a:lnTo>
                  <a:lnTo>
                    <a:pt x="966" y="572"/>
                  </a:lnTo>
                  <a:lnTo>
                    <a:pt x="964" y="572"/>
                  </a:lnTo>
                  <a:lnTo>
                    <a:pt x="962" y="572"/>
                  </a:lnTo>
                  <a:lnTo>
                    <a:pt x="962" y="572"/>
                  </a:lnTo>
                  <a:lnTo>
                    <a:pt x="962" y="572"/>
                  </a:lnTo>
                  <a:lnTo>
                    <a:pt x="964" y="572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6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4" y="569"/>
                  </a:lnTo>
                  <a:lnTo>
                    <a:pt x="962" y="569"/>
                  </a:lnTo>
                  <a:lnTo>
                    <a:pt x="962" y="569"/>
                  </a:lnTo>
                  <a:lnTo>
                    <a:pt x="962" y="569"/>
                  </a:lnTo>
                  <a:lnTo>
                    <a:pt x="962" y="567"/>
                  </a:lnTo>
                  <a:lnTo>
                    <a:pt x="962" y="567"/>
                  </a:lnTo>
                  <a:lnTo>
                    <a:pt x="962" y="567"/>
                  </a:lnTo>
                  <a:lnTo>
                    <a:pt x="964" y="567"/>
                  </a:lnTo>
                  <a:lnTo>
                    <a:pt x="962" y="567"/>
                  </a:lnTo>
                  <a:lnTo>
                    <a:pt x="964" y="567"/>
                  </a:lnTo>
                  <a:lnTo>
                    <a:pt x="964" y="567"/>
                  </a:lnTo>
                  <a:lnTo>
                    <a:pt x="964" y="567"/>
                  </a:lnTo>
                  <a:lnTo>
                    <a:pt x="964" y="567"/>
                  </a:lnTo>
                  <a:lnTo>
                    <a:pt x="964" y="567"/>
                  </a:lnTo>
                  <a:lnTo>
                    <a:pt x="964" y="567"/>
                  </a:lnTo>
                  <a:lnTo>
                    <a:pt x="962" y="567"/>
                  </a:lnTo>
                  <a:lnTo>
                    <a:pt x="962" y="567"/>
                  </a:lnTo>
                  <a:lnTo>
                    <a:pt x="962" y="567"/>
                  </a:lnTo>
                  <a:lnTo>
                    <a:pt x="962" y="567"/>
                  </a:lnTo>
                  <a:lnTo>
                    <a:pt x="962" y="567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5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3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4" y="560"/>
                  </a:lnTo>
                  <a:lnTo>
                    <a:pt x="964" y="560"/>
                  </a:lnTo>
                  <a:lnTo>
                    <a:pt x="964" y="558"/>
                  </a:lnTo>
                  <a:lnTo>
                    <a:pt x="964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60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0" y="558"/>
                  </a:lnTo>
                  <a:lnTo>
                    <a:pt x="960" y="558"/>
                  </a:lnTo>
                  <a:lnTo>
                    <a:pt x="960" y="558"/>
                  </a:lnTo>
                  <a:lnTo>
                    <a:pt x="962" y="558"/>
                  </a:lnTo>
                  <a:lnTo>
                    <a:pt x="962" y="558"/>
                  </a:lnTo>
                  <a:lnTo>
                    <a:pt x="962" y="556"/>
                  </a:lnTo>
                  <a:lnTo>
                    <a:pt x="962" y="556"/>
                  </a:lnTo>
                  <a:lnTo>
                    <a:pt x="962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4" y="556"/>
                  </a:lnTo>
                  <a:lnTo>
                    <a:pt x="966" y="556"/>
                  </a:lnTo>
                  <a:lnTo>
                    <a:pt x="966" y="556"/>
                  </a:lnTo>
                  <a:lnTo>
                    <a:pt x="966" y="556"/>
                  </a:lnTo>
                  <a:lnTo>
                    <a:pt x="966" y="556"/>
                  </a:lnTo>
                  <a:lnTo>
                    <a:pt x="969" y="556"/>
                  </a:lnTo>
                  <a:lnTo>
                    <a:pt x="969" y="556"/>
                  </a:lnTo>
                  <a:lnTo>
                    <a:pt x="969" y="556"/>
                  </a:lnTo>
                  <a:lnTo>
                    <a:pt x="969" y="556"/>
                  </a:lnTo>
                  <a:lnTo>
                    <a:pt x="969" y="556"/>
                  </a:lnTo>
                  <a:lnTo>
                    <a:pt x="971" y="554"/>
                  </a:lnTo>
                  <a:lnTo>
                    <a:pt x="975" y="554"/>
                  </a:lnTo>
                  <a:lnTo>
                    <a:pt x="978" y="554"/>
                  </a:lnTo>
                  <a:lnTo>
                    <a:pt x="978" y="551"/>
                  </a:lnTo>
                  <a:lnTo>
                    <a:pt x="978" y="551"/>
                  </a:lnTo>
                  <a:lnTo>
                    <a:pt x="980" y="551"/>
                  </a:lnTo>
                  <a:lnTo>
                    <a:pt x="982" y="551"/>
                  </a:lnTo>
                  <a:lnTo>
                    <a:pt x="982" y="551"/>
                  </a:lnTo>
                  <a:lnTo>
                    <a:pt x="984" y="551"/>
                  </a:lnTo>
                  <a:lnTo>
                    <a:pt x="984" y="551"/>
                  </a:lnTo>
                  <a:lnTo>
                    <a:pt x="984" y="551"/>
                  </a:lnTo>
                  <a:lnTo>
                    <a:pt x="987" y="549"/>
                  </a:lnTo>
                  <a:lnTo>
                    <a:pt x="987" y="549"/>
                  </a:lnTo>
                  <a:lnTo>
                    <a:pt x="987" y="549"/>
                  </a:lnTo>
                  <a:lnTo>
                    <a:pt x="989" y="549"/>
                  </a:lnTo>
                  <a:lnTo>
                    <a:pt x="989" y="549"/>
                  </a:lnTo>
                  <a:lnTo>
                    <a:pt x="989" y="549"/>
                  </a:lnTo>
                  <a:lnTo>
                    <a:pt x="991" y="549"/>
                  </a:lnTo>
                  <a:lnTo>
                    <a:pt x="991" y="549"/>
                  </a:lnTo>
                  <a:lnTo>
                    <a:pt x="991" y="549"/>
                  </a:lnTo>
                  <a:lnTo>
                    <a:pt x="991" y="549"/>
                  </a:lnTo>
                  <a:lnTo>
                    <a:pt x="993" y="547"/>
                  </a:lnTo>
                  <a:lnTo>
                    <a:pt x="996" y="547"/>
                  </a:lnTo>
                  <a:lnTo>
                    <a:pt x="996" y="547"/>
                  </a:lnTo>
                  <a:lnTo>
                    <a:pt x="998" y="547"/>
                  </a:lnTo>
                  <a:lnTo>
                    <a:pt x="1000" y="545"/>
                  </a:lnTo>
                  <a:lnTo>
                    <a:pt x="1002" y="545"/>
                  </a:lnTo>
                  <a:lnTo>
                    <a:pt x="1002" y="545"/>
                  </a:lnTo>
                  <a:lnTo>
                    <a:pt x="1005" y="542"/>
                  </a:lnTo>
                  <a:lnTo>
                    <a:pt x="1005" y="542"/>
                  </a:lnTo>
                  <a:lnTo>
                    <a:pt x="1007" y="542"/>
                  </a:lnTo>
                  <a:lnTo>
                    <a:pt x="1016" y="538"/>
                  </a:lnTo>
                  <a:lnTo>
                    <a:pt x="1018" y="536"/>
                  </a:lnTo>
                  <a:lnTo>
                    <a:pt x="1018" y="536"/>
                  </a:lnTo>
                  <a:lnTo>
                    <a:pt x="1018" y="536"/>
                  </a:lnTo>
                  <a:lnTo>
                    <a:pt x="1018" y="533"/>
                  </a:lnTo>
                  <a:lnTo>
                    <a:pt x="1020" y="533"/>
                  </a:lnTo>
                  <a:lnTo>
                    <a:pt x="1018" y="533"/>
                  </a:lnTo>
                  <a:lnTo>
                    <a:pt x="1018" y="533"/>
                  </a:lnTo>
                  <a:lnTo>
                    <a:pt x="1018" y="536"/>
                  </a:lnTo>
                  <a:lnTo>
                    <a:pt x="1018" y="536"/>
                  </a:lnTo>
                  <a:lnTo>
                    <a:pt x="1018" y="536"/>
                  </a:lnTo>
                  <a:lnTo>
                    <a:pt x="1018" y="533"/>
                  </a:lnTo>
                  <a:lnTo>
                    <a:pt x="1020" y="533"/>
                  </a:lnTo>
                  <a:lnTo>
                    <a:pt x="1025" y="529"/>
                  </a:lnTo>
                  <a:lnTo>
                    <a:pt x="1027" y="529"/>
                  </a:lnTo>
                  <a:lnTo>
                    <a:pt x="1027" y="529"/>
                  </a:lnTo>
                  <a:lnTo>
                    <a:pt x="1027" y="529"/>
                  </a:lnTo>
                  <a:lnTo>
                    <a:pt x="1027" y="529"/>
                  </a:lnTo>
                  <a:lnTo>
                    <a:pt x="1027" y="529"/>
                  </a:lnTo>
                  <a:lnTo>
                    <a:pt x="1027" y="529"/>
                  </a:lnTo>
                  <a:lnTo>
                    <a:pt x="1027" y="529"/>
                  </a:lnTo>
                  <a:lnTo>
                    <a:pt x="1029" y="527"/>
                  </a:lnTo>
                  <a:lnTo>
                    <a:pt x="1029" y="527"/>
                  </a:lnTo>
                  <a:lnTo>
                    <a:pt x="1029" y="527"/>
                  </a:lnTo>
                  <a:lnTo>
                    <a:pt x="1032" y="527"/>
                  </a:lnTo>
                  <a:lnTo>
                    <a:pt x="1032" y="524"/>
                  </a:lnTo>
                  <a:lnTo>
                    <a:pt x="1032" y="524"/>
                  </a:lnTo>
                  <a:lnTo>
                    <a:pt x="1034" y="524"/>
                  </a:lnTo>
                  <a:lnTo>
                    <a:pt x="1034" y="522"/>
                  </a:lnTo>
                  <a:lnTo>
                    <a:pt x="1034" y="522"/>
                  </a:lnTo>
                  <a:lnTo>
                    <a:pt x="1036" y="522"/>
                  </a:lnTo>
                  <a:lnTo>
                    <a:pt x="1036" y="520"/>
                  </a:lnTo>
                  <a:lnTo>
                    <a:pt x="1036" y="520"/>
                  </a:lnTo>
                  <a:lnTo>
                    <a:pt x="1036" y="520"/>
                  </a:lnTo>
                  <a:lnTo>
                    <a:pt x="1036" y="520"/>
                  </a:lnTo>
                  <a:lnTo>
                    <a:pt x="1036" y="518"/>
                  </a:lnTo>
                  <a:lnTo>
                    <a:pt x="1038" y="518"/>
                  </a:lnTo>
                  <a:lnTo>
                    <a:pt x="1038" y="518"/>
                  </a:lnTo>
                  <a:lnTo>
                    <a:pt x="1038" y="518"/>
                  </a:lnTo>
                  <a:lnTo>
                    <a:pt x="1038" y="518"/>
                  </a:lnTo>
                  <a:lnTo>
                    <a:pt x="1038" y="518"/>
                  </a:lnTo>
                  <a:lnTo>
                    <a:pt x="1038" y="515"/>
                  </a:lnTo>
                  <a:lnTo>
                    <a:pt x="1038" y="515"/>
                  </a:lnTo>
                  <a:lnTo>
                    <a:pt x="1038" y="515"/>
                  </a:lnTo>
                  <a:lnTo>
                    <a:pt x="1038" y="515"/>
                  </a:lnTo>
                  <a:lnTo>
                    <a:pt x="1041" y="511"/>
                  </a:lnTo>
                  <a:lnTo>
                    <a:pt x="1041" y="511"/>
                  </a:lnTo>
                  <a:lnTo>
                    <a:pt x="1041" y="511"/>
                  </a:lnTo>
                  <a:lnTo>
                    <a:pt x="1043" y="511"/>
                  </a:lnTo>
                  <a:lnTo>
                    <a:pt x="1043" y="511"/>
                  </a:lnTo>
                  <a:lnTo>
                    <a:pt x="1043" y="509"/>
                  </a:lnTo>
                  <a:lnTo>
                    <a:pt x="1043" y="509"/>
                  </a:lnTo>
                  <a:lnTo>
                    <a:pt x="1043" y="509"/>
                  </a:lnTo>
                  <a:lnTo>
                    <a:pt x="1043" y="506"/>
                  </a:lnTo>
                  <a:lnTo>
                    <a:pt x="1043" y="506"/>
                  </a:lnTo>
                  <a:lnTo>
                    <a:pt x="1043" y="504"/>
                  </a:lnTo>
                  <a:lnTo>
                    <a:pt x="1043" y="504"/>
                  </a:lnTo>
                  <a:lnTo>
                    <a:pt x="1045" y="504"/>
                  </a:lnTo>
                  <a:lnTo>
                    <a:pt x="1045" y="504"/>
                  </a:lnTo>
                  <a:lnTo>
                    <a:pt x="1045" y="504"/>
                  </a:lnTo>
                  <a:lnTo>
                    <a:pt x="1045" y="502"/>
                  </a:lnTo>
                  <a:lnTo>
                    <a:pt x="1045" y="502"/>
                  </a:lnTo>
                  <a:lnTo>
                    <a:pt x="1045" y="502"/>
                  </a:lnTo>
                  <a:lnTo>
                    <a:pt x="1045" y="502"/>
                  </a:lnTo>
                  <a:lnTo>
                    <a:pt x="1045" y="502"/>
                  </a:lnTo>
                  <a:lnTo>
                    <a:pt x="1045" y="502"/>
                  </a:lnTo>
                  <a:lnTo>
                    <a:pt x="1045" y="502"/>
                  </a:lnTo>
                  <a:lnTo>
                    <a:pt x="1045" y="500"/>
                  </a:lnTo>
                  <a:lnTo>
                    <a:pt x="1047" y="497"/>
                  </a:lnTo>
                  <a:lnTo>
                    <a:pt x="1047" y="495"/>
                  </a:lnTo>
                  <a:lnTo>
                    <a:pt x="1045" y="495"/>
                  </a:lnTo>
                  <a:lnTo>
                    <a:pt x="1045" y="495"/>
                  </a:lnTo>
                  <a:lnTo>
                    <a:pt x="1045" y="495"/>
                  </a:lnTo>
                  <a:lnTo>
                    <a:pt x="1045" y="495"/>
                  </a:lnTo>
                  <a:lnTo>
                    <a:pt x="1045" y="495"/>
                  </a:lnTo>
                  <a:lnTo>
                    <a:pt x="1047" y="495"/>
                  </a:lnTo>
                  <a:lnTo>
                    <a:pt x="1047" y="495"/>
                  </a:lnTo>
                  <a:lnTo>
                    <a:pt x="1047" y="495"/>
                  </a:lnTo>
                  <a:lnTo>
                    <a:pt x="1047" y="495"/>
                  </a:lnTo>
                  <a:lnTo>
                    <a:pt x="1045" y="495"/>
                  </a:lnTo>
                  <a:lnTo>
                    <a:pt x="1045" y="495"/>
                  </a:lnTo>
                  <a:lnTo>
                    <a:pt x="1047" y="493"/>
                  </a:lnTo>
                  <a:lnTo>
                    <a:pt x="1045" y="493"/>
                  </a:lnTo>
                  <a:lnTo>
                    <a:pt x="1045" y="493"/>
                  </a:lnTo>
                  <a:lnTo>
                    <a:pt x="1047" y="491"/>
                  </a:lnTo>
                  <a:lnTo>
                    <a:pt x="1047" y="488"/>
                  </a:lnTo>
                  <a:lnTo>
                    <a:pt x="1047" y="488"/>
                  </a:lnTo>
                  <a:lnTo>
                    <a:pt x="1047" y="488"/>
                  </a:lnTo>
                  <a:lnTo>
                    <a:pt x="1047" y="488"/>
                  </a:lnTo>
                  <a:lnTo>
                    <a:pt x="1047" y="488"/>
                  </a:lnTo>
                  <a:lnTo>
                    <a:pt x="1045" y="488"/>
                  </a:lnTo>
                  <a:lnTo>
                    <a:pt x="1047" y="488"/>
                  </a:lnTo>
                  <a:lnTo>
                    <a:pt x="1047" y="486"/>
                  </a:lnTo>
                  <a:lnTo>
                    <a:pt x="1045" y="486"/>
                  </a:lnTo>
                  <a:lnTo>
                    <a:pt x="1045" y="486"/>
                  </a:lnTo>
                  <a:lnTo>
                    <a:pt x="1045" y="486"/>
                  </a:lnTo>
                  <a:lnTo>
                    <a:pt x="1045" y="486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4"/>
                  </a:lnTo>
                  <a:lnTo>
                    <a:pt x="1045" y="482"/>
                  </a:lnTo>
                  <a:lnTo>
                    <a:pt x="1043" y="482"/>
                  </a:lnTo>
                  <a:lnTo>
                    <a:pt x="1043" y="482"/>
                  </a:lnTo>
                  <a:lnTo>
                    <a:pt x="1043" y="482"/>
                  </a:lnTo>
                  <a:lnTo>
                    <a:pt x="1043" y="482"/>
                  </a:lnTo>
                  <a:lnTo>
                    <a:pt x="1043" y="482"/>
                  </a:lnTo>
                  <a:lnTo>
                    <a:pt x="1043" y="479"/>
                  </a:lnTo>
                  <a:lnTo>
                    <a:pt x="1043" y="479"/>
                  </a:lnTo>
                  <a:lnTo>
                    <a:pt x="1043" y="479"/>
                  </a:lnTo>
                  <a:lnTo>
                    <a:pt x="1043" y="479"/>
                  </a:lnTo>
                  <a:lnTo>
                    <a:pt x="1041" y="479"/>
                  </a:lnTo>
                  <a:lnTo>
                    <a:pt x="1041" y="479"/>
                  </a:lnTo>
                  <a:lnTo>
                    <a:pt x="1043" y="479"/>
                  </a:lnTo>
                  <a:lnTo>
                    <a:pt x="1043" y="479"/>
                  </a:lnTo>
                  <a:lnTo>
                    <a:pt x="1043" y="479"/>
                  </a:lnTo>
                  <a:lnTo>
                    <a:pt x="1043" y="479"/>
                  </a:lnTo>
                  <a:lnTo>
                    <a:pt x="1041" y="477"/>
                  </a:lnTo>
                  <a:lnTo>
                    <a:pt x="1041" y="477"/>
                  </a:lnTo>
                  <a:lnTo>
                    <a:pt x="1041" y="477"/>
                  </a:lnTo>
                  <a:lnTo>
                    <a:pt x="1038" y="477"/>
                  </a:lnTo>
                  <a:lnTo>
                    <a:pt x="1038" y="477"/>
                  </a:lnTo>
                  <a:lnTo>
                    <a:pt x="1038" y="477"/>
                  </a:lnTo>
                  <a:lnTo>
                    <a:pt x="1036" y="475"/>
                  </a:lnTo>
                  <a:lnTo>
                    <a:pt x="1034" y="475"/>
                  </a:lnTo>
                  <a:lnTo>
                    <a:pt x="1034" y="475"/>
                  </a:lnTo>
                  <a:lnTo>
                    <a:pt x="1036" y="475"/>
                  </a:lnTo>
                  <a:lnTo>
                    <a:pt x="1036" y="475"/>
                  </a:lnTo>
                  <a:lnTo>
                    <a:pt x="1036" y="475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4" y="473"/>
                  </a:lnTo>
                  <a:lnTo>
                    <a:pt x="1032" y="473"/>
                  </a:lnTo>
                  <a:lnTo>
                    <a:pt x="1032" y="473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32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9" y="470"/>
                  </a:lnTo>
                  <a:lnTo>
                    <a:pt x="1027" y="470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29" y="468"/>
                  </a:lnTo>
                  <a:lnTo>
                    <a:pt x="1032" y="468"/>
                  </a:lnTo>
                  <a:lnTo>
                    <a:pt x="1032" y="468"/>
                  </a:lnTo>
                  <a:lnTo>
                    <a:pt x="1032" y="468"/>
                  </a:lnTo>
                  <a:lnTo>
                    <a:pt x="1032" y="468"/>
                  </a:lnTo>
                  <a:lnTo>
                    <a:pt x="1032" y="468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29" y="466"/>
                  </a:lnTo>
                  <a:lnTo>
                    <a:pt x="1029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6"/>
                  </a:lnTo>
                  <a:lnTo>
                    <a:pt x="1032" y="464"/>
                  </a:lnTo>
                  <a:lnTo>
                    <a:pt x="1032" y="464"/>
                  </a:lnTo>
                  <a:lnTo>
                    <a:pt x="1032" y="464"/>
                  </a:lnTo>
                  <a:lnTo>
                    <a:pt x="1032" y="464"/>
                  </a:lnTo>
                  <a:lnTo>
                    <a:pt x="1032" y="464"/>
                  </a:lnTo>
                  <a:lnTo>
                    <a:pt x="1032" y="464"/>
                  </a:lnTo>
                  <a:lnTo>
                    <a:pt x="1032" y="464"/>
                  </a:lnTo>
                  <a:lnTo>
                    <a:pt x="1034" y="461"/>
                  </a:lnTo>
                  <a:lnTo>
                    <a:pt x="1032" y="461"/>
                  </a:lnTo>
                  <a:lnTo>
                    <a:pt x="1032" y="461"/>
                  </a:lnTo>
                  <a:lnTo>
                    <a:pt x="1034" y="461"/>
                  </a:lnTo>
                  <a:lnTo>
                    <a:pt x="1034" y="461"/>
                  </a:lnTo>
                  <a:lnTo>
                    <a:pt x="1034" y="461"/>
                  </a:lnTo>
                  <a:lnTo>
                    <a:pt x="1034" y="464"/>
                  </a:lnTo>
                  <a:lnTo>
                    <a:pt x="1034" y="464"/>
                  </a:lnTo>
                  <a:lnTo>
                    <a:pt x="1034" y="464"/>
                  </a:lnTo>
                  <a:lnTo>
                    <a:pt x="1034" y="464"/>
                  </a:lnTo>
                  <a:lnTo>
                    <a:pt x="1034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6" y="464"/>
                  </a:lnTo>
                  <a:lnTo>
                    <a:pt x="1036" y="464"/>
                  </a:lnTo>
                  <a:lnTo>
                    <a:pt x="1036" y="464"/>
                  </a:lnTo>
                  <a:lnTo>
                    <a:pt x="1036" y="464"/>
                  </a:lnTo>
                  <a:lnTo>
                    <a:pt x="1036" y="464"/>
                  </a:lnTo>
                  <a:lnTo>
                    <a:pt x="1036" y="464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6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61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38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1" y="459"/>
                  </a:lnTo>
                  <a:lnTo>
                    <a:pt x="1043" y="459"/>
                  </a:lnTo>
                  <a:lnTo>
                    <a:pt x="1043" y="459"/>
                  </a:lnTo>
                  <a:lnTo>
                    <a:pt x="1043" y="457"/>
                  </a:lnTo>
                  <a:lnTo>
                    <a:pt x="1043" y="457"/>
                  </a:lnTo>
                  <a:lnTo>
                    <a:pt x="1043" y="457"/>
                  </a:lnTo>
                  <a:lnTo>
                    <a:pt x="1043" y="457"/>
                  </a:lnTo>
                  <a:lnTo>
                    <a:pt x="1043" y="457"/>
                  </a:lnTo>
                  <a:lnTo>
                    <a:pt x="1043" y="457"/>
                  </a:lnTo>
                  <a:lnTo>
                    <a:pt x="1043" y="457"/>
                  </a:lnTo>
                  <a:lnTo>
                    <a:pt x="1045" y="457"/>
                  </a:lnTo>
                  <a:lnTo>
                    <a:pt x="1045" y="457"/>
                  </a:lnTo>
                  <a:lnTo>
                    <a:pt x="1047" y="455"/>
                  </a:lnTo>
                  <a:lnTo>
                    <a:pt x="1047" y="455"/>
                  </a:lnTo>
                  <a:lnTo>
                    <a:pt x="1047" y="455"/>
                  </a:lnTo>
                  <a:lnTo>
                    <a:pt x="1047" y="455"/>
                  </a:lnTo>
                  <a:lnTo>
                    <a:pt x="1050" y="455"/>
                  </a:lnTo>
                  <a:lnTo>
                    <a:pt x="1050" y="455"/>
                  </a:lnTo>
                  <a:lnTo>
                    <a:pt x="1047" y="455"/>
                  </a:lnTo>
                  <a:lnTo>
                    <a:pt x="1047" y="455"/>
                  </a:lnTo>
                  <a:lnTo>
                    <a:pt x="1050" y="455"/>
                  </a:lnTo>
                  <a:lnTo>
                    <a:pt x="1050" y="455"/>
                  </a:lnTo>
                  <a:lnTo>
                    <a:pt x="1050" y="455"/>
                  </a:lnTo>
                  <a:lnTo>
                    <a:pt x="1050" y="455"/>
                  </a:lnTo>
                  <a:lnTo>
                    <a:pt x="1050" y="455"/>
                  </a:lnTo>
                  <a:lnTo>
                    <a:pt x="1050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2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2"/>
                  </a:lnTo>
                  <a:lnTo>
                    <a:pt x="1050" y="450"/>
                  </a:lnTo>
                  <a:lnTo>
                    <a:pt x="1050" y="450"/>
                  </a:lnTo>
                  <a:lnTo>
                    <a:pt x="1052" y="450"/>
                  </a:lnTo>
                  <a:lnTo>
                    <a:pt x="1054" y="450"/>
                  </a:lnTo>
                  <a:lnTo>
                    <a:pt x="1054" y="450"/>
                  </a:lnTo>
                  <a:lnTo>
                    <a:pt x="1054" y="448"/>
                  </a:lnTo>
                  <a:lnTo>
                    <a:pt x="1054" y="448"/>
                  </a:lnTo>
                  <a:lnTo>
                    <a:pt x="1054" y="448"/>
                  </a:lnTo>
                  <a:lnTo>
                    <a:pt x="1054" y="448"/>
                  </a:lnTo>
                  <a:lnTo>
                    <a:pt x="1054" y="448"/>
                  </a:lnTo>
                  <a:lnTo>
                    <a:pt x="1054" y="448"/>
                  </a:lnTo>
                  <a:lnTo>
                    <a:pt x="1054" y="448"/>
                  </a:lnTo>
                  <a:lnTo>
                    <a:pt x="1054" y="446"/>
                  </a:lnTo>
                  <a:lnTo>
                    <a:pt x="1054" y="446"/>
                  </a:lnTo>
                  <a:lnTo>
                    <a:pt x="1054" y="446"/>
                  </a:lnTo>
                  <a:lnTo>
                    <a:pt x="1054" y="446"/>
                  </a:lnTo>
                  <a:lnTo>
                    <a:pt x="1054" y="446"/>
                  </a:lnTo>
                  <a:lnTo>
                    <a:pt x="1056" y="446"/>
                  </a:lnTo>
                  <a:lnTo>
                    <a:pt x="1056" y="446"/>
                  </a:lnTo>
                  <a:lnTo>
                    <a:pt x="1054" y="446"/>
                  </a:lnTo>
                  <a:lnTo>
                    <a:pt x="1056" y="446"/>
                  </a:lnTo>
                  <a:lnTo>
                    <a:pt x="1056" y="446"/>
                  </a:lnTo>
                  <a:lnTo>
                    <a:pt x="1056" y="446"/>
                  </a:lnTo>
                  <a:lnTo>
                    <a:pt x="1056" y="446"/>
                  </a:lnTo>
                  <a:lnTo>
                    <a:pt x="1056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8"/>
                  </a:lnTo>
                  <a:lnTo>
                    <a:pt x="1059" y="448"/>
                  </a:lnTo>
                  <a:lnTo>
                    <a:pt x="1059" y="448"/>
                  </a:lnTo>
                  <a:lnTo>
                    <a:pt x="1059" y="448"/>
                  </a:lnTo>
                  <a:lnTo>
                    <a:pt x="1059" y="448"/>
                  </a:lnTo>
                  <a:lnTo>
                    <a:pt x="1061" y="448"/>
                  </a:lnTo>
                  <a:lnTo>
                    <a:pt x="1061" y="448"/>
                  </a:lnTo>
                  <a:lnTo>
                    <a:pt x="1061" y="448"/>
                  </a:lnTo>
                  <a:lnTo>
                    <a:pt x="1059" y="448"/>
                  </a:lnTo>
                  <a:lnTo>
                    <a:pt x="1059" y="448"/>
                  </a:lnTo>
                  <a:lnTo>
                    <a:pt x="1059" y="448"/>
                  </a:lnTo>
                  <a:lnTo>
                    <a:pt x="1061" y="448"/>
                  </a:lnTo>
                  <a:lnTo>
                    <a:pt x="1061" y="446"/>
                  </a:lnTo>
                  <a:lnTo>
                    <a:pt x="1061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61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59" y="446"/>
                  </a:lnTo>
                  <a:lnTo>
                    <a:pt x="1061" y="446"/>
                  </a:lnTo>
                  <a:lnTo>
                    <a:pt x="1061" y="446"/>
                  </a:lnTo>
                  <a:lnTo>
                    <a:pt x="1061" y="446"/>
                  </a:lnTo>
                  <a:lnTo>
                    <a:pt x="1061" y="446"/>
                  </a:lnTo>
                  <a:lnTo>
                    <a:pt x="1061" y="446"/>
                  </a:lnTo>
                  <a:lnTo>
                    <a:pt x="1061" y="443"/>
                  </a:lnTo>
                  <a:lnTo>
                    <a:pt x="1061" y="443"/>
                  </a:lnTo>
                  <a:lnTo>
                    <a:pt x="1061" y="443"/>
                  </a:lnTo>
                  <a:lnTo>
                    <a:pt x="1063" y="443"/>
                  </a:lnTo>
                  <a:lnTo>
                    <a:pt x="1063" y="443"/>
                  </a:lnTo>
                  <a:lnTo>
                    <a:pt x="1063" y="443"/>
                  </a:lnTo>
                  <a:lnTo>
                    <a:pt x="1063" y="443"/>
                  </a:lnTo>
                  <a:lnTo>
                    <a:pt x="1065" y="443"/>
                  </a:lnTo>
                  <a:lnTo>
                    <a:pt x="1063" y="443"/>
                  </a:lnTo>
                  <a:lnTo>
                    <a:pt x="1063" y="441"/>
                  </a:lnTo>
                  <a:lnTo>
                    <a:pt x="1063" y="441"/>
                  </a:lnTo>
                  <a:lnTo>
                    <a:pt x="1063" y="441"/>
                  </a:lnTo>
                  <a:lnTo>
                    <a:pt x="1063" y="441"/>
                  </a:lnTo>
                  <a:lnTo>
                    <a:pt x="1063" y="441"/>
                  </a:lnTo>
                  <a:lnTo>
                    <a:pt x="1063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41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70" y="439"/>
                  </a:lnTo>
                  <a:lnTo>
                    <a:pt x="1070" y="439"/>
                  </a:lnTo>
                  <a:lnTo>
                    <a:pt x="1070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5" y="439"/>
                  </a:lnTo>
                  <a:lnTo>
                    <a:pt x="1068" y="439"/>
                  </a:lnTo>
                  <a:lnTo>
                    <a:pt x="1068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5" y="439"/>
                  </a:lnTo>
                  <a:lnTo>
                    <a:pt x="1063" y="439"/>
                  </a:lnTo>
                  <a:lnTo>
                    <a:pt x="1063" y="439"/>
                  </a:lnTo>
                  <a:lnTo>
                    <a:pt x="1063" y="439"/>
                  </a:lnTo>
                  <a:lnTo>
                    <a:pt x="1063" y="439"/>
                  </a:lnTo>
                  <a:lnTo>
                    <a:pt x="1061" y="439"/>
                  </a:lnTo>
                  <a:lnTo>
                    <a:pt x="1063" y="437"/>
                  </a:lnTo>
                  <a:lnTo>
                    <a:pt x="1063" y="437"/>
                  </a:lnTo>
                  <a:lnTo>
                    <a:pt x="1063" y="437"/>
                  </a:lnTo>
                  <a:lnTo>
                    <a:pt x="1063" y="437"/>
                  </a:lnTo>
                  <a:lnTo>
                    <a:pt x="1063" y="437"/>
                  </a:lnTo>
                  <a:lnTo>
                    <a:pt x="1063" y="437"/>
                  </a:lnTo>
                  <a:lnTo>
                    <a:pt x="1063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8" y="437"/>
                  </a:lnTo>
                  <a:lnTo>
                    <a:pt x="1065" y="437"/>
                  </a:lnTo>
                  <a:lnTo>
                    <a:pt x="1065" y="437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8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4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2"/>
                  </a:lnTo>
                  <a:lnTo>
                    <a:pt x="1065" y="430"/>
                  </a:lnTo>
                  <a:lnTo>
                    <a:pt x="1065" y="430"/>
                  </a:lnTo>
                  <a:lnTo>
                    <a:pt x="1065" y="430"/>
                  </a:lnTo>
                  <a:lnTo>
                    <a:pt x="1065" y="430"/>
                  </a:lnTo>
                  <a:lnTo>
                    <a:pt x="1068" y="428"/>
                  </a:lnTo>
                  <a:lnTo>
                    <a:pt x="1068" y="428"/>
                  </a:lnTo>
                  <a:lnTo>
                    <a:pt x="1070" y="428"/>
                  </a:lnTo>
                  <a:lnTo>
                    <a:pt x="1070" y="428"/>
                  </a:lnTo>
                  <a:lnTo>
                    <a:pt x="1070" y="428"/>
                  </a:lnTo>
                  <a:lnTo>
                    <a:pt x="1070" y="428"/>
                  </a:lnTo>
                  <a:lnTo>
                    <a:pt x="1072" y="428"/>
                  </a:lnTo>
                  <a:lnTo>
                    <a:pt x="1072" y="428"/>
                  </a:lnTo>
                  <a:lnTo>
                    <a:pt x="1072" y="428"/>
                  </a:lnTo>
                  <a:lnTo>
                    <a:pt x="1070" y="428"/>
                  </a:lnTo>
                  <a:lnTo>
                    <a:pt x="1070" y="428"/>
                  </a:lnTo>
                  <a:lnTo>
                    <a:pt x="1070" y="428"/>
                  </a:lnTo>
                  <a:lnTo>
                    <a:pt x="1068" y="428"/>
                  </a:lnTo>
                  <a:lnTo>
                    <a:pt x="1068" y="428"/>
                  </a:lnTo>
                  <a:lnTo>
                    <a:pt x="1068" y="428"/>
                  </a:lnTo>
                  <a:lnTo>
                    <a:pt x="1068" y="428"/>
                  </a:lnTo>
                  <a:lnTo>
                    <a:pt x="1065" y="425"/>
                  </a:lnTo>
                  <a:lnTo>
                    <a:pt x="1065" y="425"/>
                  </a:lnTo>
                  <a:lnTo>
                    <a:pt x="1065" y="425"/>
                  </a:lnTo>
                  <a:lnTo>
                    <a:pt x="1065" y="425"/>
                  </a:lnTo>
                  <a:lnTo>
                    <a:pt x="1065" y="425"/>
                  </a:lnTo>
                  <a:lnTo>
                    <a:pt x="1068" y="425"/>
                  </a:lnTo>
                  <a:lnTo>
                    <a:pt x="1068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0" y="423"/>
                  </a:lnTo>
                  <a:lnTo>
                    <a:pt x="1074" y="421"/>
                  </a:lnTo>
                  <a:lnTo>
                    <a:pt x="1074" y="421"/>
                  </a:lnTo>
                  <a:lnTo>
                    <a:pt x="1072" y="421"/>
                  </a:lnTo>
                  <a:lnTo>
                    <a:pt x="1065" y="423"/>
                  </a:lnTo>
                  <a:lnTo>
                    <a:pt x="1065" y="423"/>
                  </a:lnTo>
                  <a:lnTo>
                    <a:pt x="1068" y="423"/>
                  </a:lnTo>
                  <a:lnTo>
                    <a:pt x="1068" y="423"/>
                  </a:lnTo>
                  <a:lnTo>
                    <a:pt x="1068" y="421"/>
                  </a:lnTo>
                  <a:lnTo>
                    <a:pt x="1065" y="423"/>
                  </a:lnTo>
                  <a:lnTo>
                    <a:pt x="1068" y="421"/>
                  </a:lnTo>
                  <a:lnTo>
                    <a:pt x="1068" y="421"/>
                  </a:lnTo>
                  <a:lnTo>
                    <a:pt x="1065" y="421"/>
                  </a:lnTo>
                  <a:lnTo>
                    <a:pt x="1063" y="421"/>
                  </a:lnTo>
                  <a:lnTo>
                    <a:pt x="1063" y="421"/>
                  </a:lnTo>
                  <a:lnTo>
                    <a:pt x="1061" y="423"/>
                  </a:lnTo>
                  <a:lnTo>
                    <a:pt x="1063" y="421"/>
                  </a:lnTo>
                  <a:lnTo>
                    <a:pt x="1063" y="421"/>
                  </a:lnTo>
                  <a:lnTo>
                    <a:pt x="1063" y="421"/>
                  </a:lnTo>
                  <a:lnTo>
                    <a:pt x="1063" y="421"/>
                  </a:lnTo>
                  <a:lnTo>
                    <a:pt x="1065" y="419"/>
                  </a:lnTo>
                  <a:lnTo>
                    <a:pt x="1065" y="419"/>
                  </a:lnTo>
                  <a:lnTo>
                    <a:pt x="1068" y="419"/>
                  </a:lnTo>
                  <a:lnTo>
                    <a:pt x="1068" y="419"/>
                  </a:lnTo>
                  <a:lnTo>
                    <a:pt x="1070" y="416"/>
                  </a:lnTo>
                  <a:lnTo>
                    <a:pt x="1070" y="416"/>
                  </a:lnTo>
                  <a:lnTo>
                    <a:pt x="1070" y="416"/>
                  </a:lnTo>
                  <a:lnTo>
                    <a:pt x="1070" y="416"/>
                  </a:lnTo>
                  <a:lnTo>
                    <a:pt x="1072" y="416"/>
                  </a:lnTo>
                  <a:lnTo>
                    <a:pt x="1072" y="416"/>
                  </a:lnTo>
                  <a:lnTo>
                    <a:pt x="1072" y="416"/>
                  </a:lnTo>
                  <a:lnTo>
                    <a:pt x="1072" y="416"/>
                  </a:lnTo>
                  <a:lnTo>
                    <a:pt x="1072" y="416"/>
                  </a:lnTo>
                  <a:lnTo>
                    <a:pt x="1072" y="414"/>
                  </a:lnTo>
                  <a:lnTo>
                    <a:pt x="1072" y="414"/>
                  </a:lnTo>
                  <a:lnTo>
                    <a:pt x="1072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4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4" y="412"/>
                  </a:lnTo>
                  <a:lnTo>
                    <a:pt x="1077" y="410"/>
                  </a:lnTo>
                  <a:lnTo>
                    <a:pt x="1077" y="410"/>
                  </a:lnTo>
                  <a:lnTo>
                    <a:pt x="1077" y="410"/>
                  </a:lnTo>
                  <a:lnTo>
                    <a:pt x="1077" y="407"/>
                  </a:lnTo>
                  <a:lnTo>
                    <a:pt x="1077" y="407"/>
                  </a:lnTo>
                  <a:lnTo>
                    <a:pt x="1077" y="407"/>
                  </a:lnTo>
                  <a:lnTo>
                    <a:pt x="1077" y="407"/>
                  </a:lnTo>
                  <a:lnTo>
                    <a:pt x="1077" y="407"/>
                  </a:lnTo>
                  <a:lnTo>
                    <a:pt x="1079" y="407"/>
                  </a:lnTo>
                  <a:lnTo>
                    <a:pt x="1079" y="407"/>
                  </a:lnTo>
                  <a:lnTo>
                    <a:pt x="1079" y="407"/>
                  </a:lnTo>
                  <a:lnTo>
                    <a:pt x="1079" y="407"/>
                  </a:lnTo>
                  <a:lnTo>
                    <a:pt x="1081" y="407"/>
                  </a:lnTo>
                  <a:lnTo>
                    <a:pt x="1081" y="407"/>
                  </a:lnTo>
                  <a:lnTo>
                    <a:pt x="1079" y="407"/>
                  </a:lnTo>
                  <a:lnTo>
                    <a:pt x="1079" y="407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3" y="405"/>
                  </a:lnTo>
                  <a:lnTo>
                    <a:pt x="1083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81" y="405"/>
                  </a:lnTo>
                  <a:lnTo>
                    <a:pt x="1079" y="403"/>
                  </a:lnTo>
                  <a:lnTo>
                    <a:pt x="1079" y="403"/>
                  </a:lnTo>
                  <a:lnTo>
                    <a:pt x="1079" y="403"/>
                  </a:lnTo>
                  <a:lnTo>
                    <a:pt x="1079" y="403"/>
                  </a:lnTo>
                  <a:lnTo>
                    <a:pt x="1079" y="403"/>
                  </a:lnTo>
                  <a:lnTo>
                    <a:pt x="1079" y="403"/>
                  </a:lnTo>
                  <a:lnTo>
                    <a:pt x="1077" y="403"/>
                  </a:lnTo>
                  <a:lnTo>
                    <a:pt x="1077" y="403"/>
                  </a:lnTo>
                  <a:lnTo>
                    <a:pt x="1077" y="403"/>
                  </a:lnTo>
                  <a:lnTo>
                    <a:pt x="1077" y="403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401"/>
                  </a:lnTo>
                  <a:lnTo>
                    <a:pt x="1077" y="398"/>
                  </a:lnTo>
                  <a:lnTo>
                    <a:pt x="1077" y="398"/>
                  </a:lnTo>
                  <a:lnTo>
                    <a:pt x="1077" y="398"/>
                  </a:lnTo>
                  <a:lnTo>
                    <a:pt x="1077" y="398"/>
                  </a:lnTo>
                  <a:lnTo>
                    <a:pt x="1079" y="398"/>
                  </a:lnTo>
                  <a:lnTo>
                    <a:pt x="1079" y="398"/>
                  </a:lnTo>
                  <a:lnTo>
                    <a:pt x="1079" y="396"/>
                  </a:lnTo>
                  <a:lnTo>
                    <a:pt x="1079" y="396"/>
                  </a:lnTo>
                  <a:lnTo>
                    <a:pt x="1079" y="396"/>
                  </a:lnTo>
                  <a:lnTo>
                    <a:pt x="1079" y="396"/>
                  </a:lnTo>
                  <a:lnTo>
                    <a:pt x="1079" y="396"/>
                  </a:lnTo>
                  <a:lnTo>
                    <a:pt x="1079" y="394"/>
                  </a:lnTo>
                  <a:lnTo>
                    <a:pt x="1079" y="394"/>
                  </a:lnTo>
                  <a:lnTo>
                    <a:pt x="1079" y="394"/>
                  </a:lnTo>
                  <a:lnTo>
                    <a:pt x="1079" y="392"/>
                  </a:lnTo>
                  <a:lnTo>
                    <a:pt x="1079" y="392"/>
                  </a:lnTo>
                  <a:lnTo>
                    <a:pt x="1081" y="392"/>
                  </a:lnTo>
                  <a:lnTo>
                    <a:pt x="1081" y="392"/>
                  </a:lnTo>
                  <a:lnTo>
                    <a:pt x="1081" y="389"/>
                  </a:lnTo>
                  <a:lnTo>
                    <a:pt x="1081" y="389"/>
                  </a:lnTo>
                  <a:lnTo>
                    <a:pt x="1081" y="389"/>
                  </a:lnTo>
                  <a:lnTo>
                    <a:pt x="1081" y="389"/>
                  </a:lnTo>
                  <a:lnTo>
                    <a:pt x="1081" y="389"/>
                  </a:lnTo>
                  <a:lnTo>
                    <a:pt x="1083" y="389"/>
                  </a:lnTo>
                  <a:lnTo>
                    <a:pt x="1083" y="389"/>
                  </a:lnTo>
                  <a:lnTo>
                    <a:pt x="1083" y="389"/>
                  </a:lnTo>
                  <a:lnTo>
                    <a:pt x="1086" y="387"/>
                  </a:lnTo>
                  <a:lnTo>
                    <a:pt x="1086" y="387"/>
                  </a:lnTo>
                  <a:lnTo>
                    <a:pt x="1086" y="387"/>
                  </a:lnTo>
                  <a:lnTo>
                    <a:pt x="1086" y="387"/>
                  </a:lnTo>
                  <a:lnTo>
                    <a:pt x="1088" y="387"/>
                  </a:lnTo>
                  <a:lnTo>
                    <a:pt x="1088" y="387"/>
                  </a:lnTo>
                  <a:lnTo>
                    <a:pt x="1088" y="387"/>
                  </a:lnTo>
                  <a:lnTo>
                    <a:pt x="1090" y="387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0" y="385"/>
                  </a:lnTo>
                  <a:lnTo>
                    <a:pt x="1092" y="385"/>
                  </a:lnTo>
                  <a:lnTo>
                    <a:pt x="1092" y="385"/>
                  </a:lnTo>
                  <a:lnTo>
                    <a:pt x="1092" y="385"/>
                  </a:lnTo>
                  <a:lnTo>
                    <a:pt x="1095" y="385"/>
                  </a:lnTo>
                  <a:lnTo>
                    <a:pt x="1095" y="385"/>
                  </a:lnTo>
                  <a:lnTo>
                    <a:pt x="1095" y="383"/>
                  </a:lnTo>
                  <a:lnTo>
                    <a:pt x="1097" y="383"/>
                  </a:lnTo>
                  <a:lnTo>
                    <a:pt x="1097" y="383"/>
                  </a:lnTo>
                  <a:lnTo>
                    <a:pt x="1097" y="383"/>
                  </a:lnTo>
                  <a:lnTo>
                    <a:pt x="1097" y="383"/>
                  </a:lnTo>
                  <a:lnTo>
                    <a:pt x="1097" y="385"/>
                  </a:lnTo>
                  <a:lnTo>
                    <a:pt x="1097" y="385"/>
                  </a:lnTo>
                  <a:lnTo>
                    <a:pt x="1097" y="385"/>
                  </a:lnTo>
                  <a:lnTo>
                    <a:pt x="1097" y="385"/>
                  </a:lnTo>
                  <a:lnTo>
                    <a:pt x="1097" y="385"/>
                  </a:lnTo>
                  <a:lnTo>
                    <a:pt x="1097" y="385"/>
                  </a:lnTo>
                  <a:lnTo>
                    <a:pt x="1099" y="385"/>
                  </a:lnTo>
                  <a:lnTo>
                    <a:pt x="1099" y="385"/>
                  </a:lnTo>
                  <a:lnTo>
                    <a:pt x="1099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1" y="385"/>
                  </a:lnTo>
                  <a:lnTo>
                    <a:pt x="1104" y="385"/>
                  </a:lnTo>
                  <a:lnTo>
                    <a:pt x="1104" y="385"/>
                  </a:lnTo>
                  <a:lnTo>
                    <a:pt x="1104" y="385"/>
                  </a:lnTo>
                  <a:lnTo>
                    <a:pt x="1104" y="385"/>
                  </a:lnTo>
                  <a:lnTo>
                    <a:pt x="1104" y="385"/>
                  </a:lnTo>
                  <a:lnTo>
                    <a:pt x="1104" y="385"/>
                  </a:lnTo>
                  <a:lnTo>
                    <a:pt x="1104" y="385"/>
                  </a:lnTo>
                  <a:lnTo>
                    <a:pt x="1106" y="385"/>
                  </a:lnTo>
                  <a:lnTo>
                    <a:pt x="1108" y="385"/>
                  </a:lnTo>
                  <a:lnTo>
                    <a:pt x="1108" y="385"/>
                  </a:lnTo>
                  <a:lnTo>
                    <a:pt x="1108" y="385"/>
                  </a:lnTo>
                  <a:lnTo>
                    <a:pt x="1108" y="385"/>
                  </a:lnTo>
                  <a:lnTo>
                    <a:pt x="1108" y="385"/>
                  </a:lnTo>
                  <a:lnTo>
                    <a:pt x="1108" y="385"/>
                  </a:lnTo>
                  <a:lnTo>
                    <a:pt x="1108" y="387"/>
                  </a:lnTo>
                  <a:lnTo>
                    <a:pt x="1108" y="387"/>
                  </a:lnTo>
                  <a:lnTo>
                    <a:pt x="1110" y="387"/>
                  </a:lnTo>
                  <a:lnTo>
                    <a:pt x="1110" y="387"/>
                  </a:lnTo>
                  <a:lnTo>
                    <a:pt x="1113" y="387"/>
                  </a:lnTo>
                  <a:lnTo>
                    <a:pt x="1113" y="387"/>
                  </a:lnTo>
                  <a:lnTo>
                    <a:pt x="1115" y="387"/>
                  </a:lnTo>
                  <a:lnTo>
                    <a:pt x="1115" y="387"/>
                  </a:lnTo>
                  <a:lnTo>
                    <a:pt x="1115" y="387"/>
                  </a:lnTo>
                  <a:lnTo>
                    <a:pt x="1115" y="387"/>
                  </a:lnTo>
                  <a:lnTo>
                    <a:pt x="1115" y="387"/>
                  </a:lnTo>
                  <a:lnTo>
                    <a:pt x="1115" y="389"/>
                  </a:lnTo>
                  <a:lnTo>
                    <a:pt x="1115" y="389"/>
                  </a:lnTo>
                  <a:lnTo>
                    <a:pt x="1115" y="389"/>
                  </a:lnTo>
                  <a:lnTo>
                    <a:pt x="1115" y="389"/>
                  </a:lnTo>
                  <a:lnTo>
                    <a:pt x="1117" y="389"/>
                  </a:lnTo>
                  <a:lnTo>
                    <a:pt x="1117" y="389"/>
                  </a:lnTo>
                  <a:lnTo>
                    <a:pt x="1117" y="389"/>
                  </a:lnTo>
                  <a:lnTo>
                    <a:pt x="1117" y="389"/>
                  </a:lnTo>
                  <a:lnTo>
                    <a:pt x="1117" y="389"/>
                  </a:lnTo>
                  <a:lnTo>
                    <a:pt x="1117" y="389"/>
                  </a:lnTo>
                  <a:lnTo>
                    <a:pt x="1117" y="389"/>
                  </a:lnTo>
                  <a:lnTo>
                    <a:pt x="1119" y="389"/>
                  </a:lnTo>
                  <a:lnTo>
                    <a:pt x="1119" y="389"/>
                  </a:lnTo>
                  <a:lnTo>
                    <a:pt x="1119" y="389"/>
                  </a:lnTo>
                  <a:lnTo>
                    <a:pt x="1119" y="389"/>
                  </a:lnTo>
                  <a:lnTo>
                    <a:pt x="1119" y="389"/>
                  </a:lnTo>
                  <a:lnTo>
                    <a:pt x="1121" y="389"/>
                  </a:lnTo>
                  <a:lnTo>
                    <a:pt x="1124" y="389"/>
                  </a:lnTo>
                  <a:lnTo>
                    <a:pt x="1124" y="389"/>
                  </a:lnTo>
                  <a:lnTo>
                    <a:pt x="1121" y="392"/>
                  </a:lnTo>
                  <a:lnTo>
                    <a:pt x="1119" y="392"/>
                  </a:lnTo>
                  <a:lnTo>
                    <a:pt x="1119" y="392"/>
                  </a:lnTo>
                  <a:lnTo>
                    <a:pt x="1119" y="392"/>
                  </a:lnTo>
                  <a:lnTo>
                    <a:pt x="1119" y="392"/>
                  </a:lnTo>
                  <a:lnTo>
                    <a:pt x="1117" y="392"/>
                  </a:lnTo>
                  <a:lnTo>
                    <a:pt x="1117" y="392"/>
                  </a:lnTo>
                  <a:lnTo>
                    <a:pt x="1117" y="392"/>
                  </a:lnTo>
                  <a:lnTo>
                    <a:pt x="1117" y="392"/>
                  </a:lnTo>
                  <a:lnTo>
                    <a:pt x="1119" y="392"/>
                  </a:lnTo>
                  <a:lnTo>
                    <a:pt x="1119" y="392"/>
                  </a:lnTo>
                  <a:lnTo>
                    <a:pt x="1121" y="392"/>
                  </a:lnTo>
                  <a:lnTo>
                    <a:pt x="1121" y="392"/>
                  </a:lnTo>
                  <a:lnTo>
                    <a:pt x="1124" y="392"/>
                  </a:lnTo>
                  <a:lnTo>
                    <a:pt x="1126" y="389"/>
                  </a:lnTo>
                  <a:lnTo>
                    <a:pt x="1126" y="389"/>
                  </a:lnTo>
                  <a:lnTo>
                    <a:pt x="1128" y="389"/>
                  </a:lnTo>
                  <a:lnTo>
                    <a:pt x="1130" y="389"/>
                  </a:lnTo>
                  <a:lnTo>
                    <a:pt x="1130" y="389"/>
                  </a:lnTo>
                  <a:lnTo>
                    <a:pt x="1130" y="389"/>
                  </a:lnTo>
                  <a:lnTo>
                    <a:pt x="1130" y="392"/>
                  </a:lnTo>
                  <a:lnTo>
                    <a:pt x="1130" y="392"/>
                  </a:lnTo>
                  <a:lnTo>
                    <a:pt x="1130" y="392"/>
                  </a:lnTo>
                  <a:lnTo>
                    <a:pt x="1130" y="389"/>
                  </a:lnTo>
                  <a:lnTo>
                    <a:pt x="1130" y="389"/>
                  </a:lnTo>
                  <a:lnTo>
                    <a:pt x="1130" y="389"/>
                  </a:lnTo>
                  <a:lnTo>
                    <a:pt x="1133" y="389"/>
                  </a:lnTo>
                  <a:lnTo>
                    <a:pt x="1133" y="389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5" y="394"/>
                  </a:lnTo>
                  <a:lnTo>
                    <a:pt x="1137" y="394"/>
                  </a:lnTo>
                  <a:lnTo>
                    <a:pt x="1137" y="394"/>
                  </a:lnTo>
                  <a:lnTo>
                    <a:pt x="1137" y="394"/>
                  </a:lnTo>
                  <a:lnTo>
                    <a:pt x="1137" y="394"/>
                  </a:lnTo>
                  <a:lnTo>
                    <a:pt x="1137" y="394"/>
                  </a:lnTo>
                  <a:lnTo>
                    <a:pt x="1137" y="394"/>
                  </a:lnTo>
                  <a:lnTo>
                    <a:pt x="1137" y="392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5" y="392"/>
                  </a:lnTo>
                  <a:lnTo>
                    <a:pt x="1137" y="392"/>
                  </a:lnTo>
                  <a:lnTo>
                    <a:pt x="1137" y="392"/>
                  </a:lnTo>
                  <a:lnTo>
                    <a:pt x="1137" y="392"/>
                  </a:lnTo>
                  <a:lnTo>
                    <a:pt x="1142" y="392"/>
                  </a:lnTo>
                  <a:lnTo>
                    <a:pt x="1142" y="392"/>
                  </a:lnTo>
                  <a:lnTo>
                    <a:pt x="1142" y="389"/>
                  </a:lnTo>
                  <a:lnTo>
                    <a:pt x="1144" y="389"/>
                  </a:lnTo>
                  <a:lnTo>
                    <a:pt x="1144" y="389"/>
                  </a:lnTo>
                  <a:lnTo>
                    <a:pt x="1144" y="389"/>
                  </a:lnTo>
                  <a:lnTo>
                    <a:pt x="1144" y="389"/>
                  </a:lnTo>
                  <a:lnTo>
                    <a:pt x="1144" y="389"/>
                  </a:lnTo>
                  <a:lnTo>
                    <a:pt x="1146" y="389"/>
                  </a:lnTo>
                  <a:lnTo>
                    <a:pt x="1146" y="389"/>
                  </a:lnTo>
                  <a:lnTo>
                    <a:pt x="1146" y="389"/>
                  </a:lnTo>
                  <a:lnTo>
                    <a:pt x="1146" y="389"/>
                  </a:lnTo>
                  <a:lnTo>
                    <a:pt x="1146" y="389"/>
                  </a:lnTo>
                  <a:lnTo>
                    <a:pt x="1146" y="389"/>
                  </a:lnTo>
                  <a:lnTo>
                    <a:pt x="1146" y="389"/>
                  </a:lnTo>
                  <a:lnTo>
                    <a:pt x="1148" y="389"/>
                  </a:lnTo>
                  <a:lnTo>
                    <a:pt x="1148" y="389"/>
                  </a:lnTo>
                  <a:lnTo>
                    <a:pt x="1151" y="389"/>
                  </a:lnTo>
                  <a:lnTo>
                    <a:pt x="1151" y="387"/>
                  </a:lnTo>
                  <a:lnTo>
                    <a:pt x="1151" y="387"/>
                  </a:lnTo>
                  <a:lnTo>
                    <a:pt x="1151" y="387"/>
                  </a:lnTo>
                  <a:lnTo>
                    <a:pt x="1151" y="387"/>
                  </a:lnTo>
                  <a:lnTo>
                    <a:pt x="1153" y="387"/>
                  </a:lnTo>
                  <a:lnTo>
                    <a:pt x="1153" y="387"/>
                  </a:lnTo>
                  <a:lnTo>
                    <a:pt x="1153" y="387"/>
                  </a:lnTo>
                  <a:lnTo>
                    <a:pt x="1153" y="387"/>
                  </a:lnTo>
                  <a:lnTo>
                    <a:pt x="1155" y="385"/>
                  </a:lnTo>
                  <a:lnTo>
                    <a:pt x="1157" y="385"/>
                  </a:lnTo>
                  <a:lnTo>
                    <a:pt x="1157" y="385"/>
                  </a:lnTo>
                  <a:lnTo>
                    <a:pt x="1157" y="385"/>
                  </a:lnTo>
                  <a:lnTo>
                    <a:pt x="1157" y="387"/>
                  </a:lnTo>
                  <a:lnTo>
                    <a:pt x="1157" y="387"/>
                  </a:lnTo>
                  <a:lnTo>
                    <a:pt x="1157" y="387"/>
                  </a:lnTo>
                  <a:lnTo>
                    <a:pt x="1157" y="387"/>
                  </a:lnTo>
                  <a:lnTo>
                    <a:pt x="1157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7"/>
                  </a:lnTo>
                  <a:lnTo>
                    <a:pt x="1160" y="389"/>
                  </a:lnTo>
                  <a:lnTo>
                    <a:pt x="1160" y="389"/>
                  </a:lnTo>
                  <a:lnTo>
                    <a:pt x="1162" y="389"/>
                  </a:lnTo>
                  <a:lnTo>
                    <a:pt x="1162" y="389"/>
                  </a:lnTo>
                  <a:lnTo>
                    <a:pt x="1162" y="389"/>
                  </a:lnTo>
                  <a:lnTo>
                    <a:pt x="1162" y="389"/>
                  </a:lnTo>
                  <a:lnTo>
                    <a:pt x="1162" y="389"/>
                  </a:lnTo>
                  <a:lnTo>
                    <a:pt x="1162" y="389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4" y="392"/>
                  </a:lnTo>
                  <a:lnTo>
                    <a:pt x="1166" y="394"/>
                  </a:lnTo>
                  <a:lnTo>
                    <a:pt x="1166" y="394"/>
                  </a:lnTo>
                  <a:lnTo>
                    <a:pt x="1164" y="394"/>
                  </a:lnTo>
                  <a:lnTo>
                    <a:pt x="1164" y="394"/>
                  </a:lnTo>
                  <a:lnTo>
                    <a:pt x="1164" y="394"/>
                  </a:lnTo>
                  <a:lnTo>
                    <a:pt x="1166" y="394"/>
                  </a:lnTo>
                  <a:lnTo>
                    <a:pt x="1166" y="394"/>
                  </a:lnTo>
                  <a:lnTo>
                    <a:pt x="1166" y="394"/>
                  </a:lnTo>
                  <a:lnTo>
                    <a:pt x="1166" y="394"/>
                  </a:lnTo>
                  <a:lnTo>
                    <a:pt x="1166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4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9" y="396"/>
                  </a:lnTo>
                  <a:lnTo>
                    <a:pt x="1166" y="396"/>
                  </a:lnTo>
                  <a:lnTo>
                    <a:pt x="1166" y="396"/>
                  </a:lnTo>
                  <a:lnTo>
                    <a:pt x="1166" y="396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4" y="401"/>
                  </a:lnTo>
                  <a:lnTo>
                    <a:pt x="1164" y="401"/>
                  </a:lnTo>
                  <a:lnTo>
                    <a:pt x="1164" y="398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6" y="401"/>
                  </a:lnTo>
                  <a:lnTo>
                    <a:pt x="1166" y="401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6" y="398"/>
                  </a:lnTo>
                  <a:lnTo>
                    <a:pt x="1169" y="398"/>
                  </a:lnTo>
                  <a:lnTo>
                    <a:pt x="1169" y="398"/>
                  </a:lnTo>
                  <a:lnTo>
                    <a:pt x="1169" y="398"/>
                  </a:lnTo>
                  <a:lnTo>
                    <a:pt x="1169" y="398"/>
                  </a:lnTo>
                  <a:lnTo>
                    <a:pt x="1171" y="398"/>
                  </a:lnTo>
                  <a:lnTo>
                    <a:pt x="1173" y="398"/>
                  </a:lnTo>
                  <a:lnTo>
                    <a:pt x="1173" y="398"/>
                  </a:lnTo>
                  <a:lnTo>
                    <a:pt x="1173" y="398"/>
                  </a:lnTo>
                  <a:lnTo>
                    <a:pt x="1173" y="398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3" y="401"/>
                  </a:lnTo>
                  <a:lnTo>
                    <a:pt x="1175" y="401"/>
                  </a:lnTo>
                  <a:lnTo>
                    <a:pt x="1175" y="401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3" y="403"/>
                  </a:lnTo>
                  <a:lnTo>
                    <a:pt x="1173" y="405"/>
                  </a:lnTo>
                  <a:lnTo>
                    <a:pt x="1173" y="405"/>
                  </a:lnTo>
                  <a:lnTo>
                    <a:pt x="1173" y="405"/>
                  </a:lnTo>
                  <a:lnTo>
                    <a:pt x="1171" y="405"/>
                  </a:lnTo>
                  <a:lnTo>
                    <a:pt x="1171" y="405"/>
                  </a:lnTo>
                  <a:lnTo>
                    <a:pt x="1171" y="405"/>
                  </a:lnTo>
                  <a:lnTo>
                    <a:pt x="1169" y="405"/>
                  </a:lnTo>
                  <a:lnTo>
                    <a:pt x="1169" y="405"/>
                  </a:lnTo>
                  <a:lnTo>
                    <a:pt x="1171" y="405"/>
                  </a:lnTo>
                  <a:lnTo>
                    <a:pt x="1171" y="405"/>
                  </a:lnTo>
                  <a:lnTo>
                    <a:pt x="1171" y="405"/>
                  </a:lnTo>
                  <a:lnTo>
                    <a:pt x="1173" y="405"/>
                  </a:lnTo>
                  <a:lnTo>
                    <a:pt x="1173" y="405"/>
                  </a:lnTo>
                  <a:lnTo>
                    <a:pt x="1173" y="405"/>
                  </a:lnTo>
                  <a:lnTo>
                    <a:pt x="1173" y="405"/>
                  </a:lnTo>
                  <a:lnTo>
                    <a:pt x="1173" y="405"/>
                  </a:lnTo>
                  <a:lnTo>
                    <a:pt x="1175" y="405"/>
                  </a:lnTo>
                  <a:lnTo>
                    <a:pt x="1175" y="405"/>
                  </a:lnTo>
                  <a:lnTo>
                    <a:pt x="1175" y="405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5" y="403"/>
                  </a:lnTo>
                  <a:lnTo>
                    <a:pt x="1178" y="403"/>
                  </a:lnTo>
                  <a:lnTo>
                    <a:pt x="1178" y="403"/>
                  </a:lnTo>
                  <a:lnTo>
                    <a:pt x="1180" y="403"/>
                  </a:lnTo>
                  <a:lnTo>
                    <a:pt x="1180" y="403"/>
                  </a:lnTo>
                  <a:lnTo>
                    <a:pt x="1180" y="403"/>
                  </a:lnTo>
                  <a:lnTo>
                    <a:pt x="1180" y="403"/>
                  </a:lnTo>
                  <a:lnTo>
                    <a:pt x="1180" y="403"/>
                  </a:lnTo>
                  <a:lnTo>
                    <a:pt x="1182" y="405"/>
                  </a:lnTo>
                  <a:lnTo>
                    <a:pt x="1182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82" y="405"/>
                  </a:lnTo>
                  <a:lnTo>
                    <a:pt x="1182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80" y="405"/>
                  </a:lnTo>
                  <a:lnTo>
                    <a:pt x="1178" y="405"/>
                  </a:lnTo>
                  <a:lnTo>
                    <a:pt x="1178" y="405"/>
                  </a:lnTo>
                  <a:lnTo>
                    <a:pt x="1175" y="405"/>
                  </a:lnTo>
                  <a:lnTo>
                    <a:pt x="1175" y="407"/>
                  </a:lnTo>
                  <a:lnTo>
                    <a:pt x="1175" y="407"/>
                  </a:lnTo>
                  <a:lnTo>
                    <a:pt x="1178" y="405"/>
                  </a:lnTo>
                  <a:lnTo>
                    <a:pt x="1178" y="407"/>
                  </a:lnTo>
                  <a:lnTo>
                    <a:pt x="1178" y="407"/>
                  </a:lnTo>
                  <a:lnTo>
                    <a:pt x="1175" y="407"/>
                  </a:lnTo>
                  <a:lnTo>
                    <a:pt x="1175" y="407"/>
                  </a:lnTo>
                  <a:lnTo>
                    <a:pt x="1175" y="407"/>
                  </a:lnTo>
                  <a:lnTo>
                    <a:pt x="1175" y="407"/>
                  </a:lnTo>
                  <a:lnTo>
                    <a:pt x="1178" y="407"/>
                  </a:lnTo>
                  <a:lnTo>
                    <a:pt x="1178" y="407"/>
                  </a:lnTo>
                  <a:lnTo>
                    <a:pt x="1175" y="407"/>
                  </a:lnTo>
                  <a:lnTo>
                    <a:pt x="1175" y="407"/>
                  </a:lnTo>
                  <a:lnTo>
                    <a:pt x="1173" y="407"/>
                  </a:lnTo>
                  <a:lnTo>
                    <a:pt x="1173" y="407"/>
                  </a:lnTo>
                  <a:lnTo>
                    <a:pt x="1175" y="407"/>
                  </a:lnTo>
                  <a:lnTo>
                    <a:pt x="1175" y="407"/>
                  </a:lnTo>
                  <a:lnTo>
                    <a:pt x="1175" y="410"/>
                  </a:lnTo>
                  <a:lnTo>
                    <a:pt x="1178" y="410"/>
                  </a:lnTo>
                  <a:lnTo>
                    <a:pt x="1178" y="410"/>
                  </a:lnTo>
                  <a:lnTo>
                    <a:pt x="1178" y="410"/>
                  </a:lnTo>
                  <a:lnTo>
                    <a:pt x="1178" y="410"/>
                  </a:lnTo>
                  <a:lnTo>
                    <a:pt x="1178" y="410"/>
                  </a:lnTo>
                  <a:lnTo>
                    <a:pt x="1178" y="410"/>
                  </a:lnTo>
                  <a:lnTo>
                    <a:pt x="1178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3" y="410"/>
                  </a:lnTo>
                  <a:lnTo>
                    <a:pt x="1173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0"/>
                  </a:lnTo>
                  <a:lnTo>
                    <a:pt x="1175" y="412"/>
                  </a:lnTo>
                  <a:lnTo>
                    <a:pt x="1175" y="412"/>
                  </a:lnTo>
                  <a:lnTo>
                    <a:pt x="1175" y="412"/>
                  </a:lnTo>
                  <a:lnTo>
                    <a:pt x="1175" y="412"/>
                  </a:lnTo>
                  <a:lnTo>
                    <a:pt x="1178" y="412"/>
                  </a:lnTo>
                  <a:lnTo>
                    <a:pt x="1175" y="412"/>
                  </a:lnTo>
                  <a:lnTo>
                    <a:pt x="1175" y="412"/>
                  </a:lnTo>
                  <a:lnTo>
                    <a:pt x="1175" y="414"/>
                  </a:lnTo>
                  <a:lnTo>
                    <a:pt x="1175" y="414"/>
                  </a:lnTo>
                  <a:lnTo>
                    <a:pt x="1175" y="412"/>
                  </a:lnTo>
                  <a:lnTo>
                    <a:pt x="1178" y="412"/>
                  </a:lnTo>
                  <a:lnTo>
                    <a:pt x="1178" y="412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5" y="414"/>
                  </a:lnTo>
                  <a:lnTo>
                    <a:pt x="1175" y="414"/>
                  </a:lnTo>
                  <a:lnTo>
                    <a:pt x="1175" y="414"/>
                  </a:lnTo>
                  <a:lnTo>
                    <a:pt x="1175" y="414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78" y="412"/>
                  </a:lnTo>
                  <a:lnTo>
                    <a:pt x="1178" y="412"/>
                  </a:lnTo>
                  <a:lnTo>
                    <a:pt x="1178" y="412"/>
                  </a:lnTo>
                  <a:lnTo>
                    <a:pt x="1178" y="412"/>
                  </a:lnTo>
                  <a:lnTo>
                    <a:pt x="1178" y="414"/>
                  </a:lnTo>
                  <a:lnTo>
                    <a:pt x="1178" y="414"/>
                  </a:lnTo>
                  <a:lnTo>
                    <a:pt x="1180" y="414"/>
                  </a:lnTo>
                  <a:lnTo>
                    <a:pt x="1180" y="414"/>
                  </a:lnTo>
                  <a:lnTo>
                    <a:pt x="1180" y="414"/>
                  </a:lnTo>
                  <a:lnTo>
                    <a:pt x="1180" y="414"/>
                  </a:lnTo>
                  <a:lnTo>
                    <a:pt x="1180" y="414"/>
                  </a:lnTo>
                  <a:lnTo>
                    <a:pt x="1180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2" y="414"/>
                  </a:lnTo>
                  <a:lnTo>
                    <a:pt x="1184" y="414"/>
                  </a:lnTo>
                  <a:lnTo>
                    <a:pt x="1184" y="414"/>
                  </a:lnTo>
                  <a:lnTo>
                    <a:pt x="1184" y="414"/>
                  </a:lnTo>
                  <a:lnTo>
                    <a:pt x="1184" y="414"/>
                  </a:lnTo>
                  <a:lnTo>
                    <a:pt x="1187" y="414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7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89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1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3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6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200" y="416"/>
                  </a:lnTo>
                  <a:lnTo>
                    <a:pt x="1200" y="416"/>
                  </a:lnTo>
                  <a:lnTo>
                    <a:pt x="1200" y="416"/>
                  </a:lnTo>
                  <a:lnTo>
                    <a:pt x="1200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6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19"/>
                  </a:lnTo>
                  <a:lnTo>
                    <a:pt x="1198" y="421"/>
                  </a:lnTo>
                  <a:lnTo>
                    <a:pt x="1196" y="421"/>
                  </a:lnTo>
                  <a:lnTo>
                    <a:pt x="1196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198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2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0" y="421"/>
                  </a:lnTo>
                  <a:lnTo>
                    <a:pt x="1202" y="421"/>
                  </a:lnTo>
                  <a:lnTo>
                    <a:pt x="1202" y="419"/>
                  </a:lnTo>
                  <a:lnTo>
                    <a:pt x="1202" y="419"/>
                  </a:lnTo>
                  <a:lnTo>
                    <a:pt x="1205" y="419"/>
                  </a:lnTo>
                  <a:lnTo>
                    <a:pt x="1202" y="421"/>
                  </a:lnTo>
                  <a:lnTo>
                    <a:pt x="1205" y="421"/>
                  </a:lnTo>
                  <a:lnTo>
                    <a:pt x="1205" y="421"/>
                  </a:lnTo>
                  <a:lnTo>
                    <a:pt x="1205" y="419"/>
                  </a:lnTo>
                  <a:lnTo>
                    <a:pt x="1205" y="419"/>
                  </a:lnTo>
                  <a:lnTo>
                    <a:pt x="1205" y="419"/>
                  </a:lnTo>
                  <a:lnTo>
                    <a:pt x="1205" y="419"/>
                  </a:lnTo>
                  <a:lnTo>
                    <a:pt x="1205" y="419"/>
                  </a:lnTo>
                  <a:lnTo>
                    <a:pt x="1205" y="419"/>
                  </a:lnTo>
                  <a:lnTo>
                    <a:pt x="1205" y="419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7" y="416"/>
                  </a:lnTo>
                  <a:lnTo>
                    <a:pt x="1209" y="416"/>
                  </a:lnTo>
                  <a:lnTo>
                    <a:pt x="1209" y="416"/>
                  </a:lnTo>
                  <a:lnTo>
                    <a:pt x="1209" y="416"/>
                  </a:lnTo>
                  <a:lnTo>
                    <a:pt x="1209" y="416"/>
                  </a:lnTo>
                  <a:lnTo>
                    <a:pt x="1209" y="416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19"/>
                  </a:lnTo>
                  <a:lnTo>
                    <a:pt x="1209" y="421"/>
                  </a:lnTo>
                  <a:lnTo>
                    <a:pt x="1209" y="421"/>
                  </a:lnTo>
                  <a:lnTo>
                    <a:pt x="1209" y="421"/>
                  </a:lnTo>
                  <a:lnTo>
                    <a:pt x="1209" y="421"/>
                  </a:lnTo>
                  <a:lnTo>
                    <a:pt x="1209" y="421"/>
                  </a:lnTo>
                  <a:lnTo>
                    <a:pt x="1209" y="421"/>
                  </a:lnTo>
                  <a:lnTo>
                    <a:pt x="1207" y="423"/>
                  </a:lnTo>
                  <a:lnTo>
                    <a:pt x="1207" y="423"/>
                  </a:lnTo>
                  <a:lnTo>
                    <a:pt x="1207" y="423"/>
                  </a:lnTo>
                  <a:lnTo>
                    <a:pt x="1205" y="423"/>
                  </a:lnTo>
                  <a:lnTo>
                    <a:pt x="1205" y="423"/>
                  </a:lnTo>
                  <a:lnTo>
                    <a:pt x="1202" y="423"/>
                  </a:lnTo>
                  <a:lnTo>
                    <a:pt x="1202" y="423"/>
                  </a:lnTo>
                  <a:lnTo>
                    <a:pt x="1202" y="423"/>
                  </a:lnTo>
                  <a:lnTo>
                    <a:pt x="1202" y="423"/>
                  </a:lnTo>
                  <a:lnTo>
                    <a:pt x="1202" y="425"/>
                  </a:lnTo>
                  <a:lnTo>
                    <a:pt x="1202" y="425"/>
                  </a:lnTo>
                  <a:lnTo>
                    <a:pt x="1202" y="425"/>
                  </a:lnTo>
                  <a:lnTo>
                    <a:pt x="1202" y="425"/>
                  </a:lnTo>
                  <a:lnTo>
                    <a:pt x="1202" y="425"/>
                  </a:lnTo>
                  <a:lnTo>
                    <a:pt x="1200" y="425"/>
                  </a:lnTo>
                  <a:lnTo>
                    <a:pt x="1200" y="425"/>
                  </a:lnTo>
                  <a:lnTo>
                    <a:pt x="1202" y="425"/>
                  </a:lnTo>
                  <a:lnTo>
                    <a:pt x="1202" y="428"/>
                  </a:lnTo>
                  <a:lnTo>
                    <a:pt x="1200" y="428"/>
                  </a:lnTo>
                  <a:lnTo>
                    <a:pt x="1200" y="428"/>
                  </a:lnTo>
                  <a:lnTo>
                    <a:pt x="1198" y="428"/>
                  </a:lnTo>
                  <a:lnTo>
                    <a:pt x="1198" y="428"/>
                  </a:lnTo>
                  <a:lnTo>
                    <a:pt x="1198" y="428"/>
                  </a:lnTo>
                  <a:lnTo>
                    <a:pt x="1198" y="428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0"/>
                  </a:lnTo>
                  <a:lnTo>
                    <a:pt x="1198" y="432"/>
                  </a:lnTo>
                  <a:lnTo>
                    <a:pt x="1198" y="432"/>
                  </a:lnTo>
                  <a:lnTo>
                    <a:pt x="1198" y="432"/>
                  </a:lnTo>
                  <a:lnTo>
                    <a:pt x="1198" y="432"/>
                  </a:lnTo>
                  <a:lnTo>
                    <a:pt x="1196" y="432"/>
                  </a:lnTo>
                  <a:lnTo>
                    <a:pt x="1196" y="432"/>
                  </a:lnTo>
                  <a:lnTo>
                    <a:pt x="1198" y="432"/>
                  </a:lnTo>
                  <a:lnTo>
                    <a:pt x="1198" y="432"/>
                  </a:lnTo>
                  <a:lnTo>
                    <a:pt x="1198" y="432"/>
                  </a:lnTo>
                  <a:lnTo>
                    <a:pt x="1198" y="432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4"/>
                  </a:lnTo>
                  <a:lnTo>
                    <a:pt x="1198" y="437"/>
                  </a:lnTo>
                  <a:lnTo>
                    <a:pt x="1198" y="437"/>
                  </a:lnTo>
                  <a:lnTo>
                    <a:pt x="1198" y="437"/>
                  </a:lnTo>
                  <a:lnTo>
                    <a:pt x="1198" y="437"/>
                  </a:lnTo>
                  <a:lnTo>
                    <a:pt x="1198" y="437"/>
                  </a:lnTo>
                  <a:lnTo>
                    <a:pt x="1196" y="437"/>
                  </a:lnTo>
                  <a:lnTo>
                    <a:pt x="1196" y="437"/>
                  </a:lnTo>
                  <a:lnTo>
                    <a:pt x="1196" y="437"/>
                  </a:lnTo>
                  <a:lnTo>
                    <a:pt x="1196" y="439"/>
                  </a:lnTo>
                  <a:lnTo>
                    <a:pt x="1196" y="439"/>
                  </a:lnTo>
                  <a:lnTo>
                    <a:pt x="1196" y="439"/>
                  </a:lnTo>
                  <a:lnTo>
                    <a:pt x="1193" y="439"/>
                  </a:lnTo>
                  <a:lnTo>
                    <a:pt x="1193" y="439"/>
                  </a:lnTo>
                  <a:lnTo>
                    <a:pt x="1193" y="439"/>
                  </a:lnTo>
                  <a:lnTo>
                    <a:pt x="1193" y="437"/>
                  </a:lnTo>
                  <a:lnTo>
                    <a:pt x="1193" y="437"/>
                  </a:lnTo>
                  <a:lnTo>
                    <a:pt x="1193" y="439"/>
                  </a:lnTo>
                  <a:lnTo>
                    <a:pt x="1191" y="439"/>
                  </a:lnTo>
                  <a:lnTo>
                    <a:pt x="1193" y="439"/>
                  </a:lnTo>
                  <a:lnTo>
                    <a:pt x="1193" y="439"/>
                  </a:lnTo>
                  <a:lnTo>
                    <a:pt x="1193" y="439"/>
                  </a:lnTo>
                  <a:lnTo>
                    <a:pt x="1193" y="439"/>
                  </a:lnTo>
                  <a:lnTo>
                    <a:pt x="1191" y="439"/>
                  </a:lnTo>
                  <a:lnTo>
                    <a:pt x="1191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0" y="439"/>
                  </a:lnTo>
                  <a:lnTo>
                    <a:pt x="1180" y="439"/>
                  </a:lnTo>
                  <a:lnTo>
                    <a:pt x="1180" y="439"/>
                  </a:lnTo>
                  <a:lnTo>
                    <a:pt x="1178" y="439"/>
                  </a:lnTo>
                  <a:lnTo>
                    <a:pt x="1173" y="437"/>
                  </a:lnTo>
                  <a:lnTo>
                    <a:pt x="1173" y="439"/>
                  </a:lnTo>
                  <a:lnTo>
                    <a:pt x="1175" y="439"/>
                  </a:lnTo>
                  <a:lnTo>
                    <a:pt x="1175" y="439"/>
                  </a:lnTo>
                  <a:lnTo>
                    <a:pt x="1175" y="439"/>
                  </a:lnTo>
                  <a:lnTo>
                    <a:pt x="1175" y="439"/>
                  </a:lnTo>
                  <a:lnTo>
                    <a:pt x="1175" y="439"/>
                  </a:lnTo>
                  <a:lnTo>
                    <a:pt x="1178" y="439"/>
                  </a:lnTo>
                  <a:lnTo>
                    <a:pt x="1180" y="439"/>
                  </a:lnTo>
                  <a:lnTo>
                    <a:pt x="1180" y="439"/>
                  </a:lnTo>
                  <a:lnTo>
                    <a:pt x="1182" y="439"/>
                  </a:lnTo>
                  <a:lnTo>
                    <a:pt x="1182" y="439"/>
                  </a:lnTo>
                  <a:lnTo>
                    <a:pt x="1182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4" y="439"/>
                  </a:lnTo>
                  <a:lnTo>
                    <a:pt x="1187" y="439"/>
                  </a:lnTo>
                  <a:lnTo>
                    <a:pt x="1187" y="441"/>
                  </a:lnTo>
                  <a:lnTo>
                    <a:pt x="1189" y="441"/>
                  </a:lnTo>
                  <a:lnTo>
                    <a:pt x="1189" y="439"/>
                  </a:lnTo>
                  <a:lnTo>
                    <a:pt x="1191" y="441"/>
                  </a:lnTo>
                  <a:lnTo>
                    <a:pt x="1193" y="439"/>
                  </a:lnTo>
                  <a:lnTo>
                    <a:pt x="1193" y="439"/>
                  </a:lnTo>
                  <a:lnTo>
                    <a:pt x="1193" y="441"/>
                  </a:lnTo>
                  <a:lnTo>
                    <a:pt x="1193" y="441"/>
                  </a:lnTo>
                  <a:lnTo>
                    <a:pt x="1193" y="441"/>
                  </a:lnTo>
                  <a:lnTo>
                    <a:pt x="1193" y="441"/>
                  </a:lnTo>
                  <a:lnTo>
                    <a:pt x="1191" y="441"/>
                  </a:lnTo>
                  <a:lnTo>
                    <a:pt x="1193" y="441"/>
                  </a:lnTo>
                  <a:lnTo>
                    <a:pt x="1196" y="441"/>
                  </a:lnTo>
                  <a:lnTo>
                    <a:pt x="1196" y="441"/>
                  </a:lnTo>
                  <a:lnTo>
                    <a:pt x="1196" y="441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3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1" y="446"/>
                  </a:lnTo>
                  <a:lnTo>
                    <a:pt x="1191" y="446"/>
                  </a:lnTo>
                  <a:lnTo>
                    <a:pt x="1191" y="446"/>
                  </a:lnTo>
                  <a:lnTo>
                    <a:pt x="1191" y="446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3" y="446"/>
                  </a:lnTo>
                  <a:lnTo>
                    <a:pt x="1193" y="448"/>
                  </a:lnTo>
                  <a:lnTo>
                    <a:pt x="1193" y="448"/>
                  </a:lnTo>
                  <a:lnTo>
                    <a:pt x="1191" y="448"/>
                  </a:lnTo>
                  <a:lnTo>
                    <a:pt x="1191" y="448"/>
                  </a:lnTo>
                  <a:lnTo>
                    <a:pt x="1191" y="448"/>
                  </a:lnTo>
                  <a:lnTo>
                    <a:pt x="1191" y="448"/>
                  </a:lnTo>
                  <a:lnTo>
                    <a:pt x="1189" y="448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7" y="450"/>
                  </a:lnTo>
                  <a:lnTo>
                    <a:pt x="1187" y="450"/>
                  </a:lnTo>
                  <a:lnTo>
                    <a:pt x="1187" y="450"/>
                  </a:lnTo>
                  <a:lnTo>
                    <a:pt x="1187" y="450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9" y="450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9" y="452"/>
                  </a:lnTo>
                  <a:lnTo>
                    <a:pt x="1187" y="455"/>
                  </a:lnTo>
                  <a:lnTo>
                    <a:pt x="1187" y="455"/>
                  </a:lnTo>
                  <a:lnTo>
                    <a:pt x="1187" y="455"/>
                  </a:lnTo>
                  <a:lnTo>
                    <a:pt x="1187" y="455"/>
                  </a:lnTo>
                  <a:lnTo>
                    <a:pt x="1187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89" y="455"/>
                  </a:lnTo>
                  <a:lnTo>
                    <a:pt x="1191" y="452"/>
                  </a:lnTo>
                  <a:lnTo>
                    <a:pt x="1191" y="452"/>
                  </a:lnTo>
                  <a:lnTo>
                    <a:pt x="1191" y="452"/>
                  </a:lnTo>
                  <a:lnTo>
                    <a:pt x="1193" y="452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5"/>
                  </a:lnTo>
                  <a:lnTo>
                    <a:pt x="1193" y="457"/>
                  </a:lnTo>
                  <a:lnTo>
                    <a:pt x="1193" y="457"/>
                  </a:lnTo>
                  <a:lnTo>
                    <a:pt x="1193" y="457"/>
                  </a:lnTo>
                  <a:lnTo>
                    <a:pt x="1193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5"/>
                  </a:lnTo>
                  <a:lnTo>
                    <a:pt x="1191" y="455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91" y="457"/>
                  </a:lnTo>
                  <a:lnTo>
                    <a:pt x="1189" y="457"/>
                  </a:lnTo>
                  <a:lnTo>
                    <a:pt x="1189" y="457"/>
                  </a:lnTo>
                  <a:lnTo>
                    <a:pt x="1187" y="457"/>
                  </a:lnTo>
                  <a:lnTo>
                    <a:pt x="1187" y="457"/>
                  </a:lnTo>
                  <a:lnTo>
                    <a:pt x="1187" y="457"/>
                  </a:lnTo>
                  <a:lnTo>
                    <a:pt x="1187" y="457"/>
                  </a:lnTo>
                  <a:lnTo>
                    <a:pt x="1187" y="457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91" y="459"/>
                  </a:lnTo>
                  <a:lnTo>
                    <a:pt x="1189" y="459"/>
                  </a:lnTo>
                  <a:lnTo>
                    <a:pt x="1189" y="459"/>
                  </a:lnTo>
                  <a:lnTo>
                    <a:pt x="1189" y="461"/>
                  </a:lnTo>
                  <a:lnTo>
                    <a:pt x="1189" y="461"/>
                  </a:lnTo>
                  <a:lnTo>
                    <a:pt x="1187" y="461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59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4"/>
                  </a:lnTo>
                  <a:lnTo>
                    <a:pt x="1184" y="466"/>
                  </a:lnTo>
                  <a:lnTo>
                    <a:pt x="1184" y="466"/>
                  </a:lnTo>
                  <a:lnTo>
                    <a:pt x="1182" y="466"/>
                  </a:lnTo>
                  <a:lnTo>
                    <a:pt x="1182" y="466"/>
                  </a:lnTo>
                  <a:lnTo>
                    <a:pt x="1182" y="466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4"/>
                  </a:lnTo>
                  <a:lnTo>
                    <a:pt x="1182" y="461"/>
                  </a:lnTo>
                  <a:lnTo>
                    <a:pt x="1182" y="461"/>
                  </a:lnTo>
                  <a:lnTo>
                    <a:pt x="1182" y="461"/>
                  </a:lnTo>
                  <a:lnTo>
                    <a:pt x="1182" y="461"/>
                  </a:lnTo>
                  <a:lnTo>
                    <a:pt x="1182" y="461"/>
                  </a:lnTo>
                  <a:lnTo>
                    <a:pt x="1182" y="459"/>
                  </a:lnTo>
                  <a:lnTo>
                    <a:pt x="1180" y="459"/>
                  </a:lnTo>
                  <a:lnTo>
                    <a:pt x="1180" y="459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1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80" y="466"/>
                  </a:lnTo>
                  <a:lnTo>
                    <a:pt x="1180" y="466"/>
                  </a:lnTo>
                  <a:lnTo>
                    <a:pt x="1180" y="466"/>
                  </a:lnTo>
                  <a:lnTo>
                    <a:pt x="1180" y="464"/>
                  </a:lnTo>
                  <a:lnTo>
                    <a:pt x="1180" y="464"/>
                  </a:lnTo>
                  <a:lnTo>
                    <a:pt x="1178" y="464"/>
                  </a:lnTo>
                  <a:lnTo>
                    <a:pt x="1178" y="464"/>
                  </a:lnTo>
                  <a:lnTo>
                    <a:pt x="1178" y="464"/>
                  </a:lnTo>
                  <a:lnTo>
                    <a:pt x="1178" y="464"/>
                  </a:lnTo>
                  <a:lnTo>
                    <a:pt x="1178" y="464"/>
                  </a:lnTo>
                  <a:lnTo>
                    <a:pt x="1178" y="466"/>
                  </a:lnTo>
                  <a:lnTo>
                    <a:pt x="1178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3" y="466"/>
                  </a:lnTo>
                  <a:lnTo>
                    <a:pt x="1173" y="466"/>
                  </a:lnTo>
                  <a:lnTo>
                    <a:pt x="1171" y="466"/>
                  </a:lnTo>
                  <a:lnTo>
                    <a:pt x="1171" y="466"/>
                  </a:lnTo>
                  <a:lnTo>
                    <a:pt x="1173" y="466"/>
                  </a:lnTo>
                  <a:lnTo>
                    <a:pt x="1173" y="466"/>
                  </a:lnTo>
                  <a:lnTo>
                    <a:pt x="1173" y="466"/>
                  </a:lnTo>
                  <a:lnTo>
                    <a:pt x="1173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5" y="466"/>
                  </a:lnTo>
                  <a:lnTo>
                    <a:pt x="1178" y="466"/>
                  </a:lnTo>
                  <a:lnTo>
                    <a:pt x="1178" y="466"/>
                  </a:lnTo>
                  <a:lnTo>
                    <a:pt x="1178" y="466"/>
                  </a:lnTo>
                  <a:lnTo>
                    <a:pt x="1178" y="466"/>
                  </a:lnTo>
                  <a:lnTo>
                    <a:pt x="1175" y="466"/>
                  </a:lnTo>
                  <a:lnTo>
                    <a:pt x="1175" y="468"/>
                  </a:lnTo>
                  <a:lnTo>
                    <a:pt x="1175" y="468"/>
                  </a:lnTo>
                  <a:lnTo>
                    <a:pt x="1175" y="468"/>
                  </a:lnTo>
                  <a:lnTo>
                    <a:pt x="1175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8" y="468"/>
                  </a:lnTo>
                  <a:lnTo>
                    <a:pt x="1175" y="468"/>
                  </a:lnTo>
                  <a:lnTo>
                    <a:pt x="1175" y="468"/>
                  </a:lnTo>
                  <a:lnTo>
                    <a:pt x="1175" y="468"/>
                  </a:lnTo>
                  <a:lnTo>
                    <a:pt x="1175" y="470"/>
                  </a:lnTo>
                  <a:lnTo>
                    <a:pt x="1175" y="470"/>
                  </a:lnTo>
                  <a:lnTo>
                    <a:pt x="1175" y="470"/>
                  </a:lnTo>
                  <a:lnTo>
                    <a:pt x="1178" y="470"/>
                  </a:lnTo>
                  <a:lnTo>
                    <a:pt x="1178" y="470"/>
                  </a:lnTo>
                  <a:lnTo>
                    <a:pt x="1178" y="470"/>
                  </a:lnTo>
                  <a:lnTo>
                    <a:pt x="1178" y="470"/>
                  </a:lnTo>
                  <a:lnTo>
                    <a:pt x="1178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0" y="468"/>
                  </a:lnTo>
                  <a:lnTo>
                    <a:pt x="1182" y="468"/>
                  </a:lnTo>
                  <a:lnTo>
                    <a:pt x="1182" y="466"/>
                  </a:lnTo>
                  <a:lnTo>
                    <a:pt x="1182" y="466"/>
                  </a:lnTo>
                  <a:lnTo>
                    <a:pt x="1182" y="466"/>
                  </a:lnTo>
                  <a:lnTo>
                    <a:pt x="1182" y="466"/>
                  </a:lnTo>
                  <a:lnTo>
                    <a:pt x="1184" y="466"/>
                  </a:lnTo>
                  <a:lnTo>
                    <a:pt x="1187" y="466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7" y="464"/>
                  </a:lnTo>
                  <a:lnTo>
                    <a:pt x="1189" y="464"/>
                  </a:lnTo>
                  <a:lnTo>
                    <a:pt x="1189" y="464"/>
                  </a:lnTo>
                  <a:lnTo>
                    <a:pt x="1189" y="464"/>
                  </a:lnTo>
                  <a:lnTo>
                    <a:pt x="1189" y="464"/>
                  </a:lnTo>
                  <a:lnTo>
                    <a:pt x="1191" y="464"/>
                  </a:lnTo>
                  <a:lnTo>
                    <a:pt x="1191" y="464"/>
                  </a:lnTo>
                  <a:lnTo>
                    <a:pt x="1193" y="464"/>
                  </a:lnTo>
                  <a:lnTo>
                    <a:pt x="1193" y="464"/>
                  </a:lnTo>
                  <a:lnTo>
                    <a:pt x="1193" y="464"/>
                  </a:lnTo>
                  <a:lnTo>
                    <a:pt x="1193" y="464"/>
                  </a:lnTo>
                  <a:lnTo>
                    <a:pt x="1196" y="464"/>
                  </a:lnTo>
                  <a:lnTo>
                    <a:pt x="1198" y="464"/>
                  </a:lnTo>
                  <a:lnTo>
                    <a:pt x="1198" y="464"/>
                  </a:lnTo>
                  <a:lnTo>
                    <a:pt x="1198" y="464"/>
                  </a:lnTo>
                  <a:lnTo>
                    <a:pt x="1198" y="464"/>
                  </a:lnTo>
                  <a:lnTo>
                    <a:pt x="1198" y="464"/>
                  </a:lnTo>
                  <a:lnTo>
                    <a:pt x="1198" y="464"/>
                  </a:lnTo>
                  <a:lnTo>
                    <a:pt x="1200" y="464"/>
                  </a:lnTo>
                  <a:lnTo>
                    <a:pt x="1200" y="464"/>
                  </a:lnTo>
                  <a:lnTo>
                    <a:pt x="1202" y="464"/>
                  </a:lnTo>
                  <a:lnTo>
                    <a:pt x="1202" y="464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6"/>
                  </a:lnTo>
                  <a:lnTo>
                    <a:pt x="1202" y="468"/>
                  </a:lnTo>
                  <a:lnTo>
                    <a:pt x="1202" y="468"/>
                  </a:lnTo>
                  <a:lnTo>
                    <a:pt x="1202" y="468"/>
                  </a:lnTo>
                  <a:lnTo>
                    <a:pt x="1202" y="468"/>
                  </a:lnTo>
                  <a:lnTo>
                    <a:pt x="1202" y="468"/>
                  </a:lnTo>
                  <a:lnTo>
                    <a:pt x="1202" y="468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0"/>
                  </a:lnTo>
                  <a:lnTo>
                    <a:pt x="1202" y="473"/>
                  </a:lnTo>
                  <a:lnTo>
                    <a:pt x="1202" y="470"/>
                  </a:lnTo>
                  <a:lnTo>
                    <a:pt x="1205" y="470"/>
                  </a:lnTo>
                  <a:lnTo>
                    <a:pt x="1205" y="470"/>
                  </a:lnTo>
                  <a:lnTo>
                    <a:pt x="1202" y="473"/>
                  </a:lnTo>
                  <a:lnTo>
                    <a:pt x="1202" y="473"/>
                  </a:lnTo>
                  <a:lnTo>
                    <a:pt x="1202" y="473"/>
                  </a:lnTo>
                  <a:lnTo>
                    <a:pt x="1202" y="473"/>
                  </a:lnTo>
                  <a:lnTo>
                    <a:pt x="1202" y="473"/>
                  </a:lnTo>
                  <a:lnTo>
                    <a:pt x="1202" y="473"/>
                  </a:lnTo>
                  <a:lnTo>
                    <a:pt x="1202" y="473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0" y="475"/>
                  </a:lnTo>
                  <a:lnTo>
                    <a:pt x="1198" y="477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6" y="479"/>
                  </a:lnTo>
                  <a:lnTo>
                    <a:pt x="1196" y="482"/>
                  </a:lnTo>
                  <a:lnTo>
                    <a:pt x="1193" y="482"/>
                  </a:lnTo>
                  <a:lnTo>
                    <a:pt x="1193" y="482"/>
                  </a:lnTo>
                  <a:lnTo>
                    <a:pt x="1189" y="484"/>
                  </a:lnTo>
                  <a:lnTo>
                    <a:pt x="1187" y="484"/>
                  </a:lnTo>
                  <a:lnTo>
                    <a:pt x="1184" y="484"/>
                  </a:lnTo>
                  <a:lnTo>
                    <a:pt x="1184" y="484"/>
                  </a:lnTo>
                  <a:lnTo>
                    <a:pt x="1184" y="484"/>
                  </a:lnTo>
                  <a:lnTo>
                    <a:pt x="1184" y="484"/>
                  </a:lnTo>
                  <a:lnTo>
                    <a:pt x="1182" y="484"/>
                  </a:lnTo>
                  <a:lnTo>
                    <a:pt x="1182" y="486"/>
                  </a:lnTo>
                  <a:lnTo>
                    <a:pt x="1180" y="486"/>
                  </a:lnTo>
                  <a:lnTo>
                    <a:pt x="1180" y="486"/>
                  </a:lnTo>
                  <a:lnTo>
                    <a:pt x="1175" y="488"/>
                  </a:lnTo>
                  <a:lnTo>
                    <a:pt x="1180" y="486"/>
                  </a:lnTo>
                  <a:lnTo>
                    <a:pt x="1180" y="486"/>
                  </a:lnTo>
                  <a:lnTo>
                    <a:pt x="1182" y="486"/>
                  </a:lnTo>
                  <a:lnTo>
                    <a:pt x="1182" y="486"/>
                  </a:lnTo>
                  <a:lnTo>
                    <a:pt x="1184" y="484"/>
                  </a:lnTo>
                  <a:lnTo>
                    <a:pt x="1189" y="484"/>
                  </a:lnTo>
                  <a:lnTo>
                    <a:pt x="1189" y="484"/>
                  </a:lnTo>
                  <a:lnTo>
                    <a:pt x="1191" y="484"/>
                  </a:lnTo>
                  <a:lnTo>
                    <a:pt x="1193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6" y="482"/>
                  </a:lnTo>
                  <a:lnTo>
                    <a:pt x="1198" y="482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9"/>
                  </a:lnTo>
                  <a:lnTo>
                    <a:pt x="1198" y="477"/>
                  </a:lnTo>
                  <a:lnTo>
                    <a:pt x="1200" y="477"/>
                  </a:lnTo>
                  <a:lnTo>
                    <a:pt x="1200" y="477"/>
                  </a:lnTo>
                  <a:lnTo>
                    <a:pt x="1200" y="477"/>
                  </a:lnTo>
                  <a:lnTo>
                    <a:pt x="1200" y="477"/>
                  </a:lnTo>
                  <a:lnTo>
                    <a:pt x="1200" y="477"/>
                  </a:lnTo>
                  <a:lnTo>
                    <a:pt x="1200" y="477"/>
                  </a:lnTo>
                  <a:lnTo>
                    <a:pt x="1200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5"/>
                  </a:lnTo>
                  <a:lnTo>
                    <a:pt x="1202" y="473"/>
                  </a:lnTo>
                  <a:lnTo>
                    <a:pt x="1205" y="473"/>
                  </a:lnTo>
                  <a:lnTo>
                    <a:pt x="1205" y="473"/>
                  </a:lnTo>
                  <a:lnTo>
                    <a:pt x="1205" y="473"/>
                  </a:lnTo>
                  <a:lnTo>
                    <a:pt x="1205" y="470"/>
                  </a:lnTo>
                  <a:lnTo>
                    <a:pt x="1205" y="473"/>
                  </a:lnTo>
                  <a:lnTo>
                    <a:pt x="1205" y="473"/>
                  </a:lnTo>
                  <a:lnTo>
                    <a:pt x="1205" y="473"/>
                  </a:lnTo>
                  <a:lnTo>
                    <a:pt x="1207" y="473"/>
                  </a:lnTo>
                  <a:lnTo>
                    <a:pt x="1207" y="473"/>
                  </a:lnTo>
                  <a:lnTo>
                    <a:pt x="1207" y="473"/>
                  </a:lnTo>
                  <a:lnTo>
                    <a:pt x="1207" y="470"/>
                  </a:lnTo>
                  <a:lnTo>
                    <a:pt x="1207" y="470"/>
                  </a:lnTo>
                  <a:lnTo>
                    <a:pt x="1207" y="470"/>
                  </a:lnTo>
                  <a:lnTo>
                    <a:pt x="1207" y="470"/>
                  </a:lnTo>
                  <a:lnTo>
                    <a:pt x="1207" y="470"/>
                  </a:lnTo>
                  <a:lnTo>
                    <a:pt x="1207" y="473"/>
                  </a:lnTo>
                  <a:lnTo>
                    <a:pt x="1207" y="473"/>
                  </a:lnTo>
                  <a:lnTo>
                    <a:pt x="1207" y="473"/>
                  </a:lnTo>
                  <a:lnTo>
                    <a:pt x="1207" y="473"/>
                  </a:lnTo>
                  <a:lnTo>
                    <a:pt x="1209" y="473"/>
                  </a:lnTo>
                  <a:lnTo>
                    <a:pt x="1209" y="473"/>
                  </a:lnTo>
                  <a:lnTo>
                    <a:pt x="1209" y="473"/>
                  </a:lnTo>
                  <a:lnTo>
                    <a:pt x="1207" y="473"/>
                  </a:lnTo>
                  <a:lnTo>
                    <a:pt x="1207" y="473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5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5" y="479"/>
                  </a:lnTo>
                  <a:lnTo>
                    <a:pt x="1202" y="479"/>
                  </a:lnTo>
                  <a:lnTo>
                    <a:pt x="1202" y="479"/>
                  </a:lnTo>
                  <a:lnTo>
                    <a:pt x="1200" y="482"/>
                  </a:lnTo>
                  <a:lnTo>
                    <a:pt x="1200" y="482"/>
                  </a:lnTo>
                  <a:lnTo>
                    <a:pt x="1200" y="482"/>
                  </a:lnTo>
                  <a:lnTo>
                    <a:pt x="1200" y="482"/>
                  </a:lnTo>
                  <a:lnTo>
                    <a:pt x="1202" y="482"/>
                  </a:lnTo>
                  <a:lnTo>
                    <a:pt x="1202" y="479"/>
                  </a:lnTo>
                  <a:lnTo>
                    <a:pt x="1202" y="479"/>
                  </a:lnTo>
                  <a:lnTo>
                    <a:pt x="1202" y="479"/>
                  </a:lnTo>
                  <a:lnTo>
                    <a:pt x="1202" y="479"/>
                  </a:lnTo>
                  <a:lnTo>
                    <a:pt x="1205" y="479"/>
                  </a:lnTo>
                  <a:lnTo>
                    <a:pt x="1205" y="479"/>
                  </a:lnTo>
                  <a:lnTo>
                    <a:pt x="1205" y="477"/>
                  </a:lnTo>
                  <a:lnTo>
                    <a:pt x="1205" y="477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7" y="477"/>
                  </a:lnTo>
                  <a:lnTo>
                    <a:pt x="1207" y="475"/>
                  </a:lnTo>
                  <a:lnTo>
                    <a:pt x="1209" y="475"/>
                  </a:lnTo>
                  <a:lnTo>
                    <a:pt x="1209" y="475"/>
                  </a:lnTo>
                  <a:lnTo>
                    <a:pt x="1209" y="475"/>
                  </a:lnTo>
                  <a:lnTo>
                    <a:pt x="1209" y="473"/>
                  </a:lnTo>
                  <a:lnTo>
                    <a:pt x="1209" y="473"/>
                  </a:lnTo>
                  <a:lnTo>
                    <a:pt x="1209" y="473"/>
                  </a:lnTo>
                  <a:lnTo>
                    <a:pt x="1209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3"/>
                  </a:lnTo>
                  <a:lnTo>
                    <a:pt x="1211" y="475"/>
                  </a:lnTo>
                  <a:lnTo>
                    <a:pt x="1211" y="475"/>
                  </a:lnTo>
                  <a:lnTo>
                    <a:pt x="1211" y="475"/>
                  </a:lnTo>
                  <a:lnTo>
                    <a:pt x="1211" y="475"/>
                  </a:lnTo>
                  <a:lnTo>
                    <a:pt x="1209" y="475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7"/>
                  </a:lnTo>
                  <a:lnTo>
                    <a:pt x="1209" y="479"/>
                  </a:lnTo>
                  <a:lnTo>
                    <a:pt x="1209" y="479"/>
                  </a:lnTo>
                  <a:lnTo>
                    <a:pt x="1207" y="479"/>
                  </a:lnTo>
                  <a:lnTo>
                    <a:pt x="1207" y="482"/>
                  </a:lnTo>
                  <a:lnTo>
                    <a:pt x="1207" y="482"/>
                  </a:lnTo>
                  <a:lnTo>
                    <a:pt x="1207" y="482"/>
                  </a:lnTo>
                  <a:lnTo>
                    <a:pt x="1207" y="484"/>
                  </a:lnTo>
                  <a:lnTo>
                    <a:pt x="1207" y="484"/>
                  </a:lnTo>
                  <a:lnTo>
                    <a:pt x="1207" y="484"/>
                  </a:lnTo>
                  <a:lnTo>
                    <a:pt x="1205" y="484"/>
                  </a:lnTo>
                  <a:lnTo>
                    <a:pt x="1205" y="484"/>
                  </a:lnTo>
                  <a:lnTo>
                    <a:pt x="1205" y="484"/>
                  </a:lnTo>
                  <a:lnTo>
                    <a:pt x="1205" y="484"/>
                  </a:lnTo>
                  <a:lnTo>
                    <a:pt x="1205" y="484"/>
                  </a:lnTo>
                  <a:lnTo>
                    <a:pt x="1205" y="484"/>
                  </a:lnTo>
                  <a:lnTo>
                    <a:pt x="1207" y="484"/>
                  </a:lnTo>
                  <a:lnTo>
                    <a:pt x="1207" y="484"/>
                  </a:lnTo>
                  <a:lnTo>
                    <a:pt x="1207" y="484"/>
                  </a:lnTo>
                  <a:lnTo>
                    <a:pt x="1207" y="484"/>
                  </a:lnTo>
                  <a:lnTo>
                    <a:pt x="1207" y="484"/>
                  </a:lnTo>
                  <a:lnTo>
                    <a:pt x="1207" y="482"/>
                  </a:lnTo>
                  <a:lnTo>
                    <a:pt x="1209" y="482"/>
                  </a:lnTo>
                  <a:lnTo>
                    <a:pt x="1209" y="482"/>
                  </a:lnTo>
                  <a:lnTo>
                    <a:pt x="1209" y="482"/>
                  </a:lnTo>
                  <a:lnTo>
                    <a:pt x="1209" y="482"/>
                  </a:lnTo>
                  <a:lnTo>
                    <a:pt x="1209" y="482"/>
                  </a:lnTo>
                  <a:lnTo>
                    <a:pt x="1209" y="479"/>
                  </a:lnTo>
                  <a:lnTo>
                    <a:pt x="1209" y="479"/>
                  </a:lnTo>
                  <a:lnTo>
                    <a:pt x="1211" y="479"/>
                  </a:lnTo>
                  <a:lnTo>
                    <a:pt x="1211" y="477"/>
                  </a:lnTo>
                  <a:lnTo>
                    <a:pt x="1211" y="477"/>
                  </a:lnTo>
                  <a:lnTo>
                    <a:pt x="1211" y="477"/>
                  </a:lnTo>
                  <a:lnTo>
                    <a:pt x="1211" y="477"/>
                  </a:lnTo>
                  <a:lnTo>
                    <a:pt x="1211" y="477"/>
                  </a:lnTo>
                  <a:lnTo>
                    <a:pt x="1214" y="477"/>
                  </a:lnTo>
                  <a:lnTo>
                    <a:pt x="1214" y="477"/>
                  </a:lnTo>
                  <a:lnTo>
                    <a:pt x="1214" y="477"/>
                  </a:lnTo>
                  <a:lnTo>
                    <a:pt x="1214" y="477"/>
                  </a:lnTo>
                  <a:lnTo>
                    <a:pt x="1214" y="477"/>
                  </a:lnTo>
                  <a:lnTo>
                    <a:pt x="1216" y="477"/>
                  </a:lnTo>
                  <a:lnTo>
                    <a:pt x="1216" y="477"/>
                  </a:lnTo>
                  <a:lnTo>
                    <a:pt x="1216" y="475"/>
                  </a:lnTo>
                  <a:lnTo>
                    <a:pt x="1218" y="475"/>
                  </a:lnTo>
                  <a:lnTo>
                    <a:pt x="1218" y="475"/>
                  </a:lnTo>
                  <a:lnTo>
                    <a:pt x="1218" y="475"/>
                  </a:lnTo>
                  <a:lnTo>
                    <a:pt x="1218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0" y="475"/>
                  </a:lnTo>
                  <a:lnTo>
                    <a:pt x="1223" y="475"/>
                  </a:lnTo>
                  <a:lnTo>
                    <a:pt x="1220" y="475"/>
                  </a:lnTo>
                  <a:lnTo>
                    <a:pt x="1223" y="475"/>
                  </a:lnTo>
                  <a:lnTo>
                    <a:pt x="1223" y="475"/>
                  </a:lnTo>
                  <a:lnTo>
                    <a:pt x="1223" y="475"/>
                  </a:lnTo>
                  <a:lnTo>
                    <a:pt x="1223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5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5" y="473"/>
                  </a:lnTo>
                  <a:lnTo>
                    <a:pt x="1227" y="473"/>
                  </a:lnTo>
                  <a:lnTo>
                    <a:pt x="1227" y="473"/>
                  </a:lnTo>
                  <a:lnTo>
                    <a:pt x="1227" y="473"/>
                  </a:lnTo>
                  <a:lnTo>
                    <a:pt x="1229" y="473"/>
                  </a:lnTo>
                  <a:lnTo>
                    <a:pt x="1229" y="473"/>
                  </a:lnTo>
                  <a:lnTo>
                    <a:pt x="1229" y="473"/>
                  </a:lnTo>
                  <a:lnTo>
                    <a:pt x="1229" y="473"/>
                  </a:lnTo>
                  <a:lnTo>
                    <a:pt x="1229" y="473"/>
                  </a:lnTo>
                  <a:lnTo>
                    <a:pt x="1229" y="470"/>
                  </a:lnTo>
                  <a:lnTo>
                    <a:pt x="1229" y="470"/>
                  </a:lnTo>
                  <a:lnTo>
                    <a:pt x="1232" y="470"/>
                  </a:lnTo>
                  <a:lnTo>
                    <a:pt x="1232" y="470"/>
                  </a:lnTo>
                  <a:lnTo>
                    <a:pt x="1232" y="470"/>
                  </a:lnTo>
                  <a:lnTo>
                    <a:pt x="1232" y="470"/>
                  </a:lnTo>
                  <a:lnTo>
                    <a:pt x="1232" y="470"/>
                  </a:lnTo>
                  <a:lnTo>
                    <a:pt x="1232" y="470"/>
                  </a:lnTo>
                  <a:lnTo>
                    <a:pt x="1232" y="470"/>
                  </a:lnTo>
                  <a:lnTo>
                    <a:pt x="1232" y="468"/>
                  </a:lnTo>
                  <a:lnTo>
                    <a:pt x="1232" y="468"/>
                  </a:lnTo>
                  <a:lnTo>
                    <a:pt x="1232" y="468"/>
                  </a:lnTo>
                  <a:lnTo>
                    <a:pt x="1232" y="468"/>
                  </a:lnTo>
                  <a:lnTo>
                    <a:pt x="1232" y="468"/>
                  </a:lnTo>
                  <a:lnTo>
                    <a:pt x="1232" y="468"/>
                  </a:lnTo>
                  <a:lnTo>
                    <a:pt x="1234" y="468"/>
                  </a:lnTo>
                  <a:lnTo>
                    <a:pt x="1234" y="468"/>
                  </a:lnTo>
                  <a:lnTo>
                    <a:pt x="1234" y="468"/>
                  </a:lnTo>
                  <a:lnTo>
                    <a:pt x="1234" y="468"/>
                  </a:lnTo>
                  <a:lnTo>
                    <a:pt x="1236" y="468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6" y="466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4"/>
                  </a:lnTo>
                  <a:lnTo>
                    <a:pt x="1238" y="466"/>
                  </a:lnTo>
                  <a:lnTo>
                    <a:pt x="1238" y="466"/>
                  </a:lnTo>
                  <a:lnTo>
                    <a:pt x="1238" y="466"/>
                  </a:lnTo>
                  <a:lnTo>
                    <a:pt x="1238" y="466"/>
                  </a:lnTo>
                  <a:lnTo>
                    <a:pt x="1241" y="466"/>
                  </a:lnTo>
                  <a:lnTo>
                    <a:pt x="1241" y="466"/>
                  </a:lnTo>
                  <a:lnTo>
                    <a:pt x="1241" y="466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1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1" y="470"/>
                  </a:lnTo>
                  <a:lnTo>
                    <a:pt x="1241" y="470"/>
                  </a:lnTo>
                  <a:lnTo>
                    <a:pt x="1241" y="470"/>
                  </a:lnTo>
                  <a:lnTo>
                    <a:pt x="1241" y="470"/>
                  </a:lnTo>
                  <a:lnTo>
                    <a:pt x="1241" y="470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38" y="477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38" y="475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41" y="475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1" y="473"/>
                  </a:lnTo>
                  <a:lnTo>
                    <a:pt x="1243" y="473"/>
                  </a:lnTo>
                  <a:lnTo>
                    <a:pt x="1243" y="473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3" y="470"/>
                  </a:lnTo>
                  <a:lnTo>
                    <a:pt x="1245" y="470"/>
                  </a:lnTo>
                  <a:lnTo>
                    <a:pt x="1245" y="470"/>
                  </a:lnTo>
                  <a:lnTo>
                    <a:pt x="1245" y="470"/>
                  </a:lnTo>
                  <a:lnTo>
                    <a:pt x="1245" y="470"/>
                  </a:lnTo>
                  <a:lnTo>
                    <a:pt x="1245" y="470"/>
                  </a:lnTo>
                  <a:lnTo>
                    <a:pt x="1245" y="470"/>
                  </a:lnTo>
                  <a:lnTo>
                    <a:pt x="1245" y="470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8"/>
                  </a:lnTo>
                  <a:lnTo>
                    <a:pt x="1243" y="466"/>
                  </a:lnTo>
                  <a:lnTo>
                    <a:pt x="1243" y="466"/>
                  </a:lnTo>
                  <a:lnTo>
                    <a:pt x="1243" y="466"/>
                  </a:lnTo>
                  <a:lnTo>
                    <a:pt x="1241" y="466"/>
                  </a:lnTo>
                  <a:lnTo>
                    <a:pt x="1243" y="466"/>
                  </a:lnTo>
                  <a:lnTo>
                    <a:pt x="1243" y="464"/>
                  </a:lnTo>
                  <a:lnTo>
                    <a:pt x="1243" y="464"/>
                  </a:lnTo>
                  <a:lnTo>
                    <a:pt x="1245" y="464"/>
                  </a:lnTo>
                  <a:lnTo>
                    <a:pt x="1245" y="464"/>
                  </a:lnTo>
                  <a:lnTo>
                    <a:pt x="1245" y="466"/>
                  </a:lnTo>
                  <a:lnTo>
                    <a:pt x="1245" y="466"/>
                  </a:lnTo>
                  <a:lnTo>
                    <a:pt x="1247" y="466"/>
                  </a:lnTo>
                  <a:lnTo>
                    <a:pt x="1247" y="466"/>
                  </a:lnTo>
                  <a:lnTo>
                    <a:pt x="1247" y="464"/>
                  </a:lnTo>
                  <a:lnTo>
                    <a:pt x="1247" y="464"/>
                  </a:lnTo>
                  <a:lnTo>
                    <a:pt x="1247" y="464"/>
                  </a:lnTo>
                  <a:lnTo>
                    <a:pt x="1247" y="464"/>
                  </a:lnTo>
                  <a:lnTo>
                    <a:pt x="1247" y="464"/>
                  </a:lnTo>
                  <a:lnTo>
                    <a:pt x="1245" y="464"/>
                  </a:lnTo>
                  <a:lnTo>
                    <a:pt x="1245" y="464"/>
                  </a:lnTo>
                  <a:lnTo>
                    <a:pt x="1245" y="464"/>
                  </a:lnTo>
                  <a:lnTo>
                    <a:pt x="1245" y="464"/>
                  </a:lnTo>
                  <a:lnTo>
                    <a:pt x="1245" y="464"/>
                  </a:lnTo>
                  <a:lnTo>
                    <a:pt x="1247" y="464"/>
                  </a:lnTo>
                  <a:lnTo>
                    <a:pt x="1247" y="464"/>
                  </a:lnTo>
                  <a:lnTo>
                    <a:pt x="1247" y="464"/>
                  </a:lnTo>
                  <a:lnTo>
                    <a:pt x="1247" y="461"/>
                  </a:lnTo>
                  <a:lnTo>
                    <a:pt x="1247" y="461"/>
                  </a:lnTo>
                  <a:lnTo>
                    <a:pt x="1247" y="461"/>
                  </a:lnTo>
                  <a:lnTo>
                    <a:pt x="1247" y="461"/>
                  </a:lnTo>
                  <a:lnTo>
                    <a:pt x="1247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0" y="464"/>
                  </a:lnTo>
                  <a:lnTo>
                    <a:pt x="1250" y="464"/>
                  </a:lnTo>
                  <a:lnTo>
                    <a:pt x="1252" y="464"/>
                  </a:lnTo>
                  <a:lnTo>
                    <a:pt x="1252" y="461"/>
                  </a:lnTo>
                  <a:lnTo>
                    <a:pt x="1252" y="461"/>
                  </a:lnTo>
                  <a:lnTo>
                    <a:pt x="1252" y="461"/>
                  </a:lnTo>
                  <a:lnTo>
                    <a:pt x="1252" y="461"/>
                  </a:lnTo>
                  <a:lnTo>
                    <a:pt x="1252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0" y="461"/>
                  </a:lnTo>
                  <a:lnTo>
                    <a:pt x="1252" y="461"/>
                  </a:lnTo>
                  <a:lnTo>
                    <a:pt x="1252" y="459"/>
                  </a:lnTo>
                  <a:lnTo>
                    <a:pt x="1252" y="461"/>
                  </a:lnTo>
                  <a:lnTo>
                    <a:pt x="1252" y="459"/>
                  </a:lnTo>
                  <a:lnTo>
                    <a:pt x="1252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61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6" y="459"/>
                  </a:lnTo>
                  <a:lnTo>
                    <a:pt x="1256" y="461"/>
                  </a:lnTo>
                  <a:lnTo>
                    <a:pt x="1256" y="461"/>
                  </a:lnTo>
                  <a:lnTo>
                    <a:pt x="1259" y="461"/>
                  </a:lnTo>
                  <a:lnTo>
                    <a:pt x="1259" y="459"/>
                  </a:lnTo>
                  <a:lnTo>
                    <a:pt x="1259" y="459"/>
                  </a:lnTo>
                  <a:lnTo>
                    <a:pt x="1256" y="459"/>
                  </a:lnTo>
                  <a:lnTo>
                    <a:pt x="1256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4" y="459"/>
                  </a:lnTo>
                  <a:lnTo>
                    <a:pt x="1252" y="459"/>
                  </a:lnTo>
                  <a:lnTo>
                    <a:pt x="1252" y="459"/>
                  </a:lnTo>
                  <a:lnTo>
                    <a:pt x="1252" y="459"/>
                  </a:lnTo>
                  <a:lnTo>
                    <a:pt x="1252" y="459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4" y="457"/>
                  </a:lnTo>
                  <a:lnTo>
                    <a:pt x="1254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7"/>
                  </a:lnTo>
                  <a:lnTo>
                    <a:pt x="1252" y="455"/>
                  </a:lnTo>
                  <a:lnTo>
                    <a:pt x="1254" y="455"/>
                  </a:lnTo>
                  <a:lnTo>
                    <a:pt x="1254" y="455"/>
                  </a:lnTo>
                  <a:lnTo>
                    <a:pt x="1254" y="455"/>
                  </a:lnTo>
                  <a:lnTo>
                    <a:pt x="1254" y="455"/>
                  </a:lnTo>
                  <a:lnTo>
                    <a:pt x="1254" y="457"/>
                  </a:lnTo>
                  <a:lnTo>
                    <a:pt x="1254" y="457"/>
                  </a:lnTo>
                  <a:lnTo>
                    <a:pt x="1254" y="457"/>
                  </a:lnTo>
                  <a:lnTo>
                    <a:pt x="1254" y="457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7"/>
                  </a:lnTo>
                  <a:lnTo>
                    <a:pt x="1256" y="457"/>
                  </a:lnTo>
                  <a:lnTo>
                    <a:pt x="1256" y="457"/>
                  </a:lnTo>
                  <a:lnTo>
                    <a:pt x="1256" y="457"/>
                  </a:lnTo>
                  <a:lnTo>
                    <a:pt x="1256" y="457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5"/>
                  </a:lnTo>
                  <a:lnTo>
                    <a:pt x="1256" y="452"/>
                  </a:lnTo>
                  <a:lnTo>
                    <a:pt x="1256" y="452"/>
                  </a:lnTo>
                  <a:lnTo>
                    <a:pt x="1259" y="452"/>
                  </a:lnTo>
                  <a:lnTo>
                    <a:pt x="1259" y="455"/>
                  </a:lnTo>
                  <a:lnTo>
                    <a:pt x="1259" y="455"/>
                  </a:lnTo>
                  <a:lnTo>
                    <a:pt x="1259" y="455"/>
                  </a:lnTo>
                  <a:lnTo>
                    <a:pt x="1259" y="455"/>
                  </a:lnTo>
                  <a:lnTo>
                    <a:pt x="1259" y="455"/>
                  </a:lnTo>
                  <a:lnTo>
                    <a:pt x="1259" y="452"/>
                  </a:lnTo>
                  <a:lnTo>
                    <a:pt x="1259" y="452"/>
                  </a:lnTo>
                  <a:lnTo>
                    <a:pt x="1259" y="452"/>
                  </a:lnTo>
                  <a:lnTo>
                    <a:pt x="1261" y="452"/>
                  </a:lnTo>
                  <a:lnTo>
                    <a:pt x="1261" y="452"/>
                  </a:lnTo>
                  <a:lnTo>
                    <a:pt x="1261" y="452"/>
                  </a:lnTo>
                  <a:lnTo>
                    <a:pt x="1259" y="452"/>
                  </a:lnTo>
                  <a:lnTo>
                    <a:pt x="1259" y="452"/>
                  </a:lnTo>
                  <a:lnTo>
                    <a:pt x="1259" y="452"/>
                  </a:lnTo>
                  <a:lnTo>
                    <a:pt x="1259" y="452"/>
                  </a:lnTo>
                  <a:lnTo>
                    <a:pt x="1259" y="450"/>
                  </a:lnTo>
                  <a:lnTo>
                    <a:pt x="1259" y="450"/>
                  </a:lnTo>
                  <a:lnTo>
                    <a:pt x="1259" y="450"/>
                  </a:lnTo>
                  <a:lnTo>
                    <a:pt x="1259" y="450"/>
                  </a:lnTo>
                  <a:lnTo>
                    <a:pt x="1259" y="450"/>
                  </a:lnTo>
                  <a:lnTo>
                    <a:pt x="1261" y="450"/>
                  </a:lnTo>
                  <a:lnTo>
                    <a:pt x="1261" y="450"/>
                  </a:lnTo>
                  <a:lnTo>
                    <a:pt x="1261" y="450"/>
                  </a:lnTo>
                  <a:lnTo>
                    <a:pt x="1261" y="450"/>
                  </a:lnTo>
                  <a:lnTo>
                    <a:pt x="1263" y="450"/>
                  </a:lnTo>
                  <a:lnTo>
                    <a:pt x="1263" y="450"/>
                  </a:lnTo>
                  <a:lnTo>
                    <a:pt x="1265" y="450"/>
                  </a:lnTo>
                  <a:lnTo>
                    <a:pt x="1265" y="450"/>
                  </a:lnTo>
                  <a:lnTo>
                    <a:pt x="1265" y="450"/>
                  </a:lnTo>
                  <a:lnTo>
                    <a:pt x="1265" y="450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8" y="452"/>
                  </a:lnTo>
                  <a:lnTo>
                    <a:pt x="1268" y="452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5" y="452"/>
                  </a:lnTo>
                  <a:lnTo>
                    <a:pt x="1265" y="450"/>
                  </a:lnTo>
                  <a:lnTo>
                    <a:pt x="1265" y="450"/>
                  </a:lnTo>
                  <a:lnTo>
                    <a:pt x="1263" y="450"/>
                  </a:lnTo>
                  <a:lnTo>
                    <a:pt x="1263" y="450"/>
                  </a:lnTo>
                  <a:lnTo>
                    <a:pt x="1261" y="450"/>
                  </a:lnTo>
                  <a:lnTo>
                    <a:pt x="1261" y="450"/>
                  </a:lnTo>
                  <a:lnTo>
                    <a:pt x="1261" y="450"/>
                  </a:lnTo>
                  <a:lnTo>
                    <a:pt x="1261" y="448"/>
                  </a:lnTo>
                  <a:lnTo>
                    <a:pt x="1261" y="446"/>
                  </a:lnTo>
                  <a:lnTo>
                    <a:pt x="1261" y="446"/>
                  </a:lnTo>
                  <a:lnTo>
                    <a:pt x="1261" y="446"/>
                  </a:lnTo>
                  <a:lnTo>
                    <a:pt x="1261" y="446"/>
                  </a:lnTo>
                  <a:lnTo>
                    <a:pt x="1263" y="446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3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5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70" y="443"/>
                  </a:lnTo>
                  <a:lnTo>
                    <a:pt x="1270" y="443"/>
                  </a:lnTo>
                  <a:lnTo>
                    <a:pt x="1270" y="443"/>
                  </a:lnTo>
                  <a:lnTo>
                    <a:pt x="1270" y="446"/>
                  </a:lnTo>
                  <a:lnTo>
                    <a:pt x="1272" y="443"/>
                  </a:lnTo>
                  <a:lnTo>
                    <a:pt x="1270" y="443"/>
                  </a:lnTo>
                  <a:lnTo>
                    <a:pt x="1270" y="443"/>
                  </a:lnTo>
                  <a:lnTo>
                    <a:pt x="1270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3"/>
                  </a:lnTo>
                  <a:lnTo>
                    <a:pt x="1268" y="441"/>
                  </a:lnTo>
                  <a:lnTo>
                    <a:pt x="1268" y="441"/>
                  </a:lnTo>
                  <a:lnTo>
                    <a:pt x="1268" y="441"/>
                  </a:lnTo>
                  <a:lnTo>
                    <a:pt x="1268" y="441"/>
                  </a:lnTo>
                  <a:lnTo>
                    <a:pt x="1268" y="441"/>
                  </a:lnTo>
                  <a:lnTo>
                    <a:pt x="1268" y="441"/>
                  </a:lnTo>
                  <a:lnTo>
                    <a:pt x="1268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68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0" y="441"/>
                  </a:lnTo>
                  <a:lnTo>
                    <a:pt x="1272" y="441"/>
                  </a:lnTo>
                  <a:lnTo>
                    <a:pt x="1272" y="441"/>
                  </a:lnTo>
                  <a:lnTo>
                    <a:pt x="1272" y="441"/>
                  </a:lnTo>
                  <a:lnTo>
                    <a:pt x="1270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2" y="439"/>
                  </a:lnTo>
                  <a:lnTo>
                    <a:pt x="1274" y="437"/>
                  </a:lnTo>
                  <a:lnTo>
                    <a:pt x="1272" y="437"/>
                  </a:lnTo>
                  <a:lnTo>
                    <a:pt x="1272" y="437"/>
                  </a:lnTo>
                  <a:lnTo>
                    <a:pt x="1272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4" y="437"/>
                  </a:lnTo>
                  <a:lnTo>
                    <a:pt x="1277" y="434"/>
                  </a:lnTo>
                  <a:lnTo>
                    <a:pt x="1277" y="434"/>
                  </a:lnTo>
                  <a:lnTo>
                    <a:pt x="1277" y="434"/>
                  </a:lnTo>
                  <a:lnTo>
                    <a:pt x="1277" y="434"/>
                  </a:lnTo>
                  <a:lnTo>
                    <a:pt x="1277" y="434"/>
                  </a:lnTo>
                  <a:lnTo>
                    <a:pt x="1277" y="434"/>
                  </a:lnTo>
                  <a:lnTo>
                    <a:pt x="1277" y="434"/>
                  </a:lnTo>
                  <a:lnTo>
                    <a:pt x="1279" y="434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79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1" y="432"/>
                  </a:lnTo>
                  <a:lnTo>
                    <a:pt x="1283" y="432"/>
                  </a:lnTo>
                  <a:lnTo>
                    <a:pt x="1283" y="432"/>
                  </a:lnTo>
                  <a:lnTo>
                    <a:pt x="1283" y="432"/>
                  </a:lnTo>
                  <a:lnTo>
                    <a:pt x="1283" y="432"/>
                  </a:lnTo>
                  <a:lnTo>
                    <a:pt x="1285" y="432"/>
                  </a:lnTo>
                  <a:lnTo>
                    <a:pt x="1285" y="432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3" y="434"/>
                  </a:lnTo>
                  <a:lnTo>
                    <a:pt x="1283" y="432"/>
                  </a:lnTo>
                  <a:lnTo>
                    <a:pt x="1281" y="432"/>
                  </a:lnTo>
                  <a:lnTo>
                    <a:pt x="1281" y="434"/>
                  </a:lnTo>
                  <a:lnTo>
                    <a:pt x="1279" y="434"/>
                  </a:lnTo>
                  <a:lnTo>
                    <a:pt x="1281" y="434"/>
                  </a:lnTo>
                  <a:lnTo>
                    <a:pt x="1281" y="434"/>
                  </a:lnTo>
                  <a:lnTo>
                    <a:pt x="1283" y="434"/>
                  </a:lnTo>
                  <a:lnTo>
                    <a:pt x="1283" y="434"/>
                  </a:lnTo>
                  <a:lnTo>
                    <a:pt x="1283" y="434"/>
                  </a:lnTo>
                  <a:lnTo>
                    <a:pt x="1283" y="434"/>
                  </a:lnTo>
                  <a:lnTo>
                    <a:pt x="1285" y="434"/>
                  </a:lnTo>
                  <a:lnTo>
                    <a:pt x="1283" y="434"/>
                  </a:lnTo>
                  <a:lnTo>
                    <a:pt x="1283" y="434"/>
                  </a:lnTo>
                  <a:lnTo>
                    <a:pt x="1281" y="437"/>
                  </a:lnTo>
                  <a:lnTo>
                    <a:pt x="1283" y="437"/>
                  </a:lnTo>
                  <a:lnTo>
                    <a:pt x="1283" y="434"/>
                  </a:lnTo>
                  <a:lnTo>
                    <a:pt x="1283" y="434"/>
                  </a:lnTo>
                  <a:lnTo>
                    <a:pt x="1283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4"/>
                  </a:lnTo>
                  <a:lnTo>
                    <a:pt x="1285" y="437"/>
                  </a:lnTo>
                  <a:lnTo>
                    <a:pt x="1285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1" y="437"/>
                  </a:lnTo>
                  <a:lnTo>
                    <a:pt x="1281" y="439"/>
                  </a:lnTo>
                  <a:lnTo>
                    <a:pt x="1279" y="439"/>
                  </a:lnTo>
                  <a:lnTo>
                    <a:pt x="1279" y="439"/>
                  </a:lnTo>
                  <a:lnTo>
                    <a:pt x="1279" y="439"/>
                  </a:lnTo>
                  <a:lnTo>
                    <a:pt x="1277" y="439"/>
                  </a:lnTo>
                  <a:lnTo>
                    <a:pt x="1277" y="439"/>
                  </a:lnTo>
                  <a:lnTo>
                    <a:pt x="1277" y="439"/>
                  </a:lnTo>
                  <a:lnTo>
                    <a:pt x="1277" y="439"/>
                  </a:lnTo>
                  <a:lnTo>
                    <a:pt x="1277" y="439"/>
                  </a:lnTo>
                  <a:lnTo>
                    <a:pt x="1277" y="439"/>
                  </a:lnTo>
                  <a:lnTo>
                    <a:pt x="1277" y="439"/>
                  </a:lnTo>
                  <a:lnTo>
                    <a:pt x="1281" y="439"/>
                  </a:lnTo>
                  <a:lnTo>
                    <a:pt x="1281" y="439"/>
                  </a:lnTo>
                  <a:lnTo>
                    <a:pt x="1281" y="439"/>
                  </a:lnTo>
                  <a:lnTo>
                    <a:pt x="1283" y="439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5" y="437"/>
                  </a:lnTo>
                  <a:lnTo>
                    <a:pt x="1285" y="437"/>
                  </a:lnTo>
                  <a:lnTo>
                    <a:pt x="1285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7"/>
                  </a:lnTo>
                  <a:lnTo>
                    <a:pt x="1283" y="439"/>
                  </a:lnTo>
                  <a:lnTo>
                    <a:pt x="1283" y="439"/>
                  </a:lnTo>
                  <a:lnTo>
                    <a:pt x="1283" y="439"/>
                  </a:lnTo>
                  <a:lnTo>
                    <a:pt x="1283" y="439"/>
                  </a:lnTo>
                  <a:lnTo>
                    <a:pt x="1283" y="439"/>
                  </a:lnTo>
                  <a:lnTo>
                    <a:pt x="1281" y="439"/>
                  </a:lnTo>
                  <a:lnTo>
                    <a:pt x="1281" y="439"/>
                  </a:lnTo>
                  <a:lnTo>
                    <a:pt x="1283" y="439"/>
                  </a:lnTo>
                  <a:lnTo>
                    <a:pt x="1283" y="439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1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3" y="439"/>
                  </a:lnTo>
                  <a:lnTo>
                    <a:pt x="1283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5" y="439"/>
                  </a:lnTo>
                  <a:lnTo>
                    <a:pt x="1288" y="439"/>
                  </a:lnTo>
                  <a:lnTo>
                    <a:pt x="1285" y="439"/>
                  </a:lnTo>
                  <a:lnTo>
                    <a:pt x="1288" y="439"/>
                  </a:lnTo>
                  <a:lnTo>
                    <a:pt x="1288" y="439"/>
                  </a:lnTo>
                  <a:lnTo>
                    <a:pt x="1288" y="439"/>
                  </a:lnTo>
                  <a:lnTo>
                    <a:pt x="1288" y="439"/>
                  </a:lnTo>
                  <a:lnTo>
                    <a:pt x="1288" y="439"/>
                  </a:lnTo>
                  <a:lnTo>
                    <a:pt x="1288" y="439"/>
                  </a:lnTo>
                  <a:lnTo>
                    <a:pt x="1288" y="439"/>
                  </a:lnTo>
                  <a:lnTo>
                    <a:pt x="1285" y="439"/>
                  </a:lnTo>
                  <a:lnTo>
                    <a:pt x="1285" y="441"/>
                  </a:lnTo>
                  <a:lnTo>
                    <a:pt x="1283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3" y="441"/>
                  </a:lnTo>
                  <a:lnTo>
                    <a:pt x="1283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5" y="441"/>
                  </a:lnTo>
                  <a:lnTo>
                    <a:pt x="1288" y="441"/>
                  </a:lnTo>
                  <a:lnTo>
                    <a:pt x="1288" y="441"/>
                  </a:lnTo>
                  <a:lnTo>
                    <a:pt x="1285" y="441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5" y="443"/>
                  </a:lnTo>
                  <a:lnTo>
                    <a:pt x="1283" y="443"/>
                  </a:lnTo>
                  <a:lnTo>
                    <a:pt x="1283" y="443"/>
                  </a:lnTo>
                  <a:lnTo>
                    <a:pt x="1283" y="443"/>
                  </a:lnTo>
                  <a:lnTo>
                    <a:pt x="1283" y="446"/>
                  </a:lnTo>
                  <a:lnTo>
                    <a:pt x="1283" y="446"/>
                  </a:lnTo>
                  <a:lnTo>
                    <a:pt x="1283" y="446"/>
                  </a:lnTo>
                  <a:lnTo>
                    <a:pt x="1283" y="446"/>
                  </a:lnTo>
                  <a:lnTo>
                    <a:pt x="1285" y="446"/>
                  </a:lnTo>
                  <a:lnTo>
                    <a:pt x="1288" y="446"/>
                  </a:lnTo>
                  <a:lnTo>
                    <a:pt x="1288" y="446"/>
                  </a:lnTo>
                  <a:lnTo>
                    <a:pt x="1288" y="446"/>
                  </a:lnTo>
                  <a:lnTo>
                    <a:pt x="1288" y="446"/>
                  </a:lnTo>
                  <a:lnTo>
                    <a:pt x="1288" y="446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3" y="448"/>
                  </a:lnTo>
                  <a:lnTo>
                    <a:pt x="1283" y="448"/>
                  </a:lnTo>
                  <a:lnTo>
                    <a:pt x="1283" y="450"/>
                  </a:lnTo>
                  <a:lnTo>
                    <a:pt x="1283" y="450"/>
                  </a:lnTo>
                  <a:lnTo>
                    <a:pt x="1283" y="450"/>
                  </a:lnTo>
                  <a:lnTo>
                    <a:pt x="1283" y="450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5" y="448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8" y="448"/>
                  </a:lnTo>
                  <a:lnTo>
                    <a:pt x="1285" y="448"/>
                  </a:lnTo>
                  <a:lnTo>
                    <a:pt x="1285" y="450"/>
                  </a:lnTo>
                  <a:lnTo>
                    <a:pt x="1285" y="450"/>
                  </a:lnTo>
                  <a:lnTo>
                    <a:pt x="1285" y="450"/>
                  </a:lnTo>
                  <a:lnTo>
                    <a:pt x="1285" y="450"/>
                  </a:lnTo>
                  <a:lnTo>
                    <a:pt x="1285" y="450"/>
                  </a:lnTo>
                  <a:lnTo>
                    <a:pt x="1288" y="448"/>
                  </a:lnTo>
                  <a:lnTo>
                    <a:pt x="1290" y="450"/>
                  </a:lnTo>
                  <a:lnTo>
                    <a:pt x="1290" y="450"/>
                  </a:lnTo>
                  <a:lnTo>
                    <a:pt x="1290" y="450"/>
                  </a:lnTo>
                  <a:lnTo>
                    <a:pt x="1290" y="450"/>
                  </a:lnTo>
                  <a:lnTo>
                    <a:pt x="1290" y="450"/>
                  </a:lnTo>
                  <a:lnTo>
                    <a:pt x="1288" y="450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3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2"/>
                  </a:lnTo>
                  <a:lnTo>
                    <a:pt x="1288" y="455"/>
                  </a:lnTo>
                  <a:lnTo>
                    <a:pt x="1288" y="455"/>
                  </a:lnTo>
                  <a:lnTo>
                    <a:pt x="1288" y="455"/>
                  </a:lnTo>
                  <a:lnTo>
                    <a:pt x="1285" y="455"/>
                  </a:lnTo>
                  <a:lnTo>
                    <a:pt x="1285" y="455"/>
                  </a:lnTo>
                  <a:lnTo>
                    <a:pt x="1285" y="455"/>
                  </a:lnTo>
                  <a:lnTo>
                    <a:pt x="1285" y="455"/>
                  </a:lnTo>
                  <a:lnTo>
                    <a:pt x="1285" y="457"/>
                  </a:lnTo>
                  <a:lnTo>
                    <a:pt x="1285" y="457"/>
                  </a:lnTo>
                  <a:lnTo>
                    <a:pt x="1285" y="455"/>
                  </a:lnTo>
                  <a:lnTo>
                    <a:pt x="1288" y="455"/>
                  </a:lnTo>
                  <a:lnTo>
                    <a:pt x="1288" y="455"/>
                  </a:lnTo>
                  <a:lnTo>
                    <a:pt x="1288" y="455"/>
                  </a:lnTo>
                  <a:lnTo>
                    <a:pt x="1288" y="455"/>
                  </a:lnTo>
                  <a:lnTo>
                    <a:pt x="1288" y="455"/>
                  </a:lnTo>
                  <a:lnTo>
                    <a:pt x="1290" y="452"/>
                  </a:lnTo>
                  <a:lnTo>
                    <a:pt x="1290" y="452"/>
                  </a:lnTo>
                  <a:lnTo>
                    <a:pt x="1290" y="452"/>
                  </a:lnTo>
                  <a:lnTo>
                    <a:pt x="1290" y="452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90" y="455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88" y="457"/>
                  </a:lnTo>
                  <a:lnTo>
                    <a:pt x="1290" y="457"/>
                  </a:lnTo>
                  <a:lnTo>
                    <a:pt x="1290" y="457"/>
                  </a:lnTo>
                  <a:lnTo>
                    <a:pt x="1290" y="457"/>
                  </a:lnTo>
                  <a:lnTo>
                    <a:pt x="1292" y="455"/>
                  </a:lnTo>
                  <a:lnTo>
                    <a:pt x="1292" y="455"/>
                  </a:lnTo>
                  <a:lnTo>
                    <a:pt x="1292" y="455"/>
                  </a:lnTo>
                  <a:lnTo>
                    <a:pt x="1292" y="455"/>
                  </a:lnTo>
                  <a:lnTo>
                    <a:pt x="1292" y="455"/>
                  </a:lnTo>
                  <a:lnTo>
                    <a:pt x="1292" y="455"/>
                  </a:lnTo>
                  <a:lnTo>
                    <a:pt x="1292" y="455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0" y="457"/>
                  </a:lnTo>
                  <a:lnTo>
                    <a:pt x="1290" y="457"/>
                  </a:lnTo>
                  <a:lnTo>
                    <a:pt x="1290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2" y="457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88" y="459"/>
                  </a:lnTo>
                  <a:lnTo>
                    <a:pt x="1288" y="459"/>
                  </a:lnTo>
                  <a:lnTo>
                    <a:pt x="1288" y="459"/>
                  </a:lnTo>
                  <a:lnTo>
                    <a:pt x="1288" y="459"/>
                  </a:lnTo>
                  <a:lnTo>
                    <a:pt x="1285" y="459"/>
                  </a:lnTo>
                  <a:lnTo>
                    <a:pt x="1285" y="459"/>
                  </a:lnTo>
                  <a:lnTo>
                    <a:pt x="1285" y="459"/>
                  </a:lnTo>
                  <a:lnTo>
                    <a:pt x="1283" y="459"/>
                  </a:lnTo>
                  <a:lnTo>
                    <a:pt x="1283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79" y="461"/>
                  </a:lnTo>
                  <a:lnTo>
                    <a:pt x="1279" y="461"/>
                  </a:lnTo>
                  <a:lnTo>
                    <a:pt x="1279" y="461"/>
                  </a:lnTo>
                  <a:lnTo>
                    <a:pt x="1279" y="461"/>
                  </a:lnTo>
                  <a:lnTo>
                    <a:pt x="1281" y="461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59"/>
                  </a:lnTo>
                  <a:lnTo>
                    <a:pt x="1281" y="461"/>
                  </a:lnTo>
                  <a:lnTo>
                    <a:pt x="1281" y="461"/>
                  </a:lnTo>
                  <a:lnTo>
                    <a:pt x="1281" y="461"/>
                  </a:lnTo>
                  <a:lnTo>
                    <a:pt x="1281" y="461"/>
                  </a:lnTo>
                  <a:lnTo>
                    <a:pt x="1281" y="461"/>
                  </a:lnTo>
                  <a:lnTo>
                    <a:pt x="1281" y="461"/>
                  </a:lnTo>
                  <a:lnTo>
                    <a:pt x="1281" y="461"/>
                  </a:lnTo>
                  <a:lnTo>
                    <a:pt x="1283" y="461"/>
                  </a:lnTo>
                  <a:lnTo>
                    <a:pt x="1283" y="461"/>
                  </a:lnTo>
                  <a:lnTo>
                    <a:pt x="1283" y="461"/>
                  </a:lnTo>
                  <a:lnTo>
                    <a:pt x="1283" y="461"/>
                  </a:lnTo>
                  <a:lnTo>
                    <a:pt x="1283" y="461"/>
                  </a:lnTo>
                  <a:lnTo>
                    <a:pt x="1283" y="461"/>
                  </a:lnTo>
                  <a:lnTo>
                    <a:pt x="1283" y="461"/>
                  </a:lnTo>
                  <a:lnTo>
                    <a:pt x="1285" y="461"/>
                  </a:lnTo>
                  <a:lnTo>
                    <a:pt x="1285" y="461"/>
                  </a:lnTo>
                  <a:lnTo>
                    <a:pt x="1285" y="461"/>
                  </a:lnTo>
                  <a:lnTo>
                    <a:pt x="1288" y="461"/>
                  </a:lnTo>
                  <a:lnTo>
                    <a:pt x="1288" y="461"/>
                  </a:lnTo>
                  <a:lnTo>
                    <a:pt x="1288" y="461"/>
                  </a:lnTo>
                  <a:lnTo>
                    <a:pt x="1288" y="459"/>
                  </a:lnTo>
                  <a:lnTo>
                    <a:pt x="1288" y="459"/>
                  </a:lnTo>
                  <a:lnTo>
                    <a:pt x="1288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0" y="459"/>
                  </a:lnTo>
                  <a:lnTo>
                    <a:pt x="1292" y="459"/>
                  </a:lnTo>
                  <a:lnTo>
                    <a:pt x="1292" y="459"/>
                  </a:lnTo>
                  <a:lnTo>
                    <a:pt x="1292" y="459"/>
                  </a:lnTo>
                  <a:lnTo>
                    <a:pt x="1292" y="459"/>
                  </a:lnTo>
                  <a:lnTo>
                    <a:pt x="1292" y="459"/>
                  </a:lnTo>
                  <a:lnTo>
                    <a:pt x="1292" y="459"/>
                  </a:lnTo>
                  <a:lnTo>
                    <a:pt x="1294" y="459"/>
                  </a:lnTo>
                  <a:lnTo>
                    <a:pt x="1294" y="459"/>
                  </a:lnTo>
                  <a:lnTo>
                    <a:pt x="1294" y="459"/>
                  </a:lnTo>
                  <a:lnTo>
                    <a:pt x="1294" y="459"/>
                  </a:lnTo>
                  <a:lnTo>
                    <a:pt x="1294" y="459"/>
                  </a:lnTo>
                  <a:lnTo>
                    <a:pt x="1294" y="461"/>
                  </a:lnTo>
                  <a:lnTo>
                    <a:pt x="1294" y="461"/>
                  </a:lnTo>
                  <a:lnTo>
                    <a:pt x="1290" y="461"/>
                  </a:lnTo>
                  <a:lnTo>
                    <a:pt x="1290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0" y="464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4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1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0" y="464"/>
                  </a:lnTo>
                  <a:lnTo>
                    <a:pt x="1290" y="464"/>
                  </a:lnTo>
                  <a:lnTo>
                    <a:pt x="1290" y="464"/>
                  </a:lnTo>
                  <a:lnTo>
                    <a:pt x="1290" y="464"/>
                  </a:lnTo>
                  <a:lnTo>
                    <a:pt x="1290" y="464"/>
                  </a:lnTo>
                  <a:lnTo>
                    <a:pt x="1290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6"/>
                  </a:lnTo>
                  <a:lnTo>
                    <a:pt x="1292" y="466"/>
                  </a:lnTo>
                  <a:lnTo>
                    <a:pt x="1292" y="466"/>
                  </a:lnTo>
                  <a:lnTo>
                    <a:pt x="1292" y="466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2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4" y="464"/>
                  </a:lnTo>
                  <a:lnTo>
                    <a:pt x="1297" y="466"/>
                  </a:lnTo>
                  <a:lnTo>
                    <a:pt x="1297" y="466"/>
                  </a:lnTo>
                  <a:lnTo>
                    <a:pt x="1297" y="466"/>
                  </a:lnTo>
                  <a:lnTo>
                    <a:pt x="1297" y="466"/>
                  </a:lnTo>
                  <a:lnTo>
                    <a:pt x="1297" y="466"/>
                  </a:lnTo>
                  <a:lnTo>
                    <a:pt x="1297" y="466"/>
                  </a:lnTo>
                  <a:lnTo>
                    <a:pt x="1294" y="466"/>
                  </a:lnTo>
                  <a:lnTo>
                    <a:pt x="1294" y="466"/>
                  </a:lnTo>
                  <a:lnTo>
                    <a:pt x="1294" y="466"/>
                  </a:lnTo>
                  <a:lnTo>
                    <a:pt x="1294" y="466"/>
                  </a:lnTo>
                  <a:lnTo>
                    <a:pt x="1292" y="468"/>
                  </a:lnTo>
                  <a:lnTo>
                    <a:pt x="1292" y="468"/>
                  </a:lnTo>
                  <a:lnTo>
                    <a:pt x="1292" y="468"/>
                  </a:lnTo>
                  <a:lnTo>
                    <a:pt x="1292" y="468"/>
                  </a:lnTo>
                  <a:lnTo>
                    <a:pt x="1292" y="468"/>
                  </a:lnTo>
                  <a:lnTo>
                    <a:pt x="1294" y="468"/>
                  </a:lnTo>
                  <a:lnTo>
                    <a:pt x="1294" y="468"/>
                  </a:lnTo>
                  <a:lnTo>
                    <a:pt x="1294" y="468"/>
                  </a:lnTo>
                  <a:lnTo>
                    <a:pt x="1297" y="468"/>
                  </a:lnTo>
                  <a:lnTo>
                    <a:pt x="1297" y="468"/>
                  </a:lnTo>
                  <a:lnTo>
                    <a:pt x="1297" y="468"/>
                  </a:lnTo>
                  <a:lnTo>
                    <a:pt x="1297" y="468"/>
                  </a:lnTo>
                  <a:lnTo>
                    <a:pt x="1294" y="468"/>
                  </a:lnTo>
                  <a:lnTo>
                    <a:pt x="1294" y="468"/>
                  </a:lnTo>
                  <a:lnTo>
                    <a:pt x="1294" y="468"/>
                  </a:lnTo>
                  <a:lnTo>
                    <a:pt x="1294" y="468"/>
                  </a:lnTo>
                  <a:lnTo>
                    <a:pt x="1294" y="470"/>
                  </a:lnTo>
                  <a:lnTo>
                    <a:pt x="1294" y="470"/>
                  </a:lnTo>
                  <a:lnTo>
                    <a:pt x="1294" y="470"/>
                  </a:lnTo>
                  <a:lnTo>
                    <a:pt x="1294" y="470"/>
                  </a:lnTo>
                  <a:lnTo>
                    <a:pt x="1294" y="470"/>
                  </a:lnTo>
                  <a:lnTo>
                    <a:pt x="1290" y="470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88" y="473"/>
                  </a:lnTo>
                  <a:lnTo>
                    <a:pt x="1288" y="473"/>
                  </a:lnTo>
                  <a:lnTo>
                    <a:pt x="1288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3" y="473"/>
                  </a:lnTo>
                  <a:lnTo>
                    <a:pt x="1283" y="473"/>
                  </a:lnTo>
                  <a:lnTo>
                    <a:pt x="1283" y="473"/>
                  </a:lnTo>
                  <a:lnTo>
                    <a:pt x="1283" y="473"/>
                  </a:lnTo>
                  <a:lnTo>
                    <a:pt x="1283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5" y="473"/>
                  </a:lnTo>
                  <a:lnTo>
                    <a:pt x="1283" y="475"/>
                  </a:lnTo>
                  <a:lnTo>
                    <a:pt x="1283" y="475"/>
                  </a:lnTo>
                  <a:lnTo>
                    <a:pt x="1283" y="475"/>
                  </a:lnTo>
                  <a:lnTo>
                    <a:pt x="1283" y="475"/>
                  </a:lnTo>
                  <a:lnTo>
                    <a:pt x="1281" y="475"/>
                  </a:lnTo>
                  <a:lnTo>
                    <a:pt x="1281" y="475"/>
                  </a:lnTo>
                  <a:lnTo>
                    <a:pt x="1281" y="477"/>
                  </a:lnTo>
                  <a:lnTo>
                    <a:pt x="1279" y="477"/>
                  </a:lnTo>
                  <a:lnTo>
                    <a:pt x="1281" y="477"/>
                  </a:lnTo>
                  <a:lnTo>
                    <a:pt x="1281" y="477"/>
                  </a:lnTo>
                  <a:lnTo>
                    <a:pt x="1281" y="475"/>
                  </a:lnTo>
                  <a:lnTo>
                    <a:pt x="1283" y="475"/>
                  </a:lnTo>
                  <a:lnTo>
                    <a:pt x="1288" y="473"/>
                  </a:lnTo>
                  <a:lnTo>
                    <a:pt x="1288" y="473"/>
                  </a:lnTo>
                  <a:lnTo>
                    <a:pt x="1288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88" y="475"/>
                  </a:lnTo>
                  <a:lnTo>
                    <a:pt x="1288" y="475"/>
                  </a:lnTo>
                  <a:lnTo>
                    <a:pt x="1288" y="475"/>
                  </a:lnTo>
                  <a:lnTo>
                    <a:pt x="1288" y="475"/>
                  </a:lnTo>
                  <a:lnTo>
                    <a:pt x="1288" y="475"/>
                  </a:lnTo>
                  <a:lnTo>
                    <a:pt x="1288" y="475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3"/>
                  </a:lnTo>
                  <a:lnTo>
                    <a:pt x="1290" y="475"/>
                  </a:lnTo>
                  <a:lnTo>
                    <a:pt x="1290" y="475"/>
                  </a:lnTo>
                  <a:lnTo>
                    <a:pt x="1290" y="475"/>
                  </a:lnTo>
                  <a:lnTo>
                    <a:pt x="1292" y="473"/>
                  </a:lnTo>
                  <a:lnTo>
                    <a:pt x="1292" y="473"/>
                  </a:lnTo>
                  <a:lnTo>
                    <a:pt x="1292" y="473"/>
                  </a:lnTo>
                  <a:lnTo>
                    <a:pt x="1292" y="473"/>
                  </a:lnTo>
                  <a:lnTo>
                    <a:pt x="1292" y="473"/>
                  </a:lnTo>
                  <a:lnTo>
                    <a:pt x="1292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4" y="473"/>
                  </a:lnTo>
                  <a:lnTo>
                    <a:pt x="1297" y="473"/>
                  </a:lnTo>
                  <a:lnTo>
                    <a:pt x="1297" y="473"/>
                  </a:lnTo>
                  <a:lnTo>
                    <a:pt x="1297" y="473"/>
                  </a:lnTo>
                  <a:lnTo>
                    <a:pt x="1297" y="473"/>
                  </a:lnTo>
                  <a:lnTo>
                    <a:pt x="1297" y="473"/>
                  </a:lnTo>
                  <a:lnTo>
                    <a:pt x="1299" y="473"/>
                  </a:lnTo>
                  <a:lnTo>
                    <a:pt x="1299" y="473"/>
                  </a:lnTo>
                  <a:lnTo>
                    <a:pt x="1299" y="473"/>
                  </a:lnTo>
                  <a:lnTo>
                    <a:pt x="1299" y="473"/>
                  </a:lnTo>
                  <a:lnTo>
                    <a:pt x="1297" y="473"/>
                  </a:lnTo>
                  <a:lnTo>
                    <a:pt x="1299" y="473"/>
                  </a:lnTo>
                  <a:lnTo>
                    <a:pt x="1297" y="473"/>
                  </a:lnTo>
                  <a:lnTo>
                    <a:pt x="1297" y="475"/>
                  </a:lnTo>
                  <a:lnTo>
                    <a:pt x="1297" y="475"/>
                  </a:lnTo>
                  <a:lnTo>
                    <a:pt x="1297" y="475"/>
                  </a:lnTo>
                  <a:lnTo>
                    <a:pt x="1297" y="475"/>
                  </a:lnTo>
                  <a:lnTo>
                    <a:pt x="1297" y="475"/>
                  </a:lnTo>
                  <a:lnTo>
                    <a:pt x="1297" y="475"/>
                  </a:lnTo>
                  <a:lnTo>
                    <a:pt x="1297" y="475"/>
                  </a:lnTo>
                  <a:lnTo>
                    <a:pt x="1297" y="477"/>
                  </a:lnTo>
                  <a:lnTo>
                    <a:pt x="1297" y="477"/>
                  </a:lnTo>
                  <a:lnTo>
                    <a:pt x="1297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2" y="477"/>
                  </a:lnTo>
                  <a:lnTo>
                    <a:pt x="1292" y="477"/>
                  </a:lnTo>
                  <a:lnTo>
                    <a:pt x="1290" y="477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2" y="479"/>
                  </a:lnTo>
                  <a:lnTo>
                    <a:pt x="1292" y="477"/>
                  </a:lnTo>
                  <a:lnTo>
                    <a:pt x="1292" y="477"/>
                  </a:lnTo>
                  <a:lnTo>
                    <a:pt x="1292" y="477"/>
                  </a:lnTo>
                  <a:lnTo>
                    <a:pt x="1292" y="477"/>
                  </a:lnTo>
                  <a:lnTo>
                    <a:pt x="1292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4" y="477"/>
                  </a:lnTo>
                  <a:lnTo>
                    <a:pt x="1297" y="477"/>
                  </a:lnTo>
                  <a:lnTo>
                    <a:pt x="1297" y="477"/>
                  </a:lnTo>
                  <a:lnTo>
                    <a:pt x="1297" y="477"/>
                  </a:lnTo>
                  <a:lnTo>
                    <a:pt x="1297" y="477"/>
                  </a:lnTo>
                  <a:lnTo>
                    <a:pt x="1297" y="479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88" y="479"/>
                  </a:lnTo>
                  <a:lnTo>
                    <a:pt x="1288" y="479"/>
                  </a:lnTo>
                  <a:lnTo>
                    <a:pt x="1288" y="479"/>
                  </a:lnTo>
                  <a:lnTo>
                    <a:pt x="1288" y="479"/>
                  </a:lnTo>
                  <a:lnTo>
                    <a:pt x="1288" y="482"/>
                  </a:lnTo>
                  <a:lnTo>
                    <a:pt x="1283" y="482"/>
                  </a:lnTo>
                  <a:lnTo>
                    <a:pt x="1283" y="482"/>
                  </a:lnTo>
                  <a:lnTo>
                    <a:pt x="1283" y="482"/>
                  </a:lnTo>
                  <a:lnTo>
                    <a:pt x="1285" y="482"/>
                  </a:lnTo>
                  <a:lnTo>
                    <a:pt x="1285" y="482"/>
                  </a:lnTo>
                  <a:lnTo>
                    <a:pt x="1285" y="482"/>
                  </a:lnTo>
                  <a:lnTo>
                    <a:pt x="1283" y="482"/>
                  </a:lnTo>
                  <a:lnTo>
                    <a:pt x="1283" y="484"/>
                  </a:lnTo>
                  <a:lnTo>
                    <a:pt x="1283" y="484"/>
                  </a:lnTo>
                  <a:lnTo>
                    <a:pt x="1281" y="484"/>
                  </a:lnTo>
                  <a:lnTo>
                    <a:pt x="1281" y="484"/>
                  </a:lnTo>
                  <a:lnTo>
                    <a:pt x="1281" y="484"/>
                  </a:lnTo>
                  <a:lnTo>
                    <a:pt x="1281" y="484"/>
                  </a:lnTo>
                  <a:lnTo>
                    <a:pt x="1283" y="484"/>
                  </a:lnTo>
                  <a:lnTo>
                    <a:pt x="1285" y="484"/>
                  </a:lnTo>
                  <a:lnTo>
                    <a:pt x="1285" y="484"/>
                  </a:lnTo>
                  <a:lnTo>
                    <a:pt x="1285" y="484"/>
                  </a:lnTo>
                  <a:lnTo>
                    <a:pt x="1285" y="482"/>
                  </a:lnTo>
                  <a:lnTo>
                    <a:pt x="1285" y="482"/>
                  </a:lnTo>
                  <a:lnTo>
                    <a:pt x="1285" y="482"/>
                  </a:lnTo>
                  <a:lnTo>
                    <a:pt x="1285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88" y="482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79"/>
                  </a:lnTo>
                  <a:lnTo>
                    <a:pt x="1290" y="482"/>
                  </a:lnTo>
                  <a:lnTo>
                    <a:pt x="1290" y="482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92" y="482"/>
                  </a:lnTo>
                  <a:lnTo>
                    <a:pt x="1292" y="482"/>
                  </a:lnTo>
                  <a:lnTo>
                    <a:pt x="1292" y="482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92" y="479"/>
                  </a:lnTo>
                  <a:lnTo>
                    <a:pt x="1294" y="479"/>
                  </a:lnTo>
                  <a:lnTo>
                    <a:pt x="1294" y="482"/>
                  </a:lnTo>
                  <a:lnTo>
                    <a:pt x="1294" y="482"/>
                  </a:lnTo>
                  <a:lnTo>
                    <a:pt x="1294" y="482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4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79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7" y="482"/>
                  </a:lnTo>
                  <a:lnTo>
                    <a:pt x="1299" y="482"/>
                  </a:lnTo>
                  <a:lnTo>
                    <a:pt x="1297" y="482"/>
                  </a:lnTo>
                  <a:lnTo>
                    <a:pt x="1297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9" y="482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4" y="484"/>
                  </a:lnTo>
                  <a:lnTo>
                    <a:pt x="1294" y="484"/>
                  </a:lnTo>
                  <a:lnTo>
                    <a:pt x="1292" y="484"/>
                  </a:lnTo>
                  <a:lnTo>
                    <a:pt x="1292" y="484"/>
                  </a:lnTo>
                  <a:lnTo>
                    <a:pt x="1292" y="484"/>
                  </a:lnTo>
                  <a:lnTo>
                    <a:pt x="1294" y="484"/>
                  </a:lnTo>
                  <a:lnTo>
                    <a:pt x="1294" y="484"/>
                  </a:lnTo>
                  <a:lnTo>
                    <a:pt x="1294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6"/>
                  </a:lnTo>
                  <a:lnTo>
                    <a:pt x="1297" y="486"/>
                  </a:lnTo>
                  <a:lnTo>
                    <a:pt x="1297" y="486"/>
                  </a:lnTo>
                  <a:lnTo>
                    <a:pt x="1294" y="486"/>
                  </a:lnTo>
                  <a:lnTo>
                    <a:pt x="1294" y="486"/>
                  </a:lnTo>
                  <a:lnTo>
                    <a:pt x="1297" y="486"/>
                  </a:lnTo>
                  <a:lnTo>
                    <a:pt x="1297" y="486"/>
                  </a:lnTo>
                  <a:lnTo>
                    <a:pt x="1297" y="486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9" y="484"/>
                  </a:lnTo>
                  <a:lnTo>
                    <a:pt x="1299" y="484"/>
                  </a:lnTo>
                  <a:lnTo>
                    <a:pt x="1297" y="484"/>
                  </a:lnTo>
                  <a:lnTo>
                    <a:pt x="1297" y="484"/>
                  </a:lnTo>
                  <a:lnTo>
                    <a:pt x="1297" y="486"/>
                  </a:lnTo>
                  <a:lnTo>
                    <a:pt x="1297" y="486"/>
                  </a:lnTo>
                  <a:lnTo>
                    <a:pt x="1299" y="486"/>
                  </a:lnTo>
                  <a:lnTo>
                    <a:pt x="1299" y="484"/>
                  </a:lnTo>
                  <a:lnTo>
                    <a:pt x="1299" y="484"/>
                  </a:lnTo>
                  <a:lnTo>
                    <a:pt x="1299" y="484"/>
                  </a:lnTo>
                  <a:lnTo>
                    <a:pt x="1299" y="484"/>
                  </a:lnTo>
                  <a:lnTo>
                    <a:pt x="1299" y="484"/>
                  </a:lnTo>
                  <a:lnTo>
                    <a:pt x="1299" y="486"/>
                  </a:lnTo>
                  <a:lnTo>
                    <a:pt x="1299" y="486"/>
                  </a:lnTo>
                  <a:lnTo>
                    <a:pt x="1299" y="486"/>
                  </a:lnTo>
                  <a:lnTo>
                    <a:pt x="1299" y="484"/>
                  </a:lnTo>
                  <a:lnTo>
                    <a:pt x="1299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4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301" y="486"/>
                  </a:lnTo>
                  <a:lnTo>
                    <a:pt x="1299" y="486"/>
                  </a:lnTo>
                  <a:lnTo>
                    <a:pt x="1299" y="486"/>
                  </a:lnTo>
                  <a:lnTo>
                    <a:pt x="1299" y="486"/>
                  </a:lnTo>
                  <a:lnTo>
                    <a:pt x="1299" y="486"/>
                  </a:lnTo>
                  <a:lnTo>
                    <a:pt x="1301" y="488"/>
                  </a:lnTo>
                  <a:lnTo>
                    <a:pt x="1299" y="488"/>
                  </a:lnTo>
                  <a:lnTo>
                    <a:pt x="1301" y="488"/>
                  </a:lnTo>
                  <a:lnTo>
                    <a:pt x="1301" y="488"/>
                  </a:lnTo>
                  <a:lnTo>
                    <a:pt x="1301" y="488"/>
                  </a:lnTo>
                  <a:lnTo>
                    <a:pt x="1301" y="488"/>
                  </a:lnTo>
                  <a:lnTo>
                    <a:pt x="1301" y="491"/>
                  </a:lnTo>
                  <a:lnTo>
                    <a:pt x="1301" y="491"/>
                  </a:lnTo>
                  <a:lnTo>
                    <a:pt x="1301" y="491"/>
                  </a:lnTo>
                  <a:lnTo>
                    <a:pt x="1303" y="491"/>
                  </a:lnTo>
                  <a:lnTo>
                    <a:pt x="1303" y="491"/>
                  </a:lnTo>
                  <a:lnTo>
                    <a:pt x="1303" y="491"/>
                  </a:lnTo>
                  <a:lnTo>
                    <a:pt x="1303" y="491"/>
                  </a:lnTo>
                  <a:lnTo>
                    <a:pt x="1303" y="491"/>
                  </a:lnTo>
                  <a:lnTo>
                    <a:pt x="1301" y="491"/>
                  </a:lnTo>
                  <a:lnTo>
                    <a:pt x="1301" y="491"/>
                  </a:lnTo>
                  <a:lnTo>
                    <a:pt x="1301" y="491"/>
                  </a:lnTo>
                  <a:lnTo>
                    <a:pt x="1301" y="491"/>
                  </a:lnTo>
                  <a:lnTo>
                    <a:pt x="1301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9" y="493"/>
                  </a:lnTo>
                  <a:lnTo>
                    <a:pt x="1297" y="493"/>
                  </a:lnTo>
                  <a:lnTo>
                    <a:pt x="1297" y="493"/>
                  </a:lnTo>
                  <a:lnTo>
                    <a:pt x="1294" y="493"/>
                  </a:lnTo>
                  <a:lnTo>
                    <a:pt x="1294" y="493"/>
                  </a:lnTo>
                  <a:lnTo>
                    <a:pt x="1294" y="493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0" y="495"/>
                  </a:lnTo>
                  <a:lnTo>
                    <a:pt x="1290" y="495"/>
                  </a:lnTo>
                  <a:lnTo>
                    <a:pt x="1290" y="495"/>
                  </a:lnTo>
                  <a:lnTo>
                    <a:pt x="1290" y="495"/>
                  </a:lnTo>
                  <a:lnTo>
                    <a:pt x="1290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2" y="495"/>
                  </a:lnTo>
                  <a:lnTo>
                    <a:pt x="1294" y="495"/>
                  </a:lnTo>
                  <a:lnTo>
                    <a:pt x="1294" y="495"/>
                  </a:lnTo>
                  <a:lnTo>
                    <a:pt x="1294" y="495"/>
                  </a:lnTo>
                  <a:lnTo>
                    <a:pt x="1294" y="495"/>
                  </a:lnTo>
                  <a:lnTo>
                    <a:pt x="1294" y="495"/>
                  </a:lnTo>
                  <a:lnTo>
                    <a:pt x="1297" y="495"/>
                  </a:lnTo>
                  <a:lnTo>
                    <a:pt x="1297" y="495"/>
                  </a:lnTo>
                  <a:lnTo>
                    <a:pt x="1297" y="495"/>
                  </a:lnTo>
                  <a:lnTo>
                    <a:pt x="1297" y="495"/>
                  </a:lnTo>
                  <a:lnTo>
                    <a:pt x="1299" y="495"/>
                  </a:lnTo>
                  <a:lnTo>
                    <a:pt x="1299" y="497"/>
                  </a:lnTo>
                  <a:lnTo>
                    <a:pt x="1301" y="497"/>
                  </a:lnTo>
                  <a:lnTo>
                    <a:pt x="1301" y="497"/>
                  </a:lnTo>
                  <a:lnTo>
                    <a:pt x="1301" y="497"/>
                  </a:lnTo>
                  <a:lnTo>
                    <a:pt x="1299" y="497"/>
                  </a:lnTo>
                  <a:lnTo>
                    <a:pt x="1299" y="497"/>
                  </a:lnTo>
                  <a:lnTo>
                    <a:pt x="1299" y="497"/>
                  </a:lnTo>
                  <a:lnTo>
                    <a:pt x="1299" y="497"/>
                  </a:lnTo>
                  <a:lnTo>
                    <a:pt x="1299" y="497"/>
                  </a:lnTo>
                  <a:lnTo>
                    <a:pt x="1299" y="497"/>
                  </a:lnTo>
                  <a:lnTo>
                    <a:pt x="1299" y="500"/>
                  </a:lnTo>
                  <a:lnTo>
                    <a:pt x="1299" y="500"/>
                  </a:lnTo>
                  <a:lnTo>
                    <a:pt x="1299" y="500"/>
                  </a:lnTo>
                  <a:lnTo>
                    <a:pt x="1299" y="500"/>
                  </a:lnTo>
                  <a:lnTo>
                    <a:pt x="1299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7" y="500"/>
                  </a:lnTo>
                  <a:lnTo>
                    <a:pt x="1299" y="500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299" y="502"/>
                  </a:lnTo>
                  <a:lnTo>
                    <a:pt x="1303" y="500"/>
                  </a:lnTo>
                  <a:lnTo>
                    <a:pt x="1303" y="500"/>
                  </a:lnTo>
                  <a:lnTo>
                    <a:pt x="1303" y="500"/>
                  </a:lnTo>
                  <a:lnTo>
                    <a:pt x="1301" y="502"/>
                  </a:lnTo>
                  <a:lnTo>
                    <a:pt x="1301" y="502"/>
                  </a:lnTo>
                  <a:lnTo>
                    <a:pt x="1301" y="502"/>
                  </a:lnTo>
                  <a:lnTo>
                    <a:pt x="1301" y="502"/>
                  </a:lnTo>
                  <a:lnTo>
                    <a:pt x="1301" y="502"/>
                  </a:lnTo>
                  <a:lnTo>
                    <a:pt x="1301" y="502"/>
                  </a:lnTo>
                  <a:lnTo>
                    <a:pt x="1303" y="502"/>
                  </a:lnTo>
                  <a:lnTo>
                    <a:pt x="1306" y="502"/>
                  </a:lnTo>
                  <a:lnTo>
                    <a:pt x="1306" y="502"/>
                  </a:lnTo>
                  <a:lnTo>
                    <a:pt x="1306" y="502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4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6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3" y="506"/>
                  </a:lnTo>
                  <a:lnTo>
                    <a:pt x="1301" y="506"/>
                  </a:lnTo>
                  <a:lnTo>
                    <a:pt x="1301" y="506"/>
                  </a:lnTo>
                  <a:lnTo>
                    <a:pt x="1301" y="506"/>
                  </a:lnTo>
                  <a:lnTo>
                    <a:pt x="1301" y="509"/>
                  </a:lnTo>
                  <a:lnTo>
                    <a:pt x="1301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09"/>
                  </a:lnTo>
                  <a:lnTo>
                    <a:pt x="1299" y="511"/>
                  </a:lnTo>
                  <a:lnTo>
                    <a:pt x="1299" y="511"/>
                  </a:lnTo>
                  <a:lnTo>
                    <a:pt x="1297" y="509"/>
                  </a:lnTo>
                  <a:lnTo>
                    <a:pt x="1297" y="511"/>
                  </a:lnTo>
                  <a:lnTo>
                    <a:pt x="1297" y="511"/>
                  </a:lnTo>
                  <a:lnTo>
                    <a:pt x="1297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3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7" y="511"/>
                  </a:lnTo>
                  <a:lnTo>
                    <a:pt x="1297" y="511"/>
                  </a:lnTo>
                  <a:lnTo>
                    <a:pt x="1297" y="511"/>
                  </a:lnTo>
                  <a:lnTo>
                    <a:pt x="1297" y="511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4" y="511"/>
                  </a:lnTo>
                  <a:lnTo>
                    <a:pt x="1294" y="511"/>
                  </a:lnTo>
                  <a:lnTo>
                    <a:pt x="1294" y="513"/>
                  </a:lnTo>
                  <a:lnTo>
                    <a:pt x="1294" y="513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7" y="513"/>
                  </a:lnTo>
                  <a:lnTo>
                    <a:pt x="1294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0" y="513"/>
                  </a:lnTo>
                  <a:lnTo>
                    <a:pt x="1290" y="513"/>
                  </a:lnTo>
                  <a:lnTo>
                    <a:pt x="1288" y="511"/>
                  </a:lnTo>
                  <a:lnTo>
                    <a:pt x="1288" y="511"/>
                  </a:lnTo>
                  <a:lnTo>
                    <a:pt x="1285" y="511"/>
                  </a:lnTo>
                  <a:lnTo>
                    <a:pt x="1283" y="511"/>
                  </a:lnTo>
                  <a:lnTo>
                    <a:pt x="1283" y="511"/>
                  </a:lnTo>
                  <a:lnTo>
                    <a:pt x="1283" y="511"/>
                  </a:lnTo>
                  <a:lnTo>
                    <a:pt x="1288" y="509"/>
                  </a:lnTo>
                  <a:lnTo>
                    <a:pt x="1288" y="509"/>
                  </a:lnTo>
                  <a:lnTo>
                    <a:pt x="1288" y="509"/>
                  </a:lnTo>
                  <a:lnTo>
                    <a:pt x="1288" y="509"/>
                  </a:lnTo>
                  <a:lnTo>
                    <a:pt x="1292" y="509"/>
                  </a:lnTo>
                  <a:lnTo>
                    <a:pt x="1292" y="509"/>
                  </a:lnTo>
                  <a:lnTo>
                    <a:pt x="1288" y="509"/>
                  </a:lnTo>
                  <a:lnTo>
                    <a:pt x="1288" y="509"/>
                  </a:lnTo>
                  <a:lnTo>
                    <a:pt x="1285" y="509"/>
                  </a:lnTo>
                  <a:lnTo>
                    <a:pt x="1285" y="509"/>
                  </a:lnTo>
                  <a:lnTo>
                    <a:pt x="1285" y="509"/>
                  </a:lnTo>
                  <a:lnTo>
                    <a:pt x="1285" y="509"/>
                  </a:lnTo>
                  <a:lnTo>
                    <a:pt x="1285" y="509"/>
                  </a:lnTo>
                  <a:lnTo>
                    <a:pt x="1283" y="509"/>
                  </a:lnTo>
                  <a:lnTo>
                    <a:pt x="1283" y="509"/>
                  </a:lnTo>
                  <a:lnTo>
                    <a:pt x="1283" y="509"/>
                  </a:lnTo>
                  <a:lnTo>
                    <a:pt x="1283" y="509"/>
                  </a:lnTo>
                  <a:lnTo>
                    <a:pt x="1283" y="509"/>
                  </a:lnTo>
                  <a:lnTo>
                    <a:pt x="1283" y="511"/>
                  </a:lnTo>
                  <a:lnTo>
                    <a:pt x="1283" y="511"/>
                  </a:lnTo>
                  <a:lnTo>
                    <a:pt x="1283" y="511"/>
                  </a:lnTo>
                  <a:lnTo>
                    <a:pt x="1285" y="511"/>
                  </a:lnTo>
                  <a:lnTo>
                    <a:pt x="1285" y="511"/>
                  </a:lnTo>
                  <a:lnTo>
                    <a:pt x="1285" y="511"/>
                  </a:lnTo>
                  <a:lnTo>
                    <a:pt x="1288" y="511"/>
                  </a:lnTo>
                  <a:lnTo>
                    <a:pt x="1288" y="513"/>
                  </a:lnTo>
                  <a:lnTo>
                    <a:pt x="1288" y="513"/>
                  </a:lnTo>
                  <a:lnTo>
                    <a:pt x="1288" y="513"/>
                  </a:lnTo>
                  <a:lnTo>
                    <a:pt x="1290" y="513"/>
                  </a:lnTo>
                  <a:lnTo>
                    <a:pt x="1290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92" y="513"/>
                  </a:lnTo>
                  <a:lnTo>
                    <a:pt x="1288" y="513"/>
                  </a:lnTo>
                  <a:lnTo>
                    <a:pt x="1288" y="513"/>
                  </a:lnTo>
                  <a:lnTo>
                    <a:pt x="1288" y="513"/>
                  </a:lnTo>
                  <a:lnTo>
                    <a:pt x="1288" y="513"/>
                  </a:lnTo>
                  <a:lnTo>
                    <a:pt x="1290" y="515"/>
                  </a:lnTo>
                  <a:lnTo>
                    <a:pt x="1290" y="515"/>
                  </a:lnTo>
                  <a:lnTo>
                    <a:pt x="1292" y="515"/>
                  </a:lnTo>
                  <a:lnTo>
                    <a:pt x="1292" y="515"/>
                  </a:lnTo>
                  <a:lnTo>
                    <a:pt x="1292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4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7" y="515"/>
                  </a:lnTo>
                  <a:lnTo>
                    <a:pt x="1294" y="518"/>
                  </a:lnTo>
                  <a:lnTo>
                    <a:pt x="1294" y="518"/>
                  </a:lnTo>
                  <a:lnTo>
                    <a:pt x="1294" y="518"/>
                  </a:lnTo>
                  <a:lnTo>
                    <a:pt x="1290" y="515"/>
                  </a:lnTo>
                  <a:lnTo>
                    <a:pt x="1290" y="515"/>
                  </a:lnTo>
                  <a:lnTo>
                    <a:pt x="1288" y="518"/>
                  </a:lnTo>
                  <a:lnTo>
                    <a:pt x="1288" y="518"/>
                  </a:lnTo>
                  <a:lnTo>
                    <a:pt x="1288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88" y="518"/>
                  </a:lnTo>
                  <a:lnTo>
                    <a:pt x="1288" y="518"/>
                  </a:lnTo>
                  <a:lnTo>
                    <a:pt x="1288" y="518"/>
                  </a:lnTo>
                  <a:lnTo>
                    <a:pt x="1288" y="518"/>
                  </a:lnTo>
                  <a:lnTo>
                    <a:pt x="1288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0" y="518"/>
                  </a:lnTo>
                  <a:lnTo>
                    <a:pt x="1292" y="518"/>
                  </a:lnTo>
                  <a:lnTo>
                    <a:pt x="1292" y="518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4" y="520"/>
                  </a:lnTo>
                  <a:lnTo>
                    <a:pt x="1294" y="520"/>
                  </a:lnTo>
                  <a:lnTo>
                    <a:pt x="1294" y="520"/>
                  </a:lnTo>
                  <a:lnTo>
                    <a:pt x="1294" y="520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2" y="520"/>
                  </a:lnTo>
                  <a:lnTo>
                    <a:pt x="1292" y="520"/>
                  </a:lnTo>
                  <a:lnTo>
                    <a:pt x="1290" y="520"/>
                  </a:lnTo>
                  <a:lnTo>
                    <a:pt x="1292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2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92" y="522"/>
                  </a:lnTo>
                  <a:lnTo>
                    <a:pt x="1292" y="522"/>
                  </a:lnTo>
                  <a:lnTo>
                    <a:pt x="1292" y="522"/>
                  </a:lnTo>
                  <a:lnTo>
                    <a:pt x="1292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0"/>
                  </a:lnTo>
                  <a:lnTo>
                    <a:pt x="1288" y="520"/>
                  </a:lnTo>
                  <a:lnTo>
                    <a:pt x="1285" y="522"/>
                  </a:lnTo>
                  <a:lnTo>
                    <a:pt x="1285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88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92" y="522"/>
                  </a:lnTo>
                  <a:lnTo>
                    <a:pt x="1290" y="522"/>
                  </a:lnTo>
                  <a:lnTo>
                    <a:pt x="1290" y="522"/>
                  </a:lnTo>
                  <a:lnTo>
                    <a:pt x="1292" y="522"/>
                  </a:lnTo>
                  <a:lnTo>
                    <a:pt x="1292" y="522"/>
                  </a:lnTo>
                  <a:lnTo>
                    <a:pt x="1292" y="522"/>
                  </a:lnTo>
                  <a:lnTo>
                    <a:pt x="1292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2"/>
                  </a:lnTo>
                  <a:lnTo>
                    <a:pt x="1294" y="524"/>
                  </a:lnTo>
                  <a:lnTo>
                    <a:pt x="1297" y="522"/>
                  </a:lnTo>
                  <a:lnTo>
                    <a:pt x="1297" y="522"/>
                  </a:lnTo>
                  <a:lnTo>
                    <a:pt x="1299" y="522"/>
                  </a:lnTo>
                  <a:lnTo>
                    <a:pt x="1299" y="522"/>
                  </a:lnTo>
                  <a:lnTo>
                    <a:pt x="1299" y="522"/>
                  </a:lnTo>
                  <a:lnTo>
                    <a:pt x="1299" y="522"/>
                  </a:lnTo>
                  <a:lnTo>
                    <a:pt x="1299" y="524"/>
                  </a:lnTo>
                  <a:lnTo>
                    <a:pt x="1299" y="524"/>
                  </a:lnTo>
                  <a:lnTo>
                    <a:pt x="1299" y="524"/>
                  </a:lnTo>
                  <a:lnTo>
                    <a:pt x="1299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9" y="524"/>
                  </a:lnTo>
                  <a:lnTo>
                    <a:pt x="1299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4"/>
                  </a:lnTo>
                  <a:lnTo>
                    <a:pt x="1297" y="527"/>
                  </a:lnTo>
                  <a:lnTo>
                    <a:pt x="1294" y="527"/>
                  </a:lnTo>
                  <a:lnTo>
                    <a:pt x="1294" y="527"/>
                  </a:lnTo>
                  <a:lnTo>
                    <a:pt x="1294" y="527"/>
                  </a:lnTo>
                  <a:lnTo>
                    <a:pt x="1297" y="527"/>
                  </a:lnTo>
                  <a:lnTo>
                    <a:pt x="1297" y="527"/>
                  </a:lnTo>
                  <a:lnTo>
                    <a:pt x="1297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7" y="527"/>
                  </a:lnTo>
                  <a:lnTo>
                    <a:pt x="1297" y="527"/>
                  </a:lnTo>
                  <a:lnTo>
                    <a:pt x="1297" y="527"/>
                  </a:lnTo>
                  <a:lnTo>
                    <a:pt x="1297" y="527"/>
                  </a:lnTo>
                  <a:lnTo>
                    <a:pt x="1299" y="527"/>
                  </a:lnTo>
                  <a:lnTo>
                    <a:pt x="1299" y="527"/>
                  </a:lnTo>
                  <a:lnTo>
                    <a:pt x="1297" y="527"/>
                  </a:lnTo>
                  <a:lnTo>
                    <a:pt x="1294" y="527"/>
                  </a:lnTo>
                  <a:lnTo>
                    <a:pt x="1294" y="527"/>
                  </a:lnTo>
                  <a:lnTo>
                    <a:pt x="1294" y="527"/>
                  </a:lnTo>
                  <a:lnTo>
                    <a:pt x="1294" y="527"/>
                  </a:lnTo>
                  <a:lnTo>
                    <a:pt x="1294" y="527"/>
                  </a:lnTo>
                  <a:lnTo>
                    <a:pt x="1294" y="529"/>
                  </a:lnTo>
                  <a:lnTo>
                    <a:pt x="1294" y="529"/>
                  </a:lnTo>
                  <a:lnTo>
                    <a:pt x="1294" y="529"/>
                  </a:lnTo>
                  <a:lnTo>
                    <a:pt x="1294" y="529"/>
                  </a:lnTo>
                  <a:lnTo>
                    <a:pt x="1297" y="529"/>
                  </a:lnTo>
                  <a:lnTo>
                    <a:pt x="1297" y="529"/>
                  </a:lnTo>
                  <a:lnTo>
                    <a:pt x="1299" y="529"/>
                  </a:lnTo>
                  <a:lnTo>
                    <a:pt x="1299" y="529"/>
                  </a:lnTo>
                  <a:lnTo>
                    <a:pt x="1299" y="529"/>
                  </a:lnTo>
                  <a:lnTo>
                    <a:pt x="1299" y="529"/>
                  </a:lnTo>
                  <a:lnTo>
                    <a:pt x="1299" y="529"/>
                  </a:lnTo>
                  <a:lnTo>
                    <a:pt x="1301" y="529"/>
                  </a:lnTo>
                  <a:lnTo>
                    <a:pt x="1301" y="529"/>
                  </a:lnTo>
                  <a:lnTo>
                    <a:pt x="1301" y="529"/>
                  </a:lnTo>
                  <a:lnTo>
                    <a:pt x="1301" y="529"/>
                  </a:lnTo>
                  <a:lnTo>
                    <a:pt x="1301" y="529"/>
                  </a:lnTo>
                  <a:lnTo>
                    <a:pt x="1301" y="531"/>
                  </a:lnTo>
                  <a:lnTo>
                    <a:pt x="1299" y="531"/>
                  </a:lnTo>
                  <a:lnTo>
                    <a:pt x="1299" y="529"/>
                  </a:lnTo>
                  <a:lnTo>
                    <a:pt x="1299" y="531"/>
                  </a:lnTo>
                  <a:lnTo>
                    <a:pt x="1299" y="531"/>
                  </a:lnTo>
                  <a:lnTo>
                    <a:pt x="1299" y="531"/>
                  </a:lnTo>
                  <a:lnTo>
                    <a:pt x="1299" y="531"/>
                  </a:lnTo>
                  <a:lnTo>
                    <a:pt x="1299" y="531"/>
                  </a:lnTo>
                  <a:lnTo>
                    <a:pt x="1299" y="531"/>
                  </a:lnTo>
                  <a:lnTo>
                    <a:pt x="1299" y="531"/>
                  </a:lnTo>
                  <a:lnTo>
                    <a:pt x="1301" y="531"/>
                  </a:lnTo>
                  <a:lnTo>
                    <a:pt x="1303" y="531"/>
                  </a:lnTo>
                  <a:lnTo>
                    <a:pt x="1303" y="531"/>
                  </a:lnTo>
                  <a:lnTo>
                    <a:pt x="1303" y="531"/>
                  </a:lnTo>
                  <a:lnTo>
                    <a:pt x="1306" y="531"/>
                  </a:lnTo>
                  <a:lnTo>
                    <a:pt x="1306" y="531"/>
                  </a:lnTo>
                  <a:lnTo>
                    <a:pt x="1306" y="531"/>
                  </a:lnTo>
                  <a:lnTo>
                    <a:pt x="1306" y="531"/>
                  </a:lnTo>
                  <a:lnTo>
                    <a:pt x="1306" y="533"/>
                  </a:lnTo>
                  <a:lnTo>
                    <a:pt x="1303" y="533"/>
                  </a:lnTo>
                  <a:lnTo>
                    <a:pt x="1303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1" y="533"/>
                  </a:lnTo>
                  <a:lnTo>
                    <a:pt x="1303" y="533"/>
                  </a:lnTo>
                  <a:lnTo>
                    <a:pt x="1303" y="533"/>
                  </a:lnTo>
                  <a:lnTo>
                    <a:pt x="1303" y="533"/>
                  </a:lnTo>
                  <a:lnTo>
                    <a:pt x="1306" y="533"/>
                  </a:lnTo>
                  <a:lnTo>
                    <a:pt x="1306" y="533"/>
                  </a:lnTo>
                  <a:lnTo>
                    <a:pt x="1306" y="533"/>
                  </a:lnTo>
                  <a:lnTo>
                    <a:pt x="1308" y="531"/>
                  </a:lnTo>
                  <a:lnTo>
                    <a:pt x="1308" y="531"/>
                  </a:lnTo>
                  <a:lnTo>
                    <a:pt x="1308" y="531"/>
                  </a:lnTo>
                  <a:lnTo>
                    <a:pt x="1308" y="531"/>
                  </a:lnTo>
                  <a:lnTo>
                    <a:pt x="1308" y="531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6" y="533"/>
                  </a:lnTo>
                  <a:lnTo>
                    <a:pt x="1306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6" y="533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3" y="538"/>
                  </a:lnTo>
                  <a:lnTo>
                    <a:pt x="1303" y="538"/>
                  </a:lnTo>
                  <a:lnTo>
                    <a:pt x="1303" y="538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6" y="536"/>
                  </a:lnTo>
                  <a:lnTo>
                    <a:pt x="1308" y="536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08" y="533"/>
                  </a:lnTo>
                  <a:lnTo>
                    <a:pt x="1310" y="531"/>
                  </a:lnTo>
                  <a:lnTo>
                    <a:pt x="1310" y="531"/>
                  </a:lnTo>
                  <a:lnTo>
                    <a:pt x="1310" y="533"/>
                  </a:lnTo>
                  <a:lnTo>
                    <a:pt x="1310" y="531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2" y="533"/>
                  </a:lnTo>
                  <a:lnTo>
                    <a:pt x="1312" y="533"/>
                  </a:lnTo>
                  <a:lnTo>
                    <a:pt x="1312" y="533"/>
                  </a:lnTo>
                  <a:lnTo>
                    <a:pt x="1312" y="533"/>
                  </a:lnTo>
                  <a:lnTo>
                    <a:pt x="1312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3"/>
                  </a:lnTo>
                  <a:lnTo>
                    <a:pt x="1310" y="536"/>
                  </a:lnTo>
                  <a:lnTo>
                    <a:pt x="1310" y="536"/>
                  </a:lnTo>
                  <a:lnTo>
                    <a:pt x="1310" y="536"/>
                  </a:lnTo>
                  <a:lnTo>
                    <a:pt x="1310" y="536"/>
                  </a:lnTo>
                  <a:lnTo>
                    <a:pt x="1308" y="536"/>
                  </a:lnTo>
                  <a:lnTo>
                    <a:pt x="1308" y="536"/>
                  </a:lnTo>
                  <a:lnTo>
                    <a:pt x="1308" y="536"/>
                  </a:lnTo>
                  <a:lnTo>
                    <a:pt x="1308" y="536"/>
                  </a:lnTo>
                  <a:lnTo>
                    <a:pt x="1308" y="536"/>
                  </a:lnTo>
                  <a:lnTo>
                    <a:pt x="1308" y="538"/>
                  </a:lnTo>
                  <a:lnTo>
                    <a:pt x="1308" y="536"/>
                  </a:lnTo>
                  <a:lnTo>
                    <a:pt x="1308" y="536"/>
                  </a:lnTo>
                  <a:lnTo>
                    <a:pt x="1308" y="536"/>
                  </a:lnTo>
                  <a:lnTo>
                    <a:pt x="1310" y="536"/>
                  </a:lnTo>
                  <a:lnTo>
                    <a:pt x="1310" y="538"/>
                  </a:lnTo>
                  <a:lnTo>
                    <a:pt x="1308" y="538"/>
                  </a:lnTo>
                  <a:lnTo>
                    <a:pt x="1308" y="538"/>
                  </a:lnTo>
                  <a:lnTo>
                    <a:pt x="1308" y="538"/>
                  </a:lnTo>
                  <a:lnTo>
                    <a:pt x="1308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6" y="540"/>
                  </a:lnTo>
                  <a:lnTo>
                    <a:pt x="1308" y="540"/>
                  </a:lnTo>
                  <a:lnTo>
                    <a:pt x="1306" y="542"/>
                  </a:lnTo>
                  <a:lnTo>
                    <a:pt x="1306" y="542"/>
                  </a:lnTo>
                  <a:lnTo>
                    <a:pt x="1306" y="542"/>
                  </a:lnTo>
                  <a:lnTo>
                    <a:pt x="1306" y="542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08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38"/>
                  </a:lnTo>
                  <a:lnTo>
                    <a:pt x="1310" y="538"/>
                  </a:lnTo>
                  <a:lnTo>
                    <a:pt x="1312" y="538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0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2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10" y="540"/>
                  </a:lnTo>
                  <a:lnTo>
                    <a:pt x="1308" y="542"/>
                  </a:lnTo>
                  <a:lnTo>
                    <a:pt x="1308" y="542"/>
                  </a:lnTo>
                  <a:lnTo>
                    <a:pt x="1308" y="542"/>
                  </a:lnTo>
                  <a:lnTo>
                    <a:pt x="1308" y="542"/>
                  </a:lnTo>
                  <a:lnTo>
                    <a:pt x="1306" y="542"/>
                  </a:lnTo>
                  <a:lnTo>
                    <a:pt x="1308" y="542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3" y="545"/>
                  </a:lnTo>
                  <a:lnTo>
                    <a:pt x="1303" y="545"/>
                  </a:lnTo>
                  <a:lnTo>
                    <a:pt x="1303" y="545"/>
                  </a:lnTo>
                  <a:lnTo>
                    <a:pt x="1303" y="545"/>
                  </a:lnTo>
                  <a:lnTo>
                    <a:pt x="1303" y="545"/>
                  </a:lnTo>
                  <a:lnTo>
                    <a:pt x="1303" y="545"/>
                  </a:lnTo>
                  <a:lnTo>
                    <a:pt x="1303" y="547"/>
                  </a:lnTo>
                  <a:lnTo>
                    <a:pt x="1301" y="547"/>
                  </a:lnTo>
                  <a:lnTo>
                    <a:pt x="1303" y="547"/>
                  </a:lnTo>
                  <a:lnTo>
                    <a:pt x="1303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6" y="545"/>
                  </a:lnTo>
                  <a:lnTo>
                    <a:pt x="1308" y="545"/>
                  </a:lnTo>
                  <a:lnTo>
                    <a:pt x="1308" y="545"/>
                  </a:lnTo>
                  <a:lnTo>
                    <a:pt x="1306" y="545"/>
                  </a:lnTo>
                  <a:lnTo>
                    <a:pt x="1306" y="547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1" y="549"/>
                  </a:lnTo>
                  <a:lnTo>
                    <a:pt x="1299" y="549"/>
                  </a:lnTo>
                  <a:lnTo>
                    <a:pt x="1299" y="549"/>
                  </a:lnTo>
                  <a:lnTo>
                    <a:pt x="1299" y="549"/>
                  </a:lnTo>
                  <a:lnTo>
                    <a:pt x="1299" y="549"/>
                  </a:lnTo>
                  <a:lnTo>
                    <a:pt x="1299" y="549"/>
                  </a:lnTo>
                  <a:lnTo>
                    <a:pt x="1299" y="551"/>
                  </a:lnTo>
                  <a:lnTo>
                    <a:pt x="1299" y="549"/>
                  </a:lnTo>
                  <a:lnTo>
                    <a:pt x="1301" y="549"/>
                  </a:lnTo>
                  <a:lnTo>
                    <a:pt x="1301" y="549"/>
                  </a:lnTo>
                  <a:lnTo>
                    <a:pt x="1301" y="549"/>
                  </a:lnTo>
                  <a:lnTo>
                    <a:pt x="1303" y="549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3" y="547"/>
                  </a:lnTo>
                  <a:lnTo>
                    <a:pt x="1306" y="547"/>
                  </a:lnTo>
                  <a:lnTo>
                    <a:pt x="1306" y="547"/>
                  </a:lnTo>
                  <a:lnTo>
                    <a:pt x="1306" y="547"/>
                  </a:lnTo>
                  <a:lnTo>
                    <a:pt x="1306" y="547"/>
                  </a:lnTo>
                  <a:lnTo>
                    <a:pt x="1306" y="547"/>
                  </a:lnTo>
                  <a:lnTo>
                    <a:pt x="1306" y="547"/>
                  </a:lnTo>
                  <a:lnTo>
                    <a:pt x="1308" y="545"/>
                  </a:lnTo>
                  <a:lnTo>
                    <a:pt x="1308" y="545"/>
                  </a:lnTo>
                  <a:lnTo>
                    <a:pt x="1308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0" y="547"/>
                  </a:lnTo>
                  <a:lnTo>
                    <a:pt x="1310" y="545"/>
                  </a:lnTo>
                  <a:lnTo>
                    <a:pt x="1310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0" y="547"/>
                  </a:lnTo>
                  <a:lnTo>
                    <a:pt x="1308" y="547"/>
                  </a:lnTo>
                  <a:lnTo>
                    <a:pt x="1308" y="547"/>
                  </a:lnTo>
                  <a:lnTo>
                    <a:pt x="1308" y="547"/>
                  </a:lnTo>
                  <a:lnTo>
                    <a:pt x="1308" y="547"/>
                  </a:lnTo>
                  <a:lnTo>
                    <a:pt x="1308" y="549"/>
                  </a:lnTo>
                  <a:lnTo>
                    <a:pt x="1306" y="549"/>
                  </a:lnTo>
                  <a:lnTo>
                    <a:pt x="1306" y="549"/>
                  </a:lnTo>
                  <a:lnTo>
                    <a:pt x="1306" y="549"/>
                  </a:lnTo>
                  <a:lnTo>
                    <a:pt x="1308" y="549"/>
                  </a:lnTo>
                  <a:lnTo>
                    <a:pt x="1310" y="547"/>
                  </a:lnTo>
                  <a:lnTo>
                    <a:pt x="1310" y="547"/>
                  </a:lnTo>
                  <a:lnTo>
                    <a:pt x="1310" y="547"/>
                  </a:lnTo>
                  <a:lnTo>
                    <a:pt x="1310" y="547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2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5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2"/>
                  </a:lnTo>
                  <a:lnTo>
                    <a:pt x="1317" y="542"/>
                  </a:lnTo>
                  <a:lnTo>
                    <a:pt x="1317" y="542"/>
                  </a:lnTo>
                  <a:lnTo>
                    <a:pt x="1317" y="542"/>
                  </a:lnTo>
                  <a:lnTo>
                    <a:pt x="1317" y="542"/>
                  </a:lnTo>
                  <a:lnTo>
                    <a:pt x="1317" y="542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9" y="545"/>
                  </a:lnTo>
                  <a:lnTo>
                    <a:pt x="1319" y="545"/>
                  </a:lnTo>
                  <a:lnTo>
                    <a:pt x="1319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5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7" y="545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2" y="547"/>
                  </a:lnTo>
                  <a:lnTo>
                    <a:pt x="1312" y="547"/>
                  </a:lnTo>
                  <a:lnTo>
                    <a:pt x="1312" y="547"/>
                  </a:lnTo>
                  <a:lnTo>
                    <a:pt x="1312" y="547"/>
                  </a:lnTo>
                  <a:lnTo>
                    <a:pt x="1312" y="547"/>
                  </a:lnTo>
                  <a:lnTo>
                    <a:pt x="1312" y="547"/>
                  </a:lnTo>
                  <a:lnTo>
                    <a:pt x="1312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5" y="547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7" y="547"/>
                  </a:lnTo>
                  <a:lnTo>
                    <a:pt x="1319" y="547"/>
                  </a:lnTo>
                  <a:lnTo>
                    <a:pt x="1319" y="547"/>
                  </a:lnTo>
                  <a:lnTo>
                    <a:pt x="1319" y="547"/>
                  </a:lnTo>
                  <a:lnTo>
                    <a:pt x="1319" y="547"/>
                  </a:lnTo>
                  <a:lnTo>
                    <a:pt x="1319" y="547"/>
                  </a:lnTo>
                  <a:lnTo>
                    <a:pt x="1319" y="547"/>
                  </a:lnTo>
                  <a:lnTo>
                    <a:pt x="1319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5"/>
                  </a:lnTo>
                  <a:lnTo>
                    <a:pt x="1321" y="545"/>
                  </a:lnTo>
                  <a:lnTo>
                    <a:pt x="1321" y="545"/>
                  </a:lnTo>
                  <a:lnTo>
                    <a:pt x="1321" y="545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7"/>
                  </a:lnTo>
                  <a:lnTo>
                    <a:pt x="1321" y="549"/>
                  </a:lnTo>
                  <a:lnTo>
                    <a:pt x="1319" y="549"/>
                  </a:lnTo>
                  <a:lnTo>
                    <a:pt x="1319" y="549"/>
                  </a:lnTo>
                  <a:lnTo>
                    <a:pt x="1319" y="549"/>
                  </a:lnTo>
                  <a:lnTo>
                    <a:pt x="1319" y="549"/>
                  </a:lnTo>
                  <a:lnTo>
                    <a:pt x="1319" y="549"/>
                  </a:lnTo>
                  <a:lnTo>
                    <a:pt x="1319" y="549"/>
                  </a:lnTo>
                  <a:lnTo>
                    <a:pt x="1319" y="549"/>
                  </a:lnTo>
                  <a:lnTo>
                    <a:pt x="1317" y="549"/>
                  </a:lnTo>
                  <a:lnTo>
                    <a:pt x="1317" y="551"/>
                  </a:lnTo>
                  <a:lnTo>
                    <a:pt x="1317" y="551"/>
                  </a:lnTo>
                  <a:lnTo>
                    <a:pt x="1317" y="551"/>
                  </a:lnTo>
                  <a:lnTo>
                    <a:pt x="1317" y="549"/>
                  </a:lnTo>
                  <a:lnTo>
                    <a:pt x="1317" y="549"/>
                  </a:lnTo>
                  <a:lnTo>
                    <a:pt x="1317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6"/>
                  </a:lnTo>
                  <a:lnTo>
                    <a:pt x="1310" y="556"/>
                  </a:lnTo>
                  <a:lnTo>
                    <a:pt x="1310" y="556"/>
                  </a:lnTo>
                  <a:lnTo>
                    <a:pt x="1310" y="556"/>
                  </a:lnTo>
                  <a:lnTo>
                    <a:pt x="1310" y="556"/>
                  </a:lnTo>
                  <a:lnTo>
                    <a:pt x="1312" y="556"/>
                  </a:lnTo>
                  <a:lnTo>
                    <a:pt x="1312" y="556"/>
                  </a:lnTo>
                  <a:lnTo>
                    <a:pt x="1312" y="556"/>
                  </a:lnTo>
                  <a:lnTo>
                    <a:pt x="1312" y="556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2" y="554"/>
                  </a:lnTo>
                  <a:lnTo>
                    <a:pt x="1315" y="554"/>
                  </a:lnTo>
                  <a:lnTo>
                    <a:pt x="1315" y="554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5" y="551"/>
                  </a:lnTo>
                  <a:lnTo>
                    <a:pt x="1317" y="551"/>
                  </a:lnTo>
                  <a:lnTo>
                    <a:pt x="1317" y="551"/>
                  </a:lnTo>
                  <a:lnTo>
                    <a:pt x="1321" y="549"/>
                  </a:lnTo>
                  <a:lnTo>
                    <a:pt x="1321" y="549"/>
                  </a:lnTo>
                  <a:lnTo>
                    <a:pt x="1321" y="549"/>
                  </a:lnTo>
                  <a:lnTo>
                    <a:pt x="1321" y="549"/>
                  </a:lnTo>
                  <a:lnTo>
                    <a:pt x="1321" y="549"/>
                  </a:lnTo>
                  <a:lnTo>
                    <a:pt x="1324" y="547"/>
                  </a:lnTo>
                  <a:lnTo>
                    <a:pt x="1324" y="547"/>
                  </a:lnTo>
                  <a:lnTo>
                    <a:pt x="1324" y="547"/>
                  </a:lnTo>
                  <a:lnTo>
                    <a:pt x="1324" y="547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6" y="545"/>
                  </a:lnTo>
                  <a:lnTo>
                    <a:pt x="1326" y="545"/>
                  </a:lnTo>
                  <a:lnTo>
                    <a:pt x="1326" y="545"/>
                  </a:lnTo>
                  <a:lnTo>
                    <a:pt x="1326" y="545"/>
                  </a:lnTo>
                  <a:lnTo>
                    <a:pt x="1326" y="545"/>
                  </a:lnTo>
                  <a:lnTo>
                    <a:pt x="1326" y="545"/>
                  </a:lnTo>
                  <a:lnTo>
                    <a:pt x="1326" y="545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8" y="545"/>
                  </a:lnTo>
                  <a:lnTo>
                    <a:pt x="1328" y="545"/>
                  </a:lnTo>
                  <a:lnTo>
                    <a:pt x="1328" y="545"/>
                  </a:lnTo>
                  <a:lnTo>
                    <a:pt x="1328" y="545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1" y="549"/>
                  </a:lnTo>
                  <a:lnTo>
                    <a:pt x="1321" y="551"/>
                  </a:lnTo>
                  <a:lnTo>
                    <a:pt x="1321" y="551"/>
                  </a:lnTo>
                  <a:lnTo>
                    <a:pt x="1321" y="551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4" y="549"/>
                  </a:lnTo>
                  <a:lnTo>
                    <a:pt x="1326" y="549"/>
                  </a:lnTo>
                  <a:lnTo>
                    <a:pt x="1326" y="549"/>
                  </a:lnTo>
                  <a:lnTo>
                    <a:pt x="1326" y="549"/>
                  </a:lnTo>
                  <a:lnTo>
                    <a:pt x="1326" y="549"/>
                  </a:lnTo>
                  <a:lnTo>
                    <a:pt x="1326" y="547"/>
                  </a:lnTo>
                  <a:lnTo>
                    <a:pt x="1326" y="549"/>
                  </a:lnTo>
                  <a:lnTo>
                    <a:pt x="1326" y="549"/>
                  </a:lnTo>
                  <a:lnTo>
                    <a:pt x="1326" y="549"/>
                  </a:lnTo>
                  <a:lnTo>
                    <a:pt x="1326" y="547"/>
                  </a:lnTo>
                  <a:lnTo>
                    <a:pt x="1326" y="547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28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7"/>
                  </a:lnTo>
                  <a:lnTo>
                    <a:pt x="1330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51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49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30" y="551"/>
                  </a:lnTo>
                  <a:lnTo>
                    <a:pt x="1330" y="551"/>
                  </a:lnTo>
                  <a:lnTo>
                    <a:pt x="1330" y="551"/>
                  </a:lnTo>
                  <a:lnTo>
                    <a:pt x="1330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28" y="551"/>
                  </a:lnTo>
                  <a:lnTo>
                    <a:pt x="1330" y="551"/>
                  </a:lnTo>
                  <a:lnTo>
                    <a:pt x="1330" y="551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28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0" y="554"/>
                  </a:lnTo>
                  <a:lnTo>
                    <a:pt x="1333" y="554"/>
                  </a:lnTo>
                  <a:lnTo>
                    <a:pt x="1333" y="554"/>
                  </a:lnTo>
                  <a:lnTo>
                    <a:pt x="1333" y="554"/>
                  </a:lnTo>
                  <a:lnTo>
                    <a:pt x="1333" y="554"/>
                  </a:lnTo>
                  <a:lnTo>
                    <a:pt x="1333" y="554"/>
                  </a:lnTo>
                  <a:lnTo>
                    <a:pt x="1333" y="554"/>
                  </a:lnTo>
                  <a:lnTo>
                    <a:pt x="1335" y="554"/>
                  </a:lnTo>
                  <a:lnTo>
                    <a:pt x="1335" y="554"/>
                  </a:lnTo>
                  <a:lnTo>
                    <a:pt x="1335" y="556"/>
                  </a:lnTo>
                  <a:lnTo>
                    <a:pt x="1335" y="556"/>
                  </a:lnTo>
                  <a:lnTo>
                    <a:pt x="1335" y="556"/>
                  </a:lnTo>
                  <a:lnTo>
                    <a:pt x="1335" y="556"/>
                  </a:lnTo>
                  <a:lnTo>
                    <a:pt x="1335" y="556"/>
                  </a:lnTo>
                  <a:lnTo>
                    <a:pt x="1335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37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2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4" y="556"/>
                  </a:lnTo>
                  <a:lnTo>
                    <a:pt x="1346" y="556"/>
                  </a:lnTo>
                  <a:lnTo>
                    <a:pt x="1346" y="556"/>
                  </a:lnTo>
                  <a:lnTo>
                    <a:pt x="1346" y="558"/>
                  </a:lnTo>
                  <a:lnTo>
                    <a:pt x="1346" y="558"/>
                  </a:lnTo>
                  <a:lnTo>
                    <a:pt x="1346" y="558"/>
                  </a:lnTo>
                  <a:lnTo>
                    <a:pt x="1346" y="558"/>
                  </a:lnTo>
                  <a:lnTo>
                    <a:pt x="1346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48" y="558"/>
                  </a:lnTo>
                  <a:lnTo>
                    <a:pt x="1351" y="558"/>
                  </a:lnTo>
                  <a:lnTo>
                    <a:pt x="1351" y="558"/>
                  </a:lnTo>
                  <a:lnTo>
                    <a:pt x="1351" y="558"/>
                  </a:lnTo>
                  <a:lnTo>
                    <a:pt x="1351" y="558"/>
                  </a:lnTo>
                  <a:lnTo>
                    <a:pt x="1351" y="558"/>
                  </a:lnTo>
                  <a:lnTo>
                    <a:pt x="1351" y="558"/>
                  </a:lnTo>
                  <a:lnTo>
                    <a:pt x="1351" y="558"/>
                  </a:lnTo>
                  <a:lnTo>
                    <a:pt x="1353" y="558"/>
                  </a:lnTo>
                  <a:lnTo>
                    <a:pt x="1353" y="558"/>
                  </a:lnTo>
                  <a:lnTo>
                    <a:pt x="1353" y="558"/>
                  </a:lnTo>
                  <a:lnTo>
                    <a:pt x="1353" y="558"/>
                  </a:lnTo>
                  <a:lnTo>
                    <a:pt x="1353" y="558"/>
                  </a:lnTo>
                  <a:lnTo>
                    <a:pt x="1353" y="558"/>
                  </a:lnTo>
                  <a:lnTo>
                    <a:pt x="1353" y="558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5" y="560"/>
                  </a:lnTo>
                  <a:lnTo>
                    <a:pt x="1355" y="560"/>
                  </a:lnTo>
                  <a:lnTo>
                    <a:pt x="1355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0"/>
                  </a:lnTo>
                  <a:lnTo>
                    <a:pt x="1353" y="563"/>
                  </a:lnTo>
                  <a:lnTo>
                    <a:pt x="1351" y="563"/>
                  </a:lnTo>
                  <a:lnTo>
                    <a:pt x="1348" y="563"/>
                  </a:lnTo>
                  <a:lnTo>
                    <a:pt x="1346" y="563"/>
                  </a:lnTo>
                  <a:lnTo>
                    <a:pt x="1346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51" y="563"/>
                  </a:lnTo>
                  <a:lnTo>
                    <a:pt x="1348" y="563"/>
                  </a:lnTo>
                  <a:lnTo>
                    <a:pt x="1348" y="565"/>
                  </a:lnTo>
                  <a:lnTo>
                    <a:pt x="1348" y="565"/>
                  </a:lnTo>
                  <a:lnTo>
                    <a:pt x="1346" y="565"/>
                  </a:lnTo>
                  <a:lnTo>
                    <a:pt x="1346" y="565"/>
                  </a:lnTo>
                  <a:lnTo>
                    <a:pt x="1346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4" y="565"/>
                  </a:lnTo>
                  <a:lnTo>
                    <a:pt x="1342" y="565"/>
                  </a:lnTo>
                  <a:lnTo>
                    <a:pt x="1337" y="565"/>
                  </a:lnTo>
                  <a:lnTo>
                    <a:pt x="1337" y="565"/>
                  </a:lnTo>
                  <a:lnTo>
                    <a:pt x="1337" y="565"/>
                  </a:lnTo>
                  <a:lnTo>
                    <a:pt x="1335" y="565"/>
                  </a:lnTo>
                  <a:lnTo>
                    <a:pt x="1337" y="565"/>
                  </a:lnTo>
                  <a:lnTo>
                    <a:pt x="1337" y="565"/>
                  </a:lnTo>
                  <a:lnTo>
                    <a:pt x="1339" y="565"/>
                  </a:lnTo>
                  <a:lnTo>
                    <a:pt x="1339" y="565"/>
                  </a:lnTo>
                  <a:lnTo>
                    <a:pt x="1337" y="565"/>
                  </a:lnTo>
                  <a:lnTo>
                    <a:pt x="1337" y="567"/>
                  </a:lnTo>
                  <a:lnTo>
                    <a:pt x="1337" y="565"/>
                  </a:lnTo>
                  <a:lnTo>
                    <a:pt x="1337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0" y="567"/>
                  </a:lnTo>
                  <a:lnTo>
                    <a:pt x="1330" y="567"/>
                  </a:lnTo>
                  <a:lnTo>
                    <a:pt x="1326" y="569"/>
                  </a:lnTo>
                  <a:lnTo>
                    <a:pt x="1326" y="569"/>
                  </a:lnTo>
                  <a:lnTo>
                    <a:pt x="1324" y="569"/>
                  </a:lnTo>
                  <a:lnTo>
                    <a:pt x="1321" y="569"/>
                  </a:lnTo>
                  <a:lnTo>
                    <a:pt x="1319" y="569"/>
                  </a:lnTo>
                  <a:lnTo>
                    <a:pt x="1319" y="572"/>
                  </a:lnTo>
                  <a:lnTo>
                    <a:pt x="1317" y="572"/>
                  </a:lnTo>
                  <a:lnTo>
                    <a:pt x="1317" y="572"/>
                  </a:lnTo>
                  <a:lnTo>
                    <a:pt x="1317" y="572"/>
                  </a:lnTo>
                  <a:lnTo>
                    <a:pt x="1312" y="572"/>
                  </a:lnTo>
                  <a:lnTo>
                    <a:pt x="1312" y="572"/>
                  </a:lnTo>
                  <a:lnTo>
                    <a:pt x="1312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2"/>
                  </a:lnTo>
                  <a:lnTo>
                    <a:pt x="1310" y="574"/>
                  </a:lnTo>
                  <a:lnTo>
                    <a:pt x="1312" y="572"/>
                  </a:lnTo>
                  <a:lnTo>
                    <a:pt x="1315" y="572"/>
                  </a:lnTo>
                  <a:lnTo>
                    <a:pt x="1319" y="572"/>
                  </a:lnTo>
                  <a:lnTo>
                    <a:pt x="1321" y="572"/>
                  </a:lnTo>
                  <a:lnTo>
                    <a:pt x="1324" y="569"/>
                  </a:lnTo>
                  <a:lnTo>
                    <a:pt x="1326" y="569"/>
                  </a:lnTo>
                  <a:lnTo>
                    <a:pt x="1326" y="569"/>
                  </a:lnTo>
                  <a:lnTo>
                    <a:pt x="1326" y="569"/>
                  </a:lnTo>
                  <a:lnTo>
                    <a:pt x="1326" y="569"/>
                  </a:lnTo>
                  <a:lnTo>
                    <a:pt x="1328" y="569"/>
                  </a:lnTo>
                  <a:lnTo>
                    <a:pt x="1328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3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30" y="569"/>
                  </a:lnTo>
                  <a:lnTo>
                    <a:pt x="1328" y="569"/>
                  </a:lnTo>
                  <a:lnTo>
                    <a:pt x="1328" y="572"/>
                  </a:lnTo>
                  <a:lnTo>
                    <a:pt x="1328" y="572"/>
                  </a:lnTo>
                  <a:lnTo>
                    <a:pt x="1328" y="572"/>
                  </a:lnTo>
                  <a:lnTo>
                    <a:pt x="1326" y="572"/>
                  </a:lnTo>
                  <a:lnTo>
                    <a:pt x="1326" y="572"/>
                  </a:lnTo>
                  <a:lnTo>
                    <a:pt x="1326" y="572"/>
                  </a:lnTo>
                  <a:lnTo>
                    <a:pt x="1324" y="572"/>
                  </a:lnTo>
                  <a:lnTo>
                    <a:pt x="1319" y="572"/>
                  </a:lnTo>
                  <a:lnTo>
                    <a:pt x="1319" y="572"/>
                  </a:lnTo>
                  <a:lnTo>
                    <a:pt x="1319" y="572"/>
                  </a:lnTo>
                  <a:lnTo>
                    <a:pt x="1319" y="572"/>
                  </a:lnTo>
                  <a:lnTo>
                    <a:pt x="1319" y="572"/>
                  </a:lnTo>
                  <a:lnTo>
                    <a:pt x="1321" y="572"/>
                  </a:lnTo>
                  <a:lnTo>
                    <a:pt x="1321" y="574"/>
                  </a:lnTo>
                  <a:lnTo>
                    <a:pt x="1319" y="574"/>
                  </a:lnTo>
                  <a:lnTo>
                    <a:pt x="1319" y="574"/>
                  </a:lnTo>
                  <a:lnTo>
                    <a:pt x="1319" y="574"/>
                  </a:lnTo>
                  <a:lnTo>
                    <a:pt x="1319" y="574"/>
                  </a:lnTo>
                  <a:lnTo>
                    <a:pt x="1317" y="574"/>
                  </a:lnTo>
                  <a:lnTo>
                    <a:pt x="1317" y="574"/>
                  </a:lnTo>
                  <a:lnTo>
                    <a:pt x="1317" y="574"/>
                  </a:lnTo>
                  <a:lnTo>
                    <a:pt x="1315" y="574"/>
                  </a:lnTo>
                  <a:lnTo>
                    <a:pt x="1315" y="574"/>
                  </a:lnTo>
                  <a:lnTo>
                    <a:pt x="1315" y="576"/>
                  </a:lnTo>
                  <a:lnTo>
                    <a:pt x="1312" y="576"/>
                  </a:lnTo>
                  <a:lnTo>
                    <a:pt x="1312" y="576"/>
                  </a:lnTo>
                  <a:lnTo>
                    <a:pt x="1310" y="576"/>
                  </a:lnTo>
                  <a:lnTo>
                    <a:pt x="1310" y="576"/>
                  </a:lnTo>
                  <a:lnTo>
                    <a:pt x="1310" y="576"/>
                  </a:lnTo>
                  <a:lnTo>
                    <a:pt x="1308" y="576"/>
                  </a:lnTo>
                  <a:lnTo>
                    <a:pt x="1308" y="576"/>
                  </a:lnTo>
                  <a:lnTo>
                    <a:pt x="1306" y="576"/>
                  </a:lnTo>
                  <a:lnTo>
                    <a:pt x="1303" y="576"/>
                  </a:lnTo>
                  <a:lnTo>
                    <a:pt x="1303" y="576"/>
                  </a:lnTo>
                  <a:lnTo>
                    <a:pt x="1303" y="576"/>
                  </a:lnTo>
                  <a:lnTo>
                    <a:pt x="1303" y="576"/>
                  </a:lnTo>
                  <a:lnTo>
                    <a:pt x="1303" y="576"/>
                  </a:lnTo>
                  <a:lnTo>
                    <a:pt x="1303" y="576"/>
                  </a:lnTo>
                  <a:lnTo>
                    <a:pt x="1303" y="576"/>
                  </a:lnTo>
                  <a:lnTo>
                    <a:pt x="1303" y="578"/>
                  </a:lnTo>
                  <a:lnTo>
                    <a:pt x="1303" y="578"/>
                  </a:lnTo>
                  <a:lnTo>
                    <a:pt x="1301" y="578"/>
                  </a:lnTo>
                  <a:lnTo>
                    <a:pt x="1301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78"/>
                  </a:lnTo>
                  <a:lnTo>
                    <a:pt x="1299" y="581"/>
                  </a:lnTo>
                  <a:lnTo>
                    <a:pt x="1297" y="581"/>
                  </a:lnTo>
                  <a:lnTo>
                    <a:pt x="1297" y="581"/>
                  </a:lnTo>
                  <a:lnTo>
                    <a:pt x="1297" y="581"/>
                  </a:lnTo>
                  <a:lnTo>
                    <a:pt x="1297" y="581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7" y="583"/>
                  </a:lnTo>
                  <a:lnTo>
                    <a:pt x="1294" y="583"/>
                  </a:lnTo>
                  <a:lnTo>
                    <a:pt x="1294" y="583"/>
                  </a:lnTo>
                  <a:lnTo>
                    <a:pt x="1294" y="583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0" y="578"/>
                  </a:lnTo>
                  <a:lnTo>
                    <a:pt x="1288" y="578"/>
                  </a:lnTo>
                  <a:lnTo>
                    <a:pt x="1288" y="578"/>
                  </a:lnTo>
                  <a:lnTo>
                    <a:pt x="1285" y="578"/>
                  </a:lnTo>
                  <a:lnTo>
                    <a:pt x="1285" y="578"/>
                  </a:lnTo>
                  <a:lnTo>
                    <a:pt x="1285" y="576"/>
                  </a:lnTo>
                  <a:lnTo>
                    <a:pt x="1285" y="576"/>
                  </a:lnTo>
                  <a:lnTo>
                    <a:pt x="1285" y="576"/>
                  </a:lnTo>
                  <a:lnTo>
                    <a:pt x="1285" y="576"/>
                  </a:lnTo>
                  <a:lnTo>
                    <a:pt x="1285" y="578"/>
                  </a:lnTo>
                  <a:lnTo>
                    <a:pt x="1285" y="578"/>
                  </a:lnTo>
                  <a:lnTo>
                    <a:pt x="1285" y="578"/>
                  </a:lnTo>
                  <a:lnTo>
                    <a:pt x="1283" y="578"/>
                  </a:lnTo>
                  <a:lnTo>
                    <a:pt x="1283" y="578"/>
                  </a:lnTo>
                  <a:lnTo>
                    <a:pt x="1283" y="578"/>
                  </a:lnTo>
                  <a:lnTo>
                    <a:pt x="1283" y="578"/>
                  </a:lnTo>
                  <a:lnTo>
                    <a:pt x="1285" y="578"/>
                  </a:lnTo>
                  <a:lnTo>
                    <a:pt x="1285" y="578"/>
                  </a:lnTo>
                  <a:lnTo>
                    <a:pt x="1288" y="578"/>
                  </a:lnTo>
                  <a:lnTo>
                    <a:pt x="1288" y="581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2" y="581"/>
                  </a:lnTo>
                  <a:lnTo>
                    <a:pt x="1292" y="583"/>
                  </a:lnTo>
                  <a:lnTo>
                    <a:pt x="1294" y="583"/>
                  </a:lnTo>
                  <a:lnTo>
                    <a:pt x="1294" y="583"/>
                  </a:lnTo>
                  <a:lnTo>
                    <a:pt x="1294" y="583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7" y="585"/>
                  </a:lnTo>
                  <a:lnTo>
                    <a:pt x="1294" y="585"/>
                  </a:lnTo>
                  <a:lnTo>
                    <a:pt x="1294" y="585"/>
                  </a:lnTo>
                  <a:lnTo>
                    <a:pt x="1292" y="585"/>
                  </a:lnTo>
                  <a:lnTo>
                    <a:pt x="1292" y="587"/>
                  </a:lnTo>
                  <a:lnTo>
                    <a:pt x="1292" y="587"/>
                  </a:lnTo>
                  <a:lnTo>
                    <a:pt x="1292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0" y="587"/>
                  </a:lnTo>
                  <a:lnTo>
                    <a:pt x="1292" y="587"/>
                  </a:lnTo>
                  <a:lnTo>
                    <a:pt x="1292" y="587"/>
                  </a:lnTo>
                  <a:lnTo>
                    <a:pt x="1294" y="587"/>
                  </a:lnTo>
                  <a:lnTo>
                    <a:pt x="1294" y="587"/>
                  </a:lnTo>
                  <a:lnTo>
                    <a:pt x="1292" y="587"/>
                  </a:lnTo>
                  <a:lnTo>
                    <a:pt x="1292" y="590"/>
                  </a:lnTo>
                  <a:lnTo>
                    <a:pt x="1290" y="590"/>
                  </a:lnTo>
                  <a:lnTo>
                    <a:pt x="1288" y="590"/>
                  </a:lnTo>
                  <a:lnTo>
                    <a:pt x="1288" y="590"/>
                  </a:lnTo>
                  <a:lnTo>
                    <a:pt x="1290" y="590"/>
                  </a:lnTo>
                  <a:lnTo>
                    <a:pt x="1292" y="590"/>
                  </a:lnTo>
                  <a:lnTo>
                    <a:pt x="1292" y="590"/>
                  </a:lnTo>
                  <a:lnTo>
                    <a:pt x="1292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4" y="587"/>
                  </a:lnTo>
                  <a:lnTo>
                    <a:pt x="1294" y="587"/>
                  </a:lnTo>
                  <a:lnTo>
                    <a:pt x="1294" y="587"/>
                  </a:lnTo>
                  <a:lnTo>
                    <a:pt x="1294" y="587"/>
                  </a:lnTo>
                  <a:lnTo>
                    <a:pt x="1294" y="587"/>
                  </a:lnTo>
                  <a:lnTo>
                    <a:pt x="1297" y="587"/>
                  </a:lnTo>
                  <a:lnTo>
                    <a:pt x="1297" y="587"/>
                  </a:lnTo>
                  <a:lnTo>
                    <a:pt x="1297" y="587"/>
                  </a:lnTo>
                  <a:lnTo>
                    <a:pt x="1297" y="587"/>
                  </a:lnTo>
                  <a:lnTo>
                    <a:pt x="1297" y="587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299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5"/>
                  </a:lnTo>
                  <a:lnTo>
                    <a:pt x="1301" y="583"/>
                  </a:lnTo>
                  <a:lnTo>
                    <a:pt x="1301" y="583"/>
                  </a:lnTo>
                  <a:lnTo>
                    <a:pt x="1301" y="583"/>
                  </a:lnTo>
                  <a:lnTo>
                    <a:pt x="1301" y="583"/>
                  </a:lnTo>
                  <a:lnTo>
                    <a:pt x="1303" y="583"/>
                  </a:lnTo>
                  <a:lnTo>
                    <a:pt x="1306" y="583"/>
                  </a:lnTo>
                  <a:lnTo>
                    <a:pt x="1306" y="583"/>
                  </a:lnTo>
                  <a:lnTo>
                    <a:pt x="1306" y="583"/>
                  </a:lnTo>
                  <a:lnTo>
                    <a:pt x="1308" y="583"/>
                  </a:lnTo>
                  <a:lnTo>
                    <a:pt x="1308" y="583"/>
                  </a:lnTo>
                  <a:lnTo>
                    <a:pt x="1308" y="583"/>
                  </a:lnTo>
                  <a:lnTo>
                    <a:pt x="1310" y="581"/>
                  </a:lnTo>
                  <a:lnTo>
                    <a:pt x="1310" y="581"/>
                  </a:lnTo>
                  <a:lnTo>
                    <a:pt x="1310" y="581"/>
                  </a:lnTo>
                  <a:lnTo>
                    <a:pt x="1310" y="581"/>
                  </a:lnTo>
                  <a:lnTo>
                    <a:pt x="1310" y="581"/>
                  </a:lnTo>
                  <a:lnTo>
                    <a:pt x="1310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2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5" y="581"/>
                  </a:lnTo>
                  <a:lnTo>
                    <a:pt x="1317" y="581"/>
                  </a:lnTo>
                  <a:lnTo>
                    <a:pt x="1317" y="581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8"/>
                  </a:lnTo>
                  <a:lnTo>
                    <a:pt x="1317" y="576"/>
                  </a:lnTo>
                  <a:lnTo>
                    <a:pt x="1319" y="576"/>
                  </a:lnTo>
                  <a:lnTo>
                    <a:pt x="1319" y="576"/>
                  </a:lnTo>
                  <a:lnTo>
                    <a:pt x="1319" y="576"/>
                  </a:lnTo>
                  <a:lnTo>
                    <a:pt x="1321" y="576"/>
                  </a:lnTo>
                  <a:lnTo>
                    <a:pt x="1321" y="576"/>
                  </a:lnTo>
                  <a:lnTo>
                    <a:pt x="1321" y="574"/>
                  </a:lnTo>
                  <a:lnTo>
                    <a:pt x="1321" y="574"/>
                  </a:lnTo>
                  <a:lnTo>
                    <a:pt x="1321" y="574"/>
                  </a:lnTo>
                  <a:lnTo>
                    <a:pt x="1321" y="574"/>
                  </a:lnTo>
                  <a:lnTo>
                    <a:pt x="1321" y="574"/>
                  </a:lnTo>
                  <a:lnTo>
                    <a:pt x="1324" y="574"/>
                  </a:lnTo>
                  <a:lnTo>
                    <a:pt x="1326" y="574"/>
                  </a:lnTo>
                  <a:lnTo>
                    <a:pt x="1328" y="572"/>
                  </a:lnTo>
                  <a:lnTo>
                    <a:pt x="1333" y="572"/>
                  </a:lnTo>
                  <a:lnTo>
                    <a:pt x="1333" y="572"/>
                  </a:lnTo>
                  <a:lnTo>
                    <a:pt x="1333" y="572"/>
                  </a:lnTo>
                  <a:lnTo>
                    <a:pt x="1335" y="572"/>
                  </a:lnTo>
                  <a:lnTo>
                    <a:pt x="1335" y="572"/>
                  </a:lnTo>
                  <a:lnTo>
                    <a:pt x="1335" y="572"/>
                  </a:lnTo>
                  <a:lnTo>
                    <a:pt x="1337" y="572"/>
                  </a:lnTo>
                  <a:lnTo>
                    <a:pt x="1342" y="572"/>
                  </a:lnTo>
                  <a:lnTo>
                    <a:pt x="1342" y="572"/>
                  </a:lnTo>
                  <a:lnTo>
                    <a:pt x="1342" y="572"/>
                  </a:lnTo>
                  <a:lnTo>
                    <a:pt x="1342" y="572"/>
                  </a:lnTo>
                  <a:lnTo>
                    <a:pt x="1342" y="569"/>
                  </a:lnTo>
                  <a:lnTo>
                    <a:pt x="1342" y="569"/>
                  </a:lnTo>
                  <a:lnTo>
                    <a:pt x="1339" y="569"/>
                  </a:lnTo>
                  <a:lnTo>
                    <a:pt x="1339" y="569"/>
                  </a:lnTo>
                  <a:lnTo>
                    <a:pt x="1337" y="569"/>
                  </a:lnTo>
                  <a:lnTo>
                    <a:pt x="1337" y="569"/>
                  </a:lnTo>
                  <a:lnTo>
                    <a:pt x="1335" y="569"/>
                  </a:lnTo>
                  <a:lnTo>
                    <a:pt x="1335" y="569"/>
                  </a:lnTo>
                  <a:lnTo>
                    <a:pt x="1335" y="569"/>
                  </a:lnTo>
                  <a:lnTo>
                    <a:pt x="1335" y="569"/>
                  </a:lnTo>
                  <a:lnTo>
                    <a:pt x="1333" y="569"/>
                  </a:lnTo>
                  <a:lnTo>
                    <a:pt x="1333" y="572"/>
                  </a:lnTo>
                  <a:lnTo>
                    <a:pt x="1333" y="572"/>
                  </a:lnTo>
                  <a:lnTo>
                    <a:pt x="1333" y="572"/>
                  </a:lnTo>
                  <a:lnTo>
                    <a:pt x="1333" y="572"/>
                  </a:lnTo>
                  <a:lnTo>
                    <a:pt x="1333" y="572"/>
                  </a:lnTo>
                  <a:lnTo>
                    <a:pt x="1333" y="569"/>
                  </a:lnTo>
                  <a:lnTo>
                    <a:pt x="1333" y="569"/>
                  </a:lnTo>
                  <a:lnTo>
                    <a:pt x="1333" y="569"/>
                  </a:lnTo>
                  <a:lnTo>
                    <a:pt x="1333" y="569"/>
                  </a:lnTo>
                  <a:lnTo>
                    <a:pt x="1333" y="569"/>
                  </a:lnTo>
                  <a:lnTo>
                    <a:pt x="1333" y="569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3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5" y="567"/>
                  </a:lnTo>
                  <a:lnTo>
                    <a:pt x="1337" y="567"/>
                  </a:lnTo>
                  <a:lnTo>
                    <a:pt x="1337" y="567"/>
                  </a:lnTo>
                  <a:lnTo>
                    <a:pt x="1337" y="567"/>
                  </a:lnTo>
                  <a:lnTo>
                    <a:pt x="1339" y="567"/>
                  </a:lnTo>
                  <a:lnTo>
                    <a:pt x="1339" y="567"/>
                  </a:lnTo>
                  <a:lnTo>
                    <a:pt x="1339" y="567"/>
                  </a:lnTo>
                  <a:lnTo>
                    <a:pt x="1339" y="567"/>
                  </a:lnTo>
                  <a:lnTo>
                    <a:pt x="1339" y="567"/>
                  </a:lnTo>
                  <a:lnTo>
                    <a:pt x="1342" y="567"/>
                  </a:lnTo>
                  <a:lnTo>
                    <a:pt x="1342" y="567"/>
                  </a:lnTo>
                  <a:lnTo>
                    <a:pt x="1342" y="567"/>
                  </a:lnTo>
                  <a:lnTo>
                    <a:pt x="1342" y="567"/>
                  </a:lnTo>
                  <a:lnTo>
                    <a:pt x="1342" y="567"/>
                  </a:lnTo>
                  <a:lnTo>
                    <a:pt x="1344" y="567"/>
                  </a:lnTo>
                  <a:lnTo>
                    <a:pt x="1344" y="567"/>
                  </a:lnTo>
                  <a:lnTo>
                    <a:pt x="1344" y="569"/>
                  </a:lnTo>
                  <a:lnTo>
                    <a:pt x="1344" y="569"/>
                  </a:lnTo>
                  <a:lnTo>
                    <a:pt x="1344" y="567"/>
                  </a:lnTo>
                  <a:lnTo>
                    <a:pt x="1346" y="569"/>
                  </a:lnTo>
                  <a:lnTo>
                    <a:pt x="1346" y="569"/>
                  </a:lnTo>
                  <a:lnTo>
                    <a:pt x="1346" y="569"/>
                  </a:lnTo>
                  <a:lnTo>
                    <a:pt x="1346" y="569"/>
                  </a:lnTo>
                  <a:lnTo>
                    <a:pt x="1346" y="569"/>
                  </a:lnTo>
                  <a:lnTo>
                    <a:pt x="1346" y="569"/>
                  </a:lnTo>
                  <a:lnTo>
                    <a:pt x="1348" y="569"/>
                  </a:lnTo>
                  <a:lnTo>
                    <a:pt x="1348" y="567"/>
                  </a:lnTo>
                  <a:lnTo>
                    <a:pt x="1348" y="569"/>
                  </a:lnTo>
                  <a:lnTo>
                    <a:pt x="1348" y="569"/>
                  </a:lnTo>
                  <a:lnTo>
                    <a:pt x="1351" y="569"/>
                  </a:lnTo>
                  <a:lnTo>
                    <a:pt x="1351" y="569"/>
                  </a:lnTo>
                  <a:lnTo>
                    <a:pt x="1348" y="569"/>
                  </a:lnTo>
                  <a:lnTo>
                    <a:pt x="1351" y="569"/>
                  </a:lnTo>
                  <a:lnTo>
                    <a:pt x="1351" y="569"/>
                  </a:lnTo>
                  <a:lnTo>
                    <a:pt x="1351" y="569"/>
                  </a:lnTo>
                  <a:lnTo>
                    <a:pt x="1351" y="569"/>
                  </a:lnTo>
                  <a:lnTo>
                    <a:pt x="1351" y="572"/>
                  </a:lnTo>
                  <a:lnTo>
                    <a:pt x="1351" y="572"/>
                  </a:lnTo>
                  <a:lnTo>
                    <a:pt x="1351" y="574"/>
                  </a:lnTo>
                  <a:lnTo>
                    <a:pt x="1351" y="574"/>
                  </a:lnTo>
                  <a:lnTo>
                    <a:pt x="1351" y="574"/>
                  </a:lnTo>
                  <a:lnTo>
                    <a:pt x="1353" y="574"/>
                  </a:lnTo>
                  <a:lnTo>
                    <a:pt x="1353" y="574"/>
                  </a:lnTo>
                  <a:lnTo>
                    <a:pt x="1353" y="574"/>
                  </a:lnTo>
                  <a:lnTo>
                    <a:pt x="1353" y="574"/>
                  </a:lnTo>
                  <a:lnTo>
                    <a:pt x="1351" y="574"/>
                  </a:lnTo>
                  <a:lnTo>
                    <a:pt x="1351" y="574"/>
                  </a:lnTo>
                  <a:lnTo>
                    <a:pt x="1351" y="574"/>
                  </a:lnTo>
                  <a:lnTo>
                    <a:pt x="1351" y="574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3" y="576"/>
                  </a:lnTo>
                  <a:lnTo>
                    <a:pt x="1353" y="576"/>
                  </a:lnTo>
                  <a:lnTo>
                    <a:pt x="1353" y="576"/>
                  </a:lnTo>
                  <a:lnTo>
                    <a:pt x="1353" y="576"/>
                  </a:lnTo>
                  <a:lnTo>
                    <a:pt x="1353" y="576"/>
                  </a:lnTo>
                  <a:lnTo>
                    <a:pt x="1353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1" y="576"/>
                  </a:lnTo>
                  <a:lnTo>
                    <a:pt x="1353" y="576"/>
                  </a:lnTo>
                  <a:lnTo>
                    <a:pt x="1353" y="578"/>
                  </a:lnTo>
                  <a:lnTo>
                    <a:pt x="1351" y="578"/>
                  </a:lnTo>
                  <a:lnTo>
                    <a:pt x="1351" y="578"/>
                  </a:lnTo>
                  <a:lnTo>
                    <a:pt x="1351" y="578"/>
                  </a:lnTo>
                  <a:lnTo>
                    <a:pt x="1351" y="578"/>
                  </a:lnTo>
                  <a:lnTo>
                    <a:pt x="1351" y="578"/>
                  </a:lnTo>
                  <a:lnTo>
                    <a:pt x="1351" y="578"/>
                  </a:lnTo>
                  <a:lnTo>
                    <a:pt x="1348" y="578"/>
                  </a:lnTo>
                  <a:lnTo>
                    <a:pt x="1348" y="578"/>
                  </a:lnTo>
                  <a:lnTo>
                    <a:pt x="1346" y="581"/>
                  </a:lnTo>
                  <a:lnTo>
                    <a:pt x="1344" y="581"/>
                  </a:lnTo>
                  <a:lnTo>
                    <a:pt x="1344" y="581"/>
                  </a:lnTo>
                  <a:lnTo>
                    <a:pt x="1342" y="583"/>
                  </a:lnTo>
                  <a:lnTo>
                    <a:pt x="1344" y="581"/>
                  </a:lnTo>
                  <a:lnTo>
                    <a:pt x="1344" y="581"/>
                  </a:lnTo>
                  <a:lnTo>
                    <a:pt x="1344" y="581"/>
                  </a:lnTo>
                  <a:lnTo>
                    <a:pt x="1344" y="581"/>
                  </a:lnTo>
                  <a:lnTo>
                    <a:pt x="1344" y="581"/>
                  </a:lnTo>
                  <a:lnTo>
                    <a:pt x="1344" y="583"/>
                  </a:lnTo>
                  <a:lnTo>
                    <a:pt x="1344" y="583"/>
                  </a:lnTo>
                  <a:lnTo>
                    <a:pt x="1346" y="583"/>
                  </a:lnTo>
                  <a:lnTo>
                    <a:pt x="1346" y="581"/>
                  </a:lnTo>
                  <a:lnTo>
                    <a:pt x="1346" y="581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3"/>
                  </a:lnTo>
                  <a:lnTo>
                    <a:pt x="1346" y="585"/>
                  </a:lnTo>
                  <a:lnTo>
                    <a:pt x="1346" y="585"/>
                  </a:lnTo>
                  <a:lnTo>
                    <a:pt x="1344" y="585"/>
                  </a:lnTo>
                  <a:lnTo>
                    <a:pt x="1344" y="585"/>
                  </a:lnTo>
                  <a:lnTo>
                    <a:pt x="1344" y="585"/>
                  </a:lnTo>
                  <a:lnTo>
                    <a:pt x="1344" y="585"/>
                  </a:lnTo>
                  <a:lnTo>
                    <a:pt x="1344" y="585"/>
                  </a:lnTo>
                  <a:lnTo>
                    <a:pt x="1346" y="585"/>
                  </a:lnTo>
                  <a:lnTo>
                    <a:pt x="1346" y="585"/>
                  </a:lnTo>
                  <a:lnTo>
                    <a:pt x="1346" y="585"/>
                  </a:lnTo>
                  <a:lnTo>
                    <a:pt x="1346" y="585"/>
                  </a:lnTo>
                  <a:lnTo>
                    <a:pt x="1346" y="585"/>
                  </a:lnTo>
                  <a:lnTo>
                    <a:pt x="1346" y="585"/>
                  </a:lnTo>
                  <a:lnTo>
                    <a:pt x="1348" y="583"/>
                  </a:lnTo>
                  <a:lnTo>
                    <a:pt x="1348" y="583"/>
                  </a:lnTo>
                  <a:lnTo>
                    <a:pt x="1348" y="583"/>
                  </a:lnTo>
                  <a:lnTo>
                    <a:pt x="1348" y="583"/>
                  </a:lnTo>
                  <a:lnTo>
                    <a:pt x="1348" y="583"/>
                  </a:lnTo>
                  <a:lnTo>
                    <a:pt x="1348" y="583"/>
                  </a:lnTo>
                  <a:lnTo>
                    <a:pt x="1351" y="583"/>
                  </a:lnTo>
                  <a:lnTo>
                    <a:pt x="1351" y="583"/>
                  </a:lnTo>
                  <a:lnTo>
                    <a:pt x="1351" y="581"/>
                  </a:lnTo>
                  <a:lnTo>
                    <a:pt x="1351" y="581"/>
                  </a:lnTo>
                  <a:lnTo>
                    <a:pt x="1351" y="581"/>
                  </a:lnTo>
                  <a:lnTo>
                    <a:pt x="1351" y="581"/>
                  </a:lnTo>
                  <a:lnTo>
                    <a:pt x="1351" y="581"/>
                  </a:lnTo>
                  <a:lnTo>
                    <a:pt x="1351" y="581"/>
                  </a:lnTo>
                  <a:lnTo>
                    <a:pt x="1351" y="581"/>
                  </a:lnTo>
                  <a:lnTo>
                    <a:pt x="1353" y="581"/>
                  </a:lnTo>
                  <a:lnTo>
                    <a:pt x="1353" y="578"/>
                  </a:lnTo>
                  <a:lnTo>
                    <a:pt x="1353" y="578"/>
                  </a:lnTo>
                  <a:lnTo>
                    <a:pt x="1355" y="578"/>
                  </a:lnTo>
                  <a:lnTo>
                    <a:pt x="1355" y="578"/>
                  </a:lnTo>
                  <a:lnTo>
                    <a:pt x="1355" y="578"/>
                  </a:lnTo>
                  <a:lnTo>
                    <a:pt x="1355" y="578"/>
                  </a:lnTo>
                  <a:lnTo>
                    <a:pt x="1355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57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0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4" y="578"/>
                  </a:lnTo>
                  <a:lnTo>
                    <a:pt x="1364" y="578"/>
                  </a:lnTo>
                  <a:lnTo>
                    <a:pt x="1364" y="578"/>
                  </a:lnTo>
                  <a:lnTo>
                    <a:pt x="1364" y="578"/>
                  </a:lnTo>
                  <a:lnTo>
                    <a:pt x="1364" y="578"/>
                  </a:lnTo>
                  <a:lnTo>
                    <a:pt x="1364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0" y="581"/>
                  </a:lnTo>
                  <a:lnTo>
                    <a:pt x="1360" y="581"/>
                  </a:lnTo>
                  <a:lnTo>
                    <a:pt x="1360" y="581"/>
                  </a:lnTo>
                  <a:lnTo>
                    <a:pt x="1360" y="581"/>
                  </a:lnTo>
                  <a:lnTo>
                    <a:pt x="1357" y="581"/>
                  </a:lnTo>
                  <a:lnTo>
                    <a:pt x="1357" y="581"/>
                  </a:lnTo>
                  <a:lnTo>
                    <a:pt x="1360" y="581"/>
                  </a:lnTo>
                  <a:lnTo>
                    <a:pt x="1360" y="581"/>
                  </a:lnTo>
                  <a:lnTo>
                    <a:pt x="1362" y="581"/>
                  </a:lnTo>
                  <a:lnTo>
                    <a:pt x="1362" y="581"/>
                  </a:lnTo>
                  <a:lnTo>
                    <a:pt x="1364" y="581"/>
                  </a:lnTo>
                  <a:lnTo>
                    <a:pt x="1364" y="581"/>
                  </a:lnTo>
                  <a:lnTo>
                    <a:pt x="1364" y="581"/>
                  </a:lnTo>
                  <a:lnTo>
                    <a:pt x="1364" y="581"/>
                  </a:lnTo>
                  <a:lnTo>
                    <a:pt x="1366" y="581"/>
                  </a:lnTo>
                  <a:lnTo>
                    <a:pt x="1364" y="583"/>
                  </a:lnTo>
                  <a:lnTo>
                    <a:pt x="1364" y="581"/>
                  </a:lnTo>
                  <a:lnTo>
                    <a:pt x="1364" y="583"/>
                  </a:lnTo>
                  <a:lnTo>
                    <a:pt x="1364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71" y="583"/>
                  </a:lnTo>
                  <a:lnTo>
                    <a:pt x="1371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5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9" y="583"/>
                  </a:lnTo>
                  <a:lnTo>
                    <a:pt x="1366" y="583"/>
                  </a:lnTo>
                  <a:lnTo>
                    <a:pt x="1366" y="583"/>
                  </a:lnTo>
                  <a:lnTo>
                    <a:pt x="1364" y="583"/>
                  </a:lnTo>
                  <a:lnTo>
                    <a:pt x="1364" y="583"/>
                  </a:lnTo>
                  <a:lnTo>
                    <a:pt x="1369" y="585"/>
                  </a:lnTo>
                  <a:lnTo>
                    <a:pt x="1369" y="585"/>
                  </a:lnTo>
                  <a:lnTo>
                    <a:pt x="1369" y="585"/>
                  </a:lnTo>
                  <a:lnTo>
                    <a:pt x="1369" y="585"/>
                  </a:lnTo>
                  <a:lnTo>
                    <a:pt x="1369" y="585"/>
                  </a:lnTo>
                  <a:lnTo>
                    <a:pt x="1369" y="585"/>
                  </a:lnTo>
                  <a:lnTo>
                    <a:pt x="1369" y="587"/>
                  </a:lnTo>
                  <a:lnTo>
                    <a:pt x="1369" y="587"/>
                  </a:lnTo>
                  <a:lnTo>
                    <a:pt x="1366" y="587"/>
                  </a:lnTo>
                  <a:lnTo>
                    <a:pt x="1369" y="587"/>
                  </a:lnTo>
                  <a:lnTo>
                    <a:pt x="1369" y="587"/>
                  </a:lnTo>
                  <a:lnTo>
                    <a:pt x="1369" y="587"/>
                  </a:lnTo>
                  <a:lnTo>
                    <a:pt x="1369" y="587"/>
                  </a:lnTo>
                  <a:lnTo>
                    <a:pt x="1369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71" y="587"/>
                  </a:lnTo>
                  <a:lnTo>
                    <a:pt x="1369" y="587"/>
                  </a:lnTo>
                  <a:lnTo>
                    <a:pt x="1369" y="587"/>
                  </a:lnTo>
                  <a:lnTo>
                    <a:pt x="1369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69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0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71" y="590"/>
                  </a:lnTo>
                  <a:lnTo>
                    <a:pt x="1369" y="590"/>
                  </a:lnTo>
                  <a:lnTo>
                    <a:pt x="1369" y="592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71" y="592"/>
                  </a:lnTo>
                  <a:lnTo>
                    <a:pt x="1369" y="594"/>
                  </a:lnTo>
                  <a:lnTo>
                    <a:pt x="1369" y="594"/>
                  </a:lnTo>
                  <a:lnTo>
                    <a:pt x="1369" y="594"/>
                  </a:lnTo>
                  <a:lnTo>
                    <a:pt x="1369" y="592"/>
                  </a:lnTo>
                  <a:lnTo>
                    <a:pt x="1366" y="592"/>
                  </a:lnTo>
                  <a:lnTo>
                    <a:pt x="1366" y="592"/>
                  </a:lnTo>
                  <a:lnTo>
                    <a:pt x="1366" y="592"/>
                  </a:lnTo>
                  <a:lnTo>
                    <a:pt x="1369" y="594"/>
                  </a:lnTo>
                  <a:lnTo>
                    <a:pt x="1369" y="594"/>
                  </a:lnTo>
                  <a:lnTo>
                    <a:pt x="1369" y="594"/>
                  </a:lnTo>
                  <a:lnTo>
                    <a:pt x="1369" y="594"/>
                  </a:lnTo>
                  <a:lnTo>
                    <a:pt x="1366" y="594"/>
                  </a:lnTo>
                  <a:lnTo>
                    <a:pt x="1366" y="594"/>
                  </a:lnTo>
                  <a:lnTo>
                    <a:pt x="1366" y="594"/>
                  </a:lnTo>
                  <a:lnTo>
                    <a:pt x="1366" y="594"/>
                  </a:lnTo>
                  <a:lnTo>
                    <a:pt x="1364" y="594"/>
                  </a:lnTo>
                  <a:lnTo>
                    <a:pt x="1364" y="594"/>
                  </a:lnTo>
                  <a:lnTo>
                    <a:pt x="1362" y="594"/>
                  </a:lnTo>
                  <a:lnTo>
                    <a:pt x="1362" y="594"/>
                  </a:lnTo>
                  <a:lnTo>
                    <a:pt x="1362" y="594"/>
                  </a:lnTo>
                  <a:lnTo>
                    <a:pt x="1364" y="594"/>
                  </a:lnTo>
                  <a:lnTo>
                    <a:pt x="1364" y="596"/>
                  </a:lnTo>
                  <a:lnTo>
                    <a:pt x="1364" y="596"/>
                  </a:lnTo>
                  <a:lnTo>
                    <a:pt x="1362" y="596"/>
                  </a:lnTo>
                  <a:lnTo>
                    <a:pt x="1362" y="596"/>
                  </a:lnTo>
                  <a:lnTo>
                    <a:pt x="1362" y="596"/>
                  </a:lnTo>
                  <a:lnTo>
                    <a:pt x="1362" y="596"/>
                  </a:lnTo>
                  <a:lnTo>
                    <a:pt x="1364" y="596"/>
                  </a:lnTo>
                  <a:lnTo>
                    <a:pt x="1364" y="596"/>
                  </a:lnTo>
                  <a:lnTo>
                    <a:pt x="1364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6" y="596"/>
                  </a:lnTo>
                  <a:lnTo>
                    <a:pt x="1369" y="596"/>
                  </a:lnTo>
                  <a:lnTo>
                    <a:pt x="1366" y="599"/>
                  </a:lnTo>
                  <a:lnTo>
                    <a:pt x="1369" y="599"/>
                  </a:lnTo>
                  <a:lnTo>
                    <a:pt x="1369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6" y="599"/>
                  </a:lnTo>
                  <a:lnTo>
                    <a:pt x="1364" y="599"/>
                  </a:lnTo>
                  <a:lnTo>
                    <a:pt x="1364" y="599"/>
                  </a:lnTo>
                  <a:lnTo>
                    <a:pt x="1364" y="601"/>
                  </a:lnTo>
                  <a:lnTo>
                    <a:pt x="1364" y="601"/>
                  </a:lnTo>
                  <a:lnTo>
                    <a:pt x="1364" y="601"/>
                  </a:lnTo>
                  <a:lnTo>
                    <a:pt x="1364" y="601"/>
                  </a:lnTo>
                  <a:lnTo>
                    <a:pt x="1364" y="601"/>
                  </a:lnTo>
                  <a:lnTo>
                    <a:pt x="1364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599"/>
                  </a:lnTo>
                  <a:lnTo>
                    <a:pt x="1362" y="599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2" y="601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3"/>
                  </a:lnTo>
                  <a:lnTo>
                    <a:pt x="1366" y="605"/>
                  </a:lnTo>
                  <a:lnTo>
                    <a:pt x="1366" y="605"/>
                  </a:lnTo>
                  <a:lnTo>
                    <a:pt x="1366" y="605"/>
                  </a:lnTo>
                  <a:lnTo>
                    <a:pt x="1364" y="603"/>
                  </a:lnTo>
                  <a:lnTo>
                    <a:pt x="1364" y="605"/>
                  </a:lnTo>
                  <a:lnTo>
                    <a:pt x="1364" y="605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4" y="603"/>
                  </a:lnTo>
                  <a:lnTo>
                    <a:pt x="1362" y="603"/>
                  </a:lnTo>
                  <a:lnTo>
                    <a:pt x="1362" y="603"/>
                  </a:lnTo>
                  <a:lnTo>
                    <a:pt x="1360" y="603"/>
                  </a:lnTo>
                  <a:lnTo>
                    <a:pt x="1362" y="603"/>
                  </a:lnTo>
                  <a:lnTo>
                    <a:pt x="1362" y="603"/>
                  </a:lnTo>
                  <a:lnTo>
                    <a:pt x="1362" y="603"/>
                  </a:lnTo>
                  <a:lnTo>
                    <a:pt x="1362" y="603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57" y="605"/>
                  </a:lnTo>
                  <a:lnTo>
                    <a:pt x="1357" y="605"/>
                  </a:lnTo>
                  <a:lnTo>
                    <a:pt x="1357" y="605"/>
                  </a:lnTo>
                  <a:lnTo>
                    <a:pt x="1357" y="605"/>
                  </a:lnTo>
                  <a:lnTo>
                    <a:pt x="1355" y="605"/>
                  </a:lnTo>
                  <a:lnTo>
                    <a:pt x="1355" y="605"/>
                  </a:lnTo>
                  <a:lnTo>
                    <a:pt x="1353" y="605"/>
                  </a:lnTo>
                  <a:lnTo>
                    <a:pt x="1353" y="605"/>
                  </a:lnTo>
                  <a:lnTo>
                    <a:pt x="1353" y="605"/>
                  </a:lnTo>
                  <a:lnTo>
                    <a:pt x="1353" y="605"/>
                  </a:lnTo>
                  <a:lnTo>
                    <a:pt x="1353" y="605"/>
                  </a:lnTo>
                  <a:lnTo>
                    <a:pt x="1353" y="605"/>
                  </a:lnTo>
                  <a:lnTo>
                    <a:pt x="1355" y="605"/>
                  </a:lnTo>
                  <a:lnTo>
                    <a:pt x="1355" y="605"/>
                  </a:lnTo>
                  <a:lnTo>
                    <a:pt x="1355" y="605"/>
                  </a:lnTo>
                  <a:lnTo>
                    <a:pt x="1357" y="605"/>
                  </a:lnTo>
                  <a:lnTo>
                    <a:pt x="1357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60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5"/>
                  </a:lnTo>
                  <a:lnTo>
                    <a:pt x="1362" y="608"/>
                  </a:lnTo>
                  <a:lnTo>
                    <a:pt x="1362" y="608"/>
                  </a:lnTo>
                  <a:lnTo>
                    <a:pt x="1364" y="605"/>
                  </a:lnTo>
                  <a:lnTo>
                    <a:pt x="1364" y="605"/>
                  </a:lnTo>
                  <a:lnTo>
                    <a:pt x="1364" y="608"/>
                  </a:lnTo>
                  <a:lnTo>
                    <a:pt x="1366" y="608"/>
                  </a:lnTo>
                  <a:lnTo>
                    <a:pt x="1366" y="608"/>
                  </a:lnTo>
                  <a:lnTo>
                    <a:pt x="1364" y="608"/>
                  </a:lnTo>
                  <a:lnTo>
                    <a:pt x="1366" y="608"/>
                  </a:lnTo>
                  <a:lnTo>
                    <a:pt x="1366" y="608"/>
                  </a:lnTo>
                  <a:lnTo>
                    <a:pt x="1366" y="608"/>
                  </a:lnTo>
                  <a:lnTo>
                    <a:pt x="1366" y="608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6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2" y="610"/>
                  </a:lnTo>
                  <a:lnTo>
                    <a:pt x="1362" y="610"/>
                  </a:lnTo>
                  <a:lnTo>
                    <a:pt x="1360" y="610"/>
                  </a:lnTo>
                  <a:lnTo>
                    <a:pt x="1357" y="608"/>
                  </a:lnTo>
                  <a:lnTo>
                    <a:pt x="1357" y="608"/>
                  </a:lnTo>
                  <a:lnTo>
                    <a:pt x="1357" y="608"/>
                  </a:lnTo>
                  <a:lnTo>
                    <a:pt x="1357" y="610"/>
                  </a:lnTo>
                  <a:lnTo>
                    <a:pt x="1357" y="610"/>
                  </a:lnTo>
                  <a:lnTo>
                    <a:pt x="1360" y="610"/>
                  </a:lnTo>
                  <a:lnTo>
                    <a:pt x="1360" y="610"/>
                  </a:lnTo>
                  <a:lnTo>
                    <a:pt x="1360" y="610"/>
                  </a:lnTo>
                  <a:lnTo>
                    <a:pt x="1362" y="610"/>
                  </a:lnTo>
                  <a:lnTo>
                    <a:pt x="1362" y="610"/>
                  </a:lnTo>
                  <a:lnTo>
                    <a:pt x="1362" y="610"/>
                  </a:lnTo>
                  <a:lnTo>
                    <a:pt x="1364" y="610"/>
                  </a:lnTo>
                  <a:lnTo>
                    <a:pt x="1364" y="610"/>
                  </a:lnTo>
                  <a:lnTo>
                    <a:pt x="1362" y="612"/>
                  </a:lnTo>
                  <a:lnTo>
                    <a:pt x="1362" y="612"/>
                  </a:lnTo>
                  <a:lnTo>
                    <a:pt x="1362" y="612"/>
                  </a:lnTo>
                  <a:lnTo>
                    <a:pt x="1362" y="612"/>
                  </a:lnTo>
                  <a:lnTo>
                    <a:pt x="1362" y="612"/>
                  </a:lnTo>
                  <a:lnTo>
                    <a:pt x="1362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2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2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6" y="614"/>
                  </a:lnTo>
                  <a:lnTo>
                    <a:pt x="1366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2"/>
                  </a:lnTo>
                  <a:lnTo>
                    <a:pt x="1364" y="612"/>
                  </a:lnTo>
                  <a:lnTo>
                    <a:pt x="1364" y="614"/>
                  </a:lnTo>
                  <a:lnTo>
                    <a:pt x="1362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4"/>
                  </a:lnTo>
                  <a:lnTo>
                    <a:pt x="1364" y="617"/>
                  </a:lnTo>
                  <a:lnTo>
                    <a:pt x="1364" y="617"/>
                  </a:lnTo>
                  <a:lnTo>
                    <a:pt x="1362" y="617"/>
                  </a:lnTo>
                  <a:lnTo>
                    <a:pt x="1362" y="617"/>
                  </a:lnTo>
                  <a:lnTo>
                    <a:pt x="1362" y="617"/>
                  </a:lnTo>
                  <a:lnTo>
                    <a:pt x="1362" y="617"/>
                  </a:lnTo>
                  <a:lnTo>
                    <a:pt x="1362" y="617"/>
                  </a:lnTo>
                  <a:lnTo>
                    <a:pt x="1362" y="617"/>
                  </a:lnTo>
                  <a:lnTo>
                    <a:pt x="1362" y="619"/>
                  </a:lnTo>
                  <a:lnTo>
                    <a:pt x="1360" y="619"/>
                  </a:lnTo>
                  <a:lnTo>
                    <a:pt x="1360" y="619"/>
                  </a:lnTo>
                  <a:lnTo>
                    <a:pt x="1360" y="619"/>
                  </a:lnTo>
                  <a:lnTo>
                    <a:pt x="1357" y="619"/>
                  </a:lnTo>
                  <a:lnTo>
                    <a:pt x="1357" y="619"/>
                  </a:lnTo>
                  <a:lnTo>
                    <a:pt x="1360" y="619"/>
                  </a:lnTo>
                  <a:lnTo>
                    <a:pt x="1360" y="619"/>
                  </a:lnTo>
                  <a:lnTo>
                    <a:pt x="1360" y="619"/>
                  </a:lnTo>
                  <a:lnTo>
                    <a:pt x="1357" y="619"/>
                  </a:lnTo>
                  <a:lnTo>
                    <a:pt x="1357" y="621"/>
                  </a:lnTo>
                  <a:lnTo>
                    <a:pt x="1357" y="621"/>
                  </a:lnTo>
                  <a:lnTo>
                    <a:pt x="1355" y="621"/>
                  </a:lnTo>
                  <a:lnTo>
                    <a:pt x="1355" y="621"/>
                  </a:lnTo>
                  <a:lnTo>
                    <a:pt x="1355" y="621"/>
                  </a:lnTo>
                  <a:lnTo>
                    <a:pt x="1355" y="621"/>
                  </a:lnTo>
                  <a:lnTo>
                    <a:pt x="1355" y="621"/>
                  </a:lnTo>
                  <a:lnTo>
                    <a:pt x="1353" y="621"/>
                  </a:lnTo>
                  <a:lnTo>
                    <a:pt x="1353" y="621"/>
                  </a:lnTo>
                  <a:lnTo>
                    <a:pt x="1353" y="623"/>
                  </a:lnTo>
                  <a:lnTo>
                    <a:pt x="1353" y="623"/>
                  </a:lnTo>
                  <a:lnTo>
                    <a:pt x="1353" y="623"/>
                  </a:lnTo>
                  <a:lnTo>
                    <a:pt x="1351" y="623"/>
                  </a:lnTo>
                  <a:lnTo>
                    <a:pt x="1351" y="623"/>
                  </a:lnTo>
                  <a:lnTo>
                    <a:pt x="1351" y="623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8" y="623"/>
                  </a:lnTo>
                  <a:lnTo>
                    <a:pt x="1346" y="626"/>
                  </a:lnTo>
                  <a:lnTo>
                    <a:pt x="1346" y="626"/>
                  </a:lnTo>
                  <a:lnTo>
                    <a:pt x="1346" y="626"/>
                  </a:lnTo>
                  <a:lnTo>
                    <a:pt x="1344" y="626"/>
                  </a:lnTo>
                  <a:lnTo>
                    <a:pt x="1344" y="626"/>
                  </a:lnTo>
                  <a:lnTo>
                    <a:pt x="1342" y="626"/>
                  </a:lnTo>
                  <a:lnTo>
                    <a:pt x="1342" y="626"/>
                  </a:lnTo>
                  <a:lnTo>
                    <a:pt x="1342" y="626"/>
                  </a:lnTo>
                  <a:lnTo>
                    <a:pt x="1342" y="628"/>
                  </a:lnTo>
                  <a:lnTo>
                    <a:pt x="1342" y="628"/>
                  </a:lnTo>
                  <a:lnTo>
                    <a:pt x="1342" y="628"/>
                  </a:lnTo>
                  <a:lnTo>
                    <a:pt x="1342" y="628"/>
                  </a:lnTo>
                  <a:lnTo>
                    <a:pt x="1342" y="628"/>
                  </a:lnTo>
                  <a:lnTo>
                    <a:pt x="1339" y="628"/>
                  </a:lnTo>
                  <a:lnTo>
                    <a:pt x="1339" y="628"/>
                  </a:lnTo>
                  <a:lnTo>
                    <a:pt x="1339" y="628"/>
                  </a:lnTo>
                  <a:lnTo>
                    <a:pt x="1339" y="628"/>
                  </a:lnTo>
                  <a:lnTo>
                    <a:pt x="1339" y="630"/>
                  </a:lnTo>
                  <a:lnTo>
                    <a:pt x="1339" y="630"/>
                  </a:lnTo>
                  <a:lnTo>
                    <a:pt x="1339" y="630"/>
                  </a:lnTo>
                  <a:lnTo>
                    <a:pt x="1339" y="630"/>
                  </a:lnTo>
                  <a:lnTo>
                    <a:pt x="1337" y="630"/>
                  </a:lnTo>
                  <a:lnTo>
                    <a:pt x="1337" y="630"/>
                  </a:lnTo>
                  <a:lnTo>
                    <a:pt x="1337" y="630"/>
                  </a:lnTo>
                  <a:lnTo>
                    <a:pt x="1337" y="630"/>
                  </a:lnTo>
                  <a:lnTo>
                    <a:pt x="1337" y="630"/>
                  </a:lnTo>
                  <a:lnTo>
                    <a:pt x="1337" y="630"/>
                  </a:lnTo>
                  <a:lnTo>
                    <a:pt x="1335" y="630"/>
                  </a:lnTo>
                  <a:lnTo>
                    <a:pt x="1335" y="632"/>
                  </a:lnTo>
                  <a:lnTo>
                    <a:pt x="1335" y="632"/>
                  </a:lnTo>
                  <a:lnTo>
                    <a:pt x="1335" y="632"/>
                  </a:lnTo>
                  <a:lnTo>
                    <a:pt x="1335" y="632"/>
                  </a:lnTo>
                  <a:lnTo>
                    <a:pt x="1335" y="632"/>
                  </a:lnTo>
                  <a:lnTo>
                    <a:pt x="1333" y="632"/>
                  </a:lnTo>
                  <a:lnTo>
                    <a:pt x="1333" y="632"/>
                  </a:lnTo>
                  <a:lnTo>
                    <a:pt x="1333" y="632"/>
                  </a:lnTo>
                  <a:lnTo>
                    <a:pt x="1333" y="632"/>
                  </a:lnTo>
                  <a:lnTo>
                    <a:pt x="1333" y="632"/>
                  </a:lnTo>
                  <a:lnTo>
                    <a:pt x="1333" y="632"/>
                  </a:lnTo>
                  <a:lnTo>
                    <a:pt x="1330" y="632"/>
                  </a:lnTo>
                  <a:lnTo>
                    <a:pt x="1330" y="630"/>
                  </a:lnTo>
                  <a:lnTo>
                    <a:pt x="1330" y="630"/>
                  </a:lnTo>
                  <a:lnTo>
                    <a:pt x="1330" y="630"/>
                  </a:lnTo>
                  <a:lnTo>
                    <a:pt x="1330" y="630"/>
                  </a:lnTo>
                  <a:lnTo>
                    <a:pt x="1330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8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6" y="630"/>
                  </a:lnTo>
                  <a:lnTo>
                    <a:pt x="1324" y="632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6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4" y="630"/>
                  </a:lnTo>
                  <a:lnTo>
                    <a:pt x="1321" y="630"/>
                  </a:lnTo>
                  <a:lnTo>
                    <a:pt x="1321" y="630"/>
                  </a:lnTo>
                  <a:lnTo>
                    <a:pt x="1321" y="630"/>
                  </a:lnTo>
                  <a:lnTo>
                    <a:pt x="1321" y="630"/>
                  </a:lnTo>
                  <a:lnTo>
                    <a:pt x="1321" y="632"/>
                  </a:lnTo>
                  <a:lnTo>
                    <a:pt x="1321" y="632"/>
                  </a:lnTo>
                  <a:lnTo>
                    <a:pt x="1321" y="632"/>
                  </a:lnTo>
                  <a:lnTo>
                    <a:pt x="1321" y="632"/>
                  </a:lnTo>
                  <a:lnTo>
                    <a:pt x="1321" y="632"/>
                  </a:lnTo>
                  <a:lnTo>
                    <a:pt x="1321" y="632"/>
                  </a:lnTo>
                  <a:lnTo>
                    <a:pt x="1321" y="630"/>
                  </a:lnTo>
                  <a:lnTo>
                    <a:pt x="1321" y="632"/>
                  </a:lnTo>
                  <a:lnTo>
                    <a:pt x="1319" y="632"/>
                  </a:lnTo>
                  <a:lnTo>
                    <a:pt x="1319" y="632"/>
                  </a:lnTo>
                  <a:lnTo>
                    <a:pt x="1317" y="632"/>
                  </a:lnTo>
                  <a:lnTo>
                    <a:pt x="1317" y="635"/>
                  </a:lnTo>
                  <a:lnTo>
                    <a:pt x="1317" y="635"/>
                  </a:lnTo>
                  <a:lnTo>
                    <a:pt x="1315" y="635"/>
                  </a:lnTo>
                  <a:lnTo>
                    <a:pt x="1315" y="635"/>
                  </a:lnTo>
                  <a:lnTo>
                    <a:pt x="1315" y="635"/>
                  </a:lnTo>
                  <a:lnTo>
                    <a:pt x="1315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0" y="635"/>
                  </a:lnTo>
                  <a:lnTo>
                    <a:pt x="1310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2" y="635"/>
                  </a:lnTo>
                  <a:lnTo>
                    <a:pt x="1310" y="632"/>
                  </a:lnTo>
                  <a:lnTo>
                    <a:pt x="1310" y="635"/>
                  </a:lnTo>
                  <a:lnTo>
                    <a:pt x="1310" y="635"/>
                  </a:lnTo>
                  <a:lnTo>
                    <a:pt x="1310" y="635"/>
                  </a:lnTo>
                  <a:lnTo>
                    <a:pt x="1310" y="635"/>
                  </a:lnTo>
                  <a:lnTo>
                    <a:pt x="1308" y="635"/>
                  </a:lnTo>
                  <a:lnTo>
                    <a:pt x="1308" y="635"/>
                  </a:lnTo>
                  <a:lnTo>
                    <a:pt x="1306" y="635"/>
                  </a:lnTo>
                  <a:lnTo>
                    <a:pt x="1306" y="635"/>
                  </a:lnTo>
                  <a:lnTo>
                    <a:pt x="1306" y="635"/>
                  </a:lnTo>
                  <a:lnTo>
                    <a:pt x="1306" y="635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5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7"/>
                  </a:lnTo>
                  <a:lnTo>
                    <a:pt x="1303" y="639"/>
                  </a:lnTo>
                  <a:lnTo>
                    <a:pt x="1301" y="639"/>
                  </a:lnTo>
                  <a:lnTo>
                    <a:pt x="1301" y="639"/>
                  </a:lnTo>
                  <a:lnTo>
                    <a:pt x="1301" y="639"/>
                  </a:lnTo>
                  <a:lnTo>
                    <a:pt x="1301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9" y="641"/>
                  </a:lnTo>
                  <a:lnTo>
                    <a:pt x="1299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9" y="639"/>
                  </a:lnTo>
                  <a:lnTo>
                    <a:pt x="1299" y="639"/>
                  </a:lnTo>
                  <a:lnTo>
                    <a:pt x="1297" y="639"/>
                  </a:lnTo>
                  <a:lnTo>
                    <a:pt x="1297" y="639"/>
                  </a:lnTo>
                  <a:lnTo>
                    <a:pt x="1297" y="639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4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1"/>
                  </a:lnTo>
                  <a:lnTo>
                    <a:pt x="1297" y="644"/>
                  </a:lnTo>
                  <a:lnTo>
                    <a:pt x="1297" y="644"/>
                  </a:lnTo>
                  <a:lnTo>
                    <a:pt x="1297" y="644"/>
                  </a:lnTo>
                  <a:lnTo>
                    <a:pt x="1294" y="644"/>
                  </a:lnTo>
                  <a:lnTo>
                    <a:pt x="1294" y="644"/>
                  </a:lnTo>
                  <a:lnTo>
                    <a:pt x="1294" y="644"/>
                  </a:lnTo>
                  <a:lnTo>
                    <a:pt x="1297" y="644"/>
                  </a:lnTo>
                  <a:lnTo>
                    <a:pt x="1297" y="644"/>
                  </a:lnTo>
                  <a:lnTo>
                    <a:pt x="1294" y="644"/>
                  </a:lnTo>
                  <a:lnTo>
                    <a:pt x="1294" y="644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4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2" y="644"/>
                  </a:lnTo>
                  <a:lnTo>
                    <a:pt x="1292" y="644"/>
                  </a:lnTo>
                  <a:lnTo>
                    <a:pt x="1294" y="644"/>
                  </a:lnTo>
                  <a:lnTo>
                    <a:pt x="1294" y="644"/>
                  </a:lnTo>
                  <a:lnTo>
                    <a:pt x="1294" y="644"/>
                  </a:lnTo>
                  <a:lnTo>
                    <a:pt x="1292" y="644"/>
                  </a:lnTo>
                  <a:lnTo>
                    <a:pt x="1292" y="644"/>
                  </a:lnTo>
                  <a:lnTo>
                    <a:pt x="1292" y="646"/>
                  </a:lnTo>
                  <a:lnTo>
                    <a:pt x="1292" y="646"/>
                  </a:lnTo>
                  <a:lnTo>
                    <a:pt x="1290" y="646"/>
                  </a:lnTo>
                  <a:lnTo>
                    <a:pt x="1290" y="646"/>
                  </a:lnTo>
                  <a:lnTo>
                    <a:pt x="1290" y="648"/>
                  </a:lnTo>
                  <a:lnTo>
                    <a:pt x="1290" y="648"/>
                  </a:lnTo>
                  <a:lnTo>
                    <a:pt x="1290" y="646"/>
                  </a:lnTo>
                  <a:lnTo>
                    <a:pt x="1290" y="646"/>
                  </a:lnTo>
                  <a:lnTo>
                    <a:pt x="1288" y="646"/>
                  </a:lnTo>
                  <a:lnTo>
                    <a:pt x="1288" y="646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8" y="648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5" y="648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5" y="650"/>
                  </a:lnTo>
                  <a:lnTo>
                    <a:pt x="1283" y="650"/>
                  </a:lnTo>
                  <a:lnTo>
                    <a:pt x="1283" y="650"/>
                  </a:lnTo>
                  <a:lnTo>
                    <a:pt x="1283" y="650"/>
                  </a:lnTo>
                  <a:lnTo>
                    <a:pt x="1283" y="650"/>
                  </a:lnTo>
                  <a:lnTo>
                    <a:pt x="1283" y="650"/>
                  </a:lnTo>
                  <a:lnTo>
                    <a:pt x="1283" y="650"/>
                  </a:lnTo>
                  <a:lnTo>
                    <a:pt x="1283" y="650"/>
                  </a:lnTo>
                  <a:lnTo>
                    <a:pt x="1283" y="653"/>
                  </a:lnTo>
                  <a:lnTo>
                    <a:pt x="1283" y="653"/>
                  </a:lnTo>
                  <a:lnTo>
                    <a:pt x="1281" y="653"/>
                  </a:lnTo>
                  <a:lnTo>
                    <a:pt x="1281" y="653"/>
                  </a:lnTo>
                  <a:lnTo>
                    <a:pt x="1281" y="653"/>
                  </a:lnTo>
                  <a:lnTo>
                    <a:pt x="1281" y="653"/>
                  </a:lnTo>
                  <a:lnTo>
                    <a:pt x="1281" y="653"/>
                  </a:lnTo>
                  <a:lnTo>
                    <a:pt x="1281" y="653"/>
                  </a:lnTo>
                  <a:lnTo>
                    <a:pt x="1279" y="653"/>
                  </a:lnTo>
                  <a:lnTo>
                    <a:pt x="1279" y="653"/>
                  </a:lnTo>
                  <a:lnTo>
                    <a:pt x="1279" y="653"/>
                  </a:lnTo>
                  <a:lnTo>
                    <a:pt x="1279" y="653"/>
                  </a:lnTo>
                  <a:lnTo>
                    <a:pt x="1279" y="655"/>
                  </a:lnTo>
                  <a:lnTo>
                    <a:pt x="1277" y="655"/>
                  </a:lnTo>
                  <a:lnTo>
                    <a:pt x="1277" y="655"/>
                  </a:lnTo>
                  <a:lnTo>
                    <a:pt x="1277" y="655"/>
                  </a:lnTo>
                  <a:lnTo>
                    <a:pt x="1277" y="655"/>
                  </a:lnTo>
                  <a:lnTo>
                    <a:pt x="1277" y="655"/>
                  </a:lnTo>
                  <a:lnTo>
                    <a:pt x="1274" y="655"/>
                  </a:lnTo>
                  <a:lnTo>
                    <a:pt x="1274" y="655"/>
                  </a:lnTo>
                  <a:lnTo>
                    <a:pt x="1274" y="655"/>
                  </a:lnTo>
                  <a:lnTo>
                    <a:pt x="1274" y="655"/>
                  </a:lnTo>
                  <a:lnTo>
                    <a:pt x="1274" y="655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7" y="655"/>
                  </a:lnTo>
                  <a:lnTo>
                    <a:pt x="1277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4" y="657"/>
                  </a:lnTo>
                  <a:lnTo>
                    <a:pt x="1272" y="657"/>
                  </a:lnTo>
                  <a:lnTo>
                    <a:pt x="1272" y="657"/>
                  </a:lnTo>
                  <a:lnTo>
                    <a:pt x="1272" y="657"/>
                  </a:lnTo>
                  <a:lnTo>
                    <a:pt x="1272" y="657"/>
                  </a:lnTo>
                  <a:lnTo>
                    <a:pt x="1272" y="657"/>
                  </a:lnTo>
                  <a:lnTo>
                    <a:pt x="1272" y="657"/>
                  </a:lnTo>
                  <a:lnTo>
                    <a:pt x="1272" y="659"/>
                  </a:lnTo>
                  <a:lnTo>
                    <a:pt x="1272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70" y="659"/>
                  </a:lnTo>
                  <a:lnTo>
                    <a:pt x="1268" y="659"/>
                  </a:lnTo>
                  <a:lnTo>
                    <a:pt x="1268" y="659"/>
                  </a:lnTo>
                  <a:lnTo>
                    <a:pt x="1270" y="659"/>
                  </a:lnTo>
                  <a:lnTo>
                    <a:pt x="1270" y="657"/>
                  </a:lnTo>
                  <a:lnTo>
                    <a:pt x="1270" y="657"/>
                  </a:lnTo>
                  <a:lnTo>
                    <a:pt x="1270" y="657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8" y="659"/>
                  </a:lnTo>
                  <a:lnTo>
                    <a:pt x="1268" y="659"/>
                  </a:lnTo>
                  <a:lnTo>
                    <a:pt x="1268" y="659"/>
                  </a:lnTo>
                  <a:lnTo>
                    <a:pt x="1268" y="659"/>
                  </a:lnTo>
                  <a:lnTo>
                    <a:pt x="1268" y="659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8" y="657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5" y="659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3" y="657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3" y="659"/>
                  </a:lnTo>
                  <a:lnTo>
                    <a:pt x="1261" y="659"/>
                  </a:lnTo>
                  <a:lnTo>
                    <a:pt x="1261" y="659"/>
                  </a:lnTo>
                  <a:lnTo>
                    <a:pt x="1261" y="659"/>
                  </a:lnTo>
                  <a:lnTo>
                    <a:pt x="1261" y="659"/>
                  </a:lnTo>
                  <a:lnTo>
                    <a:pt x="1261" y="659"/>
                  </a:lnTo>
                  <a:lnTo>
                    <a:pt x="1261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9" y="659"/>
                  </a:lnTo>
                  <a:lnTo>
                    <a:pt x="1256" y="659"/>
                  </a:lnTo>
                  <a:lnTo>
                    <a:pt x="1256" y="659"/>
                  </a:lnTo>
                  <a:lnTo>
                    <a:pt x="1256" y="659"/>
                  </a:lnTo>
                  <a:lnTo>
                    <a:pt x="1256" y="659"/>
                  </a:lnTo>
                  <a:lnTo>
                    <a:pt x="1256" y="659"/>
                  </a:lnTo>
                  <a:lnTo>
                    <a:pt x="1256" y="659"/>
                  </a:lnTo>
                  <a:lnTo>
                    <a:pt x="1256" y="659"/>
                  </a:lnTo>
                  <a:lnTo>
                    <a:pt x="1256" y="657"/>
                  </a:lnTo>
                  <a:lnTo>
                    <a:pt x="1259" y="657"/>
                  </a:lnTo>
                  <a:lnTo>
                    <a:pt x="1256" y="657"/>
                  </a:lnTo>
                  <a:lnTo>
                    <a:pt x="1256" y="657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4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2" y="659"/>
                  </a:lnTo>
                  <a:lnTo>
                    <a:pt x="1250" y="659"/>
                  </a:lnTo>
                  <a:lnTo>
                    <a:pt x="1250" y="659"/>
                  </a:lnTo>
                  <a:lnTo>
                    <a:pt x="1250" y="659"/>
                  </a:lnTo>
                  <a:lnTo>
                    <a:pt x="1250" y="659"/>
                  </a:lnTo>
                  <a:lnTo>
                    <a:pt x="1250" y="659"/>
                  </a:lnTo>
                  <a:lnTo>
                    <a:pt x="1250" y="659"/>
                  </a:lnTo>
                  <a:lnTo>
                    <a:pt x="1247" y="659"/>
                  </a:lnTo>
                  <a:lnTo>
                    <a:pt x="1245" y="659"/>
                  </a:lnTo>
                  <a:lnTo>
                    <a:pt x="1243" y="659"/>
                  </a:lnTo>
                  <a:lnTo>
                    <a:pt x="1243" y="662"/>
                  </a:lnTo>
                  <a:lnTo>
                    <a:pt x="1241" y="662"/>
                  </a:lnTo>
                  <a:lnTo>
                    <a:pt x="1241" y="662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41" y="662"/>
                  </a:lnTo>
                  <a:lnTo>
                    <a:pt x="1241" y="659"/>
                  </a:lnTo>
                  <a:lnTo>
                    <a:pt x="1243" y="659"/>
                  </a:lnTo>
                  <a:lnTo>
                    <a:pt x="1243" y="659"/>
                  </a:lnTo>
                  <a:lnTo>
                    <a:pt x="1243" y="659"/>
                  </a:lnTo>
                  <a:lnTo>
                    <a:pt x="1243" y="659"/>
                  </a:lnTo>
                  <a:lnTo>
                    <a:pt x="1243" y="659"/>
                  </a:lnTo>
                  <a:lnTo>
                    <a:pt x="1241" y="659"/>
                  </a:lnTo>
                  <a:lnTo>
                    <a:pt x="1241" y="659"/>
                  </a:lnTo>
                  <a:lnTo>
                    <a:pt x="1241" y="659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38" y="662"/>
                  </a:lnTo>
                  <a:lnTo>
                    <a:pt x="1238" y="659"/>
                  </a:lnTo>
                  <a:lnTo>
                    <a:pt x="1238" y="659"/>
                  </a:lnTo>
                  <a:lnTo>
                    <a:pt x="1238" y="659"/>
                  </a:lnTo>
                  <a:lnTo>
                    <a:pt x="1238" y="659"/>
                  </a:lnTo>
                  <a:lnTo>
                    <a:pt x="1238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6" y="659"/>
                  </a:lnTo>
                  <a:lnTo>
                    <a:pt x="1234" y="659"/>
                  </a:lnTo>
                  <a:lnTo>
                    <a:pt x="1232" y="659"/>
                  </a:lnTo>
                  <a:lnTo>
                    <a:pt x="1232" y="659"/>
                  </a:lnTo>
                  <a:lnTo>
                    <a:pt x="1232" y="659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9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7" y="657"/>
                  </a:lnTo>
                  <a:lnTo>
                    <a:pt x="1225" y="657"/>
                  </a:lnTo>
                  <a:lnTo>
                    <a:pt x="1223" y="657"/>
                  </a:lnTo>
                  <a:lnTo>
                    <a:pt x="1223" y="657"/>
                  </a:lnTo>
                  <a:lnTo>
                    <a:pt x="1223" y="657"/>
                  </a:lnTo>
                  <a:lnTo>
                    <a:pt x="1223" y="657"/>
                  </a:lnTo>
                  <a:lnTo>
                    <a:pt x="1223" y="657"/>
                  </a:lnTo>
                  <a:lnTo>
                    <a:pt x="1220" y="657"/>
                  </a:lnTo>
                  <a:lnTo>
                    <a:pt x="1220" y="657"/>
                  </a:lnTo>
                  <a:lnTo>
                    <a:pt x="1220" y="657"/>
                  </a:lnTo>
                  <a:lnTo>
                    <a:pt x="1220" y="657"/>
                  </a:lnTo>
                  <a:lnTo>
                    <a:pt x="1220" y="657"/>
                  </a:lnTo>
                  <a:lnTo>
                    <a:pt x="1220" y="657"/>
                  </a:lnTo>
                  <a:lnTo>
                    <a:pt x="1218" y="657"/>
                  </a:lnTo>
                  <a:lnTo>
                    <a:pt x="1218" y="657"/>
                  </a:lnTo>
                  <a:lnTo>
                    <a:pt x="1218" y="657"/>
                  </a:lnTo>
                  <a:lnTo>
                    <a:pt x="1218" y="657"/>
                  </a:lnTo>
                  <a:lnTo>
                    <a:pt x="1218" y="657"/>
                  </a:lnTo>
                  <a:lnTo>
                    <a:pt x="1218" y="657"/>
                  </a:lnTo>
                  <a:lnTo>
                    <a:pt x="1218" y="657"/>
                  </a:lnTo>
                  <a:lnTo>
                    <a:pt x="1216" y="657"/>
                  </a:lnTo>
                  <a:lnTo>
                    <a:pt x="1216" y="657"/>
                  </a:lnTo>
                  <a:lnTo>
                    <a:pt x="1216" y="657"/>
                  </a:lnTo>
                  <a:lnTo>
                    <a:pt x="1216" y="657"/>
                  </a:lnTo>
                  <a:lnTo>
                    <a:pt x="1216" y="657"/>
                  </a:lnTo>
                  <a:lnTo>
                    <a:pt x="1214" y="657"/>
                  </a:lnTo>
                  <a:lnTo>
                    <a:pt x="1214" y="657"/>
                  </a:lnTo>
                  <a:lnTo>
                    <a:pt x="1214" y="657"/>
                  </a:lnTo>
                  <a:lnTo>
                    <a:pt x="1214" y="657"/>
                  </a:lnTo>
                  <a:lnTo>
                    <a:pt x="1214" y="657"/>
                  </a:lnTo>
                  <a:lnTo>
                    <a:pt x="1214" y="659"/>
                  </a:lnTo>
                  <a:lnTo>
                    <a:pt x="1214" y="659"/>
                  </a:lnTo>
                  <a:lnTo>
                    <a:pt x="1211" y="659"/>
                  </a:lnTo>
                  <a:lnTo>
                    <a:pt x="1211" y="659"/>
                  </a:lnTo>
                  <a:lnTo>
                    <a:pt x="1211" y="659"/>
                  </a:lnTo>
                  <a:lnTo>
                    <a:pt x="1209" y="659"/>
                  </a:lnTo>
                  <a:lnTo>
                    <a:pt x="1209" y="659"/>
                  </a:lnTo>
                  <a:lnTo>
                    <a:pt x="1209" y="659"/>
                  </a:lnTo>
                  <a:lnTo>
                    <a:pt x="1209" y="659"/>
                  </a:lnTo>
                  <a:lnTo>
                    <a:pt x="1209" y="659"/>
                  </a:lnTo>
                  <a:lnTo>
                    <a:pt x="1209" y="659"/>
                  </a:lnTo>
                  <a:lnTo>
                    <a:pt x="1209" y="659"/>
                  </a:lnTo>
                  <a:lnTo>
                    <a:pt x="1209" y="657"/>
                  </a:lnTo>
                  <a:lnTo>
                    <a:pt x="1209" y="657"/>
                  </a:lnTo>
                  <a:lnTo>
                    <a:pt x="1207" y="657"/>
                  </a:lnTo>
                  <a:lnTo>
                    <a:pt x="1207" y="657"/>
                  </a:lnTo>
                  <a:lnTo>
                    <a:pt x="1207" y="659"/>
                  </a:lnTo>
                  <a:lnTo>
                    <a:pt x="1207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5" y="657"/>
                  </a:lnTo>
                  <a:lnTo>
                    <a:pt x="1202" y="657"/>
                  </a:lnTo>
                  <a:lnTo>
                    <a:pt x="1202" y="657"/>
                  </a:lnTo>
                  <a:lnTo>
                    <a:pt x="1202" y="657"/>
                  </a:lnTo>
                  <a:lnTo>
                    <a:pt x="1202" y="657"/>
                  </a:lnTo>
                  <a:lnTo>
                    <a:pt x="1200" y="657"/>
                  </a:lnTo>
                  <a:lnTo>
                    <a:pt x="1198" y="657"/>
                  </a:lnTo>
                  <a:lnTo>
                    <a:pt x="1198" y="657"/>
                  </a:lnTo>
                  <a:lnTo>
                    <a:pt x="1198" y="657"/>
                  </a:lnTo>
                  <a:lnTo>
                    <a:pt x="1196" y="657"/>
                  </a:lnTo>
                  <a:lnTo>
                    <a:pt x="1196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3" y="657"/>
                  </a:lnTo>
                  <a:lnTo>
                    <a:pt x="1191" y="657"/>
                  </a:lnTo>
                  <a:lnTo>
                    <a:pt x="1191" y="657"/>
                  </a:lnTo>
                  <a:lnTo>
                    <a:pt x="1191" y="657"/>
                  </a:lnTo>
                  <a:lnTo>
                    <a:pt x="1191" y="657"/>
                  </a:lnTo>
                  <a:lnTo>
                    <a:pt x="1191" y="657"/>
                  </a:lnTo>
                  <a:lnTo>
                    <a:pt x="1189" y="657"/>
                  </a:lnTo>
                  <a:lnTo>
                    <a:pt x="1187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2" y="657"/>
                  </a:lnTo>
                  <a:lnTo>
                    <a:pt x="1180" y="657"/>
                  </a:lnTo>
                  <a:lnTo>
                    <a:pt x="1180" y="657"/>
                  </a:lnTo>
                  <a:lnTo>
                    <a:pt x="1178" y="657"/>
                  </a:lnTo>
                  <a:lnTo>
                    <a:pt x="1178" y="657"/>
                  </a:lnTo>
                  <a:lnTo>
                    <a:pt x="1178" y="657"/>
                  </a:lnTo>
                  <a:lnTo>
                    <a:pt x="1178" y="657"/>
                  </a:lnTo>
                  <a:lnTo>
                    <a:pt x="1175" y="657"/>
                  </a:lnTo>
                  <a:lnTo>
                    <a:pt x="1175" y="657"/>
                  </a:lnTo>
                  <a:lnTo>
                    <a:pt x="1175" y="657"/>
                  </a:lnTo>
                  <a:lnTo>
                    <a:pt x="1175" y="657"/>
                  </a:lnTo>
                  <a:lnTo>
                    <a:pt x="1173" y="657"/>
                  </a:lnTo>
                  <a:lnTo>
                    <a:pt x="1171" y="657"/>
                  </a:lnTo>
                  <a:lnTo>
                    <a:pt x="1169" y="657"/>
                  </a:lnTo>
                  <a:lnTo>
                    <a:pt x="1166" y="657"/>
                  </a:lnTo>
                  <a:lnTo>
                    <a:pt x="1166" y="657"/>
                  </a:lnTo>
                  <a:lnTo>
                    <a:pt x="1164" y="657"/>
                  </a:lnTo>
                  <a:lnTo>
                    <a:pt x="1164" y="657"/>
                  </a:lnTo>
                  <a:lnTo>
                    <a:pt x="1164" y="657"/>
                  </a:lnTo>
                  <a:lnTo>
                    <a:pt x="1164" y="657"/>
                  </a:lnTo>
                  <a:lnTo>
                    <a:pt x="1162" y="657"/>
                  </a:lnTo>
                  <a:lnTo>
                    <a:pt x="1162" y="659"/>
                  </a:lnTo>
                  <a:lnTo>
                    <a:pt x="1162" y="659"/>
                  </a:lnTo>
                  <a:lnTo>
                    <a:pt x="1162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60" y="659"/>
                  </a:lnTo>
                  <a:lnTo>
                    <a:pt x="1157" y="659"/>
                  </a:lnTo>
                  <a:lnTo>
                    <a:pt x="1157" y="659"/>
                  </a:lnTo>
                  <a:lnTo>
                    <a:pt x="1157" y="659"/>
                  </a:lnTo>
                  <a:lnTo>
                    <a:pt x="1157" y="659"/>
                  </a:lnTo>
                  <a:lnTo>
                    <a:pt x="1155" y="659"/>
                  </a:lnTo>
                  <a:lnTo>
                    <a:pt x="1155" y="659"/>
                  </a:lnTo>
                  <a:lnTo>
                    <a:pt x="1155" y="659"/>
                  </a:lnTo>
                  <a:lnTo>
                    <a:pt x="1155" y="659"/>
                  </a:lnTo>
                  <a:lnTo>
                    <a:pt x="1155" y="659"/>
                  </a:lnTo>
                  <a:lnTo>
                    <a:pt x="1155" y="659"/>
                  </a:lnTo>
                  <a:lnTo>
                    <a:pt x="1155" y="659"/>
                  </a:lnTo>
                  <a:lnTo>
                    <a:pt x="1155" y="657"/>
                  </a:lnTo>
                  <a:lnTo>
                    <a:pt x="1155" y="657"/>
                  </a:lnTo>
                  <a:lnTo>
                    <a:pt x="1155" y="657"/>
                  </a:lnTo>
                  <a:lnTo>
                    <a:pt x="1155" y="657"/>
                  </a:lnTo>
                  <a:lnTo>
                    <a:pt x="1153" y="657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59"/>
                  </a:lnTo>
                  <a:lnTo>
                    <a:pt x="1153" y="662"/>
                  </a:lnTo>
                  <a:lnTo>
                    <a:pt x="1153" y="662"/>
                  </a:lnTo>
                  <a:lnTo>
                    <a:pt x="1153" y="662"/>
                  </a:lnTo>
                  <a:lnTo>
                    <a:pt x="1153" y="662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59"/>
                  </a:lnTo>
                  <a:lnTo>
                    <a:pt x="1151" y="662"/>
                  </a:lnTo>
                  <a:lnTo>
                    <a:pt x="1151" y="662"/>
                  </a:lnTo>
                  <a:lnTo>
                    <a:pt x="1148" y="662"/>
                  </a:lnTo>
                  <a:lnTo>
                    <a:pt x="1148" y="662"/>
                  </a:lnTo>
                  <a:lnTo>
                    <a:pt x="1146" y="664"/>
                  </a:lnTo>
                  <a:lnTo>
                    <a:pt x="1146" y="664"/>
                  </a:lnTo>
                  <a:lnTo>
                    <a:pt x="1146" y="664"/>
                  </a:lnTo>
                  <a:lnTo>
                    <a:pt x="1144" y="664"/>
                  </a:lnTo>
                  <a:lnTo>
                    <a:pt x="1142" y="664"/>
                  </a:lnTo>
                  <a:lnTo>
                    <a:pt x="1142" y="664"/>
                  </a:lnTo>
                  <a:lnTo>
                    <a:pt x="1142" y="666"/>
                  </a:lnTo>
                  <a:lnTo>
                    <a:pt x="1142" y="666"/>
                  </a:lnTo>
                  <a:lnTo>
                    <a:pt x="1142" y="666"/>
                  </a:lnTo>
                  <a:lnTo>
                    <a:pt x="1142" y="666"/>
                  </a:lnTo>
                  <a:lnTo>
                    <a:pt x="1142" y="666"/>
                  </a:lnTo>
                  <a:lnTo>
                    <a:pt x="1142" y="666"/>
                  </a:lnTo>
                  <a:lnTo>
                    <a:pt x="1142" y="666"/>
                  </a:lnTo>
                  <a:lnTo>
                    <a:pt x="1139" y="668"/>
                  </a:lnTo>
                  <a:lnTo>
                    <a:pt x="1139" y="668"/>
                  </a:lnTo>
                  <a:lnTo>
                    <a:pt x="1139" y="668"/>
                  </a:lnTo>
                  <a:lnTo>
                    <a:pt x="1139" y="668"/>
                  </a:lnTo>
                  <a:lnTo>
                    <a:pt x="1139" y="668"/>
                  </a:lnTo>
                  <a:lnTo>
                    <a:pt x="1139" y="668"/>
                  </a:lnTo>
                  <a:lnTo>
                    <a:pt x="1139" y="668"/>
                  </a:lnTo>
                  <a:lnTo>
                    <a:pt x="1137" y="668"/>
                  </a:lnTo>
                  <a:lnTo>
                    <a:pt x="1137" y="668"/>
                  </a:lnTo>
                  <a:lnTo>
                    <a:pt x="1137" y="668"/>
                  </a:lnTo>
                  <a:lnTo>
                    <a:pt x="1137" y="668"/>
                  </a:lnTo>
                  <a:lnTo>
                    <a:pt x="1137" y="671"/>
                  </a:lnTo>
                  <a:lnTo>
                    <a:pt x="1137" y="671"/>
                  </a:lnTo>
                  <a:lnTo>
                    <a:pt x="1137" y="671"/>
                  </a:lnTo>
                  <a:lnTo>
                    <a:pt x="1137" y="671"/>
                  </a:lnTo>
                  <a:lnTo>
                    <a:pt x="1137" y="671"/>
                  </a:lnTo>
                  <a:lnTo>
                    <a:pt x="1137" y="671"/>
                  </a:lnTo>
                  <a:lnTo>
                    <a:pt x="1135" y="673"/>
                  </a:lnTo>
                  <a:lnTo>
                    <a:pt x="1135" y="673"/>
                  </a:lnTo>
                  <a:lnTo>
                    <a:pt x="1135" y="673"/>
                  </a:lnTo>
                  <a:lnTo>
                    <a:pt x="1135" y="673"/>
                  </a:lnTo>
                  <a:lnTo>
                    <a:pt x="1133" y="675"/>
                  </a:lnTo>
                  <a:lnTo>
                    <a:pt x="1133" y="675"/>
                  </a:lnTo>
                  <a:lnTo>
                    <a:pt x="1133" y="675"/>
                  </a:lnTo>
                  <a:lnTo>
                    <a:pt x="1133" y="675"/>
                  </a:lnTo>
                  <a:lnTo>
                    <a:pt x="1133" y="677"/>
                  </a:lnTo>
                  <a:lnTo>
                    <a:pt x="1133" y="677"/>
                  </a:lnTo>
                  <a:lnTo>
                    <a:pt x="1130" y="680"/>
                  </a:lnTo>
                  <a:lnTo>
                    <a:pt x="1128" y="680"/>
                  </a:lnTo>
                  <a:lnTo>
                    <a:pt x="1126" y="680"/>
                  </a:lnTo>
                  <a:lnTo>
                    <a:pt x="1126" y="680"/>
                  </a:lnTo>
                  <a:lnTo>
                    <a:pt x="1126" y="680"/>
                  </a:lnTo>
                  <a:lnTo>
                    <a:pt x="1124" y="680"/>
                  </a:lnTo>
                  <a:lnTo>
                    <a:pt x="1124" y="680"/>
                  </a:lnTo>
                  <a:lnTo>
                    <a:pt x="1124" y="680"/>
                  </a:lnTo>
                  <a:lnTo>
                    <a:pt x="1124" y="680"/>
                  </a:lnTo>
                  <a:lnTo>
                    <a:pt x="1121" y="680"/>
                  </a:lnTo>
                  <a:lnTo>
                    <a:pt x="1121" y="680"/>
                  </a:lnTo>
                  <a:lnTo>
                    <a:pt x="1121" y="680"/>
                  </a:lnTo>
                  <a:lnTo>
                    <a:pt x="1121" y="680"/>
                  </a:lnTo>
                  <a:lnTo>
                    <a:pt x="1121" y="680"/>
                  </a:lnTo>
                  <a:lnTo>
                    <a:pt x="1121" y="680"/>
                  </a:lnTo>
                  <a:lnTo>
                    <a:pt x="1119" y="680"/>
                  </a:lnTo>
                  <a:lnTo>
                    <a:pt x="1119" y="680"/>
                  </a:lnTo>
                  <a:lnTo>
                    <a:pt x="1119" y="680"/>
                  </a:lnTo>
                  <a:lnTo>
                    <a:pt x="1117" y="680"/>
                  </a:lnTo>
                  <a:lnTo>
                    <a:pt x="1117" y="680"/>
                  </a:lnTo>
                  <a:lnTo>
                    <a:pt x="1117" y="680"/>
                  </a:lnTo>
                  <a:lnTo>
                    <a:pt x="1117" y="680"/>
                  </a:lnTo>
                  <a:lnTo>
                    <a:pt x="1117" y="682"/>
                  </a:lnTo>
                  <a:lnTo>
                    <a:pt x="1117" y="682"/>
                  </a:lnTo>
                  <a:lnTo>
                    <a:pt x="1115" y="682"/>
                  </a:lnTo>
                  <a:lnTo>
                    <a:pt x="1115" y="682"/>
                  </a:lnTo>
                  <a:lnTo>
                    <a:pt x="1115" y="682"/>
                  </a:lnTo>
                  <a:lnTo>
                    <a:pt x="1115" y="682"/>
                  </a:lnTo>
                  <a:lnTo>
                    <a:pt x="1115" y="682"/>
                  </a:lnTo>
                  <a:lnTo>
                    <a:pt x="1113" y="682"/>
                  </a:lnTo>
                  <a:lnTo>
                    <a:pt x="1113" y="682"/>
                  </a:lnTo>
                  <a:lnTo>
                    <a:pt x="1113" y="682"/>
                  </a:lnTo>
                  <a:lnTo>
                    <a:pt x="1113" y="682"/>
                  </a:lnTo>
                  <a:lnTo>
                    <a:pt x="1113" y="682"/>
                  </a:lnTo>
                  <a:lnTo>
                    <a:pt x="1113" y="682"/>
                  </a:lnTo>
                  <a:lnTo>
                    <a:pt x="1113" y="682"/>
                  </a:lnTo>
                  <a:lnTo>
                    <a:pt x="1110" y="682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3" y="684"/>
                  </a:lnTo>
                  <a:lnTo>
                    <a:pt x="1110" y="684"/>
                  </a:lnTo>
                  <a:lnTo>
                    <a:pt x="1110" y="684"/>
                  </a:lnTo>
                  <a:lnTo>
                    <a:pt x="1108" y="686"/>
                  </a:lnTo>
                  <a:lnTo>
                    <a:pt x="1108" y="686"/>
                  </a:lnTo>
                  <a:lnTo>
                    <a:pt x="1108" y="686"/>
                  </a:lnTo>
                  <a:lnTo>
                    <a:pt x="1108" y="686"/>
                  </a:lnTo>
                  <a:lnTo>
                    <a:pt x="1108" y="684"/>
                  </a:lnTo>
                  <a:lnTo>
                    <a:pt x="1110" y="684"/>
                  </a:lnTo>
                  <a:lnTo>
                    <a:pt x="1110" y="684"/>
                  </a:lnTo>
                  <a:lnTo>
                    <a:pt x="1110" y="684"/>
                  </a:lnTo>
                  <a:lnTo>
                    <a:pt x="1110" y="682"/>
                  </a:lnTo>
                  <a:lnTo>
                    <a:pt x="1108" y="682"/>
                  </a:lnTo>
                  <a:lnTo>
                    <a:pt x="1108" y="682"/>
                  </a:lnTo>
                  <a:lnTo>
                    <a:pt x="1108" y="682"/>
                  </a:lnTo>
                  <a:lnTo>
                    <a:pt x="1108" y="684"/>
                  </a:lnTo>
                  <a:lnTo>
                    <a:pt x="1108" y="684"/>
                  </a:lnTo>
                  <a:lnTo>
                    <a:pt x="1108" y="684"/>
                  </a:lnTo>
                  <a:lnTo>
                    <a:pt x="1108" y="684"/>
                  </a:lnTo>
                  <a:lnTo>
                    <a:pt x="1108" y="684"/>
                  </a:lnTo>
                  <a:lnTo>
                    <a:pt x="1108" y="684"/>
                  </a:lnTo>
                  <a:lnTo>
                    <a:pt x="1106" y="686"/>
                  </a:lnTo>
                  <a:lnTo>
                    <a:pt x="1106" y="686"/>
                  </a:lnTo>
                  <a:lnTo>
                    <a:pt x="1106" y="686"/>
                  </a:lnTo>
                  <a:lnTo>
                    <a:pt x="1106" y="686"/>
                  </a:lnTo>
                  <a:lnTo>
                    <a:pt x="1104" y="686"/>
                  </a:lnTo>
                  <a:lnTo>
                    <a:pt x="1104" y="686"/>
                  </a:lnTo>
                  <a:lnTo>
                    <a:pt x="1104" y="686"/>
                  </a:lnTo>
                  <a:lnTo>
                    <a:pt x="1104" y="689"/>
                  </a:lnTo>
                  <a:lnTo>
                    <a:pt x="1101" y="689"/>
                  </a:lnTo>
                  <a:lnTo>
                    <a:pt x="1101" y="689"/>
                  </a:lnTo>
                  <a:lnTo>
                    <a:pt x="1104" y="689"/>
                  </a:lnTo>
                  <a:lnTo>
                    <a:pt x="1104" y="689"/>
                  </a:lnTo>
                  <a:lnTo>
                    <a:pt x="1101" y="689"/>
                  </a:lnTo>
                  <a:lnTo>
                    <a:pt x="1099" y="689"/>
                  </a:lnTo>
                  <a:lnTo>
                    <a:pt x="1099" y="689"/>
                  </a:lnTo>
                  <a:lnTo>
                    <a:pt x="1099" y="689"/>
                  </a:lnTo>
                  <a:lnTo>
                    <a:pt x="1099" y="691"/>
                  </a:lnTo>
                  <a:lnTo>
                    <a:pt x="1097" y="691"/>
                  </a:lnTo>
                  <a:lnTo>
                    <a:pt x="1097" y="691"/>
                  </a:lnTo>
                  <a:lnTo>
                    <a:pt x="1097" y="691"/>
                  </a:lnTo>
                  <a:lnTo>
                    <a:pt x="1097" y="691"/>
                  </a:lnTo>
                  <a:lnTo>
                    <a:pt x="1097" y="691"/>
                  </a:lnTo>
                  <a:lnTo>
                    <a:pt x="1097" y="691"/>
                  </a:lnTo>
                  <a:lnTo>
                    <a:pt x="1097" y="691"/>
                  </a:lnTo>
                  <a:lnTo>
                    <a:pt x="1095" y="693"/>
                  </a:lnTo>
                  <a:lnTo>
                    <a:pt x="1095" y="693"/>
                  </a:lnTo>
                  <a:lnTo>
                    <a:pt x="1095" y="693"/>
                  </a:lnTo>
                  <a:lnTo>
                    <a:pt x="1095" y="693"/>
                  </a:lnTo>
                  <a:lnTo>
                    <a:pt x="1095" y="693"/>
                  </a:lnTo>
                  <a:lnTo>
                    <a:pt x="1092" y="695"/>
                  </a:lnTo>
                  <a:lnTo>
                    <a:pt x="1090" y="695"/>
                  </a:lnTo>
                  <a:lnTo>
                    <a:pt x="1090" y="698"/>
                  </a:lnTo>
                  <a:lnTo>
                    <a:pt x="1090" y="698"/>
                  </a:lnTo>
                  <a:lnTo>
                    <a:pt x="1090" y="698"/>
                  </a:lnTo>
                  <a:lnTo>
                    <a:pt x="1090" y="698"/>
                  </a:lnTo>
                  <a:lnTo>
                    <a:pt x="1090" y="698"/>
                  </a:lnTo>
                  <a:lnTo>
                    <a:pt x="1088" y="698"/>
                  </a:lnTo>
                  <a:lnTo>
                    <a:pt x="1088" y="698"/>
                  </a:lnTo>
                  <a:lnTo>
                    <a:pt x="1088" y="700"/>
                  </a:lnTo>
                  <a:lnTo>
                    <a:pt x="1088" y="700"/>
                  </a:lnTo>
                  <a:lnTo>
                    <a:pt x="1086" y="700"/>
                  </a:lnTo>
                  <a:lnTo>
                    <a:pt x="1083" y="702"/>
                  </a:lnTo>
                  <a:lnTo>
                    <a:pt x="1083" y="702"/>
                  </a:lnTo>
                  <a:lnTo>
                    <a:pt x="1083" y="704"/>
                  </a:lnTo>
                  <a:lnTo>
                    <a:pt x="1083" y="704"/>
                  </a:lnTo>
                  <a:lnTo>
                    <a:pt x="1081" y="704"/>
                  </a:lnTo>
                  <a:lnTo>
                    <a:pt x="1081" y="704"/>
                  </a:lnTo>
                  <a:lnTo>
                    <a:pt x="1081" y="704"/>
                  </a:lnTo>
                  <a:lnTo>
                    <a:pt x="1081" y="704"/>
                  </a:lnTo>
                  <a:lnTo>
                    <a:pt x="1081" y="704"/>
                  </a:lnTo>
                  <a:lnTo>
                    <a:pt x="1081" y="704"/>
                  </a:lnTo>
                  <a:lnTo>
                    <a:pt x="1081" y="704"/>
                  </a:lnTo>
                  <a:lnTo>
                    <a:pt x="1079" y="704"/>
                  </a:lnTo>
                  <a:lnTo>
                    <a:pt x="1079" y="704"/>
                  </a:lnTo>
                  <a:lnTo>
                    <a:pt x="1079" y="704"/>
                  </a:lnTo>
                  <a:lnTo>
                    <a:pt x="1079" y="704"/>
                  </a:lnTo>
                  <a:lnTo>
                    <a:pt x="1079" y="707"/>
                  </a:lnTo>
                  <a:lnTo>
                    <a:pt x="1077" y="707"/>
                  </a:lnTo>
                  <a:lnTo>
                    <a:pt x="1077" y="707"/>
                  </a:lnTo>
                  <a:lnTo>
                    <a:pt x="1077" y="707"/>
                  </a:lnTo>
                  <a:lnTo>
                    <a:pt x="1077" y="707"/>
                  </a:lnTo>
                  <a:lnTo>
                    <a:pt x="1077" y="707"/>
                  </a:lnTo>
                  <a:lnTo>
                    <a:pt x="1074" y="707"/>
                  </a:lnTo>
                  <a:lnTo>
                    <a:pt x="1074" y="707"/>
                  </a:lnTo>
                  <a:lnTo>
                    <a:pt x="1074" y="707"/>
                  </a:lnTo>
                  <a:lnTo>
                    <a:pt x="1074" y="707"/>
                  </a:lnTo>
                  <a:lnTo>
                    <a:pt x="1074" y="704"/>
                  </a:lnTo>
                  <a:lnTo>
                    <a:pt x="1074" y="704"/>
                  </a:lnTo>
                  <a:lnTo>
                    <a:pt x="1074" y="704"/>
                  </a:lnTo>
                  <a:lnTo>
                    <a:pt x="1072" y="704"/>
                  </a:lnTo>
                  <a:lnTo>
                    <a:pt x="1072" y="704"/>
                  </a:lnTo>
                  <a:lnTo>
                    <a:pt x="1070" y="704"/>
                  </a:lnTo>
                  <a:lnTo>
                    <a:pt x="1070" y="704"/>
                  </a:lnTo>
                  <a:lnTo>
                    <a:pt x="1070" y="704"/>
                  </a:lnTo>
                  <a:lnTo>
                    <a:pt x="1070" y="702"/>
                  </a:lnTo>
                  <a:lnTo>
                    <a:pt x="1068" y="702"/>
                  </a:lnTo>
                  <a:lnTo>
                    <a:pt x="1068" y="702"/>
                  </a:lnTo>
                  <a:lnTo>
                    <a:pt x="1068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1" y="702"/>
                  </a:lnTo>
                  <a:lnTo>
                    <a:pt x="1061" y="702"/>
                  </a:lnTo>
                  <a:lnTo>
                    <a:pt x="1061" y="702"/>
                  </a:lnTo>
                  <a:lnTo>
                    <a:pt x="1061" y="702"/>
                  </a:lnTo>
                  <a:lnTo>
                    <a:pt x="1061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6" y="700"/>
                  </a:lnTo>
                  <a:lnTo>
                    <a:pt x="1056" y="700"/>
                  </a:lnTo>
                  <a:lnTo>
                    <a:pt x="1054" y="700"/>
                  </a:lnTo>
                  <a:lnTo>
                    <a:pt x="1054" y="700"/>
                  </a:lnTo>
                  <a:lnTo>
                    <a:pt x="1056" y="700"/>
                  </a:lnTo>
                  <a:lnTo>
                    <a:pt x="1056" y="700"/>
                  </a:lnTo>
                  <a:lnTo>
                    <a:pt x="1056" y="700"/>
                  </a:lnTo>
                  <a:lnTo>
                    <a:pt x="1059" y="700"/>
                  </a:lnTo>
                  <a:lnTo>
                    <a:pt x="1059" y="700"/>
                  </a:lnTo>
                  <a:lnTo>
                    <a:pt x="1059" y="702"/>
                  </a:lnTo>
                  <a:lnTo>
                    <a:pt x="1059" y="702"/>
                  </a:lnTo>
                  <a:lnTo>
                    <a:pt x="1059" y="702"/>
                  </a:lnTo>
                  <a:lnTo>
                    <a:pt x="1059" y="702"/>
                  </a:lnTo>
                  <a:lnTo>
                    <a:pt x="1056" y="702"/>
                  </a:lnTo>
                  <a:lnTo>
                    <a:pt x="1056" y="702"/>
                  </a:lnTo>
                  <a:lnTo>
                    <a:pt x="1056" y="702"/>
                  </a:lnTo>
                  <a:lnTo>
                    <a:pt x="1056" y="702"/>
                  </a:lnTo>
                  <a:lnTo>
                    <a:pt x="1056" y="702"/>
                  </a:lnTo>
                  <a:lnTo>
                    <a:pt x="1059" y="702"/>
                  </a:lnTo>
                  <a:lnTo>
                    <a:pt x="1059" y="702"/>
                  </a:lnTo>
                  <a:lnTo>
                    <a:pt x="1059" y="702"/>
                  </a:lnTo>
                  <a:lnTo>
                    <a:pt x="1063" y="702"/>
                  </a:lnTo>
                  <a:lnTo>
                    <a:pt x="1063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5" y="702"/>
                  </a:lnTo>
                  <a:lnTo>
                    <a:pt x="1068" y="702"/>
                  </a:lnTo>
                  <a:lnTo>
                    <a:pt x="1068" y="704"/>
                  </a:lnTo>
                  <a:lnTo>
                    <a:pt x="1068" y="704"/>
                  </a:lnTo>
                  <a:lnTo>
                    <a:pt x="1068" y="704"/>
                  </a:lnTo>
                  <a:lnTo>
                    <a:pt x="1068" y="704"/>
                  </a:lnTo>
                  <a:lnTo>
                    <a:pt x="1068" y="704"/>
                  </a:lnTo>
                  <a:lnTo>
                    <a:pt x="1070" y="704"/>
                  </a:lnTo>
                  <a:lnTo>
                    <a:pt x="1070" y="704"/>
                  </a:lnTo>
                  <a:lnTo>
                    <a:pt x="1072" y="704"/>
                  </a:lnTo>
                  <a:lnTo>
                    <a:pt x="1072" y="704"/>
                  </a:lnTo>
                  <a:lnTo>
                    <a:pt x="1072" y="704"/>
                  </a:lnTo>
                  <a:lnTo>
                    <a:pt x="1074" y="704"/>
                  </a:lnTo>
                  <a:lnTo>
                    <a:pt x="1074" y="707"/>
                  </a:lnTo>
                  <a:lnTo>
                    <a:pt x="1074" y="707"/>
                  </a:lnTo>
                  <a:lnTo>
                    <a:pt x="1074" y="707"/>
                  </a:lnTo>
                  <a:lnTo>
                    <a:pt x="1074" y="707"/>
                  </a:lnTo>
                  <a:lnTo>
                    <a:pt x="1077" y="707"/>
                  </a:lnTo>
                  <a:lnTo>
                    <a:pt x="1077" y="707"/>
                  </a:lnTo>
                  <a:lnTo>
                    <a:pt x="1077" y="709"/>
                  </a:lnTo>
                  <a:lnTo>
                    <a:pt x="1074" y="709"/>
                  </a:lnTo>
                  <a:lnTo>
                    <a:pt x="1074" y="709"/>
                  </a:lnTo>
                  <a:lnTo>
                    <a:pt x="1074" y="711"/>
                  </a:lnTo>
                  <a:lnTo>
                    <a:pt x="1074" y="711"/>
                  </a:lnTo>
                  <a:lnTo>
                    <a:pt x="1074" y="711"/>
                  </a:lnTo>
                  <a:lnTo>
                    <a:pt x="1074" y="711"/>
                  </a:lnTo>
                  <a:lnTo>
                    <a:pt x="1072" y="711"/>
                  </a:lnTo>
                  <a:lnTo>
                    <a:pt x="1072" y="711"/>
                  </a:lnTo>
                  <a:lnTo>
                    <a:pt x="1072" y="711"/>
                  </a:lnTo>
                  <a:lnTo>
                    <a:pt x="1072" y="711"/>
                  </a:lnTo>
                  <a:lnTo>
                    <a:pt x="1072" y="713"/>
                  </a:lnTo>
                  <a:lnTo>
                    <a:pt x="1072" y="713"/>
                  </a:lnTo>
                  <a:lnTo>
                    <a:pt x="1070" y="713"/>
                  </a:lnTo>
                  <a:lnTo>
                    <a:pt x="1070" y="713"/>
                  </a:lnTo>
                  <a:lnTo>
                    <a:pt x="1070" y="716"/>
                  </a:lnTo>
                  <a:lnTo>
                    <a:pt x="1070" y="716"/>
                  </a:lnTo>
                  <a:lnTo>
                    <a:pt x="1070" y="716"/>
                  </a:lnTo>
                  <a:lnTo>
                    <a:pt x="1068" y="716"/>
                  </a:lnTo>
                  <a:lnTo>
                    <a:pt x="1068" y="716"/>
                  </a:lnTo>
                  <a:lnTo>
                    <a:pt x="1068" y="718"/>
                  </a:lnTo>
                  <a:lnTo>
                    <a:pt x="1068" y="718"/>
                  </a:lnTo>
                  <a:lnTo>
                    <a:pt x="1065" y="718"/>
                  </a:lnTo>
                  <a:lnTo>
                    <a:pt x="1065" y="718"/>
                  </a:lnTo>
                  <a:lnTo>
                    <a:pt x="1065" y="718"/>
                  </a:lnTo>
                  <a:lnTo>
                    <a:pt x="1065" y="718"/>
                  </a:lnTo>
                  <a:lnTo>
                    <a:pt x="1065" y="718"/>
                  </a:lnTo>
                  <a:lnTo>
                    <a:pt x="1065" y="718"/>
                  </a:lnTo>
                  <a:lnTo>
                    <a:pt x="1065" y="718"/>
                  </a:lnTo>
                  <a:lnTo>
                    <a:pt x="1063" y="720"/>
                  </a:lnTo>
                  <a:lnTo>
                    <a:pt x="1063" y="720"/>
                  </a:lnTo>
                  <a:lnTo>
                    <a:pt x="1063" y="720"/>
                  </a:lnTo>
                  <a:lnTo>
                    <a:pt x="1063" y="720"/>
                  </a:lnTo>
                  <a:lnTo>
                    <a:pt x="1063" y="720"/>
                  </a:lnTo>
                  <a:lnTo>
                    <a:pt x="1063" y="720"/>
                  </a:lnTo>
                  <a:lnTo>
                    <a:pt x="1063" y="720"/>
                  </a:lnTo>
                  <a:lnTo>
                    <a:pt x="1063" y="722"/>
                  </a:lnTo>
                  <a:lnTo>
                    <a:pt x="1061" y="722"/>
                  </a:lnTo>
                  <a:lnTo>
                    <a:pt x="1061" y="722"/>
                  </a:lnTo>
                  <a:lnTo>
                    <a:pt x="1061" y="722"/>
                  </a:lnTo>
                  <a:lnTo>
                    <a:pt x="1061" y="722"/>
                  </a:lnTo>
                  <a:lnTo>
                    <a:pt x="1061" y="722"/>
                  </a:lnTo>
                  <a:lnTo>
                    <a:pt x="1059" y="722"/>
                  </a:lnTo>
                  <a:lnTo>
                    <a:pt x="1059" y="722"/>
                  </a:lnTo>
                  <a:lnTo>
                    <a:pt x="1059" y="722"/>
                  </a:lnTo>
                  <a:lnTo>
                    <a:pt x="1056" y="722"/>
                  </a:lnTo>
                  <a:lnTo>
                    <a:pt x="1056" y="725"/>
                  </a:lnTo>
                  <a:lnTo>
                    <a:pt x="1056" y="725"/>
                  </a:lnTo>
                  <a:lnTo>
                    <a:pt x="1056" y="722"/>
                  </a:lnTo>
                  <a:lnTo>
                    <a:pt x="1056" y="722"/>
                  </a:lnTo>
                  <a:lnTo>
                    <a:pt x="1056" y="725"/>
                  </a:lnTo>
                  <a:lnTo>
                    <a:pt x="1056" y="725"/>
                  </a:lnTo>
                  <a:lnTo>
                    <a:pt x="1054" y="725"/>
                  </a:lnTo>
                  <a:lnTo>
                    <a:pt x="1054" y="725"/>
                  </a:lnTo>
                  <a:lnTo>
                    <a:pt x="1054" y="727"/>
                  </a:lnTo>
                  <a:lnTo>
                    <a:pt x="1054" y="727"/>
                  </a:lnTo>
                  <a:lnTo>
                    <a:pt x="1052" y="727"/>
                  </a:lnTo>
                  <a:lnTo>
                    <a:pt x="1052" y="729"/>
                  </a:lnTo>
                  <a:lnTo>
                    <a:pt x="1052" y="729"/>
                  </a:lnTo>
                  <a:lnTo>
                    <a:pt x="1050" y="729"/>
                  </a:lnTo>
                  <a:lnTo>
                    <a:pt x="1050" y="731"/>
                  </a:lnTo>
                  <a:lnTo>
                    <a:pt x="1050" y="731"/>
                  </a:lnTo>
                  <a:lnTo>
                    <a:pt x="1047" y="731"/>
                  </a:lnTo>
                  <a:lnTo>
                    <a:pt x="1045" y="734"/>
                  </a:lnTo>
                  <a:lnTo>
                    <a:pt x="1045" y="734"/>
                  </a:lnTo>
                  <a:lnTo>
                    <a:pt x="1038" y="736"/>
                  </a:lnTo>
                  <a:lnTo>
                    <a:pt x="1038" y="738"/>
                  </a:lnTo>
                  <a:lnTo>
                    <a:pt x="1038" y="738"/>
                  </a:lnTo>
                  <a:lnTo>
                    <a:pt x="1038" y="738"/>
                  </a:lnTo>
                  <a:lnTo>
                    <a:pt x="1036" y="738"/>
                  </a:lnTo>
                  <a:lnTo>
                    <a:pt x="1036" y="738"/>
                  </a:lnTo>
                  <a:lnTo>
                    <a:pt x="1036" y="740"/>
                  </a:lnTo>
                  <a:lnTo>
                    <a:pt x="1036" y="740"/>
                  </a:lnTo>
                  <a:lnTo>
                    <a:pt x="1034" y="740"/>
                  </a:lnTo>
                  <a:lnTo>
                    <a:pt x="1034" y="740"/>
                  </a:lnTo>
                  <a:lnTo>
                    <a:pt x="1032" y="740"/>
                  </a:lnTo>
                  <a:lnTo>
                    <a:pt x="1032" y="740"/>
                  </a:lnTo>
                  <a:lnTo>
                    <a:pt x="1029" y="740"/>
                  </a:lnTo>
                  <a:lnTo>
                    <a:pt x="1029" y="740"/>
                  </a:lnTo>
                  <a:lnTo>
                    <a:pt x="1027" y="740"/>
                  </a:lnTo>
                  <a:lnTo>
                    <a:pt x="1027" y="740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5" y="740"/>
                  </a:lnTo>
                  <a:lnTo>
                    <a:pt x="1023" y="742"/>
                  </a:lnTo>
                  <a:lnTo>
                    <a:pt x="1020" y="742"/>
                  </a:lnTo>
                  <a:lnTo>
                    <a:pt x="1020" y="742"/>
                  </a:lnTo>
                  <a:lnTo>
                    <a:pt x="1018" y="742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6" y="745"/>
                  </a:lnTo>
                  <a:lnTo>
                    <a:pt x="1014" y="747"/>
                  </a:lnTo>
                  <a:lnTo>
                    <a:pt x="1014" y="747"/>
                  </a:lnTo>
                  <a:lnTo>
                    <a:pt x="1014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11" y="747"/>
                  </a:lnTo>
                  <a:lnTo>
                    <a:pt x="1007" y="749"/>
                  </a:lnTo>
                  <a:lnTo>
                    <a:pt x="1007" y="749"/>
                  </a:lnTo>
                  <a:lnTo>
                    <a:pt x="1007" y="749"/>
                  </a:lnTo>
                  <a:lnTo>
                    <a:pt x="1005" y="749"/>
                  </a:lnTo>
                  <a:lnTo>
                    <a:pt x="1005" y="749"/>
                  </a:lnTo>
                  <a:lnTo>
                    <a:pt x="1002" y="751"/>
                  </a:lnTo>
                  <a:lnTo>
                    <a:pt x="1000" y="751"/>
                  </a:lnTo>
                  <a:lnTo>
                    <a:pt x="1000" y="751"/>
                  </a:lnTo>
                  <a:lnTo>
                    <a:pt x="1000" y="751"/>
                  </a:lnTo>
                  <a:lnTo>
                    <a:pt x="998" y="754"/>
                  </a:lnTo>
                  <a:lnTo>
                    <a:pt x="998" y="754"/>
                  </a:lnTo>
                  <a:lnTo>
                    <a:pt x="996" y="754"/>
                  </a:lnTo>
                  <a:lnTo>
                    <a:pt x="996" y="754"/>
                  </a:lnTo>
                  <a:lnTo>
                    <a:pt x="996" y="756"/>
                  </a:lnTo>
                  <a:lnTo>
                    <a:pt x="993" y="756"/>
                  </a:lnTo>
                  <a:lnTo>
                    <a:pt x="993" y="756"/>
                  </a:lnTo>
                  <a:lnTo>
                    <a:pt x="993" y="756"/>
                  </a:lnTo>
                  <a:lnTo>
                    <a:pt x="993" y="758"/>
                  </a:lnTo>
                  <a:lnTo>
                    <a:pt x="991" y="758"/>
                  </a:lnTo>
                  <a:lnTo>
                    <a:pt x="991" y="760"/>
                  </a:lnTo>
                  <a:lnTo>
                    <a:pt x="989" y="760"/>
                  </a:lnTo>
                  <a:lnTo>
                    <a:pt x="989" y="760"/>
                  </a:lnTo>
                  <a:lnTo>
                    <a:pt x="989" y="760"/>
                  </a:lnTo>
                  <a:lnTo>
                    <a:pt x="987" y="763"/>
                  </a:lnTo>
                  <a:lnTo>
                    <a:pt x="987" y="763"/>
                  </a:lnTo>
                  <a:lnTo>
                    <a:pt x="982" y="763"/>
                  </a:lnTo>
                  <a:lnTo>
                    <a:pt x="980" y="765"/>
                  </a:lnTo>
                  <a:lnTo>
                    <a:pt x="978" y="767"/>
                  </a:lnTo>
                  <a:lnTo>
                    <a:pt x="978" y="767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5" y="767"/>
                  </a:lnTo>
                  <a:lnTo>
                    <a:pt x="975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9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71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7"/>
                  </a:lnTo>
                  <a:lnTo>
                    <a:pt x="969" y="769"/>
                  </a:lnTo>
                  <a:lnTo>
                    <a:pt x="969" y="769"/>
                  </a:lnTo>
                  <a:lnTo>
                    <a:pt x="971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69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3" y="772"/>
                  </a:lnTo>
                  <a:lnTo>
                    <a:pt x="971" y="772"/>
                  </a:lnTo>
                  <a:lnTo>
                    <a:pt x="971" y="772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9" y="774"/>
                  </a:lnTo>
                  <a:lnTo>
                    <a:pt x="966" y="774"/>
                  </a:lnTo>
                  <a:lnTo>
                    <a:pt x="966" y="774"/>
                  </a:lnTo>
                  <a:lnTo>
                    <a:pt x="966" y="774"/>
                  </a:lnTo>
                  <a:lnTo>
                    <a:pt x="966" y="774"/>
                  </a:lnTo>
                  <a:lnTo>
                    <a:pt x="966" y="774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4" y="776"/>
                  </a:lnTo>
                  <a:lnTo>
                    <a:pt x="962" y="776"/>
                  </a:lnTo>
                  <a:lnTo>
                    <a:pt x="962" y="776"/>
                  </a:lnTo>
                  <a:lnTo>
                    <a:pt x="962" y="776"/>
                  </a:lnTo>
                  <a:lnTo>
                    <a:pt x="962" y="778"/>
                  </a:lnTo>
                  <a:lnTo>
                    <a:pt x="962" y="778"/>
                  </a:lnTo>
                  <a:lnTo>
                    <a:pt x="960" y="778"/>
                  </a:lnTo>
                  <a:lnTo>
                    <a:pt x="957" y="778"/>
                  </a:lnTo>
                  <a:lnTo>
                    <a:pt x="957" y="781"/>
                  </a:lnTo>
                  <a:lnTo>
                    <a:pt x="955" y="781"/>
                  </a:lnTo>
                  <a:lnTo>
                    <a:pt x="953" y="781"/>
                  </a:lnTo>
                  <a:lnTo>
                    <a:pt x="953" y="781"/>
                  </a:lnTo>
                  <a:lnTo>
                    <a:pt x="953" y="781"/>
                  </a:lnTo>
                  <a:lnTo>
                    <a:pt x="953" y="781"/>
                  </a:lnTo>
                  <a:lnTo>
                    <a:pt x="951" y="781"/>
                  </a:lnTo>
                  <a:lnTo>
                    <a:pt x="951" y="781"/>
                  </a:lnTo>
                  <a:lnTo>
                    <a:pt x="951" y="781"/>
                  </a:lnTo>
                  <a:lnTo>
                    <a:pt x="949" y="781"/>
                  </a:lnTo>
                  <a:lnTo>
                    <a:pt x="949" y="783"/>
                  </a:lnTo>
                  <a:lnTo>
                    <a:pt x="944" y="783"/>
                  </a:lnTo>
                  <a:lnTo>
                    <a:pt x="944" y="785"/>
                  </a:lnTo>
                  <a:lnTo>
                    <a:pt x="940" y="785"/>
                  </a:lnTo>
                  <a:lnTo>
                    <a:pt x="937" y="787"/>
                  </a:lnTo>
                  <a:lnTo>
                    <a:pt x="935" y="790"/>
                  </a:lnTo>
                  <a:lnTo>
                    <a:pt x="933" y="792"/>
                  </a:lnTo>
                  <a:lnTo>
                    <a:pt x="933" y="792"/>
                  </a:lnTo>
                  <a:lnTo>
                    <a:pt x="931" y="792"/>
                  </a:lnTo>
                  <a:lnTo>
                    <a:pt x="931" y="794"/>
                  </a:lnTo>
                  <a:lnTo>
                    <a:pt x="931" y="794"/>
                  </a:lnTo>
                  <a:lnTo>
                    <a:pt x="931" y="794"/>
                  </a:lnTo>
                  <a:lnTo>
                    <a:pt x="928" y="794"/>
                  </a:lnTo>
                  <a:lnTo>
                    <a:pt x="926" y="796"/>
                  </a:lnTo>
                  <a:lnTo>
                    <a:pt x="924" y="796"/>
                  </a:lnTo>
                  <a:lnTo>
                    <a:pt x="924" y="796"/>
                  </a:lnTo>
                  <a:lnTo>
                    <a:pt x="924" y="796"/>
                  </a:lnTo>
                  <a:lnTo>
                    <a:pt x="924" y="799"/>
                  </a:lnTo>
                  <a:lnTo>
                    <a:pt x="924" y="799"/>
                  </a:lnTo>
                  <a:lnTo>
                    <a:pt x="922" y="799"/>
                  </a:lnTo>
                  <a:lnTo>
                    <a:pt x="922" y="799"/>
                  </a:lnTo>
                  <a:lnTo>
                    <a:pt x="919" y="799"/>
                  </a:lnTo>
                  <a:lnTo>
                    <a:pt x="919" y="799"/>
                  </a:lnTo>
                  <a:lnTo>
                    <a:pt x="919" y="799"/>
                  </a:lnTo>
                  <a:lnTo>
                    <a:pt x="919" y="799"/>
                  </a:lnTo>
                  <a:lnTo>
                    <a:pt x="919" y="801"/>
                  </a:lnTo>
                  <a:lnTo>
                    <a:pt x="919" y="801"/>
                  </a:lnTo>
                  <a:lnTo>
                    <a:pt x="917" y="801"/>
                  </a:lnTo>
                  <a:lnTo>
                    <a:pt x="917" y="801"/>
                  </a:lnTo>
                  <a:lnTo>
                    <a:pt x="915" y="803"/>
                  </a:lnTo>
                  <a:lnTo>
                    <a:pt x="913" y="803"/>
                  </a:lnTo>
                  <a:lnTo>
                    <a:pt x="913" y="805"/>
                  </a:lnTo>
                  <a:lnTo>
                    <a:pt x="910" y="808"/>
                  </a:lnTo>
                  <a:lnTo>
                    <a:pt x="910" y="808"/>
                  </a:lnTo>
                  <a:lnTo>
                    <a:pt x="908" y="810"/>
                  </a:lnTo>
                  <a:lnTo>
                    <a:pt x="908" y="810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6" y="812"/>
                  </a:lnTo>
                  <a:lnTo>
                    <a:pt x="904" y="812"/>
                  </a:lnTo>
                  <a:lnTo>
                    <a:pt x="901" y="812"/>
                  </a:lnTo>
                  <a:lnTo>
                    <a:pt x="897" y="812"/>
                  </a:lnTo>
                  <a:lnTo>
                    <a:pt x="892" y="812"/>
                  </a:lnTo>
                  <a:lnTo>
                    <a:pt x="888" y="812"/>
                  </a:lnTo>
                  <a:lnTo>
                    <a:pt x="883" y="812"/>
                  </a:lnTo>
                  <a:lnTo>
                    <a:pt x="879" y="812"/>
                  </a:lnTo>
                  <a:lnTo>
                    <a:pt x="874" y="812"/>
                  </a:lnTo>
                  <a:lnTo>
                    <a:pt x="870" y="812"/>
                  </a:lnTo>
                  <a:lnTo>
                    <a:pt x="868" y="812"/>
                  </a:lnTo>
                  <a:lnTo>
                    <a:pt x="863" y="814"/>
                  </a:lnTo>
                  <a:lnTo>
                    <a:pt x="861" y="814"/>
                  </a:lnTo>
                  <a:lnTo>
                    <a:pt x="859" y="817"/>
                  </a:lnTo>
                  <a:lnTo>
                    <a:pt x="859" y="819"/>
                  </a:lnTo>
                  <a:lnTo>
                    <a:pt x="859" y="821"/>
                  </a:lnTo>
                  <a:lnTo>
                    <a:pt x="859" y="821"/>
                  </a:lnTo>
                  <a:lnTo>
                    <a:pt x="859" y="823"/>
                  </a:lnTo>
                  <a:lnTo>
                    <a:pt x="859" y="823"/>
                  </a:lnTo>
                  <a:lnTo>
                    <a:pt x="859" y="823"/>
                  </a:lnTo>
                  <a:lnTo>
                    <a:pt x="859" y="823"/>
                  </a:lnTo>
                  <a:lnTo>
                    <a:pt x="859" y="823"/>
                  </a:lnTo>
                  <a:lnTo>
                    <a:pt x="859" y="823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6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28"/>
                  </a:lnTo>
                  <a:lnTo>
                    <a:pt x="859" y="830"/>
                  </a:lnTo>
                  <a:lnTo>
                    <a:pt x="859" y="830"/>
                  </a:lnTo>
                  <a:lnTo>
                    <a:pt x="856" y="832"/>
                  </a:lnTo>
                  <a:lnTo>
                    <a:pt x="852" y="832"/>
                  </a:lnTo>
                  <a:lnTo>
                    <a:pt x="850" y="835"/>
                  </a:lnTo>
                  <a:lnTo>
                    <a:pt x="845" y="835"/>
                  </a:lnTo>
                  <a:lnTo>
                    <a:pt x="843" y="837"/>
                  </a:lnTo>
                  <a:lnTo>
                    <a:pt x="838" y="839"/>
                  </a:lnTo>
                  <a:lnTo>
                    <a:pt x="836" y="839"/>
                  </a:lnTo>
                  <a:lnTo>
                    <a:pt x="832" y="841"/>
                  </a:lnTo>
                  <a:lnTo>
                    <a:pt x="829" y="841"/>
                  </a:lnTo>
                  <a:lnTo>
                    <a:pt x="827" y="844"/>
                  </a:lnTo>
                  <a:lnTo>
                    <a:pt x="823" y="844"/>
                  </a:lnTo>
                  <a:lnTo>
                    <a:pt x="820" y="844"/>
                  </a:lnTo>
                  <a:lnTo>
                    <a:pt x="818" y="844"/>
                  </a:lnTo>
                  <a:lnTo>
                    <a:pt x="816" y="844"/>
                  </a:lnTo>
                  <a:lnTo>
                    <a:pt x="814" y="846"/>
                  </a:lnTo>
                  <a:lnTo>
                    <a:pt x="811" y="846"/>
                  </a:lnTo>
                  <a:lnTo>
                    <a:pt x="807" y="846"/>
                  </a:lnTo>
                  <a:lnTo>
                    <a:pt x="805" y="848"/>
                  </a:lnTo>
                  <a:lnTo>
                    <a:pt x="802" y="848"/>
                  </a:lnTo>
                  <a:lnTo>
                    <a:pt x="798" y="850"/>
                  </a:lnTo>
                  <a:lnTo>
                    <a:pt x="796" y="853"/>
                  </a:lnTo>
                  <a:lnTo>
                    <a:pt x="791" y="853"/>
                  </a:lnTo>
                  <a:lnTo>
                    <a:pt x="789" y="855"/>
                  </a:lnTo>
                  <a:lnTo>
                    <a:pt x="785" y="857"/>
                  </a:lnTo>
                  <a:lnTo>
                    <a:pt x="782" y="859"/>
                  </a:lnTo>
                  <a:lnTo>
                    <a:pt x="780" y="859"/>
                  </a:lnTo>
                  <a:lnTo>
                    <a:pt x="778" y="859"/>
                  </a:lnTo>
                  <a:lnTo>
                    <a:pt x="776" y="857"/>
                  </a:lnTo>
                  <a:lnTo>
                    <a:pt x="773" y="857"/>
                  </a:lnTo>
                  <a:lnTo>
                    <a:pt x="771" y="855"/>
                  </a:lnTo>
                  <a:lnTo>
                    <a:pt x="771" y="855"/>
                  </a:lnTo>
                  <a:lnTo>
                    <a:pt x="771" y="853"/>
                  </a:lnTo>
                  <a:lnTo>
                    <a:pt x="771" y="853"/>
                  </a:lnTo>
                  <a:lnTo>
                    <a:pt x="771" y="850"/>
                  </a:lnTo>
                  <a:lnTo>
                    <a:pt x="771" y="850"/>
                  </a:lnTo>
                  <a:lnTo>
                    <a:pt x="771" y="848"/>
                  </a:lnTo>
                  <a:lnTo>
                    <a:pt x="773" y="846"/>
                  </a:lnTo>
                  <a:lnTo>
                    <a:pt x="773" y="846"/>
                  </a:lnTo>
                  <a:lnTo>
                    <a:pt x="773" y="844"/>
                  </a:lnTo>
                  <a:lnTo>
                    <a:pt x="773" y="844"/>
                  </a:lnTo>
                  <a:lnTo>
                    <a:pt x="776" y="844"/>
                  </a:lnTo>
                  <a:lnTo>
                    <a:pt x="778" y="841"/>
                  </a:lnTo>
                  <a:lnTo>
                    <a:pt x="780" y="841"/>
                  </a:lnTo>
                  <a:lnTo>
                    <a:pt x="780" y="841"/>
                  </a:lnTo>
                  <a:lnTo>
                    <a:pt x="785" y="839"/>
                  </a:lnTo>
                  <a:lnTo>
                    <a:pt x="785" y="837"/>
                  </a:lnTo>
                  <a:lnTo>
                    <a:pt x="785" y="837"/>
                  </a:lnTo>
                  <a:lnTo>
                    <a:pt x="787" y="837"/>
                  </a:lnTo>
                  <a:lnTo>
                    <a:pt x="787" y="837"/>
                  </a:lnTo>
                  <a:lnTo>
                    <a:pt x="787" y="837"/>
                  </a:lnTo>
                  <a:lnTo>
                    <a:pt x="789" y="835"/>
                  </a:lnTo>
                  <a:lnTo>
                    <a:pt x="789" y="835"/>
                  </a:lnTo>
                  <a:lnTo>
                    <a:pt x="789" y="832"/>
                  </a:lnTo>
                  <a:lnTo>
                    <a:pt x="791" y="832"/>
                  </a:lnTo>
                  <a:lnTo>
                    <a:pt x="791" y="832"/>
                  </a:lnTo>
                  <a:lnTo>
                    <a:pt x="791" y="832"/>
                  </a:lnTo>
                  <a:lnTo>
                    <a:pt x="791" y="832"/>
                  </a:lnTo>
                  <a:lnTo>
                    <a:pt x="791" y="830"/>
                  </a:lnTo>
                  <a:lnTo>
                    <a:pt x="791" y="830"/>
                  </a:lnTo>
                  <a:lnTo>
                    <a:pt x="791" y="830"/>
                  </a:lnTo>
                  <a:lnTo>
                    <a:pt x="791" y="830"/>
                  </a:lnTo>
                  <a:lnTo>
                    <a:pt x="793" y="828"/>
                  </a:lnTo>
                  <a:lnTo>
                    <a:pt x="793" y="828"/>
                  </a:lnTo>
                  <a:lnTo>
                    <a:pt x="793" y="826"/>
                  </a:lnTo>
                  <a:lnTo>
                    <a:pt x="793" y="826"/>
                  </a:lnTo>
                  <a:lnTo>
                    <a:pt x="796" y="823"/>
                  </a:lnTo>
                  <a:lnTo>
                    <a:pt x="796" y="823"/>
                  </a:lnTo>
                  <a:lnTo>
                    <a:pt x="798" y="821"/>
                  </a:lnTo>
                  <a:lnTo>
                    <a:pt x="798" y="821"/>
                  </a:lnTo>
                  <a:lnTo>
                    <a:pt x="800" y="819"/>
                  </a:lnTo>
                  <a:lnTo>
                    <a:pt x="800" y="817"/>
                  </a:lnTo>
                  <a:lnTo>
                    <a:pt x="802" y="817"/>
                  </a:lnTo>
                  <a:lnTo>
                    <a:pt x="802" y="814"/>
                  </a:lnTo>
                  <a:lnTo>
                    <a:pt x="802" y="814"/>
                  </a:lnTo>
                  <a:lnTo>
                    <a:pt x="805" y="812"/>
                  </a:lnTo>
                  <a:lnTo>
                    <a:pt x="805" y="812"/>
                  </a:lnTo>
                  <a:lnTo>
                    <a:pt x="805" y="808"/>
                  </a:lnTo>
                  <a:lnTo>
                    <a:pt x="807" y="803"/>
                  </a:lnTo>
                  <a:lnTo>
                    <a:pt x="807" y="799"/>
                  </a:lnTo>
                  <a:lnTo>
                    <a:pt x="807" y="792"/>
                  </a:lnTo>
                  <a:lnTo>
                    <a:pt x="809" y="787"/>
                  </a:lnTo>
                  <a:lnTo>
                    <a:pt x="809" y="783"/>
                  </a:lnTo>
                  <a:lnTo>
                    <a:pt x="811" y="778"/>
                  </a:lnTo>
                  <a:lnTo>
                    <a:pt x="811" y="774"/>
                  </a:lnTo>
                  <a:lnTo>
                    <a:pt x="811" y="772"/>
                  </a:lnTo>
                  <a:lnTo>
                    <a:pt x="811" y="772"/>
                  </a:lnTo>
                  <a:lnTo>
                    <a:pt x="809" y="769"/>
                  </a:lnTo>
                  <a:lnTo>
                    <a:pt x="805" y="767"/>
                  </a:lnTo>
                  <a:lnTo>
                    <a:pt x="802" y="765"/>
                  </a:lnTo>
                  <a:lnTo>
                    <a:pt x="800" y="763"/>
                  </a:lnTo>
                  <a:lnTo>
                    <a:pt x="798" y="763"/>
                  </a:lnTo>
                  <a:lnTo>
                    <a:pt x="798" y="760"/>
                  </a:lnTo>
                  <a:lnTo>
                    <a:pt x="798" y="760"/>
                  </a:lnTo>
                  <a:lnTo>
                    <a:pt x="800" y="758"/>
                  </a:lnTo>
                  <a:lnTo>
                    <a:pt x="802" y="756"/>
                  </a:lnTo>
                  <a:lnTo>
                    <a:pt x="802" y="756"/>
                  </a:lnTo>
                  <a:lnTo>
                    <a:pt x="802" y="756"/>
                  </a:lnTo>
                  <a:lnTo>
                    <a:pt x="800" y="756"/>
                  </a:lnTo>
                  <a:lnTo>
                    <a:pt x="800" y="756"/>
                  </a:lnTo>
                  <a:lnTo>
                    <a:pt x="800" y="754"/>
                  </a:lnTo>
                  <a:lnTo>
                    <a:pt x="800" y="754"/>
                  </a:lnTo>
                  <a:lnTo>
                    <a:pt x="798" y="754"/>
                  </a:lnTo>
                  <a:lnTo>
                    <a:pt x="798" y="754"/>
                  </a:lnTo>
                  <a:lnTo>
                    <a:pt x="796" y="754"/>
                  </a:lnTo>
                  <a:lnTo>
                    <a:pt x="796" y="754"/>
                  </a:lnTo>
                  <a:lnTo>
                    <a:pt x="796" y="754"/>
                  </a:lnTo>
                  <a:lnTo>
                    <a:pt x="796" y="754"/>
                  </a:lnTo>
                  <a:lnTo>
                    <a:pt x="793" y="756"/>
                  </a:lnTo>
                  <a:lnTo>
                    <a:pt x="793" y="756"/>
                  </a:lnTo>
                  <a:lnTo>
                    <a:pt x="793" y="756"/>
                  </a:lnTo>
                  <a:lnTo>
                    <a:pt x="793" y="756"/>
                  </a:lnTo>
                  <a:lnTo>
                    <a:pt x="793" y="754"/>
                  </a:lnTo>
                  <a:lnTo>
                    <a:pt x="793" y="754"/>
                  </a:lnTo>
                  <a:lnTo>
                    <a:pt x="791" y="754"/>
                  </a:lnTo>
                  <a:lnTo>
                    <a:pt x="793" y="754"/>
                  </a:lnTo>
                  <a:lnTo>
                    <a:pt x="791" y="754"/>
                  </a:lnTo>
                  <a:lnTo>
                    <a:pt x="791" y="751"/>
                  </a:lnTo>
                  <a:lnTo>
                    <a:pt x="791" y="751"/>
                  </a:lnTo>
                  <a:lnTo>
                    <a:pt x="791" y="751"/>
                  </a:lnTo>
                  <a:lnTo>
                    <a:pt x="791" y="751"/>
                  </a:lnTo>
                  <a:lnTo>
                    <a:pt x="791" y="749"/>
                  </a:lnTo>
                  <a:lnTo>
                    <a:pt x="791" y="749"/>
                  </a:lnTo>
                  <a:lnTo>
                    <a:pt x="791" y="749"/>
                  </a:lnTo>
                  <a:lnTo>
                    <a:pt x="793" y="749"/>
                  </a:lnTo>
                  <a:lnTo>
                    <a:pt x="793" y="749"/>
                  </a:lnTo>
                  <a:lnTo>
                    <a:pt x="793" y="747"/>
                  </a:lnTo>
                  <a:lnTo>
                    <a:pt x="793" y="747"/>
                  </a:lnTo>
                  <a:lnTo>
                    <a:pt x="793" y="747"/>
                  </a:lnTo>
                  <a:lnTo>
                    <a:pt x="793" y="745"/>
                  </a:lnTo>
                  <a:lnTo>
                    <a:pt x="793" y="745"/>
                  </a:lnTo>
                  <a:lnTo>
                    <a:pt x="793" y="745"/>
                  </a:lnTo>
                  <a:lnTo>
                    <a:pt x="791" y="745"/>
                  </a:lnTo>
                  <a:lnTo>
                    <a:pt x="791" y="745"/>
                  </a:lnTo>
                  <a:lnTo>
                    <a:pt x="789" y="745"/>
                  </a:lnTo>
                  <a:lnTo>
                    <a:pt x="789" y="745"/>
                  </a:lnTo>
                  <a:lnTo>
                    <a:pt x="789" y="745"/>
                  </a:lnTo>
                  <a:lnTo>
                    <a:pt x="789" y="745"/>
                  </a:lnTo>
                  <a:lnTo>
                    <a:pt x="787" y="745"/>
                  </a:lnTo>
                  <a:lnTo>
                    <a:pt x="787" y="747"/>
                  </a:lnTo>
                  <a:lnTo>
                    <a:pt x="787" y="747"/>
                  </a:lnTo>
                  <a:lnTo>
                    <a:pt x="787" y="747"/>
                  </a:lnTo>
                  <a:lnTo>
                    <a:pt x="787" y="747"/>
                  </a:lnTo>
                  <a:lnTo>
                    <a:pt x="785" y="747"/>
                  </a:lnTo>
                  <a:lnTo>
                    <a:pt x="785" y="745"/>
                  </a:lnTo>
                  <a:lnTo>
                    <a:pt x="785" y="745"/>
                  </a:lnTo>
                  <a:lnTo>
                    <a:pt x="782" y="742"/>
                  </a:lnTo>
                  <a:lnTo>
                    <a:pt x="782" y="742"/>
                  </a:lnTo>
                  <a:lnTo>
                    <a:pt x="785" y="740"/>
                  </a:lnTo>
                  <a:lnTo>
                    <a:pt x="785" y="738"/>
                  </a:lnTo>
                  <a:lnTo>
                    <a:pt x="785" y="736"/>
                  </a:lnTo>
                  <a:lnTo>
                    <a:pt x="785" y="736"/>
                  </a:lnTo>
                  <a:lnTo>
                    <a:pt x="785" y="736"/>
                  </a:lnTo>
                  <a:lnTo>
                    <a:pt x="785" y="736"/>
                  </a:lnTo>
                  <a:lnTo>
                    <a:pt x="785" y="736"/>
                  </a:lnTo>
                  <a:lnTo>
                    <a:pt x="782" y="736"/>
                  </a:lnTo>
                  <a:lnTo>
                    <a:pt x="782" y="736"/>
                  </a:lnTo>
                  <a:lnTo>
                    <a:pt x="782" y="736"/>
                  </a:lnTo>
                  <a:lnTo>
                    <a:pt x="782" y="736"/>
                  </a:lnTo>
                  <a:lnTo>
                    <a:pt x="782" y="736"/>
                  </a:lnTo>
                  <a:lnTo>
                    <a:pt x="782" y="734"/>
                  </a:lnTo>
                  <a:lnTo>
                    <a:pt x="780" y="734"/>
                  </a:lnTo>
                  <a:lnTo>
                    <a:pt x="778" y="731"/>
                  </a:lnTo>
                  <a:lnTo>
                    <a:pt x="776" y="731"/>
                  </a:lnTo>
                  <a:lnTo>
                    <a:pt x="776" y="729"/>
                  </a:lnTo>
                  <a:lnTo>
                    <a:pt x="773" y="729"/>
                  </a:lnTo>
                  <a:lnTo>
                    <a:pt x="771" y="727"/>
                  </a:lnTo>
                  <a:lnTo>
                    <a:pt x="769" y="727"/>
                  </a:lnTo>
                  <a:lnTo>
                    <a:pt x="767" y="725"/>
                  </a:lnTo>
                  <a:lnTo>
                    <a:pt x="767" y="725"/>
                  </a:lnTo>
                  <a:lnTo>
                    <a:pt x="764" y="722"/>
                  </a:lnTo>
                  <a:lnTo>
                    <a:pt x="762" y="722"/>
                  </a:lnTo>
                  <a:lnTo>
                    <a:pt x="762" y="720"/>
                  </a:lnTo>
                  <a:lnTo>
                    <a:pt x="760" y="720"/>
                  </a:lnTo>
                  <a:lnTo>
                    <a:pt x="758" y="720"/>
                  </a:lnTo>
                  <a:lnTo>
                    <a:pt x="758" y="718"/>
                  </a:lnTo>
                  <a:lnTo>
                    <a:pt x="755" y="718"/>
                  </a:lnTo>
                  <a:lnTo>
                    <a:pt x="753" y="716"/>
                  </a:lnTo>
                  <a:lnTo>
                    <a:pt x="751" y="713"/>
                  </a:lnTo>
                  <a:lnTo>
                    <a:pt x="749" y="711"/>
                  </a:lnTo>
                  <a:lnTo>
                    <a:pt x="744" y="711"/>
                  </a:lnTo>
                  <a:lnTo>
                    <a:pt x="742" y="709"/>
                  </a:lnTo>
                  <a:lnTo>
                    <a:pt x="740" y="707"/>
                  </a:lnTo>
                  <a:lnTo>
                    <a:pt x="737" y="704"/>
                  </a:lnTo>
                  <a:lnTo>
                    <a:pt x="735" y="704"/>
                  </a:lnTo>
                  <a:lnTo>
                    <a:pt x="733" y="704"/>
                  </a:lnTo>
                  <a:lnTo>
                    <a:pt x="733" y="704"/>
                  </a:lnTo>
                  <a:lnTo>
                    <a:pt x="731" y="704"/>
                  </a:lnTo>
                  <a:lnTo>
                    <a:pt x="728" y="704"/>
                  </a:lnTo>
                  <a:lnTo>
                    <a:pt x="726" y="707"/>
                  </a:lnTo>
                  <a:lnTo>
                    <a:pt x="722" y="707"/>
                  </a:lnTo>
                  <a:lnTo>
                    <a:pt x="717" y="709"/>
                  </a:lnTo>
                  <a:lnTo>
                    <a:pt x="715" y="709"/>
                  </a:lnTo>
                  <a:lnTo>
                    <a:pt x="713" y="711"/>
                  </a:lnTo>
                  <a:lnTo>
                    <a:pt x="713" y="711"/>
                  </a:lnTo>
                  <a:lnTo>
                    <a:pt x="710" y="711"/>
                  </a:lnTo>
                  <a:lnTo>
                    <a:pt x="710" y="711"/>
                  </a:lnTo>
                  <a:lnTo>
                    <a:pt x="708" y="711"/>
                  </a:lnTo>
                  <a:lnTo>
                    <a:pt x="706" y="711"/>
                  </a:lnTo>
                  <a:lnTo>
                    <a:pt x="706" y="711"/>
                  </a:lnTo>
                  <a:lnTo>
                    <a:pt x="706" y="711"/>
                  </a:lnTo>
                  <a:lnTo>
                    <a:pt x="706" y="711"/>
                  </a:lnTo>
                  <a:lnTo>
                    <a:pt x="706" y="711"/>
                  </a:lnTo>
                  <a:lnTo>
                    <a:pt x="706" y="709"/>
                  </a:lnTo>
                  <a:lnTo>
                    <a:pt x="704" y="709"/>
                  </a:lnTo>
                  <a:lnTo>
                    <a:pt x="704" y="711"/>
                  </a:lnTo>
                  <a:lnTo>
                    <a:pt x="701" y="711"/>
                  </a:lnTo>
                  <a:lnTo>
                    <a:pt x="701" y="711"/>
                  </a:lnTo>
                  <a:lnTo>
                    <a:pt x="701" y="711"/>
                  </a:lnTo>
                  <a:lnTo>
                    <a:pt x="701" y="709"/>
                  </a:lnTo>
                  <a:lnTo>
                    <a:pt x="701" y="709"/>
                  </a:lnTo>
                  <a:lnTo>
                    <a:pt x="699" y="709"/>
                  </a:lnTo>
                  <a:lnTo>
                    <a:pt x="699" y="709"/>
                  </a:lnTo>
                  <a:lnTo>
                    <a:pt x="699" y="707"/>
                  </a:lnTo>
                  <a:lnTo>
                    <a:pt x="699" y="707"/>
                  </a:lnTo>
                  <a:lnTo>
                    <a:pt x="692" y="709"/>
                  </a:lnTo>
                  <a:lnTo>
                    <a:pt x="692" y="709"/>
                  </a:lnTo>
                  <a:lnTo>
                    <a:pt x="692" y="709"/>
                  </a:lnTo>
                  <a:lnTo>
                    <a:pt x="692" y="709"/>
                  </a:lnTo>
                  <a:lnTo>
                    <a:pt x="692" y="709"/>
                  </a:lnTo>
                  <a:lnTo>
                    <a:pt x="692" y="709"/>
                  </a:lnTo>
                  <a:lnTo>
                    <a:pt x="690" y="709"/>
                  </a:lnTo>
                  <a:lnTo>
                    <a:pt x="690" y="709"/>
                  </a:lnTo>
                  <a:lnTo>
                    <a:pt x="690" y="709"/>
                  </a:lnTo>
                  <a:lnTo>
                    <a:pt x="690" y="709"/>
                  </a:lnTo>
                  <a:lnTo>
                    <a:pt x="690" y="709"/>
                  </a:lnTo>
                  <a:lnTo>
                    <a:pt x="688" y="709"/>
                  </a:lnTo>
                  <a:lnTo>
                    <a:pt x="688" y="709"/>
                  </a:lnTo>
                  <a:lnTo>
                    <a:pt x="688" y="709"/>
                  </a:lnTo>
                  <a:lnTo>
                    <a:pt x="688" y="707"/>
                  </a:lnTo>
                  <a:lnTo>
                    <a:pt x="688" y="707"/>
                  </a:lnTo>
                  <a:lnTo>
                    <a:pt x="688" y="707"/>
                  </a:lnTo>
                  <a:lnTo>
                    <a:pt x="688" y="707"/>
                  </a:lnTo>
                  <a:lnTo>
                    <a:pt x="686" y="707"/>
                  </a:lnTo>
                  <a:lnTo>
                    <a:pt x="686" y="707"/>
                  </a:lnTo>
                  <a:lnTo>
                    <a:pt x="686" y="707"/>
                  </a:lnTo>
                  <a:lnTo>
                    <a:pt x="688" y="707"/>
                  </a:lnTo>
                  <a:lnTo>
                    <a:pt x="688" y="704"/>
                  </a:lnTo>
                  <a:lnTo>
                    <a:pt x="688" y="704"/>
                  </a:lnTo>
                  <a:lnTo>
                    <a:pt x="686" y="704"/>
                  </a:lnTo>
                  <a:lnTo>
                    <a:pt x="686" y="704"/>
                  </a:lnTo>
                  <a:lnTo>
                    <a:pt x="683" y="707"/>
                  </a:lnTo>
                  <a:lnTo>
                    <a:pt x="683" y="707"/>
                  </a:lnTo>
                  <a:lnTo>
                    <a:pt x="683" y="707"/>
                  </a:lnTo>
                  <a:lnTo>
                    <a:pt x="679" y="709"/>
                  </a:lnTo>
                  <a:lnTo>
                    <a:pt x="679" y="709"/>
                  </a:lnTo>
                  <a:lnTo>
                    <a:pt x="677" y="709"/>
                  </a:lnTo>
                  <a:lnTo>
                    <a:pt x="677" y="709"/>
                  </a:lnTo>
                  <a:lnTo>
                    <a:pt x="674" y="709"/>
                  </a:lnTo>
                  <a:lnTo>
                    <a:pt x="674" y="709"/>
                  </a:lnTo>
                  <a:lnTo>
                    <a:pt x="674" y="709"/>
                  </a:lnTo>
                  <a:lnTo>
                    <a:pt x="674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2" y="709"/>
                  </a:lnTo>
                  <a:lnTo>
                    <a:pt x="670" y="709"/>
                  </a:lnTo>
                  <a:lnTo>
                    <a:pt x="670" y="709"/>
                  </a:lnTo>
                  <a:lnTo>
                    <a:pt x="670" y="707"/>
                  </a:lnTo>
                  <a:lnTo>
                    <a:pt x="670" y="707"/>
                  </a:lnTo>
                  <a:lnTo>
                    <a:pt x="670" y="707"/>
                  </a:lnTo>
                  <a:lnTo>
                    <a:pt x="670" y="707"/>
                  </a:lnTo>
                  <a:lnTo>
                    <a:pt x="668" y="707"/>
                  </a:lnTo>
                  <a:lnTo>
                    <a:pt x="668" y="704"/>
                  </a:lnTo>
                  <a:lnTo>
                    <a:pt x="665" y="704"/>
                  </a:lnTo>
                  <a:lnTo>
                    <a:pt x="665" y="704"/>
                  </a:lnTo>
                  <a:lnTo>
                    <a:pt x="665" y="704"/>
                  </a:lnTo>
                  <a:lnTo>
                    <a:pt x="665" y="704"/>
                  </a:lnTo>
                  <a:lnTo>
                    <a:pt x="665" y="702"/>
                  </a:lnTo>
                  <a:lnTo>
                    <a:pt x="665" y="702"/>
                  </a:lnTo>
                  <a:lnTo>
                    <a:pt x="665" y="702"/>
                  </a:lnTo>
                  <a:lnTo>
                    <a:pt x="665" y="702"/>
                  </a:lnTo>
                  <a:lnTo>
                    <a:pt x="663" y="702"/>
                  </a:lnTo>
                  <a:lnTo>
                    <a:pt x="661" y="702"/>
                  </a:lnTo>
                  <a:lnTo>
                    <a:pt x="661" y="702"/>
                  </a:lnTo>
                  <a:lnTo>
                    <a:pt x="661" y="704"/>
                  </a:lnTo>
                  <a:lnTo>
                    <a:pt x="661" y="704"/>
                  </a:lnTo>
                  <a:lnTo>
                    <a:pt x="661" y="704"/>
                  </a:lnTo>
                  <a:lnTo>
                    <a:pt x="661" y="704"/>
                  </a:lnTo>
                  <a:lnTo>
                    <a:pt x="661" y="704"/>
                  </a:lnTo>
                  <a:lnTo>
                    <a:pt x="659" y="704"/>
                  </a:lnTo>
                  <a:lnTo>
                    <a:pt x="659" y="704"/>
                  </a:lnTo>
                  <a:lnTo>
                    <a:pt x="659" y="704"/>
                  </a:lnTo>
                  <a:lnTo>
                    <a:pt x="659" y="704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0"/>
                  </a:lnTo>
                  <a:lnTo>
                    <a:pt x="659" y="700"/>
                  </a:lnTo>
                  <a:lnTo>
                    <a:pt x="659" y="700"/>
                  </a:lnTo>
                  <a:lnTo>
                    <a:pt x="659" y="700"/>
                  </a:lnTo>
                  <a:lnTo>
                    <a:pt x="656" y="700"/>
                  </a:lnTo>
                  <a:lnTo>
                    <a:pt x="656" y="700"/>
                  </a:lnTo>
                  <a:lnTo>
                    <a:pt x="654" y="700"/>
                  </a:lnTo>
                  <a:lnTo>
                    <a:pt x="654" y="700"/>
                  </a:lnTo>
                  <a:lnTo>
                    <a:pt x="656" y="700"/>
                  </a:lnTo>
                  <a:lnTo>
                    <a:pt x="656" y="700"/>
                  </a:lnTo>
                  <a:lnTo>
                    <a:pt x="656" y="700"/>
                  </a:lnTo>
                  <a:lnTo>
                    <a:pt x="656" y="698"/>
                  </a:lnTo>
                  <a:lnTo>
                    <a:pt x="656" y="698"/>
                  </a:lnTo>
                  <a:lnTo>
                    <a:pt x="656" y="698"/>
                  </a:lnTo>
                  <a:lnTo>
                    <a:pt x="656" y="698"/>
                  </a:lnTo>
                  <a:lnTo>
                    <a:pt x="654" y="698"/>
                  </a:lnTo>
                  <a:lnTo>
                    <a:pt x="652" y="695"/>
                  </a:lnTo>
                  <a:lnTo>
                    <a:pt x="652" y="695"/>
                  </a:lnTo>
                  <a:lnTo>
                    <a:pt x="650" y="695"/>
                  </a:lnTo>
                  <a:lnTo>
                    <a:pt x="647" y="695"/>
                  </a:lnTo>
                  <a:lnTo>
                    <a:pt x="645" y="695"/>
                  </a:lnTo>
                  <a:lnTo>
                    <a:pt x="643" y="695"/>
                  </a:lnTo>
                  <a:lnTo>
                    <a:pt x="643" y="695"/>
                  </a:lnTo>
                  <a:lnTo>
                    <a:pt x="643" y="698"/>
                  </a:lnTo>
                  <a:lnTo>
                    <a:pt x="643" y="698"/>
                  </a:lnTo>
                  <a:lnTo>
                    <a:pt x="643" y="698"/>
                  </a:lnTo>
                  <a:lnTo>
                    <a:pt x="643" y="698"/>
                  </a:lnTo>
                  <a:lnTo>
                    <a:pt x="641" y="698"/>
                  </a:lnTo>
                  <a:lnTo>
                    <a:pt x="641" y="698"/>
                  </a:lnTo>
                  <a:lnTo>
                    <a:pt x="638" y="698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6" y="695"/>
                  </a:lnTo>
                  <a:lnTo>
                    <a:pt x="636" y="695"/>
                  </a:lnTo>
                  <a:lnTo>
                    <a:pt x="634" y="695"/>
                  </a:lnTo>
                  <a:lnTo>
                    <a:pt x="629" y="695"/>
                  </a:lnTo>
                  <a:lnTo>
                    <a:pt x="629" y="695"/>
                  </a:lnTo>
                  <a:lnTo>
                    <a:pt x="629" y="695"/>
                  </a:lnTo>
                  <a:lnTo>
                    <a:pt x="629" y="695"/>
                  </a:lnTo>
                  <a:lnTo>
                    <a:pt x="629" y="695"/>
                  </a:lnTo>
                  <a:lnTo>
                    <a:pt x="629" y="693"/>
                  </a:lnTo>
                  <a:lnTo>
                    <a:pt x="629" y="693"/>
                  </a:lnTo>
                  <a:lnTo>
                    <a:pt x="629" y="693"/>
                  </a:lnTo>
                  <a:lnTo>
                    <a:pt x="629" y="693"/>
                  </a:lnTo>
                  <a:lnTo>
                    <a:pt x="629" y="693"/>
                  </a:lnTo>
                  <a:lnTo>
                    <a:pt x="625" y="693"/>
                  </a:lnTo>
                  <a:lnTo>
                    <a:pt x="625" y="693"/>
                  </a:lnTo>
                  <a:lnTo>
                    <a:pt x="623" y="693"/>
                  </a:lnTo>
                  <a:lnTo>
                    <a:pt x="623" y="693"/>
                  </a:lnTo>
                  <a:lnTo>
                    <a:pt x="623" y="693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3" y="691"/>
                  </a:lnTo>
                  <a:lnTo>
                    <a:pt x="623" y="689"/>
                  </a:lnTo>
                  <a:lnTo>
                    <a:pt x="625" y="686"/>
                  </a:lnTo>
                  <a:lnTo>
                    <a:pt x="625" y="684"/>
                  </a:lnTo>
                  <a:lnTo>
                    <a:pt x="625" y="684"/>
                  </a:lnTo>
                  <a:lnTo>
                    <a:pt x="625" y="684"/>
                  </a:lnTo>
                  <a:lnTo>
                    <a:pt x="625" y="682"/>
                  </a:lnTo>
                  <a:lnTo>
                    <a:pt x="625" y="682"/>
                  </a:lnTo>
                  <a:lnTo>
                    <a:pt x="625" y="682"/>
                  </a:lnTo>
                  <a:lnTo>
                    <a:pt x="625" y="680"/>
                  </a:lnTo>
                  <a:lnTo>
                    <a:pt x="625" y="680"/>
                  </a:lnTo>
                  <a:lnTo>
                    <a:pt x="625" y="680"/>
                  </a:lnTo>
                  <a:lnTo>
                    <a:pt x="625" y="680"/>
                  </a:lnTo>
                  <a:lnTo>
                    <a:pt x="625" y="680"/>
                  </a:lnTo>
                  <a:lnTo>
                    <a:pt x="623" y="680"/>
                  </a:lnTo>
                  <a:lnTo>
                    <a:pt x="621" y="680"/>
                  </a:lnTo>
                  <a:lnTo>
                    <a:pt x="621" y="680"/>
                  </a:lnTo>
                  <a:lnTo>
                    <a:pt x="618" y="682"/>
                  </a:lnTo>
                  <a:lnTo>
                    <a:pt x="618" y="684"/>
                  </a:lnTo>
                  <a:lnTo>
                    <a:pt x="616" y="686"/>
                  </a:lnTo>
                  <a:lnTo>
                    <a:pt x="616" y="686"/>
                  </a:lnTo>
                  <a:lnTo>
                    <a:pt x="616" y="686"/>
                  </a:lnTo>
                  <a:lnTo>
                    <a:pt x="616" y="686"/>
                  </a:lnTo>
                  <a:lnTo>
                    <a:pt x="612" y="686"/>
                  </a:lnTo>
                  <a:lnTo>
                    <a:pt x="607" y="686"/>
                  </a:lnTo>
                  <a:lnTo>
                    <a:pt x="605" y="686"/>
                  </a:lnTo>
                  <a:lnTo>
                    <a:pt x="600" y="686"/>
                  </a:lnTo>
                  <a:lnTo>
                    <a:pt x="596" y="686"/>
                  </a:lnTo>
                  <a:lnTo>
                    <a:pt x="591" y="686"/>
                  </a:lnTo>
                  <a:lnTo>
                    <a:pt x="587" y="686"/>
                  </a:lnTo>
                  <a:lnTo>
                    <a:pt x="585" y="686"/>
                  </a:lnTo>
                  <a:lnTo>
                    <a:pt x="580" y="686"/>
                  </a:lnTo>
                  <a:lnTo>
                    <a:pt x="576" y="686"/>
                  </a:lnTo>
                  <a:lnTo>
                    <a:pt x="571" y="686"/>
                  </a:lnTo>
                  <a:lnTo>
                    <a:pt x="567" y="686"/>
                  </a:lnTo>
                  <a:lnTo>
                    <a:pt x="564" y="686"/>
                  </a:lnTo>
                  <a:lnTo>
                    <a:pt x="560" y="686"/>
                  </a:lnTo>
                  <a:lnTo>
                    <a:pt x="555" y="686"/>
                  </a:lnTo>
                  <a:lnTo>
                    <a:pt x="551" y="686"/>
                  </a:lnTo>
                  <a:lnTo>
                    <a:pt x="549" y="686"/>
                  </a:lnTo>
                  <a:lnTo>
                    <a:pt x="544" y="686"/>
                  </a:lnTo>
                  <a:lnTo>
                    <a:pt x="540" y="686"/>
                  </a:lnTo>
                  <a:lnTo>
                    <a:pt x="535" y="686"/>
                  </a:lnTo>
                  <a:lnTo>
                    <a:pt x="531" y="686"/>
                  </a:lnTo>
                  <a:lnTo>
                    <a:pt x="528" y="686"/>
                  </a:lnTo>
                  <a:lnTo>
                    <a:pt x="524" y="686"/>
                  </a:lnTo>
                  <a:lnTo>
                    <a:pt x="519" y="686"/>
                  </a:lnTo>
                  <a:lnTo>
                    <a:pt x="515" y="686"/>
                  </a:lnTo>
                  <a:lnTo>
                    <a:pt x="510" y="686"/>
                  </a:lnTo>
                  <a:lnTo>
                    <a:pt x="508" y="686"/>
                  </a:lnTo>
                  <a:lnTo>
                    <a:pt x="504" y="686"/>
                  </a:lnTo>
                  <a:lnTo>
                    <a:pt x="499" y="686"/>
                  </a:lnTo>
                  <a:lnTo>
                    <a:pt x="495" y="686"/>
                  </a:lnTo>
                  <a:lnTo>
                    <a:pt x="490" y="686"/>
                  </a:lnTo>
                  <a:lnTo>
                    <a:pt x="488" y="686"/>
                  </a:lnTo>
                  <a:lnTo>
                    <a:pt x="483" y="686"/>
                  </a:lnTo>
                  <a:lnTo>
                    <a:pt x="479" y="686"/>
                  </a:lnTo>
                  <a:lnTo>
                    <a:pt x="474" y="686"/>
                  </a:lnTo>
                  <a:lnTo>
                    <a:pt x="470" y="686"/>
                  </a:lnTo>
                  <a:lnTo>
                    <a:pt x="468" y="686"/>
                  </a:lnTo>
                  <a:lnTo>
                    <a:pt x="463" y="686"/>
                  </a:lnTo>
                  <a:lnTo>
                    <a:pt x="459" y="686"/>
                  </a:lnTo>
                  <a:lnTo>
                    <a:pt x="454" y="686"/>
                  </a:lnTo>
                  <a:lnTo>
                    <a:pt x="450" y="686"/>
                  </a:lnTo>
                  <a:lnTo>
                    <a:pt x="448" y="686"/>
                  </a:lnTo>
                  <a:lnTo>
                    <a:pt x="443" y="686"/>
                  </a:lnTo>
                  <a:lnTo>
                    <a:pt x="439" y="686"/>
                  </a:lnTo>
                  <a:lnTo>
                    <a:pt x="434" y="686"/>
                  </a:lnTo>
                  <a:lnTo>
                    <a:pt x="430" y="686"/>
                  </a:lnTo>
                  <a:lnTo>
                    <a:pt x="427" y="686"/>
                  </a:lnTo>
                  <a:lnTo>
                    <a:pt x="423" y="686"/>
                  </a:lnTo>
                  <a:lnTo>
                    <a:pt x="418" y="686"/>
                  </a:lnTo>
                  <a:lnTo>
                    <a:pt x="414" y="686"/>
                  </a:lnTo>
                  <a:lnTo>
                    <a:pt x="409" y="686"/>
                  </a:lnTo>
                  <a:lnTo>
                    <a:pt x="407" y="686"/>
                  </a:lnTo>
                  <a:lnTo>
                    <a:pt x="403" y="686"/>
                  </a:lnTo>
                  <a:lnTo>
                    <a:pt x="398" y="686"/>
                  </a:lnTo>
                  <a:lnTo>
                    <a:pt x="394" y="686"/>
                  </a:lnTo>
                  <a:lnTo>
                    <a:pt x="389" y="686"/>
                  </a:lnTo>
                  <a:lnTo>
                    <a:pt x="387" y="686"/>
                  </a:lnTo>
                  <a:lnTo>
                    <a:pt x="382" y="686"/>
                  </a:lnTo>
                  <a:lnTo>
                    <a:pt x="378" y="686"/>
                  </a:lnTo>
                  <a:lnTo>
                    <a:pt x="373" y="686"/>
                  </a:lnTo>
                  <a:lnTo>
                    <a:pt x="369" y="686"/>
                  </a:lnTo>
                  <a:lnTo>
                    <a:pt x="367" y="686"/>
                  </a:lnTo>
                  <a:lnTo>
                    <a:pt x="362" y="686"/>
                  </a:lnTo>
                  <a:lnTo>
                    <a:pt x="358" y="686"/>
                  </a:lnTo>
                  <a:lnTo>
                    <a:pt x="353" y="686"/>
                  </a:lnTo>
                  <a:lnTo>
                    <a:pt x="349" y="686"/>
                  </a:lnTo>
                  <a:lnTo>
                    <a:pt x="346" y="686"/>
                  </a:lnTo>
                  <a:lnTo>
                    <a:pt x="342" y="686"/>
                  </a:lnTo>
                  <a:lnTo>
                    <a:pt x="337" y="686"/>
                  </a:lnTo>
                  <a:lnTo>
                    <a:pt x="333" y="686"/>
                  </a:lnTo>
                  <a:lnTo>
                    <a:pt x="328" y="686"/>
                  </a:lnTo>
                  <a:lnTo>
                    <a:pt x="326" y="686"/>
                  </a:lnTo>
                  <a:lnTo>
                    <a:pt x="322" y="686"/>
                  </a:lnTo>
                  <a:lnTo>
                    <a:pt x="317" y="686"/>
                  </a:lnTo>
                  <a:lnTo>
                    <a:pt x="313" y="686"/>
                  </a:lnTo>
                  <a:lnTo>
                    <a:pt x="310" y="686"/>
                  </a:lnTo>
                  <a:lnTo>
                    <a:pt x="306" y="686"/>
                  </a:lnTo>
                  <a:lnTo>
                    <a:pt x="301" y="686"/>
                  </a:lnTo>
                  <a:lnTo>
                    <a:pt x="297" y="686"/>
                  </a:lnTo>
                  <a:lnTo>
                    <a:pt x="293" y="686"/>
                  </a:lnTo>
                  <a:lnTo>
                    <a:pt x="290" y="686"/>
                  </a:lnTo>
                  <a:lnTo>
                    <a:pt x="286" y="686"/>
                  </a:lnTo>
                  <a:lnTo>
                    <a:pt x="281" y="686"/>
                  </a:lnTo>
                  <a:lnTo>
                    <a:pt x="277" y="686"/>
                  </a:lnTo>
                  <a:lnTo>
                    <a:pt x="272" y="686"/>
                  </a:lnTo>
                  <a:lnTo>
                    <a:pt x="270" y="686"/>
                  </a:lnTo>
                  <a:lnTo>
                    <a:pt x="266" y="686"/>
                  </a:lnTo>
                  <a:lnTo>
                    <a:pt x="261" y="686"/>
                  </a:lnTo>
                  <a:lnTo>
                    <a:pt x="257" y="686"/>
                  </a:lnTo>
                  <a:lnTo>
                    <a:pt x="252" y="686"/>
                  </a:lnTo>
                  <a:lnTo>
                    <a:pt x="250" y="686"/>
                  </a:lnTo>
                  <a:lnTo>
                    <a:pt x="245" y="686"/>
                  </a:lnTo>
                  <a:lnTo>
                    <a:pt x="241" y="686"/>
                  </a:lnTo>
                  <a:lnTo>
                    <a:pt x="236" y="686"/>
                  </a:lnTo>
                  <a:lnTo>
                    <a:pt x="232" y="686"/>
                  </a:lnTo>
                  <a:lnTo>
                    <a:pt x="230" y="686"/>
                  </a:lnTo>
                  <a:lnTo>
                    <a:pt x="225" y="686"/>
                  </a:lnTo>
                  <a:lnTo>
                    <a:pt x="221" y="686"/>
                  </a:lnTo>
                  <a:lnTo>
                    <a:pt x="216" y="686"/>
                  </a:lnTo>
                  <a:lnTo>
                    <a:pt x="212" y="686"/>
                  </a:lnTo>
                  <a:lnTo>
                    <a:pt x="209" y="686"/>
                  </a:lnTo>
                  <a:lnTo>
                    <a:pt x="205" y="686"/>
                  </a:lnTo>
                  <a:lnTo>
                    <a:pt x="200" y="686"/>
                  </a:lnTo>
                  <a:lnTo>
                    <a:pt x="196" y="686"/>
                  </a:lnTo>
                  <a:lnTo>
                    <a:pt x="191" y="686"/>
                  </a:lnTo>
                  <a:lnTo>
                    <a:pt x="189" y="686"/>
                  </a:lnTo>
                  <a:lnTo>
                    <a:pt x="185" y="686"/>
                  </a:lnTo>
                  <a:lnTo>
                    <a:pt x="180" y="686"/>
                  </a:lnTo>
                  <a:lnTo>
                    <a:pt x="176" y="686"/>
                  </a:lnTo>
                  <a:lnTo>
                    <a:pt x="171" y="686"/>
                  </a:lnTo>
                  <a:lnTo>
                    <a:pt x="169" y="686"/>
                  </a:lnTo>
                  <a:lnTo>
                    <a:pt x="164" y="686"/>
                  </a:lnTo>
                  <a:lnTo>
                    <a:pt x="160" y="686"/>
                  </a:lnTo>
                  <a:lnTo>
                    <a:pt x="155" y="686"/>
                  </a:lnTo>
                  <a:lnTo>
                    <a:pt x="151" y="686"/>
                  </a:lnTo>
                  <a:lnTo>
                    <a:pt x="149" y="686"/>
                  </a:lnTo>
                  <a:lnTo>
                    <a:pt x="144" y="686"/>
                  </a:lnTo>
                  <a:lnTo>
                    <a:pt x="140" y="686"/>
                  </a:lnTo>
                  <a:lnTo>
                    <a:pt x="135" y="686"/>
                  </a:lnTo>
                  <a:lnTo>
                    <a:pt x="131" y="686"/>
                  </a:lnTo>
                  <a:lnTo>
                    <a:pt x="129" y="686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5" y="686"/>
                  </a:lnTo>
                  <a:lnTo>
                    <a:pt x="111" y="686"/>
                  </a:lnTo>
                  <a:lnTo>
                    <a:pt x="111" y="686"/>
                  </a:lnTo>
                  <a:lnTo>
                    <a:pt x="111" y="686"/>
                  </a:lnTo>
                  <a:lnTo>
                    <a:pt x="111" y="686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8" y="684"/>
                  </a:lnTo>
                  <a:lnTo>
                    <a:pt x="108" y="684"/>
                  </a:lnTo>
                  <a:lnTo>
                    <a:pt x="108" y="684"/>
                  </a:lnTo>
                  <a:lnTo>
                    <a:pt x="108" y="686"/>
                  </a:lnTo>
                  <a:lnTo>
                    <a:pt x="106" y="686"/>
                  </a:lnTo>
                  <a:lnTo>
                    <a:pt x="106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4" y="686"/>
                  </a:lnTo>
                  <a:lnTo>
                    <a:pt x="106" y="684"/>
                  </a:lnTo>
                  <a:lnTo>
                    <a:pt x="106" y="684"/>
                  </a:lnTo>
                  <a:lnTo>
                    <a:pt x="106" y="684"/>
                  </a:lnTo>
                  <a:lnTo>
                    <a:pt x="106" y="684"/>
                  </a:lnTo>
                  <a:lnTo>
                    <a:pt x="104" y="684"/>
                  </a:lnTo>
                  <a:lnTo>
                    <a:pt x="104" y="684"/>
                  </a:lnTo>
                  <a:lnTo>
                    <a:pt x="104" y="684"/>
                  </a:lnTo>
                  <a:lnTo>
                    <a:pt x="104" y="684"/>
                  </a:lnTo>
                  <a:lnTo>
                    <a:pt x="104" y="684"/>
                  </a:lnTo>
                  <a:lnTo>
                    <a:pt x="104" y="682"/>
                  </a:lnTo>
                  <a:lnTo>
                    <a:pt x="104" y="682"/>
                  </a:lnTo>
                  <a:lnTo>
                    <a:pt x="106" y="682"/>
                  </a:lnTo>
                  <a:lnTo>
                    <a:pt x="106" y="682"/>
                  </a:lnTo>
                  <a:lnTo>
                    <a:pt x="106" y="682"/>
                  </a:lnTo>
                  <a:lnTo>
                    <a:pt x="106" y="682"/>
                  </a:lnTo>
                  <a:lnTo>
                    <a:pt x="106" y="682"/>
                  </a:lnTo>
                  <a:lnTo>
                    <a:pt x="106" y="682"/>
                  </a:lnTo>
                  <a:lnTo>
                    <a:pt x="104" y="682"/>
                  </a:lnTo>
                  <a:lnTo>
                    <a:pt x="106" y="682"/>
                  </a:lnTo>
                  <a:lnTo>
                    <a:pt x="106" y="680"/>
                  </a:lnTo>
                  <a:lnTo>
                    <a:pt x="106" y="682"/>
                  </a:lnTo>
                  <a:lnTo>
                    <a:pt x="106" y="680"/>
                  </a:lnTo>
                  <a:lnTo>
                    <a:pt x="106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08" y="680"/>
                  </a:lnTo>
                  <a:lnTo>
                    <a:pt x="111" y="680"/>
                  </a:lnTo>
                  <a:lnTo>
                    <a:pt x="111" y="680"/>
                  </a:lnTo>
                  <a:lnTo>
                    <a:pt x="111" y="680"/>
                  </a:lnTo>
                  <a:lnTo>
                    <a:pt x="113" y="680"/>
                  </a:lnTo>
                  <a:lnTo>
                    <a:pt x="115" y="677"/>
                  </a:lnTo>
                  <a:lnTo>
                    <a:pt x="115" y="677"/>
                  </a:lnTo>
                  <a:lnTo>
                    <a:pt x="115" y="677"/>
                  </a:lnTo>
                  <a:lnTo>
                    <a:pt x="115" y="677"/>
                  </a:lnTo>
                  <a:lnTo>
                    <a:pt x="115" y="677"/>
                  </a:lnTo>
                  <a:lnTo>
                    <a:pt x="115" y="677"/>
                  </a:lnTo>
                  <a:lnTo>
                    <a:pt x="115" y="677"/>
                  </a:lnTo>
                  <a:lnTo>
                    <a:pt x="113" y="677"/>
                  </a:lnTo>
                  <a:lnTo>
                    <a:pt x="113" y="677"/>
                  </a:lnTo>
                  <a:lnTo>
                    <a:pt x="111" y="680"/>
                  </a:lnTo>
                  <a:lnTo>
                    <a:pt x="111" y="680"/>
                  </a:lnTo>
                  <a:lnTo>
                    <a:pt x="106" y="680"/>
                  </a:lnTo>
                  <a:lnTo>
                    <a:pt x="106" y="680"/>
                  </a:lnTo>
                  <a:lnTo>
                    <a:pt x="106" y="680"/>
                  </a:lnTo>
                  <a:lnTo>
                    <a:pt x="106" y="680"/>
                  </a:lnTo>
                  <a:lnTo>
                    <a:pt x="106" y="680"/>
                  </a:lnTo>
                  <a:lnTo>
                    <a:pt x="106" y="680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6" y="677"/>
                  </a:lnTo>
                  <a:lnTo>
                    <a:pt x="108" y="677"/>
                  </a:lnTo>
                  <a:lnTo>
                    <a:pt x="108" y="677"/>
                  </a:lnTo>
                  <a:lnTo>
                    <a:pt x="108" y="675"/>
                  </a:lnTo>
                  <a:lnTo>
                    <a:pt x="108" y="675"/>
                  </a:lnTo>
                  <a:lnTo>
                    <a:pt x="108" y="675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3" y="671"/>
                  </a:lnTo>
                  <a:lnTo>
                    <a:pt x="113" y="671"/>
                  </a:lnTo>
                  <a:lnTo>
                    <a:pt x="113" y="671"/>
                  </a:lnTo>
                  <a:lnTo>
                    <a:pt x="113" y="671"/>
                  </a:lnTo>
                  <a:lnTo>
                    <a:pt x="113" y="671"/>
                  </a:lnTo>
                  <a:lnTo>
                    <a:pt x="113" y="671"/>
                  </a:lnTo>
                  <a:lnTo>
                    <a:pt x="111" y="671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11" y="673"/>
                  </a:lnTo>
                  <a:lnTo>
                    <a:pt x="108" y="673"/>
                  </a:lnTo>
                  <a:lnTo>
                    <a:pt x="108" y="673"/>
                  </a:lnTo>
                  <a:lnTo>
                    <a:pt x="108" y="673"/>
                  </a:lnTo>
                  <a:lnTo>
                    <a:pt x="108" y="673"/>
                  </a:lnTo>
                  <a:lnTo>
                    <a:pt x="108" y="675"/>
                  </a:lnTo>
                  <a:lnTo>
                    <a:pt x="108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6" y="675"/>
                  </a:lnTo>
                  <a:lnTo>
                    <a:pt x="104" y="675"/>
                  </a:lnTo>
                  <a:lnTo>
                    <a:pt x="104" y="675"/>
                  </a:lnTo>
                  <a:lnTo>
                    <a:pt x="104" y="675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4" y="677"/>
                  </a:lnTo>
                  <a:lnTo>
                    <a:pt x="102" y="677"/>
                  </a:lnTo>
                  <a:lnTo>
                    <a:pt x="102" y="677"/>
                  </a:lnTo>
                  <a:lnTo>
                    <a:pt x="102" y="677"/>
                  </a:lnTo>
                  <a:lnTo>
                    <a:pt x="102" y="677"/>
                  </a:lnTo>
                  <a:lnTo>
                    <a:pt x="97" y="677"/>
                  </a:lnTo>
                  <a:lnTo>
                    <a:pt x="97" y="677"/>
                  </a:lnTo>
                  <a:lnTo>
                    <a:pt x="97" y="677"/>
                  </a:lnTo>
                  <a:lnTo>
                    <a:pt x="97" y="675"/>
                  </a:lnTo>
                  <a:lnTo>
                    <a:pt x="97" y="675"/>
                  </a:lnTo>
                  <a:lnTo>
                    <a:pt x="97" y="675"/>
                  </a:lnTo>
                  <a:lnTo>
                    <a:pt x="97" y="675"/>
                  </a:lnTo>
                  <a:lnTo>
                    <a:pt x="97" y="675"/>
                  </a:lnTo>
                  <a:lnTo>
                    <a:pt x="97" y="675"/>
                  </a:lnTo>
                  <a:lnTo>
                    <a:pt x="95" y="675"/>
                  </a:lnTo>
                  <a:lnTo>
                    <a:pt x="95" y="675"/>
                  </a:lnTo>
                  <a:lnTo>
                    <a:pt x="95" y="675"/>
                  </a:lnTo>
                  <a:lnTo>
                    <a:pt x="95" y="675"/>
                  </a:lnTo>
                  <a:lnTo>
                    <a:pt x="95" y="675"/>
                  </a:lnTo>
                  <a:lnTo>
                    <a:pt x="95" y="673"/>
                  </a:lnTo>
                  <a:lnTo>
                    <a:pt x="95" y="673"/>
                  </a:lnTo>
                  <a:lnTo>
                    <a:pt x="95" y="673"/>
                  </a:lnTo>
                  <a:lnTo>
                    <a:pt x="95" y="673"/>
                  </a:lnTo>
                  <a:lnTo>
                    <a:pt x="95" y="673"/>
                  </a:lnTo>
                  <a:lnTo>
                    <a:pt x="95" y="673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7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73"/>
                  </a:lnTo>
                  <a:lnTo>
                    <a:pt x="99" y="673"/>
                  </a:lnTo>
                  <a:lnTo>
                    <a:pt x="99" y="673"/>
                  </a:lnTo>
                  <a:lnTo>
                    <a:pt x="99" y="673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5"/>
                  </a:lnTo>
                  <a:lnTo>
                    <a:pt x="99" y="673"/>
                  </a:lnTo>
                  <a:lnTo>
                    <a:pt x="99" y="673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2" y="673"/>
                  </a:lnTo>
                  <a:lnTo>
                    <a:pt x="104" y="673"/>
                  </a:lnTo>
                  <a:lnTo>
                    <a:pt x="104" y="673"/>
                  </a:lnTo>
                  <a:lnTo>
                    <a:pt x="106" y="671"/>
                  </a:lnTo>
                  <a:lnTo>
                    <a:pt x="106" y="671"/>
                  </a:lnTo>
                  <a:lnTo>
                    <a:pt x="104" y="673"/>
                  </a:lnTo>
                  <a:lnTo>
                    <a:pt x="102" y="673"/>
                  </a:lnTo>
                  <a:lnTo>
                    <a:pt x="99" y="673"/>
                  </a:lnTo>
                  <a:lnTo>
                    <a:pt x="102" y="673"/>
                  </a:lnTo>
                  <a:lnTo>
                    <a:pt x="102" y="671"/>
                  </a:lnTo>
                  <a:lnTo>
                    <a:pt x="102" y="671"/>
                  </a:lnTo>
                  <a:lnTo>
                    <a:pt x="99" y="671"/>
                  </a:lnTo>
                  <a:lnTo>
                    <a:pt x="99" y="671"/>
                  </a:lnTo>
                  <a:lnTo>
                    <a:pt x="99" y="668"/>
                  </a:lnTo>
                  <a:lnTo>
                    <a:pt x="102" y="668"/>
                  </a:lnTo>
                  <a:lnTo>
                    <a:pt x="102" y="668"/>
                  </a:lnTo>
                  <a:lnTo>
                    <a:pt x="102" y="668"/>
                  </a:lnTo>
                  <a:lnTo>
                    <a:pt x="102" y="666"/>
                  </a:lnTo>
                  <a:lnTo>
                    <a:pt x="104" y="666"/>
                  </a:lnTo>
                  <a:lnTo>
                    <a:pt x="104" y="666"/>
                  </a:lnTo>
                  <a:lnTo>
                    <a:pt x="104" y="666"/>
                  </a:lnTo>
                  <a:lnTo>
                    <a:pt x="104" y="666"/>
                  </a:lnTo>
                  <a:lnTo>
                    <a:pt x="102" y="666"/>
                  </a:lnTo>
                  <a:lnTo>
                    <a:pt x="102" y="664"/>
                  </a:lnTo>
                  <a:lnTo>
                    <a:pt x="104" y="664"/>
                  </a:lnTo>
                  <a:lnTo>
                    <a:pt x="104" y="664"/>
                  </a:lnTo>
                  <a:lnTo>
                    <a:pt x="104" y="664"/>
                  </a:lnTo>
                  <a:lnTo>
                    <a:pt x="106" y="664"/>
                  </a:lnTo>
                  <a:lnTo>
                    <a:pt x="106" y="664"/>
                  </a:lnTo>
                  <a:lnTo>
                    <a:pt x="106" y="664"/>
                  </a:lnTo>
                  <a:lnTo>
                    <a:pt x="106" y="664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8" y="659"/>
                  </a:lnTo>
                  <a:lnTo>
                    <a:pt x="108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59"/>
                  </a:lnTo>
                  <a:lnTo>
                    <a:pt x="106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6" y="662"/>
                  </a:lnTo>
                  <a:lnTo>
                    <a:pt x="106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8" y="662"/>
                  </a:lnTo>
                  <a:lnTo>
                    <a:pt x="106" y="662"/>
                  </a:lnTo>
                  <a:lnTo>
                    <a:pt x="106" y="664"/>
                  </a:lnTo>
                  <a:lnTo>
                    <a:pt x="104" y="664"/>
                  </a:lnTo>
                  <a:lnTo>
                    <a:pt x="104" y="664"/>
                  </a:lnTo>
                  <a:lnTo>
                    <a:pt x="102" y="664"/>
                  </a:lnTo>
                  <a:lnTo>
                    <a:pt x="102" y="664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102" y="668"/>
                  </a:lnTo>
                  <a:lnTo>
                    <a:pt x="102" y="668"/>
                  </a:lnTo>
                  <a:lnTo>
                    <a:pt x="102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6"/>
                  </a:lnTo>
                  <a:lnTo>
                    <a:pt x="99" y="666"/>
                  </a:lnTo>
                  <a:lnTo>
                    <a:pt x="99" y="666"/>
                  </a:lnTo>
                  <a:lnTo>
                    <a:pt x="99" y="666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102" y="666"/>
                  </a:lnTo>
                  <a:lnTo>
                    <a:pt x="99" y="666"/>
                  </a:lnTo>
                  <a:lnTo>
                    <a:pt x="99" y="666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9" y="668"/>
                  </a:lnTo>
                  <a:lnTo>
                    <a:pt x="97" y="668"/>
                  </a:lnTo>
                  <a:lnTo>
                    <a:pt x="97" y="668"/>
                  </a:lnTo>
                  <a:lnTo>
                    <a:pt x="97" y="668"/>
                  </a:lnTo>
                  <a:lnTo>
                    <a:pt x="97" y="668"/>
                  </a:lnTo>
                  <a:lnTo>
                    <a:pt x="95" y="668"/>
                  </a:lnTo>
                  <a:lnTo>
                    <a:pt x="95" y="668"/>
                  </a:lnTo>
                  <a:lnTo>
                    <a:pt x="95" y="668"/>
                  </a:lnTo>
                  <a:lnTo>
                    <a:pt x="93" y="671"/>
                  </a:lnTo>
                  <a:lnTo>
                    <a:pt x="93" y="671"/>
                  </a:lnTo>
                  <a:lnTo>
                    <a:pt x="93" y="671"/>
                  </a:lnTo>
                  <a:lnTo>
                    <a:pt x="93" y="668"/>
                  </a:lnTo>
                  <a:lnTo>
                    <a:pt x="93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8"/>
                  </a:lnTo>
                  <a:lnTo>
                    <a:pt x="90" y="666"/>
                  </a:lnTo>
                  <a:lnTo>
                    <a:pt x="90" y="666"/>
                  </a:lnTo>
                  <a:lnTo>
                    <a:pt x="90" y="666"/>
                  </a:lnTo>
                  <a:lnTo>
                    <a:pt x="90" y="666"/>
                  </a:lnTo>
                  <a:lnTo>
                    <a:pt x="90" y="666"/>
                  </a:lnTo>
                  <a:lnTo>
                    <a:pt x="88" y="666"/>
                  </a:lnTo>
                  <a:lnTo>
                    <a:pt x="88" y="666"/>
                  </a:lnTo>
                  <a:lnTo>
                    <a:pt x="88" y="666"/>
                  </a:lnTo>
                  <a:lnTo>
                    <a:pt x="88" y="664"/>
                  </a:lnTo>
                  <a:lnTo>
                    <a:pt x="88" y="664"/>
                  </a:lnTo>
                  <a:lnTo>
                    <a:pt x="88" y="664"/>
                  </a:lnTo>
                  <a:lnTo>
                    <a:pt x="88" y="662"/>
                  </a:lnTo>
                  <a:lnTo>
                    <a:pt x="88" y="662"/>
                  </a:lnTo>
                  <a:lnTo>
                    <a:pt x="88" y="664"/>
                  </a:lnTo>
                  <a:lnTo>
                    <a:pt x="88" y="664"/>
                  </a:lnTo>
                  <a:lnTo>
                    <a:pt x="90" y="664"/>
                  </a:lnTo>
                  <a:lnTo>
                    <a:pt x="90" y="664"/>
                  </a:lnTo>
                  <a:lnTo>
                    <a:pt x="90" y="664"/>
                  </a:lnTo>
                  <a:lnTo>
                    <a:pt x="90" y="664"/>
                  </a:lnTo>
                  <a:lnTo>
                    <a:pt x="90" y="664"/>
                  </a:lnTo>
                  <a:lnTo>
                    <a:pt x="90" y="664"/>
                  </a:lnTo>
                  <a:lnTo>
                    <a:pt x="90" y="664"/>
                  </a:lnTo>
                  <a:lnTo>
                    <a:pt x="90" y="662"/>
                  </a:lnTo>
                  <a:lnTo>
                    <a:pt x="90" y="662"/>
                  </a:lnTo>
                  <a:lnTo>
                    <a:pt x="93" y="662"/>
                  </a:lnTo>
                  <a:lnTo>
                    <a:pt x="93" y="662"/>
                  </a:lnTo>
                  <a:lnTo>
                    <a:pt x="90" y="662"/>
                  </a:lnTo>
                  <a:lnTo>
                    <a:pt x="93" y="662"/>
                  </a:lnTo>
                  <a:lnTo>
                    <a:pt x="93" y="662"/>
                  </a:lnTo>
                  <a:lnTo>
                    <a:pt x="93" y="662"/>
                  </a:lnTo>
                  <a:lnTo>
                    <a:pt x="93" y="662"/>
                  </a:lnTo>
                  <a:lnTo>
                    <a:pt x="93" y="662"/>
                  </a:lnTo>
                  <a:lnTo>
                    <a:pt x="93" y="659"/>
                  </a:lnTo>
                  <a:lnTo>
                    <a:pt x="95" y="659"/>
                  </a:lnTo>
                  <a:lnTo>
                    <a:pt x="95" y="659"/>
                  </a:lnTo>
                  <a:lnTo>
                    <a:pt x="95" y="659"/>
                  </a:lnTo>
                  <a:lnTo>
                    <a:pt x="95" y="659"/>
                  </a:lnTo>
                  <a:lnTo>
                    <a:pt x="95" y="659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7"/>
                  </a:lnTo>
                  <a:lnTo>
                    <a:pt x="95" y="655"/>
                  </a:lnTo>
                  <a:lnTo>
                    <a:pt x="97" y="655"/>
                  </a:lnTo>
                  <a:lnTo>
                    <a:pt x="97" y="655"/>
                  </a:lnTo>
                  <a:lnTo>
                    <a:pt x="97" y="655"/>
                  </a:lnTo>
                  <a:lnTo>
                    <a:pt x="97" y="655"/>
                  </a:lnTo>
                  <a:lnTo>
                    <a:pt x="97" y="655"/>
                  </a:lnTo>
                  <a:lnTo>
                    <a:pt x="99" y="655"/>
                  </a:lnTo>
                  <a:lnTo>
                    <a:pt x="99" y="655"/>
                  </a:lnTo>
                  <a:lnTo>
                    <a:pt x="99" y="655"/>
                  </a:lnTo>
                  <a:lnTo>
                    <a:pt x="99" y="655"/>
                  </a:lnTo>
                  <a:lnTo>
                    <a:pt x="99" y="655"/>
                  </a:lnTo>
                  <a:lnTo>
                    <a:pt x="99" y="655"/>
                  </a:lnTo>
                  <a:lnTo>
                    <a:pt x="102" y="655"/>
                  </a:lnTo>
                  <a:lnTo>
                    <a:pt x="102" y="655"/>
                  </a:lnTo>
                  <a:lnTo>
                    <a:pt x="102" y="655"/>
                  </a:lnTo>
                  <a:lnTo>
                    <a:pt x="104" y="653"/>
                  </a:lnTo>
                  <a:lnTo>
                    <a:pt x="104" y="653"/>
                  </a:lnTo>
                  <a:lnTo>
                    <a:pt x="104" y="653"/>
                  </a:lnTo>
                  <a:lnTo>
                    <a:pt x="104" y="653"/>
                  </a:lnTo>
                  <a:lnTo>
                    <a:pt x="102" y="653"/>
                  </a:lnTo>
                  <a:lnTo>
                    <a:pt x="99" y="655"/>
                  </a:lnTo>
                  <a:lnTo>
                    <a:pt x="99" y="655"/>
                  </a:lnTo>
                  <a:lnTo>
                    <a:pt x="97" y="655"/>
                  </a:lnTo>
                  <a:lnTo>
                    <a:pt x="97" y="655"/>
                  </a:lnTo>
                  <a:lnTo>
                    <a:pt x="97" y="655"/>
                  </a:lnTo>
                  <a:lnTo>
                    <a:pt x="95" y="655"/>
                  </a:lnTo>
                  <a:lnTo>
                    <a:pt x="95" y="655"/>
                  </a:lnTo>
                  <a:lnTo>
                    <a:pt x="95" y="655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3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7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88" y="657"/>
                  </a:lnTo>
                  <a:lnTo>
                    <a:pt x="88" y="657"/>
                  </a:lnTo>
                  <a:lnTo>
                    <a:pt x="88" y="657"/>
                  </a:lnTo>
                  <a:lnTo>
                    <a:pt x="88" y="657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5"/>
                  </a:lnTo>
                  <a:lnTo>
                    <a:pt x="90" y="653"/>
                  </a:lnTo>
                  <a:lnTo>
                    <a:pt x="90" y="653"/>
                  </a:lnTo>
                  <a:lnTo>
                    <a:pt x="90" y="653"/>
                  </a:lnTo>
                  <a:lnTo>
                    <a:pt x="90" y="653"/>
                  </a:lnTo>
                  <a:lnTo>
                    <a:pt x="93" y="653"/>
                  </a:lnTo>
                  <a:lnTo>
                    <a:pt x="93" y="653"/>
                  </a:lnTo>
                  <a:lnTo>
                    <a:pt x="95" y="653"/>
                  </a:lnTo>
                  <a:lnTo>
                    <a:pt x="95" y="653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7" y="650"/>
                  </a:lnTo>
                  <a:lnTo>
                    <a:pt x="97" y="650"/>
                  </a:lnTo>
                  <a:lnTo>
                    <a:pt x="97" y="650"/>
                  </a:lnTo>
                  <a:lnTo>
                    <a:pt x="97" y="650"/>
                  </a:lnTo>
                  <a:lnTo>
                    <a:pt x="97" y="650"/>
                  </a:lnTo>
                  <a:lnTo>
                    <a:pt x="97" y="648"/>
                  </a:lnTo>
                  <a:lnTo>
                    <a:pt x="97" y="648"/>
                  </a:lnTo>
                  <a:lnTo>
                    <a:pt x="99" y="648"/>
                  </a:lnTo>
                  <a:lnTo>
                    <a:pt x="99" y="648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99" y="646"/>
                  </a:lnTo>
                  <a:lnTo>
                    <a:pt x="102" y="646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102" y="644"/>
                  </a:lnTo>
                  <a:lnTo>
                    <a:pt x="99" y="644"/>
                  </a:lnTo>
                  <a:lnTo>
                    <a:pt x="99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6"/>
                  </a:lnTo>
                  <a:lnTo>
                    <a:pt x="97" y="648"/>
                  </a:lnTo>
                  <a:lnTo>
                    <a:pt x="97" y="648"/>
                  </a:lnTo>
                  <a:lnTo>
                    <a:pt x="97" y="648"/>
                  </a:lnTo>
                  <a:lnTo>
                    <a:pt x="97" y="648"/>
                  </a:lnTo>
                  <a:lnTo>
                    <a:pt x="97" y="650"/>
                  </a:lnTo>
                  <a:lnTo>
                    <a:pt x="97" y="650"/>
                  </a:lnTo>
                  <a:lnTo>
                    <a:pt x="97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5" y="650"/>
                  </a:lnTo>
                  <a:lnTo>
                    <a:pt x="93" y="650"/>
                  </a:lnTo>
                  <a:lnTo>
                    <a:pt x="93" y="653"/>
                  </a:lnTo>
                  <a:lnTo>
                    <a:pt x="90" y="653"/>
                  </a:lnTo>
                  <a:lnTo>
                    <a:pt x="90" y="653"/>
                  </a:lnTo>
                  <a:lnTo>
                    <a:pt x="90" y="653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5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8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6" y="653"/>
                  </a:lnTo>
                  <a:lnTo>
                    <a:pt x="84" y="653"/>
                  </a:lnTo>
                  <a:lnTo>
                    <a:pt x="84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4" y="653"/>
                  </a:lnTo>
                  <a:lnTo>
                    <a:pt x="84" y="653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6" y="650"/>
                  </a:lnTo>
                  <a:lnTo>
                    <a:pt x="86" y="648"/>
                  </a:lnTo>
                  <a:lnTo>
                    <a:pt x="86" y="648"/>
                  </a:lnTo>
                  <a:lnTo>
                    <a:pt x="86" y="648"/>
                  </a:lnTo>
                  <a:lnTo>
                    <a:pt x="86" y="648"/>
                  </a:lnTo>
                  <a:lnTo>
                    <a:pt x="88" y="648"/>
                  </a:lnTo>
                  <a:lnTo>
                    <a:pt x="88" y="648"/>
                  </a:lnTo>
                  <a:lnTo>
                    <a:pt x="88" y="648"/>
                  </a:lnTo>
                  <a:lnTo>
                    <a:pt x="88" y="648"/>
                  </a:lnTo>
                  <a:lnTo>
                    <a:pt x="88" y="648"/>
                  </a:lnTo>
                  <a:lnTo>
                    <a:pt x="86" y="648"/>
                  </a:lnTo>
                  <a:lnTo>
                    <a:pt x="86" y="648"/>
                  </a:lnTo>
                  <a:lnTo>
                    <a:pt x="86" y="648"/>
                  </a:lnTo>
                  <a:lnTo>
                    <a:pt x="86" y="648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4" y="650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81" y="653"/>
                  </a:lnTo>
                  <a:lnTo>
                    <a:pt x="79" y="653"/>
                  </a:lnTo>
                  <a:lnTo>
                    <a:pt x="79" y="653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9" y="655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9" y="653"/>
                  </a:lnTo>
                  <a:lnTo>
                    <a:pt x="79" y="653"/>
                  </a:lnTo>
                  <a:lnTo>
                    <a:pt x="79" y="653"/>
                  </a:lnTo>
                  <a:lnTo>
                    <a:pt x="79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7" y="653"/>
                  </a:lnTo>
                  <a:lnTo>
                    <a:pt x="75" y="653"/>
                  </a:lnTo>
                  <a:lnTo>
                    <a:pt x="72" y="653"/>
                  </a:lnTo>
                  <a:lnTo>
                    <a:pt x="72" y="653"/>
                  </a:lnTo>
                  <a:lnTo>
                    <a:pt x="72" y="653"/>
                  </a:lnTo>
                  <a:lnTo>
                    <a:pt x="72" y="653"/>
                  </a:lnTo>
                  <a:lnTo>
                    <a:pt x="72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0" y="653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7" y="650"/>
                  </a:lnTo>
                  <a:lnTo>
                    <a:pt x="77" y="650"/>
                  </a:lnTo>
                  <a:lnTo>
                    <a:pt x="77" y="650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5" y="650"/>
                  </a:lnTo>
                  <a:lnTo>
                    <a:pt x="75" y="650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0" y="650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2" y="650"/>
                  </a:lnTo>
                  <a:lnTo>
                    <a:pt x="75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9" y="648"/>
                  </a:lnTo>
                  <a:lnTo>
                    <a:pt x="79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4" y="648"/>
                  </a:lnTo>
                  <a:lnTo>
                    <a:pt x="84" y="648"/>
                  </a:lnTo>
                  <a:lnTo>
                    <a:pt x="84" y="648"/>
                  </a:lnTo>
                  <a:lnTo>
                    <a:pt x="84" y="648"/>
                  </a:lnTo>
                  <a:lnTo>
                    <a:pt x="84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4"/>
                  </a:lnTo>
                  <a:lnTo>
                    <a:pt x="86" y="644"/>
                  </a:lnTo>
                  <a:lnTo>
                    <a:pt x="88" y="644"/>
                  </a:lnTo>
                  <a:lnTo>
                    <a:pt x="88" y="644"/>
                  </a:lnTo>
                  <a:lnTo>
                    <a:pt x="88" y="644"/>
                  </a:lnTo>
                  <a:lnTo>
                    <a:pt x="90" y="644"/>
                  </a:lnTo>
                  <a:lnTo>
                    <a:pt x="90" y="644"/>
                  </a:lnTo>
                  <a:lnTo>
                    <a:pt x="90" y="644"/>
                  </a:lnTo>
                  <a:lnTo>
                    <a:pt x="90" y="644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39"/>
                  </a:lnTo>
                  <a:lnTo>
                    <a:pt x="90" y="639"/>
                  </a:lnTo>
                  <a:lnTo>
                    <a:pt x="90" y="639"/>
                  </a:lnTo>
                  <a:lnTo>
                    <a:pt x="90" y="639"/>
                  </a:lnTo>
                  <a:lnTo>
                    <a:pt x="90" y="639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90" y="641"/>
                  </a:lnTo>
                  <a:lnTo>
                    <a:pt x="88" y="644"/>
                  </a:lnTo>
                  <a:lnTo>
                    <a:pt x="88" y="644"/>
                  </a:lnTo>
                  <a:lnTo>
                    <a:pt x="88" y="644"/>
                  </a:lnTo>
                  <a:lnTo>
                    <a:pt x="88" y="644"/>
                  </a:lnTo>
                  <a:lnTo>
                    <a:pt x="88" y="644"/>
                  </a:lnTo>
                  <a:lnTo>
                    <a:pt x="86" y="644"/>
                  </a:lnTo>
                  <a:lnTo>
                    <a:pt x="86" y="644"/>
                  </a:lnTo>
                  <a:lnTo>
                    <a:pt x="86" y="644"/>
                  </a:lnTo>
                  <a:lnTo>
                    <a:pt x="86" y="644"/>
                  </a:lnTo>
                  <a:lnTo>
                    <a:pt x="86" y="644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6" y="646"/>
                  </a:lnTo>
                  <a:lnTo>
                    <a:pt x="84" y="646"/>
                  </a:lnTo>
                  <a:lnTo>
                    <a:pt x="84" y="646"/>
                  </a:lnTo>
                  <a:lnTo>
                    <a:pt x="84" y="646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81" y="648"/>
                  </a:lnTo>
                  <a:lnTo>
                    <a:pt x="79" y="648"/>
                  </a:lnTo>
                  <a:lnTo>
                    <a:pt x="79" y="648"/>
                  </a:lnTo>
                  <a:lnTo>
                    <a:pt x="79" y="648"/>
                  </a:lnTo>
                  <a:lnTo>
                    <a:pt x="79" y="648"/>
                  </a:lnTo>
                  <a:lnTo>
                    <a:pt x="79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2" y="648"/>
                  </a:lnTo>
                  <a:lnTo>
                    <a:pt x="72" y="648"/>
                  </a:lnTo>
                  <a:lnTo>
                    <a:pt x="72" y="648"/>
                  </a:lnTo>
                  <a:lnTo>
                    <a:pt x="75" y="648"/>
                  </a:lnTo>
                  <a:lnTo>
                    <a:pt x="75" y="648"/>
                  </a:lnTo>
                  <a:lnTo>
                    <a:pt x="75" y="648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9" y="646"/>
                  </a:lnTo>
                  <a:lnTo>
                    <a:pt x="79" y="646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5" y="646"/>
                  </a:lnTo>
                  <a:lnTo>
                    <a:pt x="77" y="646"/>
                  </a:lnTo>
                  <a:lnTo>
                    <a:pt x="77" y="644"/>
                  </a:lnTo>
                  <a:lnTo>
                    <a:pt x="77" y="644"/>
                  </a:lnTo>
                  <a:lnTo>
                    <a:pt x="77" y="644"/>
                  </a:lnTo>
                  <a:lnTo>
                    <a:pt x="77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2" y="644"/>
                  </a:lnTo>
                  <a:lnTo>
                    <a:pt x="72" y="644"/>
                  </a:lnTo>
                  <a:lnTo>
                    <a:pt x="70" y="646"/>
                  </a:lnTo>
                  <a:lnTo>
                    <a:pt x="70" y="646"/>
                  </a:lnTo>
                  <a:lnTo>
                    <a:pt x="70" y="646"/>
                  </a:lnTo>
                  <a:lnTo>
                    <a:pt x="70" y="646"/>
                  </a:lnTo>
                  <a:lnTo>
                    <a:pt x="70" y="646"/>
                  </a:lnTo>
                  <a:lnTo>
                    <a:pt x="70" y="644"/>
                  </a:lnTo>
                  <a:lnTo>
                    <a:pt x="70" y="644"/>
                  </a:lnTo>
                  <a:lnTo>
                    <a:pt x="70" y="644"/>
                  </a:lnTo>
                  <a:lnTo>
                    <a:pt x="70" y="644"/>
                  </a:lnTo>
                  <a:lnTo>
                    <a:pt x="70" y="644"/>
                  </a:lnTo>
                  <a:lnTo>
                    <a:pt x="72" y="644"/>
                  </a:lnTo>
                  <a:lnTo>
                    <a:pt x="72" y="644"/>
                  </a:lnTo>
                  <a:lnTo>
                    <a:pt x="72" y="644"/>
                  </a:lnTo>
                  <a:lnTo>
                    <a:pt x="72" y="644"/>
                  </a:lnTo>
                  <a:lnTo>
                    <a:pt x="75" y="644"/>
                  </a:lnTo>
                  <a:lnTo>
                    <a:pt x="75" y="644"/>
                  </a:lnTo>
                  <a:lnTo>
                    <a:pt x="77" y="644"/>
                  </a:lnTo>
                  <a:lnTo>
                    <a:pt x="77" y="644"/>
                  </a:lnTo>
                  <a:lnTo>
                    <a:pt x="77" y="644"/>
                  </a:lnTo>
                  <a:lnTo>
                    <a:pt x="79" y="644"/>
                  </a:lnTo>
                  <a:lnTo>
                    <a:pt x="79" y="641"/>
                  </a:lnTo>
                  <a:lnTo>
                    <a:pt x="77" y="641"/>
                  </a:lnTo>
                  <a:lnTo>
                    <a:pt x="77" y="644"/>
                  </a:lnTo>
                  <a:lnTo>
                    <a:pt x="77" y="644"/>
                  </a:lnTo>
                  <a:lnTo>
                    <a:pt x="75" y="644"/>
                  </a:lnTo>
                  <a:lnTo>
                    <a:pt x="72" y="641"/>
                  </a:lnTo>
                  <a:lnTo>
                    <a:pt x="72" y="641"/>
                  </a:lnTo>
                  <a:lnTo>
                    <a:pt x="72" y="641"/>
                  </a:lnTo>
                  <a:lnTo>
                    <a:pt x="75" y="639"/>
                  </a:lnTo>
                  <a:lnTo>
                    <a:pt x="75" y="639"/>
                  </a:lnTo>
                  <a:lnTo>
                    <a:pt x="75" y="639"/>
                  </a:lnTo>
                  <a:lnTo>
                    <a:pt x="72" y="641"/>
                  </a:lnTo>
                  <a:lnTo>
                    <a:pt x="72" y="641"/>
                  </a:lnTo>
                  <a:lnTo>
                    <a:pt x="72" y="641"/>
                  </a:lnTo>
                  <a:lnTo>
                    <a:pt x="72" y="641"/>
                  </a:lnTo>
                  <a:lnTo>
                    <a:pt x="72" y="641"/>
                  </a:lnTo>
                  <a:lnTo>
                    <a:pt x="70" y="644"/>
                  </a:lnTo>
                  <a:lnTo>
                    <a:pt x="70" y="644"/>
                  </a:lnTo>
                  <a:lnTo>
                    <a:pt x="70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8" y="644"/>
                  </a:lnTo>
                  <a:lnTo>
                    <a:pt x="66" y="644"/>
                  </a:lnTo>
                  <a:lnTo>
                    <a:pt x="66" y="644"/>
                  </a:lnTo>
                  <a:lnTo>
                    <a:pt x="66" y="644"/>
                  </a:lnTo>
                  <a:lnTo>
                    <a:pt x="66" y="641"/>
                  </a:lnTo>
                  <a:lnTo>
                    <a:pt x="66" y="641"/>
                  </a:lnTo>
                  <a:lnTo>
                    <a:pt x="66" y="644"/>
                  </a:lnTo>
                  <a:lnTo>
                    <a:pt x="66" y="644"/>
                  </a:lnTo>
                  <a:lnTo>
                    <a:pt x="66" y="644"/>
                  </a:lnTo>
                  <a:lnTo>
                    <a:pt x="66" y="644"/>
                  </a:lnTo>
                  <a:lnTo>
                    <a:pt x="63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59" y="644"/>
                  </a:lnTo>
                  <a:lnTo>
                    <a:pt x="59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1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1" y="646"/>
                  </a:lnTo>
                  <a:lnTo>
                    <a:pt x="61" y="646"/>
                  </a:lnTo>
                  <a:lnTo>
                    <a:pt x="61" y="646"/>
                  </a:lnTo>
                  <a:lnTo>
                    <a:pt x="61" y="646"/>
                  </a:lnTo>
                  <a:lnTo>
                    <a:pt x="59" y="644"/>
                  </a:lnTo>
                  <a:lnTo>
                    <a:pt x="59" y="644"/>
                  </a:lnTo>
                  <a:lnTo>
                    <a:pt x="59" y="644"/>
                  </a:lnTo>
                  <a:lnTo>
                    <a:pt x="59" y="644"/>
                  </a:lnTo>
                  <a:lnTo>
                    <a:pt x="59" y="644"/>
                  </a:lnTo>
                  <a:lnTo>
                    <a:pt x="59" y="644"/>
                  </a:lnTo>
                  <a:lnTo>
                    <a:pt x="57" y="644"/>
                  </a:lnTo>
                  <a:lnTo>
                    <a:pt x="57" y="644"/>
                  </a:lnTo>
                  <a:lnTo>
                    <a:pt x="57" y="644"/>
                  </a:lnTo>
                  <a:lnTo>
                    <a:pt x="57" y="644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7" y="641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4" y="641"/>
                  </a:lnTo>
                  <a:lnTo>
                    <a:pt x="54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7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4" y="639"/>
                  </a:lnTo>
                  <a:lnTo>
                    <a:pt x="52" y="637"/>
                  </a:lnTo>
                  <a:lnTo>
                    <a:pt x="52" y="637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4" y="637"/>
                  </a:lnTo>
                  <a:lnTo>
                    <a:pt x="54" y="637"/>
                  </a:lnTo>
                  <a:lnTo>
                    <a:pt x="54" y="635"/>
                  </a:lnTo>
                  <a:lnTo>
                    <a:pt x="54" y="635"/>
                  </a:lnTo>
                  <a:lnTo>
                    <a:pt x="54" y="635"/>
                  </a:lnTo>
                  <a:lnTo>
                    <a:pt x="57" y="635"/>
                  </a:lnTo>
                  <a:lnTo>
                    <a:pt x="59" y="635"/>
                  </a:lnTo>
                  <a:lnTo>
                    <a:pt x="59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66" y="635"/>
                  </a:lnTo>
                  <a:lnTo>
                    <a:pt x="66" y="635"/>
                  </a:lnTo>
                  <a:lnTo>
                    <a:pt x="68" y="635"/>
                  </a:lnTo>
                  <a:lnTo>
                    <a:pt x="68" y="635"/>
                  </a:lnTo>
                  <a:lnTo>
                    <a:pt x="68" y="632"/>
                  </a:lnTo>
                  <a:lnTo>
                    <a:pt x="68" y="632"/>
                  </a:lnTo>
                  <a:lnTo>
                    <a:pt x="68" y="632"/>
                  </a:lnTo>
                  <a:lnTo>
                    <a:pt x="68" y="632"/>
                  </a:lnTo>
                  <a:lnTo>
                    <a:pt x="68" y="632"/>
                  </a:lnTo>
                  <a:lnTo>
                    <a:pt x="68" y="632"/>
                  </a:lnTo>
                  <a:lnTo>
                    <a:pt x="66" y="632"/>
                  </a:lnTo>
                  <a:lnTo>
                    <a:pt x="66" y="635"/>
                  </a:lnTo>
                  <a:lnTo>
                    <a:pt x="66" y="635"/>
                  </a:lnTo>
                  <a:lnTo>
                    <a:pt x="63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61" y="635"/>
                  </a:lnTo>
                  <a:lnTo>
                    <a:pt x="61" y="632"/>
                  </a:lnTo>
                  <a:lnTo>
                    <a:pt x="61" y="632"/>
                  </a:lnTo>
                  <a:lnTo>
                    <a:pt x="61" y="632"/>
                  </a:lnTo>
                  <a:lnTo>
                    <a:pt x="61" y="632"/>
                  </a:lnTo>
                  <a:lnTo>
                    <a:pt x="59" y="632"/>
                  </a:lnTo>
                  <a:lnTo>
                    <a:pt x="59" y="635"/>
                  </a:lnTo>
                  <a:lnTo>
                    <a:pt x="59" y="632"/>
                  </a:lnTo>
                  <a:lnTo>
                    <a:pt x="57" y="632"/>
                  </a:lnTo>
                  <a:lnTo>
                    <a:pt x="57" y="635"/>
                  </a:lnTo>
                  <a:lnTo>
                    <a:pt x="57" y="635"/>
                  </a:lnTo>
                  <a:lnTo>
                    <a:pt x="57" y="635"/>
                  </a:lnTo>
                  <a:lnTo>
                    <a:pt x="57" y="635"/>
                  </a:lnTo>
                  <a:lnTo>
                    <a:pt x="57" y="632"/>
                  </a:lnTo>
                  <a:lnTo>
                    <a:pt x="57" y="632"/>
                  </a:lnTo>
                  <a:lnTo>
                    <a:pt x="57" y="632"/>
                  </a:lnTo>
                  <a:lnTo>
                    <a:pt x="57" y="632"/>
                  </a:lnTo>
                  <a:lnTo>
                    <a:pt x="59" y="632"/>
                  </a:lnTo>
                  <a:lnTo>
                    <a:pt x="59" y="632"/>
                  </a:lnTo>
                  <a:lnTo>
                    <a:pt x="59" y="632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30"/>
                  </a:lnTo>
                  <a:lnTo>
                    <a:pt x="63" y="628"/>
                  </a:lnTo>
                  <a:lnTo>
                    <a:pt x="63" y="628"/>
                  </a:lnTo>
                  <a:lnTo>
                    <a:pt x="66" y="628"/>
                  </a:lnTo>
                  <a:lnTo>
                    <a:pt x="66" y="628"/>
                  </a:lnTo>
                  <a:lnTo>
                    <a:pt x="66" y="628"/>
                  </a:lnTo>
                  <a:lnTo>
                    <a:pt x="66" y="626"/>
                  </a:lnTo>
                  <a:lnTo>
                    <a:pt x="70" y="626"/>
                  </a:lnTo>
                  <a:lnTo>
                    <a:pt x="75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4" y="626"/>
                  </a:lnTo>
                  <a:lnTo>
                    <a:pt x="84" y="626"/>
                  </a:lnTo>
                  <a:lnTo>
                    <a:pt x="84" y="626"/>
                  </a:lnTo>
                  <a:lnTo>
                    <a:pt x="84" y="626"/>
                  </a:lnTo>
                  <a:lnTo>
                    <a:pt x="84" y="626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3"/>
                  </a:lnTo>
                  <a:lnTo>
                    <a:pt x="84" y="626"/>
                  </a:lnTo>
                  <a:lnTo>
                    <a:pt x="84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81" y="626"/>
                  </a:lnTo>
                  <a:lnTo>
                    <a:pt x="75" y="626"/>
                  </a:lnTo>
                  <a:lnTo>
                    <a:pt x="70" y="626"/>
                  </a:lnTo>
                  <a:lnTo>
                    <a:pt x="70" y="626"/>
                  </a:lnTo>
                  <a:lnTo>
                    <a:pt x="70" y="626"/>
                  </a:lnTo>
                  <a:lnTo>
                    <a:pt x="70" y="626"/>
                  </a:lnTo>
                  <a:lnTo>
                    <a:pt x="70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2" y="621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70" y="623"/>
                  </a:lnTo>
                  <a:lnTo>
                    <a:pt x="68" y="623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6" y="626"/>
                  </a:lnTo>
                  <a:lnTo>
                    <a:pt x="66" y="626"/>
                  </a:lnTo>
                  <a:lnTo>
                    <a:pt x="66" y="626"/>
                  </a:lnTo>
                  <a:lnTo>
                    <a:pt x="63" y="626"/>
                  </a:lnTo>
                  <a:lnTo>
                    <a:pt x="63" y="626"/>
                  </a:lnTo>
                  <a:lnTo>
                    <a:pt x="66" y="626"/>
                  </a:lnTo>
                  <a:lnTo>
                    <a:pt x="66" y="626"/>
                  </a:lnTo>
                  <a:lnTo>
                    <a:pt x="66" y="626"/>
                  </a:lnTo>
                  <a:lnTo>
                    <a:pt x="66" y="626"/>
                  </a:lnTo>
                  <a:lnTo>
                    <a:pt x="68" y="626"/>
                  </a:lnTo>
                  <a:lnTo>
                    <a:pt x="68" y="626"/>
                  </a:lnTo>
                  <a:lnTo>
                    <a:pt x="66" y="626"/>
                  </a:lnTo>
                  <a:lnTo>
                    <a:pt x="66" y="626"/>
                  </a:lnTo>
                  <a:lnTo>
                    <a:pt x="66" y="628"/>
                  </a:lnTo>
                  <a:lnTo>
                    <a:pt x="63" y="628"/>
                  </a:lnTo>
                  <a:lnTo>
                    <a:pt x="63" y="628"/>
                  </a:lnTo>
                  <a:lnTo>
                    <a:pt x="63" y="628"/>
                  </a:lnTo>
                  <a:lnTo>
                    <a:pt x="63" y="628"/>
                  </a:lnTo>
                  <a:lnTo>
                    <a:pt x="63" y="628"/>
                  </a:lnTo>
                  <a:lnTo>
                    <a:pt x="63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59" y="630"/>
                  </a:lnTo>
                  <a:lnTo>
                    <a:pt x="59" y="630"/>
                  </a:lnTo>
                  <a:lnTo>
                    <a:pt x="59" y="630"/>
                  </a:lnTo>
                  <a:lnTo>
                    <a:pt x="59" y="630"/>
                  </a:lnTo>
                  <a:lnTo>
                    <a:pt x="59" y="630"/>
                  </a:lnTo>
                  <a:lnTo>
                    <a:pt x="59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1" y="630"/>
                  </a:lnTo>
                  <a:lnTo>
                    <a:pt x="61" y="628"/>
                  </a:lnTo>
                  <a:lnTo>
                    <a:pt x="61" y="628"/>
                  </a:lnTo>
                  <a:lnTo>
                    <a:pt x="61" y="628"/>
                  </a:lnTo>
                  <a:lnTo>
                    <a:pt x="59" y="630"/>
                  </a:lnTo>
                  <a:lnTo>
                    <a:pt x="59" y="630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59" y="628"/>
                  </a:lnTo>
                  <a:lnTo>
                    <a:pt x="61" y="626"/>
                  </a:lnTo>
                  <a:lnTo>
                    <a:pt x="61" y="626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61" y="626"/>
                  </a:lnTo>
                  <a:lnTo>
                    <a:pt x="61" y="626"/>
                  </a:lnTo>
                  <a:lnTo>
                    <a:pt x="61" y="626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1" y="623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3" y="621"/>
                  </a:lnTo>
                  <a:lnTo>
                    <a:pt x="66" y="621"/>
                  </a:lnTo>
                  <a:lnTo>
                    <a:pt x="66" y="619"/>
                  </a:lnTo>
                  <a:lnTo>
                    <a:pt x="66" y="619"/>
                  </a:lnTo>
                  <a:lnTo>
                    <a:pt x="66" y="619"/>
                  </a:lnTo>
                  <a:lnTo>
                    <a:pt x="68" y="619"/>
                  </a:lnTo>
                  <a:lnTo>
                    <a:pt x="68" y="619"/>
                  </a:lnTo>
                  <a:lnTo>
                    <a:pt x="68" y="619"/>
                  </a:lnTo>
                  <a:lnTo>
                    <a:pt x="68" y="619"/>
                  </a:lnTo>
                  <a:lnTo>
                    <a:pt x="70" y="619"/>
                  </a:lnTo>
                  <a:lnTo>
                    <a:pt x="70" y="617"/>
                  </a:lnTo>
                  <a:lnTo>
                    <a:pt x="72" y="617"/>
                  </a:lnTo>
                  <a:lnTo>
                    <a:pt x="72" y="617"/>
                  </a:lnTo>
                  <a:lnTo>
                    <a:pt x="72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4"/>
                  </a:lnTo>
                  <a:lnTo>
                    <a:pt x="75" y="617"/>
                  </a:lnTo>
                  <a:lnTo>
                    <a:pt x="75" y="617"/>
                  </a:lnTo>
                  <a:lnTo>
                    <a:pt x="75" y="617"/>
                  </a:lnTo>
                  <a:lnTo>
                    <a:pt x="72" y="617"/>
                  </a:lnTo>
                  <a:lnTo>
                    <a:pt x="72" y="617"/>
                  </a:lnTo>
                  <a:lnTo>
                    <a:pt x="70" y="617"/>
                  </a:lnTo>
                  <a:lnTo>
                    <a:pt x="72" y="617"/>
                  </a:lnTo>
                  <a:lnTo>
                    <a:pt x="72" y="617"/>
                  </a:lnTo>
                  <a:lnTo>
                    <a:pt x="72" y="617"/>
                  </a:lnTo>
                  <a:lnTo>
                    <a:pt x="75" y="617"/>
                  </a:lnTo>
                  <a:lnTo>
                    <a:pt x="75" y="617"/>
                  </a:lnTo>
                  <a:lnTo>
                    <a:pt x="77" y="617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7" y="614"/>
                  </a:lnTo>
                  <a:lnTo>
                    <a:pt x="79" y="612"/>
                  </a:lnTo>
                  <a:lnTo>
                    <a:pt x="79" y="612"/>
                  </a:lnTo>
                  <a:lnTo>
                    <a:pt x="81" y="612"/>
                  </a:lnTo>
                  <a:lnTo>
                    <a:pt x="81" y="612"/>
                  </a:lnTo>
                  <a:lnTo>
                    <a:pt x="81" y="612"/>
                  </a:lnTo>
                  <a:lnTo>
                    <a:pt x="84" y="612"/>
                  </a:lnTo>
                  <a:lnTo>
                    <a:pt x="84" y="612"/>
                  </a:lnTo>
                  <a:lnTo>
                    <a:pt x="84" y="610"/>
                  </a:lnTo>
                  <a:lnTo>
                    <a:pt x="86" y="612"/>
                  </a:lnTo>
                  <a:lnTo>
                    <a:pt x="86" y="612"/>
                  </a:lnTo>
                  <a:lnTo>
                    <a:pt x="86" y="612"/>
                  </a:lnTo>
                  <a:lnTo>
                    <a:pt x="86" y="612"/>
                  </a:lnTo>
                  <a:lnTo>
                    <a:pt x="86" y="612"/>
                  </a:lnTo>
                  <a:lnTo>
                    <a:pt x="86" y="612"/>
                  </a:lnTo>
                  <a:lnTo>
                    <a:pt x="86" y="612"/>
                  </a:lnTo>
                  <a:lnTo>
                    <a:pt x="86" y="614"/>
                  </a:lnTo>
                  <a:lnTo>
                    <a:pt x="86" y="614"/>
                  </a:lnTo>
                  <a:lnTo>
                    <a:pt x="86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9"/>
                  </a:lnTo>
                  <a:lnTo>
                    <a:pt x="86" y="619"/>
                  </a:lnTo>
                  <a:lnTo>
                    <a:pt x="88" y="619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7"/>
                  </a:lnTo>
                  <a:lnTo>
                    <a:pt x="88" y="614"/>
                  </a:lnTo>
                  <a:lnTo>
                    <a:pt x="88" y="614"/>
                  </a:lnTo>
                  <a:lnTo>
                    <a:pt x="86" y="614"/>
                  </a:lnTo>
                  <a:lnTo>
                    <a:pt x="86" y="612"/>
                  </a:lnTo>
                  <a:lnTo>
                    <a:pt x="88" y="612"/>
                  </a:lnTo>
                  <a:lnTo>
                    <a:pt x="88" y="612"/>
                  </a:lnTo>
                  <a:lnTo>
                    <a:pt x="88" y="612"/>
                  </a:lnTo>
                  <a:lnTo>
                    <a:pt x="88" y="612"/>
                  </a:lnTo>
                  <a:lnTo>
                    <a:pt x="88" y="612"/>
                  </a:lnTo>
                  <a:lnTo>
                    <a:pt x="88" y="610"/>
                  </a:lnTo>
                  <a:lnTo>
                    <a:pt x="88" y="610"/>
                  </a:lnTo>
                  <a:lnTo>
                    <a:pt x="88" y="610"/>
                  </a:lnTo>
                  <a:lnTo>
                    <a:pt x="90" y="610"/>
                  </a:lnTo>
                  <a:lnTo>
                    <a:pt x="90" y="610"/>
                  </a:lnTo>
                  <a:lnTo>
                    <a:pt x="90" y="610"/>
                  </a:lnTo>
                  <a:lnTo>
                    <a:pt x="90" y="610"/>
                  </a:lnTo>
                  <a:lnTo>
                    <a:pt x="90" y="610"/>
                  </a:lnTo>
                  <a:lnTo>
                    <a:pt x="90" y="610"/>
                  </a:lnTo>
                  <a:lnTo>
                    <a:pt x="93" y="610"/>
                  </a:lnTo>
                  <a:lnTo>
                    <a:pt x="93" y="610"/>
                  </a:lnTo>
                  <a:lnTo>
                    <a:pt x="93" y="610"/>
                  </a:lnTo>
                  <a:lnTo>
                    <a:pt x="93" y="610"/>
                  </a:lnTo>
                  <a:lnTo>
                    <a:pt x="90" y="610"/>
                  </a:lnTo>
                  <a:lnTo>
                    <a:pt x="88" y="610"/>
                  </a:lnTo>
                  <a:lnTo>
                    <a:pt x="88" y="610"/>
                  </a:lnTo>
                  <a:lnTo>
                    <a:pt x="88" y="610"/>
                  </a:lnTo>
                  <a:lnTo>
                    <a:pt x="86" y="610"/>
                  </a:lnTo>
                  <a:lnTo>
                    <a:pt x="86" y="610"/>
                  </a:lnTo>
                  <a:lnTo>
                    <a:pt x="86" y="610"/>
                  </a:lnTo>
                  <a:lnTo>
                    <a:pt x="86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4" y="610"/>
                  </a:lnTo>
                  <a:lnTo>
                    <a:pt x="86" y="610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6" y="605"/>
                  </a:lnTo>
                  <a:lnTo>
                    <a:pt x="88" y="605"/>
                  </a:lnTo>
                  <a:lnTo>
                    <a:pt x="88" y="605"/>
                  </a:lnTo>
                  <a:lnTo>
                    <a:pt x="88" y="605"/>
                  </a:lnTo>
                  <a:lnTo>
                    <a:pt x="90" y="605"/>
                  </a:lnTo>
                  <a:lnTo>
                    <a:pt x="90" y="603"/>
                  </a:lnTo>
                  <a:lnTo>
                    <a:pt x="90" y="603"/>
                  </a:lnTo>
                  <a:lnTo>
                    <a:pt x="93" y="603"/>
                  </a:lnTo>
                  <a:lnTo>
                    <a:pt x="93" y="603"/>
                  </a:lnTo>
                  <a:lnTo>
                    <a:pt x="93" y="603"/>
                  </a:lnTo>
                  <a:lnTo>
                    <a:pt x="95" y="603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7" y="599"/>
                  </a:lnTo>
                  <a:lnTo>
                    <a:pt x="97" y="599"/>
                  </a:lnTo>
                  <a:lnTo>
                    <a:pt x="95" y="599"/>
                  </a:lnTo>
                  <a:lnTo>
                    <a:pt x="95" y="599"/>
                  </a:lnTo>
                  <a:lnTo>
                    <a:pt x="95" y="599"/>
                  </a:lnTo>
                  <a:lnTo>
                    <a:pt x="95" y="599"/>
                  </a:lnTo>
                  <a:lnTo>
                    <a:pt x="95" y="599"/>
                  </a:lnTo>
                  <a:lnTo>
                    <a:pt x="95" y="599"/>
                  </a:lnTo>
                  <a:lnTo>
                    <a:pt x="95" y="599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1"/>
                  </a:lnTo>
                  <a:lnTo>
                    <a:pt x="95" y="603"/>
                  </a:lnTo>
                  <a:lnTo>
                    <a:pt x="93" y="603"/>
                  </a:lnTo>
                  <a:lnTo>
                    <a:pt x="88" y="605"/>
                  </a:lnTo>
                  <a:lnTo>
                    <a:pt x="88" y="605"/>
                  </a:lnTo>
                  <a:lnTo>
                    <a:pt x="88" y="605"/>
                  </a:lnTo>
                  <a:lnTo>
                    <a:pt x="86" y="605"/>
                  </a:lnTo>
                  <a:lnTo>
                    <a:pt x="86" y="605"/>
                  </a:lnTo>
                  <a:lnTo>
                    <a:pt x="86" y="605"/>
                  </a:lnTo>
                  <a:lnTo>
                    <a:pt x="86" y="605"/>
                  </a:lnTo>
                  <a:lnTo>
                    <a:pt x="86" y="605"/>
                  </a:lnTo>
                  <a:lnTo>
                    <a:pt x="86" y="605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6" y="608"/>
                  </a:lnTo>
                  <a:lnTo>
                    <a:pt x="84" y="608"/>
                  </a:lnTo>
                  <a:lnTo>
                    <a:pt x="84" y="608"/>
                  </a:lnTo>
                  <a:lnTo>
                    <a:pt x="81" y="610"/>
                  </a:lnTo>
                  <a:lnTo>
                    <a:pt x="79" y="610"/>
                  </a:lnTo>
                  <a:lnTo>
                    <a:pt x="79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5" y="612"/>
                  </a:lnTo>
                  <a:lnTo>
                    <a:pt x="75" y="612"/>
                  </a:lnTo>
                  <a:lnTo>
                    <a:pt x="75" y="612"/>
                  </a:lnTo>
                  <a:lnTo>
                    <a:pt x="75" y="612"/>
                  </a:lnTo>
                  <a:lnTo>
                    <a:pt x="75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0"/>
                  </a:lnTo>
                  <a:lnTo>
                    <a:pt x="75" y="610"/>
                  </a:lnTo>
                  <a:lnTo>
                    <a:pt x="75" y="610"/>
                  </a:lnTo>
                  <a:lnTo>
                    <a:pt x="75" y="610"/>
                  </a:lnTo>
                  <a:lnTo>
                    <a:pt x="75" y="610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2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4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2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2" y="610"/>
                  </a:lnTo>
                  <a:lnTo>
                    <a:pt x="72" y="610"/>
                  </a:lnTo>
                  <a:lnTo>
                    <a:pt x="72" y="610"/>
                  </a:lnTo>
                  <a:lnTo>
                    <a:pt x="72" y="610"/>
                  </a:lnTo>
                  <a:lnTo>
                    <a:pt x="72" y="610"/>
                  </a:lnTo>
                  <a:lnTo>
                    <a:pt x="72" y="610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5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10"/>
                  </a:lnTo>
                  <a:lnTo>
                    <a:pt x="72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10"/>
                  </a:lnTo>
                  <a:lnTo>
                    <a:pt x="70" y="608"/>
                  </a:lnTo>
                  <a:lnTo>
                    <a:pt x="70" y="608"/>
                  </a:lnTo>
                  <a:lnTo>
                    <a:pt x="72" y="608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2" y="608"/>
                  </a:lnTo>
                  <a:lnTo>
                    <a:pt x="75" y="608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7" y="605"/>
                  </a:lnTo>
                  <a:lnTo>
                    <a:pt x="75" y="605"/>
                  </a:lnTo>
                  <a:lnTo>
                    <a:pt x="75" y="605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0" y="605"/>
                  </a:lnTo>
                  <a:lnTo>
                    <a:pt x="70" y="608"/>
                  </a:lnTo>
                  <a:lnTo>
                    <a:pt x="70" y="608"/>
                  </a:lnTo>
                  <a:lnTo>
                    <a:pt x="70" y="608"/>
                  </a:lnTo>
                  <a:lnTo>
                    <a:pt x="70" y="608"/>
                  </a:lnTo>
                  <a:lnTo>
                    <a:pt x="70" y="608"/>
                  </a:lnTo>
                  <a:lnTo>
                    <a:pt x="68" y="608"/>
                  </a:lnTo>
                  <a:lnTo>
                    <a:pt x="68" y="608"/>
                  </a:lnTo>
                  <a:lnTo>
                    <a:pt x="68" y="610"/>
                  </a:lnTo>
                  <a:lnTo>
                    <a:pt x="68" y="610"/>
                  </a:lnTo>
                  <a:lnTo>
                    <a:pt x="68" y="610"/>
                  </a:lnTo>
                  <a:lnTo>
                    <a:pt x="68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1" y="612"/>
                  </a:lnTo>
                  <a:lnTo>
                    <a:pt x="61" y="612"/>
                  </a:lnTo>
                  <a:lnTo>
                    <a:pt x="61" y="612"/>
                  </a:lnTo>
                  <a:lnTo>
                    <a:pt x="61" y="612"/>
                  </a:lnTo>
                  <a:lnTo>
                    <a:pt x="63" y="612"/>
                  </a:lnTo>
                  <a:lnTo>
                    <a:pt x="63" y="610"/>
                  </a:lnTo>
                  <a:lnTo>
                    <a:pt x="63" y="610"/>
                  </a:lnTo>
                  <a:lnTo>
                    <a:pt x="63" y="610"/>
                  </a:lnTo>
                  <a:lnTo>
                    <a:pt x="63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08"/>
                  </a:lnTo>
                  <a:lnTo>
                    <a:pt x="66" y="608"/>
                  </a:lnTo>
                  <a:lnTo>
                    <a:pt x="68" y="608"/>
                  </a:lnTo>
                  <a:lnTo>
                    <a:pt x="68" y="608"/>
                  </a:lnTo>
                  <a:lnTo>
                    <a:pt x="68" y="608"/>
                  </a:lnTo>
                  <a:lnTo>
                    <a:pt x="68" y="608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68" y="605"/>
                  </a:lnTo>
                  <a:lnTo>
                    <a:pt x="70" y="605"/>
                  </a:lnTo>
                  <a:lnTo>
                    <a:pt x="70" y="605"/>
                  </a:lnTo>
                  <a:lnTo>
                    <a:pt x="70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601"/>
                  </a:lnTo>
                  <a:lnTo>
                    <a:pt x="75" y="599"/>
                  </a:lnTo>
                  <a:lnTo>
                    <a:pt x="77" y="599"/>
                  </a:lnTo>
                  <a:lnTo>
                    <a:pt x="77" y="599"/>
                  </a:lnTo>
                  <a:lnTo>
                    <a:pt x="77" y="599"/>
                  </a:lnTo>
                  <a:lnTo>
                    <a:pt x="77" y="599"/>
                  </a:lnTo>
                  <a:lnTo>
                    <a:pt x="79" y="599"/>
                  </a:lnTo>
                  <a:lnTo>
                    <a:pt x="79" y="599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7" y="599"/>
                  </a:lnTo>
                  <a:lnTo>
                    <a:pt x="77" y="596"/>
                  </a:lnTo>
                  <a:lnTo>
                    <a:pt x="77" y="596"/>
                  </a:lnTo>
                  <a:lnTo>
                    <a:pt x="77" y="596"/>
                  </a:lnTo>
                  <a:lnTo>
                    <a:pt x="77" y="599"/>
                  </a:lnTo>
                  <a:lnTo>
                    <a:pt x="77" y="599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5" y="599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2" y="601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9"/>
                  </a:lnTo>
                  <a:lnTo>
                    <a:pt x="70" y="596"/>
                  </a:lnTo>
                  <a:lnTo>
                    <a:pt x="72" y="596"/>
                  </a:lnTo>
                  <a:lnTo>
                    <a:pt x="72" y="596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5" y="594"/>
                  </a:lnTo>
                  <a:lnTo>
                    <a:pt x="75" y="594"/>
                  </a:lnTo>
                  <a:lnTo>
                    <a:pt x="75" y="594"/>
                  </a:lnTo>
                  <a:lnTo>
                    <a:pt x="72" y="594"/>
                  </a:lnTo>
                  <a:lnTo>
                    <a:pt x="72" y="594"/>
                  </a:lnTo>
                  <a:lnTo>
                    <a:pt x="72" y="592"/>
                  </a:lnTo>
                  <a:lnTo>
                    <a:pt x="75" y="592"/>
                  </a:lnTo>
                  <a:lnTo>
                    <a:pt x="75" y="592"/>
                  </a:lnTo>
                  <a:lnTo>
                    <a:pt x="75" y="592"/>
                  </a:lnTo>
                  <a:lnTo>
                    <a:pt x="75" y="592"/>
                  </a:lnTo>
                  <a:lnTo>
                    <a:pt x="75" y="592"/>
                  </a:lnTo>
                  <a:lnTo>
                    <a:pt x="75" y="592"/>
                  </a:lnTo>
                  <a:lnTo>
                    <a:pt x="72" y="592"/>
                  </a:lnTo>
                  <a:lnTo>
                    <a:pt x="75" y="590"/>
                  </a:lnTo>
                  <a:lnTo>
                    <a:pt x="75" y="590"/>
                  </a:lnTo>
                  <a:lnTo>
                    <a:pt x="75" y="590"/>
                  </a:lnTo>
                  <a:lnTo>
                    <a:pt x="75" y="590"/>
                  </a:lnTo>
                  <a:lnTo>
                    <a:pt x="72" y="590"/>
                  </a:lnTo>
                  <a:lnTo>
                    <a:pt x="72" y="590"/>
                  </a:lnTo>
                  <a:lnTo>
                    <a:pt x="72" y="590"/>
                  </a:lnTo>
                  <a:lnTo>
                    <a:pt x="72" y="590"/>
                  </a:lnTo>
                  <a:lnTo>
                    <a:pt x="72" y="592"/>
                  </a:lnTo>
                  <a:lnTo>
                    <a:pt x="72" y="592"/>
                  </a:lnTo>
                  <a:lnTo>
                    <a:pt x="72" y="592"/>
                  </a:lnTo>
                  <a:lnTo>
                    <a:pt x="72" y="590"/>
                  </a:lnTo>
                  <a:lnTo>
                    <a:pt x="72" y="590"/>
                  </a:lnTo>
                  <a:lnTo>
                    <a:pt x="70" y="590"/>
                  </a:lnTo>
                  <a:lnTo>
                    <a:pt x="70" y="590"/>
                  </a:lnTo>
                  <a:lnTo>
                    <a:pt x="70" y="590"/>
                  </a:lnTo>
                  <a:lnTo>
                    <a:pt x="70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7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5" y="585"/>
                  </a:lnTo>
                  <a:lnTo>
                    <a:pt x="75" y="585"/>
                  </a:lnTo>
                  <a:lnTo>
                    <a:pt x="75" y="585"/>
                  </a:lnTo>
                  <a:lnTo>
                    <a:pt x="75" y="585"/>
                  </a:lnTo>
                  <a:lnTo>
                    <a:pt x="75" y="585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2" y="585"/>
                  </a:lnTo>
                  <a:lnTo>
                    <a:pt x="75" y="583"/>
                  </a:lnTo>
                  <a:lnTo>
                    <a:pt x="75" y="583"/>
                  </a:lnTo>
                  <a:lnTo>
                    <a:pt x="75" y="583"/>
                  </a:lnTo>
                  <a:lnTo>
                    <a:pt x="75" y="583"/>
                  </a:lnTo>
                  <a:lnTo>
                    <a:pt x="75" y="583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7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7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86" y="585"/>
                  </a:lnTo>
                  <a:lnTo>
                    <a:pt x="86" y="585"/>
                  </a:lnTo>
                  <a:lnTo>
                    <a:pt x="86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6" y="587"/>
                  </a:lnTo>
                  <a:lnTo>
                    <a:pt x="86" y="587"/>
                  </a:lnTo>
                  <a:lnTo>
                    <a:pt x="86" y="587"/>
                  </a:lnTo>
                  <a:lnTo>
                    <a:pt x="86" y="587"/>
                  </a:lnTo>
                  <a:lnTo>
                    <a:pt x="86" y="587"/>
                  </a:lnTo>
                  <a:lnTo>
                    <a:pt x="86" y="587"/>
                  </a:lnTo>
                  <a:lnTo>
                    <a:pt x="86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6" y="590"/>
                  </a:lnTo>
                  <a:lnTo>
                    <a:pt x="86" y="590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88" y="590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7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8" y="585"/>
                  </a:lnTo>
                  <a:lnTo>
                    <a:pt x="86" y="585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84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81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5"/>
                  </a:lnTo>
                  <a:lnTo>
                    <a:pt x="79" y="583"/>
                  </a:lnTo>
                  <a:lnTo>
                    <a:pt x="79" y="583"/>
                  </a:lnTo>
                  <a:lnTo>
                    <a:pt x="79" y="583"/>
                  </a:lnTo>
                  <a:lnTo>
                    <a:pt x="79" y="583"/>
                  </a:lnTo>
                  <a:lnTo>
                    <a:pt x="79" y="583"/>
                  </a:lnTo>
                  <a:lnTo>
                    <a:pt x="79" y="583"/>
                  </a:lnTo>
                  <a:lnTo>
                    <a:pt x="79" y="583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9" y="583"/>
                  </a:lnTo>
                  <a:lnTo>
                    <a:pt x="77" y="581"/>
                  </a:lnTo>
                  <a:lnTo>
                    <a:pt x="77" y="581"/>
                  </a:lnTo>
                  <a:lnTo>
                    <a:pt x="77" y="581"/>
                  </a:lnTo>
                  <a:lnTo>
                    <a:pt x="77" y="581"/>
                  </a:lnTo>
                  <a:lnTo>
                    <a:pt x="79" y="581"/>
                  </a:lnTo>
                  <a:lnTo>
                    <a:pt x="79" y="581"/>
                  </a:lnTo>
                  <a:lnTo>
                    <a:pt x="79" y="581"/>
                  </a:lnTo>
                  <a:lnTo>
                    <a:pt x="79" y="581"/>
                  </a:lnTo>
                  <a:lnTo>
                    <a:pt x="79" y="578"/>
                  </a:lnTo>
                  <a:lnTo>
                    <a:pt x="81" y="578"/>
                  </a:lnTo>
                  <a:lnTo>
                    <a:pt x="81" y="578"/>
                  </a:lnTo>
                  <a:lnTo>
                    <a:pt x="81" y="578"/>
                  </a:lnTo>
                  <a:lnTo>
                    <a:pt x="81" y="578"/>
                  </a:lnTo>
                  <a:lnTo>
                    <a:pt x="81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8" y="576"/>
                  </a:lnTo>
                  <a:lnTo>
                    <a:pt x="88" y="576"/>
                  </a:lnTo>
                  <a:lnTo>
                    <a:pt x="88" y="576"/>
                  </a:lnTo>
                  <a:lnTo>
                    <a:pt x="88" y="576"/>
                  </a:lnTo>
                  <a:lnTo>
                    <a:pt x="88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6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8" y="574"/>
                  </a:lnTo>
                  <a:lnTo>
                    <a:pt x="88" y="574"/>
                  </a:lnTo>
                  <a:lnTo>
                    <a:pt x="88" y="574"/>
                  </a:lnTo>
                  <a:lnTo>
                    <a:pt x="88" y="572"/>
                  </a:lnTo>
                  <a:lnTo>
                    <a:pt x="88" y="572"/>
                  </a:lnTo>
                  <a:lnTo>
                    <a:pt x="88" y="572"/>
                  </a:lnTo>
                  <a:lnTo>
                    <a:pt x="90" y="572"/>
                  </a:lnTo>
                  <a:lnTo>
                    <a:pt x="88" y="572"/>
                  </a:lnTo>
                  <a:lnTo>
                    <a:pt x="88" y="572"/>
                  </a:lnTo>
                  <a:lnTo>
                    <a:pt x="88" y="574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6" y="574"/>
                  </a:lnTo>
                  <a:lnTo>
                    <a:pt x="84" y="574"/>
                  </a:lnTo>
                  <a:lnTo>
                    <a:pt x="84" y="574"/>
                  </a:lnTo>
                  <a:lnTo>
                    <a:pt x="84" y="574"/>
                  </a:lnTo>
                  <a:lnTo>
                    <a:pt x="84" y="574"/>
                  </a:lnTo>
                  <a:lnTo>
                    <a:pt x="84" y="574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81" y="576"/>
                  </a:lnTo>
                  <a:lnTo>
                    <a:pt x="81" y="576"/>
                  </a:lnTo>
                  <a:lnTo>
                    <a:pt x="79" y="578"/>
                  </a:lnTo>
                  <a:lnTo>
                    <a:pt x="79" y="578"/>
                  </a:lnTo>
                  <a:lnTo>
                    <a:pt x="79" y="576"/>
                  </a:lnTo>
                  <a:lnTo>
                    <a:pt x="81" y="576"/>
                  </a:lnTo>
                  <a:lnTo>
                    <a:pt x="81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9" y="576"/>
                  </a:lnTo>
                  <a:lnTo>
                    <a:pt x="77" y="578"/>
                  </a:lnTo>
                  <a:lnTo>
                    <a:pt x="77" y="578"/>
                  </a:lnTo>
                  <a:lnTo>
                    <a:pt x="77" y="578"/>
                  </a:lnTo>
                  <a:lnTo>
                    <a:pt x="77" y="576"/>
                  </a:lnTo>
                  <a:lnTo>
                    <a:pt x="77" y="576"/>
                  </a:lnTo>
                  <a:lnTo>
                    <a:pt x="77" y="578"/>
                  </a:lnTo>
                  <a:lnTo>
                    <a:pt x="77" y="578"/>
                  </a:lnTo>
                  <a:lnTo>
                    <a:pt x="77" y="578"/>
                  </a:lnTo>
                  <a:lnTo>
                    <a:pt x="75" y="578"/>
                  </a:lnTo>
                  <a:lnTo>
                    <a:pt x="75" y="578"/>
                  </a:lnTo>
                  <a:lnTo>
                    <a:pt x="75" y="578"/>
                  </a:lnTo>
                  <a:lnTo>
                    <a:pt x="75" y="578"/>
                  </a:lnTo>
                  <a:lnTo>
                    <a:pt x="75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2" y="581"/>
                  </a:lnTo>
                  <a:lnTo>
                    <a:pt x="70" y="581"/>
                  </a:lnTo>
                  <a:lnTo>
                    <a:pt x="70" y="581"/>
                  </a:lnTo>
                  <a:lnTo>
                    <a:pt x="70" y="583"/>
                  </a:lnTo>
                  <a:lnTo>
                    <a:pt x="70" y="583"/>
                  </a:lnTo>
                  <a:lnTo>
                    <a:pt x="68" y="583"/>
                  </a:lnTo>
                  <a:lnTo>
                    <a:pt x="68" y="583"/>
                  </a:lnTo>
                  <a:lnTo>
                    <a:pt x="68" y="583"/>
                  </a:lnTo>
                  <a:lnTo>
                    <a:pt x="68" y="583"/>
                  </a:lnTo>
                  <a:lnTo>
                    <a:pt x="68" y="585"/>
                  </a:lnTo>
                  <a:lnTo>
                    <a:pt x="68" y="585"/>
                  </a:lnTo>
                  <a:lnTo>
                    <a:pt x="68" y="585"/>
                  </a:lnTo>
                  <a:lnTo>
                    <a:pt x="66" y="585"/>
                  </a:lnTo>
                  <a:lnTo>
                    <a:pt x="66" y="585"/>
                  </a:lnTo>
                  <a:lnTo>
                    <a:pt x="66" y="587"/>
                  </a:lnTo>
                  <a:lnTo>
                    <a:pt x="66" y="587"/>
                  </a:lnTo>
                  <a:lnTo>
                    <a:pt x="66" y="587"/>
                  </a:lnTo>
                  <a:lnTo>
                    <a:pt x="63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81"/>
                  </a:lnTo>
                  <a:lnTo>
                    <a:pt x="63" y="578"/>
                  </a:lnTo>
                  <a:lnTo>
                    <a:pt x="63" y="578"/>
                  </a:lnTo>
                  <a:lnTo>
                    <a:pt x="63" y="578"/>
                  </a:lnTo>
                  <a:lnTo>
                    <a:pt x="63" y="578"/>
                  </a:lnTo>
                  <a:lnTo>
                    <a:pt x="63" y="578"/>
                  </a:lnTo>
                  <a:lnTo>
                    <a:pt x="63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8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3" y="576"/>
                  </a:lnTo>
                  <a:lnTo>
                    <a:pt x="63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6"/>
                  </a:lnTo>
                  <a:lnTo>
                    <a:pt x="61" y="574"/>
                  </a:lnTo>
                  <a:lnTo>
                    <a:pt x="61" y="574"/>
                  </a:lnTo>
                  <a:lnTo>
                    <a:pt x="61" y="574"/>
                  </a:lnTo>
                  <a:lnTo>
                    <a:pt x="61" y="574"/>
                  </a:lnTo>
                  <a:lnTo>
                    <a:pt x="63" y="572"/>
                  </a:lnTo>
                  <a:lnTo>
                    <a:pt x="63" y="572"/>
                  </a:lnTo>
                  <a:lnTo>
                    <a:pt x="63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4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72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70" y="567"/>
                  </a:lnTo>
                  <a:lnTo>
                    <a:pt x="70" y="567"/>
                  </a:lnTo>
                  <a:lnTo>
                    <a:pt x="70" y="567"/>
                  </a:lnTo>
                  <a:lnTo>
                    <a:pt x="70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5" y="569"/>
                  </a:lnTo>
                  <a:lnTo>
                    <a:pt x="75" y="569"/>
                  </a:lnTo>
                  <a:lnTo>
                    <a:pt x="75" y="569"/>
                  </a:lnTo>
                  <a:lnTo>
                    <a:pt x="75" y="567"/>
                  </a:lnTo>
                  <a:lnTo>
                    <a:pt x="77" y="567"/>
                  </a:lnTo>
                  <a:lnTo>
                    <a:pt x="77" y="567"/>
                  </a:lnTo>
                  <a:lnTo>
                    <a:pt x="77" y="567"/>
                  </a:lnTo>
                  <a:lnTo>
                    <a:pt x="77" y="567"/>
                  </a:lnTo>
                  <a:lnTo>
                    <a:pt x="77" y="567"/>
                  </a:lnTo>
                  <a:lnTo>
                    <a:pt x="77" y="567"/>
                  </a:lnTo>
                  <a:lnTo>
                    <a:pt x="77" y="567"/>
                  </a:lnTo>
                  <a:lnTo>
                    <a:pt x="75" y="567"/>
                  </a:lnTo>
                  <a:lnTo>
                    <a:pt x="75" y="567"/>
                  </a:lnTo>
                  <a:lnTo>
                    <a:pt x="75" y="567"/>
                  </a:lnTo>
                  <a:lnTo>
                    <a:pt x="75" y="567"/>
                  </a:lnTo>
                  <a:lnTo>
                    <a:pt x="75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0" y="567"/>
                  </a:lnTo>
                  <a:lnTo>
                    <a:pt x="68" y="567"/>
                  </a:lnTo>
                  <a:lnTo>
                    <a:pt x="68" y="567"/>
                  </a:lnTo>
                  <a:lnTo>
                    <a:pt x="68" y="567"/>
                  </a:lnTo>
                  <a:lnTo>
                    <a:pt x="68" y="569"/>
                  </a:lnTo>
                  <a:lnTo>
                    <a:pt x="68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6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9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3" y="567"/>
                  </a:lnTo>
                  <a:lnTo>
                    <a:pt x="66" y="567"/>
                  </a:lnTo>
                  <a:lnTo>
                    <a:pt x="66" y="567"/>
                  </a:lnTo>
                  <a:lnTo>
                    <a:pt x="66" y="567"/>
                  </a:lnTo>
                  <a:lnTo>
                    <a:pt x="66" y="567"/>
                  </a:lnTo>
                  <a:lnTo>
                    <a:pt x="66" y="567"/>
                  </a:lnTo>
                  <a:lnTo>
                    <a:pt x="66" y="567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8" y="565"/>
                  </a:lnTo>
                  <a:lnTo>
                    <a:pt x="68" y="563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6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1" y="565"/>
                  </a:lnTo>
                  <a:lnTo>
                    <a:pt x="63" y="565"/>
                  </a:lnTo>
                  <a:lnTo>
                    <a:pt x="63" y="565"/>
                  </a:lnTo>
                  <a:lnTo>
                    <a:pt x="63" y="563"/>
                  </a:lnTo>
                  <a:lnTo>
                    <a:pt x="63" y="563"/>
                  </a:lnTo>
                  <a:lnTo>
                    <a:pt x="63" y="563"/>
                  </a:lnTo>
                  <a:lnTo>
                    <a:pt x="63" y="563"/>
                  </a:lnTo>
                  <a:lnTo>
                    <a:pt x="66" y="563"/>
                  </a:lnTo>
                  <a:lnTo>
                    <a:pt x="66" y="563"/>
                  </a:lnTo>
                  <a:lnTo>
                    <a:pt x="66" y="563"/>
                  </a:lnTo>
                  <a:lnTo>
                    <a:pt x="66" y="563"/>
                  </a:lnTo>
                  <a:lnTo>
                    <a:pt x="66" y="560"/>
                  </a:lnTo>
                  <a:lnTo>
                    <a:pt x="66" y="560"/>
                  </a:lnTo>
                  <a:lnTo>
                    <a:pt x="66" y="560"/>
                  </a:lnTo>
                  <a:lnTo>
                    <a:pt x="66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58"/>
                  </a:lnTo>
                  <a:lnTo>
                    <a:pt x="68" y="558"/>
                  </a:lnTo>
                  <a:lnTo>
                    <a:pt x="68" y="558"/>
                  </a:lnTo>
                  <a:lnTo>
                    <a:pt x="68" y="558"/>
                  </a:lnTo>
                  <a:lnTo>
                    <a:pt x="68" y="558"/>
                  </a:lnTo>
                  <a:lnTo>
                    <a:pt x="70" y="558"/>
                  </a:lnTo>
                  <a:lnTo>
                    <a:pt x="70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68" y="560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5"/>
                  </a:lnTo>
                  <a:lnTo>
                    <a:pt x="70" y="563"/>
                  </a:lnTo>
                  <a:lnTo>
                    <a:pt x="70" y="563"/>
                  </a:lnTo>
                  <a:lnTo>
                    <a:pt x="72" y="563"/>
                  </a:lnTo>
                  <a:lnTo>
                    <a:pt x="72" y="563"/>
                  </a:lnTo>
                  <a:lnTo>
                    <a:pt x="72" y="563"/>
                  </a:lnTo>
                  <a:lnTo>
                    <a:pt x="72" y="563"/>
                  </a:lnTo>
                  <a:lnTo>
                    <a:pt x="72" y="563"/>
                  </a:lnTo>
                  <a:lnTo>
                    <a:pt x="75" y="560"/>
                  </a:lnTo>
                  <a:lnTo>
                    <a:pt x="75" y="560"/>
                  </a:lnTo>
                  <a:lnTo>
                    <a:pt x="75" y="560"/>
                  </a:lnTo>
                  <a:lnTo>
                    <a:pt x="75" y="560"/>
                  </a:lnTo>
                  <a:lnTo>
                    <a:pt x="72" y="560"/>
                  </a:lnTo>
                  <a:lnTo>
                    <a:pt x="72" y="563"/>
                  </a:lnTo>
                  <a:lnTo>
                    <a:pt x="72" y="563"/>
                  </a:lnTo>
                  <a:lnTo>
                    <a:pt x="70" y="563"/>
                  </a:lnTo>
                  <a:lnTo>
                    <a:pt x="70" y="563"/>
                  </a:lnTo>
                  <a:lnTo>
                    <a:pt x="70" y="563"/>
                  </a:lnTo>
                  <a:lnTo>
                    <a:pt x="70" y="563"/>
                  </a:lnTo>
                  <a:lnTo>
                    <a:pt x="70" y="563"/>
                  </a:lnTo>
                  <a:lnTo>
                    <a:pt x="70" y="563"/>
                  </a:lnTo>
                  <a:lnTo>
                    <a:pt x="70" y="560"/>
                  </a:lnTo>
                  <a:lnTo>
                    <a:pt x="70" y="560"/>
                  </a:lnTo>
                  <a:lnTo>
                    <a:pt x="70" y="560"/>
                  </a:lnTo>
                  <a:lnTo>
                    <a:pt x="70" y="558"/>
                  </a:lnTo>
                  <a:lnTo>
                    <a:pt x="70" y="558"/>
                  </a:lnTo>
                  <a:lnTo>
                    <a:pt x="70" y="558"/>
                  </a:lnTo>
                  <a:lnTo>
                    <a:pt x="70" y="558"/>
                  </a:lnTo>
                  <a:lnTo>
                    <a:pt x="72" y="556"/>
                  </a:lnTo>
                  <a:lnTo>
                    <a:pt x="72" y="556"/>
                  </a:lnTo>
                  <a:lnTo>
                    <a:pt x="75" y="556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8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5" y="556"/>
                  </a:lnTo>
                  <a:lnTo>
                    <a:pt x="77" y="556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9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7" y="554"/>
                  </a:lnTo>
                  <a:lnTo>
                    <a:pt x="79" y="554"/>
                  </a:lnTo>
                  <a:lnTo>
                    <a:pt x="79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4" y="551"/>
                  </a:lnTo>
                  <a:lnTo>
                    <a:pt x="84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1" y="551"/>
                  </a:lnTo>
                  <a:lnTo>
                    <a:pt x="84" y="551"/>
                  </a:lnTo>
                  <a:lnTo>
                    <a:pt x="84" y="551"/>
                  </a:lnTo>
                  <a:lnTo>
                    <a:pt x="84" y="551"/>
                  </a:lnTo>
                  <a:lnTo>
                    <a:pt x="84" y="551"/>
                  </a:lnTo>
                  <a:lnTo>
                    <a:pt x="84" y="551"/>
                  </a:lnTo>
                  <a:lnTo>
                    <a:pt x="86" y="551"/>
                  </a:lnTo>
                  <a:lnTo>
                    <a:pt x="86" y="551"/>
                  </a:lnTo>
                  <a:lnTo>
                    <a:pt x="86" y="551"/>
                  </a:lnTo>
                  <a:lnTo>
                    <a:pt x="86" y="551"/>
                  </a:lnTo>
                  <a:lnTo>
                    <a:pt x="86" y="551"/>
                  </a:lnTo>
                  <a:lnTo>
                    <a:pt x="86" y="551"/>
                  </a:lnTo>
                  <a:lnTo>
                    <a:pt x="88" y="551"/>
                  </a:lnTo>
                  <a:lnTo>
                    <a:pt x="88" y="551"/>
                  </a:lnTo>
                  <a:lnTo>
                    <a:pt x="88" y="551"/>
                  </a:lnTo>
                  <a:lnTo>
                    <a:pt x="88" y="551"/>
                  </a:lnTo>
                  <a:lnTo>
                    <a:pt x="90" y="549"/>
                  </a:lnTo>
                  <a:lnTo>
                    <a:pt x="88" y="551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6" y="547"/>
                  </a:lnTo>
                  <a:lnTo>
                    <a:pt x="86" y="547"/>
                  </a:lnTo>
                  <a:lnTo>
                    <a:pt x="86" y="547"/>
                  </a:lnTo>
                  <a:lnTo>
                    <a:pt x="88" y="547"/>
                  </a:lnTo>
                  <a:lnTo>
                    <a:pt x="88" y="547"/>
                  </a:lnTo>
                  <a:lnTo>
                    <a:pt x="88" y="547"/>
                  </a:lnTo>
                  <a:lnTo>
                    <a:pt x="88" y="547"/>
                  </a:lnTo>
                  <a:lnTo>
                    <a:pt x="88" y="547"/>
                  </a:lnTo>
                  <a:lnTo>
                    <a:pt x="88" y="547"/>
                  </a:lnTo>
                  <a:lnTo>
                    <a:pt x="88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3" y="545"/>
                  </a:lnTo>
                  <a:lnTo>
                    <a:pt x="93" y="545"/>
                  </a:lnTo>
                  <a:lnTo>
                    <a:pt x="93" y="545"/>
                  </a:lnTo>
                  <a:lnTo>
                    <a:pt x="93" y="545"/>
                  </a:lnTo>
                  <a:lnTo>
                    <a:pt x="93" y="545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5" y="542"/>
                  </a:lnTo>
                  <a:lnTo>
                    <a:pt x="95" y="542"/>
                  </a:lnTo>
                  <a:lnTo>
                    <a:pt x="95" y="542"/>
                  </a:lnTo>
                  <a:lnTo>
                    <a:pt x="95" y="542"/>
                  </a:lnTo>
                  <a:lnTo>
                    <a:pt x="95" y="542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9" y="540"/>
                  </a:lnTo>
                  <a:lnTo>
                    <a:pt x="99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102" y="540"/>
                  </a:lnTo>
                  <a:lnTo>
                    <a:pt x="99" y="540"/>
                  </a:lnTo>
                  <a:lnTo>
                    <a:pt x="99" y="540"/>
                  </a:lnTo>
                  <a:lnTo>
                    <a:pt x="99" y="540"/>
                  </a:lnTo>
                  <a:lnTo>
                    <a:pt x="99" y="540"/>
                  </a:lnTo>
                  <a:lnTo>
                    <a:pt x="99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7" y="540"/>
                  </a:lnTo>
                  <a:lnTo>
                    <a:pt x="97" y="540"/>
                  </a:lnTo>
                  <a:lnTo>
                    <a:pt x="97" y="538"/>
                  </a:lnTo>
                  <a:lnTo>
                    <a:pt x="97" y="536"/>
                  </a:lnTo>
                  <a:lnTo>
                    <a:pt x="97" y="536"/>
                  </a:lnTo>
                  <a:lnTo>
                    <a:pt x="97" y="536"/>
                  </a:lnTo>
                  <a:lnTo>
                    <a:pt x="97" y="536"/>
                  </a:lnTo>
                  <a:lnTo>
                    <a:pt x="97" y="538"/>
                  </a:lnTo>
                  <a:lnTo>
                    <a:pt x="97" y="538"/>
                  </a:lnTo>
                  <a:lnTo>
                    <a:pt x="97" y="538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3" y="540"/>
                  </a:lnTo>
                  <a:lnTo>
                    <a:pt x="93" y="540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5" y="540"/>
                  </a:lnTo>
                  <a:lnTo>
                    <a:pt x="95" y="540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2"/>
                  </a:lnTo>
                  <a:lnTo>
                    <a:pt x="93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90" y="545"/>
                  </a:lnTo>
                  <a:lnTo>
                    <a:pt x="88" y="545"/>
                  </a:lnTo>
                  <a:lnTo>
                    <a:pt x="88" y="547"/>
                  </a:lnTo>
                  <a:lnTo>
                    <a:pt x="88" y="547"/>
                  </a:lnTo>
                  <a:lnTo>
                    <a:pt x="84" y="547"/>
                  </a:lnTo>
                  <a:lnTo>
                    <a:pt x="84" y="549"/>
                  </a:lnTo>
                  <a:lnTo>
                    <a:pt x="84" y="549"/>
                  </a:lnTo>
                  <a:lnTo>
                    <a:pt x="81" y="549"/>
                  </a:lnTo>
                  <a:lnTo>
                    <a:pt x="81" y="549"/>
                  </a:lnTo>
                  <a:lnTo>
                    <a:pt x="81" y="551"/>
                  </a:lnTo>
                  <a:lnTo>
                    <a:pt x="81" y="549"/>
                  </a:lnTo>
                  <a:lnTo>
                    <a:pt x="81" y="549"/>
                  </a:lnTo>
                  <a:lnTo>
                    <a:pt x="81" y="549"/>
                  </a:lnTo>
                  <a:lnTo>
                    <a:pt x="81" y="549"/>
                  </a:lnTo>
                  <a:lnTo>
                    <a:pt x="81" y="549"/>
                  </a:lnTo>
                  <a:lnTo>
                    <a:pt x="81" y="547"/>
                  </a:lnTo>
                  <a:lnTo>
                    <a:pt x="84" y="547"/>
                  </a:lnTo>
                  <a:lnTo>
                    <a:pt x="84" y="547"/>
                  </a:lnTo>
                  <a:lnTo>
                    <a:pt x="84" y="547"/>
                  </a:lnTo>
                  <a:lnTo>
                    <a:pt x="84" y="547"/>
                  </a:lnTo>
                  <a:lnTo>
                    <a:pt x="86" y="547"/>
                  </a:lnTo>
                  <a:lnTo>
                    <a:pt x="86" y="547"/>
                  </a:lnTo>
                  <a:lnTo>
                    <a:pt x="86" y="545"/>
                  </a:lnTo>
                  <a:lnTo>
                    <a:pt x="88" y="545"/>
                  </a:lnTo>
                  <a:lnTo>
                    <a:pt x="90" y="545"/>
                  </a:lnTo>
                  <a:lnTo>
                    <a:pt x="90" y="542"/>
                  </a:lnTo>
                  <a:lnTo>
                    <a:pt x="90" y="542"/>
                  </a:lnTo>
                  <a:lnTo>
                    <a:pt x="90" y="542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40"/>
                  </a:lnTo>
                  <a:lnTo>
                    <a:pt x="90" y="538"/>
                  </a:lnTo>
                  <a:lnTo>
                    <a:pt x="93" y="538"/>
                  </a:lnTo>
                  <a:lnTo>
                    <a:pt x="93" y="538"/>
                  </a:lnTo>
                  <a:lnTo>
                    <a:pt x="93" y="536"/>
                  </a:lnTo>
                  <a:lnTo>
                    <a:pt x="95" y="536"/>
                  </a:lnTo>
                  <a:lnTo>
                    <a:pt x="95" y="536"/>
                  </a:lnTo>
                  <a:lnTo>
                    <a:pt x="95" y="536"/>
                  </a:lnTo>
                  <a:lnTo>
                    <a:pt x="95" y="536"/>
                  </a:lnTo>
                  <a:lnTo>
                    <a:pt x="95" y="536"/>
                  </a:lnTo>
                  <a:lnTo>
                    <a:pt x="95" y="533"/>
                  </a:lnTo>
                  <a:lnTo>
                    <a:pt x="95" y="533"/>
                  </a:lnTo>
                  <a:lnTo>
                    <a:pt x="95" y="533"/>
                  </a:lnTo>
                  <a:lnTo>
                    <a:pt x="95" y="533"/>
                  </a:lnTo>
                  <a:lnTo>
                    <a:pt x="95" y="533"/>
                  </a:lnTo>
                  <a:lnTo>
                    <a:pt x="99" y="531"/>
                  </a:lnTo>
                  <a:lnTo>
                    <a:pt x="99" y="529"/>
                  </a:lnTo>
                  <a:lnTo>
                    <a:pt x="102" y="529"/>
                  </a:lnTo>
                  <a:lnTo>
                    <a:pt x="102" y="529"/>
                  </a:lnTo>
                  <a:lnTo>
                    <a:pt x="102" y="529"/>
                  </a:lnTo>
                  <a:lnTo>
                    <a:pt x="102" y="529"/>
                  </a:lnTo>
                  <a:lnTo>
                    <a:pt x="99" y="529"/>
                  </a:lnTo>
                  <a:lnTo>
                    <a:pt x="99" y="529"/>
                  </a:lnTo>
                  <a:lnTo>
                    <a:pt x="99" y="529"/>
                  </a:lnTo>
                  <a:lnTo>
                    <a:pt x="102" y="529"/>
                  </a:lnTo>
                  <a:lnTo>
                    <a:pt x="102" y="527"/>
                  </a:lnTo>
                  <a:lnTo>
                    <a:pt x="102" y="527"/>
                  </a:lnTo>
                  <a:lnTo>
                    <a:pt x="102" y="527"/>
                  </a:lnTo>
                  <a:lnTo>
                    <a:pt x="102" y="527"/>
                  </a:lnTo>
                  <a:lnTo>
                    <a:pt x="102" y="524"/>
                  </a:lnTo>
                  <a:lnTo>
                    <a:pt x="102" y="524"/>
                  </a:lnTo>
                  <a:lnTo>
                    <a:pt x="99" y="527"/>
                  </a:lnTo>
                  <a:lnTo>
                    <a:pt x="99" y="527"/>
                  </a:lnTo>
                  <a:lnTo>
                    <a:pt x="99" y="524"/>
                  </a:lnTo>
                  <a:lnTo>
                    <a:pt x="97" y="524"/>
                  </a:lnTo>
                  <a:lnTo>
                    <a:pt x="97" y="524"/>
                  </a:lnTo>
                  <a:lnTo>
                    <a:pt x="97" y="524"/>
                  </a:lnTo>
                  <a:lnTo>
                    <a:pt x="97" y="522"/>
                  </a:lnTo>
                  <a:lnTo>
                    <a:pt x="97" y="522"/>
                  </a:lnTo>
                  <a:lnTo>
                    <a:pt x="97" y="522"/>
                  </a:lnTo>
                  <a:lnTo>
                    <a:pt x="97" y="522"/>
                  </a:lnTo>
                  <a:lnTo>
                    <a:pt x="95" y="522"/>
                  </a:lnTo>
                  <a:lnTo>
                    <a:pt x="95" y="520"/>
                  </a:lnTo>
                  <a:lnTo>
                    <a:pt x="95" y="520"/>
                  </a:lnTo>
                  <a:lnTo>
                    <a:pt x="93" y="520"/>
                  </a:lnTo>
                  <a:lnTo>
                    <a:pt x="90" y="518"/>
                  </a:lnTo>
                  <a:lnTo>
                    <a:pt x="90" y="518"/>
                  </a:lnTo>
                  <a:lnTo>
                    <a:pt x="88" y="515"/>
                  </a:lnTo>
                  <a:lnTo>
                    <a:pt x="86" y="515"/>
                  </a:lnTo>
                  <a:lnTo>
                    <a:pt x="86" y="515"/>
                  </a:lnTo>
                  <a:lnTo>
                    <a:pt x="86" y="515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1" y="515"/>
                  </a:lnTo>
                  <a:lnTo>
                    <a:pt x="81" y="515"/>
                  </a:lnTo>
                  <a:lnTo>
                    <a:pt x="81" y="515"/>
                  </a:lnTo>
                  <a:lnTo>
                    <a:pt x="84" y="513"/>
                  </a:lnTo>
                  <a:lnTo>
                    <a:pt x="84" y="513"/>
                  </a:lnTo>
                  <a:lnTo>
                    <a:pt x="84" y="513"/>
                  </a:lnTo>
                  <a:lnTo>
                    <a:pt x="84" y="511"/>
                  </a:lnTo>
                  <a:lnTo>
                    <a:pt x="84" y="511"/>
                  </a:lnTo>
                  <a:lnTo>
                    <a:pt x="84" y="511"/>
                  </a:lnTo>
                  <a:lnTo>
                    <a:pt x="84" y="511"/>
                  </a:lnTo>
                  <a:lnTo>
                    <a:pt x="84" y="511"/>
                  </a:lnTo>
                  <a:lnTo>
                    <a:pt x="84" y="511"/>
                  </a:lnTo>
                  <a:lnTo>
                    <a:pt x="86" y="511"/>
                  </a:lnTo>
                  <a:lnTo>
                    <a:pt x="86" y="511"/>
                  </a:lnTo>
                  <a:lnTo>
                    <a:pt x="81" y="509"/>
                  </a:lnTo>
                  <a:lnTo>
                    <a:pt x="86" y="504"/>
                  </a:lnTo>
                  <a:lnTo>
                    <a:pt x="86" y="504"/>
                  </a:lnTo>
                  <a:lnTo>
                    <a:pt x="84" y="504"/>
                  </a:lnTo>
                  <a:lnTo>
                    <a:pt x="86" y="502"/>
                  </a:lnTo>
                  <a:lnTo>
                    <a:pt x="86" y="502"/>
                  </a:lnTo>
                  <a:lnTo>
                    <a:pt x="88" y="500"/>
                  </a:lnTo>
                  <a:lnTo>
                    <a:pt x="88" y="497"/>
                  </a:lnTo>
                  <a:lnTo>
                    <a:pt x="88" y="495"/>
                  </a:lnTo>
                  <a:lnTo>
                    <a:pt x="88" y="495"/>
                  </a:lnTo>
                  <a:lnTo>
                    <a:pt x="88" y="493"/>
                  </a:lnTo>
                  <a:lnTo>
                    <a:pt x="88" y="491"/>
                  </a:lnTo>
                  <a:lnTo>
                    <a:pt x="88" y="488"/>
                  </a:lnTo>
                  <a:lnTo>
                    <a:pt x="88" y="486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88" y="482"/>
                  </a:lnTo>
                  <a:lnTo>
                    <a:pt x="90" y="482"/>
                  </a:lnTo>
                  <a:lnTo>
                    <a:pt x="90" y="479"/>
                  </a:lnTo>
                  <a:lnTo>
                    <a:pt x="90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0" y="475"/>
                  </a:lnTo>
                  <a:lnTo>
                    <a:pt x="93" y="475"/>
                  </a:lnTo>
                  <a:lnTo>
                    <a:pt x="93" y="473"/>
                  </a:lnTo>
                  <a:lnTo>
                    <a:pt x="90" y="473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0" y="468"/>
                  </a:lnTo>
                  <a:lnTo>
                    <a:pt x="90" y="468"/>
                  </a:lnTo>
                  <a:lnTo>
                    <a:pt x="90" y="466"/>
                  </a:lnTo>
                  <a:lnTo>
                    <a:pt x="90" y="466"/>
                  </a:lnTo>
                  <a:lnTo>
                    <a:pt x="88" y="466"/>
                  </a:lnTo>
                  <a:lnTo>
                    <a:pt x="86" y="464"/>
                  </a:lnTo>
                  <a:lnTo>
                    <a:pt x="86" y="464"/>
                  </a:lnTo>
                  <a:lnTo>
                    <a:pt x="86" y="464"/>
                  </a:lnTo>
                  <a:lnTo>
                    <a:pt x="86" y="464"/>
                  </a:lnTo>
                  <a:lnTo>
                    <a:pt x="88" y="461"/>
                  </a:lnTo>
                  <a:lnTo>
                    <a:pt x="88" y="461"/>
                  </a:lnTo>
                  <a:lnTo>
                    <a:pt x="88" y="461"/>
                  </a:lnTo>
                  <a:lnTo>
                    <a:pt x="88" y="461"/>
                  </a:lnTo>
                  <a:lnTo>
                    <a:pt x="88" y="461"/>
                  </a:lnTo>
                  <a:lnTo>
                    <a:pt x="86" y="461"/>
                  </a:lnTo>
                  <a:lnTo>
                    <a:pt x="88" y="461"/>
                  </a:lnTo>
                  <a:lnTo>
                    <a:pt x="88" y="461"/>
                  </a:lnTo>
                  <a:lnTo>
                    <a:pt x="88" y="459"/>
                  </a:lnTo>
                  <a:lnTo>
                    <a:pt x="88" y="459"/>
                  </a:lnTo>
                  <a:lnTo>
                    <a:pt x="88" y="459"/>
                  </a:lnTo>
                  <a:lnTo>
                    <a:pt x="88" y="459"/>
                  </a:lnTo>
                  <a:lnTo>
                    <a:pt x="88" y="459"/>
                  </a:lnTo>
                  <a:lnTo>
                    <a:pt x="86" y="459"/>
                  </a:lnTo>
                  <a:lnTo>
                    <a:pt x="86" y="459"/>
                  </a:lnTo>
                  <a:lnTo>
                    <a:pt x="86" y="457"/>
                  </a:lnTo>
                  <a:lnTo>
                    <a:pt x="86" y="457"/>
                  </a:lnTo>
                  <a:lnTo>
                    <a:pt x="88" y="457"/>
                  </a:lnTo>
                  <a:lnTo>
                    <a:pt x="88" y="457"/>
                  </a:lnTo>
                  <a:lnTo>
                    <a:pt x="88" y="457"/>
                  </a:lnTo>
                  <a:lnTo>
                    <a:pt x="86" y="457"/>
                  </a:lnTo>
                  <a:lnTo>
                    <a:pt x="86" y="455"/>
                  </a:lnTo>
                  <a:lnTo>
                    <a:pt x="84" y="455"/>
                  </a:lnTo>
                  <a:lnTo>
                    <a:pt x="84" y="455"/>
                  </a:lnTo>
                  <a:lnTo>
                    <a:pt x="84" y="455"/>
                  </a:lnTo>
                  <a:lnTo>
                    <a:pt x="84" y="455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86" y="452"/>
                  </a:lnTo>
                  <a:lnTo>
                    <a:pt x="84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0"/>
                  </a:lnTo>
                  <a:lnTo>
                    <a:pt x="88" y="450"/>
                  </a:lnTo>
                  <a:lnTo>
                    <a:pt x="88" y="450"/>
                  </a:lnTo>
                  <a:lnTo>
                    <a:pt x="88" y="448"/>
                  </a:lnTo>
                  <a:lnTo>
                    <a:pt x="88" y="448"/>
                  </a:lnTo>
                  <a:lnTo>
                    <a:pt x="88" y="448"/>
                  </a:lnTo>
                  <a:lnTo>
                    <a:pt x="88" y="448"/>
                  </a:lnTo>
                  <a:lnTo>
                    <a:pt x="88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6" y="446"/>
                  </a:lnTo>
                  <a:lnTo>
                    <a:pt x="86" y="443"/>
                  </a:lnTo>
                  <a:lnTo>
                    <a:pt x="86" y="443"/>
                  </a:lnTo>
                  <a:lnTo>
                    <a:pt x="81" y="446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0" y="448"/>
                  </a:lnTo>
                  <a:lnTo>
                    <a:pt x="68" y="448"/>
                  </a:lnTo>
                  <a:lnTo>
                    <a:pt x="68" y="448"/>
                  </a:lnTo>
                  <a:lnTo>
                    <a:pt x="68" y="448"/>
                  </a:lnTo>
                  <a:lnTo>
                    <a:pt x="68" y="448"/>
                  </a:lnTo>
                  <a:lnTo>
                    <a:pt x="68" y="450"/>
                  </a:lnTo>
                  <a:lnTo>
                    <a:pt x="66" y="450"/>
                  </a:lnTo>
                  <a:lnTo>
                    <a:pt x="63" y="450"/>
                  </a:lnTo>
                  <a:lnTo>
                    <a:pt x="63" y="452"/>
                  </a:lnTo>
                  <a:lnTo>
                    <a:pt x="63" y="450"/>
                  </a:lnTo>
                  <a:lnTo>
                    <a:pt x="61" y="450"/>
                  </a:lnTo>
                  <a:lnTo>
                    <a:pt x="61" y="452"/>
                  </a:lnTo>
                  <a:lnTo>
                    <a:pt x="59" y="455"/>
                  </a:lnTo>
                  <a:lnTo>
                    <a:pt x="57" y="455"/>
                  </a:lnTo>
                  <a:lnTo>
                    <a:pt x="57" y="455"/>
                  </a:lnTo>
                  <a:lnTo>
                    <a:pt x="54" y="457"/>
                  </a:lnTo>
                  <a:lnTo>
                    <a:pt x="52" y="457"/>
                  </a:lnTo>
                  <a:lnTo>
                    <a:pt x="52" y="457"/>
                  </a:lnTo>
                  <a:lnTo>
                    <a:pt x="50" y="457"/>
                  </a:lnTo>
                  <a:lnTo>
                    <a:pt x="50" y="457"/>
                  </a:lnTo>
                  <a:lnTo>
                    <a:pt x="45" y="459"/>
                  </a:lnTo>
                  <a:lnTo>
                    <a:pt x="41" y="461"/>
                  </a:lnTo>
                  <a:lnTo>
                    <a:pt x="39" y="461"/>
                  </a:lnTo>
                  <a:lnTo>
                    <a:pt x="36" y="461"/>
                  </a:lnTo>
                  <a:lnTo>
                    <a:pt x="34" y="464"/>
                  </a:lnTo>
                  <a:lnTo>
                    <a:pt x="34" y="464"/>
                  </a:lnTo>
                  <a:lnTo>
                    <a:pt x="32" y="464"/>
                  </a:lnTo>
                  <a:lnTo>
                    <a:pt x="32" y="464"/>
                  </a:lnTo>
                  <a:lnTo>
                    <a:pt x="34" y="461"/>
                  </a:lnTo>
                  <a:lnTo>
                    <a:pt x="34" y="461"/>
                  </a:lnTo>
                  <a:lnTo>
                    <a:pt x="36" y="459"/>
                  </a:lnTo>
                  <a:lnTo>
                    <a:pt x="36" y="459"/>
                  </a:lnTo>
                  <a:lnTo>
                    <a:pt x="39" y="457"/>
                  </a:lnTo>
                  <a:lnTo>
                    <a:pt x="39" y="457"/>
                  </a:lnTo>
                  <a:lnTo>
                    <a:pt x="39" y="457"/>
                  </a:lnTo>
                  <a:lnTo>
                    <a:pt x="36" y="455"/>
                  </a:lnTo>
                  <a:lnTo>
                    <a:pt x="36" y="452"/>
                  </a:lnTo>
                  <a:lnTo>
                    <a:pt x="36" y="450"/>
                  </a:lnTo>
                  <a:lnTo>
                    <a:pt x="34" y="448"/>
                  </a:lnTo>
                  <a:lnTo>
                    <a:pt x="34" y="448"/>
                  </a:lnTo>
                  <a:lnTo>
                    <a:pt x="34" y="446"/>
                  </a:lnTo>
                  <a:lnTo>
                    <a:pt x="32" y="446"/>
                  </a:lnTo>
                  <a:lnTo>
                    <a:pt x="32" y="443"/>
                  </a:lnTo>
                  <a:lnTo>
                    <a:pt x="32" y="443"/>
                  </a:lnTo>
                  <a:lnTo>
                    <a:pt x="34" y="441"/>
                  </a:lnTo>
                  <a:lnTo>
                    <a:pt x="34" y="441"/>
                  </a:lnTo>
                  <a:lnTo>
                    <a:pt x="34" y="441"/>
                  </a:lnTo>
                  <a:lnTo>
                    <a:pt x="34" y="441"/>
                  </a:lnTo>
                  <a:lnTo>
                    <a:pt x="32" y="441"/>
                  </a:lnTo>
                  <a:lnTo>
                    <a:pt x="30" y="439"/>
                  </a:lnTo>
                  <a:lnTo>
                    <a:pt x="30" y="439"/>
                  </a:lnTo>
                  <a:lnTo>
                    <a:pt x="30" y="439"/>
                  </a:lnTo>
                  <a:lnTo>
                    <a:pt x="30" y="437"/>
                  </a:lnTo>
                  <a:lnTo>
                    <a:pt x="30" y="437"/>
                  </a:lnTo>
                  <a:lnTo>
                    <a:pt x="32" y="437"/>
                  </a:lnTo>
                  <a:lnTo>
                    <a:pt x="34" y="434"/>
                  </a:lnTo>
                  <a:lnTo>
                    <a:pt x="36" y="432"/>
                  </a:lnTo>
                  <a:lnTo>
                    <a:pt x="36" y="432"/>
                  </a:lnTo>
                  <a:lnTo>
                    <a:pt x="36" y="432"/>
                  </a:lnTo>
                  <a:lnTo>
                    <a:pt x="36" y="432"/>
                  </a:lnTo>
                  <a:lnTo>
                    <a:pt x="34" y="432"/>
                  </a:lnTo>
                  <a:lnTo>
                    <a:pt x="32" y="432"/>
                  </a:lnTo>
                  <a:lnTo>
                    <a:pt x="30" y="432"/>
                  </a:lnTo>
                  <a:lnTo>
                    <a:pt x="27" y="432"/>
                  </a:lnTo>
                  <a:lnTo>
                    <a:pt x="27" y="432"/>
                  </a:lnTo>
                  <a:lnTo>
                    <a:pt x="25" y="432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18" y="434"/>
                  </a:lnTo>
                  <a:lnTo>
                    <a:pt x="18" y="434"/>
                  </a:lnTo>
                  <a:lnTo>
                    <a:pt x="16" y="434"/>
                  </a:lnTo>
                  <a:lnTo>
                    <a:pt x="14" y="434"/>
                  </a:lnTo>
                  <a:lnTo>
                    <a:pt x="14" y="432"/>
                  </a:lnTo>
                  <a:lnTo>
                    <a:pt x="14" y="432"/>
                  </a:lnTo>
                  <a:lnTo>
                    <a:pt x="14" y="432"/>
                  </a:lnTo>
                  <a:lnTo>
                    <a:pt x="12" y="432"/>
                  </a:lnTo>
                  <a:lnTo>
                    <a:pt x="12" y="434"/>
                  </a:lnTo>
                  <a:lnTo>
                    <a:pt x="12" y="434"/>
                  </a:lnTo>
                  <a:lnTo>
                    <a:pt x="9" y="434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5" y="432"/>
                  </a:lnTo>
                  <a:lnTo>
                    <a:pt x="5" y="432"/>
                  </a:lnTo>
                  <a:lnTo>
                    <a:pt x="5" y="432"/>
                  </a:lnTo>
                  <a:lnTo>
                    <a:pt x="5" y="432"/>
                  </a:lnTo>
                  <a:lnTo>
                    <a:pt x="7" y="430"/>
                  </a:lnTo>
                  <a:lnTo>
                    <a:pt x="12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21" y="416"/>
                  </a:lnTo>
                  <a:lnTo>
                    <a:pt x="25" y="414"/>
                  </a:lnTo>
                  <a:lnTo>
                    <a:pt x="27" y="410"/>
                  </a:lnTo>
                  <a:lnTo>
                    <a:pt x="32" y="407"/>
                  </a:lnTo>
                  <a:lnTo>
                    <a:pt x="34" y="403"/>
                  </a:lnTo>
                  <a:lnTo>
                    <a:pt x="39" y="401"/>
                  </a:lnTo>
                  <a:lnTo>
                    <a:pt x="41" y="398"/>
                  </a:lnTo>
                  <a:lnTo>
                    <a:pt x="45" y="394"/>
                  </a:lnTo>
                  <a:lnTo>
                    <a:pt x="48" y="392"/>
                  </a:lnTo>
                  <a:lnTo>
                    <a:pt x="52" y="387"/>
                  </a:lnTo>
                  <a:lnTo>
                    <a:pt x="54" y="385"/>
                  </a:lnTo>
                  <a:lnTo>
                    <a:pt x="59" y="383"/>
                  </a:lnTo>
                  <a:lnTo>
                    <a:pt x="61" y="378"/>
                  </a:lnTo>
                  <a:lnTo>
                    <a:pt x="66" y="376"/>
                  </a:lnTo>
                  <a:lnTo>
                    <a:pt x="68" y="374"/>
                  </a:lnTo>
                  <a:lnTo>
                    <a:pt x="72" y="369"/>
                  </a:lnTo>
                  <a:lnTo>
                    <a:pt x="75" y="367"/>
                  </a:lnTo>
                  <a:lnTo>
                    <a:pt x="79" y="362"/>
                  </a:lnTo>
                  <a:lnTo>
                    <a:pt x="81" y="360"/>
                  </a:lnTo>
                  <a:lnTo>
                    <a:pt x="86" y="358"/>
                  </a:lnTo>
                  <a:lnTo>
                    <a:pt x="88" y="354"/>
                  </a:lnTo>
                  <a:lnTo>
                    <a:pt x="93" y="351"/>
                  </a:lnTo>
                  <a:lnTo>
                    <a:pt x="95" y="349"/>
                  </a:lnTo>
                  <a:lnTo>
                    <a:pt x="99" y="345"/>
                  </a:lnTo>
                  <a:lnTo>
                    <a:pt x="102" y="342"/>
                  </a:lnTo>
                  <a:lnTo>
                    <a:pt x="106" y="338"/>
                  </a:lnTo>
                  <a:lnTo>
                    <a:pt x="108" y="336"/>
                  </a:lnTo>
                  <a:lnTo>
                    <a:pt x="113" y="333"/>
                  </a:lnTo>
                  <a:lnTo>
                    <a:pt x="115" y="329"/>
                  </a:lnTo>
                  <a:lnTo>
                    <a:pt x="120" y="327"/>
                  </a:lnTo>
                  <a:lnTo>
                    <a:pt x="122" y="324"/>
                  </a:lnTo>
                  <a:lnTo>
                    <a:pt x="126" y="320"/>
                  </a:lnTo>
                  <a:lnTo>
                    <a:pt x="131" y="318"/>
                  </a:lnTo>
                  <a:lnTo>
                    <a:pt x="133" y="315"/>
                  </a:lnTo>
                  <a:lnTo>
                    <a:pt x="137" y="311"/>
                  </a:lnTo>
                  <a:lnTo>
                    <a:pt x="140" y="309"/>
                  </a:lnTo>
                  <a:lnTo>
                    <a:pt x="144" y="306"/>
                  </a:lnTo>
                  <a:lnTo>
                    <a:pt x="146" y="302"/>
                  </a:lnTo>
                  <a:lnTo>
                    <a:pt x="151" y="300"/>
                  </a:lnTo>
                  <a:lnTo>
                    <a:pt x="155" y="297"/>
                  </a:lnTo>
                  <a:lnTo>
                    <a:pt x="158" y="293"/>
                  </a:lnTo>
                  <a:lnTo>
                    <a:pt x="162" y="291"/>
                  </a:lnTo>
                  <a:lnTo>
                    <a:pt x="164" y="288"/>
                  </a:lnTo>
                  <a:lnTo>
                    <a:pt x="169" y="284"/>
                  </a:lnTo>
                  <a:lnTo>
                    <a:pt x="171" y="282"/>
                  </a:lnTo>
                  <a:lnTo>
                    <a:pt x="176" y="279"/>
                  </a:lnTo>
                  <a:lnTo>
                    <a:pt x="180" y="275"/>
                  </a:lnTo>
                  <a:lnTo>
                    <a:pt x="182" y="273"/>
                  </a:lnTo>
                  <a:lnTo>
                    <a:pt x="187" y="270"/>
                  </a:lnTo>
                  <a:lnTo>
                    <a:pt x="189" y="266"/>
                  </a:lnTo>
                  <a:lnTo>
                    <a:pt x="194" y="264"/>
                  </a:lnTo>
                  <a:lnTo>
                    <a:pt x="196" y="261"/>
                  </a:lnTo>
                  <a:lnTo>
                    <a:pt x="200" y="257"/>
                  </a:lnTo>
                  <a:lnTo>
                    <a:pt x="205" y="255"/>
                  </a:lnTo>
                  <a:lnTo>
                    <a:pt x="207" y="252"/>
                  </a:lnTo>
                  <a:lnTo>
                    <a:pt x="212" y="248"/>
                  </a:lnTo>
                  <a:lnTo>
                    <a:pt x="216" y="246"/>
                  </a:lnTo>
                  <a:lnTo>
                    <a:pt x="218" y="243"/>
                  </a:lnTo>
                  <a:lnTo>
                    <a:pt x="223" y="241"/>
                  </a:lnTo>
                  <a:lnTo>
                    <a:pt x="225" y="237"/>
                  </a:lnTo>
                  <a:lnTo>
                    <a:pt x="225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27" y="237"/>
                  </a:lnTo>
                  <a:lnTo>
                    <a:pt x="230" y="239"/>
                  </a:lnTo>
                  <a:lnTo>
                    <a:pt x="234" y="239"/>
                  </a:lnTo>
                  <a:lnTo>
                    <a:pt x="236" y="239"/>
                  </a:lnTo>
                  <a:lnTo>
                    <a:pt x="239" y="239"/>
                  </a:lnTo>
                  <a:lnTo>
                    <a:pt x="241" y="239"/>
                  </a:lnTo>
                  <a:lnTo>
                    <a:pt x="245" y="239"/>
                  </a:lnTo>
                  <a:lnTo>
                    <a:pt x="245" y="239"/>
                  </a:lnTo>
                  <a:lnTo>
                    <a:pt x="243" y="239"/>
                  </a:lnTo>
                  <a:lnTo>
                    <a:pt x="243" y="239"/>
                  </a:lnTo>
                  <a:lnTo>
                    <a:pt x="243" y="239"/>
                  </a:lnTo>
                  <a:lnTo>
                    <a:pt x="243" y="239"/>
                  </a:lnTo>
                  <a:lnTo>
                    <a:pt x="248" y="239"/>
                  </a:lnTo>
                  <a:lnTo>
                    <a:pt x="248" y="239"/>
                  </a:lnTo>
                  <a:lnTo>
                    <a:pt x="248" y="239"/>
                  </a:lnTo>
                  <a:lnTo>
                    <a:pt x="250" y="239"/>
                  </a:lnTo>
                  <a:lnTo>
                    <a:pt x="250" y="241"/>
                  </a:lnTo>
                  <a:lnTo>
                    <a:pt x="250" y="241"/>
                  </a:lnTo>
                  <a:lnTo>
                    <a:pt x="250" y="241"/>
                  </a:lnTo>
                  <a:lnTo>
                    <a:pt x="250" y="241"/>
                  </a:lnTo>
                  <a:lnTo>
                    <a:pt x="252" y="241"/>
                  </a:lnTo>
                  <a:lnTo>
                    <a:pt x="252" y="243"/>
                  </a:lnTo>
                  <a:lnTo>
                    <a:pt x="252" y="243"/>
                  </a:lnTo>
                  <a:lnTo>
                    <a:pt x="252" y="243"/>
                  </a:lnTo>
                  <a:lnTo>
                    <a:pt x="252" y="246"/>
                  </a:lnTo>
                  <a:lnTo>
                    <a:pt x="252" y="246"/>
                  </a:lnTo>
                  <a:lnTo>
                    <a:pt x="252" y="246"/>
                  </a:lnTo>
                  <a:lnTo>
                    <a:pt x="252" y="246"/>
                  </a:lnTo>
                  <a:lnTo>
                    <a:pt x="252" y="246"/>
                  </a:lnTo>
                  <a:lnTo>
                    <a:pt x="252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4" y="246"/>
                  </a:lnTo>
                  <a:lnTo>
                    <a:pt x="257" y="246"/>
                  </a:lnTo>
                  <a:lnTo>
                    <a:pt x="257" y="246"/>
                  </a:lnTo>
                  <a:lnTo>
                    <a:pt x="257" y="243"/>
                  </a:lnTo>
                  <a:lnTo>
                    <a:pt x="257" y="243"/>
                  </a:lnTo>
                  <a:lnTo>
                    <a:pt x="257" y="243"/>
                  </a:lnTo>
                  <a:lnTo>
                    <a:pt x="257" y="246"/>
                  </a:lnTo>
                  <a:lnTo>
                    <a:pt x="257" y="243"/>
                  </a:lnTo>
                  <a:lnTo>
                    <a:pt x="257" y="243"/>
                  </a:lnTo>
                  <a:lnTo>
                    <a:pt x="257" y="243"/>
                  </a:lnTo>
                  <a:lnTo>
                    <a:pt x="257" y="246"/>
                  </a:lnTo>
                  <a:lnTo>
                    <a:pt x="257" y="246"/>
                  </a:lnTo>
                  <a:lnTo>
                    <a:pt x="257" y="246"/>
                  </a:lnTo>
                  <a:lnTo>
                    <a:pt x="257" y="246"/>
                  </a:lnTo>
                  <a:lnTo>
                    <a:pt x="257" y="246"/>
                  </a:lnTo>
                  <a:lnTo>
                    <a:pt x="257" y="248"/>
                  </a:lnTo>
                  <a:lnTo>
                    <a:pt x="259" y="248"/>
                  </a:lnTo>
                  <a:lnTo>
                    <a:pt x="263" y="250"/>
                  </a:lnTo>
                  <a:lnTo>
                    <a:pt x="266" y="250"/>
                  </a:lnTo>
                  <a:lnTo>
                    <a:pt x="266" y="250"/>
                  </a:lnTo>
                  <a:lnTo>
                    <a:pt x="263" y="250"/>
                  </a:lnTo>
                  <a:lnTo>
                    <a:pt x="263" y="250"/>
                  </a:lnTo>
                  <a:lnTo>
                    <a:pt x="266" y="250"/>
                  </a:lnTo>
                  <a:lnTo>
                    <a:pt x="266" y="252"/>
                  </a:lnTo>
                  <a:lnTo>
                    <a:pt x="268" y="252"/>
                  </a:lnTo>
                  <a:lnTo>
                    <a:pt x="268" y="252"/>
                  </a:lnTo>
                  <a:lnTo>
                    <a:pt x="270" y="252"/>
                  </a:lnTo>
                  <a:lnTo>
                    <a:pt x="270" y="252"/>
                  </a:lnTo>
                  <a:lnTo>
                    <a:pt x="270" y="252"/>
                  </a:lnTo>
                  <a:lnTo>
                    <a:pt x="270" y="252"/>
                  </a:lnTo>
                  <a:lnTo>
                    <a:pt x="270" y="252"/>
                  </a:lnTo>
                  <a:lnTo>
                    <a:pt x="272" y="252"/>
                  </a:lnTo>
                  <a:lnTo>
                    <a:pt x="272" y="252"/>
                  </a:lnTo>
                  <a:lnTo>
                    <a:pt x="272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7" y="252"/>
                  </a:lnTo>
                  <a:lnTo>
                    <a:pt x="279" y="252"/>
                  </a:lnTo>
                  <a:lnTo>
                    <a:pt x="281" y="252"/>
                  </a:lnTo>
                  <a:lnTo>
                    <a:pt x="284" y="252"/>
                  </a:lnTo>
                  <a:lnTo>
                    <a:pt x="284" y="255"/>
                  </a:lnTo>
                  <a:lnTo>
                    <a:pt x="286" y="255"/>
                  </a:lnTo>
                  <a:lnTo>
                    <a:pt x="286" y="255"/>
                  </a:lnTo>
                  <a:lnTo>
                    <a:pt x="286" y="255"/>
                  </a:lnTo>
                  <a:lnTo>
                    <a:pt x="286" y="255"/>
                  </a:lnTo>
                  <a:lnTo>
                    <a:pt x="286" y="255"/>
                  </a:lnTo>
                  <a:lnTo>
                    <a:pt x="286" y="255"/>
                  </a:lnTo>
                  <a:lnTo>
                    <a:pt x="288" y="255"/>
                  </a:lnTo>
                  <a:lnTo>
                    <a:pt x="288" y="255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88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7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5"/>
                  </a:lnTo>
                  <a:lnTo>
                    <a:pt x="290" y="252"/>
                  </a:lnTo>
                  <a:lnTo>
                    <a:pt x="293" y="255"/>
                  </a:lnTo>
                  <a:lnTo>
                    <a:pt x="293" y="252"/>
                  </a:lnTo>
                  <a:lnTo>
                    <a:pt x="290" y="252"/>
                  </a:lnTo>
                  <a:lnTo>
                    <a:pt x="290" y="252"/>
                  </a:lnTo>
                  <a:lnTo>
                    <a:pt x="290" y="252"/>
                  </a:lnTo>
                  <a:lnTo>
                    <a:pt x="290" y="252"/>
                  </a:lnTo>
                  <a:lnTo>
                    <a:pt x="286" y="252"/>
                  </a:lnTo>
                  <a:lnTo>
                    <a:pt x="286" y="252"/>
                  </a:lnTo>
                  <a:lnTo>
                    <a:pt x="286" y="252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6" y="250"/>
                  </a:lnTo>
                  <a:lnTo>
                    <a:pt x="288" y="250"/>
                  </a:lnTo>
                  <a:lnTo>
                    <a:pt x="288" y="250"/>
                  </a:lnTo>
                  <a:lnTo>
                    <a:pt x="288" y="250"/>
                  </a:lnTo>
                  <a:lnTo>
                    <a:pt x="288" y="250"/>
                  </a:lnTo>
                  <a:lnTo>
                    <a:pt x="290" y="250"/>
                  </a:lnTo>
                  <a:lnTo>
                    <a:pt x="290" y="250"/>
                  </a:lnTo>
                  <a:lnTo>
                    <a:pt x="293" y="250"/>
                  </a:lnTo>
                  <a:lnTo>
                    <a:pt x="295" y="250"/>
                  </a:lnTo>
                  <a:lnTo>
                    <a:pt x="290" y="250"/>
                  </a:lnTo>
                  <a:lnTo>
                    <a:pt x="290" y="250"/>
                  </a:lnTo>
                  <a:lnTo>
                    <a:pt x="290" y="250"/>
                  </a:lnTo>
                  <a:lnTo>
                    <a:pt x="293" y="250"/>
                  </a:lnTo>
                  <a:lnTo>
                    <a:pt x="293" y="250"/>
                  </a:lnTo>
                  <a:lnTo>
                    <a:pt x="293" y="250"/>
                  </a:lnTo>
                  <a:lnTo>
                    <a:pt x="290" y="248"/>
                  </a:lnTo>
                  <a:lnTo>
                    <a:pt x="290" y="248"/>
                  </a:lnTo>
                  <a:lnTo>
                    <a:pt x="290" y="248"/>
                  </a:lnTo>
                  <a:lnTo>
                    <a:pt x="290" y="246"/>
                  </a:lnTo>
                  <a:lnTo>
                    <a:pt x="293" y="246"/>
                  </a:lnTo>
                  <a:lnTo>
                    <a:pt x="293" y="246"/>
                  </a:lnTo>
                  <a:lnTo>
                    <a:pt x="293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5" y="248"/>
                  </a:lnTo>
                  <a:lnTo>
                    <a:pt x="297" y="248"/>
                  </a:lnTo>
                  <a:lnTo>
                    <a:pt x="297" y="248"/>
                  </a:lnTo>
                  <a:lnTo>
                    <a:pt x="297" y="248"/>
                  </a:lnTo>
                  <a:lnTo>
                    <a:pt x="297" y="248"/>
                  </a:lnTo>
                  <a:lnTo>
                    <a:pt x="295" y="248"/>
                  </a:lnTo>
                  <a:lnTo>
                    <a:pt x="295" y="248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7" y="243"/>
                  </a:lnTo>
                  <a:lnTo>
                    <a:pt x="297" y="243"/>
                  </a:lnTo>
                  <a:lnTo>
                    <a:pt x="297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6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299" y="243"/>
                  </a:lnTo>
                  <a:lnTo>
                    <a:pt x="301" y="243"/>
                  </a:lnTo>
                  <a:lnTo>
                    <a:pt x="301" y="243"/>
                  </a:lnTo>
                  <a:lnTo>
                    <a:pt x="301" y="243"/>
                  </a:lnTo>
                  <a:lnTo>
                    <a:pt x="301" y="243"/>
                  </a:lnTo>
                  <a:lnTo>
                    <a:pt x="304" y="243"/>
                  </a:lnTo>
                  <a:lnTo>
                    <a:pt x="304" y="243"/>
                  </a:lnTo>
                  <a:lnTo>
                    <a:pt x="304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6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3"/>
                  </a:lnTo>
                  <a:lnTo>
                    <a:pt x="306" y="241"/>
                  </a:lnTo>
                  <a:lnTo>
                    <a:pt x="306" y="241"/>
                  </a:lnTo>
                  <a:lnTo>
                    <a:pt x="308" y="241"/>
                  </a:lnTo>
                  <a:lnTo>
                    <a:pt x="308" y="241"/>
                  </a:lnTo>
                  <a:lnTo>
                    <a:pt x="308" y="241"/>
                  </a:lnTo>
                  <a:lnTo>
                    <a:pt x="308" y="241"/>
                  </a:lnTo>
                  <a:lnTo>
                    <a:pt x="310" y="241"/>
                  </a:lnTo>
                  <a:lnTo>
                    <a:pt x="310" y="241"/>
                  </a:lnTo>
                  <a:lnTo>
                    <a:pt x="310" y="241"/>
                  </a:lnTo>
                  <a:lnTo>
                    <a:pt x="310" y="241"/>
                  </a:lnTo>
                  <a:lnTo>
                    <a:pt x="310" y="241"/>
                  </a:lnTo>
                  <a:lnTo>
                    <a:pt x="313" y="241"/>
                  </a:lnTo>
                  <a:lnTo>
                    <a:pt x="313" y="241"/>
                  </a:lnTo>
                  <a:lnTo>
                    <a:pt x="313" y="241"/>
                  </a:lnTo>
                  <a:lnTo>
                    <a:pt x="313" y="241"/>
                  </a:lnTo>
                  <a:lnTo>
                    <a:pt x="313" y="241"/>
                  </a:lnTo>
                  <a:lnTo>
                    <a:pt x="313" y="241"/>
                  </a:lnTo>
                  <a:lnTo>
                    <a:pt x="315" y="241"/>
                  </a:lnTo>
                  <a:lnTo>
                    <a:pt x="315" y="241"/>
                  </a:lnTo>
                  <a:lnTo>
                    <a:pt x="315" y="241"/>
                  </a:lnTo>
                  <a:lnTo>
                    <a:pt x="315" y="241"/>
                  </a:lnTo>
                  <a:lnTo>
                    <a:pt x="317" y="241"/>
                  </a:lnTo>
                  <a:lnTo>
                    <a:pt x="317" y="241"/>
                  </a:lnTo>
                  <a:lnTo>
                    <a:pt x="317" y="241"/>
                  </a:lnTo>
                  <a:lnTo>
                    <a:pt x="317" y="241"/>
                  </a:lnTo>
                  <a:lnTo>
                    <a:pt x="317" y="241"/>
                  </a:lnTo>
                  <a:lnTo>
                    <a:pt x="317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22" y="241"/>
                  </a:lnTo>
                  <a:lnTo>
                    <a:pt x="322" y="241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41"/>
                  </a:lnTo>
                  <a:lnTo>
                    <a:pt x="319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2" y="239"/>
                  </a:lnTo>
                  <a:lnTo>
                    <a:pt x="324" y="239"/>
                  </a:lnTo>
                  <a:lnTo>
                    <a:pt x="324" y="239"/>
                  </a:lnTo>
                  <a:lnTo>
                    <a:pt x="324" y="239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6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28" y="237"/>
                  </a:lnTo>
                  <a:lnTo>
                    <a:pt x="331" y="237"/>
                  </a:lnTo>
                  <a:lnTo>
                    <a:pt x="328" y="237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6" y="239"/>
                  </a:lnTo>
                  <a:lnTo>
                    <a:pt x="326" y="239"/>
                  </a:lnTo>
                  <a:lnTo>
                    <a:pt x="326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31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28" y="239"/>
                  </a:lnTo>
                  <a:lnTo>
                    <a:pt x="331" y="241"/>
                  </a:lnTo>
                  <a:lnTo>
                    <a:pt x="331" y="241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39"/>
                  </a:lnTo>
                  <a:lnTo>
                    <a:pt x="333" y="241"/>
                  </a:lnTo>
                  <a:lnTo>
                    <a:pt x="333" y="241"/>
                  </a:lnTo>
                  <a:lnTo>
                    <a:pt x="331" y="241"/>
                  </a:lnTo>
                  <a:lnTo>
                    <a:pt x="331" y="241"/>
                  </a:lnTo>
                  <a:lnTo>
                    <a:pt x="331" y="241"/>
                  </a:lnTo>
                  <a:lnTo>
                    <a:pt x="331" y="241"/>
                  </a:lnTo>
                  <a:lnTo>
                    <a:pt x="331" y="241"/>
                  </a:lnTo>
                  <a:lnTo>
                    <a:pt x="326" y="243"/>
                  </a:lnTo>
                  <a:lnTo>
                    <a:pt x="324" y="243"/>
                  </a:lnTo>
                  <a:lnTo>
                    <a:pt x="322" y="243"/>
                  </a:lnTo>
                  <a:lnTo>
                    <a:pt x="322" y="243"/>
                  </a:lnTo>
                  <a:lnTo>
                    <a:pt x="322" y="243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7" y="248"/>
                  </a:lnTo>
                  <a:lnTo>
                    <a:pt x="315" y="248"/>
                  </a:lnTo>
                  <a:lnTo>
                    <a:pt x="315" y="248"/>
                  </a:lnTo>
                  <a:lnTo>
                    <a:pt x="317" y="248"/>
                  </a:lnTo>
                  <a:lnTo>
                    <a:pt x="317" y="248"/>
                  </a:lnTo>
                  <a:lnTo>
                    <a:pt x="317" y="248"/>
                  </a:lnTo>
                  <a:lnTo>
                    <a:pt x="317" y="246"/>
                  </a:lnTo>
                  <a:lnTo>
                    <a:pt x="317" y="246"/>
                  </a:lnTo>
                  <a:lnTo>
                    <a:pt x="319" y="246"/>
                  </a:lnTo>
                  <a:lnTo>
                    <a:pt x="319" y="246"/>
                  </a:lnTo>
                  <a:lnTo>
                    <a:pt x="322" y="246"/>
                  </a:lnTo>
                  <a:lnTo>
                    <a:pt x="324" y="246"/>
                  </a:lnTo>
                  <a:lnTo>
                    <a:pt x="324" y="246"/>
                  </a:lnTo>
                  <a:lnTo>
                    <a:pt x="324" y="243"/>
                  </a:lnTo>
                  <a:lnTo>
                    <a:pt x="326" y="243"/>
                  </a:lnTo>
                  <a:lnTo>
                    <a:pt x="326" y="243"/>
                  </a:lnTo>
                  <a:lnTo>
                    <a:pt x="326" y="243"/>
                  </a:lnTo>
                  <a:lnTo>
                    <a:pt x="326" y="243"/>
                  </a:lnTo>
                  <a:lnTo>
                    <a:pt x="326" y="243"/>
                  </a:lnTo>
                  <a:lnTo>
                    <a:pt x="326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28" y="243"/>
                  </a:lnTo>
                  <a:lnTo>
                    <a:pt x="331" y="243"/>
                  </a:lnTo>
                  <a:lnTo>
                    <a:pt x="331" y="243"/>
                  </a:lnTo>
                  <a:lnTo>
                    <a:pt x="331" y="243"/>
                  </a:lnTo>
                  <a:lnTo>
                    <a:pt x="331" y="243"/>
                  </a:lnTo>
                  <a:lnTo>
                    <a:pt x="331" y="243"/>
                  </a:lnTo>
                  <a:lnTo>
                    <a:pt x="331" y="243"/>
                  </a:lnTo>
                  <a:lnTo>
                    <a:pt x="335" y="241"/>
                  </a:lnTo>
                  <a:lnTo>
                    <a:pt x="337" y="241"/>
                  </a:lnTo>
                  <a:lnTo>
                    <a:pt x="337" y="241"/>
                  </a:lnTo>
                  <a:lnTo>
                    <a:pt x="337" y="241"/>
                  </a:lnTo>
                  <a:lnTo>
                    <a:pt x="337" y="243"/>
                  </a:lnTo>
                  <a:lnTo>
                    <a:pt x="337" y="243"/>
                  </a:lnTo>
                  <a:lnTo>
                    <a:pt x="337" y="241"/>
                  </a:lnTo>
                  <a:lnTo>
                    <a:pt x="337" y="241"/>
                  </a:lnTo>
                  <a:lnTo>
                    <a:pt x="340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2" y="241"/>
                  </a:lnTo>
                  <a:lnTo>
                    <a:pt x="344" y="241"/>
                  </a:lnTo>
                  <a:lnTo>
                    <a:pt x="344" y="241"/>
                  </a:lnTo>
                  <a:lnTo>
                    <a:pt x="344" y="241"/>
                  </a:lnTo>
                  <a:lnTo>
                    <a:pt x="344" y="239"/>
                  </a:lnTo>
                  <a:lnTo>
                    <a:pt x="344" y="239"/>
                  </a:lnTo>
                  <a:lnTo>
                    <a:pt x="344" y="239"/>
                  </a:lnTo>
                  <a:lnTo>
                    <a:pt x="346" y="239"/>
                  </a:lnTo>
                  <a:lnTo>
                    <a:pt x="346" y="239"/>
                  </a:lnTo>
                  <a:lnTo>
                    <a:pt x="346" y="239"/>
                  </a:lnTo>
                  <a:lnTo>
                    <a:pt x="346" y="239"/>
                  </a:lnTo>
                  <a:lnTo>
                    <a:pt x="346" y="239"/>
                  </a:lnTo>
                  <a:lnTo>
                    <a:pt x="349" y="237"/>
                  </a:lnTo>
                  <a:lnTo>
                    <a:pt x="349" y="237"/>
                  </a:lnTo>
                  <a:lnTo>
                    <a:pt x="351" y="237"/>
                  </a:lnTo>
                  <a:lnTo>
                    <a:pt x="351" y="237"/>
                  </a:lnTo>
                  <a:lnTo>
                    <a:pt x="351" y="237"/>
                  </a:lnTo>
                  <a:lnTo>
                    <a:pt x="351" y="237"/>
                  </a:lnTo>
                  <a:lnTo>
                    <a:pt x="351" y="237"/>
                  </a:lnTo>
                  <a:lnTo>
                    <a:pt x="351" y="237"/>
                  </a:lnTo>
                  <a:lnTo>
                    <a:pt x="351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5" y="237"/>
                  </a:lnTo>
                  <a:lnTo>
                    <a:pt x="358" y="237"/>
                  </a:lnTo>
                  <a:lnTo>
                    <a:pt x="358" y="237"/>
                  </a:lnTo>
                  <a:lnTo>
                    <a:pt x="358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8" y="237"/>
                  </a:lnTo>
                  <a:lnTo>
                    <a:pt x="358" y="237"/>
                  </a:lnTo>
                  <a:lnTo>
                    <a:pt x="358" y="237"/>
                  </a:lnTo>
                  <a:lnTo>
                    <a:pt x="358" y="237"/>
                  </a:lnTo>
                  <a:lnTo>
                    <a:pt x="358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3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5" y="237"/>
                  </a:lnTo>
                  <a:lnTo>
                    <a:pt x="355" y="234"/>
                  </a:lnTo>
                  <a:lnTo>
                    <a:pt x="360" y="234"/>
                  </a:lnTo>
                  <a:lnTo>
                    <a:pt x="360" y="234"/>
                  </a:lnTo>
                  <a:lnTo>
                    <a:pt x="360" y="234"/>
                  </a:lnTo>
                  <a:lnTo>
                    <a:pt x="362" y="234"/>
                  </a:lnTo>
                  <a:lnTo>
                    <a:pt x="362" y="234"/>
                  </a:lnTo>
                  <a:lnTo>
                    <a:pt x="360" y="234"/>
                  </a:lnTo>
                  <a:lnTo>
                    <a:pt x="360" y="234"/>
                  </a:lnTo>
                  <a:lnTo>
                    <a:pt x="358" y="234"/>
                  </a:lnTo>
                  <a:lnTo>
                    <a:pt x="358" y="234"/>
                  </a:lnTo>
                  <a:lnTo>
                    <a:pt x="358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0" y="237"/>
                  </a:lnTo>
                  <a:lnTo>
                    <a:pt x="362" y="237"/>
                  </a:lnTo>
                  <a:lnTo>
                    <a:pt x="362" y="237"/>
                  </a:lnTo>
                  <a:lnTo>
                    <a:pt x="362" y="237"/>
                  </a:lnTo>
                  <a:lnTo>
                    <a:pt x="362" y="237"/>
                  </a:lnTo>
                  <a:lnTo>
                    <a:pt x="364" y="234"/>
                  </a:lnTo>
                  <a:lnTo>
                    <a:pt x="364" y="234"/>
                  </a:lnTo>
                  <a:lnTo>
                    <a:pt x="367" y="234"/>
                  </a:lnTo>
                  <a:lnTo>
                    <a:pt x="367" y="234"/>
                  </a:lnTo>
                  <a:lnTo>
                    <a:pt x="369" y="234"/>
                  </a:lnTo>
                  <a:lnTo>
                    <a:pt x="369" y="234"/>
                  </a:lnTo>
                  <a:lnTo>
                    <a:pt x="369" y="234"/>
                  </a:lnTo>
                  <a:lnTo>
                    <a:pt x="371" y="234"/>
                  </a:lnTo>
                  <a:lnTo>
                    <a:pt x="371" y="234"/>
                  </a:lnTo>
                  <a:lnTo>
                    <a:pt x="371" y="234"/>
                  </a:lnTo>
                  <a:lnTo>
                    <a:pt x="373" y="232"/>
                  </a:lnTo>
                  <a:lnTo>
                    <a:pt x="376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78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78" y="232"/>
                  </a:lnTo>
                  <a:lnTo>
                    <a:pt x="378" y="234"/>
                  </a:lnTo>
                  <a:lnTo>
                    <a:pt x="378" y="234"/>
                  </a:lnTo>
                  <a:lnTo>
                    <a:pt x="378" y="234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0" y="232"/>
                  </a:lnTo>
                  <a:lnTo>
                    <a:pt x="382" y="232"/>
                  </a:lnTo>
                  <a:lnTo>
                    <a:pt x="382" y="232"/>
                  </a:lnTo>
                  <a:lnTo>
                    <a:pt x="382" y="232"/>
                  </a:lnTo>
                  <a:lnTo>
                    <a:pt x="382" y="232"/>
                  </a:lnTo>
                  <a:lnTo>
                    <a:pt x="385" y="232"/>
                  </a:lnTo>
                  <a:lnTo>
                    <a:pt x="385" y="230"/>
                  </a:lnTo>
                  <a:lnTo>
                    <a:pt x="385" y="230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7" y="230"/>
                  </a:lnTo>
                  <a:lnTo>
                    <a:pt x="389" y="228"/>
                  </a:lnTo>
                  <a:lnTo>
                    <a:pt x="389" y="228"/>
                  </a:lnTo>
                  <a:lnTo>
                    <a:pt x="389" y="228"/>
                  </a:lnTo>
                  <a:lnTo>
                    <a:pt x="389" y="228"/>
                  </a:lnTo>
                  <a:lnTo>
                    <a:pt x="389" y="228"/>
                  </a:lnTo>
                  <a:lnTo>
                    <a:pt x="389" y="228"/>
                  </a:lnTo>
                  <a:lnTo>
                    <a:pt x="389" y="230"/>
                  </a:lnTo>
                  <a:lnTo>
                    <a:pt x="389" y="230"/>
                  </a:lnTo>
                  <a:lnTo>
                    <a:pt x="389" y="230"/>
                  </a:lnTo>
                  <a:lnTo>
                    <a:pt x="389" y="228"/>
                  </a:lnTo>
                  <a:lnTo>
                    <a:pt x="389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1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4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6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398" y="228"/>
                  </a:lnTo>
                  <a:lnTo>
                    <a:pt x="400" y="228"/>
                  </a:lnTo>
                  <a:lnTo>
                    <a:pt x="400" y="228"/>
                  </a:lnTo>
                  <a:lnTo>
                    <a:pt x="400" y="228"/>
                  </a:lnTo>
                  <a:lnTo>
                    <a:pt x="400" y="228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398" y="230"/>
                  </a:lnTo>
                  <a:lnTo>
                    <a:pt x="400" y="230"/>
                  </a:lnTo>
                  <a:lnTo>
                    <a:pt x="400" y="230"/>
                  </a:lnTo>
                  <a:lnTo>
                    <a:pt x="403" y="228"/>
                  </a:lnTo>
                  <a:lnTo>
                    <a:pt x="403" y="228"/>
                  </a:lnTo>
                  <a:lnTo>
                    <a:pt x="403" y="228"/>
                  </a:lnTo>
                  <a:lnTo>
                    <a:pt x="403" y="228"/>
                  </a:lnTo>
                  <a:lnTo>
                    <a:pt x="403" y="228"/>
                  </a:lnTo>
                  <a:lnTo>
                    <a:pt x="400" y="228"/>
                  </a:lnTo>
                  <a:lnTo>
                    <a:pt x="403" y="228"/>
                  </a:lnTo>
                  <a:lnTo>
                    <a:pt x="403" y="228"/>
                  </a:lnTo>
                  <a:lnTo>
                    <a:pt x="405" y="228"/>
                  </a:lnTo>
                  <a:lnTo>
                    <a:pt x="405" y="228"/>
                  </a:lnTo>
                  <a:lnTo>
                    <a:pt x="403" y="228"/>
                  </a:lnTo>
                  <a:lnTo>
                    <a:pt x="403" y="230"/>
                  </a:lnTo>
                  <a:lnTo>
                    <a:pt x="403" y="230"/>
                  </a:lnTo>
                  <a:lnTo>
                    <a:pt x="403" y="230"/>
                  </a:lnTo>
                  <a:lnTo>
                    <a:pt x="405" y="228"/>
                  </a:lnTo>
                  <a:lnTo>
                    <a:pt x="405" y="228"/>
                  </a:lnTo>
                  <a:lnTo>
                    <a:pt x="405" y="228"/>
                  </a:lnTo>
                  <a:lnTo>
                    <a:pt x="405" y="228"/>
                  </a:lnTo>
                  <a:lnTo>
                    <a:pt x="405" y="228"/>
                  </a:lnTo>
                  <a:lnTo>
                    <a:pt x="405" y="228"/>
                  </a:lnTo>
                  <a:lnTo>
                    <a:pt x="407" y="228"/>
                  </a:lnTo>
                  <a:lnTo>
                    <a:pt x="407" y="228"/>
                  </a:lnTo>
                  <a:lnTo>
                    <a:pt x="409" y="228"/>
                  </a:lnTo>
                  <a:lnTo>
                    <a:pt x="409" y="228"/>
                  </a:lnTo>
                  <a:lnTo>
                    <a:pt x="409" y="225"/>
                  </a:lnTo>
                  <a:lnTo>
                    <a:pt x="407" y="225"/>
                  </a:lnTo>
                  <a:lnTo>
                    <a:pt x="407" y="225"/>
                  </a:lnTo>
                  <a:lnTo>
                    <a:pt x="407" y="225"/>
                  </a:lnTo>
                  <a:lnTo>
                    <a:pt x="409" y="225"/>
                  </a:lnTo>
                  <a:lnTo>
                    <a:pt x="409" y="225"/>
                  </a:lnTo>
                  <a:lnTo>
                    <a:pt x="409" y="225"/>
                  </a:lnTo>
                  <a:lnTo>
                    <a:pt x="409" y="225"/>
                  </a:lnTo>
                  <a:lnTo>
                    <a:pt x="409" y="225"/>
                  </a:lnTo>
                  <a:lnTo>
                    <a:pt x="409" y="225"/>
                  </a:lnTo>
                  <a:lnTo>
                    <a:pt x="409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5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09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4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28"/>
                  </a:lnTo>
                  <a:lnTo>
                    <a:pt x="412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9" y="230"/>
                  </a:lnTo>
                  <a:lnTo>
                    <a:pt x="407" y="230"/>
                  </a:lnTo>
                  <a:lnTo>
                    <a:pt x="407" y="230"/>
                  </a:lnTo>
                  <a:lnTo>
                    <a:pt x="405" y="230"/>
                  </a:lnTo>
                  <a:lnTo>
                    <a:pt x="403" y="232"/>
                  </a:lnTo>
                  <a:lnTo>
                    <a:pt x="396" y="232"/>
                  </a:lnTo>
                  <a:lnTo>
                    <a:pt x="394" y="232"/>
                  </a:lnTo>
                  <a:lnTo>
                    <a:pt x="394" y="234"/>
                  </a:lnTo>
                  <a:lnTo>
                    <a:pt x="394" y="234"/>
                  </a:lnTo>
                  <a:lnTo>
                    <a:pt x="394" y="234"/>
                  </a:lnTo>
                  <a:lnTo>
                    <a:pt x="394" y="234"/>
                  </a:lnTo>
                  <a:lnTo>
                    <a:pt x="391" y="234"/>
                  </a:lnTo>
                  <a:lnTo>
                    <a:pt x="391" y="234"/>
                  </a:lnTo>
                  <a:lnTo>
                    <a:pt x="391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9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4"/>
                  </a:lnTo>
                  <a:lnTo>
                    <a:pt x="387" y="237"/>
                  </a:lnTo>
                  <a:lnTo>
                    <a:pt x="385" y="237"/>
                  </a:lnTo>
                  <a:lnTo>
                    <a:pt x="385" y="237"/>
                  </a:lnTo>
                  <a:lnTo>
                    <a:pt x="385" y="237"/>
                  </a:lnTo>
                  <a:lnTo>
                    <a:pt x="382" y="237"/>
                  </a:lnTo>
                  <a:lnTo>
                    <a:pt x="382" y="237"/>
                  </a:lnTo>
                  <a:lnTo>
                    <a:pt x="380" y="237"/>
                  </a:lnTo>
                  <a:lnTo>
                    <a:pt x="380" y="237"/>
                  </a:lnTo>
                  <a:lnTo>
                    <a:pt x="380" y="239"/>
                  </a:lnTo>
                  <a:lnTo>
                    <a:pt x="380" y="239"/>
                  </a:lnTo>
                  <a:lnTo>
                    <a:pt x="378" y="239"/>
                  </a:lnTo>
                  <a:lnTo>
                    <a:pt x="378" y="239"/>
                  </a:lnTo>
                  <a:lnTo>
                    <a:pt x="378" y="239"/>
                  </a:lnTo>
                  <a:lnTo>
                    <a:pt x="378" y="239"/>
                  </a:lnTo>
                  <a:lnTo>
                    <a:pt x="378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7"/>
                  </a:lnTo>
                  <a:lnTo>
                    <a:pt x="376" y="237"/>
                  </a:lnTo>
                  <a:lnTo>
                    <a:pt x="376" y="237"/>
                  </a:lnTo>
                  <a:lnTo>
                    <a:pt x="376" y="237"/>
                  </a:lnTo>
                  <a:lnTo>
                    <a:pt x="376" y="237"/>
                  </a:lnTo>
                  <a:lnTo>
                    <a:pt x="376" y="237"/>
                  </a:lnTo>
                  <a:lnTo>
                    <a:pt x="373" y="237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9" y="239"/>
                  </a:lnTo>
                  <a:lnTo>
                    <a:pt x="367" y="239"/>
                  </a:lnTo>
                  <a:lnTo>
                    <a:pt x="367" y="239"/>
                  </a:lnTo>
                  <a:lnTo>
                    <a:pt x="367" y="239"/>
                  </a:lnTo>
                  <a:lnTo>
                    <a:pt x="367" y="239"/>
                  </a:lnTo>
                  <a:lnTo>
                    <a:pt x="367" y="239"/>
                  </a:lnTo>
                  <a:lnTo>
                    <a:pt x="367" y="239"/>
                  </a:lnTo>
                  <a:lnTo>
                    <a:pt x="367" y="239"/>
                  </a:lnTo>
                  <a:lnTo>
                    <a:pt x="364" y="239"/>
                  </a:lnTo>
                  <a:lnTo>
                    <a:pt x="364" y="239"/>
                  </a:lnTo>
                  <a:lnTo>
                    <a:pt x="364" y="239"/>
                  </a:lnTo>
                  <a:lnTo>
                    <a:pt x="364" y="239"/>
                  </a:lnTo>
                  <a:lnTo>
                    <a:pt x="364" y="239"/>
                  </a:lnTo>
                  <a:lnTo>
                    <a:pt x="364" y="239"/>
                  </a:lnTo>
                  <a:lnTo>
                    <a:pt x="364" y="239"/>
                  </a:lnTo>
                  <a:lnTo>
                    <a:pt x="362" y="239"/>
                  </a:lnTo>
                  <a:lnTo>
                    <a:pt x="362" y="239"/>
                  </a:lnTo>
                  <a:lnTo>
                    <a:pt x="362" y="239"/>
                  </a:lnTo>
                  <a:lnTo>
                    <a:pt x="360" y="239"/>
                  </a:lnTo>
                  <a:lnTo>
                    <a:pt x="360" y="239"/>
                  </a:lnTo>
                  <a:lnTo>
                    <a:pt x="360" y="239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5" y="241"/>
                  </a:lnTo>
                  <a:lnTo>
                    <a:pt x="355" y="241"/>
                  </a:lnTo>
                  <a:lnTo>
                    <a:pt x="355" y="241"/>
                  </a:lnTo>
                  <a:lnTo>
                    <a:pt x="355" y="241"/>
                  </a:lnTo>
                  <a:lnTo>
                    <a:pt x="355" y="241"/>
                  </a:lnTo>
                  <a:lnTo>
                    <a:pt x="355" y="241"/>
                  </a:lnTo>
                  <a:lnTo>
                    <a:pt x="355" y="241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3" y="243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49" y="243"/>
                  </a:lnTo>
                  <a:lnTo>
                    <a:pt x="346" y="243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6" y="246"/>
                  </a:lnTo>
                  <a:lnTo>
                    <a:pt x="346" y="243"/>
                  </a:lnTo>
                  <a:lnTo>
                    <a:pt x="346" y="243"/>
                  </a:lnTo>
                  <a:lnTo>
                    <a:pt x="344" y="243"/>
                  </a:lnTo>
                  <a:lnTo>
                    <a:pt x="344" y="243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2" y="246"/>
                  </a:lnTo>
                  <a:lnTo>
                    <a:pt x="342" y="246"/>
                  </a:lnTo>
                  <a:lnTo>
                    <a:pt x="342" y="246"/>
                  </a:lnTo>
                  <a:lnTo>
                    <a:pt x="340" y="246"/>
                  </a:lnTo>
                  <a:lnTo>
                    <a:pt x="340" y="246"/>
                  </a:lnTo>
                  <a:lnTo>
                    <a:pt x="340" y="246"/>
                  </a:lnTo>
                  <a:lnTo>
                    <a:pt x="340" y="246"/>
                  </a:lnTo>
                  <a:lnTo>
                    <a:pt x="340" y="246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5" y="248"/>
                  </a:lnTo>
                  <a:lnTo>
                    <a:pt x="335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35" y="248"/>
                  </a:lnTo>
                  <a:lnTo>
                    <a:pt x="335" y="248"/>
                  </a:lnTo>
                  <a:lnTo>
                    <a:pt x="335" y="248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5" y="250"/>
                  </a:lnTo>
                  <a:lnTo>
                    <a:pt x="335" y="248"/>
                  </a:lnTo>
                  <a:lnTo>
                    <a:pt x="335" y="248"/>
                  </a:lnTo>
                  <a:lnTo>
                    <a:pt x="335" y="248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50"/>
                  </a:lnTo>
                  <a:lnTo>
                    <a:pt x="333" y="248"/>
                  </a:lnTo>
                  <a:lnTo>
                    <a:pt x="333" y="248"/>
                  </a:lnTo>
                  <a:lnTo>
                    <a:pt x="333" y="248"/>
                  </a:lnTo>
                  <a:lnTo>
                    <a:pt x="333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0"/>
                  </a:lnTo>
                  <a:lnTo>
                    <a:pt x="328" y="252"/>
                  </a:lnTo>
                  <a:lnTo>
                    <a:pt x="326" y="252"/>
                  </a:lnTo>
                  <a:lnTo>
                    <a:pt x="326" y="252"/>
                  </a:lnTo>
                  <a:lnTo>
                    <a:pt x="326" y="252"/>
                  </a:lnTo>
                  <a:lnTo>
                    <a:pt x="326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2" y="255"/>
                  </a:lnTo>
                  <a:lnTo>
                    <a:pt x="319" y="255"/>
                  </a:lnTo>
                  <a:lnTo>
                    <a:pt x="319" y="255"/>
                  </a:lnTo>
                  <a:lnTo>
                    <a:pt x="319" y="255"/>
                  </a:lnTo>
                  <a:lnTo>
                    <a:pt x="319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7"/>
                  </a:lnTo>
                  <a:lnTo>
                    <a:pt x="322" y="257"/>
                  </a:lnTo>
                  <a:lnTo>
                    <a:pt x="322" y="257"/>
                  </a:lnTo>
                  <a:lnTo>
                    <a:pt x="324" y="257"/>
                  </a:lnTo>
                  <a:lnTo>
                    <a:pt x="326" y="257"/>
                  </a:lnTo>
                  <a:lnTo>
                    <a:pt x="326" y="257"/>
                  </a:lnTo>
                  <a:lnTo>
                    <a:pt x="326" y="257"/>
                  </a:lnTo>
                  <a:lnTo>
                    <a:pt x="326" y="257"/>
                  </a:lnTo>
                  <a:lnTo>
                    <a:pt x="326" y="257"/>
                  </a:lnTo>
                  <a:lnTo>
                    <a:pt x="324" y="257"/>
                  </a:lnTo>
                  <a:lnTo>
                    <a:pt x="326" y="257"/>
                  </a:lnTo>
                  <a:lnTo>
                    <a:pt x="326" y="257"/>
                  </a:lnTo>
                  <a:lnTo>
                    <a:pt x="324" y="257"/>
                  </a:lnTo>
                  <a:lnTo>
                    <a:pt x="324" y="257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2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4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5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4" y="252"/>
                  </a:lnTo>
                  <a:lnTo>
                    <a:pt x="324" y="252"/>
                  </a:lnTo>
                  <a:lnTo>
                    <a:pt x="326" y="252"/>
                  </a:lnTo>
                  <a:lnTo>
                    <a:pt x="326" y="252"/>
                  </a:lnTo>
                  <a:lnTo>
                    <a:pt x="326" y="252"/>
                  </a:lnTo>
                  <a:lnTo>
                    <a:pt x="326" y="252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6" y="255"/>
                  </a:lnTo>
                  <a:lnTo>
                    <a:pt x="328" y="255"/>
                  </a:lnTo>
                  <a:lnTo>
                    <a:pt x="328" y="255"/>
                  </a:lnTo>
                  <a:lnTo>
                    <a:pt x="328" y="255"/>
                  </a:lnTo>
                  <a:lnTo>
                    <a:pt x="328" y="255"/>
                  </a:lnTo>
                  <a:lnTo>
                    <a:pt x="328" y="252"/>
                  </a:lnTo>
                  <a:lnTo>
                    <a:pt x="328" y="252"/>
                  </a:lnTo>
                  <a:lnTo>
                    <a:pt x="331" y="252"/>
                  </a:lnTo>
                  <a:lnTo>
                    <a:pt x="331" y="252"/>
                  </a:lnTo>
                  <a:lnTo>
                    <a:pt x="331" y="252"/>
                  </a:lnTo>
                  <a:lnTo>
                    <a:pt x="331" y="255"/>
                  </a:lnTo>
                  <a:lnTo>
                    <a:pt x="331" y="255"/>
                  </a:lnTo>
                  <a:lnTo>
                    <a:pt x="331" y="255"/>
                  </a:lnTo>
                  <a:lnTo>
                    <a:pt x="331" y="255"/>
                  </a:lnTo>
                  <a:lnTo>
                    <a:pt x="333" y="255"/>
                  </a:lnTo>
                  <a:lnTo>
                    <a:pt x="333" y="255"/>
                  </a:lnTo>
                  <a:lnTo>
                    <a:pt x="333" y="255"/>
                  </a:lnTo>
                  <a:lnTo>
                    <a:pt x="333" y="255"/>
                  </a:lnTo>
                  <a:lnTo>
                    <a:pt x="335" y="255"/>
                  </a:lnTo>
                  <a:lnTo>
                    <a:pt x="335" y="255"/>
                  </a:lnTo>
                  <a:lnTo>
                    <a:pt x="335" y="255"/>
                  </a:lnTo>
                  <a:lnTo>
                    <a:pt x="335" y="255"/>
                  </a:lnTo>
                  <a:lnTo>
                    <a:pt x="337" y="255"/>
                  </a:lnTo>
                  <a:lnTo>
                    <a:pt x="337" y="255"/>
                  </a:lnTo>
                  <a:lnTo>
                    <a:pt x="337" y="255"/>
                  </a:lnTo>
                  <a:lnTo>
                    <a:pt x="337" y="255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5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7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3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5" y="252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3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50"/>
                  </a:lnTo>
                  <a:lnTo>
                    <a:pt x="335" y="248"/>
                  </a:lnTo>
                  <a:lnTo>
                    <a:pt x="337" y="248"/>
                  </a:lnTo>
                  <a:lnTo>
                    <a:pt x="337" y="248"/>
                  </a:lnTo>
                  <a:lnTo>
                    <a:pt x="340" y="248"/>
                  </a:lnTo>
                  <a:lnTo>
                    <a:pt x="340" y="248"/>
                  </a:lnTo>
                  <a:lnTo>
                    <a:pt x="342" y="248"/>
                  </a:lnTo>
                  <a:lnTo>
                    <a:pt x="342" y="248"/>
                  </a:lnTo>
                  <a:lnTo>
                    <a:pt x="342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4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2" y="248"/>
                  </a:lnTo>
                  <a:lnTo>
                    <a:pt x="342" y="248"/>
                  </a:lnTo>
                  <a:lnTo>
                    <a:pt x="344" y="248"/>
                  </a:lnTo>
                  <a:lnTo>
                    <a:pt x="344" y="248"/>
                  </a:lnTo>
                  <a:lnTo>
                    <a:pt x="346" y="248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6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9" y="246"/>
                  </a:lnTo>
                  <a:lnTo>
                    <a:pt x="346" y="248"/>
                  </a:lnTo>
                  <a:lnTo>
                    <a:pt x="346" y="248"/>
                  </a:lnTo>
                  <a:lnTo>
                    <a:pt x="349" y="248"/>
                  </a:lnTo>
                  <a:lnTo>
                    <a:pt x="349" y="248"/>
                  </a:lnTo>
                  <a:lnTo>
                    <a:pt x="349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1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3" y="246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3"/>
                  </a:lnTo>
                  <a:lnTo>
                    <a:pt x="358" y="243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6"/>
                  </a:lnTo>
                  <a:lnTo>
                    <a:pt x="355" y="243"/>
                  </a:lnTo>
                  <a:lnTo>
                    <a:pt x="355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60" y="243"/>
                  </a:lnTo>
                  <a:lnTo>
                    <a:pt x="360" y="243"/>
                  </a:lnTo>
                  <a:lnTo>
                    <a:pt x="360" y="241"/>
                  </a:lnTo>
                  <a:lnTo>
                    <a:pt x="360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58" y="243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58" y="243"/>
                  </a:lnTo>
                  <a:lnTo>
                    <a:pt x="358" y="241"/>
                  </a:lnTo>
                  <a:lnTo>
                    <a:pt x="358" y="241"/>
                  </a:lnTo>
                  <a:lnTo>
                    <a:pt x="360" y="241"/>
                  </a:lnTo>
                  <a:lnTo>
                    <a:pt x="360" y="241"/>
                  </a:lnTo>
                  <a:lnTo>
                    <a:pt x="360" y="241"/>
                  </a:lnTo>
                  <a:lnTo>
                    <a:pt x="360" y="241"/>
                  </a:lnTo>
                  <a:lnTo>
                    <a:pt x="360" y="241"/>
                  </a:lnTo>
                  <a:lnTo>
                    <a:pt x="360" y="241"/>
                  </a:lnTo>
                  <a:lnTo>
                    <a:pt x="362" y="241"/>
                  </a:lnTo>
                  <a:lnTo>
                    <a:pt x="362" y="241"/>
                  </a:lnTo>
                  <a:lnTo>
                    <a:pt x="362" y="241"/>
                  </a:lnTo>
                  <a:lnTo>
                    <a:pt x="364" y="241"/>
                  </a:lnTo>
                  <a:lnTo>
                    <a:pt x="364" y="241"/>
                  </a:lnTo>
                  <a:lnTo>
                    <a:pt x="364" y="241"/>
                  </a:lnTo>
                  <a:lnTo>
                    <a:pt x="364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4" y="241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2" y="243"/>
                  </a:lnTo>
                  <a:lnTo>
                    <a:pt x="362" y="243"/>
                  </a:lnTo>
                  <a:lnTo>
                    <a:pt x="362" y="243"/>
                  </a:lnTo>
                  <a:lnTo>
                    <a:pt x="362" y="243"/>
                  </a:lnTo>
                  <a:lnTo>
                    <a:pt x="362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7" y="243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7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2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4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7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1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39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39"/>
                  </a:lnTo>
                  <a:lnTo>
                    <a:pt x="376" y="241"/>
                  </a:lnTo>
                  <a:lnTo>
                    <a:pt x="376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1"/>
                  </a:lnTo>
                  <a:lnTo>
                    <a:pt x="373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69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7" y="246"/>
                  </a:lnTo>
                  <a:lnTo>
                    <a:pt x="367" y="246"/>
                  </a:lnTo>
                  <a:lnTo>
                    <a:pt x="367" y="246"/>
                  </a:lnTo>
                  <a:lnTo>
                    <a:pt x="367" y="246"/>
                  </a:lnTo>
                  <a:lnTo>
                    <a:pt x="367" y="246"/>
                  </a:lnTo>
                  <a:lnTo>
                    <a:pt x="367" y="246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8"/>
                  </a:lnTo>
                  <a:lnTo>
                    <a:pt x="367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69" y="246"/>
                  </a:lnTo>
                  <a:lnTo>
                    <a:pt x="371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6" y="243"/>
                  </a:lnTo>
                  <a:lnTo>
                    <a:pt x="376" y="241"/>
                  </a:lnTo>
                  <a:lnTo>
                    <a:pt x="376" y="241"/>
                  </a:lnTo>
                  <a:lnTo>
                    <a:pt x="378" y="241"/>
                  </a:lnTo>
                  <a:lnTo>
                    <a:pt x="378" y="241"/>
                  </a:lnTo>
                  <a:lnTo>
                    <a:pt x="378" y="241"/>
                  </a:lnTo>
                  <a:lnTo>
                    <a:pt x="378" y="241"/>
                  </a:lnTo>
                  <a:lnTo>
                    <a:pt x="378" y="241"/>
                  </a:lnTo>
                  <a:lnTo>
                    <a:pt x="382" y="239"/>
                  </a:lnTo>
                  <a:lnTo>
                    <a:pt x="382" y="239"/>
                  </a:lnTo>
                  <a:lnTo>
                    <a:pt x="382" y="239"/>
                  </a:lnTo>
                  <a:lnTo>
                    <a:pt x="385" y="239"/>
                  </a:lnTo>
                  <a:lnTo>
                    <a:pt x="385" y="239"/>
                  </a:lnTo>
                  <a:lnTo>
                    <a:pt x="385" y="239"/>
                  </a:lnTo>
                  <a:lnTo>
                    <a:pt x="385" y="239"/>
                  </a:lnTo>
                  <a:lnTo>
                    <a:pt x="385" y="239"/>
                  </a:lnTo>
                  <a:lnTo>
                    <a:pt x="385" y="239"/>
                  </a:lnTo>
                  <a:lnTo>
                    <a:pt x="385" y="237"/>
                  </a:lnTo>
                  <a:lnTo>
                    <a:pt x="387" y="237"/>
                  </a:lnTo>
                  <a:lnTo>
                    <a:pt x="387" y="237"/>
                  </a:lnTo>
                  <a:lnTo>
                    <a:pt x="387" y="237"/>
                  </a:lnTo>
                  <a:lnTo>
                    <a:pt x="387" y="237"/>
                  </a:lnTo>
                  <a:lnTo>
                    <a:pt x="387" y="237"/>
                  </a:lnTo>
                  <a:lnTo>
                    <a:pt x="389" y="237"/>
                  </a:lnTo>
                  <a:lnTo>
                    <a:pt x="389" y="237"/>
                  </a:lnTo>
                  <a:lnTo>
                    <a:pt x="389" y="237"/>
                  </a:lnTo>
                  <a:lnTo>
                    <a:pt x="389" y="237"/>
                  </a:lnTo>
                  <a:lnTo>
                    <a:pt x="389" y="237"/>
                  </a:lnTo>
                  <a:lnTo>
                    <a:pt x="389" y="237"/>
                  </a:lnTo>
                  <a:lnTo>
                    <a:pt x="389" y="237"/>
                  </a:lnTo>
                  <a:lnTo>
                    <a:pt x="391" y="237"/>
                  </a:lnTo>
                  <a:lnTo>
                    <a:pt x="396" y="234"/>
                  </a:lnTo>
                  <a:lnTo>
                    <a:pt x="396" y="234"/>
                  </a:lnTo>
                  <a:lnTo>
                    <a:pt x="400" y="234"/>
                  </a:lnTo>
                  <a:lnTo>
                    <a:pt x="403" y="234"/>
                  </a:lnTo>
                  <a:lnTo>
                    <a:pt x="403" y="234"/>
                  </a:lnTo>
                  <a:lnTo>
                    <a:pt x="405" y="234"/>
                  </a:lnTo>
                  <a:lnTo>
                    <a:pt x="405" y="234"/>
                  </a:lnTo>
                  <a:lnTo>
                    <a:pt x="412" y="232"/>
                  </a:lnTo>
                  <a:lnTo>
                    <a:pt x="412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6" y="232"/>
                  </a:lnTo>
                  <a:lnTo>
                    <a:pt x="416" y="230"/>
                  </a:lnTo>
                  <a:lnTo>
                    <a:pt x="416" y="230"/>
                  </a:lnTo>
                  <a:lnTo>
                    <a:pt x="416" y="232"/>
                  </a:lnTo>
                  <a:lnTo>
                    <a:pt x="416" y="230"/>
                  </a:lnTo>
                  <a:lnTo>
                    <a:pt x="416" y="232"/>
                  </a:lnTo>
                  <a:lnTo>
                    <a:pt x="416" y="232"/>
                  </a:lnTo>
                  <a:lnTo>
                    <a:pt x="416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4" y="232"/>
                  </a:lnTo>
                  <a:lnTo>
                    <a:pt x="414" y="234"/>
                  </a:lnTo>
                  <a:lnTo>
                    <a:pt x="412" y="234"/>
                  </a:lnTo>
                  <a:lnTo>
                    <a:pt x="409" y="234"/>
                  </a:lnTo>
                  <a:lnTo>
                    <a:pt x="409" y="234"/>
                  </a:lnTo>
                  <a:lnTo>
                    <a:pt x="409" y="234"/>
                  </a:lnTo>
                  <a:lnTo>
                    <a:pt x="409" y="234"/>
                  </a:lnTo>
                  <a:lnTo>
                    <a:pt x="407" y="234"/>
                  </a:lnTo>
                  <a:lnTo>
                    <a:pt x="407" y="237"/>
                  </a:lnTo>
                  <a:lnTo>
                    <a:pt x="407" y="237"/>
                  </a:lnTo>
                  <a:lnTo>
                    <a:pt x="407" y="237"/>
                  </a:lnTo>
                  <a:lnTo>
                    <a:pt x="407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09" y="237"/>
                  </a:lnTo>
                  <a:lnTo>
                    <a:pt x="412" y="234"/>
                  </a:lnTo>
                  <a:lnTo>
                    <a:pt x="412" y="234"/>
                  </a:lnTo>
                  <a:lnTo>
                    <a:pt x="414" y="234"/>
                  </a:lnTo>
                  <a:lnTo>
                    <a:pt x="414" y="234"/>
                  </a:lnTo>
                  <a:lnTo>
                    <a:pt x="414" y="234"/>
                  </a:lnTo>
                  <a:lnTo>
                    <a:pt x="416" y="234"/>
                  </a:lnTo>
                  <a:lnTo>
                    <a:pt x="416" y="234"/>
                  </a:lnTo>
                  <a:lnTo>
                    <a:pt x="418" y="234"/>
                  </a:lnTo>
                  <a:lnTo>
                    <a:pt x="418" y="232"/>
                  </a:lnTo>
                  <a:lnTo>
                    <a:pt x="423" y="232"/>
                  </a:lnTo>
                  <a:lnTo>
                    <a:pt x="425" y="232"/>
                  </a:lnTo>
                  <a:lnTo>
                    <a:pt x="425" y="232"/>
                  </a:lnTo>
                  <a:lnTo>
                    <a:pt x="425" y="230"/>
                  </a:lnTo>
                  <a:lnTo>
                    <a:pt x="425" y="230"/>
                  </a:lnTo>
                  <a:lnTo>
                    <a:pt x="425" y="230"/>
                  </a:lnTo>
                  <a:lnTo>
                    <a:pt x="425" y="230"/>
                  </a:lnTo>
                  <a:lnTo>
                    <a:pt x="425" y="230"/>
                  </a:lnTo>
                  <a:lnTo>
                    <a:pt x="425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30"/>
                  </a:lnTo>
                  <a:lnTo>
                    <a:pt x="427" y="228"/>
                  </a:lnTo>
                  <a:lnTo>
                    <a:pt x="427" y="228"/>
                  </a:lnTo>
                  <a:lnTo>
                    <a:pt x="427" y="228"/>
                  </a:lnTo>
                  <a:lnTo>
                    <a:pt x="430" y="228"/>
                  </a:lnTo>
                  <a:lnTo>
                    <a:pt x="430" y="228"/>
                  </a:lnTo>
                  <a:lnTo>
                    <a:pt x="432" y="228"/>
                  </a:lnTo>
                  <a:lnTo>
                    <a:pt x="432" y="228"/>
                  </a:lnTo>
                  <a:lnTo>
                    <a:pt x="432" y="228"/>
                  </a:lnTo>
                  <a:lnTo>
                    <a:pt x="432" y="228"/>
                  </a:lnTo>
                  <a:lnTo>
                    <a:pt x="432" y="228"/>
                  </a:lnTo>
                  <a:lnTo>
                    <a:pt x="434" y="228"/>
                  </a:lnTo>
                  <a:lnTo>
                    <a:pt x="434" y="228"/>
                  </a:lnTo>
                  <a:lnTo>
                    <a:pt x="436" y="228"/>
                  </a:lnTo>
                  <a:lnTo>
                    <a:pt x="436" y="225"/>
                  </a:lnTo>
                  <a:lnTo>
                    <a:pt x="439" y="225"/>
                  </a:lnTo>
                  <a:lnTo>
                    <a:pt x="439" y="225"/>
                  </a:lnTo>
                  <a:lnTo>
                    <a:pt x="443" y="225"/>
                  </a:lnTo>
                  <a:lnTo>
                    <a:pt x="443" y="225"/>
                  </a:lnTo>
                  <a:lnTo>
                    <a:pt x="443" y="225"/>
                  </a:lnTo>
                  <a:lnTo>
                    <a:pt x="443" y="225"/>
                  </a:lnTo>
                  <a:lnTo>
                    <a:pt x="441" y="225"/>
                  </a:lnTo>
                  <a:lnTo>
                    <a:pt x="439" y="225"/>
                  </a:lnTo>
                  <a:lnTo>
                    <a:pt x="436" y="225"/>
                  </a:lnTo>
                  <a:lnTo>
                    <a:pt x="436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41" y="223"/>
                  </a:lnTo>
                  <a:lnTo>
                    <a:pt x="441" y="223"/>
                  </a:lnTo>
                  <a:lnTo>
                    <a:pt x="441" y="223"/>
                  </a:lnTo>
                  <a:lnTo>
                    <a:pt x="441" y="223"/>
                  </a:lnTo>
                  <a:lnTo>
                    <a:pt x="439" y="223"/>
                  </a:lnTo>
                  <a:lnTo>
                    <a:pt x="439" y="223"/>
                  </a:lnTo>
                  <a:lnTo>
                    <a:pt x="436" y="223"/>
                  </a:lnTo>
                  <a:lnTo>
                    <a:pt x="436" y="223"/>
                  </a:lnTo>
                  <a:lnTo>
                    <a:pt x="439" y="221"/>
                  </a:lnTo>
                  <a:lnTo>
                    <a:pt x="441" y="221"/>
                  </a:lnTo>
                  <a:lnTo>
                    <a:pt x="441" y="219"/>
                  </a:lnTo>
                  <a:lnTo>
                    <a:pt x="443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5" y="219"/>
                  </a:lnTo>
                  <a:lnTo>
                    <a:pt x="448" y="221"/>
                  </a:lnTo>
                  <a:lnTo>
                    <a:pt x="450" y="223"/>
                  </a:lnTo>
                  <a:lnTo>
                    <a:pt x="450" y="223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50" y="225"/>
                  </a:lnTo>
                  <a:lnTo>
                    <a:pt x="450" y="228"/>
                  </a:lnTo>
                  <a:lnTo>
                    <a:pt x="450" y="228"/>
                  </a:lnTo>
                  <a:lnTo>
                    <a:pt x="448" y="230"/>
                  </a:lnTo>
                  <a:lnTo>
                    <a:pt x="448" y="230"/>
                  </a:lnTo>
                  <a:lnTo>
                    <a:pt x="448" y="230"/>
                  </a:lnTo>
                  <a:lnTo>
                    <a:pt x="448" y="230"/>
                  </a:lnTo>
                  <a:lnTo>
                    <a:pt x="448" y="230"/>
                  </a:lnTo>
                  <a:lnTo>
                    <a:pt x="448" y="230"/>
                  </a:lnTo>
                  <a:lnTo>
                    <a:pt x="448" y="230"/>
                  </a:lnTo>
                  <a:lnTo>
                    <a:pt x="450" y="230"/>
                  </a:lnTo>
                  <a:lnTo>
                    <a:pt x="450" y="230"/>
                  </a:lnTo>
                  <a:lnTo>
                    <a:pt x="450" y="230"/>
                  </a:lnTo>
                  <a:lnTo>
                    <a:pt x="448" y="230"/>
                  </a:lnTo>
                  <a:lnTo>
                    <a:pt x="448" y="232"/>
                  </a:lnTo>
                  <a:lnTo>
                    <a:pt x="448" y="232"/>
                  </a:lnTo>
                  <a:lnTo>
                    <a:pt x="448" y="232"/>
                  </a:lnTo>
                  <a:lnTo>
                    <a:pt x="448" y="232"/>
                  </a:lnTo>
                  <a:lnTo>
                    <a:pt x="448" y="232"/>
                  </a:lnTo>
                  <a:lnTo>
                    <a:pt x="448" y="232"/>
                  </a:lnTo>
                  <a:lnTo>
                    <a:pt x="445" y="232"/>
                  </a:lnTo>
                  <a:lnTo>
                    <a:pt x="445" y="234"/>
                  </a:lnTo>
                  <a:lnTo>
                    <a:pt x="445" y="234"/>
                  </a:lnTo>
                  <a:lnTo>
                    <a:pt x="445" y="234"/>
                  </a:lnTo>
                  <a:lnTo>
                    <a:pt x="445" y="234"/>
                  </a:lnTo>
                  <a:lnTo>
                    <a:pt x="445" y="234"/>
                  </a:lnTo>
                  <a:lnTo>
                    <a:pt x="445" y="237"/>
                  </a:lnTo>
                  <a:lnTo>
                    <a:pt x="448" y="239"/>
                  </a:lnTo>
                  <a:lnTo>
                    <a:pt x="448" y="239"/>
                  </a:lnTo>
                  <a:lnTo>
                    <a:pt x="448" y="239"/>
                  </a:lnTo>
                  <a:lnTo>
                    <a:pt x="448" y="239"/>
                  </a:lnTo>
                  <a:lnTo>
                    <a:pt x="448" y="241"/>
                  </a:lnTo>
                  <a:lnTo>
                    <a:pt x="448" y="241"/>
                  </a:lnTo>
                  <a:lnTo>
                    <a:pt x="448" y="241"/>
                  </a:lnTo>
                  <a:lnTo>
                    <a:pt x="448" y="241"/>
                  </a:lnTo>
                  <a:lnTo>
                    <a:pt x="450" y="241"/>
                  </a:lnTo>
                  <a:lnTo>
                    <a:pt x="450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4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2" y="243"/>
                  </a:lnTo>
                  <a:lnTo>
                    <a:pt x="454" y="243"/>
                  </a:lnTo>
                  <a:lnTo>
                    <a:pt x="454" y="243"/>
                  </a:lnTo>
                  <a:lnTo>
                    <a:pt x="454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3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3"/>
                  </a:lnTo>
                  <a:lnTo>
                    <a:pt x="461" y="243"/>
                  </a:lnTo>
                  <a:lnTo>
                    <a:pt x="461" y="243"/>
                  </a:lnTo>
                  <a:lnTo>
                    <a:pt x="461" y="243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3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3" y="241"/>
                  </a:lnTo>
                  <a:lnTo>
                    <a:pt x="463" y="241"/>
                  </a:lnTo>
                  <a:lnTo>
                    <a:pt x="463" y="241"/>
                  </a:lnTo>
                  <a:lnTo>
                    <a:pt x="463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59" y="241"/>
                  </a:lnTo>
                  <a:lnTo>
                    <a:pt x="459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4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7" y="241"/>
                  </a:lnTo>
                  <a:lnTo>
                    <a:pt x="459" y="241"/>
                  </a:lnTo>
                  <a:lnTo>
                    <a:pt x="459" y="241"/>
                  </a:lnTo>
                  <a:lnTo>
                    <a:pt x="459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41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1" y="241"/>
                  </a:lnTo>
                  <a:lnTo>
                    <a:pt x="463" y="241"/>
                  </a:lnTo>
                  <a:lnTo>
                    <a:pt x="463" y="241"/>
                  </a:lnTo>
                  <a:lnTo>
                    <a:pt x="463" y="241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3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3" y="239"/>
                  </a:lnTo>
                  <a:lnTo>
                    <a:pt x="463" y="239"/>
                  </a:lnTo>
                  <a:lnTo>
                    <a:pt x="463" y="239"/>
                  </a:lnTo>
                  <a:lnTo>
                    <a:pt x="463" y="239"/>
                  </a:lnTo>
                  <a:lnTo>
                    <a:pt x="463" y="239"/>
                  </a:lnTo>
                  <a:lnTo>
                    <a:pt x="463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1" y="239"/>
                  </a:lnTo>
                  <a:lnTo>
                    <a:pt x="463" y="239"/>
                  </a:lnTo>
                  <a:lnTo>
                    <a:pt x="461" y="239"/>
                  </a:lnTo>
                  <a:lnTo>
                    <a:pt x="461" y="237"/>
                  </a:lnTo>
                  <a:lnTo>
                    <a:pt x="463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1" y="237"/>
                  </a:lnTo>
                  <a:lnTo>
                    <a:pt x="463" y="237"/>
                  </a:lnTo>
                  <a:lnTo>
                    <a:pt x="463" y="237"/>
                  </a:lnTo>
                  <a:lnTo>
                    <a:pt x="465" y="237"/>
                  </a:lnTo>
                  <a:lnTo>
                    <a:pt x="465" y="237"/>
                  </a:lnTo>
                  <a:lnTo>
                    <a:pt x="465" y="237"/>
                  </a:lnTo>
                  <a:lnTo>
                    <a:pt x="468" y="237"/>
                  </a:lnTo>
                  <a:lnTo>
                    <a:pt x="468" y="237"/>
                  </a:lnTo>
                  <a:lnTo>
                    <a:pt x="468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0" y="237"/>
                  </a:lnTo>
                  <a:lnTo>
                    <a:pt x="472" y="237"/>
                  </a:lnTo>
                  <a:lnTo>
                    <a:pt x="472" y="237"/>
                  </a:lnTo>
                  <a:lnTo>
                    <a:pt x="472" y="237"/>
                  </a:lnTo>
                  <a:lnTo>
                    <a:pt x="472" y="237"/>
                  </a:lnTo>
                  <a:lnTo>
                    <a:pt x="472" y="237"/>
                  </a:lnTo>
                  <a:lnTo>
                    <a:pt x="472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68" y="234"/>
                  </a:lnTo>
                  <a:lnTo>
                    <a:pt x="470" y="234"/>
                  </a:lnTo>
                  <a:lnTo>
                    <a:pt x="470" y="232"/>
                  </a:lnTo>
                  <a:lnTo>
                    <a:pt x="470" y="232"/>
                  </a:lnTo>
                  <a:lnTo>
                    <a:pt x="470" y="232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0" y="234"/>
                  </a:lnTo>
                  <a:lnTo>
                    <a:pt x="472" y="234"/>
                  </a:lnTo>
                  <a:lnTo>
                    <a:pt x="472" y="234"/>
                  </a:lnTo>
                  <a:lnTo>
                    <a:pt x="472" y="234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4" y="232"/>
                  </a:lnTo>
                  <a:lnTo>
                    <a:pt x="477" y="232"/>
                  </a:lnTo>
                  <a:lnTo>
                    <a:pt x="477" y="232"/>
                  </a:lnTo>
                  <a:lnTo>
                    <a:pt x="477" y="232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4" y="232"/>
                  </a:lnTo>
                  <a:lnTo>
                    <a:pt x="474" y="232"/>
                  </a:lnTo>
                  <a:lnTo>
                    <a:pt x="474" y="232"/>
                  </a:lnTo>
                  <a:lnTo>
                    <a:pt x="474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2"/>
                  </a:lnTo>
                  <a:lnTo>
                    <a:pt x="472" y="230"/>
                  </a:lnTo>
                  <a:lnTo>
                    <a:pt x="472" y="230"/>
                  </a:lnTo>
                  <a:lnTo>
                    <a:pt x="472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4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28"/>
                  </a:lnTo>
                  <a:lnTo>
                    <a:pt x="479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7" y="230"/>
                  </a:lnTo>
                  <a:lnTo>
                    <a:pt x="477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79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1" y="230"/>
                  </a:lnTo>
                  <a:lnTo>
                    <a:pt x="483" y="228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3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1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3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6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28"/>
                  </a:lnTo>
                  <a:lnTo>
                    <a:pt x="488" y="230"/>
                  </a:lnTo>
                  <a:lnTo>
                    <a:pt x="488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6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0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3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2"/>
                  </a:lnTo>
                  <a:lnTo>
                    <a:pt x="481" y="234"/>
                  </a:lnTo>
                  <a:lnTo>
                    <a:pt x="481" y="234"/>
                  </a:lnTo>
                  <a:lnTo>
                    <a:pt x="481" y="234"/>
                  </a:lnTo>
                  <a:lnTo>
                    <a:pt x="479" y="234"/>
                  </a:lnTo>
                  <a:lnTo>
                    <a:pt x="479" y="234"/>
                  </a:lnTo>
                  <a:lnTo>
                    <a:pt x="479" y="234"/>
                  </a:lnTo>
                  <a:lnTo>
                    <a:pt x="479" y="234"/>
                  </a:lnTo>
                  <a:lnTo>
                    <a:pt x="479" y="234"/>
                  </a:lnTo>
                  <a:lnTo>
                    <a:pt x="479" y="234"/>
                  </a:lnTo>
                  <a:lnTo>
                    <a:pt x="479" y="234"/>
                  </a:lnTo>
                  <a:lnTo>
                    <a:pt x="479" y="237"/>
                  </a:lnTo>
                  <a:lnTo>
                    <a:pt x="479" y="237"/>
                  </a:lnTo>
                  <a:lnTo>
                    <a:pt x="479" y="237"/>
                  </a:lnTo>
                  <a:lnTo>
                    <a:pt x="479" y="237"/>
                  </a:lnTo>
                  <a:lnTo>
                    <a:pt x="479" y="237"/>
                  </a:lnTo>
                  <a:lnTo>
                    <a:pt x="479" y="237"/>
                  </a:lnTo>
                  <a:lnTo>
                    <a:pt x="481" y="237"/>
                  </a:lnTo>
                  <a:lnTo>
                    <a:pt x="481" y="237"/>
                  </a:lnTo>
                  <a:lnTo>
                    <a:pt x="481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3" y="237"/>
                  </a:lnTo>
                  <a:lnTo>
                    <a:pt x="481" y="237"/>
                  </a:lnTo>
                  <a:lnTo>
                    <a:pt x="479" y="239"/>
                  </a:lnTo>
                  <a:lnTo>
                    <a:pt x="479" y="239"/>
                  </a:lnTo>
                  <a:lnTo>
                    <a:pt x="479" y="239"/>
                  </a:lnTo>
                  <a:lnTo>
                    <a:pt x="479" y="239"/>
                  </a:lnTo>
                  <a:lnTo>
                    <a:pt x="477" y="239"/>
                  </a:lnTo>
                  <a:lnTo>
                    <a:pt x="474" y="239"/>
                  </a:lnTo>
                  <a:lnTo>
                    <a:pt x="474" y="241"/>
                  </a:lnTo>
                  <a:lnTo>
                    <a:pt x="472" y="241"/>
                  </a:lnTo>
                  <a:lnTo>
                    <a:pt x="472" y="241"/>
                  </a:lnTo>
                  <a:lnTo>
                    <a:pt x="472" y="241"/>
                  </a:lnTo>
                  <a:lnTo>
                    <a:pt x="472" y="241"/>
                  </a:lnTo>
                  <a:lnTo>
                    <a:pt x="472" y="241"/>
                  </a:lnTo>
                  <a:lnTo>
                    <a:pt x="470" y="241"/>
                  </a:lnTo>
                  <a:lnTo>
                    <a:pt x="470" y="241"/>
                  </a:lnTo>
                  <a:lnTo>
                    <a:pt x="470" y="243"/>
                  </a:lnTo>
                  <a:lnTo>
                    <a:pt x="470" y="243"/>
                  </a:lnTo>
                  <a:lnTo>
                    <a:pt x="470" y="243"/>
                  </a:lnTo>
                  <a:lnTo>
                    <a:pt x="472" y="243"/>
                  </a:lnTo>
                  <a:lnTo>
                    <a:pt x="472" y="243"/>
                  </a:lnTo>
                  <a:lnTo>
                    <a:pt x="472" y="243"/>
                  </a:lnTo>
                  <a:lnTo>
                    <a:pt x="474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7" y="243"/>
                  </a:lnTo>
                  <a:lnTo>
                    <a:pt x="479" y="243"/>
                  </a:lnTo>
                  <a:lnTo>
                    <a:pt x="479" y="241"/>
                  </a:lnTo>
                  <a:lnTo>
                    <a:pt x="479" y="241"/>
                  </a:lnTo>
                  <a:lnTo>
                    <a:pt x="479" y="243"/>
                  </a:lnTo>
                  <a:lnTo>
                    <a:pt x="479" y="243"/>
                  </a:lnTo>
                  <a:lnTo>
                    <a:pt x="479" y="243"/>
                  </a:lnTo>
                  <a:lnTo>
                    <a:pt x="479" y="243"/>
                  </a:lnTo>
                  <a:lnTo>
                    <a:pt x="479" y="243"/>
                  </a:lnTo>
                  <a:lnTo>
                    <a:pt x="479" y="243"/>
                  </a:lnTo>
                  <a:lnTo>
                    <a:pt x="479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1" y="243"/>
                  </a:lnTo>
                  <a:lnTo>
                    <a:pt x="483" y="243"/>
                  </a:lnTo>
                  <a:lnTo>
                    <a:pt x="483" y="243"/>
                  </a:lnTo>
                  <a:lnTo>
                    <a:pt x="483" y="243"/>
                  </a:lnTo>
                  <a:lnTo>
                    <a:pt x="486" y="243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88" y="241"/>
                  </a:lnTo>
                  <a:lnTo>
                    <a:pt x="490" y="241"/>
                  </a:lnTo>
                  <a:lnTo>
                    <a:pt x="492" y="241"/>
                  </a:lnTo>
                  <a:lnTo>
                    <a:pt x="492" y="241"/>
                  </a:lnTo>
                  <a:lnTo>
                    <a:pt x="492" y="241"/>
                  </a:lnTo>
                  <a:lnTo>
                    <a:pt x="492" y="241"/>
                  </a:lnTo>
                  <a:lnTo>
                    <a:pt x="492" y="241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5" y="239"/>
                  </a:lnTo>
                  <a:lnTo>
                    <a:pt x="497" y="237"/>
                  </a:lnTo>
                  <a:lnTo>
                    <a:pt x="497" y="237"/>
                  </a:lnTo>
                  <a:lnTo>
                    <a:pt x="497" y="237"/>
                  </a:lnTo>
                  <a:lnTo>
                    <a:pt x="497" y="237"/>
                  </a:lnTo>
                  <a:lnTo>
                    <a:pt x="497" y="237"/>
                  </a:lnTo>
                  <a:lnTo>
                    <a:pt x="497" y="237"/>
                  </a:lnTo>
                  <a:lnTo>
                    <a:pt x="499" y="237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499" y="234"/>
                  </a:lnTo>
                  <a:lnTo>
                    <a:pt x="501" y="234"/>
                  </a:lnTo>
                  <a:lnTo>
                    <a:pt x="501" y="234"/>
                  </a:lnTo>
                  <a:lnTo>
                    <a:pt x="501" y="234"/>
                  </a:lnTo>
                  <a:lnTo>
                    <a:pt x="504" y="234"/>
                  </a:lnTo>
                  <a:lnTo>
                    <a:pt x="504" y="234"/>
                  </a:lnTo>
                  <a:lnTo>
                    <a:pt x="504" y="234"/>
                  </a:lnTo>
                  <a:lnTo>
                    <a:pt x="506" y="234"/>
                  </a:lnTo>
                  <a:lnTo>
                    <a:pt x="506" y="234"/>
                  </a:lnTo>
                  <a:lnTo>
                    <a:pt x="506" y="234"/>
                  </a:lnTo>
                  <a:lnTo>
                    <a:pt x="506" y="234"/>
                  </a:lnTo>
                  <a:lnTo>
                    <a:pt x="506" y="234"/>
                  </a:lnTo>
                  <a:lnTo>
                    <a:pt x="508" y="234"/>
                  </a:lnTo>
                  <a:lnTo>
                    <a:pt x="508" y="234"/>
                  </a:lnTo>
                  <a:lnTo>
                    <a:pt x="508" y="234"/>
                  </a:lnTo>
                  <a:lnTo>
                    <a:pt x="508" y="234"/>
                  </a:lnTo>
                  <a:lnTo>
                    <a:pt x="510" y="234"/>
                  </a:lnTo>
                  <a:lnTo>
                    <a:pt x="510" y="234"/>
                  </a:lnTo>
                  <a:lnTo>
                    <a:pt x="513" y="234"/>
                  </a:lnTo>
                  <a:lnTo>
                    <a:pt x="515" y="234"/>
                  </a:lnTo>
                  <a:lnTo>
                    <a:pt x="517" y="234"/>
                  </a:lnTo>
                  <a:lnTo>
                    <a:pt x="522" y="234"/>
                  </a:lnTo>
                  <a:lnTo>
                    <a:pt x="524" y="234"/>
                  </a:lnTo>
                  <a:lnTo>
                    <a:pt x="526" y="234"/>
                  </a:lnTo>
                  <a:lnTo>
                    <a:pt x="531" y="239"/>
                  </a:lnTo>
                  <a:lnTo>
                    <a:pt x="533" y="239"/>
                  </a:lnTo>
                  <a:lnTo>
                    <a:pt x="535" y="241"/>
                  </a:lnTo>
                  <a:lnTo>
                    <a:pt x="537" y="243"/>
                  </a:lnTo>
                  <a:lnTo>
                    <a:pt x="537" y="243"/>
                  </a:lnTo>
                  <a:lnTo>
                    <a:pt x="537" y="243"/>
                  </a:lnTo>
                  <a:lnTo>
                    <a:pt x="542" y="243"/>
                  </a:lnTo>
                  <a:lnTo>
                    <a:pt x="542" y="243"/>
                  </a:lnTo>
                  <a:lnTo>
                    <a:pt x="544" y="243"/>
                  </a:lnTo>
                  <a:lnTo>
                    <a:pt x="549" y="243"/>
                  </a:lnTo>
                  <a:lnTo>
                    <a:pt x="553" y="246"/>
                  </a:lnTo>
                  <a:lnTo>
                    <a:pt x="555" y="246"/>
                  </a:lnTo>
                  <a:lnTo>
                    <a:pt x="555" y="246"/>
                  </a:lnTo>
                  <a:lnTo>
                    <a:pt x="555" y="246"/>
                  </a:lnTo>
                  <a:lnTo>
                    <a:pt x="558" y="248"/>
                  </a:lnTo>
                  <a:lnTo>
                    <a:pt x="560" y="248"/>
                  </a:lnTo>
                  <a:lnTo>
                    <a:pt x="560" y="250"/>
                  </a:lnTo>
                  <a:lnTo>
                    <a:pt x="564" y="250"/>
                  </a:lnTo>
                  <a:lnTo>
                    <a:pt x="567" y="250"/>
                  </a:lnTo>
                  <a:lnTo>
                    <a:pt x="569" y="252"/>
                  </a:lnTo>
                  <a:lnTo>
                    <a:pt x="571" y="252"/>
                  </a:lnTo>
                  <a:lnTo>
                    <a:pt x="571" y="252"/>
                  </a:lnTo>
                  <a:lnTo>
                    <a:pt x="573" y="252"/>
                  </a:lnTo>
                  <a:lnTo>
                    <a:pt x="573" y="252"/>
                  </a:lnTo>
                  <a:lnTo>
                    <a:pt x="573" y="252"/>
                  </a:lnTo>
                  <a:lnTo>
                    <a:pt x="573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6" y="252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78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2" y="252"/>
                  </a:lnTo>
                  <a:lnTo>
                    <a:pt x="585" y="252"/>
                  </a:lnTo>
                  <a:lnTo>
                    <a:pt x="585" y="252"/>
                  </a:lnTo>
                  <a:lnTo>
                    <a:pt x="585" y="255"/>
                  </a:lnTo>
                  <a:lnTo>
                    <a:pt x="585" y="255"/>
                  </a:lnTo>
                  <a:lnTo>
                    <a:pt x="589" y="255"/>
                  </a:lnTo>
                  <a:lnTo>
                    <a:pt x="589" y="255"/>
                  </a:lnTo>
                  <a:lnTo>
                    <a:pt x="587" y="252"/>
                  </a:lnTo>
                  <a:lnTo>
                    <a:pt x="587" y="252"/>
                  </a:lnTo>
                  <a:lnTo>
                    <a:pt x="587" y="252"/>
                  </a:lnTo>
                  <a:lnTo>
                    <a:pt x="589" y="252"/>
                  </a:lnTo>
                  <a:lnTo>
                    <a:pt x="587" y="252"/>
                  </a:lnTo>
                  <a:lnTo>
                    <a:pt x="587" y="250"/>
                  </a:lnTo>
                  <a:lnTo>
                    <a:pt x="587" y="250"/>
                  </a:lnTo>
                  <a:lnTo>
                    <a:pt x="587" y="250"/>
                  </a:lnTo>
                  <a:lnTo>
                    <a:pt x="587" y="250"/>
                  </a:lnTo>
                  <a:lnTo>
                    <a:pt x="589" y="250"/>
                  </a:lnTo>
                  <a:lnTo>
                    <a:pt x="589" y="250"/>
                  </a:lnTo>
                  <a:lnTo>
                    <a:pt x="591" y="252"/>
                  </a:lnTo>
                  <a:lnTo>
                    <a:pt x="591" y="252"/>
                  </a:lnTo>
                  <a:lnTo>
                    <a:pt x="591" y="252"/>
                  </a:lnTo>
                  <a:lnTo>
                    <a:pt x="594" y="252"/>
                  </a:lnTo>
                  <a:lnTo>
                    <a:pt x="594" y="252"/>
                  </a:lnTo>
                  <a:lnTo>
                    <a:pt x="594" y="252"/>
                  </a:lnTo>
                  <a:lnTo>
                    <a:pt x="594" y="252"/>
                  </a:lnTo>
                  <a:lnTo>
                    <a:pt x="594" y="250"/>
                  </a:lnTo>
                  <a:lnTo>
                    <a:pt x="594" y="250"/>
                  </a:lnTo>
                  <a:lnTo>
                    <a:pt x="594" y="250"/>
                  </a:lnTo>
                  <a:lnTo>
                    <a:pt x="594" y="250"/>
                  </a:lnTo>
                  <a:lnTo>
                    <a:pt x="594" y="250"/>
                  </a:lnTo>
                  <a:lnTo>
                    <a:pt x="594" y="250"/>
                  </a:lnTo>
                  <a:lnTo>
                    <a:pt x="596" y="250"/>
                  </a:lnTo>
                  <a:lnTo>
                    <a:pt x="596" y="250"/>
                  </a:lnTo>
                  <a:lnTo>
                    <a:pt x="598" y="250"/>
                  </a:lnTo>
                  <a:lnTo>
                    <a:pt x="598" y="250"/>
                  </a:lnTo>
                  <a:lnTo>
                    <a:pt x="598" y="252"/>
                  </a:lnTo>
                  <a:lnTo>
                    <a:pt x="598" y="252"/>
                  </a:lnTo>
                  <a:lnTo>
                    <a:pt x="598" y="252"/>
                  </a:lnTo>
                  <a:lnTo>
                    <a:pt x="598" y="252"/>
                  </a:lnTo>
                  <a:lnTo>
                    <a:pt x="598" y="252"/>
                  </a:lnTo>
                  <a:lnTo>
                    <a:pt x="600" y="252"/>
                  </a:lnTo>
                  <a:lnTo>
                    <a:pt x="603" y="252"/>
                  </a:lnTo>
                  <a:lnTo>
                    <a:pt x="603" y="252"/>
                  </a:lnTo>
                  <a:lnTo>
                    <a:pt x="603" y="252"/>
                  </a:lnTo>
                  <a:lnTo>
                    <a:pt x="603" y="252"/>
                  </a:lnTo>
                  <a:lnTo>
                    <a:pt x="603" y="252"/>
                  </a:lnTo>
                  <a:lnTo>
                    <a:pt x="603" y="252"/>
                  </a:lnTo>
                  <a:lnTo>
                    <a:pt x="605" y="252"/>
                  </a:lnTo>
                  <a:lnTo>
                    <a:pt x="605" y="252"/>
                  </a:lnTo>
                  <a:lnTo>
                    <a:pt x="605" y="255"/>
                  </a:lnTo>
                  <a:lnTo>
                    <a:pt x="605" y="255"/>
                  </a:lnTo>
                  <a:lnTo>
                    <a:pt x="605" y="255"/>
                  </a:lnTo>
                  <a:lnTo>
                    <a:pt x="607" y="255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7"/>
                  </a:lnTo>
                  <a:lnTo>
                    <a:pt x="609" y="259"/>
                  </a:lnTo>
                  <a:lnTo>
                    <a:pt x="609" y="259"/>
                  </a:lnTo>
                  <a:lnTo>
                    <a:pt x="612" y="259"/>
                  </a:lnTo>
                  <a:lnTo>
                    <a:pt x="612" y="259"/>
                  </a:lnTo>
                  <a:lnTo>
                    <a:pt x="609" y="259"/>
                  </a:lnTo>
                  <a:lnTo>
                    <a:pt x="609" y="259"/>
                  </a:lnTo>
                  <a:lnTo>
                    <a:pt x="609" y="259"/>
                  </a:lnTo>
                  <a:lnTo>
                    <a:pt x="609" y="259"/>
                  </a:lnTo>
                  <a:lnTo>
                    <a:pt x="612" y="259"/>
                  </a:lnTo>
                  <a:lnTo>
                    <a:pt x="612" y="259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09" y="261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12" y="261"/>
                  </a:lnTo>
                  <a:lnTo>
                    <a:pt x="612" y="264"/>
                  </a:lnTo>
                  <a:lnTo>
                    <a:pt x="612" y="264"/>
                  </a:lnTo>
                  <a:lnTo>
                    <a:pt x="612" y="264"/>
                  </a:lnTo>
                  <a:lnTo>
                    <a:pt x="612" y="264"/>
                  </a:lnTo>
                  <a:lnTo>
                    <a:pt x="609" y="264"/>
                  </a:lnTo>
                  <a:lnTo>
                    <a:pt x="609" y="264"/>
                  </a:lnTo>
                  <a:lnTo>
                    <a:pt x="607" y="264"/>
                  </a:lnTo>
                  <a:lnTo>
                    <a:pt x="607" y="264"/>
                  </a:lnTo>
                  <a:lnTo>
                    <a:pt x="607" y="264"/>
                  </a:lnTo>
                  <a:lnTo>
                    <a:pt x="607" y="266"/>
                  </a:lnTo>
                  <a:lnTo>
                    <a:pt x="607" y="266"/>
                  </a:lnTo>
                  <a:lnTo>
                    <a:pt x="607" y="266"/>
                  </a:lnTo>
                  <a:lnTo>
                    <a:pt x="605" y="266"/>
                  </a:lnTo>
                  <a:lnTo>
                    <a:pt x="605" y="266"/>
                  </a:lnTo>
                  <a:lnTo>
                    <a:pt x="605" y="266"/>
                  </a:lnTo>
                  <a:lnTo>
                    <a:pt x="603" y="266"/>
                  </a:lnTo>
                  <a:lnTo>
                    <a:pt x="603" y="266"/>
                  </a:lnTo>
                  <a:lnTo>
                    <a:pt x="603" y="266"/>
                  </a:lnTo>
                  <a:lnTo>
                    <a:pt x="603" y="266"/>
                  </a:lnTo>
                  <a:lnTo>
                    <a:pt x="603" y="266"/>
                  </a:lnTo>
                  <a:lnTo>
                    <a:pt x="603" y="266"/>
                  </a:lnTo>
                  <a:lnTo>
                    <a:pt x="600" y="266"/>
                  </a:lnTo>
                  <a:lnTo>
                    <a:pt x="600" y="266"/>
                  </a:lnTo>
                  <a:lnTo>
                    <a:pt x="600" y="266"/>
                  </a:lnTo>
                  <a:lnTo>
                    <a:pt x="600" y="266"/>
                  </a:lnTo>
                  <a:lnTo>
                    <a:pt x="598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4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6"/>
                  </a:lnTo>
                  <a:lnTo>
                    <a:pt x="594" y="268"/>
                  </a:lnTo>
                  <a:lnTo>
                    <a:pt x="591" y="268"/>
                  </a:lnTo>
                  <a:lnTo>
                    <a:pt x="591" y="268"/>
                  </a:lnTo>
                  <a:lnTo>
                    <a:pt x="587" y="266"/>
                  </a:lnTo>
                  <a:lnTo>
                    <a:pt x="587" y="268"/>
                  </a:lnTo>
                  <a:lnTo>
                    <a:pt x="587" y="268"/>
                  </a:lnTo>
                  <a:lnTo>
                    <a:pt x="587" y="268"/>
                  </a:lnTo>
                  <a:lnTo>
                    <a:pt x="587" y="268"/>
                  </a:lnTo>
                  <a:lnTo>
                    <a:pt x="587" y="268"/>
                  </a:lnTo>
                  <a:lnTo>
                    <a:pt x="585" y="268"/>
                  </a:lnTo>
                  <a:lnTo>
                    <a:pt x="585" y="268"/>
                  </a:lnTo>
                  <a:lnTo>
                    <a:pt x="585" y="268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5" y="270"/>
                  </a:lnTo>
                  <a:lnTo>
                    <a:pt x="582" y="270"/>
                  </a:lnTo>
                  <a:lnTo>
                    <a:pt x="582" y="270"/>
                  </a:lnTo>
                  <a:lnTo>
                    <a:pt x="582" y="270"/>
                  </a:lnTo>
                  <a:lnTo>
                    <a:pt x="578" y="273"/>
                  </a:lnTo>
                  <a:lnTo>
                    <a:pt x="578" y="273"/>
                  </a:lnTo>
                  <a:lnTo>
                    <a:pt x="578" y="273"/>
                  </a:lnTo>
                  <a:lnTo>
                    <a:pt x="578" y="273"/>
                  </a:lnTo>
                  <a:lnTo>
                    <a:pt x="576" y="273"/>
                  </a:lnTo>
                  <a:lnTo>
                    <a:pt x="578" y="273"/>
                  </a:lnTo>
                  <a:lnTo>
                    <a:pt x="578" y="273"/>
                  </a:lnTo>
                  <a:lnTo>
                    <a:pt x="578" y="273"/>
                  </a:lnTo>
                  <a:lnTo>
                    <a:pt x="580" y="273"/>
                  </a:lnTo>
                  <a:lnTo>
                    <a:pt x="580" y="273"/>
                  </a:lnTo>
                  <a:lnTo>
                    <a:pt x="580" y="273"/>
                  </a:lnTo>
                  <a:lnTo>
                    <a:pt x="580" y="273"/>
                  </a:lnTo>
                  <a:lnTo>
                    <a:pt x="580" y="273"/>
                  </a:lnTo>
                  <a:lnTo>
                    <a:pt x="580" y="273"/>
                  </a:lnTo>
                  <a:lnTo>
                    <a:pt x="580" y="273"/>
                  </a:lnTo>
                  <a:lnTo>
                    <a:pt x="580" y="275"/>
                  </a:lnTo>
                  <a:lnTo>
                    <a:pt x="580" y="275"/>
                  </a:lnTo>
                  <a:lnTo>
                    <a:pt x="580" y="275"/>
                  </a:lnTo>
                  <a:lnTo>
                    <a:pt x="580" y="275"/>
                  </a:lnTo>
                  <a:lnTo>
                    <a:pt x="582" y="275"/>
                  </a:lnTo>
                  <a:lnTo>
                    <a:pt x="587" y="275"/>
                  </a:lnTo>
                  <a:lnTo>
                    <a:pt x="587" y="275"/>
                  </a:lnTo>
                  <a:lnTo>
                    <a:pt x="587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89" y="275"/>
                  </a:lnTo>
                  <a:lnTo>
                    <a:pt x="591" y="275"/>
                  </a:lnTo>
                  <a:lnTo>
                    <a:pt x="591" y="277"/>
                  </a:lnTo>
                  <a:lnTo>
                    <a:pt x="594" y="277"/>
                  </a:lnTo>
                  <a:lnTo>
                    <a:pt x="594" y="275"/>
                  </a:lnTo>
                  <a:lnTo>
                    <a:pt x="594" y="275"/>
                  </a:lnTo>
                  <a:lnTo>
                    <a:pt x="598" y="277"/>
                  </a:lnTo>
                  <a:lnTo>
                    <a:pt x="598" y="277"/>
                  </a:lnTo>
                  <a:lnTo>
                    <a:pt x="598" y="277"/>
                  </a:lnTo>
                  <a:lnTo>
                    <a:pt x="600" y="277"/>
                  </a:lnTo>
                  <a:lnTo>
                    <a:pt x="607" y="277"/>
                  </a:lnTo>
                  <a:lnTo>
                    <a:pt x="609" y="277"/>
                  </a:lnTo>
                  <a:lnTo>
                    <a:pt x="609" y="277"/>
                  </a:lnTo>
                  <a:lnTo>
                    <a:pt x="612" y="277"/>
                  </a:lnTo>
                  <a:lnTo>
                    <a:pt x="614" y="277"/>
                  </a:lnTo>
                  <a:lnTo>
                    <a:pt x="616" y="277"/>
                  </a:lnTo>
                  <a:lnTo>
                    <a:pt x="621" y="277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623" y="277"/>
                  </a:lnTo>
                  <a:lnTo>
                    <a:pt x="623" y="275"/>
                  </a:lnTo>
                  <a:lnTo>
                    <a:pt x="623" y="275"/>
                  </a:lnTo>
                  <a:lnTo>
                    <a:pt x="625" y="277"/>
                  </a:lnTo>
                  <a:lnTo>
                    <a:pt x="627" y="275"/>
                  </a:lnTo>
                  <a:lnTo>
                    <a:pt x="627" y="275"/>
                  </a:lnTo>
                  <a:lnTo>
                    <a:pt x="627" y="277"/>
                  </a:lnTo>
                  <a:lnTo>
                    <a:pt x="627" y="277"/>
                  </a:lnTo>
                  <a:lnTo>
                    <a:pt x="627" y="277"/>
                  </a:lnTo>
                  <a:lnTo>
                    <a:pt x="627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7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29" y="275"/>
                  </a:lnTo>
                  <a:lnTo>
                    <a:pt x="634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8" y="275"/>
                  </a:lnTo>
                  <a:lnTo>
                    <a:pt x="638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3" y="275"/>
                  </a:lnTo>
                  <a:lnTo>
                    <a:pt x="643" y="273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1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3" y="275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5"/>
                  </a:lnTo>
                  <a:lnTo>
                    <a:pt x="650" y="275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50" y="273"/>
                  </a:lnTo>
                  <a:lnTo>
                    <a:pt x="652" y="273"/>
                  </a:lnTo>
                  <a:lnTo>
                    <a:pt x="652" y="273"/>
                  </a:lnTo>
                  <a:lnTo>
                    <a:pt x="654" y="273"/>
                  </a:lnTo>
                  <a:lnTo>
                    <a:pt x="656" y="273"/>
                  </a:lnTo>
                  <a:lnTo>
                    <a:pt x="659" y="273"/>
                  </a:lnTo>
                  <a:lnTo>
                    <a:pt x="659" y="270"/>
                  </a:lnTo>
                  <a:lnTo>
                    <a:pt x="659" y="270"/>
                  </a:lnTo>
                  <a:lnTo>
                    <a:pt x="659" y="270"/>
                  </a:lnTo>
                  <a:lnTo>
                    <a:pt x="659" y="270"/>
                  </a:lnTo>
                  <a:lnTo>
                    <a:pt x="659" y="273"/>
                  </a:lnTo>
                  <a:lnTo>
                    <a:pt x="661" y="273"/>
                  </a:lnTo>
                  <a:lnTo>
                    <a:pt x="661" y="273"/>
                  </a:lnTo>
                  <a:lnTo>
                    <a:pt x="661" y="273"/>
                  </a:lnTo>
                  <a:lnTo>
                    <a:pt x="661" y="270"/>
                  </a:lnTo>
                  <a:lnTo>
                    <a:pt x="661" y="270"/>
                  </a:lnTo>
                  <a:lnTo>
                    <a:pt x="661" y="270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3" y="270"/>
                  </a:lnTo>
                  <a:lnTo>
                    <a:pt x="663" y="273"/>
                  </a:lnTo>
                  <a:lnTo>
                    <a:pt x="661" y="273"/>
                  </a:lnTo>
                  <a:lnTo>
                    <a:pt x="661" y="273"/>
                  </a:lnTo>
                  <a:lnTo>
                    <a:pt x="661" y="275"/>
                  </a:lnTo>
                  <a:lnTo>
                    <a:pt x="661" y="275"/>
                  </a:lnTo>
                  <a:lnTo>
                    <a:pt x="663" y="273"/>
                  </a:lnTo>
                  <a:lnTo>
                    <a:pt x="663" y="273"/>
                  </a:lnTo>
                  <a:lnTo>
                    <a:pt x="663" y="273"/>
                  </a:lnTo>
                  <a:lnTo>
                    <a:pt x="663" y="273"/>
                  </a:lnTo>
                  <a:lnTo>
                    <a:pt x="663" y="273"/>
                  </a:lnTo>
                  <a:lnTo>
                    <a:pt x="663" y="273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3" y="275"/>
                  </a:lnTo>
                  <a:lnTo>
                    <a:pt x="663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5" y="275"/>
                  </a:lnTo>
                  <a:lnTo>
                    <a:pt x="663" y="275"/>
                  </a:lnTo>
                  <a:lnTo>
                    <a:pt x="663" y="275"/>
                  </a:lnTo>
                  <a:lnTo>
                    <a:pt x="663" y="277"/>
                  </a:lnTo>
                  <a:lnTo>
                    <a:pt x="663" y="277"/>
                  </a:lnTo>
                  <a:lnTo>
                    <a:pt x="665" y="277"/>
                  </a:lnTo>
                  <a:lnTo>
                    <a:pt x="665" y="277"/>
                  </a:lnTo>
                  <a:lnTo>
                    <a:pt x="665" y="277"/>
                  </a:lnTo>
                  <a:lnTo>
                    <a:pt x="668" y="277"/>
                  </a:lnTo>
                  <a:lnTo>
                    <a:pt x="665" y="277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5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68" y="275"/>
                  </a:lnTo>
                  <a:lnTo>
                    <a:pt x="670" y="277"/>
                  </a:lnTo>
                  <a:lnTo>
                    <a:pt x="670" y="277"/>
                  </a:lnTo>
                  <a:lnTo>
                    <a:pt x="670" y="277"/>
                  </a:lnTo>
                  <a:lnTo>
                    <a:pt x="670" y="277"/>
                  </a:lnTo>
                  <a:lnTo>
                    <a:pt x="670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70" y="275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7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2" y="279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4"/>
                  </a:lnTo>
                  <a:lnTo>
                    <a:pt x="670" y="284"/>
                  </a:lnTo>
                  <a:lnTo>
                    <a:pt x="670" y="284"/>
                  </a:lnTo>
                  <a:lnTo>
                    <a:pt x="670" y="284"/>
                  </a:lnTo>
                  <a:lnTo>
                    <a:pt x="672" y="284"/>
                  </a:lnTo>
                  <a:lnTo>
                    <a:pt x="672" y="282"/>
                  </a:lnTo>
                  <a:lnTo>
                    <a:pt x="672" y="282"/>
                  </a:lnTo>
                  <a:lnTo>
                    <a:pt x="677" y="279"/>
                  </a:lnTo>
                  <a:lnTo>
                    <a:pt x="677" y="279"/>
                  </a:lnTo>
                  <a:lnTo>
                    <a:pt x="677" y="277"/>
                  </a:lnTo>
                  <a:lnTo>
                    <a:pt x="679" y="277"/>
                  </a:lnTo>
                  <a:lnTo>
                    <a:pt x="679" y="277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9" y="279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4"/>
                  </a:lnTo>
                  <a:lnTo>
                    <a:pt x="674" y="284"/>
                  </a:lnTo>
                  <a:lnTo>
                    <a:pt x="674" y="284"/>
                  </a:lnTo>
                  <a:lnTo>
                    <a:pt x="677" y="284"/>
                  </a:lnTo>
                  <a:lnTo>
                    <a:pt x="677" y="284"/>
                  </a:lnTo>
                  <a:lnTo>
                    <a:pt x="677" y="284"/>
                  </a:lnTo>
                  <a:lnTo>
                    <a:pt x="677" y="284"/>
                  </a:lnTo>
                  <a:lnTo>
                    <a:pt x="677" y="284"/>
                  </a:lnTo>
                  <a:lnTo>
                    <a:pt x="677" y="284"/>
                  </a:lnTo>
                  <a:lnTo>
                    <a:pt x="677" y="284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7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2"/>
                  </a:lnTo>
                  <a:lnTo>
                    <a:pt x="679" y="284"/>
                  </a:lnTo>
                  <a:lnTo>
                    <a:pt x="679" y="284"/>
                  </a:lnTo>
                  <a:lnTo>
                    <a:pt x="681" y="286"/>
                  </a:lnTo>
                  <a:lnTo>
                    <a:pt x="681" y="286"/>
                  </a:lnTo>
                  <a:lnTo>
                    <a:pt x="681" y="286"/>
                  </a:lnTo>
                  <a:lnTo>
                    <a:pt x="681" y="286"/>
                  </a:lnTo>
                  <a:lnTo>
                    <a:pt x="681" y="286"/>
                  </a:lnTo>
                  <a:lnTo>
                    <a:pt x="681" y="288"/>
                  </a:lnTo>
                  <a:lnTo>
                    <a:pt x="681" y="288"/>
                  </a:lnTo>
                  <a:lnTo>
                    <a:pt x="681" y="288"/>
                  </a:lnTo>
                  <a:lnTo>
                    <a:pt x="681" y="288"/>
                  </a:lnTo>
                  <a:lnTo>
                    <a:pt x="679" y="288"/>
                  </a:lnTo>
                  <a:lnTo>
                    <a:pt x="679" y="288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79" y="288"/>
                  </a:lnTo>
                  <a:lnTo>
                    <a:pt x="677" y="288"/>
                  </a:lnTo>
                  <a:lnTo>
                    <a:pt x="677" y="288"/>
                  </a:lnTo>
                  <a:lnTo>
                    <a:pt x="677" y="288"/>
                  </a:lnTo>
                  <a:lnTo>
                    <a:pt x="677" y="288"/>
                  </a:lnTo>
                  <a:lnTo>
                    <a:pt x="677" y="288"/>
                  </a:lnTo>
                  <a:lnTo>
                    <a:pt x="677" y="288"/>
                  </a:lnTo>
                  <a:lnTo>
                    <a:pt x="677" y="288"/>
                  </a:lnTo>
                  <a:lnTo>
                    <a:pt x="674" y="288"/>
                  </a:lnTo>
                  <a:lnTo>
                    <a:pt x="674" y="288"/>
                  </a:lnTo>
                  <a:lnTo>
                    <a:pt x="674" y="288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88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0" y="291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91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3"/>
                  </a:lnTo>
                  <a:lnTo>
                    <a:pt x="672" y="293"/>
                  </a:lnTo>
                  <a:lnTo>
                    <a:pt x="672" y="293"/>
                  </a:lnTo>
                  <a:lnTo>
                    <a:pt x="672" y="293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72" y="293"/>
                  </a:lnTo>
                  <a:lnTo>
                    <a:pt x="674" y="295"/>
                  </a:lnTo>
                  <a:lnTo>
                    <a:pt x="674" y="295"/>
                  </a:lnTo>
                  <a:lnTo>
                    <a:pt x="672" y="295"/>
                  </a:lnTo>
                  <a:lnTo>
                    <a:pt x="672" y="295"/>
                  </a:lnTo>
                  <a:lnTo>
                    <a:pt x="672" y="295"/>
                  </a:lnTo>
                  <a:lnTo>
                    <a:pt x="672" y="295"/>
                  </a:lnTo>
                  <a:lnTo>
                    <a:pt x="672" y="295"/>
                  </a:lnTo>
                  <a:lnTo>
                    <a:pt x="672" y="295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2" y="297"/>
                  </a:lnTo>
                  <a:lnTo>
                    <a:pt x="674" y="297"/>
                  </a:lnTo>
                  <a:lnTo>
                    <a:pt x="674" y="297"/>
                  </a:lnTo>
                  <a:lnTo>
                    <a:pt x="674" y="295"/>
                  </a:lnTo>
                  <a:lnTo>
                    <a:pt x="674" y="295"/>
                  </a:lnTo>
                  <a:lnTo>
                    <a:pt x="674" y="295"/>
                  </a:lnTo>
                  <a:lnTo>
                    <a:pt x="674" y="295"/>
                  </a:lnTo>
                  <a:lnTo>
                    <a:pt x="674" y="297"/>
                  </a:lnTo>
                  <a:lnTo>
                    <a:pt x="674" y="297"/>
                  </a:lnTo>
                  <a:lnTo>
                    <a:pt x="674" y="297"/>
                  </a:lnTo>
                  <a:lnTo>
                    <a:pt x="674" y="297"/>
                  </a:lnTo>
                  <a:lnTo>
                    <a:pt x="674" y="297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4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4" y="302"/>
                  </a:lnTo>
                  <a:lnTo>
                    <a:pt x="674" y="302"/>
                  </a:lnTo>
                  <a:lnTo>
                    <a:pt x="674" y="302"/>
                  </a:lnTo>
                  <a:lnTo>
                    <a:pt x="677" y="302"/>
                  </a:lnTo>
                  <a:lnTo>
                    <a:pt x="677" y="304"/>
                  </a:lnTo>
                  <a:lnTo>
                    <a:pt x="677" y="304"/>
                  </a:lnTo>
                  <a:lnTo>
                    <a:pt x="677" y="304"/>
                  </a:lnTo>
                  <a:lnTo>
                    <a:pt x="677" y="304"/>
                  </a:lnTo>
                  <a:lnTo>
                    <a:pt x="677" y="304"/>
                  </a:lnTo>
                  <a:lnTo>
                    <a:pt x="677" y="304"/>
                  </a:lnTo>
                  <a:lnTo>
                    <a:pt x="677" y="302"/>
                  </a:lnTo>
                  <a:lnTo>
                    <a:pt x="677" y="302"/>
                  </a:lnTo>
                  <a:lnTo>
                    <a:pt x="677" y="302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300"/>
                  </a:lnTo>
                  <a:lnTo>
                    <a:pt x="677" y="297"/>
                  </a:lnTo>
                  <a:lnTo>
                    <a:pt x="677" y="297"/>
                  </a:lnTo>
                  <a:lnTo>
                    <a:pt x="674" y="297"/>
                  </a:lnTo>
                  <a:lnTo>
                    <a:pt x="674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7" y="295"/>
                  </a:lnTo>
                  <a:lnTo>
                    <a:pt x="679" y="293"/>
                  </a:lnTo>
                  <a:lnTo>
                    <a:pt x="679" y="293"/>
                  </a:lnTo>
                  <a:lnTo>
                    <a:pt x="679" y="293"/>
                  </a:lnTo>
                  <a:lnTo>
                    <a:pt x="679" y="293"/>
                  </a:lnTo>
                  <a:lnTo>
                    <a:pt x="679" y="291"/>
                  </a:lnTo>
                  <a:lnTo>
                    <a:pt x="679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1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88"/>
                  </a:lnTo>
                  <a:lnTo>
                    <a:pt x="683" y="288"/>
                  </a:lnTo>
                  <a:lnTo>
                    <a:pt x="683" y="288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1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3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1" y="295"/>
                  </a:lnTo>
                  <a:lnTo>
                    <a:pt x="683" y="295"/>
                  </a:lnTo>
                  <a:lnTo>
                    <a:pt x="681" y="295"/>
                  </a:lnTo>
                  <a:lnTo>
                    <a:pt x="681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3" y="293"/>
                  </a:lnTo>
                  <a:lnTo>
                    <a:pt x="686" y="291"/>
                  </a:lnTo>
                  <a:lnTo>
                    <a:pt x="686" y="291"/>
                  </a:lnTo>
                  <a:lnTo>
                    <a:pt x="686" y="291"/>
                  </a:lnTo>
                  <a:lnTo>
                    <a:pt x="686" y="291"/>
                  </a:lnTo>
                  <a:lnTo>
                    <a:pt x="686" y="293"/>
                  </a:lnTo>
                  <a:lnTo>
                    <a:pt x="686" y="293"/>
                  </a:lnTo>
                  <a:lnTo>
                    <a:pt x="686" y="293"/>
                  </a:lnTo>
                  <a:lnTo>
                    <a:pt x="686" y="293"/>
                  </a:lnTo>
                  <a:lnTo>
                    <a:pt x="688" y="293"/>
                  </a:lnTo>
                  <a:lnTo>
                    <a:pt x="686" y="293"/>
                  </a:lnTo>
                  <a:lnTo>
                    <a:pt x="688" y="295"/>
                  </a:lnTo>
                  <a:lnTo>
                    <a:pt x="688" y="295"/>
                  </a:lnTo>
                  <a:lnTo>
                    <a:pt x="688" y="295"/>
                  </a:lnTo>
                  <a:lnTo>
                    <a:pt x="688" y="295"/>
                  </a:lnTo>
                  <a:lnTo>
                    <a:pt x="688" y="295"/>
                  </a:lnTo>
                  <a:lnTo>
                    <a:pt x="688" y="295"/>
                  </a:lnTo>
                  <a:lnTo>
                    <a:pt x="688" y="293"/>
                  </a:lnTo>
                  <a:lnTo>
                    <a:pt x="688" y="293"/>
                  </a:lnTo>
                  <a:lnTo>
                    <a:pt x="688" y="291"/>
                  </a:lnTo>
                  <a:lnTo>
                    <a:pt x="688" y="291"/>
                  </a:lnTo>
                  <a:lnTo>
                    <a:pt x="688" y="291"/>
                  </a:lnTo>
                  <a:lnTo>
                    <a:pt x="686" y="291"/>
                  </a:lnTo>
                  <a:lnTo>
                    <a:pt x="688" y="291"/>
                  </a:lnTo>
                  <a:lnTo>
                    <a:pt x="688" y="291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90" y="288"/>
                  </a:lnTo>
                  <a:lnTo>
                    <a:pt x="688" y="288"/>
                  </a:lnTo>
                  <a:lnTo>
                    <a:pt x="688" y="288"/>
                  </a:lnTo>
                  <a:lnTo>
                    <a:pt x="688" y="286"/>
                  </a:lnTo>
                  <a:lnTo>
                    <a:pt x="688" y="286"/>
                  </a:lnTo>
                  <a:lnTo>
                    <a:pt x="688" y="286"/>
                  </a:lnTo>
                  <a:lnTo>
                    <a:pt x="688" y="284"/>
                  </a:lnTo>
                  <a:lnTo>
                    <a:pt x="688" y="284"/>
                  </a:lnTo>
                  <a:lnTo>
                    <a:pt x="688" y="284"/>
                  </a:lnTo>
                  <a:lnTo>
                    <a:pt x="688" y="284"/>
                  </a:lnTo>
                  <a:lnTo>
                    <a:pt x="688" y="282"/>
                  </a:lnTo>
                  <a:lnTo>
                    <a:pt x="690" y="282"/>
                  </a:lnTo>
                  <a:lnTo>
                    <a:pt x="690" y="282"/>
                  </a:lnTo>
                  <a:lnTo>
                    <a:pt x="690" y="282"/>
                  </a:lnTo>
                  <a:lnTo>
                    <a:pt x="690" y="284"/>
                  </a:lnTo>
                  <a:lnTo>
                    <a:pt x="690" y="282"/>
                  </a:lnTo>
                  <a:lnTo>
                    <a:pt x="690" y="282"/>
                  </a:lnTo>
                  <a:lnTo>
                    <a:pt x="692" y="282"/>
                  </a:lnTo>
                  <a:lnTo>
                    <a:pt x="692" y="282"/>
                  </a:lnTo>
                  <a:lnTo>
                    <a:pt x="692" y="282"/>
                  </a:lnTo>
                  <a:lnTo>
                    <a:pt x="692" y="282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2" y="279"/>
                  </a:lnTo>
                  <a:lnTo>
                    <a:pt x="690" y="279"/>
                  </a:lnTo>
                  <a:lnTo>
                    <a:pt x="690" y="277"/>
                  </a:lnTo>
                  <a:lnTo>
                    <a:pt x="690" y="277"/>
                  </a:lnTo>
                  <a:lnTo>
                    <a:pt x="690" y="277"/>
                  </a:lnTo>
                  <a:lnTo>
                    <a:pt x="690" y="277"/>
                  </a:lnTo>
                  <a:lnTo>
                    <a:pt x="690" y="277"/>
                  </a:lnTo>
                  <a:lnTo>
                    <a:pt x="690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5"/>
                  </a:lnTo>
                  <a:lnTo>
                    <a:pt x="692" y="275"/>
                  </a:lnTo>
                  <a:lnTo>
                    <a:pt x="692" y="275"/>
                  </a:lnTo>
                  <a:lnTo>
                    <a:pt x="692" y="275"/>
                  </a:lnTo>
                  <a:lnTo>
                    <a:pt x="692" y="273"/>
                  </a:lnTo>
                  <a:lnTo>
                    <a:pt x="692" y="273"/>
                  </a:lnTo>
                  <a:lnTo>
                    <a:pt x="695" y="273"/>
                  </a:lnTo>
                  <a:lnTo>
                    <a:pt x="697" y="273"/>
                  </a:lnTo>
                  <a:lnTo>
                    <a:pt x="697" y="273"/>
                  </a:lnTo>
                  <a:lnTo>
                    <a:pt x="697" y="273"/>
                  </a:lnTo>
                  <a:lnTo>
                    <a:pt x="699" y="273"/>
                  </a:lnTo>
                  <a:lnTo>
                    <a:pt x="699" y="273"/>
                  </a:lnTo>
                  <a:lnTo>
                    <a:pt x="699" y="273"/>
                  </a:lnTo>
                  <a:lnTo>
                    <a:pt x="699" y="273"/>
                  </a:lnTo>
                  <a:lnTo>
                    <a:pt x="699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3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7" y="270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701" y="268"/>
                  </a:lnTo>
                  <a:lnTo>
                    <a:pt x="701" y="268"/>
                  </a:lnTo>
                  <a:lnTo>
                    <a:pt x="701" y="268"/>
                  </a:lnTo>
                  <a:lnTo>
                    <a:pt x="701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7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699" y="270"/>
                  </a:lnTo>
                  <a:lnTo>
                    <a:pt x="701" y="270"/>
                  </a:lnTo>
                  <a:lnTo>
                    <a:pt x="701" y="270"/>
                  </a:lnTo>
                  <a:lnTo>
                    <a:pt x="701" y="270"/>
                  </a:lnTo>
                  <a:lnTo>
                    <a:pt x="701" y="270"/>
                  </a:lnTo>
                  <a:lnTo>
                    <a:pt x="704" y="270"/>
                  </a:lnTo>
                  <a:lnTo>
                    <a:pt x="704" y="270"/>
                  </a:lnTo>
                  <a:lnTo>
                    <a:pt x="704" y="270"/>
                  </a:lnTo>
                  <a:lnTo>
                    <a:pt x="706" y="270"/>
                  </a:lnTo>
                  <a:lnTo>
                    <a:pt x="708" y="268"/>
                  </a:lnTo>
                  <a:lnTo>
                    <a:pt x="710" y="268"/>
                  </a:lnTo>
                  <a:lnTo>
                    <a:pt x="710" y="268"/>
                  </a:lnTo>
                  <a:lnTo>
                    <a:pt x="710" y="268"/>
                  </a:lnTo>
                  <a:lnTo>
                    <a:pt x="710" y="268"/>
                  </a:lnTo>
                  <a:lnTo>
                    <a:pt x="710" y="268"/>
                  </a:lnTo>
                  <a:lnTo>
                    <a:pt x="710" y="268"/>
                  </a:lnTo>
                  <a:lnTo>
                    <a:pt x="713" y="268"/>
                  </a:lnTo>
                  <a:lnTo>
                    <a:pt x="713" y="268"/>
                  </a:lnTo>
                  <a:lnTo>
                    <a:pt x="713" y="268"/>
                  </a:lnTo>
                  <a:lnTo>
                    <a:pt x="713" y="268"/>
                  </a:lnTo>
                  <a:lnTo>
                    <a:pt x="715" y="268"/>
                  </a:lnTo>
                  <a:lnTo>
                    <a:pt x="715" y="268"/>
                  </a:lnTo>
                  <a:lnTo>
                    <a:pt x="717" y="268"/>
                  </a:lnTo>
                  <a:lnTo>
                    <a:pt x="717" y="268"/>
                  </a:lnTo>
                  <a:lnTo>
                    <a:pt x="717" y="268"/>
                  </a:lnTo>
                  <a:lnTo>
                    <a:pt x="717" y="268"/>
                  </a:lnTo>
                  <a:lnTo>
                    <a:pt x="717" y="266"/>
                  </a:lnTo>
                  <a:lnTo>
                    <a:pt x="717" y="266"/>
                  </a:lnTo>
                  <a:lnTo>
                    <a:pt x="717" y="266"/>
                  </a:lnTo>
                  <a:lnTo>
                    <a:pt x="719" y="266"/>
                  </a:lnTo>
                  <a:lnTo>
                    <a:pt x="719" y="266"/>
                  </a:lnTo>
                  <a:lnTo>
                    <a:pt x="719" y="266"/>
                  </a:lnTo>
                  <a:lnTo>
                    <a:pt x="719" y="266"/>
                  </a:lnTo>
                  <a:lnTo>
                    <a:pt x="719" y="266"/>
                  </a:lnTo>
                  <a:lnTo>
                    <a:pt x="719" y="268"/>
                  </a:lnTo>
                  <a:lnTo>
                    <a:pt x="719" y="268"/>
                  </a:lnTo>
                  <a:lnTo>
                    <a:pt x="719" y="266"/>
                  </a:lnTo>
                  <a:lnTo>
                    <a:pt x="719" y="266"/>
                  </a:lnTo>
                  <a:lnTo>
                    <a:pt x="719" y="266"/>
                  </a:lnTo>
                  <a:lnTo>
                    <a:pt x="722" y="266"/>
                  </a:lnTo>
                  <a:lnTo>
                    <a:pt x="722" y="266"/>
                  </a:lnTo>
                  <a:lnTo>
                    <a:pt x="722" y="266"/>
                  </a:lnTo>
                  <a:lnTo>
                    <a:pt x="722" y="266"/>
                  </a:lnTo>
                  <a:lnTo>
                    <a:pt x="722" y="268"/>
                  </a:lnTo>
                  <a:lnTo>
                    <a:pt x="722" y="268"/>
                  </a:lnTo>
                  <a:lnTo>
                    <a:pt x="722" y="268"/>
                  </a:lnTo>
                  <a:lnTo>
                    <a:pt x="724" y="268"/>
                  </a:lnTo>
                  <a:lnTo>
                    <a:pt x="724" y="266"/>
                  </a:lnTo>
                  <a:lnTo>
                    <a:pt x="724" y="266"/>
                  </a:lnTo>
                  <a:lnTo>
                    <a:pt x="724" y="266"/>
                  </a:lnTo>
                  <a:lnTo>
                    <a:pt x="724" y="266"/>
                  </a:lnTo>
                  <a:lnTo>
                    <a:pt x="722" y="266"/>
                  </a:lnTo>
                  <a:lnTo>
                    <a:pt x="724" y="266"/>
                  </a:lnTo>
                  <a:lnTo>
                    <a:pt x="724" y="266"/>
                  </a:lnTo>
                  <a:lnTo>
                    <a:pt x="724" y="266"/>
                  </a:lnTo>
                  <a:lnTo>
                    <a:pt x="724" y="266"/>
                  </a:lnTo>
                  <a:lnTo>
                    <a:pt x="724" y="264"/>
                  </a:lnTo>
                  <a:lnTo>
                    <a:pt x="726" y="264"/>
                  </a:lnTo>
                  <a:lnTo>
                    <a:pt x="724" y="264"/>
                  </a:lnTo>
                  <a:lnTo>
                    <a:pt x="726" y="264"/>
                  </a:lnTo>
                  <a:lnTo>
                    <a:pt x="726" y="264"/>
                  </a:lnTo>
                  <a:lnTo>
                    <a:pt x="726" y="264"/>
                  </a:lnTo>
                  <a:lnTo>
                    <a:pt x="728" y="264"/>
                  </a:lnTo>
                  <a:lnTo>
                    <a:pt x="728" y="264"/>
                  </a:lnTo>
                  <a:lnTo>
                    <a:pt x="728" y="264"/>
                  </a:lnTo>
                  <a:lnTo>
                    <a:pt x="731" y="264"/>
                  </a:lnTo>
                  <a:lnTo>
                    <a:pt x="731" y="264"/>
                  </a:lnTo>
                  <a:lnTo>
                    <a:pt x="731" y="264"/>
                  </a:lnTo>
                  <a:lnTo>
                    <a:pt x="731" y="264"/>
                  </a:lnTo>
                  <a:lnTo>
                    <a:pt x="731" y="264"/>
                  </a:lnTo>
                  <a:lnTo>
                    <a:pt x="731" y="264"/>
                  </a:lnTo>
                  <a:lnTo>
                    <a:pt x="733" y="264"/>
                  </a:lnTo>
                  <a:lnTo>
                    <a:pt x="733" y="264"/>
                  </a:lnTo>
                  <a:lnTo>
                    <a:pt x="733" y="264"/>
                  </a:lnTo>
                  <a:lnTo>
                    <a:pt x="733" y="264"/>
                  </a:lnTo>
                  <a:lnTo>
                    <a:pt x="733" y="264"/>
                  </a:lnTo>
                  <a:lnTo>
                    <a:pt x="733" y="264"/>
                  </a:lnTo>
                  <a:lnTo>
                    <a:pt x="733" y="261"/>
                  </a:lnTo>
                  <a:lnTo>
                    <a:pt x="733" y="261"/>
                  </a:lnTo>
                  <a:lnTo>
                    <a:pt x="735" y="261"/>
                  </a:lnTo>
                  <a:lnTo>
                    <a:pt x="735" y="261"/>
                  </a:lnTo>
                  <a:lnTo>
                    <a:pt x="735" y="261"/>
                  </a:lnTo>
                  <a:lnTo>
                    <a:pt x="735" y="261"/>
                  </a:lnTo>
                  <a:lnTo>
                    <a:pt x="735" y="261"/>
                  </a:lnTo>
                  <a:lnTo>
                    <a:pt x="735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40" y="261"/>
                  </a:lnTo>
                  <a:lnTo>
                    <a:pt x="740" y="261"/>
                  </a:lnTo>
                  <a:lnTo>
                    <a:pt x="740" y="261"/>
                  </a:lnTo>
                  <a:lnTo>
                    <a:pt x="740" y="261"/>
                  </a:lnTo>
                  <a:lnTo>
                    <a:pt x="740" y="259"/>
                  </a:lnTo>
                  <a:lnTo>
                    <a:pt x="740" y="259"/>
                  </a:lnTo>
                  <a:lnTo>
                    <a:pt x="740" y="259"/>
                  </a:lnTo>
                  <a:lnTo>
                    <a:pt x="740" y="259"/>
                  </a:lnTo>
                  <a:lnTo>
                    <a:pt x="740" y="259"/>
                  </a:lnTo>
                  <a:lnTo>
                    <a:pt x="740" y="259"/>
                  </a:lnTo>
                  <a:lnTo>
                    <a:pt x="742" y="259"/>
                  </a:lnTo>
                  <a:lnTo>
                    <a:pt x="742" y="259"/>
                  </a:lnTo>
                  <a:lnTo>
                    <a:pt x="742" y="259"/>
                  </a:lnTo>
                  <a:lnTo>
                    <a:pt x="742" y="259"/>
                  </a:lnTo>
                  <a:lnTo>
                    <a:pt x="742" y="259"/>
                  </a:lnTo>
                  <a:lnTo>
                    <a:pt x="742" y="257"/>
                  </a:lnTo>
                  <a:lnTo>
                    <a:pt x="742" y="257"/>
                  </a:lnTo>
                  <a:lnTo>
                    <a:pt x="742" y="257"/>
                  </a:lnTo>
                  <a:lnTo>
                    <a:pt x="744" y="257"/>
                  </a:lnTo>
                  <a:lnTo>
                    <a:pt x="742" y="257"/>
                  </a:lnTo>
                  <a:lnTo>
                    <a:pt x="742" y="257"/>
                  </a:lnTo>
                  <a:lnTo>
                    <a:pt x="742" y="257"/>
                  </a:lnTo>
                  <a:lnTo>
                    <a:pt x="742" y="259"/>
                  </a:lnTo>
                  <a:lnTo>
                    <a:pt x="740" y="259"/>
                  </a:lnTo>
                  <a:lnTo>
                    <a:pt x="740" y="259"/>
                  </a:lnTo>
                  <a:lnTo>
                    <a:pt x="740" y="257"/>
                  </a:lnTo>
                  <a:lnTo>
                    <a:pt x="740" y="257"/>
                  </a:lnTo>
                  <a:lnTo>
                    <a:pt x="737" y="257"/>
                  </a:lnTo>
                  <a:lnTo>
                    <a:pt x="737" y="259"/>
                  </a:lnTo>
                  <a:lnTo>
                    <a:pt x="735" y="259"/>
                  </a:lnTo>
                  <a:lnTo>
                    <a:pt x="735" y="259"/>
                  </a:lnTo>
                  <a:lnTo>
                    <a:pt x="728" y="259"/>
                  </a:lnTo>
                  <a:lnTo>
                    <a:pt x="726" y="259"/>
                  </a:lnTo>
                  <a:lnTo>
                    <a:pt x="728" y="259"/>
                  </a:lnTo>
                  <a:lnTo>
                    <a:pt x="728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4" y="261"/>
                  </a:lnTo>
                  <a:lnTo>
                    <a:pt x="724" y="261"/>
                  </a:lnTo>
                  <a:lnTo>
                    <a:pt x="724" y="261"/>
                  </a:lnTo>
                  <a:lnTo>
                    <a:pt x="724" y="261"/>
                  </a:lnTo>
                  <a:lnTo>
                    <a:pt x="724" y="261"/>
                  </a:lnTo>
                  <a:lnTo>
                    <a:pt x="726" y="261"/>
                  </a:lnTo>
                  <a:lnTo>
                    <a:pt x="726" y="261"/>
                  </a:lnTo>
                  <a:lnTo>
                    <a:pt x="726" y="264"/>
                  </a:lnTo>
                  <a:lnTo>
                    <a:pt x="726" y="264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4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22" y="261"/>
                  </a:lnTo>
                  <a:lnTo>
                    <a:pt x="722" y="261"/>
                  </a:lnTo>
                  <a:lnTo>
                    <a:pt x="722" y="264"/>
                  </a:lnTo>
                  <a:lnTo>
                    <a:pt x="722" y="264"/>
                  </a:lnTo>
                  <a:lnTo>
                    <a:pt x="719" y="264"/>
                  </a:lnTo>
                  <a:lnTo>
                    <a:pt x="719" y="264"/>
                  </a:lnTo>
                  <a:lnTo>
                    <a:pt x="719" y="264"/>
                  </a:lnTo>
                  <a:lnTo>
                    <a:pt x="719" y="264"/>
                  </a:lnTo>
                  <a:lnTo>
                    <a:pt x="717" y="264"/>
                  </a:lnTo>
                  <a:lnTo>
                    <a:pt x="717" y="264"/>
                  </a:lnTo>
                  <a:lnTo>
                    <a:pt x="717" y="264"/>
                  </a:lnTo>
                  <a:lnTo>
                    <a:pt x="717" y="264"/>
                  </a:lnTo>
                  <a:lnTo>
                    <a:pt x="717" y="264"/>
                  </a:lnTo>
                  <a:lnTo>
                    <a:pt x="715" y="264"/>
                  </a:lnTo>
                  <a:lnTo>
                    <a:pt x="715" y="264"/>
                  </a:lnTo>
                  <a:lnTo>
                    <a:pt x="715" y="264"/>
                  </a:lnTo>
                  <a:lnTo>
                    <a:pt x="715" y="264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3" y="266"/>
                  </a:lnTo>
                  <a:lnTo>
                    <a:pt x="710" y="266"/>
                  </a:lnTo>
                  <a:lnTo>
                    <a:pt x="713" y="264"/>
                  </a:lnTo>
                  <a:lnTo>
                    <a:pt x="710" y="264"/>
                  </a:lnTo>
                  <a:lnTo>
                    <a:pt x="710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8" y="264"/>
                  </a:lnTo>
                  <a:lnTo>
                    <a:pt x="706" y="264"/>
                  </a:lnTo>
                  <a:lnTo>
                    <a:pt x="706" y="264"/>
                  </a:lnTo>
                  <a:lnTo>
                    <a:pt x="706" y="264"/>
                  </a:lnTo>
                  <a:lnTo>
                    <a:pt x="706" y="264"/>
                  </a:lnTo>
                  <a:lnTo>
                    <a:pt x="704" y="264"/>
                  </a:lnTo>
                  <a:lnTo>
                    <a:pt x="704" y="264"/>
                  </a:lnTo>
                  <a:lnTo>
                    <a:pt x="704" y="264"/>
                  </a:lnTo>
                  <a:lnTo>
                    <a:pt x="704" y="264"/>
                  </a:lnTo>
                  <a:lnTo>
                    <a:pt x="701" y="266"/>
                  </a:lnTo>
                  <a:lnTo>
                    <a:pt x="701" y="266"/>
                  </a:lnTo>
                  <a:lnTo>
                    <a:pt x="701" y="266"/>
                  </a:lnTo>
                  <a:lnTo>
                    <a:pt x="701" y="266"/>
                  </a:lnTo>
                  <a:lnTo>
                    <a:pt x="701" y="266"/>
                  </a:lnTo>
                  <a:lnTo>
                    <a:pt x="701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6"/>
                  </a:lnTo>
                  <a:lnTo>
                    <a:pt x="704" y="268"/>
                  </a:lnTo>
                  <a:lnTo>
                    <a:pt x="704" y="268"/>
                  </a:lnTo>
                  <a:lnTo>
                    <a:pt x="704" y="268"/>
                  </a:lnTo>
                  <a:lnTo>
                    <a:pt x="704" y="268"/>
                  </a:lnTo>
                  <a:lnTo>
                    <a:pt x="701" y="268"/>
                  </a:lnTo>
                  <a:lnTo>
                    <a:pt x="701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5" y="268"/>
                  </a:lnTo>
                  <a:lnTo>
                    <a:pt x="695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0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8"/>
                  </a:lnTo>
                  <a:lnTo>
                    <a:pt x="692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2" y="266"/>
                  </a:lnTo>
                  <a:lnTo>
                    <a:pt x="695" y="266"/>
                  </a:lnTo>
                  <a:lnTo>
                    <a:pt x="695" y="266"/>
                  </a:lnTo>
                  <a:lnTo>
                    <a:pt x="695" y="264"/>
                  </a:lnTo>
                  <a:lnTo>
                    <a:pt x="695" y="264"/>
                  </a:lnTo>
                  <a:lnTo>
                    <a:pt x="692" y="264"/>
                  </a:lnTo>
                  <a:lnTo>
                    <a:pt x="692" y="264"/>
                  </a:lnTo>
                  <a:lnTo>
                    <a:pt x="692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90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88" y="266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0" y="264"/>
                  </a:lnTo>
                  <a:lnTo>
                    <a:pt x="692" y="261"/>
                  </a:lnTo>
                  <a:lnTo>
                    <a:pt x="699" y="259"/>
                  </a:lnTo>
                  <a:lnTo>
                    <a:pt x="701" y="259"/>
                  </a:lnTo>
                  <a:lnTo>
                    <a:pt x="701" y="257"/>
                  </a:lnTo>
                  <a:lnTo>
                    <a:pt x="710" y="257"/>
                  </a:lnTo>
                  <a:lnTo>
                    <a:pt x="710" y="257"/>
                  </a:lnTo>
                  <a:lnTo>
                    <a:pt x="713" y="257"/>
                  </a:lnTo>
                  <a:lnTo>
                    <a:pt x="715" y="257"/>
                  </a:lnTo>
                  <a:lnTo>
                    <a:pt x="717" y="257"/>
                  </a:lnTo>
                  <a:lnTo>
                    <a:pt x="719" y="257"/>
                  </a:lnTo>
                  <a:lnTo>
                    <a:pt x="722" y="255"/>
                  </a:lnTo>
                  <a:lnTo>
                    <a:pt x="722" y="255"/>
                  </a:lnTo>
                  <a:lnTo>
                    <a:pt x="722" y="255"/>
                  </a:lnTo>
                  <a:lnTo>
                    <a:pt x="724" y="255"/>
                  </a:lnTo>
                  <a:lnTo>
                    <a:pt x="726" y="255"/>
                  </a:lnTo>
                  <a:lnTo>
                    <a:pt x="728" y="255"/>
                  </a:lnTo>
                  <a:lnTo>
                    <a:pt x="728" y="255"/>
                  </a:lnTo>
                  <a:lnTo>
                    <a:pt x="728" y="255"/>
                  </a:lnTo>
                  <a:lnTo>
                    <a:pt x="731" y="255"/>
                  </a:lnTo>
                  <a:lnTo>
                    <a:pt x="731" y="255"/>
                  </a:lnTo>
                  <a:lnTo>
                    <a:pt x="733" y="252"/>
                  </a:lnTo>
                  <a:lnTo>
                    <a:pt x="735" y="252"/>
                  </a:lnTo>
                  <a:lnTo>
                    <a:pt x="737" y="252"/>
                  </a:lnTo>
                  <a:lnTo>
                    <a:pt x="737" y="252"/>
                  </a:lnTo>
                  <a:lnTo>
                    <a:pt x="740" y="252"/>
                  </a:lnTo>
                  <a:lnTo>
                    <a:pt x="740" y="252"/>
                  </a:lnTo>
                  <a:lnTo>
                    <a:pt x="740" y="252"/>
                  </a:lnTo>
                  <a:lnTo>
                    <a:pt x="740" y="252"/>
                  </a:lnTo>
                  <a:lnTo>
                    <a:pt x="740" y="252"/>
                  </a:lnTo>
                  <a:lnTo>
                    <a:pt x="742" y="252"/>
                  </a:lnTo>
                  <a:lnTo>
                    <a:pt x="746" y="252"/>
                  </a:lnTo>
                  <a:lnTo>
                    <a:pt x="746" y="252"/>
                  </a:lnTo>
                  <a:lnTo>
                    <a:pt x="746" y="252"/>
                  </a:lnTo>
                  <a:lnTo>
                    <a:pt x="746" y="255"/>
                  </a:lnTo>
                  <a:lnTo>
                    <a:pt x="746" y="255"/>
                  </a:lnTo>
                  <a:lnTo>
                    <a:pt x="746" y="255"/>
                  </a:lnTo>
                  <a:lnTo>
                    <a:pt x="746" y="255"/>
                  </a:lnTo>
                  <a:lnTo>
                    <a:pt x="746" y="255"/>
                  </a:lnTo>
                  <a:lnTo>
                    <a:pt x="749" y="257"/>
                  </a:lnTo>
                  <a:lnTo>
                    <a:pt x="746" y="257"/>
                  </a:lnTo>
                  <a:lnTo>
                    <a:pt x="746" y="257"/>
                  </a:lnTo>
                  <a:lnTo>
                    <a:pt x="746" y="257"/>
                  </a:lnTo>
                  <a:lnTo>
                    <a:pt x="746" y="257"/>
                  </a:lnTo>
                  <a:lnTo>
                    <a:pt x="746" y="257"/>
                  </a:lnTo>
                  <a:lnTo>
                    <a:pt x="746" y="257"/>
                  </a:lnTo>
                  <a:lnTo>
                    <a:pt x="746" y="257"/>
                  </a:lnTo>
                  <a:lnTo>
                    <a:pt x="744" y="257"/>
                  </a:lnTo>
                  <a:lnTo>
                    <a:pt x="744" y="257"/>
                  </a:lnTo>
                  <a:lnTo>
                    <a:pt x="746" y="259"/>
                  </a:lnTo>
                  <a:lnTo>
                    <a:pt x="746" y="259"/>
                  </a:lnTo>
                  <a:lnTo>
                    <a:pt x="744" y="259"/>
                  </a:lnTo>
                  <a:lnTo>
                    <a:pt x="744" y="259"/>
                  </a:lnTo>
                  <a:lnTo>
                    <a:pt x="746" y="259"/>
                  </a:lnTo>
                  <a:lnTo>
                    <a:pt x="746" y="259"/>
                  </a:lnTo>
                  <a:lnTo>
                    <a:pt x="746" y="261"/>
                  </a:lnTo>
                  <a:lnTo>
                    <a:pt x="746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2" y="261"/>
                  </a:lnTo>
                  <a:lnTo>
                    <a:pt x="740" y="261"/>
                  </a:lnTo>
                  <a:lnTo>
                    <a:pt x="742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1"/>
                  </a:lnTo>
                  <a:lnTo>
                    <a:pt x="744" y="264"/>
                  </a:lnTo>
                  <a:lnTo>
                    <a:pt x="744" y="264"/>
                  </a:lnTo>
                  <a:lnTo>
                    <a:pt x="742" y="264"/>
                  </a:lnTo>
                  <a:lnTo>
                    <a:pt x="744" y="264"/>
                  </a:lnTo>
                  <a:lnTo>
                    <a:pt x="744" y="266"/>
                  </a:lnTo>
                  <a:lnTo>
                    <a:pt x="746" y="266"/>
                  </a:lnTo>
                  <a:lnTo>
                    <a:pt x="746" y="266"/>
                  </a:lnTo>
                  <a:lnTo>
                    <a:pt x="746" y="264"/>
                  </a:lnTo>
                  <a:lnTo>
                    <a:pt x="746" y="264"/>
                  </a:lnTo>
                  <a:lnTo>
                    <a:pt x="746" y="264"/>
                  </a:lnTo>
                  <a:lnTo>
                    <a:pt x="746" y="264"/>
                  </a:lnTo>
                  <a:lnTo>
                    <a:pt x="746" y="264"/>
                  </a:lnTo>
                  <a:lnTo>
                    <a:pt x="746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51" y="264"/>
                  </a:lnTo>
                  <a:lnTo>
                    <a:pt x="749" y="264"/>
                  </a:lnTo>
                  <a:lnTo>
                    <a:pt x="749" y="264"/>
                  </a:lnTo>
                  <a:lnTo>
                    <a:pt x="749" y="266"/>
                  </a:lnTo>
                  <a:lnTo>
                    <a:pt x="746" y="266"/>
                  </a:lnTo>
                  <a:lnTo>
                    <a:pt x="746" y="266"/>
                  </a:lnTo>
                  <a:lnTo>
                    <a:pt x="746" y="266"/>
                  </a:lnTo>
                  <a:lnTo>
                    <a:pt x="746" y="266"/>
                  </a:lnTo>
                  <a:lnTo>
                    <a:pt x="746" y="266"/>
                  </a:lnTo>
                  <a:lnTo>
                    <a:pt x="749" y="266"/>
                  </a:lnTo>
                  <a:lnTo>
                    <a:pt x="749" y="266"/>
                  </a:lnTo>
                  <a:lnTo>
                    <a:pt x="749" y="266"/>
                  </a:lnTo>
                  <a:lnTo>
                    <a:pt x="749" y="266"/>
                  </a:lnTo>
                  <a:lnTo>
                    <a:pt x="749" y="266"/>
                  </a:lnTo>
                  <a:lnTo>
                    <a:pt x="751" y="266"/>
                  </a:lnTo>
                  <a:lnTo>
                    <a:pt x="751" y="266"/>
                  </a:lnTo>
                  <a:lnTo>
                    <a:pt x="751" y="266"/>
                  </a:lnTo>
                  <a:lnTo>
                    <a:pt x="749" y="268"/>
                  </a:lnTo>
                  <a:lnTo>
                    <a:pt x="751" y="268"/>
                  </a:lnTo>
                  <a:lnTo>
                    <a:pt x="751" y="268"/>
                  </a:lnTo>
                  <a:lnTo>
                    <a:pt x="749" y="268"/>
                  </a:lnTo>
                  <a:lnTo>
                    <a:pt x="749" y="268"/>
                  </a:lnTo>
                  <a:lnTo>
                    <a:pt x="749" y="268"/>
                  </a:lnTo>
                  <a:lnTo>
                    <a:pt x="751" y="268"/>
                  </a:lnTo>
                  <a:lnTo>
                    <a:pt x="751" y="268"/>
                  </a:lnTo>
                  <a:lnTo>
                    <a:pt x="751" y="268"/>
                  </a:lnTo>
                  <a:lnTo>
                    <a:pt x="751" y="270"/>
                  </a:lnTo>
                  <a:lnTo>
                    <a:pt x="751" y="270"/>
                  </a:lnTo>
                  <a:lnTo>
                    <a:pt x="751" y="270"/>
                  </a:lnTo>
                  <a:lnTo>
                    <a:pt x="751" y="270"/>
                  </a:lnTo>
                  <a:lnTo>
                    <a:pt x="753" y="270"/>
                  </a:lnTo>
                  <a:lnTo>
                    <a:pt x="753" y="270"/>
                  </a:lnTo>
                  <a:lnTo>
                    <a:pt x="753" y="270"/>
                  </a:lnTo>
                  <a:lnTo>
                    <a:pt x="753" y="270"/>
                  </a:lnTo>
                  <a:lnTo>
                    <a:pt x="753" y="270"/>
                  </a:lnTo>
                  <a:lnTo>
                    <a:pt x="753" y="270"/>
                  </a:lnTo>
                  <a:lnTo>
                    <a:pt x="755" y="270"/>
                  </a:lnTo>
                  <a:lnTo>
                    <a:pt x="758" y="270"/>
                  </a:lnTo>
                  <a:lnTo>
                    <a:pt x="760" y="270"/>
                  </a:lnTo>
                  <a:lnTo>
                    <a:pt x="760" y="270"/>
                  </a:lnTo>
                  <a:lnTo>
                    <a:pt x="760" y="270"/>
                  </a:lnTo>
                  <a:lnTo>
                    <a:pt x="762" y="270"/>
                  </a:lnTo>
                  <a:lnTo>
                    <a:pt x="762" y="270"/>
                  </a:lnTo>
                  <a:lnTo>
                    <a:pt x="762" y="270"/>
                  </a:lnTo>
                  <a:lnTo>
                    <a:pt x="762" y="268"/>
                  </a:lnTo>
                  <a:lnTo>
                    <a:pt x="762" y="268"/>
                  </a:lnTo>
                  <a:lnTo>
                    <a:pt x="764" y="270"/>
                  </a:lnTo>
                  <a:lnTo>
                    <a:pt x="764" y="270"/>
                  </a:lnTo>
                  <a:lnTo>
                    <a:pt x="764" y="270"/>
                  </a:lnTo>
                  <a:lnTo>
                    <a:pt x="764" y="270"/>
                  </a:lnTo>
                  <a:lnTo>
                    <a:pt x="764" y="268"/>
                  </a:lnTo>
                  <a:lnTo>
                    <a:pt x="764" y="268"/>
                  </a:lnTo>
                  <a:lnTo>
                    <a:pt x="764" y="268"/>
                  </a:lnTo>
                  <a:lnTo>
                    <a:pt x="767" y="268"/>
                  </a:lnTo>
                  <a:lnTo>
                    <a:pt x="767" y="268"/>
                  </a:lnTo>
                  <a:lnTo>
                    <a:pt x="767" y="268"/>
                  </a:lnTo>
                  <a:lnTo>
                    <a:pt x="767" y="268"/>
                  </a:lnTo>
                  <a:lnTo>
                    <a:pt x="767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9" y="268"/>
                  </a:lnTo>
                  <a:lnTo>
                    <a:pt x="767" y="270"/>
                  </a:lnTo>
                  <a:lnTo>
                    <a:pt x="767" y="270"/>
                  </a:lnTo>
                  <a:lnTo>
                    <a:pt x="767" y="270"/>
                  </a:lnTo>
                  <a:lnTo>
                    <a:pt x="767" y="270"/>
                  </a:lnTo>
                  <a:lnTo>
                    <a:pt x="767" y="270"/>
                  </a:lnTo>
                  <a:lnTo>
                    <a:pt x="767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0"/>
                  </a:lnTo>
                  <a:lnTo>
                    <a:pt x="769" y="273"/>
                  </a:lnTo>
                  <a:lnTo>
                    <a:pt x="769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1" y="273"/>
                  </a:lnTo>
                  <a:lnTo>
                    <a:pt x="773" y="275"/>
                  </a:lnTo>
                  <a:lnTo>
                    <a:pt x="776" y="275"/>
                  </a:lnTo>
                  <a:lnTo>
                    <a:pt x="778" y="275"/>
                  </a:lnTo>
                  <a:lnTo>
                    <a:pt x="778" y="275"/>
                  </a:lnTo>
                  <a:lnTo>
                    <a:pt x="778" y="277"/>
                  </a:lnTo>
                  <a:lnTo>
                    <a:pt x="780" y="277"/>
                  </a:lnTo>
                  <a:lnTo>
                    <a:pt x="780" y="277"/>
                  </a:lnTo>
                  <a:lnTo>
                    <a:pt x="780" y="277"/>
                  </a:lnTo>
                  <a:lnTo>
                    <a:pt x="778" y="277"/>
                  </a:lnTo>
                  <a:lnTo>
                    <a:pt x="780" y="277"/>
                  </a:lnTo>
                  <a:lnTo>
                    <a:pt x="780" y="277"/>
                  </a:lnTo>
                  <a:lnTo>
                    <a:pt x="780" y="277"/>
                  </a:lnTo>
                  <a:lnTo>
                    <a:pt x="780" y="277"/>
                  </a:lnTo>
                  <a:lnTo>
                    <a:pt x="780" y="277"/>
                  </a:lnTo>
                  <a:lnTo>
                    <a:pt x="780" y="275"/>
                  </a:lnTo>
                  <a:lnTo>
                    <a:pt x="780" y="275"/>
                  </a:lnTo>
                  <a:lnTo>
                    <a:pt x="780" y="275"/>
                  </a:lnTo>
                  <a:lnTo>
                    <a:pt x="782" y="275"/>
                  </a:lnTo>
                  <a:lnTo>
                    <a:pt x="782" y="275"/>
                  </a:lnTo>
                  <a:lnTo>
                    <a:pt x="782" y="275"/>
                  </a:lnTo>
                  <a:lnTo>
                    <a:pt x="782" y="275"/>
                  </a:lnTo>
                  <a:lnTo>
                    <a:pt x="782" y="275"/>
                  </a:lnTo>
                  <a:lnTo>
                    <a:pt x="782" y="275"/>
                  </a:lnTo>
                  <a:lnTo>
                    <a:pt x="782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5" y="275"/>
                  </a:lnTo>
                  <a:lnTo>
                    <a:pt x="787" y="275"/>
                  </a:lnTo>
                  <a:lnTo>
                    <a:pt x="785" y="277"/>
                  </a:lnTo>
                  <a:lnTo>
                    <a:pt x="785" y="277"/>
                  </a:lnTo>
                  <a:lnTo>
                    <a:pt x="785" y="277"/>
                  </a:lnTo>
                  <a:lnTo>
                    <a:pt x="785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7" y="277"/>
                  </a:lnTo>
                  <a:lnTo>
                    <a:pt x="789" y="277"/>
                  </a:lnTo>
                  <a:lnTo>
                    <a:pt x="789" y="277"/>
                  </a:lnTo>
                  <a:lnTo>
                    <a:pt x="789" y="277"/>
                  </a:lnTo>
                  <a:lnTo>
                    <a:pt x="789" y="277"/>
                  </a:lnTo>
                  <a:lnTo>
                    <a:pt x="789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7"/>
                  </a:lnTo>
                  <a:lnTo>
                    <a:pt x="791" y="275"/>
                  </a:lnTo>
                  <a:lnTo>
                    <a:pt x="791" y="275"/>
                  </a:lnTo>
                  <a:lnTo>
                    <a:pt x="791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3" y="277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6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798" y="275"/>
                  </a:lnTo>
                  <a:lnTo>
                    <a:pt x="800" y="275"/>
                  </a:lnTo>
                  <a:lnTo>
                    <a:pt x="800" y="275"/>
                  </a:lnTo>
                  <a:lnTo>
                    <a:pt x="800" y="275"/>
                  </a:lnTo>
                  <a:lnTo>
                    <a:pt x="800" y="275"/>
                  </a:lnTo>
                  <a:lnTo>
                    <a:pt x="800" y="275"/>
                  </a:lnTo>
                  <a:lnTo>
                    <a:pt x="800" y="275"/>
                  </a:lnTo>
                  <a:lnTo>
                    <a:pt x="802" y="275"/>
                  </a:lnTo>
                  <a:lnTo>
                    <a:pt x="802" y="275"/>
                  </a:lnTo>
                  <a:lnTo>
                    <a:pt x="802" y="275"/>
                  </a:lnTo>
                  <a:lnTo>
                    <a:pt x="802" y="275"/>
                  </a:lnTo>
                  <a:lnTo>
                    <a:pt x="802" y="275"/>
                  </a:lnTo>
                  <a:lnTo>
                    <a:pt x="802" y="275"/>
                  </a:lnTo>
                  <a:lnTo>
                    <a:pt x="802" y="275"/>
                  </a:lnTo>
                  <a:lnTo>
                    <a:pt x="805" y="275"/>
                  </a:lnTo>
                  <a:lnTo>
                    <a:pt x="805" y="275"/>
                  </a:lnTo>
                  <a:lnTo>
                    <a:pt x="805" y="275"/>
                  </a:lnTo>
                  <a:lnTo>
                    <a:pt x="805" y="275"/>
                  </a:lnTo>
                  <a:lnTo>
                    <a:pt x="805" y="273"/>
                  </a:lnTo>
                  <a:lnTo>
                    <a:pt x="805" y="273"/>
                  </a:lnTo>
                  <a:lnTo>
                    <a:pt x="805" y="273"/>
                  </a:lnTo>
                  <a:lnTo>
                    <a:pt x="805" y="275"/>
                  </a:lnTo>
                  <a:lnTo>
                    <a:pt x="805" y="275"/>
                  </a:lnTo>
                  <a:lnTo>
                    <a:pt x="807" y="273"/>
                  </a:lnTo>
                  <a:lnTo>
                    <a:pt x="807" y="273"/>
                  </a:lnTo>
                  <a:lnTo>
                    <a:pt x="807" y="275"/>
                  </a:lnTo>
                  <a:lnTo>
                    <a:pt x="807" y="275"/>
                  </a:lnTo>
                  <a:lnTo>
                    <a:pt x="807" y="275"/>
                  </a:lnTo>
                  <a:lnTo>
                    <a:pt x="807" y="275"/>
                  </a:lnTo>
                  <a:lnTo>
                    <a:pt x="807" y="275"/>
                  </a:lnTo>
                  <a:lnTo>
                    <a:pt x="807" y="275"/>
                  </a:lnTo>
                  <a:lnTo>
                    <a:pt x="809" y="273"/>
                  </a:lnTo>
                  <a:lnTo>
                    <a:pt x="809" y="273"/>
                  </a:lnTo>
                  <a:lnTo>
                    <a:pt x="814" y="273"/>
                  </a:lnTo>
                  <a:lnTo>
                    <a:pt x="814" y="275"/>
                  </a:lnTo>
                  <a:lnTo>
                    <a:pt x="814" y="275"/>
                  </a:lnTo>
                  <a:lnTo>
                    <a:pt x="814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6" y="275"/>
                  </a:lnTo>
                  <a:lnTo>
                    <a:pt x="818" y="275"/>
                  </a:lnTo>
                  <a:lnTo>
                    <a:pt x="818" y="275"/>
                  </a:lnTo>
                  <a:lnTo>
                    <a:pt x="818" y="275"/>
                  </a:lnTo>
                  <a:lnTo>
                    <a:pt x="818" y="275"/>
                  </a:lnTo>
                  <a:lnTo>
                    <a:pt x="818" y="275"/>
                  </a:lnTo>
                  <a:lnTo>
                    <a:pt x="820" y="275"/>
                  </a:lnTo>
                  <a:lnTo>
                    <a:pt x="820" y="275"/>
                  </a:lnTo>
                  <a:lnTo>
                    <a:pt x="820" y="275"/>
                  </a:lnTo>
                  <a:lnTo>
                    <a:pt x="820" y="275"/>
                  </a:lnTo>
                  <a:lnTo>
                    <a:pt x="820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3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5"/>
                  </a:lnTo>
                  <a:lnTo>
                    <a:pt x="825" y="277"/>
                  </a:lnTo>
                  <a:lnTo>
                    <a:pt x="825" y="277"/>
                  </a:lnTo>
                  <a:lnTo>
                    <a:pt x="825" y="277"/>
                  </a:lnTo>
                  <a:lnTo>
                    <a:pt x="827" y="277"/>
                  </a:lnTo>
                  <a:lnTo>
                    <a:pt x="827" y="277"/>
                  </a:lnTo>
                  <a:lnTo>
                    <a:pt x="827" y="277"/>
                  </a:lnTo>
                  <a:lnTo>
                    <a:pt x="827" y="277"/>
                  </a:lnTo>
                  <a:lnTo>
                    <a:pt x="827" y="277"/>
                  </a:lnTo>
                  <a:lnTo>
                    <a:pt x="827" y="277"/>
                  </a:lnTo>
                  <a:lnTo>
                    <a:pt x="827" y="277"/>
                  </a:lnTo>
                  <a:lnTo>
                    <a:pt x="829" y="277"/>
                  </a:lnTo>
                  <a:lnTo>
                    <a:pt x="829" y="277"/>
                  </a:lnTo>
                  <a:lnTo>
                    <a:pt x="829" y="277"/>
                  </a:lnTo>
                  <a:lnTo>
                    <a:pt x="829" y="277"/>
                  </a:lnTo>
                  <a:lnTo>
                    <a:pt x="829" y="277"/>
                  </a:lnTo>
                  <a:lnTo>
                    <a:pt x="829" y="277"/>
                  </a:lnTo>
                  <a:lnTo>
                    <a:pt x="832" y="275"/>
                  </a:lnTo>
                  <a:lnTo>
                    <a:pt x="832" y="275"/>
                  </a:lnTo>
                  <a:lnTo>
                    <a:pt x="832" y="275"/>
                  </a:lnTo>
                  <a:lnTo>
                    <a:pt x="832" y="275"/>
                  </a:lnTo>
                  <a:lnTo>
                    <a:pt x="834" y="275"/>
                  </a:lnTo>
                  <a:lnTo>
                    <a:pt x="834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36" y="275"/>
                  </a:lnTo>
                  <a:lnTo>
                    <a:pt x="841" y="275"/>
                  </a:lnTo>
                  <a:lnTo>
                    <a:pt x="841" y="275"/>
                  </a:lnTo>
                  <a:lnTo>
                    <a:pt x="841" y="275"/>
                  </a:lnTo>
                  <a:lnTo>
                    <a:pt x="841" y="275"/>
                  </a:lnTo>
                  <a:lnTo>
                    <a:pt x="841" y="275"/>
                  </a:lnTo>
                  <a:lnTo>
                    <a:pt x="841" y="275"/>
                  </a:lnTo>
                  <a:lnTo>
                    <a:pt x="841" y="275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41" y="273"/>
                  </a:lnTo>
                  <a:lnTo>
                    <a:pt x="838" y="273"/>
                  </a:lnTo>
                  <a:lnTo>
                    <a:pt x="838" y="273"/>
                  </a:lnTo>
                  <a:lnTo>
                    <a:pt x="838" y="273"/>
                  </a:lnTo>
                  <a:lnTo>
                    <a:pt x="838" y="273"/>
                  </a:lnTo>
                  <a:lnTo>
                    <a:pt x="838" y="273"/>
                  </a:lnTo>
                  <a:lnTo>
                    <a:pt x="838" y="270"/>
                  </a:lnTo>
                  <a:lnTo>
                    <a:pt x="838" y="270"/>
                  </a:lnTo>
                  <a:lnTo>
                    <a:pt x="838" y="270"/>
                  </a:lnTo>
                  <a:lnTo>
                    <a:pt x="838" y="270"/>
                  </a:lnTo>
                  <a:lnTo>
                    <a:pt x="838" y="268"/>
                  </a:lnTo>
                  <a:lnTo>
                    <a:pt x="841" y="268"/>
                  </a:lnTo>
                  <a:lnTo>
                    <a:pt x="841" y="268"/>
                  </a:lnTo>
                  <a:lnTo>
                    <a:pt x="841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7"/>
                  </a:lnTo>
                  <a:lnTo>
                    <a:pt x="845" y="277"/>
                  </a:lnTo>
                  <a:lnTo>
                    <a:pt x="845" y="277"/>
                  </a:lnTo>
                  <a:lnTo>
                    <a:pt x="847" y="277"/>
                  </a:lnTo>
                  <a:lnTo>
                    <a:pt x="847" y="277"/>
                  </a:lnTo>
                  <a:lnTo>
                    <a:pt x="847" y="277"/>
                  </a:lnTo>
                  <a:lnTo>
                    <a:pt x="847" y="277"/>
                  </a:lnTo>
                  <a:lnTo>
                    <a:pt x="847" y="277"/>
                  </a:lnTo>
                  <a:lnTo>
                    <a:pt x="847" y="277"/>
                  </a:lnTo>
                  <a:lnTo>
                    <a:pt x="850" y="277"/>
                  </a:lnTo>
                  <a:lnTo>
                    <a:pt x="850" y="277"/>
                  </a:lnTo>
                  <a:lnTo>
                    <a:pt x="850" y="277"/>
                  </a:lnTo>
                  <a:lnTo>
                    <a:pt x="850" y="279"/>
                  </a:lnTo>
                  <a:lnTo>
                    <a:pt x="850" y="279"/>
                  </a:lnTo>
                  <a:lnTo>
                    <a:pt x="850" y="279"/>
                  </a:lnTo>
                  <a:lnTo>
                    <a:pt x="850" y="279"/>
                  </a:lnTo>
                  <a:lnTo>
                    <a:pt x="852" y="279"/>
                  </a:lnTo>
                  <a:lnTo>
                    <a:pt x="852" y="279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4" y="277"/>
                  </a:lnTo>
                  <a:lnTo>
                    <a:pt x="856" y="277"/>
                  </a:lnTo>
                  <a:lnTo>
                    <a:pt x="856" y="277"/>
                  </a:lnTo>
                  <a:lnTo>
                    <a:pt x="856" y="277"/>
                  </a:lnTo>
                  <a:lnTo>
                    <a:pt x="856" y="277"/>
                  </a:lnTo>
                  <a:lnTo>
                    <a:pt x="856" y="277"/>
                  </a:lnTo>
                  <a:lnTo>
                    <a:pt x="856" y="277"/>
                  </a:lnTo>
                  <a:lnTo>
                    <a:pt x="859" y="277"/>
                  </a:lnTo>
                  <a:lnTo>
                    <a:pt x="859" y="277"/>
                  </a:lnTo>
                  <a:lnTo>
                    <a:pt x="859" y="277"/>
                  </a:lnTo>
                  <a:lnTo>
                    <a:pt x="859" y="277"/>
                  </a:lnTo>
                  <a:lnTo>
                    <a:pt x="859" y="277"/>
                  </a:lnTo>
                  <a:lnTo>
                    <a:pt x="856" y="277"/>
                  </a:lnTo>
                  <a:lnTo>
                    <a:pt x="856" y="277"/>
                  </a:lnTo>
                  <a:lnTo>
                    <a:pt x="856" y="275"/>
                  </a:lnTo>
                  <a:lnTo>
                    <a:pt x="859" y="275"/>
                  </a:lnTo>
                  <a:lnTo>
                    <a:pt x="859" y="275"/>
                  </a:lnTo>
                  <a:lnTo>
                    <a:pt x="861" y="275"/>
                  </a:lnTo>
                  <a:lnTo>
                    <a:pt x="861" y="273"/>
                  </a:lnTo>
                  <a:lnTo>
                    <a:pt x="861" y="273"/>
                  </a:lnTo>
                  <a:lnTo>
                    <a:pt x="859" y="273"/>
                  </a:lnTo>
                  <a:lnTo>
                    <a:pt x="859" y="273"/>
                  </a:lnTo>
                  <a:lnTo>
                    <a:pt x="859" y="273"/>
                  </a:lnTo>
                  <a:lnTo>
                    <a:pt x="861" y="273"/>
                  </a:lnTo>
                  <a:lnTo>
                    <a:pt x="861" y="273"/>
                  </a:lnTo>
                  <a:lnTo>
                    <a:pt x="861" y="273"/>
                  </a:lnTo>
                  <a:lnTo>
                    <a:pt x="859" y="273"/>
                  </a:lnTo>
                  <a:lnTo>
                    <a:pt x="859" y="273"/>
                  </a:lnTo>
                  <a:lnTo>
                    <a:pt x="859" y="273"/>
                  </a:lnTo>
                  <a:lnTo>
                    <a:pt x="859" y="273"/>
                  </a:lnTo>
                  <a:lnTo>
                    <a:pt x="856" y="273"/>
                  </a:lnTo>
                  <a:lnTo>
                    <a:pt x="856" y="273"/>
                  </a:lnTo>
                  <a:lnTo>
                    <a:pt x="856" y="273"/>
                  </a:lnTo>
                  <a:lnTo>
                    <a:pt x="856" y="273"/>
                  </a:lnTo>
                  <a:lnTo>
                    <a:pt x="856" y="270"/>
                  </a:lnTo>
                  <a:lnTo>
                    <a:pt x="856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4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2" y="270"/>
                  </a:lnTo>
                  <a:lnTo>
                    <a:pt x="850" y="273"/>
                  </a:lnTo>
                  <a:lnTo>
                    <a:pt x="850" y="273"/>
                  </a:lnTo>
                  <a:lnTo>
                    <a:pt x="850" y="273"/>
                  </a:lnTo>
                  <a:lnTo>
                    <a:pt x="850" y="270"/>
                  </a:lnTo>
                  <a:lnTo>
                    <a:pt x="847" y="273"/>
                  </a:lnTo>
                  <a:lnTo>
                    <a:pt x="847" y="273"/>
                  </a:lnTo>
                  <a:lnTo>
                    <a:pt x="847" y="273"/>
                  </a:lnTo>
                  <a:lnTo>
                    <a:pt x="847" y="273"/>
                  </a:lnTo>
                  <a:lnTo>
                    <a:pt x="845" y="273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5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3"/>
                  </a:lnTo>
                  <a:lnTo>
                    <a:pt x="845" y="270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3" y="270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3" y="268"/>
                  </a:lnTo>
                  <a:lnTo>
                    <a:pt x="845" y="268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5" y="268"/>
                  </a:lnTo>
                  <a:lnTo>
                    <a:pt x="847" y="268"/>
                  </a:lnTo>
                  <a:lnTo>
                    <a:pt x="847" y="268"/>
                  </a:lnTo>
                  <a:lnTo>
                    <a:pt x="847" y="268"/>
                  </a:lnTo>
                  <a:lnTo>
                    <a:pt x="847" y="266"/>
                  </a:lnTo>
                  <a:lnTo>
                    <a:pt x="847" y="266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5" y="266"/>
                  </a:lnTo>
                  <a:lnTo>
                    <a:pt x="847" y="266"/>
                  </a:lnTo>
                  <a:lnTo>
                    <a:pt x="845" y="266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5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47" y="264"/>
                  </a:lnTo>
                  <a:lnTo>
                    <a:pt x="850" y="264"/>
                  </a:lnTo>
                  <a:lnTo>
                    <a:pt x="847" y="261"/>
                  </a:lnTo>
                  <a:lnTo>
                    <a:pt x="847" y="261"/>
                  </a:lnTo>
                  <a:lnTo>
                    <a:pt x="847" y="261"/>
                  </a:lnTo>
                  <a:lnTo>
                    <a:pt x="850" y="261"/>
                  </a:lnTo>
                  <a:lnTo>
                    <a:pt x="850" y="261"/>
                  </a:lnTo>
                  <a:lnTo>
                    <a:pt x="850" y="264"/>
                  </a:lnTo>
                  <a:lnTo>
                    <a:pt x="850" y="264"/>
                  </a:lnTo>
                  <a:lnTo>
                    <a:pt x="850" y="264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4" y="264"/>
                  </a:lnTo>
                  <a:lnTo>
                    <a:pt x="856" y="264"/>
                  </a:lnTo>
                  <a:lnTo>
                    <a:pt x="859" y="264"/>
                  </a:lnTo>
                  <a:lnTo>
                    <a:pt x="859" y="264"/>
                  </a:lnTo>
                  <a:lnTo>
                    <a:pt x="859" y="264"/>
                  </a:lnTo>
                  <a:lnTo>
                    <a:pt x="861" y="264"/>
                  </a:lnTo>
                  <a:lnTo>
                    <a:pt x="861" y="264"/>
                  </a:lnTo>
                  <a:lnTo>
                    <a:pt x="861" y="261"/>
                  </a:lnTo>
                  <a:lnTo>
                    <a:pt x="861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61"/>
                  </a:lnTo>
                  <a:lnTo>
                    <a:pt x="859" y="259"/>
                  </a:lnTo>
                  <a:lnTo>
                    <a:pt x="859" y="259"/>
                  </a:lnTo>
                  <a:lnTo>
                    <a:pt x="859" y="259"/>
                  </a:lnTo>
                  <a:lnTo>
                    <a:pt x="859" y="259"/>
                  </a:lnTo>
                  <a:lnTo>
                    <a:pt x="859" y="259"/>
                  </a:lnTo>
                  <a:lnTo>
                    <a:pt x="861" y="259"/>
                  </a:lnTo>
                  <a:lnTo>
                    <a:pt x="861" y="259"/>
                  </a:lnTo>
                  <a:lnTo>
                    <a:pt x="861" y="259"/>
                  </a:lnTo>
                  <a:lnTo>
                    <a:pt x="861" y="259"/>
                  </a:lnTo>
                  <a:lnTo>
                    <a:pt x="861" y="259"/>
                  </a:lnTo>
                  <a:lnTo>
                    <a:pt x="863" y="259"/>
                  </a:lnTo>
                  <a:lnTo>
                    <a:pt x="863" y="259"/>
                  </a:lnTo>
                  <a:lnTo>
                    <a:pt x="863" y="259"/>
                  </a:lnTo>
                  <a:lnTo>
                    <a:pt x="863" y="259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3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5" y="261"/>
                  </a:lnTo>
                  <a:lnTo>
                    <a:pt x="868" y="261"/>
                  </a:lnTo>
                  <a:lnTo>
                    <a:pt x="870" y="261"/>
                  </a:lnTo>
                  <a:lnTo>
                    <a:pt x="870" y="261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70" y="264"/>
                  </a:lnTo>
                  <a:lnTo>
                    <a:pt x="868" y="266"/>
                  </a:lnTo>
                  <a:lnTo>
                    <a:pt x="868" y="266"/>
                  </a:lnTo>
                  <a:lnTo>
                    <a:pt x="868" y="266"/>
                  </a:lnTo>
                  <a:lnTo>
                    <a:pt x="870" y="266"/>
                  </a:lnTo>
                  <a:lnTo>
                    <a:pt x="870" y="266"/>
                  </a:lnTo>
                  <a:lnTo>
                    <a:pt x="870" y="266"/>
                  </a:lnTo>
                  <a:lnTo>
                    <a:pt x="870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4" y="266"/>
                  </a:lnTo>
                  <a:lnTo>
                    <a:pt x="877" y="266"/>
                  </a:lnTo>
                  <a:lnTo>
                    <a:pt x="879" y="264"/>
                  </a:lnTo>
                  <a:lnTo>
                    <a:pt x="879" y="264"/>
                  </a:lnTo>
                  <a:lnTo>
                    <a:pt x="879" y="264"/>
                  </a:lnTo>
                  <a:lnTo>
                    <a:pt x="879" y="266"/>
                  </a:lnTo>
                  <a:lnTo>
                    <a:pt x="877" y="266"/>
                  </a:lnTo>
                  <a:lnTo>
                    <a:pt x="877" y="266"/>
                  </a:lnTo>
                  <a:lnTo>
                    <a:pt x="877" y="266"/>
                  </a:lnTo>
                  <a:lnTo>
                    <a:pt x="877" y="266"/>
                  </a:lnTo>
                  <a:lnTo>
                    <a:pt x="877" y="266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0" y="268"/>
                  </a:lnTo>
                  <a:lnTo>
                    <a:pt x="870" y="268"/>
                  </a:lnTo>
                  <a:lnTo>
                    <a:pt x="870" y="268"/>
                  </a:lnTo>
                  <a:lnTo>
                    <a:pt x="870" y="270"/>
                  </a:lnTo>
                  <a:lnTo>
                    <a:pt x="868" y="270"/>
                  </a:lnTo>
                  <a:lnTo>
                    <a:pt x="870" y="270"/>
                  </a:lnTo>
                  <a:lnTo>
                    <a:pt x="870" y="270"/>
                  </a:lnTo>
                  <a:lnTo>
                    <a:pt x="870" y="270"/>
                  </a:lnTo>
                  <a:lnTo>
                    <a:pt x="870" y="270"/>
                  </a:lnTo>
                  <a:lnTo>
                    <a:pt x="872" y="270"/>
                  </a:lnTo>
                  <a:lnTo>
                    <a:pt x="872" y="270"/>
                  </a:lnTo>
                  <a:lnTo>
                    <a:pt x="872" y="270"/>
                  </a:lnTo>
                  <a:lnTo>
                    <a:pt x="872" y="268"/>
                  </a:lnTo>
                  <a:lnTo>
                    <a:pt x="872" y="268"/>
                  </a:lnTo>
                  <a:lnTo>
                    <a:pt x="872" y="270"/>
                  </a:lnTo>
                  <a:lnTo>
                    <a:pt x="872" y="270"/>
                  </a:lnTo>
                  <a:lnTo>
                    <a:pt x="872" y="270"/>
                  </a:lnTo>
                  <a:lnTo>
                    <a:pt x="874" y="270"/>
                  </a:lnTo>
                  <a:lnTo>
                    <a:pt x="874" y="270"/>
                  </a:lnTo>
                  <a:lnTo>
                    <a:pt x="874" y="270"/>
                  </a:lnTo>
                  <a:lnTo>
                    <a:pt x="874" y="268"/>
                  </a:lnTo>
                  <a:lnTo>
                    <a:pt x="874" y="268"/>
                  </a:lnTo>
                  <a:lnTo>
                    <a:pt x="874" y="268"/>
                  </a:lnTo>
                  <a:lnTo>
                    <a:pt x="874" y="268"/>
                  </a:lnTo>
                  <a:lnTo>
                    <a:pt x="874" y="268"/>
                  </a:lnTo>
                  <a:lnTo>
                    <a:pt x="874" y="268"/>
                  </a:lnTo>
                  <a:lnTo>
                    <a:pt x="877" y="268"/>
                  </a:lnTo>
                  <a:lnTo>
                    <a:pt x="879" y="266"/>
                  </a:lnTo>
                  <a:lnTo>
                    <a:pt x="879" y="266"/>
                  </a:lnTo>
                  <a:lnTo>
                    <a:pt x="879" y="266"/>
                  </a:lnTo>
                  <a:lnTo>
                    <a:pt x="879" y="266"/>
                  </a:lnTo>
                  <a:lnTo>
                    <a:pt x="881" y="266"/>
                  </a:lnTo>
                  <a:lnTo>
                    <a:pt x="881" y="266"/>
                  </a:lnTo>
                  <a:lnTo>
                    <a:pt x="886" y="266"/>
                  </a:lnTo>
                  <a:lnTo>
                    <a:pt x="886" y="266"/>
                  </a:lnTo>
                  <a:lnTo>
                    <a:pt x="886" y="266"/>
                  </a:lnTo>
                  <a:lnTo>
                    <a:pt x="886" y="266"/>
                  </a:lnTo>
                  <a:lnTo>
                    <a:pt x="886" y="264"/>
                  </a:lnTo>
                  <a:lnTo>
                    <a:pt x="888" y="264"/>
                  </a:lnTo>
                  <a:lnTo>
                    <a:pt x="888" y="264"/>
                  </a:lnTo>
                  <a:lnTo>
                    <a:pt x="886" y="266"/>
                  </a:lnTo>
                  <a:lnTo>
                    <a:pt x="886" y="266"/>
                  </a:lnTo>
                  <a:lnTo>
                    <a:pt x="883" y="266"/>
                  </a:lnTo>
                  <a:lnTo>
                    <a:pt x="883" y="268"/>
                  </a:lnTo>
                  <a:lnTo>
                    <a:pt x="881" y="268"/>
                  </a:lnTo>
                  <a:lnTo>
                    <a:pt x="881" y="268"/>
                  </a:lnTo>
                  <a:lnTo>
                    <a:pt x="881" y="268"/>
                  </a:lnTo>
                  <a:lnTo>
                    <a:pt x="879" y="270"/>
                  </a:lnTo>
                  <a:lnTo>
                    <a:pt x="879" y="270"/>
                  </a:lnTo>
                  <a:lnTo>
                    <a:pt x="879" y="270"/>
                  </a:lnTo>
                  <a:lnTo>
                    <a:pt x="879" y="270"/>
                  </a:lnTo>
                  <a:lnTo>
                    <a:pt x="879" y="270"/>
                  </a:lnTo>
                  <a:lnTo>
                    <a:pt x="877" y="273"/>
                  </a:lnTo>
                  <a:lnTo>
                    <a:pt x="877" y="273"/>
                  </a:lnTo>
                  <a:lnTo>
                    <a:pt x="877" y="273"/>
                  </a:lnTo>
                  <a:lnTo>
                    <a:pt x="877" y="273"/>
                  </a:lnTo>
                  <a:lnTo>
                    <a:pt x="877" y="273"/>
                  </a:lnTo>
                  <a:lnTo>
                    <a:pt x="877" y="273"/>
                  </a:lnTo>
                  <a:lnTo>
                    <a:pt x="874" y="273"/>
                  </a:lnTo>
                  <a:lnTo>
                    <a:pt x="874" y="273"/>
                  </a:lnTo>
                  <a:lnTo>
                    <a:pt x="874" y="275"/>
                  </a:lnTo>
                  <a:lnTo>
                    <a:pt x="874" y="275"/>
                  </a:lnTo>
                  <a:lnTo>
                    <a:pt x="874" y="275"/>
                  </a:lnTo>
                  <a:lnTo>
                    <a:pt x="872" y="275"/>
                  </a:lnTo>
                  <a:lnTo>
                    <a:pt x="874" y="275"/>
                  </a:lnTo>
                  <a:lnTo>
                    <a:pt x="872" y="275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2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7"/>
                  </a:lnTo>
                  <a:lnTo>
                    <a:pt x="870" y="279"/>
                  </a:lnTo>
                  <a:lnTo>
                    <a:pt x="868" y="279"/>
                  </a:lnTo>
                  <a:lnTo>
                    <a:pt x="868" y="279"/>
                  </a:lnTo>
                  <a:lnTo>
                    <a:pt x="865" y="279"/>
                  </a:lnTo>
                  <a:lnTo>
                    <a:pt x="865" y="279"/>
                  </a:lnTo>
                  <a:lnTo>
                    <a:pt x="865" y="279"/>
                  </a:lnTo>
                  <a:lnTo>
                    <a:pt x="865" y="279"/>
                  </a:lnTo>
                  <a:lnTo>
                    <a:pt x="865" y="279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5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5" y="284"/>
                  </a:lnTo>
                  <a:lnTo>
                    <a:pt x="865" y="284"/>
                  </a:lnTo>
                  <a:lnTo>
                    <a:pt x="865" y="284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3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5" y="286"/>
                  </a:lnTo>
                  <a:lnTo>
                    <a:pt x="868" y="286"/>
                  </a:lnTo>
                  <a:lnTo>
                    <a:pt x="868" y="286"/>
                  </a:lnTo>
                  <a:lnTo>
                    <a:pt x="868" y="286"/>
                  </a:lnTo>
                  <a:lnTo>
                    <a:pt x="870" y="286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6"/>
                  </a:lnTo>
                  <a:lnTo>
                    <a:pt x="870" y="286"/>
                  </a:lnTo>
                  <a:lnTo>
                    <a:pt x="870" y="286"/>
                  </a:lnTo>
                  <a:lnTo>
                    <a:pt x="870" y="286"/>
                  </a:lnTo>
                  <a:lnTo>
                    <a:pt x="872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4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7" y="284"/>
                  </a:lnTo>
                  <a:lnTo>
                    <a:pt x="874" y="284"/>
                  </a:lnTo>
                  <a:lnTo>
                    <a:pt x="870" y="286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6"/>
                  </a:lnTo>
                  <a:lnTo>
                    <a:pt x="872" y="286"/>
                  </a:lnTo>
                  <a:lnTo>
                    <a:pt x="872" y="286"/>
                  </a:lnTo>
                  <a:lnTo>
                    <a:pt x="872" y="286"/>
                  </a:lnTo>
                  <a:lnTo>
                    <a:pt x="874" y="286"/>
                  </a:lnTo>
                  <a:lnTo>
                    <a:pt x="872" y="286"/>
                  </a:lnTo>
                  <a:lnTo>
                    <a:pt x="872" y="286"/>
                  </a:lnTo>
                  <a:lnTo>
                    <a:pt x="872" y="286"/>
                  </a:lnTo>
                  <a:lnTo>
                    <a:pt x="874" y="286"/>
                  </a:lnTo>
                  <a:lnTo>
                    <a:pt x="874" y="286"/>
                  </a:lnTo>
                  <a:lnTo>
                    <a:pt x="874" y="286"/>
                  </a:lnTo>
                  <a:lnTo>
                    <a:pt x="874" y="286"/>
                  </a:lnTo>
                  <a:lnTo>
                    <a:pt x="874" y="286"/>
                  </a:lnTo>
                  <a:lnTo>
                    <a:pt x="874" y="286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7" y="286"/>
                  </a:lnTo>
                  <a:lnTo>
                    <a:pt x="877" y="286"/>
                  </a:lnTo>
                  <a:lnTo>
                    <a:pt x="877" y="286"/>
                  </a:lnTo>
                  <a:lnTo>
                    <a:pt x="877" y="286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4" y="288"/>
                  </a:lnTo>
                  <a:lnTo>
                    <a:pt x="874" y="288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2" y="291"/>
                  </a:lnTo>
                  <a:lnTo>
                    <a:pt x="872" y="291"/>
                  </a:lnTo>
                  <a:lnTo>
                    <a:pt x="872" y="291"/>
                  </a:lnTo>
                  <a:lnTo>
                    <a:pt x="872" y="291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0" y="293"/>
                  </a:lnTo>
                  <a:lnTo>
                    <a:pt x="870" y="291"/>
                  </a:lnTo>
                  <a:lnTo>
                    <a:pt x="870" y="291"/>
                  </a:lnTo>
                  <a:lnTo>
                    <a:pt x="870" y="291"/>
                  </a:lnTo>
                  <a:lnTo>
                    <a:pt x="870" y="291"/>
                  </a:lnTo>
                  <a:lnTo>
                    <a:pt x="870" y="291"/>
                  </a:lnTo>
                  <a:lnTo>
                    <a:pt x="870" y="291"/>
                  </a:lnTo>
                  <a:lnTo>
                    <a:pt x="868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1"/>
                  </a:lnTo>
                  <a:lnTo>
                    <a:pt x="865" y="291"/>
                  </a:lnTo>
                  <a:lnTo>
                    <a:pt x="865" y="291"/>
                  </a:lnTo>
                  <a:lnTo>
                    <a:pt x="863" y="291"/>
                  </a:lnTo>
                  <a:lnTo>
                    <a:pt x="865" y="291"/>
                  </a:lnTo>
                  <a:lnTo>
                    <a:pt x="865" y="291"/>
                  </a:lnTo>
                  <a:lnTo>
                    <a:pt x="865" y="291"/>
                  </a:lnTo>
                  <a:lnTo>
                    <a:pt x="865" y="291"/>
                  </a:lnTo>
                  <a:lnTo>
                    <a:pt x="865" y="288"/>
                  </a:lnTo>
                  <a:lnTo>
                    <a:pt x="865" y="291"/>
                  </a:lnTo>
                  <a:lnTo>
                    <a:pt x="863" y="291"/>
                  </a:lnTo>
                  <a:lnTo>
                    <a:pt x="863" y="291"/>
                  </a:lnTo>
                  <a:lnTo>
                    <a:pt x="863" y="291"/>
                  </a:lnTo>
                  <a:lnTo>
                    <a:pt x="863" y="291"/>
                  </a:lnTo>
                  <a:lnTo>
                    <a:pt x="863" y="291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59" y="291"/>
                  </a:lnTo>
                  <a:lnTo>
                    <a:pt x="859" y="291"/>
                  </a:lnTo>
                  <a:lnTo>
                    <a:pt x="861" y="291"/>
                  </a:lnTo>
                  <a:lnTo>
                    <a:pt x="861" y="291"/>
                  </a:lnTo>
                  <a:lnTo>
                    <a:pt x="861" y="288"/>
                  </a:lnTo>
                  <a:lnTo>
                    <a:pt x="861" y="291"/>
                  </a:lnTo>
                  <a:lnTo>
                    <a:pt x="859" y="291"/>
                  </a:lnTo>
                  <a:lnTo>
                    <a:pt x="859" y="288"/>
                  </a:lnTo>
                  <a:lnTo>
                    <a:pt x="859" y="288"/>
                  </a:lnTo>
                  <a:lnTo>
                    <a:pt x="859" y="288"/>
                  </a:lnTo>
                  <a:lnTo>
                    <a:pt x="859" y="291"/>
                  </a:lnTo>
                  <a:lnTo>
                    <a:pt x="859" y="291"/>
                  </a:lnTo>
                  <a:lnTo>
                    <a:pt x="859" y="291"/>
                  </a:lnTo>
                  <a:lnTo>
                    <a:pt x="859" y="291"/>
                  </a:lnTo>
                  <a:lnTo>
                    <a:pt x="859" y="291"/>
                  </a:lnTo>
                  <a:lnTo>
                    <a:pt x="859" y="291"/>
                  </a:lnTo>
                  <a:lnTo>
                    <a:pt x="859" y="293"/>
                  </a:lnTo>
                  <a:lnTo>
                    <a:pt x="859" y="293"/>
                  </a:lnTo>
                  <a:lnTo>
                    <a:pt x="859" y="293"/>
                  </a:lnTo>
                  <a:lnTo>
                    <a:pt x="859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59" y="295"/>
                  </a:lnTo>
                  <a:lnTo>
                    <a:pt x="859" y="295"/>
                  </a:lnTo>
                  <a:lnTo>
                    <a:pt x="859" y="295"/>
                  </a:lnTo>
                  <a:lnTo>
                    <a:pt x="861" y="295"/>
                  </a:lnTo>
                  <a:lnTo>
                    <a:pt x="861" y="295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1" y="297"/>
                  </a:lnTo>
                  <a:lnTo>
                    <a:pt x="861" y="297"/>
                  </a:lnTo>
                  <a:lnTo>
                    <a:pt x="861" y="300"/>
                  </a:lnTo>
                  <a:lnTo>
                    <a:pt x="861" y="300"/>
                  </a:lnTo>
                  <a:lnTo>
                    <a:pt x="861" y="300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5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7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3" y="295"/>
                  </a:lnTo>
                  <a:lnTo>
                    <a:pt x="861" y="295"/>
                  </a:lnTo>
                  <a:lnTo>
                    <a:pt x="861" y="295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1" y="293"/>
                  </a:lnTo>
                  <a:lnTo>
                    <a:pt x="863" y="293"/>
                  </a:lnTo>
                  <a:lnTo>
                    <a:pt x="863" y="293"/>
                  </a:lnTo>
                  <a:lnTo>
                    <a:pt x="863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5" y="293"/>
                  </a:lnTo>
                  <a:lnTo>
                    <a:pt x="868" y="293"/>
                  </a:lnTo>
                  <a:lnTo>
                    <a:pt x="870" y="293"/>
                  </a:lnTo>
                  <a:lnTo>
                    <a:pt x="870" y="293"/>
                  </a:lnTo>
                  <a:lnTo>
                    <a:pt x="870" y="293"/>
                  </a:lnTo>
                  <a:lnTo>
                    <a:pt x="870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2" y="293"/>
                  </a:lnTo>
                  <a:lnTo>
                    <a:pt x="874" y="293"/>
                  </a:lnTo>
                  <a:lnTo>
                    <a:pt x="874" y="293"/>
                  </a:lnTo>
                  <a:lnTo>
                    <a:pt x="874" y="293"/>
                  </a:lnTo>
                  <a:lnTo>
                    <a:pt x="874" y="293"/>
                  </a:lnTo>
                  <a:lnTo>
                    <a:pt x="874" y="293"/>
                  </a:lnTo>
                  <a:lnTo>
                    <a:pt x="877" y="291"/>
                  </a:lnTo>
                  <a:lnTo>
                    <a:pt x="877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4" y="291"/>
                  </a:lnTo>
                  <a:lnTo>
                    <a:pt x="877" y="291"/>
                  </a:lnTo>
                  <a:lnTo>
                    <a:pt x="874" y="291"/>
                  </a:lnTo>
                  <a:lnTo>
                    <a:pt x="874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7" y="288"/>
                  </a:lnTo>
                  <a:lnTo>
                    <a:pt x="879" y="286"/>
                  </a:lnTo>
                  <a:lnTo>
                    <a:pt x="879" y="286"/>
                  </a:lnTo>
                  <a:lnTo>
                    <a:pt x="879" y="286"/>
                  </a:lnTo>
                  <a:lnTo>
                    <a:pt x="879" y="286"/>
                  </a:lnTo>
                  <a:lnTo>
                    <a:pt x="879" y="286"/>
                  </a:lnTo>
                  <a:lnTo>
                    <a:pt x="879" y="286"/>
                  </a:lnTo>
                  <a:lnTo>
                    <a:pt x="879" y="286"/>
                  </a:lnTo>
                  <a:lnTo>
                    <a:pt x="881" y="286"/>
                  </a:lnTo>
                  <a:lnTo>
                    <a:pt x="881" y="286"/>
                  </a:lnTo>
                  <a:lnTo>
                    <a:pt x="881" y="286"/>
                  </a:lnTo>
                  <a:lnTo>
                    <a:pt x="881" y="286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1" y="284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1" y="282"/>
                  </a:lnTo>
                  <a:lnTo>
                    <a:pt x="883" y="282"/>
                  </a:lnTo>
                  <a:lnTo>
                    <a:pt x="883" y="282"/>
                  </a:lnTo>
                  <a:lnTo>
                    <a:pt x="883" y="279"/>
                  </a:lnTo>
                  <a:lnTo>
                    <a:pt x="883" y="279"/>
                  </a:lnTo>
                  <a:lnTo>
                    <a:pt x="883" y="279"/>
                  </a:lnTo>
                  <a:lnTo>
                    <a:pt x="883" y="279"/>
                  </a:lnTo>
                  <a:lnTo>
                    <a:pt x="883" y="279"/>
                  </a:lnTo>
                  <a:lnTo>
                    <a:pt x="883" y="277"/>
                  </a:lnTo>
                  <a:lnTo>
                    <a:pt x="883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7"/>
                  </a:lnTo>
                  <a:lnTo>
                    <a:pt x="881" y="275"/>
                  </a:lnTo>
                  <a:lnTo>
                    <a:pt x="881" y="275"/>
                  </a:lnTo>
                  <a:lnTo>
                    <a:pt x="881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6" y="273"/>
                  </a:lnTo>
                  <a:lnTo>
                    <a:pt x="886" y="273"/>
                  </a:lnTo>
                  <a:lnTo>
                    <a:pt x="886" y="273"/>
                  </a:lnTo>
                  <a:lnTo>
                    <a:pt x="886" y="273"/>
                  </a:lnTo>
                  <a:lnTo>
                    <a:pt x="888" y="273"/>
                  </a:lnTo>
                  <a:lnTo>
                    <a:pt x="888" y="270"/>
                  </a:lnTo>
                  <a:lnTo>
                    <a:pt x="888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70"/>
                  </a:lnTo>
                  <a:lnTo>
                    <a:pt x="890" y="268"/>
                  </a:lnTo>
                  <a:lnTo>
                    <a:pt x="892" y="268"/>
                  </a:lnTo>
                  <a:lnTo>
                    <a:pt x="895" y="268"/>
                  </a:lnTo>
                  <a:lnTo>
                    <a:pt x="895" y="268"/>
                  </a:lnTo>
                  <a:lnTo>
                    <a:pt x="895" y="268"/>
                  </a:lnTo>
                  <a:lnTo>
                    <a:pt x="895" y="268"/>
                  </a:lnTo>
                  <a:lnTo>
                    <a:pt x="892" y="270"/>
                  </a:lnTo>
                  <a:lnTo>
                    <a:pt x="892" y="270"/>
                  </a:lnTo>
                  <a:lnTo>
                    <a:pt x="892" y="270"/>
                  </a:lnTo>
                  <a:lnTo>
                    <a:pt x="892" y="270"/>
                  </a:lnTo>
                  <a:lnTo>
                    <a:pt x="892" y="270"/>
                  </a:lnTo>
                  <a:lnTo>
                    <a:pt x="895" y="268"/>
                  </a:lnTo>
                  <a:lnTo>
                    <a:pt x="897" y="268"/>
                  </a:lnTo>
                  <a:lnTo>
                    <a:pt x="897" y="268"/>
                  </a:lnTo>
                  <a:lnTo>
                    <a:pt x="897" y="270"/>
                  </a:lnTo>
                  <a:lnTo>
                    <a:pt x="897" y="270"/>
                  </a:lnTo>
                  <a:lnTo>
                    <a:pt x="897" y="270"/>
                  </a:lnTo>
                  <a:lnTo>
                    <a:pt x="899" y="270"/>
                  </a:lnTo>
                  <a:lnTo>
                    <a:pt x="899" y="270"/>
                  </a:lnTo>
                  <a:lnTo>
                    <a:pt x="899" y="270"/>
                  </a:lnTo>
                  <a:lnTo>
                    <a:pt x="899" y="270"/>
                  </a:lnTo>
                  <a:lnTo>
                    <a:pt x="901" y="270"/>
                  </a:lnTo>
                  <a:lnTo>
                    <a:pt x="901" y="268"/>
                  </a:lnTo>
                  <a:lnTo>
                    <a:pt x="901" y="268"/>
                  </a:lnTo>
                  <a:lnTo>
                    <a:pt x="901" y="268"/>
                  </a:lnTo>
                  <a:lnTo>
                    <a:pt x="901" y="268"/>
                  </a:lnTo>
                  <a:lnTo>
                    <a:pt x="904" y="268"/>
                  </a:lnTo>
                  <a:lnTo>
                    <a:pt x="904" y="268"/>
                  </a:lnTo>
                  <a:lnTo>
                    <a:pt x="906" y="268"/>
                  </a:lnTo>
                  <a:lnTo>
                    <a:pt x="908" y="266"/>
                  </a:lnTo>
                  <a:lnTo>
                    <a:pt x="908" y="266"/>
                  </a:lnTo>
                  <a:lnTo>
                    <a:pt x="908" y="266"/>
                  </a:lnTo>
                  <a:lnTo>
                    <a:pt x="908" y="266"/>
                  </a:lnTo>
                  <a:lnTo>
                    <a:pt x="908" y="266"/>
                  </a:lnTo>
                  <a:lnTo>
                    <a:pt x="908" y="266"/>
                  </a:lnTo>
                  <a:lnTo>
                    <a:pt x="910" y="266"/>
                  </a:lnTo>
                  <a:lnTo>
                    <a:pt x="910" y="266"/>
                  </a:lnTo>
                  <a:lnTo>
                    <a:pt x="910" y="266"/>
                  </a:lnTo>
                  <a:lnTo>
                    <a:pt x="913" y="266"/>
                  </a:lnTo>
                  <a:lnTo>
                    <a:pt x="913" y="266"/>
                  </a:lnTo>
                  <a:lnTo>
                    <a:pt x="913" y="266"/>
                  </a:lnTo>
                  <a:lnTo>
                    <a:pt x="913" y="264"/>
                  </a:lnTo>
                  <a:lnTo>
                    <a:pt x="913" y="264"/>
                  </a:lnTo>
                  <a:lnTo>
                    <a:pt x="915" y="264"/>
                  </a:lnTo>
                  <a:lnTo>
                    <a:pt x="915" y="264"/>
                  </a:lnTo>
                  <a:lnTo>
                    <a:pt x="915" y="264"/>
                  </a:lnTo>
                  <a:lnTo>
                    <a:pt x="915" y="264"/>
                  </a:lnTo>
                  <a:lnTo>
                    <a:pt x="915" y="264"/>
                  </a:lnTo>
                  <a:lnTo>
                    <a:pt x="915" y="264"/>
                  </a:lnTo>
                  <a:lnTo>
                    <a:pt x="915" y="264"/>
                  </a:lnTo>
                  <a:lnTo>
                    <a:pt x="917" y="261"/>
                  </a:lnTo>
                  <a:lnTo>
                    <a:pt x="917" y="261"/>
                  </a:lnTo>
                  <a:lnTo>
                    <a:pt x="917" y="261"/>
                  </a:lnTo>
                  <a:lnTo>
                    <a:pt x="919" y="261"/>
                  </a:lnTo>
                  <a:lnTo>
                    <a:pt x="924" y="261"/>
                  </a:lnTo>
                  <a:lnTo>
                    <a:pt x="924" y="259"/>
                  </a:lnTo>
                  <a:lnTo>
                    <a:pt x="924" y="259"/>
                  </a:lnTo>
                  <a:lnTo>
                    <a:pt x="926" y="259"/>
                  </a:lnTo>
                  <a:lnTo>
                    <a:pt x="926" y="259"/>
                  </a:lnTo>
                  <a:lnTo>
                    <a:pt x="926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28" y="259"/>
                  </a:lnTo>
                  <a:lnTo>
                    <a:pt x="931" y="259"/>
                  </a:lnTo>
                  <a:lnTo>
                    <a:pt x="931" y="257"/>
                  </a:lnTo>
                  <a:lnTo>
                    <a:pt x="931" y="257"/>
                  </a:lnTo>
                  <a:lnTo>
                    <a:pt x="928" y="259"/>
                  </a:lnTo>
                  <a:lnTo>
                    <a:pt x="926" y="257"/>
                  </a:lnTo>
                  <a:lnTo>
                    <a:pt x="926" y="257"/>
                  </a:lnTo>
                  <a:lnTo>
                    <a:pt x="926" y="259"/>
                  </a:lnTo>
                  <a:lnTo>
                    <a:pt x="926" y="259"/>
                  </a:lnTo>
                  <a:lnTo>
                    <a:pt x="926" y="259"/>
                  </a:lnTo>
                  <a:lnTo>
                    <a:pt x="926" y="257"/>
                  </a:lnTo>
                  <a:lnTo>
                    <a:pt x="926" y="257"/>
                  </a:lnTo>
                  <a:lnTo>
                    <a:pt x="926" y="257"/>
                  </a:lnTo>
                  <a:lnTo>
                    <a:pt x="926" y="257"/>
                  </a:lnTo>
                  <a:lnTo>
                    <a:pt x="926" y="257"/>
                  </a:lnTo>
                  <a:lnTo>
                    <a:pt x="926" y="257"/>
                  </a:lnTo>
                  <a:lnTo>
                    <a:pt x="928" y="257"/>
                  </a:lnTo>
                  <a:lnTo>
                    <a:pt x="928" y="257"/>
                  </a:lnTo>
                  <a:lnTo>
                    <a:pt x="928" y="257"/>
                  </a:lnTo>
                  <a:lnTo>
                    <a:pt x="928" y="255"/>
                  </a:lnTo>
                  <a:lnTo>
                    <a:pt x="928" y="255"/>
                  </a:lnTo>
                  <a:lnTo>
                    <a:pt x="928" y="255"/>
                  </a:lnTo>
                  <a:lnTo>
                    <a:pt x="928" y="255"/>
                  </a:lnTo>
                  <a:lnTo>
                    <a:pt x="928" y="255"/>
                  </a:lnTo>
                  <a:lnTo>
                    <a:pt x="931" y="255"/>
                  </a:lnTo>
                  <a:lnTo>
                    <a:pt x="928" y="255"/>
                  </a:lnTo>
                  <a:lnTo>
                    <a:pt x="931" y="255"/>
                  </a:lnTo>
                  <a:lnTo>
                    <a:pt x="931" y="255"/>
                  </a:lnTo>
                  <a:lnTo>
                    <a:pt x="931" y="255"/>
                  </a:lnTo>
                  <a:lnTo>
                    <a:pt x="931" y="255"/>
                  </a:lnTo>
                  <a:lnTo>
                    <a:pt x="933" y="255"/>
                  </a:lnTo>
                  <a:lnTo>
                    <a:pt x="933" y="252"/>
                  </a:lnTo>
                  <a:lnTo>
                    <a:pt x="933" y="252"/>
                  </a:lnTo>
                  <a:lnTo>
                    <a:pt x="931" y="252"/>
                  </a:lnTo>
                  <a:lnTo>
                    <a:pt x="931" y="252"/>
                  </a:lnTo>
                  <a:lnTo>
                    <a:pt x="933" y="252"/>
                  </a:lnTo>
                  <a:lnTo>
                    <a:pt x="933" y="252"/>
                  </a:lnTo>
                  <a:lnTo>
                    <a:pt x="933" y="252"/>
                  </a:lnTo>
                  <a:lnTo>
                    <a:pt x="933" y="252"/>
                  </a:lnTo>
                  <a:lnTo>
                    <a:pt x="933" y="252"/>
                  </a:lnTo>
                  <a:lnTo>
                    <a:pt x="933" y="252"/>
                  </a:lnTo>
                  <a:lnTo>
                    <a:pt x="933" y="250"/>
                  </a:lnTo>
                  <a:lnTo>
                    <a:pt x="933" y="250"/>
                  </a:lnTo>
                  <a:lnTo>
                    <a:pt x="933" y="250"/>
                  </a:lnTo>
                  <a:lnTo>
                    <a:pt x="933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28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3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31" y="250"/>
                  </a:lnTo>
                  <a:lnTo>
                    <a:pt x="931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0"/>
                  </a:lnTo>
                  <a:lnTo>
                    <a:pt x="928" y="252"/>
                  </a:lnTo>
                  <a:lnTo>
                    <a:pt x="928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6" y="252"/>
                  </a:lnTo>
                  <a:lnTo>
                    <a:pt x="924" y="252"/>
                  </a:lnTo>
                  <a:lnTo>
                    <a:pt x="924" y="252"/>
                  </a:lnTo>
                  <a:lnTo>
                    <a:pt x="924" y="255"/>
                  </a:lnTo>
                  <a:lnTo>
                    <a:pt x="924" y="255"/>
                  </a:lnTo>
                  <a:lnTo>
                    <a:pt x="924" y="255"/>
                  </a:lnTo>
                  <a:lnTo>
                    <a:pt x="924" y="255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8" y="252"/>
                  </a:lnTo>
                  <a:lnTo>
                    <a:pt x="928" y="252"/>
                  </a:lnTo>
                  <a:lnTo>
                    <a:pt x="928" y="252"/>
                  </a:lnTo>
                  <a:lnTo>
                    <a:pt x="926" y="252"/>
                  </a:lnTo>
                  <a:lnTo>
                    <a:pt x="926" y="252"/>
                  </a:lnTo>
                  <a:lnTo>
                    <a:pt x="926" y="255"/>
                  </a:lnTo>
                  <a:lnTo>
                    <a:pt x="926" y="255"/>
                  </a:lnTo>
                  <a:lnTo>
                    <a:pt x="924" y="255"/>
                  </a:lnTo>
                  <a:lnTo>
                    <a:pt x="924" y="255"/>
                  </a:lnTo>
                  <a:lnTo>
                    <a:pt x="924" y="255"/>
                  </a:lnTo>
                  <a:lnTo>
                    <a:pt x="922" y="255"/>
                  </a:lnTo>
                  <a:lnTo>
                    <a:pt x="922" y="255"/>
                  </a:lnTo>
                  <a:lnTo>
                    <a:pt x="919" y="255"/>
                  </a:lnTo>
                  <a:lnTo>
                    <a:pt x="917" y="257"/>
                  </a:lnTo>
                  <a:lnTo>
                    <a:pt x="917" y="255"/>
                  </a:lnTo>
                  <a:lnTo>
                    <a:pt x="917" y="255"/>
                  </a:lnTo>
                  <a:lnTo>
                    <a:pt x="917" y="255"/>
                  </a:lnTo>
                  <a:lnTo>
                    <a:pt x="915" y="257"/>
                  </a:lnTo>
                  <a:lnTo>
                    <a:pt x="915" y="257"/>
                  </a:lnTo>
                  <a:lnTo>
                    <a:pt x="915" y="257"/>
                  </a:lnTo>
                  <a:lnTo>
                    <a:pt x="915" y="257"/>
                  </a:lnTo>
                  <a:lnTo>
                    <a:pt x="915" y="255"/>
                  </a:lnTo>
                  <a:lnTo>
                    <a:pt x="915" y="255"/>
                  </a:lnTo>
                  <a:lnTo>
                    <a:pt x="915" y="255"/>
                  </a:lnTo>
                  <a:lnTo>
                    <a:pt x="915" y="255"/>
                  </a:lnTo>
                  <a:lnTo>
                    <a:pt x="915" y="255"/>
                  </a:lnTo>
                  <a:lnTo>
                    <a:pt x="915" y="255"/>
                  </a:lnTo>
                  <a:lnTo>
                    <a:pt x="915" y="255"/>
                  </a:lnTo>
                  <a:lnTo>
                    <a:pt x="917" y="255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2"/>
                  </a:lnTo>
                  <a:lnTo>
                    <a:pt x="917" y="250"/>
                  </a:lnTo>
                  <a:lnTo>
                    <a:pt x="919" y="250"/>
                  </a:lnTo>
                  <a:lnTo>
                    <a:pt x="919" y="250"/>
                  </a:lnTo>
                  <a:lnTo>
                    <a:pt x="919" y="252"/>
                  </a:lnTo>
                  <a:lnTo>
                    <a:pt x="919" y="252"/>
                  </a:lnTo>
                  <a:lnTo>
                    <a:pt x="919" y="252"/>
                  </a:lnTo>
                  <a:lnTo>
                    <a:pt x="922" y="252"/>
                  </a:lnTo>
                  <a:lnTo>
                    <a:pt x="922" y="250"/>
                  </a:lnTo>
                  <a:lnTo>
                    <a:pt x="922" y="250"/>
                  </a:lnTo>
                  <a:lnTo>
                    <a:pt x="922" y="250"/>
                  </a:lnTo>
                  <a:lnTo>
                    <a:pt x="924" y="250"/>
                  </a:lnTo>
                  <a:lnTo>
                    <a:pt x="924" y="250"/>
                  </a:lnTo>
                  <a:lnTo>
                    <a:pt x="924" y="250"/>
                  </a:lnTo>
                  <a:lnTo>
                    <a:pt x="924" y="250"/>
                  </a:lnTo>
                  <a:lnTo>
                    <a:pt x="926" y="250"/>
                  </a:lnTo>
                  <a:lnTo>
                    <a:pt x="926" y="250"/>
                  </a:lnTo>
                  <a:lnTo>
                    <a:pt x="926" y="250"/>
                  </a:lnTo>
                  <a:lnTo>
                    <a:pt x="926" y="248"/>
                  </a:lnTo>
                  <a:lnTo>
                    <a:pt x="926" y="248"/>
                  </a:lnTo>
                  <a:lnTo>
                    <a:pt x="926" y="248"/>
                  </a:lnTo>
                  <a:lnTo>
                    <a:pt x="926" y="248"/>
                  </a:lnTo>
                  <a:lnTo>
                    <a:pt x="928" y="248"/>
                  </a:lnTo>
                  <a:lnTo>
                    <a:pt x="928" y="248"/>
                  </a:lnTo>
                  <a:lnTo>
                    <a:pt x="928" y="248"/>
                  </a:lnTo>
                  <a:lnTo>
                    <a:pt x="931" y="248"/>
                  </a:lnTo>
                  <a:lnTo>
                    <a:pt x="931" y="248"/>
                  </a:lnTo>
                  <a:lnTo>
                    <a:pt x="928" y="248"/>
                  </a:lnTo>
                  <a:lnTo>
                    <a:pt x="926" y="248"/>
                  </a:lnTo>
                  <a:lnTo>
                    <a:pt x="926" y="248"/>
                  </a:lnTo>
                  <a:lnTo>
                    <a:pt x="926" y="248"/>
                  </a:lnTo>
                  <a:lnTo>
                    <a:pt x="926" y="248"/>
                  </a:lnTo>
                  <a:lnTo>
                    <a:pt x="926" y="246"/>
                  </a:lnTo>
                  <a:lnTo>
                    <a:pt x="926" y="246"/>
                  </a:lnTo>
                  <a:lnTo>
                    <a:pt x="928" y="246"/>
                  </a:lnTo>
                  <a:lnTo>
                    <a:pt x="928" y="246"/>
                  </a:lnTo>
                  <a:lnTo>
                    <a:pt x="928" y="246"/>
                  </a:lnTo>
                  <a:lnTo>
                    <a:pt x="928" y="246"/>
                  </a:lnTo>
                  <a:lnTo>
                    <a:pt x="928" y="246"/>
                  </a:lnTo>
                  <a:lnTo>
                    <a:pt x="928" y="246"/>
                  </a:lnTo>
                  <a:lnTo>
                    <a:pt x="928" y="246"/>
                  </a:lnTo>
                  <a:lnTo>
                    <a:pt x="928" y="243"/>
                  </a:lnTo>
                  <a:lnTo>
                    <a:pt x="928" y="243"/>
                  </a:lnTo>
                  <a:lnTo>
                    <a:pt x="931" y="243"/>
                  </a:lnTo>
                  <a:lnTo>
                    <a:pt x="933" y="243"/>
                  </a:lnTo>
                  <a:lnTo>
                    <a:pt x="933" y="243"/>
                  </a:lnTo>
                  <a:lnTo>
                    <a:pt x="935" y="243"/>
                  </a:lnTo>
                  <a:lnTo>
                    <a:pt x="935" y="243"/>
                  </a:lnTo>
                  <a:lnTo>
                    <a:pt x="935" y="243"/>
                  </a:lnTo>
                  <a:lnTo>
                    <a:pt x="935" y="243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7" y="243"/>
                  </a:lnTo>
                  <a:lnTo>
                    <a:pt x="937" y="243"/>
                  </a:lnTo>
                  <a:lnTo>
                    <a:pt x="940" y="241"/>
                  </a:lnTo>
                  <a:lnTo>
                    <a:pt x="942" y="241"/>
                  </a:lnTo>
                  <a:lnTo>
                    <a:pt x="942" y="241"/>
                  </a:lnTo>
                  <a:lnTo>
                    <a:pt x="942" y="241"/>
                  </a:lnTo>
                  <a:lnTo>
                    <a:pt x="940" y="243"/>
                  </a:lnTo>
                  <a:lnTo>
                    <a:pt x="940" y="243"/>
                  </a:lnTo>
                  <a:lnTo>
                    <a:pt x="940" y="243"/>
                  </a:lnTo>
                  <a:lnTo>
                    <a:pt x="940" y="243"/>
                  </a:lnTo>
                  <a:lnTo>
                    <a:pt x="940" y="243"/>
                  </a:lnTo>
                  <a:lnTo>
                    <a:pt x="937" y="243"/>
                  </a:lnTo>
                  <a:lnTo>
                    <a:pt x="937" y="243"/>
                  </a:lnTo>
                  <a:lnTo>
                    <a:pt x="937" y="243"/>
                  </a:lnTo>
                  <a:lnTo>
                    <a:pt x="937" y="243"/>
                  </a:lnTo>
                  <a:lnTo>
                    <a:pt x="935" y="243"/>
                  </a:lnTo>
                  <a:lnTo>
                    <a:pt x="933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3" y="246"/>
                  </a:lnTo>
                  <a:lnTo>
                    <a:pt x="933" y="246"/>
                  </a:lnTo>
                  <a:lnTo>
                    <a:pt x="933" y="246"/>
                  </a:lnTo>
                  <a:lnTo>
                    <a:pt x="933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3" y="246"/>
                  </a:lnTo>
                  <a:lnTo>
                    <a:pt x="933" y="246"/>
                  </a:lnTo>
                  <a:lnTo>
                    <a:pt x="933" y="248"/>
                  </a:lnTo>
                  <a:lnTo>
                    <a:pt x="933" y="248"/>
                  </a:lnTo>
                  <a:lnTo>
                    <a:pt x="933" y="248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37" y="246"/>
                  </a:lnTo>
                  <a:lnTo>
                    <a:pt x="940" y="243"/>
                  </a:lnTo>
                  <a:lnTo>
                    <a:pt x="942" y="243"/>
                  </a:lnTo>
                  <a:lnTo>
                    <a:pt x="942" y="243"/>
                  </a:lnTo>
                  <a:lnTo>
                    <a:pt x="942" y="243"/>
                  </a:lnTo>
                  <a:lnTo>
                    <a:pt x="942" y="243"/>
                  </a:lnTo>
                  <a:lnTo>
                    <a:pt x="944" y="243"/>
                  </a:lnTo>
                  <a:lnTo>
                    <a:pt x="944" y="243"/>
                  </a:lnTo>
                  <a:lnTo>
                    <a:pt x="942" y="243"/>
                  </a:lnTo>
                  <a:lnTo>
                    <a:pt x="942" y="243"/>
                  </a:lnTo>
                  <a:lnTo>
                    <a:pt x="942" y="243"/>
                  </a:lnTo>
                  <a:lnTo>
                    <a:pt x="940" y="243"/>
                  </a:lnTo>
                  <a:lnTo>
                    <a:pt x="940" y="243"/>
                  </a:lnTo>
                  <a:lnTo>
                    <a:pt x="942" y="241"/>
                  </a:lnTo>
                  <a:lnTo>
                    <a:pt x="942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41"/>
                  </a:lnTo>
                  <a:lnTo>
                    <a:pt x="944" y="239"/>
                  </a:lnTo>
                  <a:lnTo>
                    <a:pt x="944" y="239"/>
                  </a:lnTo>
                  <a:lnTo>
                    <a:pt x="944" y="239"/>
                  </a:lnTo>
                  <a:lnTo>
                    <a:pt x="942" y="239"/>
                  </a:lnTo>
                  <a:lnTo>
                    <a:pt x="942" y="239"/>
                  </a:lnTo>
                  <a:lnTo>
                    <a:pt x="940" y="241"/>
                  </a:lnTo>
                  <a:lnTo>
                    <a:pt x="940" y="241"/>
                  </a:lnTo>
                  <a:lnTo>
                    <a:pt x="940" y="241"/>
                  </a:lnTo>
                  <a:lnTo>
                    <a:pt x="940" y="241"/>
                  </a:lnTo>
                  <a:lnTo>
                    <a:pt x="940" y="241"/>
                  </a:lnTo>
                  <a:lnTo>
                    <a:pt x="940" y="241"/>
                  </a:lnTo>
                  <a:lnTo>
                    <a:pt x="940" y="241"/>
                  </a:lnTo>
                  <a:lnTo>
                    <a:pt x="937" y="241"/>
                  </a:lnTo>
                  <a:lnTo>
                    <a:pt x="937" y="241"/>
                  </a:lnTo>
                  <a:lnTo>
                    <a:pt x="937" y="241"/>
                  </a:lnTo>
                  <a:lnTo>
                    <a:pt x="937" y="241"/>
                  </a:lnTo>
                  <a:lnTo>
                    <a:pt x="937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1" y="241"/>
                  </a:lnTo>
                  <a:lnTo>
                    <a:pt x="931" y="241"/>
                  </a:lnTo>
                  <a:lnTo>
                    <a:pt x="931" y="241"/>
                  </a:lnTo>
                  <a:lnTo>
                    <a:pt x="931" y="241"/>
                  </a:lnTo>
                  <a:lnTo>
                    <a:pt x="931" y="241"/>
                  </a:lnTo>
                  <a:lnTo>
                    <a:pt x="931" y="239"/>
                  </a:lnTo>
                  <a:lnTo>
                    <a:pt x="931" y="239"/>
                  </a:lnTo>
                  <a:lnTo>
                    <a:pt x="931" y="239"/>
                  </a:lnTo>
                  <a:lnTo>
                    <a:pt x="931" y="239"/>
                  </a:lnTo>
                  <a:lnTo>
                    <a:pt x="931" y="239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7"/>
                  </a:lnTo>
                  <a:lnTo>
                    <a:pt x="931" y="237"/>
                  </a:lnTo>
                  <a:lnTo>
                    <a:pt x="931" y="237"/>
                  </a:lnTo>
                  <a:lnTo>
                    <a:pt x="931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31" y="237"/>
                  </a:lnTo>
                  <a:lnTo>
                    <a:pt x="928" y="237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7"/>
                  </a:lnTo>
                  <a:lnTo>
                    <a:pt x="926" y="239"/>
                  </a:lnTo>
                  <a:lnTo>
                    <a:pt x="926" y="239"/>
                  </a:lnTo>
                  <a:lnTo>
                    <a:pt x="926" y="239"/>
                  </a:lnTo>
                  <a:lnTo>
                    <a:pt x="924" y="239"/>
                  </a:lnTo>
                  <a:lnTo>
                    <a:pt x="924" y="239"/>
                  </a:lnTo>
                  <a:lnTo>
                    <a:pt x="924" y="239"/>
                  </a:lnTo>
                  <a:lnTo>
                    <a:pt x="924" y="239"/>
                  </a:lnTo>
                  <a:lnTo>
                    <a:pt x="924" y="239"/>
                  </a:lnTo>
                  <a:lnTo>
                    <a:pt x="924" y="239"/>
                  </a:lnTo>
                  <a:lnTo>
                    <a:pt x="924" y="239"/>
                  </a:lnTo>
                  <a:lnTo>
                    <a:pt x="922" y="239"/>
                  </a:lnTo>
                  <a:lnTo>
                    <a:pt x="924" y="239"/>
                  </a:lnTo>
                  <a:lnTo>
                    <a:pt x="922" y="237"/>
                  </a:lnTo>
                  <a:lnTo>
                    <a:pt x="922" y="239"/>
                  </a:lnTo>
                  <a:lnTo>
                    <a:pt x="922" y="239"/>
                  </a:lnTo>
                  <a:lnTo>
                    <a:pt x="922" y="237"/>
                  </a:lnTo>
                  <a:lnTo>
                    <a:pt x="922" y="237"/>
                  </a:lnTo>
                  <a:lnTo>
                    <a:pt x="919" y="237"/>
                  </a:lnTo>
                  <a:lnTo>
                    <a:pt x="919" y="237"/>
                  </a:lnTo>
                  <a:lnTo>
                    <a:pt x="917" y="237"/>
                  </a:lnTo>
                  <a:lnTo>
                    <a:pt x="917" y="237"/>
                  </a:lnTo>
                  <a:lnTo>
                    <a:pt x="917" y="237"/>
                  </a:lnTo>
                  <a:lnTo>
                    <a:pt x="917" y="237"/>
                  </a:lnTo>
                  <a:lnTo>
                    <a:pt x="917" y="237"/>
                  </a:lnTo>
                  <a:lnTo>
                    <a:pt x="917" y="234"/>
                  </a:lnTo>
                  <a:lnTo>
                    <a:pt x="915" y="234"/>
                  </a:lnTo>
                  <a:lnTo>
                    <a:pt x="915" y="234"/>
                  </a:lnTo>
                  <a:lnTo>
                    <a:pt x="915" y="234"/>
                  </a:lnTo>
                  <a:lnTo>
                    <a:pt x="915" y="234"/>
                  </a:lnTo>
                  <a:lnTo>
                    <a:pt x="915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5" y="234"/>
                  </a:lnTo>
                  <a:lnTo>
                    <a:pt x="915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3" y="234"/>
                  </a:lnTo>
                  <a:lnTo>
                    <a:pt x="910" y="234"/>
                  </a:lnTo>
                  <a:lnTo>
                    <a:pt x="910" y="234"/>
                  </a:lnTo>
                  <a:lnTo>
                    <a:pt x="910" y="234"/>
                  </a:lnTo>
                  <a:lnTo>
                    <a:pt x="910" y="234"/>
                  </a:lnTo>
                  <a:lnTo>
                    <a:pt x="910" y="234"/>
                  </a:lnTo>
                  <a:lnTo>
                    <a:pt x="910" y="234"/>
                  </a:lnTo>
                  <a:lnTo>
                    <a:pt x="908" y="232"/>
                  </a:lnTo>
                  <a:lnTo>
                    <a:pt x="908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3" y="232"/>
                  </a:lnTo>
                  <a:lnTo>
                    <a:pt x="910" y="232"/>
                  </a:lnTo>
                  <a:lnTo>
                    <a:pt x="910" y="232"/>
                  </a:lnTo>
                  <a:lnTo>
                    <a:pt x="913" y="232"/>
                  </a:lnTo>
                  <a:lnTo>
                    <a:pt x="913" y="232"/>
                  </a:lnTo>
                  <a:lnTo>
                    <a:pt x="913" y="232"/>
                  </a:lnTo>
                  <a:lnTo>
                    <a:pt x="913" y="232"/>
                  </a:lnTo>
                  <a:lnTo>
                    <a:pt x="910" y="230"/>
                  </a:lnTo>
                  <a:lnTo>
                    <a:pt x="910" y="230"/>
                  </a:lnTo>
                  <a:lnTo>
                    <a:pt x="910" y="230"/>
                  </a:lnTo>
                  <a:lnTo>
                    <a:pt x="910" y="230"/>
                  </a:lnTo>
                  <a:lnTo>
                    <a:pt x="910" y="230"/>
                  </a:lnTo>
                  <a:lnTo>
                    <a:pt x="910" y="230"/>
                  </a:lnTo>
                  <a:lnTo>
                    <a:pt x="910" y="230"/>
                  </a:lnTo>
                  <a:lnTo>
                    <a:pt x="908" y="228"/>
                  </a:lnTo>
                  <a:lnTo>
                    <a:pt x="908" y="228"/>
                  </a:lnTo>
                  <a:lnTo>
                    <a:pt x="908" y="228"/>
                  </a:lnTo>
                  <a:lnTo>
                    <a:pt x="908" y="228"/>
                  </a:lnTo>
                  <a:lnTo>
                    <a:pt x="908" y="228"/>
                  </a:lnTo>
                  <a:lnTo>
                    <a:pt x="908" y="228"/>
                  </a:lnTo>
                  <a:lnTo>
                    <a:pt x="908" y="228"/>
                  </a:lnTo>
                  <a:lnTo>
                    <a:pt x="910" y="225"/>
                  </a:lnTo>
                  <a:lnTo>
                    <a:pt x="910" y="225"/>
                  </a:lnTo>
                  <a:lnTo>
                    <a:pt x="910" y="223"/>
                  </a:lnTo>
                  <a:lnTo>
                    <a:pt x="913" y="223"/>
                  </a:lnTo>
                  <a:lnTo>
                    <a:pt x="913" y="223"/>
                  </a:lnTo>
                  <a:lnTo>
                    <a:pt x="915" y="223"/>
                  </a:lnTo>
                  <a:lnTo>
                    <a:pt x="915" y="223"/>
                  </a:lnTo>
                  <a:lnTo>
                    <a:pt x="915" y="223"/>
                  </a:lnTo>
                  <a:lnTo>
                    <a:pt x="915" y="223"/>
                  </a:lnTo>
                  <a:lnTo>
                    <a:pt x="915" y="223"/>
                  </a:lnTo>
                  <a:lnTo>
                    <a:pt x="917" y="223"/>
                  </a:lnTo>
                  <a:lnTo>
                    <a:pt x="917" y="221"/>
                  </a:lnTo>
                  <a:lnTo>
                    <a:pt x="917" y="221"/>
                  </a:lnTo>
                  <a:lnTo>
                    <a:pt x="917" y="221"/>
                  </a:lnTo>
                  <a:lnTo>
                    <a:pt x="919" y="221"/>
                  </a:lnTo>
                  <a:lnTo>
                    <a:pt x="919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6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4" y="216"/>
                  </a:lnTo>
                  <a:lnTo>
                    <a:pt x="926" y="216"/>
                  </a:lnTo>
                  <a:lnTo>
                    <a:pt x="926" y="216"/>
                  </a:lnTo>
                  <a:lnTo>
                    <a:pt x="928" y="216"/>
                  </a:lnTo>
                  <a:lnTo>
                    <a:pt x="928" y="216"/>
                  </a:lnTo>
                  <a:lnTo>
                    <a:pt x="928" y="216"/>
                  </a:lnTo>
                  <a:lnTo>
                    <a:pt x="931" y="216"/>
                  </a:lnTo>
                  <a:lnTo>
                    <a:pt x="928" y="216"/>
                  </a:lnTo>
                  <a:lnTo>
                    <a:pt x="924" y="216"/>
                  </a:lnTo>
                  <a:lnTo>
                    <a:pt x="924" y="216"/>
                  </a:lnTo>
                  <a:lnTo>
                    <a:pt x="924" y="219"/>
                  </a:lnTo>
                  <a:lnTo>
                    <a:pt x="924" y="219"/>
                  </a:lnTo>
                  <a:lnTo>
                    <a:pt x="922" y="219"/>
                  </a:lnTo>
                  <a:lnTo>
                    <a:pt x="922" y="219"/>
                  </a:lnTo>
                  <a:lnTo>
                    <a:pt x="922" y="216"/>
                  </a:lnTo>
                  <a:lnTo>
                    <a:pt x="919" y="216"/>
                  </a:lnTo>
                  <a:lnTo>
                    <a:pt x="919" y="216"/>
                  </a:lnTo>
                  <a:lnTo>
                    <a:pt x="922" y="216"/>
                  </a:lnTo>
                  <a:lnTo>
                    <a:pt x="922" y="216"/>
                  </a:lnTo>
                  <a:lnTo>
                    <a:pt x="922" y="216"/>
                  </a:lnTo>
                  <a:lnTo>
                    <a:pt x="919" y="214"/>
                  </a:lnTo>
                  <a:lnTo>
                    <a:pt x="919" y="214"/>
                  </a:lnTo>
                  <a:lnTo>
                    <a:pt x="919" y="214"/>
                  </a:lnTo>
                  <a:lnTo>
                    <a:pt x="919" y="214"/>
                  </a:lnTo>
                  <a:lnTo>
                    <a:pt x="922" y="212"/>
                  </a:lnTo>
                  <a:lnTo>
                    <a:pt x="924" y="212"/>
                  </a:lnTo>
                  <a:lnTo>
                    <a:pt x="924" y="212"/>
                  </a:lnTo>
                  <a:lnTo>
                    <a:pt x="924" y="212"/>
                  </a:lnTo>
                  <a:lnTo>
                    <a:pt x="924" y="210"/>
                  </a:lnTo>
                  <a:lnTo>
                    <a:pt x="924" y="210"/>
                  </a:lnTo>
                  <a:lnTo>
                    <a:pt x="924" y="210"/>
                  </a:lnTo>
                  <a:lnTo>
                    <a:pt x="924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8" y="210"/>
                  </a:lnTo>
                  <a:lnTo>
                    <a:pt x="928" y="210"/>
                  </a:lnTo>
                  <a:lnTo>
                    <a:pt x="928" y="210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10"/>
                  </a:lnTo>
                  <a:lnTo>
                    <a:pt x="928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6" y="207"/>
                  </a:lnTo>
                  <a:lnTo>
                    <a:pt x="926" y="207"/>
                  </a:lnTo>
                  <a:lnTo>
                    <a:pt x="926" y="207"/>
                  </a:lnTo>
                  <a:lnTo>
                    <a:pt x="926" y="207"/>
                  </a:lnTo>
                  <a:lnTo>
                    <a:pt x="926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7"/>
                  </a:lnTo>
                  <a:lnTo>
                    <a:pt x="928" y="205"/>
                  </a:lnTo>
                  <a:lnTo>
                    <a:pt x="931" y="205"/>
                  </a:lnTo>
                  <a:lnTo>
                    <a:pt x="931" y="205"/>
                  </a:lnTo>
                  <a:lnTo>
                    <a:pt x="928" y="205"/>
                  </a:lnTo>
                  <a:lnTo>
                    <a:pt x="931" y="205"/>
                  </a:lnTo>
                  <a:lnTo>
                    <a:pt x="931" y="205"/>
                  </a:lnTo>
                  <a:lnTo>
                    <a:pt x="931" y="205"/>
                  </a:lnTo>
                  <a:lnTo>
                    <a:pt x="928" y="205"/>
                  </a:lnTo>
                  <a:lnTo>
                    <a:pt x="928" y="205"/>
                  </a:lnTo>
                  <a:lnTo>
                    <a:pt x="931" y="205"/>
                  </a:lnTo>
                  <a:lnTo>
                    <a:pt x="931" y="205"/>
                  </a:lnTo>
                  <a:lnTo>
                    <a:pt x="933" y="205"/>
                  </a:lnTo>
                  <a:lnTo>
                    <a:pt x="933" y="205"/>
                  </a:lnTo>
                  <a:lnTo>
                    <a:pt x="933" y="205"/>
                  </a:lnTo>
                  <a:lnTo>
                    <a:pt x="933" y="205"/>
                  </a:lnTo>
                  <a:lnTo>
                    <a:pt x="935" y="203"/>
                  </a:lnTo>
                  <a:lnTo>
                    <a:pt x="935" y="203"/>
                  </a:lnTo>
                  <a:lnTo>
                    <a:pt x="935" y="203"/>
                  </a:lnTo>
                  <a:lnTo>
                    <a:pt x="937" y="203"/>
                  </a:lnTo>
                  <a:lnTo>
                    <a:pt x="937" y="203"/>
                  </a:lnTo>
                  <a:lnTo>
                    <a:pt x="940" y="203"/>
                  </a:lnTo>
                  <a:lnTo>
                    <a:pt x="940" y="203"/>
                  </a:lnTo>
                  <a:lnTo>
                    <a:pt x="940" y="203"/>
                  </a:lnTo>
                  <a:lnTo>
                    <a:pt x="940" y="203"/>
                  </a:lnTo>
                  <a:lnTo>
                    <a:pt x="940" y="203"/>
                  </a:lnTo>
                  <a:lnTo>
                    <a:pt x="940" y="203"/>
                  </a:lnTo>
                  <a:lnTo>
                    <a:pt x="942" y="205"/>
                  </a:lnTo>
                  <a:lnTo>
                    <a:pt x="942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5"/>
                  </a:lnTo>
                  <a:lnTo>
                    <a:pt x="944" y="203"/>
                  </a:lnTo>
                  <a:lnTo>
                    <a:pt x="944" y="203"/>
                  </a:lnTo>
                  <a:lnTo>
                    <a:pt x="944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3"/>
                  </a:lnTo>
                  <a:lnTo>
                    <a:pt x="946" y="201"/>
                  </a:lnTo>
                  <a:lnTo>
                    <a:pt x="946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51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9" y="201"/>
                  </a:lnTo>
                  <a:lnTo>
                    <a:pt x="946" y="201"/>
                  </a:lnTo>
                  <a:lnTo>
                    <a:pt x="946" y="201"/>
                  </a:lnTo>
                  <a:lnTo>
                    <a:pt x="946" y="201"/>
                  </a:lnTo>
                  <a:lnTo>
                    <a:pt x="944" y="201"/>
                  </a:lnTo>
                  <a:lnTo>
                    <a:pt x="944" y="201"/>
                  </a:lnTo>
                  <a:lnTo>
                    <a:pt x="944" y="201"/>
                  </a:lnTo>
                  <a:lnTo>
                    <a:pt x="944" y="201"/>
                  </a:lnTo>
                  <a:lnTo>
                    <a:pt x="942" y="201"/>
                  </a:lnTo>
                  <a:lnTo>
                    <a:pt x="942" y="201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4" y="198"/>
                  </a:lnTo>
                  <a:lnTo>
                    <a:pt x="946" y="198"/>
                  </a:lnTo>
                  <a:lnTo>
                    <a:pt x="946" y="198"/>
                  </a:lnTo>
                  <a:lnTo>
                    <a:pt x="946" y="198"/>
                  </a:lnTo>
                  <a:lnTo>
                    <a:pt x="946" y="198"/>
                  </a:lnTo>
                  <a:lnTo>
                    <a:pt x="949" y="198"/>
                  </a:lnTo>
                  <a:lnTo>
                    <a:pt x="949" y="198"/>
                  </a:lnTo>
                  <a:lnTo>
                    <a:pt x="949" y="198"/>
                  </a:lnTo>
                  <a:lnTo>
                    <a:pt x="949" y="198"/>
                  </a:lnTo>
                  <a:lnTo>
                    <a:pt x="949" y="198"/>
                  </a:lnTo>
                  <a:lnTo>
                    <a:pt x="949" y="198"/>
                  </a:lnTo>
                  <a:lnTo>
                    <a:pt x="951" y="198"/>
                  </a:lnTo>
                  <a:lnTo>
                    <a:pt x="951" y="196"/>
                  </a:lnTo>
                  <a:lnTo>
                    <a:pt x="951" y="196"/>
                  </a:lnTo>
                  <a:lnTo>
                    <a:pt x="951" y="196"/>
                  </a:lnTo>
                  <a:lnTo>
                    <a:pt x="953" y="196"/>
                  </a:lnTo>
                  <a:lnTo>
                    <a:pt x="953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5" y="196"/>
                  </a:lnTo>
                  <a:lnTo>
                    <a:pt x="957" y="196"/>
                  </a:lnTo>
                  <a:lnTo>
                    <a:pt x="957" y="196"/>
                  </a:lnTo>
                  <a:lnTo>
                    <a:pt x="957" y="196"/>
                  </a:lnTo>
                  <a:lnTo>
                    <a:pt x="957" y="194"/>
                  </a:lnTo>
                  <a:lnTo>
                    <a:pt x="957" y="194"/>
                  </a:lnTo>
                  <a:lnTo>
                    <a:pt x="957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2" y="194"/>
                  </a:lnTo>
                  <a:lnTo>
                    <a:pt x="962" y="194"/>
                  </a:lnTo>
                  <a:lnTo>
                    <a:pt x="962" y="194"/>
                  </a:lnTo>
                  <a:lnTo>
                    <a:pt x="964" y="194"/>
                  </a:lnTo>
                  <a:lnTo>
                    <a:pt x="964" y="194"/>
                  </a:lnTo>
                  <a:lnTo>
                    <a:pt x="964" y="194"/>
                  </a:lnTo>
                  <a:lnTo>
                    <a:pt x="966" y="194"/>
                  </a:lnTo>
                  <a:lnTo>
                    <a:pt x="966" y="194"/>
                  </a:lnTo>
                  <a:lnTo>
                    <a:pt x="969" y="194"/>
                  </a:lnTo>
                  <a:lnTo>
                    <a:pt x="966" y="194"/>
                  </a:lnTo>
                  <a:lnTo>
                    <a:pt x="964" y="194"/>
                  </a:lnTo>
                  <a:lnTo>
                    <a:pt x="964" y="194"/>
                  </a:lnTo>
                  <a:lnTo>
                    <a:pt x="964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57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4"/>
                  </a:lnTo>
                  <a:lnTo>
                    <a:pt x="960" y="192"/>
                  </a:lnTo>
                  <a:lnTo>
                    <a:pt x="960" y="192"/>
                  </a:lnTo>
                  <a:lnTo>
                    <a:pt x="960" y="192"/>
                  </a:lnTo>
                  <a:lnTo>
                    <a:pt x="960" y="192"/>
                  </a:lnTo>
                  <a:lnTo>
                    <a:pt x="960" y="192"/>
                  </a:lnTo>
                  <a:lnTo>
                    <a:pt x="960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3" y="192"/>
                  </a:lnTo>
                  <a:lnTo>
                    <a:pt x="973" y="192"/>
                  </a:lnTo>
                  <a:lnTo>
                    <a:pt x="971" y="192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6" y="194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6" y="196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4"/>
                  </a:lnTo>
                  <a:lnTo>
                    <a:pt x="969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4"/>
                  </a:lnTo>
                  <a:lnTo>
                    <a:pt x="971" y="196"/>
                  </a:lnTo>
                  <a:lnTo>
                    <a:pt x="971" y="196"/>
                  </a:lnTo>
                  <a:lnTo>
                    <a:pt x="971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9" y="196"/>
                  </a:lnTo>
                  <a:lnTo>
                    <a:pt x="966" y="198"/>
                  </a:lnTo>
                  <a:lnTo>
                    <a:pt x="966" y="198"/>
                  </a:lnTo>
                  <a:lnTo>
                    <a:pt x="971" y="196"/>
                  </a:lnTo>
                  <a:lnTo>
                    <a:pt x="971" y="196"/>
                  </a:lnTo>
                  <a:lnTo>
                    <a:pt x="971" y="196"/>
                  </a:lnTo>
                  <a:lnTo>
                    <a:pt x="973" y="196"/>
                  </a:lnTo>
                  <a:lnTo>
                    <a:pt x="973" y="196"/>
                  </a:lnTo>
                  <a:lnTo>
                    <a:pt x="973" y="196"/>
                  </a:lnTo>
                  <a:lnTo>
                    <a:pt x="973" y="196"/>
                  </a:lnTo>
                  <a:lnTo>
                    <a:pt x="973" y="196"/>
                  </a:lnTo>
                  <a:lnTo>
                    <a:pt x="975" y="196"/>
                  </a:lnTo>
                  <a:lnTo>
                    <a:pt x="975" y="196"/>
                  </a:lnTo>
                  <a:lnTo>
                    <a:pt x="975" y="196"/>
                  </a:lnTo>
                  <a:lnTo>
                    <a:pt x="975" y="196"/>
                  </a:lnTo>
                  <a:lnTo>
                    <a:pt x="975" y="196"/>
                  </a:lnTo>
                  <a:lnTo>
                    <a:pt x="975" y="196"/>
                  </a:lnTo>
                  <a:lnTo>
                    <a:pt x="978" y="196"/>
                  </a:lnTo>
                  <a:lnTo>
                    <a:pt x="978" y="196"/>
                  </a:lnTo>
                  <a:lnTo>
                    <a:pt x="978" y="196"/>
                  </a:lnTo>
                  <a:lnTo>
                    <a:pt x="980" y="196"/>
                  </a:lnTo>
                  <a:lnTo>
                    <a:pt x="980" y="196"/>
                  </a:lnTo>
                  <a:lnTo>
                    <a:pt x="980" y="196"/>
                  </a:lnTo>
                  <a:lnTo>
                    <a:pt x="978" y="196"/>
                  </a:lnTo>
                  <a:lnTo>
                    <a:pt x="978" y="196"/>
                  </a:lnTo>
                  <a:lnTo>
                    <a:pt x="975" y="198"/>
                  </a:lnTo>
                  <a:lnTo>
                    <a:pt x="975" y="198"/>
                  </a:lnTo>
                  <a:lnTo>
                    <a:pt x="978" y="198"/>
                  </a:lnTo>
                  <a:lnTo>
                    <a:pt x="978" y="198"/>
                  </a:lnTo>
                  <a:lnTo>
                    <a:pt x="978" y="201"/>
                  </a:lnTo>
                  <a:lnTo>
                    <a:pt x="980" y="201"/>
                  </a:lnTo>
                  <a:lnTo>
                    <a:pt x="980" y="201"/>
                  </a:lnTo>
                  <a:lnTo>
                    <a:pt x="980" y="201"/>
                  </a:lnTo>
                  <a:lnTo>
                    <a:pt x="980" y="201"/>
                  </a:lnTo>
                  <a:lnTo>
                    <a:pt x="980" y="201"/>
                  </a:lnTo>
                  <a:lnTo>
                    <a:pt x="982" y="201"/>
                  </a:lnTo>
                  <a:lnTo>
                    <a:pt x="982" y="201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0" y="203"/>
                  </a:lnTo>
                  <a:lnTo>
                    <a:pt x="980" y="203"/>
                  </a:lnTo>
                  <a:lnTo>
                    <a:pt x="980" y="203"/>
                  </a:lnTo>
                  <a:lnTo>
                    <a:pt x="980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3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5"/>
                  </a:lnTo>
                  <a:lnTo>
                    <a:pt x="982" y="207"/>
                  </a:lnTo>
                  <a:lnTo>
                    <a:pt x="982" y="207"/>
                  </a:lnTo>
                  <a:lnTo>
                    <a:pt x="982" y="207"/>
                  </a:lnTo>
                  <a:lnTo>
                    <a:pt x="982" y="207"/>
                  </a:lnTo>
                  <a:lnTo>
                    <a:pt x="982" y="207"/>
                  </a:lnTo>
                  <a:lnTo>
                    <a:pt x="980" y="207"/>
                  </a:lnTo>
                  <a:lnTo>
                    <a:pt x="980" y="207"/>
                  </a:lnTo>
                  <a:lnTo>
                    <a:pt x="980" y="207"/>
                  </a:lnTo>
                  <a:lnTo>
                    <a:pt x="980" y="207"/>
                  </a:lnTo>
                  <a:lnTo>
                    <a:pt x="980" y="210"/>
                  </a:lnTo>
                  <a:lnTo>
                    <a:pt x="980" y="210"/>
                  </a:lnTo>
                  <a:lnTo>
                    <a:pt x="980" y="210"/>
                  </a:lnTo>
                  <a:lnTo>
                    <a:pt x="980" y="210"/>
                  </a:lnTo>
                  <a:lnTo>
                    <a:pt x="980" y="210"/>
                  </a:lnTo>
                  <a:lnTo>
                    <a:pt x="980" y="210"/>
                  </a:lnTo>
                  <a:lnTo>
                    <a:pt x="978" y="210"/>
                  </a:lnTo>
                  <a:lnTo>
                    <a:pt x="978" y="210"/>
                  </a:lnTo>
                  <a:lnTo>
                    <a:pt x="978" y="210"/>
                  </a:lnTo>
                  <a:lnTo>
                    <a:pt x="978" y="212"/>
                  </a:lnTo>
                  <a:lnTo>
                    <a:pt x="978" y="212"/>
                  </a:lnTo>
                  <a:lnTo>
                    <a:pt x="978" y="212"/>
                  </a:lnTo>
                  <a:lnTo>
                    <a:pt x="975" y="212"/>
                  </a:lnTo>
                  <a:lnTo>
                    <a:pt x="975" y="212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3" y="212"/>
                  </a:lnTo>
                  <a:lnTo>
                    <a:pt x="973" y="212"/>
                  </a:lnTo>
                  <a:lnTo>
                    <a:pt x="973" y="214"/>
                  </a:lnTo>
                  <a:lnTo>
                    <a:pt x="973" y="214"/>
                  </a:lnTo>
                  <a:lnTo>
                    <a:pt x="973" y="214"/>
                  </a:lnTo>
                  <a:lnTo>
                    <a:pt x="975" y="214"/>
                  </a:lnTo>
                  <a:lnTo>
                    <a:pt x="975" y="214"/>
                  </a:lnTo>
                  <a:lnTo>
                    <a:pt x="978" y="214"/>
                  </a:lnTo>
                  <a:lnTo>
                    <a:pt x="978" y="214"/>
                  </a:lnTo>
                  <a:lnTo>
                    <a:pt x="978" y="214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5" y="216"/>
                  </a:lnTo>
                  <a:lnTo>
                    <a:pt x="975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8" y="216"/>
                  </a:lnTo>
                  <a:lnTo>
                    <a:pt x="975" y="216"/>
                  </a:lnTo>
                  <a:lnTo>
                    <a:pt x="975" y="216"/>
                  </a:lnTo>
                  <a:lnTo>
                    <a:pt x="975" y="216"/>
                  </a:lnTo>
                  <a:lnTo>
                    <a:pt x="975" y="216"/>
                  </a:lnTo>
                  <a:lnTo>
                    <a:pt x="975" y="216"/>
                  </a:lnTo>
                  <a:lnTo>
                    <a:pt x="978" y="216"/>
                  </a:lnTo>
                  <a:lnTo>
                    <a:pt x="980" y="216"/>
                  </a:lnTo>
                  <a:lnTo>
                    <a:pt x="980" y="216"/>
                  </a:lnTo>
                  <a:lnTo>
                    <a:pt x="980" y="216"/>
                  </a:lnTo>
                  <a:lnTo>
                    <a:pt x="980" y="216"/>
                  </a:lnTo>
                  <a:lnTo>
                    <a:pt x="980" y="216"/>
                  </a:lnTo>
                  <a:lnTo>
                    <a:pt x="980" y="216"/>
                  </a:lnTo>
                  <a:lnTo>
                    <a:pt x="980" y="216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2" y="219"/>
                  </a:lnTo>
                  <a:lnTo>
                    <a:pt x="982" y="219"/>
                  </a:lnTo>
                  <a:lnTo>
                    <a:pt x="982" y="219"/>
                  </a:lnTo>
                  <a:lnTo>
                    <a:pt x="982" y="219"/>
                  </a:lnTo>
                  <a:lnTo>
                    <a:pt x="982" y="219"/>
                  </a:lnTo>
                  <a:lnTo>
                    <a:pt x="982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19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78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1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2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80" y="223"/>
                  </a:lnTo>
                  <a:lnTo>
                    <a:pt x="978" y="223"/>
                  </a:lnTo>
                  <a:lnTo>
                    <a:pt x="978" y="225"/>
                  </a:lnTo>
                  <a:lnTo>
                    <a:pt x="980" y="223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0" y="225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2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3"/>
                  </a:lnTo>
                  <a:lnTo>
                    <a:pt x="984" y="225"/>
                  </a:lnTo>
                  <a:lnTo>
                    <a:pt x="984" y="225"/>
                  </a:lnTo>
                  <a:lnTo>
                    <a:pt x="982" y="225"/>
                  </a:lnTo>
                  <a:lnTo>
                    <a:pt x="982" y="225"/>
                  </a:lnTo>
                  <a:lnTo>
                    <a:pt x="982" y="225"/>
                  </a:lnTo>
                  <a:lnTo>
                    <a:pt x="982" y="225"/>
                  </a:lnTo>
                  <a:lnTo>
                    <a:pt x="982" y="225"/>
                  </a:lnTo>
                  <a:lnTo>
                    <a:pt x="984" y="225"/>
                  </a:lnTo>
                  <a:lnTo>
                    <a:pt x="984" y="225"/>
                  </a:lnTo>
                  <a:lnTo>
                    <a:pt x="984" y="225"/>
                  </a:lnTo>
                  <a:lnTo>
                    <a:pt x="984" y="225"/>
                  </a:lnTo>
                  <a:lnTo>
                    <a:pt x="984" y="225"/>
                  </a:lnTo>
                  <a:lnTo>
                    <a:pt x="984" y="225"/>
                  </a:lnTo>
                  <a:lnTo>
                    <a:pt x="984" y="228"/>
                  </a:lnTo>
                  <a:lnTo>
                    <a:pt x="984" y="228"/>
                  </a:lnTo>
                  <a:lnTo>
                    <a:pt x="984" y="228"/>
                  </a:lnTo>
                  <a:lnTo>
                    <a:pt x="984" y="228"/>
                  </a:lnTo>
                  <a:lnTo>
                    <a:pt x="984" y="228"/>
                  </a:lnTo>
                  <a:lnTo>
                    <a:pt x="982" y="228"/>
                  </a:lnTo>
                  <a:lnTo>
                    <a:pt x="980" y="228"/>
                  </a:lnTo>
                  <a:lnTo>
                    <a:pt x="980" y="228"/>
                  </a:lnTo>
                  <a:lnTo>
                    <a:pt x="978" y="228"/>
                  </a:lnTo>
                  <a:lnTo>
                    <a:pt x="978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25"/>
                  </a:lnTo>
                  <a:lnTo>
                    <a:pt x="975" y="225"/>
                  </a:lnTo>
                  <a:lnTo>
                    <a:pt x="975" y="225"/>
                  </a:lnTo>
                  <a:lnTo>
                    <a:pt x="975" y="225"/>
                  </a:lnTo>
                  <a:lnTo>
                    <a:pt x="975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8"/>
                  </a:lnTo>
                  <a:lnTo>
                    <a:pt x="973" y="228"/>
                  </a:lnTo>
                  <a:lnTo>
                    <a:pt x="973" y="228"/>
                  </a:lnTo>
                  <a:lnTo>
                    <a:pt x="973" y="225"/>
                  </a:lnTo>
                  <a:lnTo>
                    <a:pt x="973" y="225"/>
                  </a:lnTo>
                  <a:lnTo>
                    <a:pt x="973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71" y="228"/>
                  </a:lnTo>
                  <a:lnTo>
                    <a:pt x="969" y="228"/>
                  </a:lnTo>
                  <a:lnTo>
                    <a:pt x="969" y="228"/>
                  </a:lnTo>
                  <a:lnTo>
                    <a:pt x="966" y="228"/>
                  </a:lnTo>
                  <a:lnTo>
                    <a:pt x="966" y="230"/>
                  </a:lnTo>
                  <a:lnTo>
                    <a:pt x="969" y="228"/>
                  </a:lnTo>
                  <a:lnTo>
                    <a:pt x="969" y="230"/>
                  </a:lnTo>
                  <a:lnTo>
                    <a:pt x="969" y="230"/>
                  </a:lnTo>
                  <a:lnTo>
                    <a:pt x="969" y="230"/>
                  </a:lnTo>
                  <a:lnTo>
                    <a:pt x="969" y="230"/>
                  </a:lnTo>
                  <a:lnTo>
                    <a:pt x="969" y="230"/>
                  </a:lnTo>
                  <a:lnTo>
                    <a:pt x="971" y="228"/>
                  </a:lnTo>
                  <a:lnTo>
                    <a:pt x="975" y="228"/>
                  </a:lnTo>
                  <a:lnTo>
                    <a:pt x="975" y="228"/>
                  </a:lnTo>
                  <a:lnTo>
                    <a:pt x="975" y="230"/>
                  </a:lnTo>
                  <a:lnTo>
                    <a:pt x="975" y="230"/>
                  </a:lnTo>
                  <a:lnTo>
                    <a:pt x="975" y="230"/>
                  </a:lnTo>
                  <a:lnTo>
                    <a:pt x="973" y="230"/>
                  </a:lnTo>
                  <a:lnTo>
                    <a:pt x="973" y="230"/>
                  </a:lnTo>
                  <a:lnTo>
                    <a:pt x="973" y="230"/>
                  </a:lnTo>
                  <a:lnTo>
                    <a:pt x="973" y="230"/>
                  </a:lnTo>
                  <a:lnTo>
                    <a:pt x="973" y="230"/>
                  </a:lnTo>
                  <a:lnTo>
                    <a:pt x="973" y="230"/>
                  </a:lnTo>
                  <a:lnTo>
                    <a:pt x="973" y="230"/>
                  </a:lnTo>
                  <a:lnTo>
                    <a:pt x="971" y="232"/>
                  </a:lnTo>
                  <a:lnTo>
                    <a:pt x="969" y="232"/>
                  </a:lnTo>
                  <a:lnTo>
                    <a:pt x="969" y="232"/>
                  </a:lnTo>
                  <a:lnTo>
                    <a:pt x="969" y="232"/>
                  </a:lnTo>
                  <a:lnTo>
                    <a:pt x="969" y="232"/>
                  </a:lnTo>
                  <a:lnTo>
                    <a:pt x="969" y="232"/>
                  </a:lnTo>
                  <a:lnTo>
                    <a:pt x="969" y="232"/>
                  </a:lnTo>
                  <a:lnTo>
                    <a:pt x="966" y="232"/>
                  </a:lnTo>
                  <a:lnTo>
                    <a:pt x="966" y="234"/>
                  </a:lnTo>
                  <a:lnTo>
                    <a:pt x="966" y="234"/>
                  </a:lnTo>
                  <a:lnTo>
                    <a:pt x="966" y="234"/>
                  </a:lnTo>
                  <a:lnTo>
                    <a:pt x="966" y="234"/>
                  </a:lnTo>
                  <a:lnTo>
                    <a:pt x="966" y="234"/>
                  </a:lnTo>
                  <a:lnTo>
                    <a:pt x="966" y="234"/>
                  </a:lnTo>
                  <a:lnTo>
                    <a:pt x="964" y="234"/>
                  </a:lnTo>
                  <a:lnTo>
                    <a:pt x="964" y="234"/>
                  </a:lnTo>
                  <a:lnTo>
                    <a:pt x="964" y="234"/>
                  </a:lnTo>
                  <a:lnTo>
                    <a:pt x="964" y="234"/>
                  </a:lnTo>
                  <a:lnTo>
                    <a:pt x="964" y="234"/>
                  </a:lnTo>
                  <a:lnTo>
                    <a:pt x="964" y="234"/>
                  </a:lnTo>
                  <a:lnTo>
                    <a:pt x="964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2" y="234"/>
                  </a:lnTo>
                  <a:lnTo>
                    <a:pt x="960" y="234"/>
                  </a:lnTo>
                  <a:lnTo>
                    <a:pt x="960" y="234"/>
                  </a:lnTo>
                  <a:lnTo>
                    <a:pt x="962" y="234"/>
                  </a:lnTo>
                  <a:lnTo>
                    <a:pt x="960" y="234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62" y="237"/>
                  </a:lnTo>
                  <a:lnTo>
                    <a:pt x="962" y="237"/>
                  </a:lnTo>
                  <a:lnTo>
                    <a:pt x="960" y="237"/>
                  </a:lnTo>
                  <a:lnTo>
                    <a:pt x="960" y="237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5" y="237"/>
                  </a:lnTo>
                  <a:lnTo>
                    <a:pt x="955" y="237"/>
                  </a:lnTo>
                  <a:lnTo>
                    <a:pt x="955" y="237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57" y="237"/>
                  </a:lnTo>
                  <a:lnTo>
                    <a:pt x="960" y="237"/>
                  </a:lnTo>
                  <a:lnTo>
                    <a:pt x="960" y="237"/>
                  </a:lnTo>
                  <a:lnTo>
                    <a:pt x="960" y="237"/>
                  </a:lnTo>
                  <a:lnTo>
                    <a:pt x="962" y="237"/>
                  </a:lnTo>
                  <a:lnTo>
                    <a:pt x="962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6" y="237"/>
                  </a:lnTo>
                  <a:lnTo>
                    <a:pt x="966" y="237"/>
                  </a:lnTo>
                  <a:lnTo>
                    <a:pt x="966" y="237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7"/>
                  </a:lnTo>
                  <a:lnTo>
                    <a:pt x="964" y="239"/>
                  </a:lnTo>
                  <a:lnTo>
                    <a:pt x="964" y="239"/>
                  </a:lnTo>
                  <a:lnTo>
                    <a:pt x="964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4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6" y="239"/>
                  </a:lnTo>
                  <a:lnTo>
                    <a:pt x="969" y="239"/>
                  </a:lnTo>
                  <a:lnTo>
                    <a:pt x="969" y="241"/>
                  </a:lnTo>
                  <a:lnTo>
                    <a:pt x="969" y="241"/>
                  </a:lnTo>
                  <a:lnTo>
                    <a:pt x="969" y="241"/>
                  </a:lnTo>
                  <a:lnTo>
                    <a:pt x="969" y="241"/>
                  </a:lnTo>
                  <a:lnTo>
                    <a:pt x="971" y="239"/>
                  </a:lnTo>
                  <a:lnTo>
                    <a:pt x="971" y="239"/>
                  </a:lnTo>
                  <a:lnTo>
                    <a:pt x="971" y="239"/>
                  </a:lnTo>
                  <a:lnTo>
                    <a:pt x="971" y="239"/>
                  </a:lnTo>
                  <a:lnTo>
                    <a:pt x="971" y="239"/>
                  </a:lnTo>
                  <a:lnTo>
                    <a:pt x="973" y="239"/>
                  </a:lnTo>
                  <a:lnTo>
                    <a:pt x="973" y="239"/>
                  </a:lnTo>
                  <a:lnTo>
                    <a:pt x="973" y="239"/>
                  </a:lnTo>
                  <a:lnTo>
                    <a:pt x="973" y="239"/>
                  </a:lnTo>
                  <a:lnTo>
                    <a:pt x="975" y="239"/>
                  </a:lnTo>
                  <a:lnTo>
                    <a:pt x="975" y="239"/>
                  </a:lnTo>
                  <a:lnTo>
                    <a:pt x="975" y="239"/>
                  </a:lnTo>
                  <a:lnTo>
                    <a:pt x="975" y="239"/>
                  </a:lnTo>
                  <a:lnTo>
                    <a:pt x="975" y="237"/>
                  </a:lnTo>
                  <a:lnTo>
                    <a:pt x="975" y="237"/>
                  </a:lnTo>
                  <a:lnTo>
                    <a:pt x="975" y="237"/>
                  </a:lnTo>
                  <a:lnTo>
                    <a:pt x="975" y="237"/>
                  </a:lnTo>
                  <a:lnTo>
                    <a:pt x="975" y="237"/>
                  </a:lnTo>
                  <a:lnTo>
                    <a:pt x="975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0" y="237"/>
                  </a:lnTo>
                  <a:lnTo>
                    <a:pt x="982" y="237"/>
                  </a:lnTo>
                  <a:lnTo>
                    <a:pt x="982" y="237"/>
                  </a:lnTo>
                  <a:lnTo>
                    <a:pt x="982" y="237"/>
                  </a:lnTo>
                  <a:lnTo>
                    <a:pt x="982" y="237"/>
                  </a:lnTo>
                  <a:lnTo>
                    <a:pt x="982" y="237"/>
                  </a:lnTo>
                  <a:lnTo>
                    <a:pt x="982" y="239"/>
                  </a:lnTo>
                  <a:lnTo>
                    <a:pt x="982" y="239"/>
                  </a:lnTo>
                  <a:lnTo>
                    <a:pt x="980" y="239"/>
                  </a:lnTo>
                  <a:lnTo>
                    <a:pt x="980" y="239"/>
                  </a:lnTo>
                  <a:lnTo>
                    <a:pt x="978" y="239"/>
                  </a:lnTo>
                  <a:lnTo>
                    <a:pt x="978" y="239"/>
                  </a:lnTo>
                  <a:lnTo>
                    <a:pt x="973" y="239"/>
                  </a:lnTo>
                  <a:lnTo>
                    <a:pt x="973" y="239"/>
                  </a:lnTo>
                  <a:lnTo>
                    <a:pt x="973" y="241"/>
                  </a:lnTo>
                  <a:lnTo>
                    <a:pt x="973" y="241"/>
                  </a:lnTo>
                  <a:lnTo>
                    <a:pt x="973" y="239"/>
                  </a:lnTo>
                  <a:lnTo>
                    <a:pt x="975" y="239"/>
                  </a:lnTo>
                  <a:lnTo>
                    <a:pt x="978" y="239"/>
                  </a:lnTo>
                  <a:lnTo>
                    <a:pt x="978" y="239"/>
                  </a:lnTo>
                  <a:lnTo>
                    <a:pt x="978" y="239"/>
                  </a:lnTo>
                  <a:lnTo>
                    <a:pt x="978" y="239"/>
                  </a:lnTo>
                  <a:lnTo>
                    <a:pt x="980" y="239"/>
                  </a:lnTo>
                  <a:lnTo>
                    <a:pt x="980" y="239"/>
                  </a:lnTo>
                  <a:lnTo>
                    <a:pt x="980" y="239"/>
                  </a:lnTo>
                  <a:lnTo>
                    <a:pt x="980" y="239"/>
                  </a:lnTo>
                  <a:lnTo>
                    <a:pt x="980" y="241"/>
                  </a:lnTo>
                  <a:lnTo>
                    <a:pt x="980" y="241"/>
                  </a:lnTo>
                  <a:lnTo>
                    <a:pt x="982" y="239"/>
                  </a:lnTo>
                  <a:lnTo>
                    <a:pt x="982" y="239"/>
                  </a:lnTo>
                  <a:lnTo>
                    <a:pt x="984" y="239"/>
                  </a:lnTo>
                  <a:lnTo>
                    <a:pt x="984" y="239"/>
                  </a:lnTo>
                  <a:lnTo>
                    <a:pt x="984" y="239"/>
                  </a:lnTo>
                  <a:lnTo>
                    <a:pt x="984" y="241"/>
                  </a:lnTo>
                  <a:lnTo>
                    <a:pt x="982" y="241"/>
                  </a:lnTo>
                  <a:lnTo>
                    <a:pt x="984" y="241"/>
                  </a:lnTo>
                  <a:lnTo>
                    <a:pt x="987" y="239"/>
                  </a:lnTo>
                  <a:lnTo>
                    <a:pt x="987" y="239"/>
                  </a:lnTo>
                  <a:lnTo>
                    <a:pt x="987" y="239"/>
                  </a:lnTo>
                  <a:lnTo>
                    <a:pt x="987" y="239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4" y="241"/>
                  </a:lnTo>
                  <a:lnTo>
                    <a:pt x="984" y="241"/>
                  </a:lnTo>
                  <a:lnTo>
                    <a:pt x="984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4" y="241"/>
                  </a:lnTo>
                  <a:lnTo>
                    <a:pt x="984" y="243"/>
                  </a:lnTo>
                  <a:lnTo>
                    <a:pt x="984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3"/>
                  </a:lnTo>
                  <a:lnTo>
                    <a:pt x="982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6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78" y="243"/>
                  </a:lnTo>
                  <a:lnTo>
                    <a:pt x="978" y="243"/>
                  </a:lnTo>
                  <a:lnTo>
                    <a:pt x="978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80" y="243"/>
                  </a:lnTo>
                  <a:lnTo>
                    <a:pt x="978" y="243"/>
                  </a:lnTo>
                  <a:lnTo>
                    <a:pt x="975" y="243"/>
                  </a:lnTo>
                  <a:lnTo>
                    <a:pt x="975" y="243"/>
                  </a:lnTo>
                  <a:lnTo>
                    <a:pt x="975" y="243"/>
                  </a:lnTo>
                  <a:lnTo>
                    <a:pt x="973" y="243"/>
                  </a:lnTo>
                  <a:lnTo>
                    <a:pt x="973" y="243"/>
                  </a:lnTo>
                  <a:lnTo>
                    <a:pt x="973" y="243"/>
                  </a:lnTo>
                  <a:lnTo>
                    <a:pt x="973" y="246"/>
                  </a:lnTo>
                  <a:lnTo>
                    <a:pt x="975" y="246"/>
                  </a:lnTo>
                  <a:lnTo>
                    <a:pt x="975" y="246"/>
                  </a:lnTo>
                  <a:lnTo>
                    <a:pt x="975" y="246"/>
                  </a:lnTo>
                  <a:lnTo>
                    <a:pt x="975" y="246"/>
                  </a:lnTo>
                  <a:lnTo>
                    <a:pt x="975" y="246"/>
                  </a:lnTo>
                  <a:lnTo>
                    <a:pt x="978" y="246"/>
                  </a:lnTo>
                  <a:lnTo>
                    <a:pt x="978" y="248"/>
                  </a:lnTo>
                  <a:lnTo>
                    <a:pt x="978" y="248"/>
                  </a:lnTo>
                  <a:lnTo>
                    <a:pt x="978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48"/>
                  </a:lnTo>
                  <a:lnTo>
                    <a:pt x="980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80" y="250"/>
                  </a:lnTo>
                  <a:lnTo>
                    <a:pt x="980" y="250"/>
                  </a:lnTo>
                  <a:lnTo>
                    <a:pt x="980" y="250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78" y="252"/>
                  </a:lnTo>
                  <a:lnTo>
                    <a:pt x="978" y="252"/>
                  </a:lnTo>
                  <a:lnTo>
                    <a:pt x="978" y="252"/>
                  </a:lnTo>
                  <a:lnTo>
                    <a:pt x="978" y="252"/>
                  </a:lnTo>
                  <a:lnTo>
                    <a:pt x="978" y="252"/>
                  </a:lnTo>
                  <a:lnTo>
                    <a:pt x="978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2"/>
                  </a:lnTo>
                  <a:lnTo>
                    <a:pt x="980" y="255"/>
                  </a:lnTo>
                  <a:lnTo>
                    <a:pt x="980" y="252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80" y="255"/>
                  </a:lnTo>
                  <a:lnTo>
                    <a:pt x="980" y="255"/>
                  </a:lnTo>
                  <a:lnTo>
                    <a:pt x="980" y="255"/>
                  </a:lnTo>
                  <a:lnTo>
                    <a:pt x="980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5"/>
                  </a:lnTo>
                  <a:lnTo>
                    <a:pt x="978" y="257"/>
                  </a:lnTo>
                  <a:lnTo>
                    <a:pt x="978" y="257"/>
                  </a:lnTo>
                  <a:lnTo>
                    <a:pt x="978" y="257"/>
                  </a:lnTo>
                  <a:lnTo>
                    <a:pt x="978" y="257"/>
                  </a:lnTo>
                  <a:lnTo>
                    <a:pt x="975" y="257"/>
                  </a:lnTo>
                  <a:lnTo>
                    <a:pt x="975" y="257"/>
                  </a:lnTo>
                  <a:lnTo>
                    <a:pt x="975" y="257"/>
                  </a:lnTo>
                  <a:lnTo>
                    <a:pt x="975" y="257"/>
                  </a:lnTo>
                  <a:lnTo>
                    <a:pt x="975" y="257"/>
                  </a:lnTo>
                  <a:lnTo>
                    <a:pt x="975" y="257"/>
                  </a:lnTo>
                  <a:lnTo>
                    <a:pt x="973" y="257"/>
                  </a:lnTo>
                  <a:lnTo>
                    <a:pt x="975" y="257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59"/>
                  </a:lnTo>
                  <a:lnTo>
                    <a:pt x="973" y="261"/>
                  </a:lnTo>
                  <a:lnTo>
                    <a:pt x="973" y="261"/>
                  </a:lnTo>
                  <a:lnTo>
                    <a:pt x="971" y="261"/>
                  </a:lnTo>
                  <a:lnTo>
                    <a:pt x="971" y="261"/>
                  </a:lnTo>
                  <a:lnTo>
                    <a:pt x="971" y="261"/>
                  </a:lnTo>
                  <a:lnTo>
                    <a:pt x="971" y="261"/>
                  </a:lnTo>
                  <a:lnTo>
                    <a:pt x="971" y="261"/>
                  </a:lnTo>
                  <a:lnTo>
                    <a:pt x="971" y="261"/>
                  </a:lnTo>
                  <a:lnTo>
                    <a:pt x="971" y="261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1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4"/>
                  </a:lnTo>
                  <a:lnTo>
                    <a:pt x="973" y="266"/>
                  </a:lnTo>
                  <a:lnTo>
                    <a:pt x="973" y="266"/>
                  </a:lnTo>
                  <a:lnTo>
                    <a:pt x="973" y="266"/>
                  </a:lnTo>
                  <a:lnTo>
                    <a:pt x="973" y="266"/>
                  </a:lnTo>
                  <a:lnTo>
                    <a:pt x="973" y="266"/>
                  </a:lnTo>
                  <a:lnTo>
                    <a:pt x="973" y="266"/>
                  </a:lnTo>
                  <a:lnTo>
                    <a:pt x="975" y="266"/>
                  </a:lnTo>
                  <a:lnTo>
                    <a:pt x="975" y="266"/>
                  </a:lnTo>
                  <a:lnTo>
                    <a:pt x="975" y="266"/>
                  </a:lnTo>
                  <a:lnTo>
                    <a:pt x="975" y="266"/>
                  </a:lnTo>
                  <a:lnTo>
                    <a:pt x="975" y="266"/>
                  </a:lnTo>
                  <a:lnTo>
                    <a:pt x="975" y="264"/>
                  </a:lnTo>
                  <a:lnTo>
                    <a:pt x="975" y="264"/>
                  </a:lnTo>
                  <a:lnTo>
                    <a:pt x="975" y="264"/>
                  </a:lnTo>
                  <a:lnTo>
                    <a:pt x="975" y="264"/>
                  </a:lnTo>
                  <a:lnTo>
                    <a:pt x="978" y="264"/>
                  </a:lnTo>
                  <a:lnTo>
                    <a:pt x="978" y="264"/>
                  </a:lnTo>
                  <a:lnTo>
                    <a:pt x="978" y="264"/>
                  </a:lnTo>
                  <a:lnTo>
                    <a:pt x="978" y="264"/>
                  </a:lnTo>
                  <a:lnTo>
                    <a:pt x="980" y="264"/>
                  </a:lnTo>
                  <a:lnTo>
                    <a:pt x="980" y="264"/>
                  </a:lnTo>
                  <a:lnTo>
                    <a:pt x="980" y="264"/>
                  </a:lnTo>
                  <a:lnTo>
                    <a:pt x="980" y="261"/>
                  </a:lnTo>
                  <a:lnTo>
                    <a:pt x="980" y="261"/>
                  </a:lnTo>
                  <a:lnTo>
                    <a:pt x="980" y="261"/>
                  </a:lnTo>
                  <a:lnTo>
                    <a:pt x="980" y="261"/>
                  </a:lnTo>
                  <a:lnTo>
                    <a:pt x="980" y="261"/>
                  </a:lnTo>
                  <a:lnTo>
                    <a:pt x="980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2" y="261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2" y="259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4" y="259"/>
                  </a:lnTo>
                  <a:lnTo>
                    <a:pt x="984" y="257"/>
                  </a:lnTo>
                  <a:lnTo>
                    <a:pt x="984" y="257"/>
                  </a:lnTo>
                  <a:lnTo>
                    <a:pt x="984" y="257"/>
                  </a:lnTo>
                  <a:lnTo>
                    <a:pt x="984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9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7" y="257"/>
                  </a:lnTo>
                  <a:lnTo>
                    <a:pt x="989" y="257"/>
                  </a:lnTo>
                  <a:lnTo>
                    <a:pt x="989" y="257"/>
                  </a:lnTo>
                  <a:lnTo>
                    <a:pt x="989" y="257"/>
                  </a:lnTo>
                  <a:lnTo>
                    <a:pt x="989" y="257"/>
                  </a:lnTo>
                  <a:lnTo>
                    <a:pt x="989" y="257"/>
                  </a:lnTo>
                  <a:lnTo>
                    <a:pt x="989" y="257"/>
                  </a:lnTo>
                  <a:lnTo>
                    <a:pt x="989" y="257"/>
                  </a:lnTo>
                  <a:lnTo>
                    <a:pt x="989" y="255"/>
                  </a:lnTo>
                  <a:lnTo>
                    <a:pt x="989" y="255"/>
                  </a:lnTo>
                  <a:lnTo>
                    <a:pt x="989" y="255"/>
                  </a:lnTo>
                  <a:lnTo>
                    <a:pt x="989" y="255"/>
                  </a:lnTo>
                  <a:lnTo>
                    <a:pt x="989" y="255"/>
                  </a:lnTo>
                  <a:lnTo>
                    <a:pt x="991" y="255"/>
                  </a:lnTo>
                  <a:lnTo>
                    <a:pt x="991" y="255"/>
                  </a:lnTo>
                  <a:lnTo>
                    <a:pt x="991" y="255"/>
                  </a:lnTo>
                  <a:lnTo>
                    <a:pt x="991" y="255"/>
                  </a:lnTo>
                  <a:lnTo>
                    <a:pt x="991" y="255"/>
                  </a:lnTo>
                  <a:lnTo>
                    <a:pt x="991" y="255"/>
                  </a:lnTo>
                  <a:lnTo>
                    <a:pt x="991" y="255"/>
                  </a:lnTo>
                  <a:lnTo>
                    <a:pt x="991" y="252"/>
                  </a:lnTo>
                  <a:lnTo>
                    <a:pt x="991" y="252"/>
                  </a:lnTo>
                  <a:lnTo>
                    <a:pt x="991" y="252"/>
                  </a:lnTo>
                  <a:lnTo>
                    <a:pt x="991" y="252"/>
                  </a:lnTo>
                  <a:lnTo>
                    <a:pt x="991" y="252"/>
                  </a:lnTo>
                  <a:lnTo>
                    <a:pt x="991" y="252"/>
                  </a:lnTo>
                  <a:lnTo>
                    <a:pt x="991" y="250"/>
                  </a:lnTo>
                  <a:lnTo>
                    <a:pt x="993" y="250"/>
                  </a:lnTo>
                  <a:lnTo>
                    <a:pt x="993" y="250"/>
                  </a:lnTo>
                  <a:lnTo>
                    <a:pt x="993" y="250"/>
                  </a:lnTo>
                  <a:lnTo>
                    <a:pt x="996" y="250"/>
                  </a:lnTo>
                  <a:lnTo>
                    <a:pt x="998" y="248"/>
                  </a:lnTo>
                  <a:lnTo>
                    <a:pt x="1000" y="248"/>
                  </a:lnTo>
                  <a:lnTo>
                    <a:pt x="1000" y="248"/>
                  </a:lnTo>
                  <a:lnTo>
                    <a:pt x="1000" y="248"/>
                  </a:lnTo>
                  <a:lnTo>
                    <a:pt x="1000" y="246"/>
                  </a:lnTo>
                  <a:lnTo>
                    <a:pt x="1002" y="246"/>
                  </a:lnTo>
                  <a:lnTo>
                    <a:pt x="1002" y="246"/>
                  </a:lnTo>
                  <a:lnTo>
                    <a:pt x="1002" y="246"/>
                  </a:lnTo>
                  <a:lnTo>
                    <a:pt x="1002" y="246"/>
                  </a:lnTo>
                  <a:lnTo>
                    <a:pt x="1002" y="246"/>
                  </a:lnTo>
                  <a:lnTo>
                    <a:pt x="1005" y="246"/>
                  </a:lnTo>
                  <a:lnTo>
                    <a:pt x="1005" y="246"/>
                  </a:lnTo>
                  <a:lnTo>
                    <a:pt x="1007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6"/>
                  </a:lnTo>
                  <a:lnTo>
                    <a:pt x="1009" y="248"/>
                  </a:lnTo>
                  <a:lnTo>
                    <a:pt x="1009" y="248"/>
                  </a:lnTo>
                  <a:lnTo>
                    <a:pt x="1009" y="248"/>
                  </a:lnTo>
                  <a:lnTo>
                    <a:pt x="1011" y="250"/>
                  </a:lnTo>
                  <a:lnTo>
                    <a:pt x="1011" y="250"/>
                  </a:lnTo>
                  <a:lnTo>
                    <a:pt x="1014" y="250"/>
                  </a:lnTo>
                  <a:lnTo>
                    <a:pt x="1014" y="252"/>
                  </a:lnTo>
                  <a:lnTo>
                    <a:pt x="1016" y="255"/>
                  </a:lnTo>
                  <a:lnTo>
                    <a:pt x="1016" y="255"/>
                  </a:lnTo>
                  <a:lnTo>
                    <a:pt x="1016" y="257"/>
                  </a:lnTo>
                  <a:lnTo>
                    <a:pt x="1016" y="257"/>
                  </a:lnTo>
                  <a:lnTo>
                    <a:pt x="1016" y="257"/>
                  </a:lnTo>
                  <a:lnTo>
                    <a:pt x="1016" y="257"/>
                  </a:lnTo>
                  <a:lnTo>
                    <a:pt x="1016" y="257"/>
                  </a:lnTo>
                  <a:lnTo>
                    <a:pt x="1014" y="259"/>
                  </a:lnTo>
                  <a:lnTo>
                    <a:pt x="1014" y="259"/>
                  </a:lnTo>
                  <a:lnTo>
                    <a:pt x="1014" y="259"/>
                  </a:lnTo>
                  <a:lnTo>
                    <a:pt x="1014" y="259"/>
                  </a:lnTo>
                  <a:lnTo>
                    <a:pt x="1014" y="259"/>
                  </a:lnTo>
                  <a:lnTo>
                    <a:pt x="1014" y="259"/>
                  </a:lnTo>
                  <a:lnTo>
                    <a:pt x="1014" y="261"/>
                  </a:lnTo>
                  <a:lnTo>
                    <a:pt x="1014" y="261"/>
                  </a:lnTo>
                  <a:lnTo>
                    <a:pt x="1014" y="261"/>
                  </a:lnTo>
                  <a:lnTo>
                    <a:pt x="1014" y="261"/>
                  </a:lnTo>
                  <a:lnTo>
                    <a:pt x="1014" y="261"/>
                  </a:lnTo>
                  <a:lnTo>
                    <a:pt x="1014" y="261"/>
                  </a:lnTo>
                  <a:lnTo>
                    <a:pt x="1014" y="261"/>
                  </a:lnTo>
                  <a:lnTo>
                    <a:pt x="1014" y="264"/>
                  </a:lnTo>
                  <a:lnTo>
                    <a:pt x="1014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4"/>
                  </a:lnTo>
                  <a:lnTo>
                    <a:pt x="1011" y="266"/>
                  </a:lnTo>
                  <a:lnTo>
                    <a:pt x="1011" y="266"/>
                  </a:lnTo>
                  <a:lnTo>
                    <a:pt x="1011" y="266"/>
                  </a:lnTo>
                  <a:lnTo>
                    <a:pt x="1009" y="266"/>
                  </a:lnTo>
                  <a:lnTo>
                    <a:pt x="1009" y="266"/>
                  </a:lnTo>
                  <a:lnTo>
                    <a:pt x="1009" y="266"/>
                  </a:lnTo>
                  <a:lnTo>
                    <a:pt x="1009" y="266"/>
                  </a:lnTo>
                  <a:lnTo>
                    <a:pt x="1009" y="266"/>
                  </a:lnTo>
                  <a:lnTo>
                    <a:pt x="1007" y="266"/>
                  </a:lnTo>
                  <a:lnTo>
                    <a:pt x="1007" y="266"/>
                  </a:lnTo>
                  <a:lnTo>
                    <a:pt x="1007" y="266"/>
                  </a:lnTo>
                  <a:lnTo>
                    <a:pt x="1007" y="266"/>
                  </a:lnTo>
                  <a:lnTo>
                    <a:pt x="1007" y="266"/>
                  </a:lnTo>
                  <a:lnTo>
                    <a:pt x="1007" y="266"/>
                  </a:lnTo>
                  <a:lnTo>
                    <a:pt x="1007" y="266"/>
                  </a:lnTo>
                  <a:lnTo>
                    <a:pt x="1005" y="266"/>
                  </a:lnTo>
                  <a:lnTo>
                    <a:pt x="1005" y="266"/>
                  </a:lnTo>
                  <a:lnTo>
                    <a:pt x="1005" y="266"/>
                  </a:lnTo>
                  <a:lnTo>
                    <a:pt x="1005" y="266"/>
                  </a:lnTo>
                  <a:lnTo>
                    <a:pt x="1005" y="266"/>
                  </a:lnTo>
                  <a:lnTo>
                    <a:pt x="1005" y="266"/>
                  </a:lnTo>
                  <a:lnTo>
                    <a:pt x="1005" y="266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7" y="264"/>
                  </a:lnTo>
                  <a:lnTo>
                    <a:pt x="1005" y="264"/>
                  </a:lnTo>
                  <a:lnTo>
                    <a:pt x="1005" y="264"/>
                  </a:lnTo>
                  <a:lnTo>
                    <a:pt x="1005" y="264"/>
                  </a:lnTo>
                  <a:lnTo>
                    <a:pt x="1005" y="264"/>
                  </a:lnTo>
                  <a:lnTo>
                    <a:pt x="1002" y="264"/>
                  </a:lnTo>
                  <a:lnTo>
                    <a:pt x="1002" y="264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6"/>
                  </a:lnTo>
                  <a:lnTo>
                    <a:pt x="1002" y="268"/>
                  </a:lnTo>
                  <a:lnTo>
                    <a:pt x="1002" y="268"/>
                  </a:lnTo>
                  <a:lnTo>
                    <a:pt x="1002" y="268"/>
                  </a:lnTo>
                  <a:lnTo>
                    <a:pt x="1002" y="268"/>
                  </a:lnTo>
                  <a:lnTo>
                    <a:pt x="1000" y="268"/>
                  </a:lnTo>
                  <a:lnTo>
                    <a:pt x="1000" y="268"/>
                  </a:lnTo>
                  <a:lnTo>
                    <a:pt x="1000" y="268"/>
                  </a:lnTo>
                  <a:lnTo>
                    <a:pt x="1000" y="268"/>
                  </a:lnTo>
                  <a:lnTo>
                    <a:pt x="1000" y="270"/>
                  </a:lnTo>
                  <a:lnTo>
                    <a:pt x="1000" y="270"/>
                  </a:lnTo>
                  <a:lnTo>
                    <a:pt x="1000" y="270"/>
                  </a:lnTo>
                  <a:lnTo>
                    <a:pt x="1000" y="270"/>
                  </a:lnTo>
                  <a:lnTo>
                    <a:pt x="1000" y="270"/>
                  </a:lnTo>
                  <a:lnTo>
                    <a:pt x="1000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0"/>
                  </a:lnTo>
                  <a:lnTo>
                    <a:pt x="998" y="273"/>
                  </a:lnTo>
                  <a:lnTo>
                    <a:pt x="998" y="273"/>
                  </a:lnTo>
                  <a:lnTo>
                    <a:pt x="998" y="273"/>
                  </a:lnTo>
                  <a:lnTo>
                    <a:pt x="998" y="273"/>
                  </a:lnTo>
                  <a:lnTo>
                    <a:pt x="998" y="275"/>
                  </a:lnTo>
                  <a:lnTo>
                    <a:pt x="998" y="275"/>
                  </a:lnTo>
                  <a:lnTo>
                    <a:pt x="998" y="275"/>
                  </a:lnTo>
                  <a:lnTo>
                    <a:pt x="998" y="275"/>
                  </a:lnTo>
                  <a:lnTo>
                    <a:pt x="998" y="275"/>
                  </a:lnTo>
                  <a:lnTo>
                    <a:pt x="998" y="275"/>
                  </a:lnTo>
                  <a:lnTo>
                    <a:pt x="998" y="277"/>
                  </a:lnTo>
                  <a:lnTo>
                    <a:pt x="998" y="277"/>
                  </a:lnTo>
                  <a:lnTo>
                    <a:pt x="998" y="277"/>
                  </a:lnTo>
                  <a:lnTo>
                    <a:pt x="998" y="277"/>
                  </a:lnTo>
                  <a:lnTo>
                    <a:pt x="998" y="277"/>
                  </a:lnTo>
                  <a:lnTo>
                    <a:pt x="998" y="277"/>
                  </a:lnTo>
                  <a:lnTo>
                    <a:pt x="998" y="279"/>
                  </a:lnTo>
                  <a:lnTo>
                    <a:pt x="998" y="279"/>
                  </a:lnTo>
                  <a:lnTo>
                    <a:pt x="1000" y="279"/>
                  </a:lnTo>
                  <a:lnTo>
                    <a:pt x="1000" y="279"/>
                  </a:lnTo>
                  <a:lnTo>
                    <a:pt x="1000" y="279"/>
                  </a:lnTo>
                  <a:lnTo>
                    <a:pt x="1000" y="279"/>
                  </a:lnTo>
                  <a:lnTo>
                    <a:pt x="1000" y="279"/>
                  </a:lnTo>
                  <a:lnTo>
                    <a:pt x="1000" y="282"/>
                  </a:lnTo>
                  <a:lnTo>
                    <a:pt x="1000" y="282"/>
                  </a:lnTo>
                  <a:lnTo>
                    <a:pt x="1000" y="282"/>
                  </a:lnTo>
                  <a:lnTo>
                    <a:pt x="1000" y="282"/>
                  </a:lnTo>
                  <a:lnTo>
                    <a:pt x="1002" y="284"/>
                  </a:lnTo>
                  <a:lnTo>
                    <a:pt x="1002" y="284"/>
                  </a:lnTo>
                  <a:lnTo>
                    <a:pt x="1002" y="284"/>
                  </a:lnTo>
                  <a:lnTo>
                    <a:pt x="1002" y="284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2" y="286"/>
                  </a:lnTo>
                  <a:lnTo>
                    <a:pt x="1000" y="286"/>
                  </a:lnTo>
                  <a:lnTo>
                    <a:pt x="1000" y="286"/>
                  </a:lnTo>
                  <a:lnTo>
                    <a:pt x="1000" y="286"/>
                  </a:lnTo>
                  <a:lnTo>
                    <a:pt x="1000" y="286"/>
                  </a:lnTo>
                  <a:lnTo>
                    <a:pt x="1000" y="288"/>
                  </a:lnTo>
                  <a:lnTo>
                    <a:pt x="1000" y="288"/>
                  </a:lnTo>
                  <a:lnTo>
                    <a:pt x="1000" y="288"/>
                  </a:lnTo>
                  <a:lnTo>
                    <a:pt x="998" y="288"/>
                  </a:lnTo>
                  <a:lnTo>
                    <a:pt x="998" y="288"/>
                  </a:lnTo>
                  <a:lnTo>
                    <a:pt x="998" y="288"/>
                  </a:lnTo>
                  <a:lnTo>
                    <a:pt x="998" y="288"/>
                  </a:lnTo>
                  <a:lnTo>
                    <a:pt x="998" y="288"/>
                  </a:lnTo>
                  <a:lnTo>
                    <a:pt x="998" y="288"/>
                  </a:lnTo>
                  <a:lnTo>
                    <a:pt x="1000" y="288"/>
                  </a:lnTo>
                  <a:lnTo>
                    <a:pt x="1000" y="288"/>
                  </a:lnTo>
                  <a:lnTo>
                    <a:pt x="1000" y="288"/>
                  </a:lnTo>
                  <a:lnTo>
                    <a:pt x="1000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8"/>
                  </a:lnTo>
                  <a:lnTo>
                    <a:pt x="1002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5" y="286"/>
                  </a:lnTo>
                  <a:lnTo>
                    <a:pt x="1005" y="286"/>
                  </a:lnTo>
                  <a:lnTo>
                    <a:pt x="1005" y="288"/>
                  </a:lnTo>
                  <a:lnTo>
                    <a:pt x="1005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7" y="286"/>
                  </a:lnTo>
                  <a:lnTo>
                    <a:pt x="1009" y="286"/>
                  </a:lnTo>
                  <a:lnTo>
                    <a:pt x="1009" y="286"/>
                  </a:lnTo>
                  <a:lnTo>
                    <a:pt x="1009" y="286"/>
                  </a:lnTo>
                  <a:lnTo>
                    <a:pt x="1009" y="286"/>
                  </a:lnTo>
                  <a:lnTo>
                    <a:pt x="1009" y="286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09" y="284"/>
                  </a:lnTo>
                  <a:lnTo>
                    <a:pt x="1011" y="284"/>
                  </a:lnTo>
                  <a:lnTo>
                    <a:pt x="1011" y="284"/>
                  </a:lnTo>
                  <a:lnTo>
                    <a:pt x="1011" y="284"/>
                  </a:lnTo>
                  <a:lnTo>
                    <a:pt x="1011" y="284"/>
                  </a:lnTo>
                  <a:lnTo>
                    <a:pt x="1011" y="282"/>
                  </a:lnTo>
                  <a:lnTo>
                    <a:pt x="1014" y="282"/>
                  </a:lnTo>
                  <a:lnTo>
                    <a:pt x="1014" y="282"/>
                  </a:lnTo>
                  <a:lnTo>
                    <a:pt x="1014" y="282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6" y="282"/>
                  </a:lnTo>
                  <a:lnTo>
                    <a:pt x="1016" y="282"/>
                  </a:lnTo>
                  <a:lnTo>
                    <a:pt x="1016" y="282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6" y="284"/>
                  </a:lnTo>
                  <a:lnTo>
                    <a:pt x="1018" y="284"/>
                  </a:lnTo>
                  <a:lnTo>
                    <a:pt x="1018" y="284"/>
                  </a:lnTo>
                  <a:lnTo>
                    <a:pt x="1018" y="284"/>
                  </a:lnTo>
                  <a:lnTo>
                    <a:pt x="1018" y="282"/>
                  </a:lnTo>
                  <a:lnTo>
                    <a:pt x="1018" y="282"/>
                  </a:lnTo>
                  <a:lnTo>
                    <a:pt x="1018" y="282"/>
                  </a:lnTo>
                  <a:lnTo>
                    <a:pt x="1018" y="282"/>
                  </a:lnTo>
                  <a:lnTo>
                    <a:pt x="1018" y="282"/>
                  </a:lnTo>
                  <a:lnTo>
                    <a:pt x="1018" y="282"/>
                  </a:lnTo>
                  <a:lnTo>
                    <a:pt x="1020" y="282"/>
                  </a:lnTo>
                  <a:lnTo>
                    <a:pt x="1020" y="282"/>
                  </a:lnTo>
                  <a:lnTo>
                    <a:pt x="1020" y="282"/>
                  </a:lnTo>
                  <a:lnTo>
                    <a:pt x="1020" y="282"/>
                  </a:lnTo>
                  <a:lnTo>
                    <a:pt x="1020" y="282"/>
                  </a:lnTo>
                  <a:lnTo>
                    <a:pt x="1020" y="279"/>
                  </a:lnTo>
                  <a:lnTo>
                    <a:pt x="1020" y="279"/>
                  </a:lnTo>
                  <a:lnTo>
                    <a:pt x="1020" y="279"/>
                  </a:lnTo>
                  <a:lnTo>
                    <a:pt x="1020" y="279"/>
                  </a:lnTo>
                  <a:lnTo>
                    <a:pt x="1020" y="279"/>
                  </a:lnTo>
                  <a:lnTo>
                    <a:pt x="1020" y="279"/>
                  </a:lnTo>
                  <a:lnTo>
                    <a:pt x="1023" y="279"/>
                  </a:lnTo>
                  <a:lnTo>
                    <a:pt x="1023" y="279"/>
                  </a:lnTo>
                  <a:lnTo>
                    <a:pt x="1023" y="279"/>
                  </a:lnTo>
                  <a:lnTo>
                    <a:pt x="1023" y="277"/>
                  </a:lnTo>
                  <a:lnTo>
                    <a:pt x="1023" y="277"/>
                  </a:lnTo>
                  <a:lnTo>
                    <a:pt x="1023" y="277"/>
                  </a:lnTo>
                  <a:lnTo>
                    <a:pt x="1023" y="277"/>
                  </a:lnTo>
                  <a:lnTo>
                    <a:pt x="1023" y="277"/>
                  </a:lnTo>
                  <a:lnTo>
                    <a:pt x="1023" y="277"/>
                  </a:lnTo>
                  <a:lnTo>
                    <a:pt x="1023" y="277"/>
                  </a:lnTo>
                  <a:lnTo>
                    <a:pt x="1027" y="275"/>
                  </a:lnTo>
                  <a:lnTo>
                    <a:pt x="1027" y="273"/>
                  </a:lnTo>
                  <a:lnTo>
                    <a:pt x="1029" y="273"/>
                  </a:lnTo>
                  <a:lnTo>
                    <a:pt x="1029" y="273"/>
                  </a:lnTo>
                  <a:lnTo>
                    <a:pt x="1029" y="273"/>
                  </a:lnTo>
                  <a:lnTo>
                    <a:pt x="1032" y="273"/>
                  </a:lnTo>
                  <a:lnTo>
                    <a:pt x="1032" y="273"/>
                  </a:lnTo>
                  <a:lnTo>
                    <a:pt x="1032" y="273"/>
                  </a:lnTo>
                  <a:lnTo>
                    <a:pt x="1032" y="273"/>
                  </a:lnTo>
                  <a:lnTo>
                    <a:pt x="1032" y="273"/>
                  </a:lnTo>
                  <a:lnTo>
                    <a:pt x="1032" y="270"/>
                  </a:lnTo>
                  <a:lnTo>
                    <a:pt x="1032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4" y="270"/>
                  </a:lnTo>
                  <a:lnTo>
                    <a:pt x="1038" y="270"/>
                  </a:lnTo>
                  <a:lnTo>
                    <a:pt x="1038" y="270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38" y="268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1" y="266"/>
                  </a:lnTo>
                  <a:lnTo>
                    <a:pt x="1043" y="266"/>
                  </a:lnTo>
                  <a:lnTo>
                    <a:pt x="1043" y="266"/>
                  </a:lnTo>
                  <a:lnTo>
                    <a:pt x="1043" y="266"/>
                  </a:lnTo>
                  <a:lnTo>
                    <a:pt x="1043" y="264"/>
                  </a:lnTo>
                  <a:lnTo>
                    <a:pt x="1043" y="264"/>
                  </a:lnTo>
                  <a:lnTo>
                    <a:pt x="1043" y="264"/>
                  </a:lnTo>
                  <a:lnTo>
                    <a:pt x="1043" y="264"/>
                  </a:lnTo>
                  <a:lnTo>
                    <a:pt x="1043" y="264"/>
                  </a:lnTo>
                  <a:lnTo>
                    <a:pt x="1043" y="264"/>
                  </a:lnTo>
                  <a:lnTo>
                    <a:pt x="1045" y="264"/>
                  </a:lnTo>
                  <a:lnTo>
                    <a:pt x="1045" y="261"/>
                  </a:lnTo>
                  <a:lnTo>
                    <a:pt x="1045" y="261"/>
                  </a:lnTo>
                  <a:lnTo>
                    <a:pt x="1045" y="261"/>
                  </a:lnTo>
                  <a:lnTo>
                    <a:pt x="1045" y="261"/>
                  </a:lnTo>
                  <a:lnTo>
                    <a:pt x="1045" y="261"/>
                  </a:lnTo>
                  <a:lnTo>
                    <a:pt x="1047" y="261"/>
                  </a:lnTo>
                  <a:lnTo>
                    <a:pt x="1047" y="261"/>
                  </a:lnTo>
                  <a:lnTo>
                    <a:pt x="1047" y="261"/>
                  </a:lnTo>
                  <a:lnTo>
                    <a:pt x="1047" y="261"/>
                  </a:lnTo>
                  <a:lnTo>
                    <a:pt x="1045" y="261"/>
                  </a:lnTo>
                  <a:lnTo>
                    <a:pt x="1045" y="261"/>
                  </a:lnTo>
                  <a:lnTo>
                    <a:pt x="1047" y="261"/>
                  </a:lnTo>
                  <a:lnTo>
                    <a:pt x="1047" y="261"/>
                  </a:lnTo>
                  <a:lnTo>
                    <a:pt x="1047" y="261"/>
                  </a:lnTo>
                  <a:lnTo>
                    <a:pt x="1047" y="261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9"/>
                  </a:lnTo>
                  <a:lnTo>
                    <a:pt x="1047" y="257"/>
                  </a:lnTo>
                  <a:lnTo>
                    <a:pt x="1050" y="257"/>
                  </a:lnTo>
                  <a:lnTo>
                    <a:pt x="1050" y="257"/>
                  </a:lnTo>
                  <a:lnTo>
                    <a:pt x="1050" y="257"/>
                  </a:lnTo>
                  <a:lnTo>
                    <a:pt x="1050" y="257"/>
                  </a:lnTo>
                  <a:lnTo>
                    <a:pt x="1050" y="257"/>
                  </a:lnTo>
                  <a:lnTo>
                    <a:pt x="1050" y="257"/>
                  </a:lnTo>
                  <a:lnTo>
                    <a:pt x="1050" y="257"/>
                  </a:lnTo>
                  <a:lnTo>
                    <a:pt x="1052" y="257"/>
                  </a:lnTo>
                  <a:lnTo>
                    <a:pt x="1052" y="255"/>
                  </a:lnTo>
                  <a:lnTo>
                    <a:pt x="1052" y="255"/>
                  </a:lnTo>
                  <a:lnTo>
                    <a:pt x="1052" y="257"/>
                  </a:lnTo>
                  <a:lnTo>
                    <a:pt x="1054" y="257"/>
                  </a:lnTo>
                  <a:lnTo>
                    <a:pt x="1054" y="255"/>
                  </a:lnTo>
                  <a:lnTo>
                    <a:pt x="1054" y="255"/>
                  </a:lnTo>
                  <a:lnTo>
                    <a:pt x="1054" y="255"/>
                  </a:lnTo>
                  <a:lnTo>
                    <a:pt x="1054" y="255"/>
                  </a:lnTo>
                  <a:lnTo>
                    <a:pt x="1056" y="255"/>
                  </a:lnTo>
                  <a:lnTo>
                    <a:pt x="1056" y="255"/>
                  </a:lnTo>
                  <a:lnTo>
                    <a:pt x="1056" y="255"/>
                  </a:lnTo>
                  <a:lnTo>
                    <a:pt x="1056" y="255"/>
                  </a:lnTo>
                  <a:lnTo>
                    <a:pt x="1056" y="255"/>
                  </a:lnTo>
                  <a:lnTo>
                    <a:pt x="1056" y="255"/>
                  </a:lnTo>
                  <a:lnTo>
                    <a:pt x="1059" y="257"/>
                  </a:lnTo>
                  <a:lnTo>
                    <a:pt x="1059" y="257"/>
                  </a:lnTo>
                  <a:lnTo>
                    <a:pt x="1059" y="255"/>
                  </a:lnTo>
                  <a:lnTo>
                    <a:pt x="1059" y="255"/>
                  </a:lnTo>
                  <a:lnTo>
                    <a:pt x="1059" y="255"/>
                  </a:lnTo>
                  <a:lnTo>
                    <a:pt x="1059" y="255"/>
                  </a:lnTo>
                  <a:lnTo>
                    <a:pt x="1059" y="255"/>
                  </a:lnTo>
                  <a:lnTo>
                    <a:pt x="1063" y="255"/>
                  </a:lnTo>
                  <a:lnTo>
                    <a:pt x="1063" y="255"/>
                  </a:lnTo>
                  <a:lnTo>
                    <a:pt x="1063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5" y="255"/>
                  </a:lnTo>
                  <a:lnTo>
                    <a:pt x="1063" y="255"/>
                  </a:lnTo>
                  <a:lnTo>
                    <a:pt x="1063" y="255"/>
                  </a:lnTo>
                  <a:lnTo>
                    <a:pt x="1063" y="255"/>
                  </a:lnTo>
                  <a:lnTo>
                    <a:pt x="1063" y="255"/>
                  </a:lnTo>
                  <a:lnTo>
                    <a:pt x="1061" y="255"/>
                  </a:lnTo>
                  <a:lnTo>
                    <a:pt x="1061" y="252"/>
                  </a:lnTo>
                  <a:lnTo>
                    <a:pt x="1061" y="252"/>
                  </a:lnTo>
                  <a:lnTo>
                    <a:pt x="1061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2"/>
                  </a:lnTo>
                  <a:lnTo>
                    <a:pt x="1063" y="250"/>
                  </a:lnTo>
                  <a:lnTo>
                    <a:pt x="1063" y="250"/>
                  </a:lnTo>
                  <a:lnTo>
                    <a:pt x="1065" y="252"/>
                  </a:lnTo>
                  <a:lnTo>
                    <a:pt x="1065" y="252"/>
                  </a:lnTo>
                  <a:lnTo>
                    <a:pt x="1065" y="252"/>
                  </a:lnTo>
                  <a:lnTo>
                    <a:pt x="1065" y="252"/>
                  </a:lnTo>
                  <a:lnTo>
                    <a:pt x="1068" y="252"/>
                  </a:lnTo>
                  <a:lnTo>
                    <a:pt x="1068" y="252"/>
                  </a:lnTo>
                  <a:lnTo>
                    <a:pt x="1068" y="252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5" y="250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68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2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50"/>
                  </a:lnTo>
                  <a:lnTo>
                    <a:pt x="1070" y="248"/>
                  </a:lnTo>
                  <a:lnTo>
                    <a:pt x="1070" y="248"/>
                  </a:lnTo>
                  <a:lnTo>
                    <a:pt x="1070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5" y="248"/>
                  </a:lnTo>
                  <a:lnTo>
                    <a:pt x="1065" y="248"/>
                  </a:lnTo>
                  <a:lnTo>
                    <a:pt x="1065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8"/>
                  </a:lnTo>
                  <a:lnTo>
                    <a:pt x="1068" y="246"/>
                  </a:lnTo>
                  <a:lnTo>
                    <a:pt x="1065" y="248"/>
                  </a:lnTo>
                  <a:lnTo>
                    <a:pt x="1065" y="248"/>
                  </a:lnTo>
                  <a:lnTo>
                    <a:pt x="1065" y="248"/>
                  </a:lnTo>
                  <a:lnTo>
                    <a:pt x="1065" y="248"/>
                  </a:lnTo>
                  <a:lnTo>
                    <a:pt x="1065" y="248"/>
                  </a:lnTo>
                  <a:lnTo>
                    <a:pt x="1063" y="248"/>
                  </a:lnTo>
                  <a:lnTo>
                    <a:pt x="1063" y="248"/>
                  </a:lnTo>
                  <a:lnTo>
                    <a:pt x="1063" y="248"/>
                  </a:lnTo>
                  <a:lnTo>
                    <a:pt x="1063" y="248"/>
                  </a:lnTo>
                  <a:lnTo>
                    <a:pt x="1063" y="248"/>
                  </a:lnTo>
                  <a:lnTo>
                    <a:pt x="1065" y="248"/>
                  </a:lnTo>
                  <a:lnTo>
                    <a:pt x="1065" y="246"/>
                  </a:lnTo>
                  <a:lnTo>
                    <a:pt x="1065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6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5" y="243"/>
                  </a:lnTo>
                  <a:lnTo>
                    <a:pt x="1065" y="243"/>
                  </a:lnTo>
                  <a:lnTo>
                    <a:pt x="1065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3"/>
                  </a:lnTo>
                  <a:lnTo>
                    <a:pt x="1063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8" y="241"/>
                  </a:lnTo>
                  <a:lnTo>
                    <a:pt x="1068" y="241"/>
                  </a:lnTo>
                  <a:lnTo>
                    <a:pt x="1068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3" y="241"/>
                  </a:lnTo>
                  <a:lnTo>
                    <a:pt x="1065" y="241"/>
                  </a:lnTo>
                  <a:lnTo>
                    <a:pt x="1065" y="241"/>
                  </a:lnTo>
                  <a:lnTo>
                    <a:pt x="1065" y="239"/>
                  </a:lnTo>
                  <a:lnTo>
                    <a:pt x="1065" y="239"/>
                  </a:lnTo>
                  <a:lnTo>
                    <a:pt x="1065" y="239"/>
                  </a:lnTo>
                  <a:lnTo>
                    <a:pt x="1068" y="239"/>
                  </a:lnTo>
                  <a:lnTo>
                    <a:pt x="1068" y="239"/>
                  </a:lnTo>
                  <a:lnTo>
                    <a:pt x="1068" y="239"/>
                  </a:lnTo>
                  <a:lnTo>
                    <a:pt x="1068" y="239"/>
                  </a:lnTo>
                  <a:lnTo>
                    <a:pt x="1068" y="237"/>
                  </a:lnTo>
                  <a:lnTo>
                    <a:pt x="1068" y="237"/>
                  </a:lnTo>
                  <a:lnTo>
                    <a:pt x="1068" y="237"/>
                  </a:lnTo>
                  <a:lnTo>
                    <a:pt x="1070" y="237"/>
                  </a:lnTo>
                  <a:lnTo>
                    <a:pt x="1070" y="237"/>
                  </a:lnTo>
                  <a:lnTo>
                    <a:pt x="1070" y="237"/>
                  </a:lnTo>
                  <a:lnTo>
                    <a:pt x="1070" y="234"/>
                  </a:lnTo>
                  <a:lnTo>
                    <a:pt x="1070" y="234"/>
                  </a:lnTo>
                  <a:lnTo>
                    <a:pt x="1070" y="234"/>
                  </a:lnTo>
                  <a:lnTo>
                    <a:pt x="1070" y="234"/>
                  </a:lnTo>
                  <a:lnTo>
                    <a:pt x="1072" y="234"/>
                  </a:lnTo>
                  <a:lnTo>
                    <a:pt x="1070" y="234"/>
                  </a:lnTo>
                  <a:lnTo>
                    <a:pt x="1070" y="234"/>
                  </a:lnTo>
                  <a:lnTo>
                    <a:pt x="1072" y="234"/>
                  </a:lnTo>
                  <a:lnTo>
                    <a:pt x="1072" y="234"/>
                  </a:lnTo>
                  <a:lnTo>
                    <a:pt x="1072" y="234"/>
                  </a:lnTo>
                  <a:lnTo>
                    <a:pt x="1072" y="234"/>
                  </a:lnTo>
                  <a:lnTo>
                    <a:pt x="1072" y="234"/>
                  </a:lnTo>
                  <a:lnTo>
                    <a:pt x="1072" y="234"/>
                  </a:lnTo>
                  <a:lnTo>
                    <a:pt x="1072" y="234"/>
                  </a:lnTo>
                  <a:lnTo>
                    <a:pt x="1070" y="234"/>
                  </a:lnTo>
                  <a:lnTo>
                    <a:pt x="1070" y="234"/>
                  </a:lnTo>
                  <a:lnTo>
                    <a:pt x="1070" y="232"/>
                  </a:lnTo>
                  <a:lnTo>
                    <a:pt x="1072" y="234"/>
                  </a:lnTo>
                  <a:lnTo>
                    <a:pt x="1074" y="234"/>
                  </a:lnTo>
                  <a:lnTo>
                    <a:pt x="1074" y="234"/>
                  </a:lnTo>
                  <a:lnTo>
                    <a:pt x="1077" y="234"/>
                  </a:lnTo>
                  <a:lnTo>
                    <a:pt x="1077" y="234"/>
                  </a:lnTo>
                  <a:lnTo>
                    <a:pt x="1077" y="234"/>
                  </a:lnTo>
                  <a:lnTo>
                    <a:pt x="1077" y="234"/>
                  </a:lnTo>
                  <a:lnTo>
                    <a:pt x="1079" y="234"/>
                  </a:lnTo>
                  <a:lnTo>
                    <a:pt x="1079" y="234"/>
                  </a:lnTo>
                  <a:lnTo>
                    <a:pt x="1081" y="234"/>
                  </a:lnTo>
                  <a:lnTo>
                    <a:pt x="1081" y="234"/>
                  </a:lnTo>
                  <a:lnTo>
                    <a:pt x="1079" y="234"/>
                  </a:lnTo>
                  <a:lnTo>
                    <a:pt x="1081" y="232"/>
                  </a:lnTo>
                  <a:lnTo>
                    <a:pt x="1081" y="234"/>
                  </a:lnTo>
                  <a:lnTo>
                    <a:pt x="1081" y="234"/>
                  </a:lnTo>
                  <a:lnTo>
                    <a:pt x="1083" y="232"/>
                  </a:lnTo>
                  <a:lnTo>
                    <a:pt x="1088" y="232"/>
                  </a:lnTo>
                  <a:lnTo>
                    <a:pt x="1088" y="232"/>
                  </a:lnTo>
                  <a:lnTo>
                    <a:pt x="1088" y="234"/>
                  </a:lnTo>
                  <a:lnTo>
                    <a:pt x="1088" y="234"/>
                  </a:lnTo>
                  <a:lnTo>
                    <a:pt x="1088" y="234"/>
                  </a:lnTo>
                  <a:lnTo>
                    <a:pt x="1088" y="234"/>
                  </a:lnTo>
                  <a:lnTo>
                    <a:pt x="1090" y="234"/>
                  </a:lnTo>
                  <a:lnTo>
                    <a:pt x="1090" y="234"/>
                  </a:lnTo>
                  <a:lnTo>
                    <a:pt x="1092" y="234"/>
                  </a:lnTo>
                  <a:lnTo>
                    <a:pt x="1095" y="237"/>
                  </a:lnTo>
                  <a:lnTo>
                    <a:pt x="1095" y="237"/>
                  </a:lnTo>
                  <a:lnTo>
                    <a:pt x="1095" y="237"/>
                  </a:lnTo>
                  <a:lnTo>
                    <a:pt x="1097" y="237"/>
                  </a:lnTo>
                  <a:lnTo>
                    <a:pt x="1099" y="237"/>
                  </a:lnTo>
                  <a:lnTo>
                    <a:pt x="1099" y="237"/>
                  </a:lnTo>
                  <a:lnTo>
                    <a:pt x="1101" y="237"/>
                  </a:lnTo>
                  <a:lnTo>
                    <a:pt x="1101" y="237"/>
                  </a:lnTo>
                  <a:lnTo>
                    <a:pt x="1101" y="237"/>
                  </a:lnTo>
                  <a:lnTo>
                    <a:pt x="1104" y="237"/>
                  </a:lnTo>
                  <a:lnTo>
                    <a:pt x="1106" y="237"/>
                  </a:lnTo>
                  <a:lnTo>
                    <a:pt x="1108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3" y="237"/>
                  </a:lnTo>
                  <a:lnTo>
                    <a:pt x="1113" y="237"/>
                  </a:lnTo>
                  <a:lnTo>
                    <a:pt x="1113" y="237"/>
                  </a:lnTo>
                  <a:lnTo>
                    <a:pt x="1113" y="237"/>
                  </a:lnTo>
                  <a:lnTo>
                    <a:pt x="1113" y="237"/>
                  </a:lnTo>
                  <a:lnTo>
                    <a:pt x="1115" y="237"/>
                  </a:lnTo>
                  <a:lnTo>
                    <a:pt x="1117" y="237"/>
                  </a:lnTo>
                  <a:lnTo>
                    <a:pt x="1115" y="239"/>
                  </a:lnTo>
                  <a:lnTo>
                    <a:pt x="1115" y="239"/>
                  </a:lnTo>
                  <a:lnTo>
                    <a:pt x="1113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3" y="237"/>
                  </a:lnTo>
                  <a:lnTo>
                    <a:pt x="1110" y="237"/>
                  </a:lnTo>
                  <a:lnTo>
                    <a:pt x="1110" y="237"/>
                  </a:lnTo>
                  <a:lnTo>
                    <a:pt x="1110" y="239"/>
                  </a:lnTo>
                  <a:lnTo>
                    <a:pt x="1113" y="239"/>
                  </a:lnTo>
                  <a:lnTo>
                    <a:pt x="1110" y="239"/>
                  </a:lnTo>
                  <a:lnTo>
                    <a:pt x="1108" y="239"/>
                  </a:lnTo>
                  <a:lnTo>
                    <a:pt x="1110" y="239"/>
                  </a:lnTo>
                  <a:lnTo>
                    <a:pt x="1110" y="239"/>
                  </a:lnTo>
                  <a:lnTo>
                    <a:pt x="1110" y="239"/>
                  </a:lnTo>
                  <a:lnTo>
                    <a:pt x="1110" y="241"/>
                  </a:lnTo>
                  <a:lnTo>
                    <a:pt x="1110" y="241"/>
                  </a:lnTo>
                  <a:lnTo>
                    <a:pt x="1101" y="239"/>
                  </a:lnTo>
                  <a:lnTo>
                    <a:pt x="1099" y="239"/>
                  </a:lnTo>
                  <a:lnTo>
                    <a:pt x="1099" y="239"/>
                  </a:lnTo>
                  <a:lnTo>
                    <a:pt x="1099" y="239"/>
                  </a:lnTo>
                  <a:lnTo>
                    <a:pt x="1099" y="239"/>
                  </a:lnTo>
                  <a:lnTo>
                    <a:pt x="1101" y="239"/>
                  </a:lnTo>
                  <a:lnTo>
                    <a:pt x="1113" y="241"/>
                  </a:lnTo>
                  <a:lnTo>
                    <a:pt x="1113" y="241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0" y="241"/>
                  </a:lnTo>
                  <a:lnTo>
                    <a:pt x="1110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3"/>
                  </a:lnTo>
                  <a:lnTo>
                    <a:pt x="1113" y="246"/>
                  </a:lnTo>
                  <a:lnTo>
                    <a:pt x="1113" y="246"/>
                  </a:lnTo>
                  <a:lnTo>
                    <a:pt x="1110" y="246"/>
                  </a:lnTo>
                  <a:lnTo>
                    <a:pt x="1110" y="246"/>
                  </a:lnTo>
                  <a:lnTo>
                    <a:pt x="1110" y="246"/>
                  </a:lnTo>
                  <a:lnTo>
                    <a:pt x="1110" y="246"/>
                  </a:lnTo>
                  <a:lnTo>
                    <a:pt x="1115" y="246"/>
                  </a:lnTo>
                  <a:lnTo>
                    <a:pt x="1115" y="246"/>
                  </a:lnTo>
                  <a:lnTo>
                    <a:pt x="1115" y="246"/>
                  </a:lnTo>
                  <a:lnTo>
                    <a:pt x="1115" y="246"/>
                  </a:lnTo>
                  <a:lnTo>
                    <a:pt x="1115" y="246"/>
                  </a:lnTo>
                  <a:lnTo>
                    <a:pt x="1119" y="246"/>
                  </a:lnTo>
                  <a:lnTo>
                    <a:pt x="1119" y="246"/>
                  </a:lnTo>
                  <a:lnTo>
                    <a:pt x="1121" y="246"/>
                  </a:lnTo>
                  <a:lnTo>
                    <a:pt x="1121" y="246"/>
                  </a:lnTo>
                  <a:lnTo>
                    <a:pt x="1124" y="246"/>
                  </a:lnTo>
                  <a:lnTo>
                    <a:pt x="1124" y="246"/>
                  </a:lnTo>
                  <a:lnTo>
                    <a:pt x="1124" y="246"/>
                  </a:lnTo>
                  <a:lnTo>
                    <a:pt x="1124" y="246"/>
                  </a:lnTo>
                  <a:lnTo>
                    <a:pt x="1124" y="246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4" y="248"/>
                  </a:lnTo>
                  <a:lnTo>
                    <a:pt x="1121" y="248"/>
                  </a:lnTo>
                  <a:lnTo>
                    <a:pt x="1121" y="248"/>
                  </a:lnTo>
                  <a:lnTo>
                    <a:pt x="1121" y="248"/>
                  </a:lnTo>
                  <a:lnTo>
                    <a:pt x="1119" y="250"/>
                  </a:lnTo>
                  <a:lnTo>
                    <a:pt x="1119" y="250"/>
                  </a:lnTo>
                  <a:lnTo>
                    <a:pt x="1117" y="250"/>
                  </a:lnTo>
                  <a:lnTo>
                    <a:pt x="1117" y="250"/>
                  </a:lnTo>
                  <a:lnTo>
                    <a:pt x="1117" y="250"/>
                  </a:lnTo>
                  <a:lnTo>
                    <a:pt x="1117" y="250"/>
                  </a:lnTo>
                  <a:lnTo>
                    <a:pt x="1117" y="250"/>
                  </a:lnTo>
                  <a:lnTo>
                    <a:pt x="1117" y="250"/>
                  </a:lnTo>
                  <a:lnTo>
                    <a:pt x="1115" y="250"/>
                  </a:lnTo>
                  <a:lnTo>
                    <a:pt x="1115" y="250"/>
                  </a:lnTo>
                  <a:lnTo>
                    <a:pt x="1115" y="250"/>
                  </a:lnTo>
                  <a:lnTo>
                    <a:pt x="1115" y="250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3" y="252"/>
                  </a:lnTo>
                  <a:lnTo>
                    <a:pt x="1110" y="252"/>
                  </a:lnTo>
                  <a:lnTo>
                    <a:pt x="1108" y="252"/>
                  </a:lnTo>
                  <a:lnTo>
                    <a:pt x="1113" y="252"/>
                  </a:lnTo>
                  <a:lnTo>
                    <a:pt x="1113" y="252"/>
                  </a:lnTo>
                  <a:lnTo>
                    <a:pt x="1113" y="252"/>
                  </a:lnTo>
                  <a:lnTo>
                    <a:pt x="1113" y="252"/>
                  </a:lnTo>
                  <a:lnTo>
                    <a:pt x="1113" y="252"/>
                  </a:lnTo>
                  <a:lnTo>
                    <a:pt x="1113" y="252"/>
                  </a:lnTo>
                  <a:lnTo>
                    <a:pt x="1113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2"/>
                  </a:lnTo>
                  <a:lnTo>
                    <a:pt x="1115" y="255"/>
                  </a:lnTo>
                  <a:lnTo>
                    <a:pt x="1115" y="255"/>
                  </a:lnTo>
                  <a:lnTo>
                    <a:pt x="1115" y="255"/>
                  </a:lnTo>
                  <a:lnTo>
                    <a:pt x="1117" y="255"/>
                  </a:lnTo>
                  <a:lnTo>
                    <a:pt x="1117" y="252"/>
                  </a:lnTo>
                  <a:lnTo>
                    <a:pt x="1117" y="252"/>
                  </a:lnTo>
                  <a:lnTo>
                    <a:pt x="1117" y="252"/>
                  </a:lnTo>
                  <a:lnTo>
                    <a:pt x="1117" y="252"/>
                  </a:lnTo>
                  <a:lnTo>
                    <a:pt x="1117" y="252"/>
                  </a:lnTo>
                  <a:lnTo>
                    <a:pt x="1119" y="252"/>
                  </a:lnTo>
                  <a:lnTo>
                    <a:pt x="1119" y="252"/>
                  </a:lnTo>
                  <a:lnTo>
                    <a:pt x="1119" y="252"/>
                  </a:lnTo>
                  <a:lnTo>
                    <a:pt x="1119" y="252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5"/>
                  </a:lnTo>
                  <a:lnTo>
                    <a:pt x="1119" y="257"/>
                  </a:lnTo>
                  <a:lnTo>
                    <a:pt x="1117" y="257"/>
                  </a:lnTo>
                  <a:lnTo>
                    <a:pt x="1117" y="257"/>
                  </a:lnTo>
                  <a:lnTo>
                    <a:pt x="1117" y="257"/>
                  </a:lnTo>
                  <a:lnTo>
                    <a:pt x="1117" y="257"/>
                  </a:lnTo>
                  <a:lnTo>
                    <a:pt x="1117" y="257"/>
                  </a:lnTo>
                  <a:lnTo>
                    <a:pt x="1117" y="257"/>
                  </a:lnTo>
                  <a:lnTo>
                    <a:pt x="1115" y="257"/>
                  </a:lnTo>
                  <a:lnTo>
                    <a:pt x="1115" y="259"/>
                  </a:lnTo>
                  <a:lnTo>
                    <a:pt x="1115" y="259"/>
                  </a:lnTo>
                  <a:lnTo>
                    <a:pt x="1115" y="259"/>
                  </a:lnTo>
                  <a:lnTo>
                    <a:pt x="1113" y="259"/>
                  </a:lnTo>
                  <a:lnTo>
                    <a:pt x="1110" y="259"/>
                  </a:lnTo>
                  <a:lnTo>
                    <a:pt x="1110" y="259"/>
                  </a:lnTo>
                  <a:lnTo>
                    <a:pt x="1108" y="259"/>
                  </a:lnTo>
                  <a:lnTo>
                    <a:pt x="1108" y="259"/>
                  </a:lnTo>
                  <a:lnTo>
                    <a:pt x="1108" y="259"/>
                  </a:lnTo>
                  <a:lnTo>
                    <a:pt x="1108" y="259"/>
                  </a:lnTo>
                  <a:lnTo>
                    <a:pt x="1108" y="261"/>
                  </a:lnTo>
                  <a:lnTo>
                    <a:pt x="1106" y="261"/>
                  </a:lnTo>
                  <a:lnTo>
                    <a:pt x="1106" y="261"/>
                  </a:lnTo>
                  <a:lnTo>
                    <a:pt x="1106" y="261"/>
                  </a:lnTo>
                  <a:lnTo>
                    <a:pt x="1106" y="261"/>
                  </a:lnTo>
                  <a:lnTo>
                    <a:pt x="1104" y="261"/>
                  </a:lnTo>
                  <a:lnTo>
                    <a:pt x="1104" y="261"/>
                  </a:lnTo>
                  <a:lnTo>
                    <a:pt x="1104" y="261"/>
                  </a:lnTo>
                  <a:lnTo>
                    <a:pt x="1104" y="261"/>
                  </a:lnTo>
                  <a:lnTo>
                    <a:pt x="1104" y="261"/>
                  </a:lnTo>
                  <a:lnTo>
                    <a:pt x="1104" y="261"/>
                  </a:lnTo>
                  <a:lnTo>
                    <a:pt x="1104" y="261"/>
                  </a:lnTo>
                  <a:lnTo>
                    <a:pt x="1101" y="259"/>
                  </a:lnTo>
                  <a:lnTo>
                    <a:pt x="1101" y="259"/>
                  </a:lnTo>
                  <a:lnTo>
                    <a:pt x="1101" y="259"/>
                  </a:lnTo>
                  <a:lnTo>
                    <a:pt x="1101" y="259"/>
                  </a:lnTo>
                  <a:lnTo>
                    <a:pt x="1101" y="259"/>
                  </a:lnTo>
                  <a:lnTo>
                    <a:pt x="1101" y="261"/>
                  </a:lnTo>
                  <a:lnTo>
                    <a:pt x="1101" y="261"/>
                  </a:lnTo>
                  <a:lnTo>
                    <a:pt x="1101" y="261"/>
                  </a:lnTo>
                  <a:lnTo>
                    <a:pt x="1101" y="261"/>
                  </a:lnTo>
                  <a:lnTo>
                    <a:pt x="1099" y="261"/>
                  </a:lnTo>
                  <a:lnTo>
                    <a:pt x="1099" y="261"/>
                  </a:lnTo>
                  <a:lnTo>
                    <a:pt x="1097" y="261"/>
                  </a:lnTo>
                  <a:lnTo>
                    <a:pt x="1097" y="261"/>
                  </a:lnTo>
                  <a:lnTo>
                    <a:pt x="1095" y="259"/>
                  </a:lnTo>
                  <a:lnTo>
                    <a:pt x="1095" y="259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7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2" y="261"/>
                  </a:lnTo>
                  <a:lnTo>
                    <a:pt x="1092" y="261"/>
                  </a:lnTo>
                  <a:lnTo>
                    <a:pt x="1092" y="261"/>
                  </a:lnTo>
                  <a:lnTo>
                    <a:pt x="1092" y="261"/>
                  </a:lnTo>
                  <a:lnTo>
                    <a:pt x="1092" y="261"/>
                  </a:lnTo>
                  <a:lnTo>
                    <a:pt x="1092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1"/>
                  </a:lnTo>
                  <a:lnTo>
                    <a:pt x="1095" y="264"/>
                  </a:lnTo>
                  <a:lnTo>
                    <a:pt x="1095" y="264"/>
                  </a:lnTo>
                  <a:lnTo>
                    <a:pt x="1097" y="264"/>
                  </a:lnTo>
                  <a:lnTo>
                    <a:pt x="1097" y="264"/>
                  </a:lnTo>
                  <a:lnTo>
                    <a:pt x="1095" y="264"/>
                  </a:lnTo>
                  <a:lnTo>
                    <a:pt x="1095" y="264"/>
                  </a:lnTo>
                  <a:lnTo>
                    <a:pt x="1095" y="264"/>
                  </a:lnTo>
                  <a:lnTo>
                    <a:pt x="1095" y="264"/>
                  </a:lnTo>
                  <a:lnTo>
                    <a:pt x="1095" y="266"/>
                  </a:lnTo>
                  <a:lnTo>
                    <a:pt x="1095" y="266"/>
                  </a:lnTo>
                  <a:lnTo>
                    <a:pt x="1095" y="266"/>
                  </a:lnTo>
                  <a:lnTo>
                    <a:pt x="1097" y="264"/>
                  </a:lnTo>
                  <a:lnTo>
                    <a:pt x="1097" y="264"/>
                  </a:lnTo>
                  <a:lnTo>
                    <a:pt x="1097" y="266"/>
                  </a:lnTo>
                  <a:lnTo>
                    <a:pt x="1097" y="266"/>
                  </a:lnTo>
                  <a:lnTo>
                    <a:pt x="1095" y="266"/>
                  </a:lnTo>
                  <a:lnTo>
                    <a:pt x="1095" y="268"/>
                  </a:lnTo>
                  <a:lnTo>
                    <a:pt x="1095" y="268"/>
                  </a:lnTo>
                  <a:lnTo>
                    <a:pt x="1095" y="268"/>
                  </a:lnTo>
                  <a:lnTo>
                    <a:pt x="1095" y="268"/>
                  </a:lnTo>
                  <a:lnTo>
                    <a:pt x="1095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6"/>
                  </a:lnTo>
                  <a:lnTo>
                    <a:pt x="1099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68"/>
                  </a:lnTo>
                  <a:lnTo>
                    <a:pt x="1097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0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3"/>
                  </a:lnTo>
                  <a:lnTo>
                    <a:pt x="1095" y="275"/>
                  </a:lnTo>
                  <a:lnTo>
                    <a:pt x="1095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7" y="275"/>
                  </a:lnTo>
                  <a:lnTo>
                    <a:pt x="1099" y="277"/>
                  </a:lnTo>
                  <a:lnTo>
                    <a:pt x="1099" y="277"/>
                  </a:lnTo>
                  <a:lnTo>
                    <a:pt x="1099" y="277"/>
                  </a:lnTo>
                  <a:lnTo>
                    <a:pt x="1101" y="279"/>
                  </a:lnTo>
                  <a:lnTo>
                    <a:pt x="1101" y="279"/>
                  </a:lnTo>
                  <a:lnTo>
                    <a:pt x="1101" y="279"/>
                  </a:lnTo>
                  <a:lnTo>
                    <a:pt x="1101" y="279"/>
                  </a:lnTo>
                  <a:lnTo>
                    <a:pt x="1101" y="279"/>
                  </a:lnTo>
                  <a:lnTo>
                    <a:pt x="1101" y="282"/>
                  </a:lnTo>
                  <a:lnTo>
                    <a:pt x="1101" y="282"/>
                  </a:lnTo>
                  <a:lnTo>
                    <a:pt x="1101" y="282"/>
                  </a:lnTo>
                  <a:lnTo>
                    <a:pt x="1101" y="282"/>
                  </a:lnTo>
                  <a:lnTo>
                    <a:pt x="1099" y="284"/>
                  </a:lnTo>
                  <a:lnTo>
                    <a:pt x="1099" y="284"/>
                  </a:lnTo>
                  <a:lnTo>
                    <a:pt x="1099" y="284"/>
                  </a:lnTo>
                  <a:lnTo>
                    <a:pt x="1099" y="284"/>
                  </a:lnTo>
                  <a:lnTo>
                    <a:pt x="1097" y="286"/>
                  </a:lnTo>
                  <a:lnTo>
                    <a:pt x="1097" y="286"/>
                  </a:lnTo>
                  <a:lnTo>
                    <a:pt x="1095" y="286"/>
                  </a:lnTo>
                  <a:lnTo>
                    <a:pt x="1095" y="286"/>
                  </a:lnTo>
                  <a:lnTo>
                    <a:pt x="1095" y="288"/>
                  </a:lnTo>
                  <a:lnTo>
                    <a:pt x="1095" y="288"/>
                  </a:lnTo>
                  <a:lnTo>
                    <a:pt x="1095" y="288"/>
                  </a:lnTo>
                  <a:lnTo>
                    <a:pt x="1092" y="288"/>
                  </a:lnTo>
                  <a:lnTo>
                    <a:pt x="1092" y="288"/>
                  </a:lnTo>
                  <a:lnTo>
                    <a:pt x="1092" y="288"/>
                  </a:lnTo>
                  <a:lnTo>
                    <a:pt x="1092" y="288"/>
                  </a:lnTo>
                  <a:lnTo>
                    <a:pt x="1092" y="288"/>
                  </a:lnTo>
                  <a:lnTo>
                    <a:pt x="1092" y="288"/>
                  </a:lnTo>
                  <a:lnTo>
                    <a:pt x="1092" y="291"/>
                  </a:lnTo>
                  <a:lnTo>
                    <a:pt x="1092" y="291"/>
                  </a:lnTo>
                  <a:lnTo>
                    <a:pt x="1092" y="291"/>
                  </a:lnTo>
                  <a:lnTo>
                    <a:pt x="1092" y="291"/>
                  </a:lnTo>
                  <a:lnTo>
                    <a:pt x="1092" y="291"/>
                  </a:lnTo>
                  <a:lnTo>
                    <a:pt x="1092" y="291"/>
                  </a:lnTo>
                  <a:lnTo>
                    <a:pt x="1090" y="291"/>
                  </a:lnTo>
                  <a:lnTo>
                    <a:pt x="1090" y="291"/>
                  </a:lnTo>
                  <a:lnTo>
                    <a:pt x="1090" y="291"/>
                  </a:lnTo>
                  <a:lnTo>
                    <a:pt x="1088" y="291"/>
                  </a:lnTo>
                  <a:lnTo>
                    <a:pt x="1088" y="291"/>
                  </a:lnTo>
                  <a:lnTo>
                    <a:pt x="1088" y="291"/>
                  </a:lnTo>
                  <a:lnTo>
                    <a:pt x="1088" y="291"/>
                  </a:lnTo>
                  <a:lnTo>
                    <a:pt x="1088" y="291"/>
                  </a:lnTo>
                  <a:lnTo>
                    <a:pt x="1086" y="291"/>
                  </a:lnTo>
                  <a:lnTo>
                    <a:pt x="1086" y="291"/>
                  </a:lnTo>
                  <a:lnTo>
                    <a:pt x="1083" y="291"/>
                  </a:lnTo>
                  <a:lnTo>
                    <a:pt x="1083" y="291"/>
                  </a:lnTo>
                  <a:lnTo>
                    <a:pt x="1083" y="291"/>
                  </a:lnTo>
                  <a:lnTo>
                    <a:pt x="1083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81" y="293"/>
                  </a:lnTo>
                  <a:lnTo>
                    <a:pt x="1079" y="293"/>
                  </a:lnTo>
                  <a:lnTo>
                    <a:pt x="1079" y="293"/>
                  </a:lnTo>
                  <a:lnTo>
                    <a:pt x="1079" y="295"/>
                  </a:lnTo>
                  <a:lnTo>
                    <a:pt x="1079" y="295"/>
                  </a:lnTo>
                  <a:lnTo>
                    <a:pt x="1079" y="295"/>
                  </a:lnTo>
                  <a:lnTo>
                    <a:pt x="1079" y="295"/>
                  </a:lnTo>
                  <a:lnTo>
                    <a:pt x="1077" y="295"/>
                  </a:lnTo>
                  <a:lnTo>
                    <a:pt x="1077" y="295"/>
                  </a:lnTo>
                  <a:lnTo>
                    <a:pt x="1077" y="295"/>
                  </a:lnTo>
                  <a:lnTo>
                    <a:pt x="1077" y="295"/>
                  </a:lnTo>
                  <a:lnTo>
                    <a:pt x="1077" y="297"/>
                  </a:lnTo>
                  <a:lnTo>
                    <a:pt x="1077" y="297"/>
                  </a:lnTo>
                  <a:lnTo>
                    <a:pt x="1077" y="297"/>
                  </a:lnTo>
                  <a:lnTo>
                    <a:pt x="1072" y="297"/>
                  </a:lnTo>
                  <a:lnTo>
                    <a:pt x="1072" y="297"/>
                  </a:lnTo>
                  <a:lnTo>
                    <a:pt x="1072" y="297"/>
                  </a:lnTo>
                  <a:lnTo>
                    <a:pt x="1072" y="297"/>
                  </a:lnTo>
                  <a:lnTo>
                    <a:pt x="1072" y="297"/>
                  </a:lnTo>
                  <a:lnTo>
                    <a:pt x="1070" y="297"/>
                  </a:lnTo>
                  <a:lnTo>
                    <a:pt x="1070" y="297"/>
                  </a:lnTo>
                  <a:lnTo>
                    <a:pt x="1070" y="297"/>
                  </a:lnTo>
                  <a:lnTo>
                    <a:pt x="1070" y="300"/>
                  </a:lnTo>
                  <a:lnTo>
                    <a:pt x="1070" y="300"/>
                  </a:lnTo>
                  <a:lnTo>
                    <a:pt x="1068" y="300"/>
                  </a:lnTo>
                  <a:lnTo>
                    <a:pt x="1068" y="300"/>
                  </a:lnTo>
                  <a:lnTo>
                    <a:pt x="1068" y="300"/>
                  </a:lnTo>
                  <a:lnTo>
                    <a:pt x="1068" y="300"/>
                  </a:lnTo>
                  <a:lnTo>
                    <a:pt x="1063" y="300"/>
                  </a:lnTo>
                  <a:lnTo>
                    <a:pt x="1063" y="300"/>
                  </a:lnTo>
                  <a:lnTo>
                    <a:pt x="1061" y="300"/>
                  </a:lnTo>
                  <a:lnTo>
                    <a:pt x="1061" y="300"/>
                  </a:lnTo>
                  <a:lnTo>
                    <a:pt x="1061" y="300"/>
                  </a:lnTo>
                  <a:lnTo>
                    <a:pt x="1061" y="302"/>
                  </a:lnTo>
                  <a:lnTo>
                    <a:pt x="1059" y="302"/>
                  </a:lnTo>
                  <a:lnTo>
                    <a:pt x="1059" y="302"/>
                  </a:lnTo>
                  <a:lnTo>
                    <a:pt x="1056" y="302"/>
                  </a:lnTo>
                  <a:lnTo>
                    <a:pt x="1056" y="302"/>
                  </a:lnTo>
                  <a:lnTo>
                    <a:pt x="1056" y="302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4" y="304"/>
                  </a:lnTo>
                  <a:lnTo>
                    <a:pt x="1052" y="304"/>
                  </a:lnTo>
                  <a:lnTo>
                    <a:pt x="1052" y="304"/>
                  </a:lnTo>
                  <a:lnTo>
                    <a:pt x="1052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47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4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2"/>
                  </a:lnTo>
                  <a:lnTo>
                    <a:pt x="1050" y="300"/>
                  </a:lnTo>
                  <a:lnTo>
                    <a:pt x="1047" y="300"/>
                  </a:lnTo>
                  <a:lnTo>
                    <a:pt x="1047" y="300"/>
                  </a:lnTo>
                  <a:lnTo>
                    <a:pt x="1047" y="300"/>
                  </a:lnTo>
                  <a:lnTo>
                    <a:pt x="1047" y="300"/>
                  </a:lnTo>
                  <a:lnTo>
                    <a:pt x="1047" y="300"/>
                  </a:lnTo>
                  <a:lnTo>
                    <a:pt x="1045" y="300"/>
                  </a:lnTo>
                  <a:lnTo>
                    <a:pt x="1045" y="300"/>
                  </a:lnTo>
                  <a:lnTo>
                    <a:pt x="1045" y="300"/>
                  </a:lnTo>
                  <a:lnTo>
                    <a:pt x="1047" y="300"/>
                  </a:lnTo>
                  <a:lnTo>
                    <a:pt x="1045" y="300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50" y="297"/>
                  </a:lnTo>
                  <a:lnTo>
                    <a:pt x="1050" y="297"/>
                  </a:lnTo>
                  <a:lnTo>
                    <a:pt x="1050" y="297"/>
                  </a:lnTo>
                  <a:lnTo>
                    <a:pt x="1050" y="297"/>
                  </a:lnTo>
                  <a:lnTo>
                    <a:pt x="1050" y="297"/>
                  </a:lnTo>
                  <a:lnTo>
                    <a:pt x="1050" y="297"/>
                  </a:lnTo>
                  <a:lnTo>
                    <a:pt x="1047" y="297"/>
                  </a:lnTo>
                  <a:lnTo>
                    <a:pt x="1047" y="297"/>
                  </a:lnTo>
                  <a:lnTo>
                    <a:pt x="1050" y="297"/>
                  </a:lnTo>
                  <a:lnTo>
                    <a:pt x="1050" y="297"/>
                  </a:lnTo>
                  <a:lnTo>
                    <a:pt x="1047" y="295"/>
                  </a:lnTo>
                  <a:lnTo>
                    <a:pt x="1050" y="295"/>
                  </a:lnTo>
                  <a:lnTo>
                    <a:pt x="1050" y="295"/>
                  </a:lnTo>
                  <a:lnTo>
                    <a:pt x="1050" y="295"/>
                  </a:lnTo>
                  <a:lnTo>
                    <a:pt x="1052" y="295"/>
                  </a:lnTo>
                  <a:lnTo>
                    <a:pt x="1052" y="293"/>
                  </a:lnTo>
                  <a:lnTo>
                    <a:pt x="1052" y="293"/>
                  </a:lnTo>
                  <a:lnTo>
                    <a:pt x="1052" y="293"/>
                  </a:lnTo>
                  <a:lnTo>
                    <a:pt x="1052" y="293"/>
                  </a:lnTo>
                  <a:lnTo>
                    <a:pt x="1050" y="295"/>
                  </a:lnTo>
                  <a:lnTo>
                    <a:pt x="1050" y="295"/>
                  </a:lnTo>
                  <a:lnTo>
                    <a:pt x="1050" y="295"/>
                  </a:lnTo>
                  <a:lnTo>
                    <a:pt x="1047" y="295"/>
                  </a:lnTo>
                  <a:lnTo>
                    <a:pt x="1047" y="295"/>
                  </a:lnTo>
                  <a:lnTo>
                    <a:pt x="1047" y="295"/>
                  </a:lnTo>
                  <a:lnTo>
                    <a:pt x="1047" y="295"/>
                  </a:lnTo>
                  <a:lnTo>
                    <a:pt x="1045" y="295"/>
                  </a:lnTo>
                  <a:lnTo>
                    <a:pt x="1045" y="297"/>
                  </a:lnTo>
                  <a:lnTo>
                    <a:pt x="1045" y="297"/>
                  </a:lnTo>
                  <a:lnTo>
                    <a:pt x="1043" y="297"/>
                  </a:lnTo>
                  <a:lnTo>
                    <a:pt x="1043" y="297"/>
                  </a:lnTo>
                  <a:lnTo>
                    <a:pt x="1043" y="295"/>
                  </a:lnTo>
                  <a:lnTo>
                    <a:pt x="1045" y="295"/>
                  </a:lnTo>
                  <a:lnTo>
                    <a:pt x="1043" y="295"/>
                  </a:lnTo>
                  <a:lnTo>
                    <a:pt x="1043" y="295"/>
                  </a:lnTo>
                  <a:lnTo>
                    <a:pt x="1043" y="295"/>
                  </a:lnTo>
                  <a:lnTo>
                    <a:pt x="1043" y="295"/>
                  </a:lnTo>
                  <a:lnTo>
                    <a:pt x="1045" y="295"/>
                  </a:lnTo>
                  <a:lnTo>
                    <a:pt x="1045" y="295"/>
                  </a:lnTo>
                  <a:lnTo>
                    <a:pt x="1043" y="293"/>
                  </a:lnTo>
                  <a:lnTo>
                    <a:pt x="1043" y="293"/>
                  </a:lnTo>
                  <a:lnTo>
                    <a:pt x="1043" y="293"/>
                  </a:lnTo>
                  <a:lnTo>
                    <a:pt x="1043" y="293"/>
                  </a:lnTo>
                  <a:lnTo>
                    <a:pt x="1045" y="293"/>
                  </a:lnTo>
                  <a:lnTo>
                    <a:pt x="1045" y="293"/>
                  </a:lnTo>
                  <a:lnTo>
                    <a:pt x="1043" y="293"/>
                  </a:lnTo>
                  <a:lnTo>
                    <a:pt x="1043" y="293"/>
                  </a:lnTo>
                  <a:lnTo>
                    <a:pt x="1043" y="293"/>
                  </a:lnTo>
                  <a:lnTo>
                    <a:pt x="1043" y="291"/>
                  </a:lnTo>
                  <a:lnTo>
                    <a:pt x="1043" y="291"/>
                  </a:lnTo>
                  <a:lnTo>
                    <a:pt x="1043" y="291"/>
                  </a:lnTo>
                  <a:lnTo>
                    <a:pt x="1045" y="293"/>
                  </a:lnTo>
                  <a:lnTo>
                    <a:pt x="1045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38" y="291"/>
                  </a:lnTo>
                  <a:lnTo>
                    <a:pt x="1041" y="291"/>
                  </a:lnTo>
                  <a:lnTo>
                    <a:pt x="1041" y="291"/>
                  </a:lnTo>
                  <a:lnTo>
                    <a:pt x="1041" y="291"/>
                  </a:lnTo>
                  <a:lnTo>
                    <a:pt x="1041" y="291"/>
                  </a:lnTo>
                  <a:lnTo>
                    <a:pt x="1041" y="291"/>
                  </a:lnTo>
                  <a:lnTo>
                    <a:pt x="1036" y="291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32" y="293"/>
                  </a:lnTo>
                  <a:lnTo>
                    <a:pt x="1029" y="293"/>
                  </a:lnTo>
                  <a:lnTo>
                    <a:pt x="1032" y="295"/>
                  </a:lnTo>
                  <a:lnTo>
                    <a:pt x="1032" y="295"/>
                  </a:lnTo>
                  <a:lnTo>
                    <a:pt x="1032" y="295"/>
                  </a:lnTo>
                  <a:lnTo>
                    <a:pt x="1032" y="295"/>
                  </a:lnTo>
                  <a:lnTo>
                    <a:pt x="1032" y="295"/>
                  </a:lnTo>
                  <a:lnTo>
                    <a:pt x="1032" y="295"/>
                  </a:lnTo>
                  <a:lnTo>
                    <a:pt x="1034" y="293"/>
                  </a:lnTo>
                  <a:lnTo>
                    <a:pt x="1034" y="293"/>
                  </a:lnTo>
                  <a:lnTo>
                    <a:pt x="1034" y="293"/>
                  </a:lnTo>
                  <a:lnTo>
                    <a:pt x="1034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4" y="293"/>
                  </a:lnTo>
                  <a:lnTo>
                    <a:pt x="1034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6" y="293"/>
                  </a:lnTo>
                  <a:lnTo>
                    <a:pt x="1038" y="293"/>
                  </a:lnTo>
                  <a:lnTo>
                    <a:pt x="1038" y="293"/>
                  </a:lnTo>
                  <a:lnTo>
                    <a:pt x="1038" y="293"/>
                  </a:lnTo>
                  <a:lnTo>
                    <a:pt x="1038" y="293"/>
                  </a:lnTo>
                  <a:lnTo>
                    <a:pt x="1038" y="293"/>
                  </a:lnTo>
                  <a:lnTo>
                    <a:pt x="1041" y="293"/>
                  </a:lnTo>
                  <a:lnTo>
                    <a:pt x="1041" y="293"/>
                  </a:lnTo>
                  <a:lnTo>
                    <a:pt x="1041" y="293"/>
                  </a:lnTo>
                  <a:lnTo>
                    <a:pt x="1041" y="293"/>
                  </a:lnTo>
                  <a:close/>
                  <a:moveTo>
                    <a:pt x="1104" y="189"/>
                  </a:moveTo>
                  <a:lnTo>
                    <a:pt x="1104" y="189"/>
                  </a:lnTo>
                  <a:lnTo>
                    <a:pt x="1104" y="189"/>
                  </a:lnTo>
                  <a:lnTo>
                    <a:pt x="1104" y="189"/>
                  </a:lnTo>
                  <a:close/>
                  <a:moveTo>
                    <a:pt x="740" y="183"/>
                  </a:moveTo>
                  <a:lnTo>
                    <a:pt x="740" y="183"/>
                  </a:lnTo>
                  <a:lnTo>
                    <a:pt x="740" y="183"/>
                  </a:lnTo>
                  <a:lnTo>
                    <a:pt x="740" y="183"/>
                  </a:lnTo>
                  <a:close/>
                  <a:moveTo>
                    <a:pt x="749" y="180"/>
                  </a:moveTo>
                  <a:lnTo>
                    <a:pt x="749" y="180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close/>
                  <a:moveTo>
                    <a:pt x="751" y="178"/>
                  </a:moveTo>
                  <a:lnTo>
                    <a:pt x="751" y="178"/>
                  </a:lnTo>
                  <a:lnTo>
                    <a:pt x="751" y="178"/>
                  </a:lnTo>
                  <a:lnTo>
                    <a:pt x="751" y="178"/>
                  </a:lnTo>
                  <a:lnTo>
                    <a:pt x="751" y="178"/>
                  </a:lnTo>
                  <a:lnTo>
                    <a:pt x="751" y="180"/>
                  </a:lnTo>
                  <a:lnTo>
                    <a:pt x="749" y="178"/>
                  </a:lnTo>
                  <a:lnTo>
                    <a:pt x="751" y="178"/>
                  </a:lnTo>
                  <a:close/>
                  <a:moveTo>
                    <a:pt x="753" y="178"/>
                  </a:moveTo>
                  <a:lnTo>
                    <a:pt x="751" y="178"/>
                  </a:lnTo>
                  <a:lnTo>
                    <a:pt x="751" y="178"/>
                  </a:lnTo>
                  <a:lnTo>
                    <a:pt x="751" y="178"/>
                  </a:lnTo>
                  <a:lnTo>
                    <a:pt x="751" y="178"/>
                  </a:lnTo>
                  <a:lnTo>
                    <a:pt x="753" y="178"/>
                  </a:lnTo>
                  <a:lnTo>
                    <a:pt x="753" y="178"/>
                  </a:lnTo>
                  <a:lnTo>
                    <a:pt x="753" y="178"/>
                  </a:lnTo>
                  <a:close/>
                  <a:moveTo>
                    <a:pt x="969" y="176"/>
                  </a:moveTo>
                  <a:lnTo>
                    <a:pt x="969" y="176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69" y="174"/>
                  </a:lnTo>
                  <a:lnTo>
                    <a:pt x="969" y="174"/>
                  </a:lnTo>
                  <a:lnTo>
                    <a:pt x="969" y="174"/>
                  </a:lnTo>
                  <a:lnTo>
                    <a:pt x="969" y="174"/>
                  </a:lnTo>
                  <a:lnTo>
                    <a:pt x="969" y="174"/>
                  </a:lnTo>
                  <a:lnTo>
                    <a:pt x="969" y="174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69" y="176"/>
                  </a:lnTo>
                  <a:close/>
                  <a:moveTo>
                    <a:pt x="953" y="176"/>
                  </a:moveTo>
                  <a:lnTo>
                    <a:pt x="953" y="178"/>
                  </a:lnTo>
                  <a:lnTo>
                    <a:pt x="953" y="178"/>
                  </a:lnTo>
                  <a:lnTo>
                    <a:pt x="951" y="178"/>
                  </a:lnTo>
                  <a:lnTo>
                    <a:pt x="951" y="176"/>
                  </a:lnTo>
                  <a:lnTo>
                    <a:pt x="951" y="176"/>
                  </a:lnTo>
                  <a:lnTo>
                    <a:pt x="951" y="176"/>
                  </a:lnTo>
                  <a:lnTo>
                    <a:pt x="949" y="176"/>
                  </a:lnTo>
                  <a:lnTo>
                    <a:pt x="949" y="176"/>
                  </a:lnTo>
                  <a:lnTo>
                    <a:pt x="949" y="176"/>
                  </a:lnTo>
                  <a:lnTo>
                    <a:pt x="951" y="176"/>
                  </a:lnTo>
                  <a:lnTo>
                    <a:pt x="951" y="176"/>
                  </a:lnTo>
                  <a:lnTo>
                    <a:pt x="951" y="176"/>
                  </a:lnTo>
                  <a:lnTo>
                    <a:pt x="953" y="176"/>
                  </a:lnTo>
                  <a:lnTo>
                    <a:pt x="953" y="174"/>
                  </a:lnTo>
                  <a:lnTo>
                    <a:pt x="955" y="174"/>
                  </a:lnTo>
                  <a:lnTo>
                    <a:pt x="955" y="174"/>
                  </a:lnTo>
                  <a:lnTo>
                    <a:pt x="955" y="174"/>
                  </a:lnTo>
                  <a:lnTo>
                    <a:pt x="955" y="174"/>
                  </a:lnTo>
                  <a:lnTo>
                    <a:pt x="955" y="174"/>
                  </a:lnTo>
                  <a:lnTo>
                    <a:pt x="955" y="174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3" y="176"/>
                  </a:lnTo>
                  <a:close/>
                  <a:moveTo>
                    <a:pt x="960" y="169"/>
                  </a:move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2" y="169"/>
                  </a:lnTo>
                  <a:lnTo>
                    <a:pt x="962" y="169"/>
                  </a:lnTo>
                  <a:lnTo>
                    <a:pt x="962" y="169"/>
                  </a:lnTo>
                  <a:lnTo>
                    <a:pt x="960" y="171"/>
                  </a:lnTo>
                  <a:lnTo>
                    <a:pt x="960" y="171"/>
                  </a:lnTo>
                  <a:lnTo>
                    <a:pt x="960" y="171"/>
                  </a:lnTo>
                  <a:lnTo>
                    <a:pt x="960" y="171"/>
                  </a:lnTo>
                  <a:lnTo>
                    <a:pt x="960" y="171"/>
                  </a:lnTo>
                  <a:lnTo>
                    <a:pt x="960" y="171"/>
                  </a:lnTo>
                  <a:lnTo>
                    <a:pt x="957" y="171"/>
                  </a:lnTo>
                  <a:lnTo>
                    <a:pt x="957" y="171"/>
                  </a:lnTo>
                  <a:lnTo>
                    <a:pt x="957" y="171"/>
                  </a:lnTo>
                  <a:lnTo>
                    <a:pt x="957" y="174"/>
                  </a:lnTo>
                  <a:lnTo>
                    <a:pt x="957" y="174"/>
                  </a:lnTo>
                  <a:lnTo>
                    <a:pt x="955" y="174"/>
                  </a:lnTo>
                  <a:lnTo>
                    <a:pt x="953" y="174"/>
                  </a:lnTo>
                  <a:lnTo>
                    <a:pt x="953" y="174"/>
                  </a:lnTo>
                  <a:lnTo>
                    <a:pt x="953" y="171"/>
                  </a:lnTo>
                  <a:lnTo>
                    <a:pt x="953" y="171"/>
                  </a:lnTo>
                  <a:lnTo>
                    <a:pt x="953" y="171"/>
                  </a:lnTo>
                  <a:lnTo>
                    <a:pt x="953" y="171"/>
                  </a:lnTo>
                  <a:lnTo>
                    <a:pt x="953" y="171"/>
                  </a:lnTo>
                  <a:lnTo>
                    <a:pt x="953" y="171"/>
                  </a:lnTo>
                  <a:lnTo>
                    <a:pt x="953" y="169"/>
                  </a:lnTo>
                  <a:lnTo>
                    <a:pt x="953" y="169"/>
                  </a:lnTo>
                  <a:lnTo>
                    <a:pt x="955" y="169"/>
                  </a:lnTo>
                  <a:lnTo>
                    <a:pt x="955" y="169"/>
                  </a:lnTo>
                  <a:lnTo>
                    <a:pt x="955" y="169"/>
                  </a:lnTo>
                  <a:lnTo>
                    <a:pt x="957" y="169"/>
                  </a:lnTo>
                  <a:lnTo>
                    <a:pt x="957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lnTo>
                    <a:pt x="960" y="169"/>
                  </a:lnTo>
                  <a:close/>
                  <a:moveTo>
                    <a:pt x="740" y="183"/>
                  </a:moveTo>
                  <a:lnTo>
                    <a:pt x="742" y="183"/>
                  </a:lnTo>
                  <a:lnTo>
                    <a:pt x="742" y="180"/>
                  </a:lnTo>
                  <a:lnTo>
                    <a:pt x="742" y="180"/>
                  </a:lnTo>
                  <a:lnTo>
                    <a:pt x="742" y="180"/>
                  </a:lnTo>
                  <a:lnTo>
                    <a:pt x="744" y="180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6" y="183"/>
                  </a:lnTo>
                  <a:lnTo>
                    <a:pt x="749" y="183"/>
                  </a:lnTo>
                  <a:lnTo>
                    <a:pt x="749" y="183"/>
                  </a:lnTo>
                  <a:lnTo>
                    <a:pt x="746" y="183"/>
                  </a:lnTo>
                  <a:lnTo>
                    <a:pt x="746" y="180"/>
                  </a:lnTo>
                  <a:lnTo>
                    <a:pt x="746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49" y="180"/>
                  </a:lnTo>
                  <a:lnTo>
                    <a:pt x="751" y="180"/>
                  </a:lnTo>
                  <a:lnTo>
                    <a:pt x="751" y="180"/>
                  </a:lnTo>
                  <a:lnTo>
                    <a:pt x="751" y="180"/>
                  </a:lnTo>
                  <a:lnTo>
                    <a:pt x="751" y="180"/>
                  </a:lnTo>
                  <a:lnTo>
                    <a:pt x="751" y="180"/>
                  </a:lnTo>
                  <a:lnTo>
                    <a:pt x="751" y="183"/>
                  </a:lnTo>
                  <a:lnTo>
                    <a:pt x="751" y="183"/>
                  </a:lnTo>
                  <a:lnTo>
                    <a:pt x="751" y="183"/>
                  </a:lnTo>
                  <a:lnTo>
                    <a:pt x="751" y="183"/>
                  </a:lnTo>
                  <a:lnTo>
                    <a:pt x="751" y="183"/>
                  </a:lnTo>
                  <a:lnTo>
                    <a:pt x="753" y="183"/>
                  </a:lnTo>
                  <a:lnTo>
                    <a:pt x="753" y="183"/>
                  </a:lnTo>
                  <a:lnTo>
                    <a:pt x="753" y="183"/>
                  </a:lnTo>
                  <a:lnTo>
                    <a:pt x="755" y="183"/>
                  </a:lnTo>
                  <a:lnTo>
                    <a:pt x="755" y="183"/>
                  </a:lnTo>
                  <a:lnTo>
                    <a:pt x="755" y="183"/>
                  </a:lnTo>
                  <a:lnTo>
                    <a:pt x="755" y="183"/>
                  </a:lnTo>
                  <a:lnTo>
                    <a:pt x="755" y="183"/>
                  </a:lnTo>
                  <a:lnTo>
                    <a:pt x="753" y="183"/>
                  </a:lnTo>
                  <a:lnTo>
                    <a:pt x="753" y="180"/>
                  </a:lnTo>
                  <a:lnTo>
                    <a:pt x="751" y="180"/>
                  </a:lnTo>
                  <a:lnTo>
                    <a:pt x="753" y="180"/>
                  </a:lnTo>
                  <a:lnTo>
                    <a:pt x="753" y="180"/>
                  </a:lnTo>
                  <a:lnTo>
                    <a:pt x="753" y="180"/>
                  </a:lnTo>
                  <a:lnTo>
                    <a:pt x="755" y="180"/>
                  </a:lnTo>
                  <a:lnTo>
                    <a:pt x="755" y="183"/>
                  </a:lnTo>
                  <a:lnTo>
                    <a:pt x="755" y="183"/>
                  </a:lnTo>
                  <a:lnTo>
                    <a:pt x="758" y="183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8" y="180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3" y="178"/>
                  </a:lnTo>
                  <a:lnTo>
                    <a:pt x="753" y="178"/>
                  </a:lnTo>
                  <a:lnTo>
                    <a:pt x="753" y="178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5" y="178"/>
                  </a:lnTo>
                  <a:lnTo>
                    <a:pt x="758" y="176"/>
                  </a:lnTo>
                  <a:lnTo>
                    <a:pt x="758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2" y="178"/>
                  </a:lnTo>
                  <a:lnTo>
                    <a:pt x="762" y="178"/>
                  </a:lnTo>
                  <a:lnTo>
                    <a:pt x="762" y="176"/>
                  </a:lnTo>
                  <a:lnTo>
                    <a:pt x="760" y="176"/>
                  </a:lnTo>
                  <a:lnTo>
                    <a:pt x="760" y="176"/>
                  </a:lnTo>
                  <a:lnTo>
                    <a:pt x="760" y="176"/>
                  </a:lnTo>
                  <a:lnTo>
                    <a:pt x="760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5" y="176"/>
                  </a:lnTo>
                  <a:lnTo>
                    <a:pt x="755" y="176"/>
                  </a:lnTo>
                  <a:lnTo>
                    <a:pt x="755" y="176"/>
                  </a:lnTo>
                  <a:lnTo>
                    <a:pt x="755" y="176"/>
                  </a:lnTo>
                  <a:lnTo>
                    <a:pt x="755" y="176"/>
                  </a:lnTo>
                  <a:lnTo>
                    <a:pt x="755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3" y="176"/>
                  </a:lnTo>
                  <a:lnTo>
                    <a:pt x="753" y="174"/>
                  </a:lnTo>
                  <a:lnTo>
                    <a:pt x="753" y="174"/>
                  </a:lnTo>
                  <a:lnTo>
                    <a:pt x="753" y="174"/>
                  </a:lnTo>
                  <a:lnTo>
                    <a:pt x="753" y="174"/>
                  </a:lnTo>
                  <a:lnTo>
                    <a:pt x="753" y="174"/>
                  </a:lnTo>
                  <a:lnTo>
                    <a:pt x="753" y="174"/>
                  </a:lnTo>
                  <a:lnTo>
                    <a:pt x="753" y="171"/>
                  </a:lnTo>
                  <a:lnTo>
                    <a:pt x="753" y="171"/>
                  </a:lnTo>
                  <a:lnTo>
                    <a:pt x="753" y="171"/>
                  </a:lnTo>
                  <a:lnTo>
                    <a:pt x="755" y="171"/>
                  </a:lnTo>
                  <a:lnTo>
                    <a:pt x="764" y="171"/>
                  </a:lnTo>
                  <a:lnTo>
                    <a:pt x="764" y="171"/>
                  </a:lnTo>
                  <a:lnTo>
                    <a:pt x="764" y="171"/>
                  </a:lnTo>
                  <a:lnTo>
                    <a:pt x="764" y="174"/>
                  </a:lnTo>
                  <a:lnTo>
                    <a:pt x="764" y="174"/>
                  </a:lnTo>
                  <a:lnTo>
                    <a:pt x="764" y="174"/>
                  </a:lnTo>
                  <a:lnTo>
                    <a:pt x="764" y="174"/>
                  </a:lnTo>
                  <a:lnTo>
                    <a:pt x="764" y="174"/>
                  </a:lnTo>
                  <a:lnTo>
                    <a:pt x="767" y="174"/>
                  </a:lnTo>
                  <a:lnTo>
                    <a:pt x="767" y="174"/>
                  </a:lnTo>
                  <a:lnTo>
                    <a:pt x="767" y="174"/>
                  </a:lnTo>
                  <a:lnTo>
                    <a:pt x="769" y="174"/>
                  </a:lnTo>
                  <a:lnTo>
                    <a:pt x="767" y="174"/>
                  </a:lnTo>
                  <a:lnTo>
                    <a:pt x="767" y="174"/>
                  </a:lnTo>
                  <a:lnTo>
                    <a:pt x="767" y="174"/>
                  </a:lnTo>
                  <a:lnTo>
                    <a:pt x="769" y="176"/>
                  </a:lnTo>
                  <a:lnTo>
                    <a:pt x="769" y="176"/>
                  </a:lnTo>
                  <a:lnTo>
                    <a:pt x="769" y="176"/>
                  </a:lnTo>
                  <a:lnTo>
                    <a:pt x="771" y="176"/>
                  </a:lnTo>
                  <a:lnTo>
                    <a:pt x="771" y="176"/>
                  </a:lnTo>
                  <a:lnTo>
                    <a:pt x="771" y="176"/>
                  </a:lnTo>
                  <a:lnTo>
                    <a:pt x="771" y="176"/>
                  </a:lnTo>
                  <a:lnTo>
                    <a:pt x="771" y="176"/>
                  </a:lnTo>
                  <a:lnTo>
                    <a:pt x="771" y="176"/>
                  </a:lnTo>
                  <a:lnTo>
                    <a:pt x="771" y="176"/>
                  </a:lnTo>
                  <a:lnTo>
                    <a:pt x="771" y="178"/>
                  </a:lnTo>
                  <a:lnTo>
                    <a:pt x="771" y="178"/>
                  </a:lnTo>
                  <a:lnTo>
                    <a:pt x="773" y="178"/>
                  </a:lnTo>
                  <a:lnTo>
                    <a:pt x="773" y="178"/>
                  </a:lnTo>
                  <a:lnTo>
                    <a:pt x="773" y="178"/>
                  </a:lnTo>
                  <a:lnTo>
                    <a:pt x="771" y="178"/>
                  </a:lnTo>
                  <a:lnTo>
                    <a:pt x="771" y="178"/>
                  </a:lnTo>
                  <a:lnTo>
                    <a:pt x="771" y="178"/>
                  </a:lnTo>
                  <a:lnTo>
                    <a:pt x="771" y="178"/>
                  </a:lnTo>
                  <a:lnTo>
                    <a:pt x="771" y="180"/>
                  </a:lnTo>
                  <a:lnTo>
                    <a:pt x="771" y="180"/>
                  </a:lnTo>
                  <a:lnTo>
                    <a:pt x="771" y="180"/>
                  </a:lnTo>
                  <a:lnTo>
                    <a:pt x="771" y="180"/>
                  </a:lnTo>
                  <a:lnTo>
                    <a:pt x="769" y="180"/>
                  </a:lnTo>
                  <a:lnTo>
                    <a:pt x="769" y="180"/>
                  </a:lnTo>
                  <a:lnTo>
                    <a:pt x="769" y="180"/>
                  </a:lnTo>
                  <a:lnTo>
                    <a:pt x="771" y="180"/>
                  </a:lnTo>
                  <a:lnTo>
                    <a:pt x="771" y="180"/>
                  </a:lnTo>
                  <a:lnTo>
                    <a:pt x="773" y="180"/>
                  </a:lnTo>
                  <a:lnTo>
                    <a:pt x="773" y="180"/>
                  </a:lnTo>
                  <a:lnTo>
                    <a:pt x="773" y="180"/>
                  </a:lnTo>
                  <a:lnTo>
                    <a:pt x="773" y="180"/>
                  </a:lnTo>
                  <a:lnTo>
                    <a:pt x="773" y="180"/>
                  </a:lnTo>
                  <a:lnTo>
                    <a:pt x="776" y="180"/>
                  </a:lnTo>
                  <a:lnTo>
                    <a:pt x="776" y="180"/>
                  </a:lnTo>
                  <a:lnTo>
                    <a:pt x="776" y="180"/>
                  </a:lnTo>
                  <a:lnTo>
                    <a:pt x="776" y="180"/>
                  </a:lnTo>
                  <a:lnTo>
                    <a:pt x="776" y="180"/>
                  </a:lnTo>
                  <a:lnTo>
                    <a:pt x="776" y="180"/>
                  </a:lnTo>
                  <a:lnTo>
                    <a:pt x="773" y="183"/>
                  </a:lnTo>
                  <a:lnTo>
                    <a:pt x="773" y="183"/>
                  </a:lnTo>
                  <a:lnTo>
                    <a:pt x="773" y="183"/>
                  </a:lnTo>
                  <a:lnTo>
                    <a:pt x="773" y="183"/>
                  </a:lnTo>
                  <a:lnTo>
                    <a:pt x="773" y="183"/>
                  </a:lnTo>
                  <a:lnTo>
                    <a:pt x="773" y="183"/>
                  </a:lnTo>
                  <a:lnTo>
                    <a:pt x="773" y="183"/>
                  </a:lnTo>
                  <a:lnTo>
                    <a:pt x="771" y="183"/>
                  </a:lnTo>
                  <a:lnTo>
                    <a:pt x="771" y="183"/>
                  </a:lnTo>
                  <a:lnTo>
                    <a:pt x="771" y="185"/>
                  </a:lnTo>
                  <a:lnTo>
                    <a:pt x="771" y="185"/>
                  </a:lnTo>
                  <a:lnTo>
                    <a:pt x="771" y="185"/>
                  </a:lnTo>
                  <a:lnTo>
                    <a:pt x="771" y="185"/>
                  </a:lnTo>
                  <a:lnTo>
                    <a:pt x="771" y="185"/>
                  </a:lnTo>
                  <a:lnTo>
                    <a:pt x="769" y="187"/>
                  </a:lnTo>
                  <a:lnTo>
                    <a:pt x="769" y="187"/>
                  </a:lnTo>
                  <a:lnTo>
                    <a:pt x="769" y="187"/>
                  </a:lnTo>
                  <a:lnTo>
                    <a:pt x="769" y="187"/>
                  </a:lnTo>
                  <a:lnTo>
                    <a:pt x="769" y="187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7"/>
                  </a:lnTo>
                  <a:lnTo>
                    <a:pt x="769" y="187"/>
                  </a:lnTo>
                  <a:lnTo>
                    <a:pt x="771" y="187"/>
                  </a:lnTo>
                  <a:lnTo>
                    <a:pt x="771" y="187"/>
                  </a:lnTo>
                  <a:lnTo>
                    <a:pt x="771" y="187"/>
                  </a:lnTo>
                  <a:lnTo>
                    <a:pt x="771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89"/>
                  </a:lnTo>
                  <a:lnTo>
                    <a:pt x="769" y="192"/>
                  </a:lnTo>
                  <a:lnTo>
                    <a:pt x="767" y="192"/>
                  </a:lnTo>
                  <a:lnTo>
                    <a:pt x="769" y="192"/>
                  </a:lnTo>
                  <a:lnTo>
                    <a:pt x="769" y="192"/>
                  </a:lnTo>
                  <a:lnTo>
                    <a:pt x="769" y="192"/>
                  </a:lnTo>
                  <a:lnTo>
                    <a:pt x="767" y="192"/>
                  </a:lnTo>
                  <a:lnTo>
                    <a:pt x="767" y="192"/>
                  </a:lnTo>
                  <a:lnTo>
                    <a:pt x="767" y="192"/>
                  </a:lnTo>
                  <a:lnTo>
                    <a:pt x="769" y="192"/>
                  </a:lnTo>
                  <a:lnTo>
                    <a:pt x="769" y="192"/>
                  </a:lnTo>
                  <a:lnTo>
                    <a:pt x="769" y="192"/>
                  </a:lnTo>
                  <a:lnTo>
                    <a:pt x="769" y="192"/>
                  </a:lnTo>
                  <a:lnTo>
                    <a:pt x="769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7" y="194"/>
                  </a:lnTo>
                  <a:lnTo>
                    <a:pt x="764" y="194"/>
                  </a:lnTo>
                  <a:lnTo>
                    <a:pt x="764" y="196"/>
                  </a:lnTo>
                  <a:lnTo>
                    <a:pt x="764" y="196"/>
                  </a:lnTo>
                  <a:lnTo>
                    <a:pt x="764" y="196"/>
                  </a:lnTo>
                  <a:lnTo>
                    <a:pt x="767" y="196"/>
                  </a:lnTo>
                  <a:lnTo>
                    <a:pt x="767" y="196"/>
                  </a:lnTo>
                  <a:lnTo>
                    <a:pt x="767" y="196"/>
                  </a:lnTo>
                  <a:lnTo>
                    <a:pt x="764" y="196"/>
                  </a:lnTo>
                  <a:lnTo>
                    <a:pt x="764" y="196"/>
                  </a:lnTo>
                  <a:lnTo>
                    <a:pt x="764" y="196"/>
                  </a:lnTo>
                  <a:lnTo>
                    <a:pt x="764" y="196"/>
                  </a:lnTo>
                  <a:lnTo>
                    <a:pt x="764" y="196"/>
                  </a:lnTo>
                  <a:lnTo>
                    <a:pt x="767" y="196"/>
                  </a:lnTo>
                  <a:lnTo>
                    <a:pt x="767" y="196"/>
                  </a:lnTo>
                  <a:lnTo>
                    <a:pt x="767" y="196"/>
                  </a:lnTo>
                  <a:lnTo>
                    <a:pt x="767" y="196"/>
                  </a:lnTo>
                  <a:lnTo>
                    <a:pt x="767" y="198"/>
                  </a:lnTo>
                  <a:lnTo>
                    <a:pt x="767" y="198"/>
                  </a:lnTo>
                  <a:lnTo>
                    <a:pt x="767" y="198"/>
                  </a:lnTo>
                  <a:lnTo>
                    <a:pt x="767" y="198"/>
                  </a:lnTo>
                  <a:lnTo>
                    <a:pt x="767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8"/>
                  </a:lnTo>
                  <a:lnTo>
                    <a:pt x="769" y="196"/>
                  </a:lnTo>
                  <a:lnTo>
                    <a:pt x="769" y="196"/>
                  </a:lnTo>
                  <a:lnTo>
                    <a:pt x="771" y="196"/>
                  </a:lnTo>
                  <a:lnTo>
                    <a:pt x="771" y="196"/>
                  </a:lnTo>
                  <a:lnTo>
                    <a:pt x="771" y="196"/>
                  </a:lnTo>
                  <a:lnTo>
                    <a:pt x="771" y="196"/>
                  </a:lnTo>
                  <a:lnTo>
                    <a:pt x="773" y="196"/>
                  </a:lnTo>
                  <a:lnTo>
                    <a:pt x="773" y="196"/>
                  </a:lnTo>
                  <a:lnTo>
                    <a:pt x="776" y="196"/>
                  </a:lnTo>
                  <a:lnTo>
                    <a:pt x="776" y="196"/>
                  </a:lnTo>
                  <a:lnTo>
                    <a:pt x="780" y="194"/>
                  </a:lnTo>
                  <a:lnTo>
                    <a:pt x="780" y="194"/>
                  </a:lnTo>
                  <a:lnTo>
                    <a:pt x="780" y="194"/>
                  </a:lnTo>
                  <a:lnTo>
                    <a:pt x="778" y="194"/>
                  </a:lnTo>
                  <a:lnTo>
                    <a:pt x="778" y="194"/>
                  </a:lnTo>
                  <a:lnTo>
                    <a:pt x="778" y="194"/>
                  </a:lnTo>
                  <a:lnTo>
                    <a:pt x="778" y="194"/>
                  </a:lnTo>
                  <a:lnTo>
                    <a:pt x="778" y="194"/>
                  </a:lnTo>
                  <a:lnTo>
                    <a:pt x="780" y="194"/>
                  </a:lnTo>
                  <a:lnTo>
                    <a:pt x="780" y="194"/>
                  </a:lnTo>
                  <a:lnTo>
                    <a:pt x="780" y="194"/>
                  </a:lnTo>
                  <a:lnTo>
                    <a:pt x="780" y="194"/>
                  </a:lnTo>
                  <a:lnTo>
                    <a:pt x="782" y="194"/>
                  </a:lnTo>
                  <a:lnTo>
                    <a:pt x="782" y="194"/>
                  </a:lnTo>
                  <a:lnTo>
                    <a:pt x="782" y="194"/>
                  </a:lnTo>
                  <a:lnTo>
                    <a:pt x="782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92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9"/>
                  </a:lnTo>
                  <a:lnTo>
                    <a:pt x="780" y="187"/>
                  </a:lnTo>
                  <a:lnTo>
                    <a:pt x="780" y="187"/>
                  </a:lnTo>
                  <a:lnTo>
                    <a:pt x="780" y="187"/>
                  </a:lnTo>
                  <a:lnTo>
                    <a:pt x="780" y="187"/>
                  </a:lnTo>
                  <a:lnTo>
                    <a:pt x="780" y="187"/>
                  </a:lnTo>
                  <a:lnTo>
                    <a:pt x="782" y="187"/>
                  </a:lnTo>
                  <a:lnTo>
                    <a:pt x="782" y="185"/>
                  </a:lnTo>
                  <a:lnTo>
                    <a:pt x="780" y="185"/>
                  </a:lnTo>
                  <a:lnTo>
                    <a:pt x="780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5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2" y="185"/>
                  </a:lnTo>
                  <a:lnTo>
                    <a:pt x="785" y="185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3"/>
                  </a:lnTo>
                  <a:lnTo>
                    <a:pt x="785" y="180"/>
                  </a:lnTo>
                  <a:lnTo>
                    <a:pt x="785" y="180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7" y="180"/>
                  </a:lnTo>
                  <a:lnTo>
                    <a:pt x="785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8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7" y="176"/>
                  </a:lnTo>
                  <a:lnTo>
                    <a:pt x="789" y="176"/>
                  </a:lnTo>
                  <a:lnTo>
                    <a:pt x="789" y="176"/>
                  </a:lnTo>
                  <a:lnTo>
                    <a:pt x="789" y="176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91" y="174"/>
                  </a:lnTo>
                  <a:lnTo>
                    <a:pt x="791" y="174"/>
                  </a:lnTo>
                  <a:lnTo>
                    <a:pt x="789" y="174"/>
                  </a:lnTo>
                  <a:lnTo>
                    <a:pt x="789" y="174"/>
                  </a:lnTo>
                  <a:lnTo>
                    <a:pt x="791" y="174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1" y="171"/>
                  </a:lnTo>
                  <a:lnTo>
                    <a:pt x="793" y="171"/>
                  </a:lnTo>
                  <a:lnTo>
                    <a:pt x="791" y="169"/>
                  </a:lnTo>
                  <a:lnTo>
                    <a:pt x="791" y="169"/>
                  </a:lnTo>
                  <a:lnTo>
                    <a:pt x="793" y="169"/>
                  </a:lnTo>
                  <a:lnTo>
                    <a:pt x="796" y="167"/>
                  </a:lnTo>
                  <a:lnTo>
                    <a:pt x="798" y="167"/>
                  </a:lnTo>
                  <a:lnTo>
                    <a:pt x="800" y="169"/>
                  </a:lnTo>
                  <a:lnTo>
                    <a:pt x="800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7"/>
                  </a:lnTo>
                  <a:lnTo>
                    <a:pt x="798" y="165"/>
                  </a:lnTo>
                  <a:lnTo>
                    <a:pt x="800" y="167"/>
                  </a:lnTo>
                  <a:lnTo>
                    <a:pt x="800" y="165"/>
                  </a:lnTo>
                  <a:lnTo>
                    <a:pt x="800" y="165"/>
                  </a:lnTo>
                  <a:lnTo>
                    <a:pt x="800" y="165"/>
                  </a:lnTo>
                  <a:lnTo>
                    <a:pt x="800" y="165"/>
                  </a:lnTo>
                  <a:lnTo>
                    <a:pt x="802" y="165"/>
                  </a:lnTo>
                  <a:lnTo>
                    <a:pt x="805" y="165"/>
                  </a:lnTo>
                  <a:lnTo>
                    <a:pt x="807" y="167"/>
                  </a:lnTo>
                  <a:lnTo>
                    <a:pt x="807" y="167"/>
                  </a:lnTo>
                  <a:lnTo>
                    <a:pt x="809" y="167"/>
                  </a:lnTo>
                  <a:lnTo>
                    <a:pt x="809" y="167"/>
                  </a:lnTo>
                  <a:lnTo>
                    <a:pt x="809" y="167"/>
                  </a:lnTo>
                  <a:lnTo>
                    <a:pt x="809" y="167"/>
                  </a:lnTo>
                  <a:lnTo>
                    <a:pt x="809" y="169"/>
                  </a:lnTo>
                  <a:lnTo>
                    <a:pt x="811" y="169"/>
                  </a:lnTo>
                  <a:lnTo>
                    <a:pt x="811" y="169"/>
                  </a:lnTo>
                  <a:lnTo>
                    <a:pt x="811" y="169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4" y="167"/>
                  </a:lnTo>
                  <a:lnTo>
                    <a:pt x="814" y="167"/>
                  </a:lnTo>
                  <a:lnTo>
                    <a:pt x="814" y="167"/>
                  </a:lnTo>
                  <a:lnTo>
                    <a:pt x="814" y="167"/>
                  </a:lnTo>
                  <a:lnTo>
                    <a:pt x="814" y="167"/>
                  </a:lnTo>
                  <a:lnTo>
                    <a:pt x="816" y="167"/>
                  </a:lnTo>
                  <a:lnTo>
                    <a:pt x="816" y="167"/>
                  </a:lnTo>
                  <a:lnTo>
                    <a:pt x="816" y="167"/>
                  </a:lnTo>
                  <a:lnTo>
                    <a:pt x="816" y="167"/>
                  </a:lnTo>
                  <a:lnTo>
                    <a:pt x="818" y="167"/>
                  </a:lnTo>
                  <a:lnTo>
                    <a:pt x="818" y="167"/>
                  </a:lnTo>
                  <a:lnTo>
                    <a:pt x="818" y="167"/>
                  </a:lnTo>
                  <a:lnTo>
                    <a:pt x="818" y="167"/>
                  </a:lnTo>
                  <a:lnTo>
                    <a:pt x="818" y="167"/>
                  </a:lnTo>
                  <a:lnTo>
                    <a:pt x="818" y="167"/>
                  </a:lnTo>
                  <a:lnTo>
                    <a:pt x="818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7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0" y="169"/>
                  </a:lnTo>
                  <a:lnTo>
                    <a:pt x="823" y="169"/>
                  </a:lnTo>
                  <a:lnTo>
                    <a:pt x="823" y="171"/>
                  </a:lnTo>
                  <a:lnTo>
                    <a:pt x="823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7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5" y="171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4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7" y="176"/>
                  </a:lnTo>
                  <a:lnTo>
                    <a:pt x="825" y="176"/>
                  </a:lnTo>
                  <a:lnTo>
                    <a:pt x="825" y="176"/>
                  </a:lnTo>
                  <a:lnTo>
                    <a:pt x="825" y="176"/>
                  </a:lnTo>
                  <a:lnTo>
                    <a:pt x="825" y="176"/>
                  </a:lnTo>
                  <a:lnTo>
                    <a:pt x="825" y="176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78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3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5" y="180"/>
                  </a:lnTo>
                  <a:lnTo>
                    <a:pt x="823" y="180"/>
                  </a:lnTo>
                  <a:lnTo>
                    <a:pt x="823" y="183"/>
                  </a:lnTo>
                  <a:lnTo>
                    <a:pt x="825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3"/>
                  </a:lnTo>
                  <a:lnTo>
                    <a:pt x="823" y="185"/>
                  </a:lnTo>
                  <a:lnTo>
                    <a:pt x="823" y="185"/>
                  </a:lnTo>
                  <a:lnTo>
                    <a:pt x="823" y="185"/>
                  </a:lnTo>
                  <a:lnTo>
                    <a:pt x="823" y="185"/>
                  </a:lnTo>
                  <a:lnTo>
                    <a:pt x="820" y="185"/>
                  </a:lnTo>
                  <a:lnTo>
                    <a:pt x="820" y="185"/>
                  </a:lnTo>
                  <a:lnTo>
                    <a:pt x="820" y="185"/>
                  </a:lnTo>
                  <a:lnTo>
                    <a:pt x="820" y="185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7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89"/>
                  </a:lnTo>
                  <a:lnTo>
                    <a:pt x="818" y="192"/>
                  </a:lnTo>
                  <a:lnTo>
                    <a:pt x="818" y="192"/>
                  </a:lnTo>
                  <a:lnTo>
                    <a:pt x="818" y="192"/>
                  </a:lnTo>
                  <a:lnTo>
                    <a:pt x="818" y="192"/>
                  </a:lnTo>
                  <a:lnTo>
                    <a:pt x="818" y="192"/>
                  </a:lnTo>
                  <a:lnTo>
                    <a:pt x="818" y="192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198"/>
                  </a:lnTo>
                  <a:lnTo>
                    <a:pt x="818" y="201"/>
                  </a:lnTo>
                  <a:lnTo>
                    <a:pt x="816" y="201"/>
                  </a:lnTo>
                  <a:lnTo>
                    <a:pt x="816" y="201"/>
                  </a:lnTo>
                  <a:lnTo>
                    <a:pt x="816" y="201"/>
                  </a:lnTo>
                  <a:lnTo>
                    <a:pt x="816" y="201"/>
                  </a:lnTo>
                  <a:lnTo>
                    <a:pt x="816" y="203"/>
                  </a:lnTo>
                  <a:lnTo>
                    <a:pt x="816" y="203"/>
                  </a:lnTo>
                  <a:lnTo>
                    <a:pt x="816" y="203"/>
                  </a:lnTo>
                  <a:lnTo>
                    <a:pt x="816" y="203"/>
                  </a:lnTo>
                  <a:lnTo>
                    <a:pt x="816" y="203"/>
                  </a:lnTo>
                  <a:lnTo>
                    <a:pt x="816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1" y="203"/>
                  </a:lnTo>
                  <a:lnTo>
                    <a:pt x="811" y="203"/>
                  </a:lnTo>
                  <a:lnTo>
                    <a:pt x="811" y="205"/>
                  </a:lnTo>
                  <a:lnTo>
                    <a:pt x="811" y="205"/>
                  </a:lnTo>
                  <a:lnTo>
                    <a:pt x="811" y="205"/>
                  </a:lnTo>
                  <a:lnTo>
                    <a:pt x="811" y="205"/>
                  </a:lnTo>
                  <a:lnTo>
                    <a:pt x="809" y="207"/>
                  </a:lnTo>
                  <a:lnTo>
                    <a:pt x="809" y="207"/>
                  </a:lnTo>
                  <a:lnTo>
                    <a:pt x="807" y="207"/>
                  </a:lnTo>
                  <a:lnTo>
                    <a:pt x="807" y="207"/>
                  </a:lnTo>
                  <a:lnTo>
                    <a:pt x="805" y="207"/>
                  </a:lnTo>
                  <a:lnTo>
                    <a:pt x="805" y="207"/>
                  </a:lnTo>
                  <a:lnTo>
                    <a:pt x="805" y="207"/>
                  </a:lnTo>
                  <a:lnTo>
                    <a:pt x="805" y="210"/>
                  </a:lnTo>
                  <a:lnTo>
                    <a:pt x="805" y="210"/>
                  </a:lnTo>
                  <a:lnTo>
                    <a:pt x="805" y="210"/>
                  </a:lnTo>
                  <a:lnTo>
                    <a:pt x="807" y="212"/>
                  </a:lnTo>
                  <a:lnTo>
                    <a:pt x="809" y="212"/>
                  </a:lnTo>
                  <a:lnTo>
                    <a:pt x="809" y="212"/>
                  </a:lnTo>
                  <a:lnTo>
                    <a:pt x="809" y="212"/>
                  </a:lnTo>
                  <a:lnTo>
                    <a:pt x="809" y="212"/>
                  </a:lnTo>
                  <a:lnTo>
                    <a:pt x="807" y="214"/>
                  </a:lnTo>
                  <a:lnTo>
                    <a:pt x="807" y="214"/>
                  </a:lnTo>
                  <a:lnTo>
                    <a:pt x="809" y="216"/>
                  </a:lnTo>
                  <a:lnTo>
                    <a:pt x="809" y="216"/>
                  </a:lnTo>
                  <a:lnTo>
                    <a:pt x="809" y="216"/>
                  </a:lnTo>
                  <a:lnTo>
                    <a:pt x="809" y="216"/>
                  </a:lnTo>
                  <a:lnTo>
                    <a:pt x="809" y="216"/>
                  </a:lnTo>
                  <a:lnTo>
                    <a:pt x="809" y="216"/>
                  </a:lnTo>
                  <a:lnTo>
                    <a:pt x="811" y="216"/>
                  </a:lnTo>
                  <a:lnTo>
                    <a:pt x="811" y="216"/>
                  </a:lnTo>
                  <a:lnTo>
                    <a:pt x="811" y="216"/>
                  </a:lnTo>
                  <a:lnTo>
                    <a:pt x="811" y="216"/>
                  </a:lnTo>
                  <a:lnTo>
                    <a:pt x="811" y="216"/>
                  </a:lnTo>
                  <a:lnTo>
                    <a:pt x="811" y="219"/>
                  </a:lnTo>
                  <a:lnTo>
                    <a:pt x="811" y="219"/>
                  </a:lnTo>
                  <a:lnTo>
                    <a:pt x="811" y="219"/>
                  </a:lnTo>
                  <a:lnTo>
                    <a:pt x="816" y="219"/>
                  </a:lnTo>
                  <a:lnTo>
                    <a:pt x="816" y="219"/>
                  </a:lnTo>
                  <a:lnTo>
                    <a:pt x="816" y="219"/>
                  </a:lnTo>
                  <a:lnTo>
                    <a:pt x="816" y="219"/>
                  </a:lnTo>
                  <a:lnTo>
                    <a:pt x="816" y="219"/>
                  </a:lnTo>
                  <a:lnTo>
                    <a:pt x="816" y="221"/>
                  </a:lnTo>
                  <a:lnTo>
                    <a:pt x="818" y="221"/>
                  </a:lnTo>
                  <a:lnTo>
                    <a:pt x="818" y="221"/>
                  </a:lnTo>
                  <a:lnTo>
                    <a:pt x="820" y="221"/>
                  </a:lnTo>
                  <a:lnTo>
                    <a:pt x="818" y="221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9"/>
                  </a:lnTo>
                  <a:lnTo>
                    <a:pt x="818" y="216"/>
                  </a:lnTo>
                  <a:lnTo>
                    <a:pt x="818" y="216"/>
                  </a:lnTo>
                  <a:lnTo>
                    <a:pt x="820" y="216"/>
                  </a:lnTo>
                  <a:lnTo>
                    <a:pt x="820" y="216"/>
                  </a:lnTo>
                  <a:lnTo>
                    <a:pt x="820" y="216"/>
                  </a:lnTo>
                  <a:lnTo>
                    <a:pt x="820" y="219"/>
                  </a:lnTo>
                  <a:lnTo>
                    <a:pt x="820" y="219"/>
                  </a:lnTo>
                  <a:lnTo>
                    <a:pt x="820" y="219"/>
                  </a:lnTo>
                  <a:lnTo>
                    <a:pt x="823" y="219"/>
                  </a:lnTo>
                  <a:lnTo>
                    <a:pt x="823" y="219"/>
                  </a:lnTo>
                  <a:lnTo>
                    <a:pt x="823" y="219"/>
                  </a:lnTo>
                  <a:lnTo>
                    <a:pt x="820" y="219"/>
                  </a:lnTo>
                  <a:lnTo>
                    <a:pt x="820" y="219"/>
                  </a:lnTo>
                  <a:lnTo>
                    <a:pt x="820" y="221"/>
                  </a:lnTo>
                  <a:lnTo>
                    <a:pt x="823" y="221"/>
                  </a:lnTo>
                  <a:lnTo>
                    <a:pt x="823" y="221"/>
                  </a:lnTo>
                  <a:lnTo>
                    <a:pt x="823" y="221"/>
                  </a:lnTo>
                  <a:lnTo>
                    <a:pt x="823" y="221"/>
                  </a:lnTo>
                  <a:lnTo>
                    <a:pt x="823" y="221"/>
                  </a:lnTo>
                  <a:lnTo>
                    <a:pt x="825" y="221"/>
                  </a:lnTo>
                  <a:lnTo>
                    <a:pt x="825" y="221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7" y="223"/>
                  </a:lnTo>
                  <a:lnTo>
                    <a:pt x="829" y="223"/>
                  </a:lnTo>
                  <a:lnTo>
                    <a:pt x="829" y="223"/>
                  </a:lnTo>
                  <a:lnTo>
                    <a:pt x="829" y="225"/>
                  </a:lnTo>
                  <a:lnTo>
                    <a:pt x="829" y="225"/>
                  </a:lnTo>
                  <a:lnTo>
                    <a:pt x="832" y="225"/>
                  </a:lnTo>
                  <a:lnTo>
                    <a:pt x="832" y="225"/>
                  </a:lnTo>
                  <a:lnTo>
                    <a:pt x="832" y="225"/>
                  </a:lnTo>
                  <a:lnTo>
                    <a:pt x="832" y="223"/>
                  </a:lnTo>
                  <a:lnTo>
                    <a:pt x="834" y="223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4" y="225"/>
                  </a:lnTo>
                  <a:lnTo>
                    <a:pt x="832" y="225"/>
                  </a:lnTo>
                  <a:lnTo>
                    <a:pt x="832" y="228"/>
                  </a:lnTo>
                  <a:lnTo>
                    <a:pt x="832" y="228"/>
                  </a:lnTo>
                  <a:lnTo>
                    <a:pt x="832" y="228"/>
                  </a:lnTo>
                  <a:lnTo>
                    <a:pt x="832" y="228"/>
                  </a:lnTo>
                  <a:lnTo>
                    <a:pt x="832" y="228"/>
                  </a:lnTo>
                  <a:lnTo>
                    <a:pt x="834" y="228"/>
                  </a:lnTo>
                  <a:lnTo>
                    <a:pt x="834" y="228"/>
                  </a:lnTo>
                  <a:lnTo>
                    <a:pt x="834" y="228"/>
                  </a:lnTo>
                  <a:lnTo>
                    <a:pt x="834" y="228"/>
                  </a:lnTo>
                  <a:lnTo>
                    <a:pt x="834" y="228"/>
                  </a:lnTo>
                  <a:lnTo>
                    <a:pt x="836" y="228"/>
                  </a:lnTo>
                  <a:lnTo>
                    <a:pt x="836" y="228"/>
                  </a:lnTo>
                  <a:lnTo>
                    <a:pt x="836" y="228"/>
                  </a:lnTo>
                  <a:lnTo>
                    <a:pt x="836" y="228"/>
                  </a:lnTo>
                  <a:lnTo>
                    <a:pt x="838" y="228"/>
                  </a:lnTo>
                  <a:lnTo>
                    <a:pt x="838" y="228"/>
                  </a:lnTo>
                  <a:lnTo>
                    <a:pt x="838" y="228"/>
                  </a:lnTo>
                  <a:lnTo>
                    <a:pt x="838" y="228"/>
                  </a:lnTo>
                  <a:lnTo>
                    <a:pt x="838" y="228"/>
                  </a:lnTo>
                  <a:lnTo>
                    <a:pt x="838" y="228"/>
                  </a:lnTo>
                  <a:lnTo>
                    <a:pt x="841" y="228"/>
                  </a:lnTo>
                  <a:lnTo>
                    <a:pt x="841" y="228"/>
                  </a:lnTo>
                  <a:lnTo>
                    <a:pt x="841" y="225"/>
                  </a:lnTo>
                  <a:lnTo>
                    <a:pt x="841" y="225"/>
                  </a:lnTo>
                  <a:lnTo>
                    <a:pt x="841" y="225"/>
                  </a:lnTo>
                  <a:lnTo>
                    <a:pt x="841" y="228"/>
                  </a:lnTo>
                  <a:lnTo>
                    <a:pt x="843" y="228"/>
                  </a:lnTo>
                  <a:lnTo>
                    <a:pt x="843" y="228"/>
                  </a:lnTo>
                  <a:lnTo>
                    <a:pt x="841" y="228"/>
                  </a:lnTo>
                  <a:lnTo>
                    <a:pt x="841" y="228"/>
                  </a:lnTo>
                  <a:lnTo>
                    <a:pt x="841" y="228"/>
                  </a:lnTo>
                  <a:lnTo>
                    <a:pt x="841" y="228"/>
                  </a:lnTo>
                  <a:lnTo>
                    <a:pt x="841" y="228"/>
                  </a:lnTo>
                  <a:lnTo>
                    <a:pt x="841" y="230"/>
                  </a:lnTo>
                  <a:lnTo>
                    <a:pt x="841" y="230"/>
                  </a:lnTo>
                  <a:lnTo>
                    <a:pt x="841" y="230"/>
                  </a:lnTo>
                  <a:lnTo>
                    <a:pt x="841" y="230"/>
                  </a:lnTo>
                  <a:lnTo>
                    <a:pt x="841" y="230"/>
                  </a:lnTo>
                  <a:lnTo>
                    <a:pt x="838" y="230"/>
                  </a:lnTo>
                  <a:lnTo>
                    <a:pt x="838" y="230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8" y="232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4" y="234"/>
                  </a:lnTo>
                  <a:lnTo>
                    <a:pt x="834" y="237"/>
                  </a:lnTo>
                  <a:lnTo>
                    <a:pt x="834" y="237"/>
                  </a:lnTo>
                  <a:lnTo>
                    <a:pt x="834" y="237"/>
                  </a:lnTo>
                  <a:lnTo>
                    <a:pt x="834" y="237"/>
                  </a:lnTo>
                  <a:lnTo>
                    <a:pt x="834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32" y="237"/>
                  </a:lnTo>
                  <a:lnTo>
                    <a:pt x="829" y="237"/>
                  </a:lnTo>
                  <a:lnTo>
                    <a:pt x="829" y="237"/>
                  </a:lnTo>
                  <a:lnTo>
                    <a:pt x="829" y="237"/>
                  </a:lnTo>
                  <a:lnTo>
                    <a:pt x="827" y="237"/>
                  </a:lnTo>
                  <a:lnTo>
                    <a:pt x="827" y="237"/>
                  </a:lnTo>
                  <a:lnTo>
                    <a:pt x="827" y="237"/>
                  </a:lnTo>
                  <a:lnTo>
                    <a:pt x="827" y="237"/>
                  </a:lnTo>
                  <a:lnTo>
                    <a:pt x="827" y="234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9" y="234"/>
                  </a:lnTo>
                  <a:lnTo>
                    <a:pt x="829" y="232"/>
                  </a:lnTo>
                  <a:lnTo>
                    <a:pt x="829" y="232"/>
                  </a:lnTo>
                  <a:lnTo>
                    <a:pt x="829" y="232"/>
                  </a:lnTo>
                  <a:lnTo>
                    <a:pt x="829" y="232"/>
                  </a:lnTo>
                  <a:lnTo>
                    <a:pt x="829" y="232"/>
                  </a:lnTo>
                  <a:lnTo>
                    <a:pt x="827" y="234"/>
                  </a:lnTo>
                  <a:lnTo>
                    <a:pt x="825" y="234"/>
                  </a:lnTo>
                  <a:lnTo>
                    <a:pt x="825" y="234"/>
                  </a:lnTo>
                  <a:lnTo>
                    <a:pt x="825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3" y="237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7"/>
                  </a:lnTo>
                  <a:lnTo>
                    <a:pt x="820" y="237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4"/>
                  </a:lnTo>
                  <a:lnTo>
                    <a:pt x="820" y="232"/>
                  </a:lnTo>
                  <a:lnTo>
                    <a:pt x="820" y="232"/>
                  </a:lnTo>
                  <a:lnTo>
                    <a:pt x="818" y="234"/>
                  </a:lnTo>
                  <a:lnTo>
                    <a:pt x="818" y="234"/>
                  </a:lnTo>
                  <a:lnTo>
                    <a:pt x="818" y="234"/>
                  </a:lnTo>
                  <a:lnTo>
                    <a:pt x="818" y="234"/>
                  </a:lnTo>
                  <a:lnTo>
                    <a:pt x="818" y="234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8" y="232"/>
                  </a:lnTo>
                  <a:lnTo>
                    <a:pt x="816" y="232"/>
                  </a:lnTo>
                  <a:lnTo>
                    <a:pt x="816" y="234"/>
                  </a:lnTo>
                  <a:lnTo>
                    <a:pt x="816" y="234"/>
                  </a:lnTo>
                  <a:lnTo>
                    <a:pt x="816" y="234"/>
                  </a:lnTo>
                  <a:lnTo>
                    <a:pt x="816" y="234"/>
                  </a:lnTo>
                  <a:lnTo>
                    <a:pt x="816" y="234"/>
                  </a:lnTo>
                  <a:lnTo>
                    <a:pt x="816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4" y="234"/>
                  </a:lnTo>
                  <a:lnTo>
                    <a:pt x="811" y="234"/>
                  </a:lnTo>
                  <a:lnTo>
                    <a:pt x="811" y="234"/>
                  </a:lnTo>
                  <a:lnTo>
                    <a:pt x="811" y="234"/>
                  </a:lnTo>
                  <a:lnTo>
                    <a:pt x="811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4"/>
                  </a:lnTo>
                  <a:lnTo>
                    <a:pt x="809" y="237"/>
                  </a:lnTo>
                  <a:lnTo>
                    <a:pt x="809" y="237"/>
                  </a:lnTo>
                  <a:lnTo>
                    <a:pt x="811" y="237"/>
                  </a:lnTo>
                  <a:lnTo>
                    <a:pt x="809" y="237"/>
                  </a:lnTo>
                  <a:lnTo>
                    <a:pt x="809" y="237"/>
                  </a:lnTo>
                  <a:lnTo>
                    <a:pt x="809" y="239"/>
                  </a:lnTo>
                  <a:lnTo>
                    <a:pt x="809" y="239"/>
                  </a:lnTo>
                  <a:lnTo>
                    <a:pt x="809" y="239"/>
                  </a:lnTo>
                  <a:lnTo>
                    <a:pt x="809" y="239"/>
                  </a:lnTo>
                  <a:lnTo>
                    <a:pt x="809" y="239"/>
                  </a:lnTo>
                  <a:lnTo>
                    <a:pt x="809" y="239"/>
                  </a:lnTo>
                  <a:lnTo>
                    <a:pt x="807" y="239"/>
                  </a:lnTo>
                  <a:lnTo>
                    <a:pt x="807" y="239"/>
                  </a:lnTo>
                  <a:lnTo>
                    <a:pt x="807" y="239"/>
                  </a:lnTo>
                  <a:lnTo>
                    <a:pt x="807" y="239"/>
                  </a:lnTo>
                  <a:lnTo>
                    <a:pt x="805" y="239"/>
                  </a:lnTo>
                  <a:lnTo>
                    <a:pt x="805" y="239"/>
                  </a:lnTo>
                  <a:lnTo>
                    <a:pt x="805" y="239"/>
                  </a:lnTo>
                  <a:lnTo>
                    <a:pt x="802" y="239"/>
                  </a:lnTo>
                  <a:lnTo>
                    <a:pt x="802" y="239"/>
                  </a:lnTo>
                  <a:lnTo>
                    <a:pt x="802" y="239"/>
                  </a:lnTo>
                  <a:lnTo>
                    <a:pt x="800" y="239"/>
                  </a:lnTo>
                  <a:lnTo>
                    <a:pt x="800" y="239"/>
                  </a:lnTo>
                  <a:lnTo>
                    <a:pt x="800" y="239"/>
                  </a:lnTo>
                  <a:lnTo>
                    <a:pt x="798" y="239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8" y="237"/>
                  </a:lnTo>
                  <a:lnTo>
                    <a:pt x="796" y="237"/>
                  </a:lnTo>
                  <a:lnTo>
                    <a:pt x="796" y="237"/>
                  </a:lnTo>
                  <a:lnTo>
                    <a:pt x="796" y="237"/>
                  </a:lnTo>
                  <a:lnTo>
                    <a:pt x="796" y="237"/>
                  </a:lnTo>
                  <a:lnTo>
                    <a:pt x="796" y="237"/>
                  </a:lnTo>
                  <a:lnTo>
                    <a:pt x="793" y="239"/>
                  </a:lnTo>
                  <a:lnTo>
                    <a:pt x="796" y="239"/>
                  </a:lnTo>
                  <a:lnTo>
                    <a:pt x="796" y="239"/>
                  </a:lnTo>
                  <a:lnTo>
                    <a:pt x="798" y="239"/>
                  </a:lnTo>
                  <a:lnTo>
                    <a:pt x="798" y="239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6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39"/>
                  </a:lnTo>
                  <a:lnTo>
                    <a:pt x="798" y="239"/>
                  </a:lnTo>
                  <a:lnTo>
                    <a:pt x="798" y="239"/>
                  </a:lnTo>
                  <a:lnTo>
                    <a:pt x="798" y="239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8" y="241"/>
                  </a:lnTo>
                  <a:lnTo>
                    <a:pt x="796" y="243"/>
                  </a:lnTo>
                  <a:lnTo>
                    <a:pt x="796" y="243"/>
                  </a:lnTo>
                  <a:lnTo>
                    <a:pt x="796" y="243"/>
                  </a:lnTo>
                  <a:lnTo>
                    <a:pt x="796" y="243"/>
                  </a:lnTo>
                  <a:lnTo>
                    <a:pt x="796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1" y="246"/>
                  </a:lnTo>
                  <a:lnTo>
                    <a:pt x="791" y="246"/>
                  </a:lnTo>
                  <a:lnTo>
                    <a:pt x="791" y="246"/>
                  </a:lnTo>
                  <a:lnTo>
                    <a:pt x="791" y="246"/>
                  </a:lnTo>
                  <a:lnTo>
                    <a:pt x="791" y="246"/>
                  </a:lnTo>
                  <a:lnTo>
                    <a:pt x="791" y="248"/>
                  </a:lnTo>
                  <a:lnTo>
                    <a:pt x="789" y="248"/>
                  </a:lnTo>
                  <a:lnTo>
                    <a:pt x="789" y="248"/>
                  </a:lnTo>
                  <a:lnTo>
                    <a:pt x="789" y="248"/>
                  </a:lnTo>
                  <a:lnTo>
                    <a:pt x="789" y="248"/>
                  </a:lnTo>
                  <a:lnTo>
                    <a:pt x="789" y="248"/>
                  </a:lnTo>
                  <a:lnTo>
                    <a:pt x="789" y="248"/>
                  </a:lnTo>
                  <a:lnTo>
                    <a:pt x="789" y="248"/>
                  </a:lnTo>
                  <a:lnTo>
                    <a:pt x="791" y="248"/>
                  </a:lnTo>
                  <a:lnTo>
                    <a:pt x="791" y="248"/>
                  </a:lnTo>
                  <a:lnTo>
                    <a:pt x="791" y="248"/>
                  </a:lnTo>
                  <a:lnTo>
                    <a:pt x="791" y="248"/>
                  </a:lnTo>
                  <a:lnTo>
                    <a:pt x="791" y="248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3" y="246"/>
                  </a:lnTo>
                  <a:lnTo>
                    <a:pt x="796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800" y="243"/>
                  </a:lnTo>
                  <a:lnTo>
                    <a:pt x="800" y="243"/>
                  </a:lnTo>
                  <a:lnTo>
                    <a:pt x="800" y="243"/>
                  </a:lnTo>
                  <a:lnTo>
                    <a:pt x="800" y="243"/>
                  </a:lnTo>
                  <a:lnTo>
                    <a:pt x="800" y="243"/>
                  </a:lnTo>
                  <a:lnTo>
                    <a:pt x="802" y="243"/>
                  </a:lnTo>
                  <a:lnTo>
                    <a:pt x="802" y="241"/>
                  </a:lnTo>
                  <a:lnTo>
                    <a:pt x="802" y="241"/>
                  </a:lnTo>
                  <a:lnTo>
                    <a:pt x="805" y="241"/>
                  </a:lnTo>
                  <a:lnTo>
                    <a:pt x="805" y="241"/>
                  </a:lnTo>
                  <a:lnTo>
                    <a:pt x="807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9" y="241"/>
                  </a:lnTo>
                  <a:lnTo>
                    <a:pt x="809" y="241"/>
                  </a:lnTo>
                  <a:lnTo>
                    <a:pt x="809" y="241"/>
                  </a:lnTo>
                  <a:lnTo>
                    <a:pt x="811" y="241"/>
                  </a:lnTo>
                  <a:lnTo>
                    <a:pt x="814" y="241"/>
                  </a:lnTo>
                  <a:lnTo>
                    <a:pt x="814" y="241"/>
                  </a:lnTo>
                  <a:lnTo>
                    <a:pt x="814" y="241"/>
                  </a:lnTo>
                  <a:lnTo>
                    <a:pt x="814" y="241"/>
                  </a:lnTo>
                  <a:lnTo>
                    <a:pt x="814" y="241"/>
                  </a:lnTo>
                  <a:lnTo>
                    <a:pt x="811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3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7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09" y="246"/>
                  </a:lnTo>
                  <a:lnTo>
                    <a:pt x="811" y="246"/>
                  </a:lnTo>
                  <a:lnTo>
                    <a:pt x="811" y="246"/>
                  </a:lnTo>
                  <a:lnTo>
                    <a:pt x="811" y="246"/>
                  </a:lnTo>
                  <a:lnTo>
                    <a:pt x="811" y="246"/>
                  </a:lnTo>
                  <a:lnTo>
                    <a:pt x="811" y="246"/>
                  </a:lnTo>
                  <a:lnTo>
                    <a:pt x="811" y="246"/>
                  </a:lnTo>
                  <a:lnTo>
                    <a:pt x="811" y="246"/>
                  </a:lnTo>
                  <a:lnTo>
                    <a:pt x="811" y="248"/>
                  </a:lnTo>
                  <a:lnTo>
                    <a:pt x="811" y="248"/>
                  </a:lnTo>
                  <a:lnTo>
                    <a:pt x="811" y="248"/>
                  </a:lnTo>
                  <a:lnTo>
                    <a:pt x="809" y="250"/>
                  </a:lnTo>
                  <a:lnTo>
                    <a:pt x="809" y="250"/>
                  </a:lnTo>
                  <a:lnTo>
                    <a:pt x="809" y="250"/>
                  </a:lnTo>
                  <a:lnTo>
                    <a:pt x="809" y="250"/>
                  </a:lnTo>
                  <a:lnTo>
                    <a:pt x="809" y="250"/>
                  </a:lnTo>
                  <a:lnTo>
                    <a:pt x="809" y="250"/>
                  </a:lnTo>
                  <a:lnTo>
                    <a:pt x="807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5" y="250"/>
                  </a:lnTo>
                  <a:lnTo>
                    <a:pt x="802" y="250"/>
                  </a:lnTo>
                  <a:lnTo>
                    <a:pt x="802" y="250"/>
                  </a:lnTo>
                  <a:lnTo>
                    <a:pt x="802" y="252"/>
                  </a:lnTo>
                  <a:lnTo>
                    <a:pt x="802" y="250"/>
                  </a:lnTo>
                  <a:lnTo>
                    <a:pt x="800" y="252"/>
                  </a:lnTo>
                  <a:lnTo>
                    <a:pt x="800" y="252"/>
                  </a:lnTo>
                  <a:lnTo>
                    <a:pt x="798" y="250"/>
                  </a:lnTo>
                  <a:lnTo>
                    <a:pt x="798" y="250"/>
                  </a:lnTo>
                  <a:lnTo>
                    <a:pt x="798" y="252"/>
                  </a:lnTo>
                  <a:lnTo>
                    <a:pt x="798" y="252"/>
                  </a:lnTo>
                  <a:lnTo>
                    <a:pt x="798" y="252"/>
                  </a:lnTo>
                  <a:lnTo>
                    <a:pt x="798" y="252"/>
                  </a:lnTo>
                  <a:lnTo>
                    <a:pt x="798" y="252"/>
                  </a:lnTo>
                  <a:lnTo>
                    <a:pt x="798" y="252"/>
                  </a:lnTo>
                  <a:lnTo>
                    <a:pt x="796" y="252"/>
                  </a:lnTo>
                  <a:lnTo>
                    <a:pt x="796" y="252"/>
                  </a:lnTo>
                  <a:lnTo>
                    <a:pt x="796" y="252"/>
                  </a:lnTo>
                  <a:lnTo>
                    <a:pt x="796" y="252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3" y="252"/>
                  </a:lnTo>
                  <a:lnTo>
                    <a:pt x="791" y="252"/>
                  </a:lnTo>
                  <a:lnTo>
                    <a:pt x="791" y="252"/>
                  </a:lnTo>
                  <a:lnTo>
                    <a:pt x="791" y="252"/>
                  </a:lnTo>
                  <a:lnTo>
                    <a:pt x="791" y="252"/>
                  </a:lnTo>
                  <a:lnTo>
                    <a:pt x="791" y="252"/>
                  </a:lnTo>
                  <a:lnTo>
                    <a:pt x="791" y="255"/>
                  </a:lnTo>
                  <a:lnTo>
                    <a:pt x="791" y="255"/>
                  </a:lnTo>
                  <a:lnTo>
                    <a:pt x="789" y="255"/>
                  </a:lnTo>
                  <a:lnTo>
                    <a:pt x="789" y="255"/>
                  </a:lnTo>
                  <a:lnTo>
                    <a:pt x="789" y="255"/>
                  </a:lnTo>
                  <a:lnTo>
                    <a:pt x="787" y="255"/>
                  </a:lnTo>
                  <a:lnTo>
                    <a:pt x="787" y="255"/>
                  </a:lnTo>
                  <a:lnTo>
                    <a:pt x="787" y="255"/>
                  </a:lnTo>
                  <a:lnTo>
                    <a:pt x="785" y="255"/>
                  </a:lnTo>
                  <a:lnTo>
                    <a:pt x="785" y="255"/>
                  </a:lnTo>
                  <a:lnTo>
                    <a:pt x="785" y="255"/>
                  </a:lnTo>
                  <a:lnTo>
                    <a:pt x="785" y="255"/>
                  </a:lnTo>
                  <a:lnTo>
                    <a:pt x="785" y="255"/>
                  </a:lnTo>
                  <a:lnTo>
                    <a:pt x="782" y="255"/>
                  </a:lnTo>
                  <a:lnTo>
                    <a:pt x="782" y="255"/>
                  </a:lnTo>
                  <a:lnTo>
                    <a:pt x="782" y="255"/>
                  </a:lnTo>
                  <a:lnTo>
                    <a:pt x="782" y="255"/>
                  </a:lnTo>
                  <a:lnTo>
                    <a:pt x="782" y="255"/>
                  </a:lnTo>
                  <a:lnTo>
                    <a:pt x="780" y="255"/>
                  </a:lnTo>
                  <a:lnTo>
                    <a:pt x="780" y="255"/>
                  </a:lnTo>
                  <a:lnTo>
                    <a:pt x="780" y="255"/>
                  </a:lnTo>
                  <a:lnTo>
                    <a:pt x="780" y="255"/>
                  </a:lnTo>
                  <a:lnTo>
                    <a:pt x="778" y="255"/>
                  </a:lnTo>
                  <a:lnTo>
                    <a:pt x="778" y="255"/>
                  </a:lnTo>
                  <a:lnTo>
                    <a:pt x="778" y="255"/>
                  </a:lnTo>
                  <a:lnTo>
                    <a:pt x="778" y="255"/>
                  </a:lnTo>
                  <a:lnTo>
                    <a:pt x="778" y="255"/>
                  </a:lnTo>
                  <a:lnTo>
                    <a:pt x="776" y="255"/>
                  </a:lnTo>
                  <a:lnTo>
                    <a:pt x="776" y="255"/>
                  </a:lnTo>
                  <a:lnTo>
                    <a:pt x="776" y="255"/>
                  </a:lnTo>
                  <a:lnTo>
                    <a:pt x="776" y="255"/>
                  </a:lnTo>
                  <a:lnTo>
                    <a:pt x="773" y="255"/>
                  </a:lnTo>
                  <a:lnTo>
                    <a:pt x="773" y="252"/>
                  </a:lnTo>
                  <a:lnTo>
                    <a:pt x="773" y="252"/>
                  </a:lnTo>
                  <a:lnTo>
                    <a:pt x="771" y="252"/>
                  </a:lnTo>
                  <a:lnTo>
                    <a:pt x="771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71" y="252"/>
                  </a:lnTo>
                  <a:lnTo>
                    <a:pt x="771" y="252"/>
                  </a:lnTo>
                  <a:lnTo>
                    <a:pt x="771" y="252"/>
                  </a:lnTo>
                  <a:lnTo>
                    <a:pt x="771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9" y="252"/>
                  </a:lnTo>
                  <a:lnTo>
                    <a:pt x="767" y="252"/>
                  </a:lnTo>
                  <a:lnTo>
                    <a:pt x="767" y="252"/>
                  </a:lnTo>
                  <a:lnTo>
                    <a:pt x="767" y="252"/>
                  </a:lnTo>
                  <a:lnTo>
                    <a:pt x="767" y="252"/>
                  </a:lnTo>
                  <a:lnTo>
                    <a:pt x="767" y="252"/>
                  </a:lnTo>
                  <a:lnTo>
                    <a:pt x="764" y="252"/>
                  </a:lnTo>
                  <a:lnTo>
                    <a:pt x="764" y="252"/>
                  </a:lnTo>
                  <a:lnTo>
                    <a:pt x="755" y="252"/>
                  </a:lnTo>
                  <a:lnTo>
                    <a:pt x="755" y="252"/>
                  </a:lnTo>
                  <a:lnTo>
                    <a:pt x="755" y="252"/>
                  </a:lnTo>
                  <a:lnTo>
                    <a:pt x="755" y="252"/>
                  </a:lnTo>
                  <a:lnTo>
                    <a:pt x="755" y="252"/>
                  </a:lnTo>
                  <a:lnTo>
                    <a:pt x="755" y="250"/>
                  </a:lnTo>
                  <a:lnTo>
                    <a:pt x="755" y="250"/>
                  </a:lnTo>
                  <a:lnTo>
                    <a:pt x="755" y="250"/>
                  </a:lnTo>
                  <a:lnTo>
                    <a:pt x="755" y="250"/>
                  </a:lnTo>
                  <a:lnTo>
                    <a:pt x="758" y="250"/>
                  </a:lnTo>
                  <a:lnTo>
                    <a:pt x="758" y="250"/>
                  </a:lnTo>
                  <a:lnTo>
                    <a:pt x="758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0" y="250"/>
                  </a:lnTo>
                  <a:lnTo>
                    <a:pt x="762" y="250"/>
                  </a:lnTo>
                  <a:lnTo>
                    <a:pt x="762" y="248"/>
                  </a:lnTo>
                  <a:lnTo>
                    <a:pt x="762" y="248"/>
                  </a:lnTo>
                  <a:lnTo>
                    <a:pt x="762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48"/>
                  </a:lnTo>
                  <a:lnTo>
                    <a:pt x="760" y="250"/>
                  </a:lnTo>
                  <a:lnTo>
                    <a:pt x="758" y="248"/>
                  </a:lnTo>
                  <a:lnTo>
                    <a:pt x="758" y="248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55" y="248"/>
                  </a:lnTo>
                  <a:lnTo>
                    <a:pt x="749" y="248"/>
                  </a:lnTo>
                  <a:lnTo>
                    <a:pt x="749" y="248"/>
                  </a:lnTo>
                  <a:lnTo>
                    <a:pt x="749" y="248"/>
                  </a:lnTo>
                  <a:lnTo>
                    <a:pt x="749" y="248"/>
                  </a:lnTo>
                  <a:lnTo>
                    <a:pt x="746" y="248"/>
                  </a:lnTo>
                  <a:lnTo>
                    <a:pt x="746" y="248"/>
                  </a:lnTo>
                  <a:lnTo>
                    <a:pt x="744" y="248"/>
                  </a:lnTo>
                  <a:lnTo>
                    <a:pt x="742" y="246"/>
                  </a:lnTo>
                  <a:lnTo>
                    <a:pt x="742" y="246"/>
                  </a:lnTo>
                  <a:lnTo>
                    <a:pt x="742" y="246"/>
                  </a:lnTo>
                  <a:lnTo>
                    <a:pt x="742" y="246"/>
                  </a:lnTo>
                  <a:lnTo>
                    <a:pt x="742" y="246"/>
                  </a:lnTo>
                  <a:lnTo>
                    <a:pt x="742" y="246"/>
                  </a:lnTo>
                  <a:lnTo>
                    <a:pt x="744" y="246"/>
                  </a:lnTo>
                  <a:lnTo>
                    <a:pt x="744" y="246"/>
                  </a:lnTo>
                  <a:lnTo>
                    <a:pt x="746" y="246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3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6" y="241"/>
                  </a:lnTo>
                  <a:lnTo>
                    <a:pt x="744" y="241"/>
                  </a:lnTo>
                  <a:lnTo>
                    <a:pt x="744" y="241"/>
                  </a:lnTo>
                  <a:lnTo>
                    <a:pt x="744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2" y="241"/>
                  </a:lnTo>
                  <a:lnTo>
                    <a:pt x="740" y="243"/>
                  </a:lnTo>
                  <a:lnTo>
                    <a:pt x="740" y="243"/>
                  </a:lnTo>
                  <a:lnTo>
                    <a:pt x="740" y="243"/>
                  </a:lnTo>
                  <a:lnTo>
                    <a:pt x="740" y="243"/>
                  </a:lnTo>
                  <a:lnTo>
                    <a:pt x="737" y="243"/>
                  </a:lnTo>
                  <a:lnTo>
                    <a:pt x="737" y="243"/>
                  </a:lnTo>
                  <a:lnTo>
                    <a:pt x="735" y="243"/>
                  </a:lnTo>
                  <a:lnTo>
                    <a:pt x="735" y="243"/>
                  </a:lnTo>
                  <a:lnTo>
                    <a:pt x="735" y="243"/>
                  </a:lnTo>
                  <a:lnTo>
                    <a:pt x="735" y="246"/>
                  </a:lnTo>
                  <a:lnTo>
                    <a:pt x="735" y="246"/>
                  </a:lnTo>
                  <a:lnTo>
                    <a:pt x="735" y="246"/>
                  </a:lnTo>
                  <a:lnTo>
                    <a:pt x="735" y="246"/>
                  </a:lnTo>
                  <a:lnTo>
                    <a:pt x="735" y="246"/>
                  </a:lnTo>
                  <a:lnTo>
                    <a:pt x="733" y="246"/>
                  </a:lnTo>
                  <a:lnTo>
                    <a:pt x="733" y="246"/>
                  </a:lnTo>
                  <a:lnTo>
                    <a:pt x="733" y="246"/>
                  </a:lnTo>
                  <a:lnTo>
                    <a:pt x="733" y="246"/>
                  </a:lnTo>
                  <a:lnTo>
                    <a:pt x="733" y="248"/>
                  </a:lnTo>
                  <a:lnTo>
                    <a:pt x="733" y="248"/>
                  </a:lnTo>
                  <a:lnTo>
                    <a:pt x="731" y="248"/>
                  </a:lnTo>
                  <a:lnTo>
                    <a:pt x="731" y="248"/>
                  </a:lnTo>
                  <a:lnTo>
                    <a:pt x="731" y="248"/>
                  </a:lnTo>
                  <a:lnTo>
                    <a:pt x="728" y="248"/>
                  </a:lnTo>
                  <a:lnTo>
                    <a:pt x="726" y="250"/>
                  </a:lnTo>
                  <a:lnTo>
                    <a:pt x="724" y="250"/>
                  </a:lnTo>
                  <a:lnTo>
                    <a:pt x="722" y="250"/>
                  </a:lnTo>
                  <a:lnTo>
                    <a:pt x="715" y="252"/>
                  </a:lnTo>
                  <a:lnTo>
                    <a:pt x="715" y="252"/>
                  </a:lnTo>
                  <a:lnTo>
                    <a:pt x="708" y="252"/>
                  </a:lnTo>
                  <a:lnTo>
                    <a:pt x="708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4" y="252"/>
                  </a:lnTo>
                  <a:lnTo>
                    <a:pt x="701" y="252"/>
                  </a:lnTo>
                  <a:lnTo>
                    <a:pt x="701" y="255"/>
                  </a:lnTo>
                  <a:lnTo>
                    <a:pt x="697" y="255"/>
                  </a:lnTo>
                  <a:lnTo>
                    <a:pt x="697" y="255"/>
                  </a:lnTo>
                  <a:lnTo>
                    <a:pt x="695" y="255"/>
                  </a:lnTo>
                  <a:lnTo>
                    <a:pt x="695" y="255"/>
                  </a:lnTo>
                  <a:lnTo>
                    <a:pt x="692" y="257"/>
                  </a:lnTo>
                  <a:lnTo>
                    <a:pt x="688" y="257"/>
                  </a:lnTo>
                  <a:lnTo>
                    <a:pt x="681" y="257"/>
                  </a:lnTo>
                  <a:lnTo>
                    <a:pt x="679" y="257"/>
                  </a:lnTo>
                  <a:lnTo>
                    <a:pt x="679" y="257"/>
                  </a:lnTo>
                  <a:lnTo>
                    <a:pt x="677" y="257"/>
                  </a:lnTo>
                  <a:lnTo>
                    <a:pt x="674" y="257"/>
                  </a:lnTo>
                  <a:lnTo>
                    <a:pt x="672" y="257"/>
                  </a:lnTo>
                  <a:lnTo>
                    <a:pt x="672" y="259"/>
                  </a:lnTo>
                  <a:lnTo>
                    <a:pt x="670" y="259"/>
                  </a:lnTo>
                  <a:lnTo>
                    <a:pt x="670" y="259"/>
                  </a:lnTo>
                  <a:lnTo>
                    <a:pt x="670" y="259"/>
                  </a:lnTo>
                  <a:lnTo>
                    <a:pt x="670" y="259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9"/>
                  </a:lnTo>
                  <a:lnTo>
                    <a:pt x="665" y="259"/>
                  </a:lnTo>
                  <a:lnTo>
                    <a:pt x="665" y="259"/>
                  </a:lnTo>
                  <a:lnTo>
                    <a:pt x="663" y="259"/>
                  </a:lnTo>
                  <a:lnTo>
                    <a:pt x="659" y="259"/>
                  </a:lnTo>
                  <a:lnTo>
                    <a:pt x="659" y="259"/>
                  </a:lnTo>
                  <a:lnTo>
                    <a:pt x="659" y="259"/>
                  </a:lnTo>
                  <a:lnTo>
                    <a:pt x="661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3" y="259"/>
                  </a:lnTo>
                  <a:lnTo>
                    <a:pt x="661" y="259"/>
                  </a:lnTo>
                  <a:lnTo>
                    <a:pt x="659" y="259"/>
                  </a:lnTo>
                  <a:lnTo>
                    <a:pt x="659" y="259"/>
                  </a:lnTo>
                  <a:lnTo>
                    <a:pt x="654" y="259"/>
                  </a:lnTo>
                  <a:lnTo>
                    <a:pt x="654" y="259"/>
                  </a:lnTo>
                  <a:lnTo>
                    <a:pt x="654" y="259"/>
                  </a:lnTo>
                  <a:lnTo>
                    <a:pt x="656" y="259"/>
                  </a:lnTo>
                  <a:lnTo>
                    <a:pt x="656" y="259"/>
                  </a:lnTo>
                  <a:lnTo>
                    <a:pt x="654" y="259"/>
                  </a:lnTo>
                  <a:lnTo>
                    <a:pt x="654" y="259"/>
                  </a:lnTo>
                  <a:lnTo>
                    <a:pt x="652" y="259"/>
                  </a:lnTo>
                  <a:lnTo>
                    <a:pt x="638" y="259"/>
                  </a:lnTo>
                  <a:lnTo>
                    <a:pt x="638" y="259"/>
                  </a:lnTo>
                  <a:lnTo>
                    <a:pt x="638" y="259"/>
                  </a:lnTo>
                  <a:lnTo>
                    <a:pt x="638" y="259"/>
                  </a:lnTo>
                  <a:lnTo>
                    <a:pt x="638" y="259"/>
                  </a:lnTo>
                  <a:lnTo>
                    <a:pt x="638" y="261"/>
                  </a:lnTo>
                  <a:lnTo>
                    <a:pt x="636" y="261"/>
                  </a:lnTo>
                  <a:lnTo>
                    <a:pt x="634" y="259"/>
                  </a:lnTo>
                  <a:lnTo>
                    <a:pt x="634" y="261"/>
                  </a:lnTo>
                  <a:lnTo>
                    <a:pt x="634" y="261"/>
                  </a:lnTo>
                  <a:lnTo>
                    <a:pt x="632" y="261"/>
                  </a:lnTo>
                  <a:lnTo>
                    <a:pt x="632" y="261"/>
                  </a:lnTo>
                  <a:lnTo>
                    <a:pt x="632" y="261"/>
                  </a:lnTo>
                  <a:lnTo>
                    <a:pt x="632" y="261"/>
                  </a:lnTo>
                  <a:lnTo>
                    <a:pt x="632" y="261"/>
                  </a:lnTo>
                  <a:lnTo>
                    <a:pt x="629" y="261"/>
                  </a:lnTo>
                  <a:lnTo>
                    <a:pt x="623" y="261"/>
                  </a:lnTo>
                  <a:lnTo>
                    <a:pt x="623" y="261"/>
                  </a:lnTo>
                  <a:lnTo>
                    <a:pt x="623" y="261"/>
                  </a:lnTo>
                  <a:lnTo>
                    <a:pt x="623" y="261"/>
                  </a:lnTo>
                  <a:lnTo>
                    <a:pt x="623" y="261"/>
                  </a:lnTo>
                  <a:lnTo>
                    <a:pt x="625" y="261"/>
                  </a:lnTo>
                  <a:lnTo>
                    <a:pt x="627" y="261"/>
                  </a:lnTo>
                  <a:lnTo>
                    <a:pt x="627" y="261"/>
                  </a:lnTo>
                  <a:lnTo>
                    <a:pt x="627" y="259"/>
                  </a:lnTo>
                  <a:lnTo>
                    <a:pt x="627" y="259"/>
                  </a:lnTo>
                  <a:lnTo>
                    <a:pt x="627" y="259"/>
                  </a:lnTo>
                  <a:lnTo>
                    <a:pt x="625" y="259"/>
                  </a:lnTo>
                  <a:lnTo>
                    <a:pt x="625" y="259"/>
                  </a:lnTo>
                  <a:lnTo>
                    <a:pt x="625" y="259"/>
                  </a:lnTo>
                  <a:lnTo>
                    <a:pt x="625" y="259"/>
                  </a:lnTo>
                  <a:lnTo>
                    <a:pt x="625" y="259"/>
                  </a:lnTo>
                  <a:lnTo>
                    <a:pt x="625" y="259"/>
                  </a:lnTo>
                  <a:lnTo>
                    <a:pt x="623" y="257"/>
                  </a:lnTo>
                  <a:lnTo>
                    <a:pt x="623" y="257"/>
                  </a:lnTo>
                  <a:lnTo>
                    <a:pt x="625" y="257"/>
                  </a:lnTo>
                  <a:lnTo>
                    <a:pt x="625" y="257"/>
                  </a:lnTo>
                  <a:lnTo>
                    <a:pt x="625" y="257"/>
                  </a:lnTo>
                  <a:lnTo>
                    <a:pt x="625" y="257"/>
                  </a:lnTo>
                  <a:lnTo>
                    <a:pt x="625" y="255"/>
                  </a:lnTo>
                  <a:lnTo>
                    <a:pt x="625" y="255"/>
                  </a:lnTo>
                  <a:lnTo>
                    <a:pt x="625" y="255"/>
                  </a:lnTo>
                  <a:lnTo>
                    <a:pt x="625" y="255"/>
                  </a:lnTo>
                  <a:lnTo>
                    <a:pt x="623" y="255"/>
                  </a:lnTo>
                  <a:lnTo>
                    <a:pt x="623" y="255"/>
                  </a:lnTo>
                  <a:lnTo>
                    <a:pt x="623" y="255"/>
                  </a:lnTo>
                  <a:lnTo>
                    <a:pt x="625" y="255"/>
                  </a:lnTo>
                  <a:lnTo>
                    <a:pt x="625" y="255"/>
                  </a:lnTo>
                  <a:lnTo>
                    <a:pt x="625" y="255"/>
                  </a:lnTo>
                  <a:lnTo>
                    <a:pt x="625" y="252"/>
                  </a:lnTo>
                  <a:lnTo>
                    <a:pt x="625" y="252"/>
                  </a:lnTo>
                  <a:lnTo>
                    <a:pt x="625" y="252"/>
                  </a:lnTo>
                  <a:lnTo>
                    <a:pt x="625" y="252"/>
                  </a:lnTo>
                  <a:lnTo>
                    <a:pt x="625" y="252"/>
                  </a:lnTo>
                  <a:lnTo>
                    <a:pt x="627" y="252"/>
                  </a:lnTo>
                  <a:lnTo>
                    <a:pt x="627" y="252"/>
                  </a:lnTo>
                  <a:lnTo>
                    <a:pt x="627" y="252"/>
                  </a:lnTo>
                  <a:lnTo>
                    <a:pt x="627" y="250"/>
                  </a:lnTo>
                  <a:lnTo>
                    <a:pt x="627" y="250"/>
                  </a:lnTo>
                  <a:lnTo>
                    <a:pt x="627" y="250"/>
                  </a:lnTo>
                  <a:lnTo>
                    <a:pt x="627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50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32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8"/>
                  </a:lnTo>
                  <a:lnTo>
                    <a:pt x="629" y="246"/>
                  </a:lnTo>
                  <a:lnTo>
                    <a:pt x="632" y="246"/>
                  </a:lnTo>
                  <a:lnTo>
                    <a:pt x="632" y="246"/>
                  </a:lnTo>
                  <a:lnTo>
                    <a:pt x="632" y="246"/>
                  </a:lnTo>
                  <a:lnTo>
                    <a:pt x="632" y="246"/>
                  </a:lnTo>
                  <a:lnTo>
                    <a:pt x="634" y="248"/>
                  </a:lnTo>
                  <a:lnTo>
                    <a:pt x="634" y="246"/>
                  </a:lnTo>
                  <a:lnTo>
                    <a:pt x="632" y="246"/>
                  </a:lnTo>
                  <a:lnTo>
                    <a:pt x="629" y="246"/>
                  </a:lnTo>
                  <a:lnTo>
                    <a:pt x="629" y="246"/>
                  </a:lnTo>
                  <a:lnTo>
                    <a:pt x="629" y="246"/>
                  </a:lnTo>
                  <a:lnTo>
                    <a:pt x="627" y="246"/>
                  </a:lnTo>
                  <a:lnTo>
                    <a:pt x="627" y="246"/>
                  </a:lnTo>
                  <a:lnTo>
                    <a:pt x="625" y="246"/>
                  </a:lnTo>
                  <a:lnTo>
                    <a:pt x="625" y="246"/>
                  </a:lnTo>
                  <a:lnTo>
                    <a:pt x="625" y="246"/>
                  </a:lnTo>
                  <a:lnTo>
                    <a:pt x="625" y="246"/>
                  </a:lnTo>
                  <a:lnTo>
                    <a:pt x="623" y="246"/>
                  </a:lnTo>
                  <a:lnTo>
                    <a:pt x="614" y="246"/>
                  </a:lnTo>
                  <a:lnTo>
                    <a:pt x="614" y="246"/>
                  </a:lnTo>
                  <a:lnTo>
                    <a:pt x="614" y="246"/>
                  </a:lnTo>
                  <a:lnTo>
                    <a:pt x="614" y="246"/>
                  </a:lnTo>
                  <a:lnTo>
                    <a:pt x="614" y="246"/>
                  </a:lnTo>
                  <a:lnTo>
                    <a:pt x="612" y="246"/>
                  </a:lnTo>
                  <a:lnTo>
                    <a:pt x="612" y="246"/>
                  </a:lnTo>
                  <a:lnTo>
                    <a:pt x="612" y="246"/>
                  </a:lnTo>
                  <a:lnTo>
                    <a:pt x="609" y="246"/>
                  </a:lnTo>
                  <a:lnTo>
                    <a:pt x="609" y="246"/>
                  </a:lnTo>
                  <a:lnTo>
                    <a:pt x="598" y="243"/>
                  </a:lnTo>
                  <a:lnTo>
                    <a:pt x="598" y="243"/>
                  </a:lnTo>
                  <a:lnTo>
                    <a:pt x="598" y="243"/>
                  </a:lnTo>
                  <a:lnTo>
                    <a:pt x="598" y="243"/>
                  </a:lnTo>
                  <a:lnTo>
                    <a:pt x="598" y="243"/>
                  </a:lnTo>
                  <a:lnTo>
                    <a:pt x="598" y="243"/>
                  </a:lnTo>
                  <a:lnTo>
                    <a:pt x="596" y="243"/>
                  </a:lnTo>
                  <a:lnTo>
                    <a:pt x="594" y="241"/>
                  </a:lnTo>
                  <a:lnTo>
                    <a:pt x="591" y="241"/>
                  </a:lnTo>
                  <a:lnTo>
                    <a:pt x="591" y="241"/>
                  </a:lnTo>
                  <a:lnTo>
                    <a:pt x="591" y="241"/>
                  </a:lnTo>
                  <a:lnTo>
                    <a:pt x="594" y="241"/>
                  </a:lnTo>
                  <a:lnTo>
                    <a:pt x="594" y="241"/>
                  </a:lnTo>
                  <a:lnTo>
                    <a:pt x="594" y="241"/>
                  </a:lnTo>
                  <a:lnTo>
                    <a:pt x="594" y="241"/>
                  </a:lnTo>
                  <a:lnTo>
                    <a:pt x="594" y="239"/>
                  </a:lnTo>
                  <a:lnTo>
                    <a:pt x="594" y="239"/>
                  </a:lnTo>
                  <a:lnTo>
                    <a:pt x="594" y="239"/>
                  </a:lnTo>
                  <a:lnTo>
                    <a:pt x="594" y="239"/>
                  </a:lnTo>
                  <a:lnTo>
                    <a:pt x="594" y="239"/>
                  </a:lnTo>
                  <a:lnTo>
                    <a:pt x="594" y="239"/>
                  </a:lnTo>
                  <a:lnTo>
                    <a:pt x="591" y="239"/>
                  </a:lnTo>
                  <a:lnTo>
                    <a:pt x="591" y="239"/>
                  </a:lnTo>
                  <a:lnTo>
                    <a:pt x="591" y="239"/>
                  </a:lnTo>
                  <a:lnTo>
                    <a:pt x="591" y="239"/>
                  </a:lnTo>
                  <a:lnTo>
                    <a:pt x="591" y="239"/>
                  </a:lnTo>
                  <a:lnTo>
                    <a:pt x="591" y="239"/>
                  </a:lnTo>
                  <a:lnTo>
                    <a:pt x="589" y="239"/>
                  </a:lnTo>
                  <a:lnTo>
                    <a:pt x="589" y="239"/>
                  </a:lnTo>
                  <a:lnTo>
                    <a:pt x="591" y="239"/>
                  </a:lnTo>
                  <a:lnTo>
                    <a:pt x="591" y="237"/>
                  </a:lnTo>
                  <a:lnTo>
                    <a:pt x="591" y="237"/>
                  </a:lnTo>
                  <a:lnTo>
                    <a:pt x="591" y="237"/>
                  </a:lnTo>
                  <a:lnTo>
                    <a:pt x="591" y="237"/>
                  </a:lnTo>
                  <a:lnTo>
                    <a:pt x="591" y="237"/>
                  </a:lnTo>
                  <a:lnTo>
                    <a:pt x="589" y="237"/>
                  </a:lnTo>
                  <a:lnTo>
                    <a:pt x="589" y="237"/>
                  </a:lnTo>
                  <a:lnTo>
                    <a:pt x="589" y="237"/>
                  </a:lnTo>
                  <a:lnTo>
                    <a:pt x="589" y="234"/>
                  </a:lnTo>
                  <a:lnTo>
                    <a:pt x="589" y="234"/>
                  </a:lnTo>
                  <a:lnTo>
                    <a:pt x="589" y="234"/>
                  </a:lnTo>
                  <a:lnTo>
                    <a:pt x="589" y="234"/>
                  </a:lnTo>
                  <a:lnTo>
                    <a:pt x="589" y="234"/>
                  </a:lnTo>
                  <a:lnTo>
                    <a:pt x="589" y="234"/>
                  </a:lnTo>
                  <a:lnTo>
                    <a:pt x="589" y="234"/>
                  </a:lnTo>
                  <a:lnTo>
                    <a:pt x="589" y="232"/>
                  </a:lnTo>
                  <a:lnTo>
                    <a:pt x="589" y="232"/>
                  </a:lnTo>
                  <a:lnTo>
                    <a:pt x="591" y="232"/>
                  </a:lnTo>
                  <a:lnTo>
                    <a:pt x="591" y="230"/>
                  </a:lnTo>
                  <a:lnTo>
                    <a:pt x="591" y="230"/>
                  </a:lnTo>
                  <a:lnTo>
                    <a:pt x="591" y="230"/>
                  </a:lnTo>
                  <a:lnTo>
                    <a:pt x="591" y="230"/>
                  </a:lnTo>
                  <a:lnTo>
                    <a:pt x="594" y="230"/>
                  </a:lnTo>
                  <a:lnTo>
                    <a:pt x="594" y="230"/>
                  </a:lnTo>
                  <a:lnTo>
                    <a:pt x="596" y="228"/>
                  </a:lnTo>
                  <a:lnTo>
                    <a:pt x="600" y="228"/>
                  </a:lnTo>
                  <a:lnTo>
                    <a:pt x="605" y="228"/>
                  </a:lnTo>
                  <a:lnTo>
                    <a:pt x="607" y="228"/>
                  </a:lnTo>
                  <a:lnTo>
                    <a:pt x="616" y="225"/>
                  </a:lnTo>
                  <a:lnTo>
                    <a:pt x="623" y="225"/>
                  </a:lnTo>
                  <a:lnTo>
                    <a:pt x="629" y="225"/>
                  </a:lnTo>
                  <a:lnTo>
                    <a:pt x="632" y="225"/>
                  </a:lnTo>
                  <a:lnTo>
                    <a:pt x="636" y="225"/>
                  </a:lnTo>
                  <a:lnTo>
                    <a:pt x="641" y="223"/>
                  </a:lnTo>
                  <a:lnTo>
                    <a:pt x="645" y="223"/>
                  </a:lnTo>
                  <a:lnTo>
                    <a:pt x="647" y="225"/>
                  </a:lnTo>
                  <a:lnTo>
                    <a:pt x="654" y="225"/>
                  </a:lnTo>
                  <a:lnTo>
                    <a:pt x="656" y="225"/>
                  </a:lnTo>
                  <a:lnTo>
                    <a:pt x="659" y="225"/>
                  </a:lnTo>
                  <a:lnTo>
                    <a:pt x="663" y="225"/>
                  </a:lnTo>
                  <a:lnTo>
                    <a:pt x="663" y="225"/>
                  </a:lnTo>
                  <a:lnTo>
                    <a:pt x="663" y="225"/>
                  </a:lnTo>
                  <a:lnTo>
                    <a:pt x="663" y="225"/>
                  </a:lnTo>
                  <a:lnTo>
                    <a:pt x="663" y="225"/>
                  </a:lnTo>
                  <a:lnTo>
                    <a:pt x="665" y="225"/>
                  </a:lnTo>
                  <a:lnTo>
                    <a:pt x="665" y="225"/>
                  </a:lnTo>
                  <a:lnTo>
                    <a:pt x="668" y="225"/>
                  </a:lnTo>
                  <a:lnTo>
                    <a:pt x="668" y="225"/>
                  </a:lnTo>
                  <a:lnTo>
                    <a:pt x="670" y="225"/>
                  </a:lnTo>
                  <a:lnTo>
                    <a:pt x="670" y="225"/>
                  </a:lnTo>
                  <a:lnTo>
                    <a:pt x="668" y="225"/>
                  </a:lnTo>
                  <a:lnTo>
                    <a:pt x="670" y="225"/>
                  </a:lnTo>
                  <a:lnTo>
                    <a:pt x="670" y="225"/>
                  </a:lnTo>
                  <a:lnTo>
                    <a:pt x="670" y="225"/>
                  </a:lnTo>
                  <a:lnTo>
                    <a:pt x="670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2" y="225"/>
                  </a:lnTo>
                  <a:lnTo>
                    <a:pt x="674" y="225"/>
                  </a:lnTo>
                  <a:lnTo>
                    <a:pt x="677" y="225"/>
                  </a:lnTo>
                  <a:lnTo>
                    <a:pt x="674" y="225"/>
                  </a:lnTo>
                  <a:lnTo>
                    <a:pt x="674" y="225"/>
                  </a:lnTo>
                  <a:lnTo>
                    <a:pt x="674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81" y="225"/>
                  </a:lnTo>
                  <a:lnTo>
                    <a:pt x="683" y="225"/>
                  </a:lnTo>
                  <a:lnTo>
                    <a:pt x="686" y="225"/>
                  </a:lnTo>
                  <a:lnTo>
                    <a:pt x="686" y="225"/>
                  </a:lnTo>
                  <a:lnTo>
                    <a:pt x="686" y="225"/>
                  </a:lnTo>
                  <a:lnTo>
                    <a:pt x="688" y="225"/>
                  </a:lnTo>
                  <a:lnTo>
                    <a:pt x="686" y="225"/>
                  </a:lnTo>
                  <a:lnTo>
                    <a:pt x="686" y="225"/>
                  </a:lnTo>
                  <a:lnTo>
                    <a:pt x="686" y="223"/>
                  </a:lnTo>
                  <a:lnTo>
                    <a:pt x="686" y="223"/>
                  </a:lnTo>
                  <a:lnTo>
                    <a:pt x="686" y="223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6" y="223"/>
                  </a:lnTo>
                  <a:lnTo>
                    <a:pt x="683" y="223"/>
                  </a:lnTo>
                  <a:lnTo>
                    <a:pt x="681" y="223"/>
                  </a:lnTo>
                  <a:lnTo>
                    <a:pt x="681" y="223"/>
                  </a:lnTo>
                  <a:lnTo>
                    <a:pt x="681" y="223"/>
                  </a:lnTo>
                  <a:lnTo>
                    <a:pt x="681" y="223"/>
                  </a:lnTo>
                  <a:lnTo>
                    <a:pt x="681" y="223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9" y="221"/>
                  </a:lnTo>
                  <a:lnTo>
                    <a:pt x="679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7" y="221"/>
                  </a:lnTo>
                  <a:lnTo>
                    <a:pt x="677" y="221"/>
                  </a:lnTo>
                  <a:lnTo>
                    <a:pt x="677" y="221"/>
                  </a:lnTo>
                  <a:lnTo>
                    <a:pt x="677" y="219"/>
                  </a:lnTo>
                  <a:lnTo>
                    <a:pt x="677" y="219"/>
                  </a:lnTo>
                  <a:lnTo>
                    <a:pt x="677" y="219"/>
                  </a:lnTo>
                  <a:lnTo>
                    <a:pt x="677" y="221"/>
                  </a:lnTo>
                  <a:lnTo>
                    <a:pt x="674" y="221"/>
                  </a:lnTo>
                  <a:lnTo>
                    <a:pt x="674" y="221"/>
                  </a:lnTo>
                  <a:lnTo>
                    <a:pt x="674" y="221"/>
                  </a:lnTo>
                  <a:lnTo>
                    <a:pt x="674" y="219"/>
                  </a:lnTo>
                  <a:lnTo>
                    <a:pt x="674" y="219"/>
                  </a:lnTo>
                  <a:lnTo>
                    <a:pt x="674" y="219"/>
                  </a:lnTo>
                  <a:lnTo>
                    <a:pt x="672" y="219"/>
                  </a:lnTo>
                  <a:lnTo>
                    <a:pt x="672" y="219"/>
                  </a:lnTo>
                  <a:lnTo>
                    <a:pt x="670" y="219"/>
                  </a:lnTo>
                  <a:lnTo>
                    <a:pt x="670" y="219"/>
                  </a:lnTo>
                  <a:lnTo>
                    <a:pt x="670" y="219"/>
                  </a:lnTo>
                  <a:lnTo>
                    <a:pt x="670" y="219"/>
                  </a:lnTo>
                  <a:lnTo>
                    <a:pt x="670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8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5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3" y="216"/>
                  </a:lnTo>
                  <a:lnTo>
                    <a:pt x="661" y="216"/>
                  </a:lnTo>
                  <a:lnTo>
                    <a:pt x="661" y="216"/>
                  </a:lnTo>
                  <a:lnTo>
                    <a:pt x="661" y="216"/>
                  </a:lnTo>
                  <a:lnTo>
                    <a:pt x="661" y="216"/>
                  </a:lnTo>
                  <a:lnTo>
                    <a:pt x="656" y="216"/>
                  </a:lnTo>
                  <a:lnTo>
                    <a:pt x="656" y="216"/>
                  </a:lnTo>
                  <a:lnTo>
                    <a:pt x="654" y="216"/>
                  </a:lnTo>
                  <a:lnTo>
                    <a:pt x="654" y="216"/>
                  </a:lnTo>
                  <a:lnTo>
                    <a:pt x="652" y="216"/>
                  </a:lnTo>
                  <a:lnTo>
                    <a:pt x="650" y="216"/>
                  </a:lnTo>
                  <a:lnTo>
                    <a:pt x="647" y="216"/>
                  </a:lnTo>
                  <a:lnTo>
                    <a:pt x="643" y="219"/>
                  </a:lnTo>
                  <a:lnTo>
                    <a:pt x="638" y="219"/>
                  </a:lnTo>
                  <a:lnTo>
                    <a:pt x="636" y="219"/>
                  </a:lnTo>
                  <a:lnTo>
                    <a:pt x="632" y="219"/>
                  </a:lnTo>
                  <a:lnTo>
                    <a:pt x="632" y="219"/>
                  </a:lnTo>
                  <a:lnTo>
                    <a:pt x="632" y="219"/>
                  </a:lnTo>
                  <a:lnTo>
                    <a:pt x="632" y="219"/>
                  </a:lnTo>
                  <a:lnTo>
                    <a:pt x="632" y="219"/>
                  </a:lnTo>
                  <a:lnTo>
                    <a:pt x="629" y="219"/>
                  </a:lnTo>
                  <a:lnTo>
                    <a:pt x="625" y="219"/>
                  </a:lnTo>
                  <a:lnTo>
                    <a:pt x="623" y="219"/>
                  </a:lnTo>
                  <a:lnTo>
                    <a:pt x="623" y="219"/>
                  </a:lnTo>
                  <a:lnTo>
                    <a:pt x="623" y="219"/>
                  </a:lnTo>
                  <a:lnTo>
                    <a:pt x="623" y="219"/>
                  </a:lnTo>
                  <a:lnTo>
                    <a:pt x="623" y="219"/>
                  </a:lnTo>
                  <a:lnTo>
                    <a:pt x="623" y="219"/>
                  </a:lnTo>
                  <a:lnTo>
                    <a:pt x="616" y="219"/>
                  </a:lnTo>
                  <a:lnTo>
                    <a:pt x="616" y="219"/>
                  </a:lnTo>
                  <a:lnTo>
                    <a:pt x="616" y="219"/>
                  </a:lnTo>
                  <a:lnTo>
                    <a:pt x="609" y="219"/>
                  </a:lnTo>
                  <a:lnTo>
                    <a:pt x="607" y="219"/>
                  </a:lnTo>
                  <a:lnTo>
                    <a:pt x="605" y="219"/>
                  </a:lnTo>
                  <a:lnTo>
                    <a:pt x="605" y="219"/>
                  </a:lnTo>
                  <a:lnTo>
                    <a:pt x="605" y="219"/>
                  </a:lnTo>
                  <a:lnTo>
                    <a:pt x="605" y="219"/>
                  </a:lnTo>
                  <a:lnTo>
                    <a:pt x="603" y="219"/>
                  </a:lnTo>
                  <a:lnTo>
                    <a:pt x="603" y="219"/>
                  </a:lnTo>
                  <a:lnTo>
                    <a:pt x="603" y="219"/>
                  </a:lnTo>
                  <a:lnTo>
                    <a:pt x="603" y="219"/>
                  </a:lnTo>
                  <a:lnTo>
                    <a:pt x="603" y="219"/>
                  </a:lnTo>
                  <a:lnTo>
                    <a:pt x="603" y="219"/>
                  </a:lnTo>
                  <a:lnTo>
                    <a:pt x="603" y="219"/>
                  </a:lnTo>
                  <a:lnTo>
                    <a:pt x="600" y="219"/>
                  </a:lnTo>
                  <a:lnTo>
                    <a:pt x="600" y="219"/>
                  </a:lnTo>
                  <a:lnTo>
                    <a:pt x="600" y="216"/>
                  </a:lnTo>
                  <a:lnTo>
                    <a:pt x="603" y="216"/>
                  </a:lnTo>
                  <a:lnTo>
                    <a:pt x="603" y="216"/>
                  </a:lnTo>
                  <a:lnTo>
                    <a:pt x="600" y="216"/>
                  </a:lnTo>
                  <a:lnTo>
                    <a:pt x="600" y="216"/>
                  </a:lnTo>
                  <a:lnTo>
                    <a:pt x="600" y="216"/>
                  </a:lnTo>
                  <a:lnTo>
                    <a:pt x="598" y="214"/>
                  </a:lnTo>
                  <a:lnTo>
                    <a:pt x="598" y="212"/>
                  </a:lnTo>
                  <a:lnTo>
                    <a:pt x="596" y="212"/>
                  </a:lnTo>
                  <a:lnTo>
                    <a:pt x="598" y="212"/>
                  </a:lnTo>
                  <a:lnTo>
                    <a:pt x="598" y="210"/>
                  </a:lnTo>
                  <a:lnTo>
                    <a:pt x="598" y="210"/>
                  </a:lnTo>
                  <a:lnTo>
                    <a:pt x="612" y="207"/>
                  </a:lnTo>
                  <a:lnTo>
                    <a:pt x="616" y="207"/>
                  </a:lnTo>
                  <a:lnTo>
                    <a:pt x="623" y="205"/>
                  </a:lnTo>
                  <a:lnTo>
                    <a:pt x="625" y="205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27" y="205"/>
                  </a:lnTo>
                  <a:lnTo>
                    <a:pt x="636" y="203"/>
                  </a:lnTo>
                  <a:lnTo>
                    <a:pt x="638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38" y="203"/>
                  </a:lnTo>
                  <a:lnTo>
                    <a:pt x="638" y="203"/>
                  </a:lnTo>
                  <a:lnTo>
                    <a:pt x="638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5" y="203"/>
                  </a:lnTo>
                  <a:lnTo>
                    <a:pt x="645" y="203"/>
                  </a:lnTo>
                  <a:lnTo>
                    <a:pt x="645" y="203"/>
                  </a:lnTo>
                  <a:lnTo>
                    <a:pt x="643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1" y="203"/>
                  </a:lnTo>
                  <a:lnTo>
                    <a:pt x="643" y="203"/>
                  </a:lnTo>
                  <a:lnTo>
                    <a:pt x="647" y="201"/>
                  </a:lnTo>
                  <a:lnTo>
                    <a:pt x="647" y="201"/>
                  </a:lnTo>
                  <a:lnTo>
                    <a:pt x="647" y="201"/>
                  </a:lnTo>
                  <a:lnTo>
                    <a:pt x="647" y="201"/>
                  </a:lnTo>
                  <a:lnTo>
                    <a:pt x="650" y="201"/>
                  </a:lnTo>
                  <a:lnTo>
                    <a:pt x="650" y="201"/>
                  </a:lnTo>
                  <a:lnTo>
                    <a:pt x="650" y="201"/>
                  </a:lnTo>
                  <a:lnTo>
                    <a:pt x="650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4" y="201"/>
                  </a:lnTo>
                  <a:lnTo>
                    <a:pt x="654" y="201"/>
                  </a:lnTo>
                  <a:lnTo>
                    <a:pt x="656" y="201"/>
                  </a:lnTo>
                  <a:lnTo>
                    <a:pt x="656" y="201"/>
                  </a:lnTo>
                  <a:lnTo>
                    <a:pt x="659" y="201"/>
                  </a:lnTo>
                  <a:lnTo>
                    <a:pt x="659" y="201"/>
                  </a:lnTo>
                  <a:lnTo>
                    <a:pt x="654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4" y="201"/>
                  </a:lnTo>
                  <a:lnTo>
                    <a:pt x="654" y="201"/>
                  </a:lnTo>
                  <a:lnTo>
                    <a:pt x="652" y="201"/>
                  </a:lnTo>
                  <a:lnTo>
                    <a:pt x="647" y="201"/>
                  </a:lnTo>
                  <a:lnTo>
                    <a:pt x="647" y="201"/>
                  </a:lnTo>
                  <a:lnTo>
                    <a:pt x="645" y="201"/>
                  </a:lnTo>
                  <a:lnTo>
                    <a:pt x="643" y="201"/>
                  </a:lnTo>
                  <a:lnTo>
                    <a:pt x="643" y="201"/>
                  </a:lnTo>
                  <a:lnTo>
                    <a:pt x="641" y="201"/>
                  </a:lnTo>
                  <a:lnTo>
                    <a:pt x="636" y="201"/>
                  </a:lnTo>
                  <a:lnTo>
                    <a:pt x="634" y="201"/>
                  </a:lnTo>
                  <a:lnTo>
                    <a:pt x="632" y="201"/>
                  </a:lnTo>
                  <a:lnTo>
                    <a:pt x="632" y="203"/>
                  </a:lnTo>
                  <a:lnTo>
                    <a:pt x="629" y="203"/>
                  </a:lnTo>
                  <a:lnTo>
                    <a:pt x="627" y="203"/>
                  </a:lnTo>
                  <a:lnTo>
                    <a:pt x="627" y="203"/>
                  </a:lnTo>
                  <a:lnTo>
                    <a:pt x="627" y="203"/>
                  </a:lnTo>
                  <a:lnTo>
                    <a:pt x="625" y="203"/>
                  </a:lnTo>
                  <a:lnTo>
                    <a:pt x="625" y="203"/>
                  </a:lnTo>
                  <a:lnTo>
                    <a:pt x="625" y="203"/>
                  </a:lnTo>
                  <a:lnTo>
                    <a:pt x="625" y="203"/>
                  </a:lnTo>
                  <a:lnTo>
                    <a:pt x="623" y="203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23" y="203"/>
                  </a:lnTo>
                  <a:lnTo>
                    <a:pt x="623" y="203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1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18" y="201"/>
                  </a:lnTo>
                  <a:lnTo>
                    <a:pt x="618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21" y="203"/>
                  </a:lnTo>
                  <a:lnTo>
                    <a:pt x="618" y="203"/>
                  </a:lnTo>
                  <a:lnTo>
                    <a:pt x="618" y="203"/>
                  </a:lnTo>
                  <a:lnTo>
                    <a:pt x="616" y="203"/>
                  </a:lnTo>
                  <a:lnTo>
                    <a:pt x="616" y="203"/>
                  </a:lnTo>
                  <a:lnTo>
                    <a:pt x="616" y="203"/>
                  </a:lnTo>
                  <a:lnTo>
                    <a:pt x="616" y="203"/>
                  </a:lnTo>
                  <a:lnTo>
                    <a:pt x="616" y="203"/>
                  </a:lnTo>
                  <a:lnTo>
                    <a:pt x="616" y="203"/>
                  </a:lnTo>
                  <a:lnTo>
                    <a:pt x="616" y="203"/>
                  </a:lnTo>
                  <a:lnTo>
                    <a:pt x="614" y="203"/>
                  </a:lnTo>
                  <a:lnTo>
                    <a:pt x="614" y="203"/>
                  </a:lnTo>
                  <a:lnTo>
                    <a:pt x="614" y="203"/>
                  </a:lnTo>
                  <a:lnTo>
                    <a:pt x="614" y="203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3"/>
                  </a:lnTo>
                  <a:lnTo>
                    <a:pt x="609" y="201"/>
                  </a:lnTo>
                  <a:lnTo>
                    <a:pt x="612" y="201"/>
                  </a:lnTo>
                  <a:lnTo>
                    <a:pt x="614" y="201"/>
                  </a:lnTo>
                  <a:lnTo>
                    <a:pt x="616" y="201"/>
                  </a:lnTo>
                  <a:lnTo>
                    <a:pt x="618" y="201"/>
                  </a:lnTo>
                  <a:lnTo>
                    <a:pt x="618" y="201"/>
                  </a:lnTo>
                  <a:lnTo>
                    <a:pt x="618" y="201"/>
                  </a:lnTo>
                  <a:lnTo>
                    <a:pt x="618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201"/>
                  </a:lnTo>
                  <a:lnTo>
                    <a:pt x="621" y="198"/>
                  </a:lnTo>
                  <a:lnTo>
                    <a:pt x="621" y="198"/>
                  </a:lnTo>
                  <a:lnTo>
                    <a:pt x="621" y="198"/>
                  </a:lnTo>
                  <a:lnTo>
                    <a:pt x="621" y="198"/>
                  </a:lnTo>
                  <a:lnTo>
                    <a:pt x="621" y="198"/>
                  </a:lnTo>
                  <a:lnTo>
                    <a:pt x="621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18" y="198"/>
                  </a:lnTo>
                  <a:lnTo>
                    <a:pt x="621" y="198"/>
                  </a:lnTo>
                  <a:lnTo>
                    <a:pt x="623" y="198"/>
                  </a:lnTo>
                  <a:lnTo>
                    <a:pt x="623" y="196"/>
                  </a:lnTo>
                  <a:lnTo>
                    <a:pt x="618" y="198"/>
                  </a:lnTo>
                  <a:lnTo>
                    <a:pt x="616" y="198"/>
                  </a:lnTo>
                  <a:lnTo>
                    <a:pt x="614" y="198"/>
                  </a:lnTo>
                  <a:lnTo>
                    <a:pt x="614" y="198"/>
                  </a:lnTo>
                  <a:lnTo>
                    <a:pt x="614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12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09" y="198"/>
                  </a:lnTo>
                  <a:lnTo>
                    <a:pt x="607" y="198"/>
                  </a:lnTo>
                  <a:lnTo>
                    <a:pt x="607" y="198"/>
                  </a:lnTo>
                  <a:lnTo>
                    <a:pt x="607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5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8"/>
                  </a:lnTo>
                  <a:lnTo>
                    <a:pt x="603" y="196"/>
                  </a:lnTo>
                  <a:lnTo>
                    <a:pt x="603" y="196"/>
                  </a:lnTo>
                  <a:lnTo>
                    <a:pt x="603" y="196"/>
                  </a:lnTo>
                  <a:lnTo>
                    <a:pt x="605" y="196"/>
                  </a:lnTo>
                  <a:lnTo>
                    <a:pt x="605" y="194"/>
                  </a:lnTo>
                  <a:lnTo>
                    <a:pt x="605" y="194"/>
                  </a:lnTo>
                  <a:lnTo>
                    <a:pt x="607" y="194"/>
                  </a:lnTo>
                  <a:lnTo>
                    <a:pt x="607" y="194"/>
                  </a:lnTo>
                  <a:lnTo>
                    <a:pt x="607" y="192"/>
                  </a:lnTo>
                  <a:lnTo>
                    <a:pt x="609" y="192"/>
                  </a:lnTo>
                  <a:lnTo>
                    <a:pt x="612" y="192"/>
                  </a:lnTo>
                  <a:lnTo>
                    <a:pt x="614" y="189"/>
                  </a:lnTo>
                  <a:lnTo>
                    <a:pt x="616" y="189"/>
                  </a:lnTo>
                  <a:lnTo>
                    <a:pt x="616" y="189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7"/>
                  </a:lnTo>
                  <a:lnTo>
                    <a:pt x="621" y="187"/>
                  </a:lnTo>
                  <a:lnTo>
                    <a:pt x="623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32" y="185"/>
                  </a:lnTo>
                  <a:lnTo>
                    <a:pt x="632" y="185"/>
                  </a:lnTo>
                  <a:lnTo>
                    <a:pt x="629" y="185"/>
                  </a:lnTo>
                  <a:lnTo>
                    <a:pt x="627" y="185"/>
                  </a:lnTo>
                  <a:lnTo>
                    <a:pt x="627" y="185"/>
                  </a:lnTo>
                  <a:lnTo>
                    <a:pt x="627" y="185"/>
                  </a:lnTo>
                  <a:lnTo>
                    <a:pt x="627" y="183"/>
                  </a:lnTo>
                  <a:lnTo>
                    <a:pt x="627" y="183"/>
                  </a:lnTo>
                  <a:lnTo>
                    <a:pt x="627" y="183"/>
                  </a:lnTo>
                  <a:lnTo>
                    <a:pt x="627" y="183"/>
                  </a:lnTo>
                  <a:lnTo>
                    <a:pt x="627" y="183"/>
                  </a:lnTo>
                  <a:lnTo>
                    <a:pt x="629" y="180"/>
                  </a:lnTo>
                  <a:lnTo>
                    <a:pt x="634" y="180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36" y="180"/>
                  </a:lnTo>
                  <a:lnTo>
                    <a:pt x="636" y="178"/>
                  </a:lnTo>
                  <a:lnTo>
                    <a:pt x="636" y="178"/>
                  </a:lnTo>
                  <a:lnTo>
                    <a:pt x="638" y="178"/>
                  </a:lnTo>
                  <a:lnTo>
                    <a:pt x="638" y="178"/>
                  </a:lnTo>
                  <a:lnTo>
                    <a:pt x="641" y="178"/>
                  </a:lnTo>
                  <a:lnTo>
                    <a:pt x="641" y="178"/>
                  </a:lnTo>
                  <a:lnTo>
                    <a:pt x="643" y="178"/>
                  </a:lnTo>
                  <a:lnTo>
                    <a:pt x="645" y="176"/>
                  </a:lnTo>
                  <a:lnTo>
                    <a:pt x="650" y="176"/>
                  </a:lnTo>
                  <a:lnTo>
                    <a:pt x="652" y="176"/>
                  </a:lnTo>
                  <a:lnTo>
                    <a:pt x="652" y="174"/>
                  </a:lnTo>
                  <a:lnTo>
                    <a:pt x="654" y="174"/>
                  </a:lnTo>
                  <a:lnTo>
                    <a:pt x="654" y="174"/>
                  </a:lnTo>
                  <a:lnTo>
                    <a:pt x="656" y="174"/>
                  </a:lnTo>
                  <a:lnTo>
                    <a:pt x="659" y="174"/>
                  </a:lnTo>
                  <a:lnTo>
                    <a:pt x="661" y="174"/>
                  </a:lnTo>
                  <a:lnTo>
                    <a:pt x="663" y="171"/>
                  </a:lnTo>
                  <a:lnTo>
                    <a:pt x="670" y="171"/>
                  </a:lnTo>
                  <a:lnTo>
                    <a:pt x="670" y="171"/>
                  </a:lnTo>
                  <a:lnTo>
                    <a:pt x="672" y="171"/>
                  </a:lnTo>
                  <a:lnTo>
                    <a:pt x="672" y="171"/>
                  </a:lnTo>
                  <a:lnTo>
                    <a:pt x="672" y="171"/>
                  </a:lnTo>
                  <a:lnTo>
                    <a:pt x="674" y="169"/>
                  </a:lnTo>
                  <a:lnTo>
                    <a:pt x="677" y="169"/>
                  </a:lnTo>
                  <a:lnTo>
                    <a:pt x="681" y="169"/>
                  </a:lnTo>
                  <a:lnTo>
                    <a:pt x="686" y="169"/>
                  </a:lnTo>
                  <a:lnTo>
                    <a:pt x="688" y="167"/>
                  </a:lnTo>
                  <a:lnTo>
                    <a:pt x="692" y="167"/>
                  </a:lnTo>
                  <a:lnTo>
                    <a:pt x="692" y="167"/>
                  </a:lnTo>
                  <a:lnTo>
                    <a:pt x="692" y="167"/>
                  </a:lnTo>
                  <a:lnTo>
                    <a:pt x="692" y="167"/>
                  </a:lnTo>
                  <a:lnTo>
                    <a:pt x="692" y="167"/>
                  </a:lnTo>
                  <a:lnTo>
                    <a:pt x="692" y="167"/>
                  </a:lnTo>
                  <a:lnTo>
                    <a:pt x="695" y="167"/>
                  </a:lnTo>
                  <a:lnTo>
                    <a:pt x="695" y="167"/>
                  </a:lnTo>
                  <a:lnTo>
                    <a:pt x="697" y="167"/>
                  </a:lnTo>
                  <a:lnTo>
                    <a:pt x="701" y="165"/>
                  </a:lnTo>
                  <a:lnTo>
                    <a:pt x="704" y="165"/>
                  </a:lnTo>
                  <a:lnTo>
                    <a:pt x="706" y="165"/>
                  </a:lnTo>
                  <a:lnTo>
                    <a:pt x="706" y="165"/>
                  </a:lnTo>
                  <a:lnTo>
                    <a:pt x="708" y="165"/>
                  </a:lnTo>
                  <a:lnTo>
                    <a:pt x="710" y="165"/>
                  </a:lnTo>
                  <a:lnTo>
                    <a:pt x="710" y="167"/>
                  </a:lnTo>
                  <a:lnTo>
                    <a:pt x="710" y="167"/>
                  </a:lnTo>
                  <a:lnTo>
                    <a:pt x="710" y="169"/>
                  </a:lnTo>
                  <a:lnTo>
                    <a:pt x="710" y="169"/>
                  </a:lnTo>
                  <a:lnTo>
                    <a:pt x="710" y="169"/>
                  </a:lnTo>
                  <a:lnTo>
                    <a:pt x="710" y="169"/>
                  </a:lnTo>
                  <a:lnTo>
                    <a:pt x="708" y="171"/>
                  </a:lnTo>
                  <a:lnTo>
                    <a:pt x="708" y="171"/>
                  </a:lnTo>
                  <a:lnTo>
                    <a:pt x="708" y="171"/>
                  </a:lnTo>
                  <a:lnTo>
                    <a:pt x="708" y="171"/>
                  </a:lnTo>
                  <a:lnTo>
                    <a:pt x="708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1"/>
                  </a:lnTo>
                  <a:lnTo>
                    <a:pt x="706" y="174"/>
                  </a:lnTo>
                  <a:lnTo>
                    <a:pt x="706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4"/>
                  </a:lnTo>
                  <a:lnTo>
                    <a:pt x="704" y="176"/>
                  </a:lnTo>
                  <a:lnTo>
                    <a:pt x="704" y="176"/>
                  </a:lnTo>
                  <a:lnTo>
                    <a:pt x="704" y="176"/>
                  </a:lnTo>
                  <a:lnTo>
                    <a:pt x="701" y="176"/>
                  </a:lnTo>
                  <a:lnTo>
                    <a:pt x="699" y="176"/>
                  </a:lnTo>
                  <a:lnTo>
                    <a:pt x="699" y="176"/>
                  </a:lnTo>
                  <a:lnTo>
                    <a:pt x="697" y="176"/>
                  </a:lnTo>
                  <a:lnTo>
                    <a:pt x="697" y="176"/>
                  </a:lnTo>
                  <a:lnTo>
                    <a:pt x="695" y="176"/>
                  </a:lnTo>
                  <a:lnTo>
                    <a:pt x="695" y="178"/>
                  </a:lnTo>
                  <a:lnTo>
                    <a:pt x="695" y="178"/>
                  </a:lnTo>
                  <a:lnTo>
                    <a:pt x="695" y="178"/>
                  </a:lnTo>
                  <a:lnTo>
                    <a:pt x="695" y="178"/>
                  </a:lnTo>
                  <a:lnTo>
                    <a:pt x="695" y="178"/>
                  </a:lnTo>
                  <a:lnTo>
                    <a:pt x="697" y="178"/>
                  </a:lnTo>
                  <a:lnTo>
                    <a:pt x="697" y="178"/>
                  </a:lnTo>
                  <a:lnTo>
                    <a:pt x="695" y="178"/>
                  </a:lnTo>
                  <a:lnTo>
                    <a:pt x="695" y="178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0" y="178"/>
                  </a:lnTo>
                  <a:lnTo>
                    <a:pt x="688" y="180"/>
                  </a:lnTo>
                  <a:lnTo>
                    <a:pt x="690" y="180"/>
                  </a:lnTo>
                  <a:lnTo>
                    <a:pt x="690" y="180"/>
                  </a:lnTo>
                  <a:lnTo>
                    <a:pt x="690" y="180"/>
                  </a:lnTo>
                  <a:lnTo>
                    <a:pt x="690" y="180"/>
                  </a:lnTo>
                  <a:lnTo>
                    <a:pt x="688" y="180"/>
                  </a:lnTo>
                  <a:lnTo>
                    <a:pt x="688" y="180"/>
                  </a:lnTo>
                  <a:lnTo>
                    <a:pt x="690" y="180"/>
                  </a:lnTo>
                  <a:lnTo>
                    <a:pt x="690" y="180"/>
                  </a:lnTo>
                  <a:lnTo>
                    <a:pt x="692" y="180"/>
                  </a:lnTo>
                  <a:lnTo>
                    <a:pt x="692" y="180"/>
                  </a:lnTo>
                  <a:lnTo>
                    <a:pt x="692" y="180"/>
                  </a:lnTo>
                  <a:lnTo>
                    <a:pt x="692" y="180"/>
                  </a:lnTo>
                  <a:lnTo>
                    <a:pt x="695" y="180"/>
                  </a:lnTo>
                  <a:lnTo>
                    <a:pt x="697" y="178"/>
                  </a:lnTo>
                  <a:lnTo>
                    <a:pt x="701" y="178"/>
                  </a:lnTo>
                  <a:lnTo>
                    <a:pt x="699" y="178"/>
                  </a:lnTo>
                  <a:lnTo>
                    <a:pt x="701" y="178"/>
                  </a:lnTo>
                  <a:lnTo>
                    <a:pt x="701" y="178"/>
                  </a:lnTo>
                  <a:lnTo>
                    <a:pt x="706" y="178"/>
                  </a:lnTo>
                  <a:lnTo>
                    <a:pt x="708" y="178"/>
                  </a:lnTo>
                  <a:lnTo>
                    <a:pt x="706" y="178"/>
                  </a:lnTo>
                  <a:lnTo>
                    <a:pt x="704" y="178"/>
                  </a:lnTo>
                  <a:lnTo>
                    <a:pt x="701" y="178"/>
                  </a:lnTo>
                  <a:lnTo>
                    <a:pt x="701" y="180"/>
                  </a:lnTo>
                  <a:lnTo>
                    <a:pt x="701" y="180"/>
                  </a:lnTo>
                  <a:lnTo>
                    <a:pt x="704" y="178"/>
                  </a:lnTo>
                  <a:lnTo>
                    <a:pt x="704" y="178"/>
                  </a:lnTo>
                  <a:lnTo>
                    <a:pt x="704" y="178"/>
                  </a:lnTo>
                  <a:lnTo>
                    <a:pt x="704" y="178"/>
                  </a:lnTo>
                  <a:lnTo>
                    <a:pt x="704" y="178"/>
                  </a:lnTo>
                  <a:lnTo>
                    <a:pt x="704" y="178"/>
                  </a:lnTo>
                  <a:lnTo>
                    <a:pt x="704" y="178"/>
                  </a:lnTo>
                  <a:lnTo>
                    <a:pt x="706" y="178"/>
                  </a:lnTo>
                  <a:lnTo>
                    <a:pt x="708" y="178"/>
                  </a:lnTo>
                  <a:lnTo>
                    <a:pt x="708" y="178"/>
                  </a:lnTo>
                  <a:lnTo>
                    <a:pt x="708" y="178"/>
                  </a:lnTo>
                  <a:lnTo>
                    <a:pt x="708" y="178"/>
                  </a:lnTo>
                  <a:lnTo>
                    <a:pt x="708" y="176"/>
                  </a:lnTo>
                  <a:lnTo>
                    <a:pt x="708" y="176"/>
                  </a:lnTo>
                  <a:lnTo>
                    <a:pt x="708" y="176"/>
                  </a:lnTo>
                  <a:lnTo>
                    <a:pt x="706" y="176"/>
                  </a:lnTo>
                  <a:lnTo>
                    <a:pt x="708" y="176"/>
                  </a:lnTo>
                  <a:lnTo>
                    <a:pt x="708" y="176"/>
                  </a:lnTo>
                  <a:lnTo>
                    <a:pt x="710" y="176"/>
                  </a:lnTo>
                  <a:lnTo>
                    <a:pt x="713" y="174"/>
                  </a:lnTo>
                  <a:lnTo>
                    <a:pt x="717" y="171"/>
                  </a:lnTo>
                  <a:lnTo>
                    <a:pt x="722" y="171"/>
                  </a:lnTo>
                  <a:lnTo>
                    <a:pt x="722" y="171"/>
                  </a:lnTo>
                  <a:lnTo>
                    <a:pt x="724" y="171"/>
                  </a:lnTo>
                  <a:lnTo>
                    <a:pt x="724" y="171"/>
                  </a:lnTo>
                  <a:lnTo>
                    <a:pt x="724" y="171"/>
                  </a:lnTo>
                  <a:lnTo>
                    <a:pt x="724" y="171"/>
                  </a:lnTo>
                  <a:lnTo>
                    <a:pt x="726" y="174"/>
                  </a:lnTo>
                  <a:lnTo>
                    <a:pt x="728" y="174"/>
                  </a:lnTo>
                  <a:lnTo>
                    <a:pt x="728" y="174"/>
                  </a:lnTo>
                  <a:lnTo>
                    <a:pt x="733" y="174"/>
                  </a:lnTo>
                  <a:lnTo>
                    <a:pt x="733" y="174"/>
                  </a:lnTo>
                  <a:lnTo>
                    <a:pt x="733" y="174"/>
                  </a:lnTo>
                  <a:lnTo>
                    <a:pt x="735" y="174"/>
                  </a:lnTo>
                  <a:lnTo>
                    <a:pt x="735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40" y="176"/>
                  </a:lnTo>
                  <a:lnTo>
                    <a:pt x="740" y="176"/>
                  </a:lnTo>
                  <a:lnTo>
                    <a:pt x="742" y="178"/>
                  </a:lnTo>
                  <a:lnTo>
                    <a:pt x="740" y="178"/>
                  </a:lnTo>
                  <a:lnTo>
                    <a:pt x="740" y="178"/>
                  </a:lnTo>
                  <a:lnTo>
                    <a:pt x="740" y="178"/>
                  </a:lnTo>
                  <a:lnTo>
                    <a:pt x="740" y="178"/>
                  </a:lnTo>
                  <a:lnTo>
                    <a:pt x="740" y="178"/>
                  </a:lnTo>
                  <a:lnTo>
                    <a:pt x="740" y="178"/>
                  </a:lnTo>
                  <a:lnTo>
                    <a:pt x="740" y="178"/>
                  </a:lnTo>
                  <a:lnTo>
                    <a:pt x="737" y="178"/>
                  </a:lnTo>
                  <a:lnTo>
                    <a:pt x="737" y="180"/>
                  </a:lnTo>
                  <a:lnTo>
                    <a:pt x="737" y="180"/>
                  </a:lnTo>
                  <a:lnTo>
                    <a:pt x="737" y="180"/>
                  </a:lnTo>
                  <a:lnTo>
                    <a:pt x="733" y="180"/>
                  </a:lnTo>
                  <a:lnTo>
                    <a:pt x="733" y="180"/>
                  </a:lnTo>
                  <a:lnTo>
                    <a:pt x="733" y="180"/>
                  </a:lnTo>
                  <a:lnTo>
                    <a:pt x="733" y="180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1" y="183"/>
                  </a:lnTo>
                  <a:lnTo>
                    <a:pt x="724" y="183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5"/>
                  </a:lnTo>
                  <a:lnTo>
                    <a:pt x="724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2" y="187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6" y="185"/>
                  </a:lnTo>
                  <a:lnTo>
                    <a:pt x="728" y="185"/>
                  </a:lnTo>
                  <a:lnTo>
                    <a:pt x="731" y="185"/>
                  </a:lnTo>
                  <a:lnTo>
                    <a:pt x="731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5"/>
                  </a:lnTo>
                  <a:lnTo>
                    <a:pt x="728" y="183"/>
                  </a:lnTo>
                  <a:lnTo>
                    <a:pt x="728" y="183"/>
                  </a:lnTo>
                  <a:lnTo>
                    <a:pt x="731" y="183"/>
                  </a:lnTo>
                  <a:lnTo>
                    <a:pt x="731" y="183"/>
                  </a:lnTo>
                  <a:lnTo>
                    <a:pt x="731" y="183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5" y="183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3" y="183"/>
                  </a:lnTo>
                  <a:lnTo>
                    <a:pt x="731" y="185"/>
                  </a:lnTo>
                  <a:lnTo>
                    <a:pt x="731" y="185"/>
                  </a:lnTo>
                  <a:lnTo>
                    <a:pt x="731" y="185"/>
                  </a:lnTo>
                  <a:lnTo>
                    <a:pt x="731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3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5"/>
                  </a:lnTo>
                  <a:lnTo>
                    <a:pt x="735" y="183"/>
                  </a:lnTo>
                  <a:lnTo>
                    <a:pt x="737" y="183"/>
                  </a:lnTo>
                  <a:lnTo>
                    <a:pt x="737" y="183"/>
                  </a:lnTo>
                  <a:lnTo>
                    <a:pt x="740" y="183"/>
                  </a:lnTo>
                  <a:lnTo>
                    <a:pt x="740" y="183"/>
                  </a:lnTo>
                  <a:lnTo>
                    <a:pt x="740" y="183"/>
                  </a:lnTo>
                  <a:lnTo>
                    <a:pt x="740" y="183"/>
                  </a:lnTo>
                  <a:lnTo>
                    <a:pt x="740" y="183"/>
                  </a:lnTo>
                  <a:close/>
                  <a:moveTo>
                    <a:pt x="811" y="160"/>
                  </a:moveTo>
                  <a:lnTo>
                    <a:pt x="811" y="160"/>
                  </a:lnTo>
                  <a:lnTo>
                    <a:pt x="809" y="160"/>
                  </a:lnTo>
                  <a:lnTo>
                    <a:pt x="809" y="160"/>
                  </a:lnTo>
                  <a:lnTo>
                    <a:pt x="805" y="162"/>
                  </a:lnTo>
                  <a:lnTo>
                    <a:pt x="805" y="162"/>
                  </a:lnTo>
                  <a:lnTo>
                    <a:pt x="805" y="160"/>
                  </a:lnTo>
                  <a:lnTo>
                    <a:pt x="805" y="160"/>
                  </a:lnTo>
                  <a:lnTo>
                    <a:pt x="805" y="160"/>
                  </a:lnTo>
                  <a:lnTo>
                    <a:pt x="805" y="160"/>
                  </a:lnTo>
                  <a:lnTo>
                    <a:pt x="807" y="160"/>
                  </a:lnTo>
                  <a:lnTo>
                    <a:pt x="809" y="160"/>
                  </a:lnTo>
                  <a:lnTo>
                    <a:pt x="811" y="160"/>
                  </a:lnTo>
                  <a:lnTo>
                    <a:pt x="811" y="160"/>
                  </a:lnTo>
                  <a:lnTo>
                    <a:pt x="811" y="160"/>
                  </a:lnTo>
                  <a:lnTo>
                    <a:pt x="811" y="160"/>
                  </a:lnTo>
                  <a:close/>
                  <a:moveTo>
                    <a:pt x="850" y="167"/>
                  </a:moveTo>
                  <a:lnTo>
                    <a:pt x="847" y="167"/>
                  </a:lnTo>
                  <a:lnTo>
                    <a:pt x="845" y="167"/>
                  </a:lnTo>
                  <a:lnTo>
                    <a:pt x="845" y="167"/>
                  </a:lnTo>
                  <a:lnTo>
                    <a:pt x="845" y="169"/>
                  </a:lnTo>
                  <a:lnTo>
                    <a:pt x="845" y="169"/>
                  </a:lnTo>
                  <a:lnTo>
                    <a:pt x="843" y="169"/>
                  </a:lnTo>
                  <a:lnTo>
                    <a:pt x="843" y="169"/>
                  </a:lnTo>
                  <a:lnTo>
                    <a:pt x="841" y="169"/>
                  </a:lnTo>
                  <a:lnTo>
                    <a:pt x="838" y="171"/>
                  </a:lnTo>
                  <a:lnTo>
                    <a:pt x="838" y="171"/>
                  </a:lnTo>
                  <a:lnTo>
                    <a:pt x="838" y="171"/>
                  </a:lnTo>
                  <a:lnTo>
                    <a:pt x="836" y="171"/>
                  </a:lnTo>
                  <a:lnTo>
                    <a:pt x="834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32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9" y="174"/>
                  </a:lnTo>
                  <a:lnTo>
                    <a:pt x="827" y="171"/>
                  </a:lnTo>
                  <a:lnTo>
                    <a:pt x="827" y="171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7" y="169"/>
                  </a:lnTo>
                  <a:lnTo>
                    <a:pt x="825" y="169"/>
                  </a:lnTo>
                  <a:lnTo>
                    <a:pt x="825" y="167"/>
                  </a:lnTo>
                  <a:lnTo>
                    <a:pt x="825" y="167"/>
                  </a:lnTo>
                  <a:lnTo>
                    <a:pt x="827" y="167"/>
                  </a:lnTo>
                  <a:lnTo>
                    <a:pt x="827" y="167"/>
                  </a:lnTo>
                  <a:lnTo>
                    <a:pt x="827" y="167"/>
                  </a:lnTo>
                  <a:lnTo>
                    <a:pt x="827" y="167"/>
                  </a:lnTo>
                  <a:lnTo>
                    <a:pt x="825" y="167"/>
                  </a:lnTo>
                  <a:lnTo>
                    <a:pt x="825" y="167"/>
                  </a:lnTo>
                  <a:lnTo>
                    <a:pt x="825" y="167"/>
                  </a:lnTo>
                  <a:lnTo>
                    <a:pt x="827" y="167"/>
                  </a:lnTo>
                  <a:lnTo>
                    <a:pt x="827" y="167"/>
                  </a:lnTo>
                  <a:lnTo>
                    <a:pt x="827" y="167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5" y="165"/>
                  </a:lnTo>
                  <a:lnTo>
                    <a:pt x="823" y="165"/>
                  </a:lnTo>
                  <a:lnTo>
                    <a:pt x="823" y="165"/>
                  </a:lnTo>
                  <a:lnTo>
                    <a:pt x="823" y="162"/>
                  </a:lnTo>
                  <a:lnTo>
                    <a:pt x="820" y="162"/>
                  </a:lnTo>
                  <a:lnTo>
                    <a:pt x="818" y="162"/>
                  </a:lnTo>
                  <a:lnTo>
                    <a:pt x="818" y="162"/>
                  </a:lnTo>
                  <a:lnTo>
                    <a:pt x="818" y="162"/>
                  </a:lnTo>
                  <a:lnTo>
                    <a:pt x="818" y="162"/>
                  </a:lnTo>
                  <a:lnTo>
                    <a:pt x="820" y="162"/>
                  </a:lnTo>
                  <a:lnTo>
                    <a:pt x="820" y="160"/>
                  </a:lnTo>
                  <a:lnTo>
                    <a:pt x="820" y="160"/>
                  </a:lnTo>
                  <a:lnTo>
                    <a:pt x="823" y="160"/>
                  </a:lnTo>
                  <a:lnTo>
                    <a:pt x="823" y="160"/>
                  </a:lnTo>
                  <a:lnTo>
                    <a:pt x="825" y="160"/>
                  </a:lnTo>
                  <a:lnTo>
                    <a:pt x="827" y="158"/>
                  </a:lnTo>
                  <a:lnTo>
                    <a:pt x="829" y="158"/>
                  </a:lnTo>
                  <a:lnTo>
                    <a:pt x="843" y="158"/>
                  </a:lnTo>
                  <a:lnTo>
                    <a:pt x="845" y="158"/>
                  </a:lnTo>
                  <a:lnTo>
                    <a:pt x="847" y="158"/>
                  </a:lnTo>
                  <a:lnTo>
                    <a:pt x="850" y="158"/>
                  </a:lnTo>
                  <a:lnTo>
                    <a:pt x="850" y="158"/>
                  </a:lnTo>
                  <a:lnTo>
                    <a:pt x="852" y="158"/>
                  </a:lnTo>
                  <a:lnTo>
                    <a:pt x="852" y="158"/>
                  </a:lnTo>
                  <a:lnTo>
                    <a:pt x="852" y="158"/>
                  </a:lnTo>
                  <a:lnTo>
                    <a:pt x="852" y="160"/>
                  </a:lnTo>
                  <a:lnTo>
                    <a:pt x="852" y="160"/>
                  </a:lnTo>
                  <a:lnTo>
                    <a:pt x="852" y="160"/>
                  </a:lnTo>
                  <a:lnTo>
                    <a:pt x="854" y="160"/>
                  </a:lnTo>
                  <a:lnTo>
                    <a:pt x="856" y="160"/>
                  </a:lnTo>
                  <a:lnTo>
                    <a:pt x="856" y="160"/>
                  </a:lnTo>
                  <a:lnTo>
                    <a:pt x="856" y="162"/>
                  </a:lnTo>
                  <a:lnTo>
                    <a:pt x="856" y="162"/>
                  </a:lnTo>
                  <a:lnTo>
                    <a:pt x="854" y="162"/>
                  </a:lnTo>
                  <a:lnTo>
                    <a:pt x="854" y="162"/>
                  </a:lnTo>
                  <a:lnTo>
                    <a:pt x="854" y="162"/>
                  </a:lnTo>
                  <a:lnTo>
                    <a:pt x="854" y="162"/>
                  </a:lnTo>
                  <a:lnTo>
                    <a:pt x="854" y="162"/>
                  </a:lnTo>
                  <a:lnTo>
                    <a:pt x="852" y="162"/>
                  </a:lnTo>
                  <a:lnTo>
                    <a:pt x="852" y="165"/>
                  </a:lnTo>
                  <a:lnTo>
                    <a:pt x="852" y="165"/>
                  </a:lnTo>
                  <a:lnTo>
                    <a:pt x="852" y="165"/>
                  </a:lnTo>
                  <a:lnTo>
                    <a:pt x="852" y="165"/>
                  </a:lnTo>
                  <a:lnTo>
                    <a:pt x="852" y="165"/>
                  </a:lnTo>
                  <a:lnTo>
                    <a:pt x="850" y="165"/>
                  </a:lnTo>
                  <a:lnTo>
                    <a:pt x="850" y="165"/>
                  </a:lnTo>
                  <a:lnTo>
                    <a:pt x="850" y="165"/>
                  </a:lnTo>
                  <a:lnTo>
                    <a:pt x="850" y="167"/>
                  </a:lnTo>
                  <a:close/>
                  <a:moveTo>
                    <a:pt x="1207" y="158"/>
                  </a:moveTo>
                  <a:lnTo>
                    <a:pt x="1209" y="158"/>
                  </a:lnTo>
                  <a:lnTo>
                    <a:pt x="1209" y="158"/>
                  </a:lnTo>
                  <a:lnTo>
                    <a:pt x="1211" y="158"/>
                  </a:lnTo>
                  <a:lnTo>
                    <a:pt x="1211" y="158"/>
                  </a:lnTo>
                  <a:lnTo>
                    <a:pt x="1211" y="158"/>
                  </a:lnTo>
                  <a:lnTo>
                    <a:pt x="1211" y="158"/>
                  </a:lnTo>
                  <a:lnTo>
                    <a:pt x="1211" y="158"/>
                  </a:lnTo>
                  <a:lnTo>
                    <a:pt x="1211" y="158"/>
                  </a:lnTo>
                  <a:lnTo>
                    <a:pt x="1214" y="158"/>
                  </a:lnTo>
                  <a:lnTo>
                    <a:pt x="1216" y="158"/>
                  </a:lnTo>
                  <a:lnTo>
                    <a:pt x="1216" y="160"/>
                  </a:lnTo>
                  <a:lnTo>
                    <a:pt x="1218" y="160"/>
                  </a:lnTo>
                  <a:lnTo>
                    <a:pt x="1225" y="160"/>
                  </a:lnTo>
                  <a:lnTo>
                    <a:pt x="1225" y="160"/>
                  </a:lnTo>
                  <a:lnTo>
                    <a:pt x="1227" y="160"/>
                  </a:lnTo>
                  <a:lnTo>
                    <a:pt x="1227" y="160"/>
                  </a:lnTo>
                  <a:lnTo>
                    <a:pt x="1227" y="160"/>
                  </a:lnTo>
                  <a:lnTo>
                    <a:pt x="1229" y="160"/>
                  </a:lnTo>
                  <a:lnTo>
                    <a:pt x="1238" y="160"/>
                  </a:lnTo>
                  <a:lnTo>
                    <a:pt x="1238" y="160"/>
                  </a:lnTo>
                  <a:lnTo>
                    <a:pt x="1238" y="160"/>
                  </a:lnTo>
                  <a:lnTo>
                    <a:pt x="1241" y="160"/>
                  </a:lnTo>
                  <a:lnTo>
                    <a:pt x="1241" y="160"/>
                  </a:lnTo>
                  <a:lnTo>
                    <a:pt x="1247" y="160"/>
                  </a:lnTo>
                  <a:lnTo>
                    <a:pt x="1247" y="162"/>
                  </a:lnTo>
                  <a:lnTo>
                    <a:pt x="1247" y="162"/>
                  </a:lnTo>
                  <a:lnTo>
                    <a:pt x="1247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2"/>
                  </a:lnTo>
                  <a:lnTo>
                    <a:pt x="1250" y="165"/>
                  </a:lnTo>
                  <a:lnTo>
                    <a:pt x="1250" y="165"/>
                  </a:lnTo>
                  <a:lnTo>
                    <a:pt x="1250" y="165"/>
                  </a:lnTo>
                  <a:lnTo>
                    <a:pt x="1250" y="165"/>
                  </a:lnTo>
                  <a:lnTo>
                    <a:pt x="1250" y="165"/>
                  </a:lnTo>
                  <a:lnTo>
                    <a:pt x="1250" y="165"/>
                  </a:lnTo>
                  <a:lnTo>
                    <a:pt x="1250" y="165"/>
                  </a:lnTo>
                  <a:lnTo>
                    <a:pt x="1252" y="165"/>
                  </a:lnTo>
                  <a:lnTo>
                    <a:pt x="1252" y="165"/>
                  </a:lnTo>
                  <a:lnTo>
                    <a:pt x="1252" y="165"/>
                  </a:lnTo>
                  <a:lnTo>
                    <a:pt x="1252" y="165"/>
                  </a:lnTo>
                  <a:lnTo>
                    <a:pt x="1252" y="165"/>
                  </a:lnTo>
                  <a:lnTo>
                    <a:pt x="1252" y="165"/>
                  </a:lnTo>
                  <a:lnTo>
                    <a:pt x="1254" y="165"/>
                  </a:lnTo>
                  <a:lnTo>
                    <a:pt x="1254" y="165"/>
                  </a:lnTo>
                  <a:lnTo>
                    <a:pt x="1254" y="165"/>
                  </a:lnTo>
                  <a:lnTo>
                    <a:pt x="1254" y="167"/>
                  </a:lnTo>
                  <a:lnTo>
                    <a:pt x="1252" y="167"/>
                  </a:lnTo>
                  <a:lnTo>
                    <a:pt x="1252" y="167"/>
                  </a:lnTo>
                  <a:lnTo>
                    <a:pt x="1252" y="167"/>
                  </a:lnTo>
                  <a:lnTo>
                    <a:pt x="1254" y="167"/>
                  </a:lnTo>
                  <a:lnTo>
                    <a:pt x="1254" y="167"/>
                  </a:lnTo>
                  <a:lnTo>
                    <a:pt x="1254" y="167"/>
                  </a:lnTo>
                  <a:lnTo>
                    <a:pt x="1252" y="169"/>
                  </a:lnTo>
                  <a:lnTo>
                    <a:pt x="1252" y="169"/>
                  </a:lnTo>
                  <a:lnTo>
                    <a:pt x="1254" y="169"/>
                  </a:lnTo>
                  <a:lnTo>
                    <a:pt x="1254" y="169"/>
                  </a:lnTo>
                  <a:lnTo>
                    <a:pt x="1254" y="169"/>
                  </a:lnTo>
                  <a:lnTo>
                    <a:pt x="1254" y="169"/>
                  </a:lnTo>
                  <a:lnTo>
                    <a:pt x="1256" y="169"/>
                  </a:lnTo>
                  <a:lnTo>
                    <a:pt x="1256" y="169"/>
                  </a:lnTo>
                  <a:lnTo>
                    <a:pt x="1256" y="169"/>
                  </a:lnTo>
                  <a:lnTo>
                    <a:pt x="1256" y="171"/>
                  </a:lnTo>
                  <a:lnTo>
                    <a:pt x="1256" y="171"/>
                  </a:lnTo>
                  <a:lnTo>
                    <a:pt x="1256" y="171"/>
                  </a:lnTo>
                  <a:lnTo>
                    <a:pt x="1256" y="171"/>
                  </a:lnTo>
                  <a:lnTo>
                    <a:pt x="1256" y="171"/>
                  </a:lnTo>
                  <a:lnTo>
                    <a:pt x="1256" y="171"/>
                  </a:lnTo>
                  <a:lnTo>
                    <a:pt x="1256" y="171"/>
                  </a:lnTo>
                  <a:lnTo>
                    <a:pt x="1254" y="171"/>
                  </a:lnTo>
                  <a:lnTo>
                    <a:pt x="1254" y="171"/>
                  </a:lnTo>
                  <a:lnTo>
                    <a:pt x="1254" y="171"/>
                  </a:lnTo>
                  <a:lnTo>
                    <a:pt x="1254" y="171"/>
                  </a:lnTo>
                  <a:lnTo>
                    <a:pt x="1254" y="171"/>
                  </a:lnTo>
                  <a:lnTo>
                    <a:pt x="1254" y="171"/>
                  </a:lnTo>
                  <a:lnTo>
                    <a:pt x="1254" y="171"/>
                  </a:lnTo>
                  <a:lnTo>
                    <a:pt x="1254" y="174"/>
                  </a:lnTo>
                  <a:lnTo>
                    <a:pt x="1256" y="174"/>
                  </a:lnTo>
                  <a:lnTo>
                    <a:pt x="1256" y="174"/>
                  </a:lnTo>
                  <a:lnTo>
                    <a:pt x="1256" y="174"/>
                  </a:lnTo>
                  <a:lnTo>
                    <a:pt x="1256" y="174"/>
                  </a:lnTo>
                  <a:lnTo>
                    <a:pt x="1256" y="174"/>
                  </a:lnTo>
                  <a:lnTo>
                    <a:pt x="1256" y="174"/>
                  </a:lnTo>
                  <a:lnTo>
                    <a:pt x="1254" y="174"/>
                  </a:lnTo>
                  <a:lnTo>
                    <a:pt x="1254" y="176"/>
                  </a:lnTo>
                  <a:lnTo>
                    <a:pt x="1252" y="176"/>
                  </a:lnTo>
                  <a:lnTo>
                    <a:pt x="1247" y="176"/>
                  </a:lnTo>
                  <a:lnTo>
                    <a:pt x="1245" y="176"/>
                  </a:lnTo>
                  <a:lnTo>
                    <a:pt x="1245" y="176"/>
                  </a:lnTo>
                  <a:lnTo>
                    <a:pt x="1245" y="176"/>
                  </a:lnTo>
                  <a:lnTo>
                    <a:pt x="1238" y="174"/>
                  </a:lnTo>
                  <a:lnTo>
                    <a:pt x="1236" y="174"/>
                  </a:lnTo>
                  <a:lnTo>
                    <a:pt x="1227" y="174"/>
                  </a:lnTo>
                  <a:lnTo>
                    <a:pt x="1227" y="174"/>
                  </a:lnTo>
                  <a:lnTo>
                    <a:pt x="1225" y="174"/>
                  </a:lnTo>
                  <a:lnTo>
                    <a:pt x="1218" y="174"/>
                  </a:lnTo>
                  <a:lnTo>
                    <a:pt x="1218" y="176"/>
                  </a:lnTo>
                  <a:lnTo>
                    <a:pt x="1214" y="176"/>
                  </a:lnTo>
                  <a:lnTo>
                    <a:pt x="1214" y="176"/>
                  </a:lnTo>
                  <a:lnTo>
                    <a:pt x="1209" y="176"/>
                  </a:lnTo>
                  <a:lnTo>
                    <a:pt x="1205" y="176"/>
                  </a:lnTo>
                  <a:lnTo>
                    <a:pt x="1202" y="176"/>
                  </a:lnTo>
                  <a:lnTo>
                    <a:pt x="1200" y="176"/>
                  </a:lnTo>
                  <a:lnTo>
                    <a:pt x="1200" y="174"/>
                  </a:lnTo>
                  <a:lnTo>
                    <a:pt x="1198" y="174"/>
                  </a:lnTo>
                  <a:lnTo>
                    <a:pt x="1198" y="174"/>
                  </a:lnTo>
                  <a:lnTo>
                    <a:pt x="1200" y="174"/>
                  </a:lnTo>
                  <a:lnTo>
                    <a:pt x="1200" y="174"/>
                  </a:lnTo>
                  <a:lnTo>
                    <a:pt x="1198" y="174"/>
                  </a:lnTo>
                  <a:lnTo>
                    <a:pt x="1200" y="174"/>
                  </a:lnTo>
                  <a:lnTo>
                    <a:pt x="1198" y="174"/>
                  </a:lnTo>
                  <a:lnTo>
                    <a:pt x="1198" y="171"/>
                  </a:lnTo>
                  <a:lnTo>
                    <a:pt x="1198" y="171"/>
                  </a:lnTo>
                  <a:lnTo>
                    <a:pt x="1198" y="171"/>
                  </a:lnTo>
                  <a:lnTo>
                    <a:pt x="1198" y="171"/>
                  </a:lnTo>
                  <a:lnTo>
                    <a:pt x="1198" y="171"/>
                  </a:lnTo>
                  <a:lnTo>
                    <a:pt x="1200" y="171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0" y="169"/>
                  </a:lnTo>
                  <a:lnTo>
                    <a:pt x="1202" y="169"/>
                  </a:lnTo>
                  <a:lnTo>
                    <a:pt x="1202" y="169"/>
                  </a:lnTo>
                  <a:lnTo>
                    <a:pt x="1202" y="167"/>
                  </a:lnTo>
                  <a:lnTo>
                    <a:pt x="1202" y="167"/>
                  </a:lnTo>
                  <a:lnTo>
                    <a:pt x="1202" y="167"/>
                  </a:lnTo>
                  <a:lnTo>
                    <a:pt x="1202" y="167"/>
                  </a:lnTo>
                  <a:lnTo>
                    <a:pt x="1200" y="167"/>
                  </a:lnTo>
                  <a:lnTo>
                    <a:pt x="1200" y="167"/>
                  </a:lnTo>
                  <a:lnTo>
                    <a:pt x="1198" y="167"/>
                  </a:lnTo>
                  <a:lnTo>
                    <a:pt x="1196" y="167"/>
                  </a:lnTo>
                  <a:lnTo>
                    <a:pt x="1196" y="167"/>
                  </a:lnTo>
                  <a:lnTo>
                    <a:pt x="1193" y="167"/>
                  </a:lnTo>
                  <a:lnTo>
                    <a:pt x="1193" y="167"/>
                  </a:lnTo>
                  <a:lnTo>
                    <a:pt x="1193" y="167"/>
                  </a:lnTo>
                  <a:lnTo>
                    <a:pt x="1193" y="167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3" y="165"/>
                  </a:lnTo>
                  <a:lnTo>
                    <a:pt x="1196" y="165"/>
                  </a:lnTo>
                  <a:lnTo>
                    <a:pt x="1196" y="165"/>
                  </a:lnTo>
                  <a:lnTo>
                    <a:pt x="1196" y="162"/>
                  </a:lnTo>
                  <a:lnTo>
                    <a:pt x="1196" y="162"/>
                  </a:lnTo>
                  <a:lnTo>
                    <a:pt x="1196" y="162"/>
                  </a:lnTo>
                  <a:lnTo>
                    <a:pt x="1196" y="162"/>
                  </a:lnTo>
                  <a:lnTo>
                    <a:pt x="1196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2"/>
                  </a:lnTo>
                  <a:lnTo>
                    <a:pt x="1198" y="160"/>
                  </a:lnTo>
                  <a:lnTo>
                    <a:pt x="1198" y="160"/>
                  </a:lnTo>
                  <a:lnTo>
                    <a:pt x="1198" y="160"/>
                  </a:lnTo>
                  <a:lnTo>
                    <a:pt x="1198" y="160"/>
                  </a:lnTo>
                  <a:lnTo>
                    <a:pt x="1198" y="160"/>
                  </a:lnTo>
                  <a:lnTo>
                    <a:pt x="1198" y="160"/>
                  </a:lnTo>
                  <a:lnTo>
                    <a:pt x="1198" y="160"/>
                  </a:lnTo>
                  <a:lnTo>
                    <a:pt x="1200" y="160"/>
                  </a:lnTo>
                  <a:lnTo>
                    <a:pt x="1200" y="158"/>
                  </a:lnTo>
                  <a:lnTo>
                    <a:pt x="1200" y="158"/>
                  </a:lnTo>
                  <a:lnTo>
                    <a:pt x="1200" y="158"/>
                  </a:lnTo>
                  <a:lnTo>
                    <a:pt x="1200" y="158"/>
                  </a:lnTo>
                  <a:lnTo>
                    <a:pt x="1202" y="158"/>
                  </a:lnTo>
                  <a:lnTo>
                    <a:pt x="1202" y="158"/>
                  </a:lnTo>
                  <a:lnTo>
                    <a:pt x="1202" y="158"/>
                  </a:lnTo>
                  <a:lnTo>
                    <a:pt x="1205" y="158"/>
                  </a:lnTo>
                  <a:lnTo>
                    <a:pt x="1207" y="158"/>
                  </a:lnTo>
                  <a:lnTo>
                    <a:pt x="1207" y="158"/>
                  </a:lnTo>
                  <a:close/>
                  <a:moveTo>
                    <a:pt x="1104" y="189"/>
                  </a:moveTo>
                  <a:lnTo>
                    <a:pt x="1104" y="189"/>
                  </a:lnTo>
                  <a:lnTo>
                    <a:pt x="1104" y="189"/>
                  </a:lnTo>
                  <a:lnTo>
                    <a:pt x="1106" y="189"/>
                  </a:lnTo>
                  <a:lnTo>
                    <a:pt x="1106" y="189"/>
                  </a:lnTo>
                  <a:lnTo>
                    <a:pt x="1106" y="189"/>
                  </a:lnTo>
                  <a:lnTo>
                    <a:pt x="1106" y="189"/>
                  </a:lnTo>
                  <a:lnTo>
                    <a:pt x="1106" y="189"/>
                  </a:lnTo>
                  <a:lnTo>
                    <a:pt x="1106" y="189"/>
                  </a:lnTo>
                  <a:lnTo>
                    <a:pt x="1108" y="189"/>
                  </a:lnTo>
                  <a:lnTo>
                    <a:pt x="1108" y="189"/>
                  </a:lnTo>
                  <a:lnTo>
                    <a:pt x="1108" y="189"/>
                  </a:lnTo>
                  <a:lnTo>
                    <a:pt x="1108" y="189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10" y="187"/>
                  </a:lnTo>
                  <a:lnTo>
                    <a:pt x="1110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7"/>
                  </a:lnTo>
                  <a:lnTo>
                    <a:pt x="1108" y="185"/>
                  </a:lnTo>
                  <a:lnTo>
                    <a:pt x="1110" y="185"/>
                  </a:lnTo>
                  <a:lnTo>
                    <a:pt x="1110" y="187"/>
                  </a:lnTo>
                  <a:lnTo>
                    <a:pt x="1110" y="187"/>
                  </a:lnTo>
                  <a:lnTo>
                    <a:pt x="1113" y="185"/>
                  </a:lnTo>
                  <a:lnTo>
                    <a:pt x="1113" y="185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3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5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7" y="187"/>
                  </a:lnTo>
                  <a:lnTo>
                    <a:pt x="1119" y="189"/>
                  </a:lnTo>
                  <a:lnTo>
                    <a:pt x="1119" y="189"/>
                  </a:lnTo>
                  <a:lnTo>
                    <a:pt x="1119" y="189"/>
                  </a:lnTo>
                  <a:lnTo>
                    <a:pt x="1119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1" y="192"/>
                  </a:lnTo>
                  <a:lnTo>
                    <a:pt x="1121" y="192"/>
                  </a:lnTo>
                  <a:lnTo>
                    <a:pt x="1121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92"/>
                  </a:lnTo>
                  <a:lnTo>
                    <a:pt x="1124" y="189"/>
                  </a:lnTo>
                  <a:lnTo>
                    <a:pt x="1124" y="189"/>
                  </a:lnTo>
                  <a:lnTo>
                    <a:pt x="1124" y="189"/>
                  </a:lnTo>
                  <a:lnTo>
                    <a:pt x="1124" y="189"/>
                  </a:lnTo>
                  <a:lnTo>
                    <a:pt x="1124" y="189"/>
                  </a:lnTo>
                  <a:lnTo>
                    <a:pt x="1121" y="189"/>
                  </a:lnTo>
                  <a:lnTo>
                    <a:pt x="1121" y="189"/>
                  </a:lnTo>
                  <a:lnTo>
                    <a:pt x="1124" y="189"/>
                  </a:lnTo>
                  <a:lnTo>
                    <a:pt x="1124" y="189"/>
                  </a:lnTo>
                  <a:lnTo>
                    <a:pt x="1121" y="189"/>
                  </a:lnTo>
                  <a:lnTo>
                    <a:pt x="1121" y="187"/>
                  </a:lnTo>
                  <a:lnTo>
                    <a:pt x="1119" y="187"/>
                  </a:lnTo>
                  <a:lnTo>
                    <a:pt x="1119" y="187"/>
                  </a:lnTo>
                  <a:lnTo>
                    <a:pt x="1119" y="187"/>
                  </a:lnTo>
                  <a:lnTo>
                    <a:pt x="1119" y="187"/>
                  </a:lnTo>
                  <a:lnTo>
                    <a:pt x="1121" y="187"/>
                  </a:lnTo>
                  <a:lnTo>
                    <a:pt x="1119" y="187"/>
                  </a:lnTo>
                  <a:lnTo>
                    <a:pt x="1119" y="187"/>
                  </a:lnTo>
                  <a:lnTo>
                    <a:pt x="1119" y="187"/>
                  </a:lnTo>
                  <a:lnTo>
                    <a:pt x="1119" y="187"/>
                  </a:lnTo>
                  <a:lnTo>
                    <a:pt x="1119" y="185"/>
                  </a:lnTo>
                  <a:lnTo>
                    <a:pt x="1117" y="185"/>
                  </a:lnTo>
                  <a:lnTo>
                    <a:pt x="1117" y="185"/>
                  </a:lnTo>
                  <a:lnTo>
                    <a:pt x="1117" y="185"/>
                  </a:lnTo>
                  <a:lnTo>
                    <a:pt x="1119" y="185"/>
                  </a:lnTo>
                  <a:lnTo>
                    <a:pt x="1119" y="185"/>
                  </a:lnTo>
                  <a:lnTo>
                    <a:pt x="1119" y="185"/>
                  </a:lnTo>
                  <a:lnTo>
                    <a:pt x="1119" y="185"/>
                  </a:lnTo>
                  <a:lnTo>
                    <a:pt x="1121" y="185"/>
                  </a:lnTo>
                  <a:lnTo>
                    <a:pt x="1124" y="185"/>
                  </a:lnTo>
                  <a:lnTo>
                    <a:pt x="1124" y="185"/>
                  </a:lnTo>
                  <a:lnTo>
                    <a:pt x="1126" y="183"/>
                  </a:lnTo>
                  <a:lnTo>
                    <a:pt x="1126" y="183"/>
                  </a:lnTo>
                  <a:lnTo>
                    <a:pt x="1124" y="185"/>
                  </a:lnTo>
                  <a:lnTo>
                    <a:pt x="1121" y="183"/>
                  </a:lnTo>
                  <a:lnTo>
                    <a:pt x="1119" y="185"/>
                  </a:lnTo>
                  <a:lnTo>
                    <a:pt x="1119" y="185"/>
                  </a:lnTo>
                  <a:lnTo>
                    <a:pt x="1119" y="183"/>
                  </a:lnTo>
                  <a:lnTo>
                    <a:pt x="1119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24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21" y="183"/>
                  </a:lnTo>
                  <a:lnTo>
                    <a:pt x="1117" y="183"/>
                  </a:lnTo>
                  <a:lnTo>
                    <a:pt x="1117" y="183"/>
                  </a:lnTo>
                  <a:lnTo>
                    <a:pt x="1117" y="183"/>
                  </a:lnTo>
                  <a:lnTo>
                    <a:pt x="1117" y="185"/>
                  </a:lnTo>
                  <a:lnTo>
                    <a:pt x="1117" y="185"/>
                  </a:lnTo>
                  <a:lnTo>
                    <a:pt x="1117" y="185"/>
                  </a:lnTo>
                  <a:lnTo>
                    <a:pt x="1115" y="185"/>
                  </a:lnTo>
                  <a:lnTo>
                    <a:pt x="1115" y="185"/>
                  </a:lnTo>
                  <a:lnTo>
                    <a:pt x="1115" y="185"/>
                  </a:lnTo>
                  <a:lnTo>
                    <a:pt x="1115" y="185"/>
                  </a:lnTo>
                  <a:lnTo>
                    <a:pt x="1117" y="185"/>
                  </a:lnTo>
                  <a:lnTo>
                    <a:pt x="1117" y="183"/>
                  </a:lnTo>
                  <a:lnTo>
                    <a:pt x="1117" y="183"/>
                  </a:lnTo>
                  <a:lnTo>
                    <a:pt x="1117" y="183"/>
                  </a:lnTo>
                  <a:lnTo>
                    <a:pt x="1113" y="183"/>
                  </a:lnTo>
                  <a:lnTo>
                    <a:pt x="1113" y="183"/>
                  </a:lnTo>
                  <a:lnTo>
                    <a:pt x="1113" y="183"/>
                  </a:lnTo>
                  <a:lnTo>
                    <a:pt x="1113" y="183"/>
                  </a:lnTo>
                  <a:lnTo>
                    <a:pt x="1113" y="183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5" y="180"/>
                  </a:lnTo>
                  <a:lnTo>
                    <a:pt x="1115" y="180"/>
                  </a:lnTo>
                  <a:lnTo>
                    <a:pt x="1115" y="180"/>
                  </a:lnTo>
                  <a:lnTo>
                    <a:pt x="1113" y="180"/>
                  </a:lnTo>
                  <a:lnTo>
                    <a:pt x="1113" y="180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8"/>
                  </a:lnTo>
                  <a:lnTo>
                    <a:pt x="1113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5" y="176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7" y="174"/>
                  </a:lnTo>
                  <a:lnTo>
                    <a:pt x="1119" y="174"/>
                  </a:lnTo>
                  <a:lnTo>
                    <a:pt x="1119" y="174"/>
                  </a:lnTo>
                  <a:lnTo>
                    <a:pt x="1119" y="174"/>
                  </a:lnTo>
                  <a:lnTo>
                    <a:pt x="1119" y="171"/>
                  </a:lnTo>
                  <a:lnTo>
                    <a:pt x="1119" y="171"/>
                  </a:lnTo>
                  <a:lnTo>
                    <a:pt x="1124" y="174"/>
                  </a:lnTo>
                  <a:lnTo>
                    <a:pt x="1126" y="174"/>
                  </a:lnTo>
                  <a:lnTo>
                    <a:pt x="1128" y="174"/>
                  </a:lnTo>
                  <a:lnTo>
                    <a:pt x="1133" y="176"/>
                  </a:lnTo>
                  <a:lnTo>
                    <a:pt x="1135" y="176"/>
                  </a:lnTo>
                  <a:lnTo>
                    <a:pt x="1135" y="176"/>
                  </a:lnTo>
                  <a:lnTo>
                    <a:pt x="1135" y="176"/>
                  </a:lnTo>
                  <a:lnTo>
                    <a:pt x="1137" y="176"/>
                  </a:lnTo>
                  <a:lnTo>
                    <a:pt x="1139" y="176"/>
                  </a:lnTo>
                  <a:lnTo>
                    <a:pt x="1139" y="176"/>
                  </a:lnTo>
                  <a:lnTo>
                    <a:pt x="1137" y="176"/>
                  </a:lnTo>
                  <a:lnTo>
                    <a:pt x="1135" y="176"/>
                  </a:lnTo>
                  <a:lnTo>
                    <a:pt x="1133" y="174"/>
                  </a:lnTo>
                  <a:lnTo>
                    <a:pt x="1130" y="174"/>
                  </a:lnTo>
                  <a:lnTo>
                    <a:pt x="1128" y="174"/>
                  </a:lnTo>
                  <a:lnTo>
                    <a:pt x="1128" y="174"/>
                  </a:lnTo>
                  <a:lnTo>
                    <a:pt x="1126" y="171"/>
                  </a:lnTo>
                  <a:lnTo>
                    <a:pt x="1126" y="171"/>
                  </a:lnTo>
                  <a:lnTo>
                    <a:pt x="1126" y="171"/>
                  </a:lnTo>
                  <a:lnTo>
                    <a:pt x="1128" y="171"/>
                  </a:lnTo>
                  <a:lnTo>
                    <a:pt x="1126" y="171"/>
                  </a:lnTo>
                  <a:lnTo>
                    <a:pt x="1126" y="171"/>
                  </a:lnTo>
                  <a:lnTo>
                    <a:pt x="1126" y="171"/>
                  </a:lnTo>
                  <a:lnTo>
                    <a:pt x="1126" y="171"/>
                  </a:lnTo>
                  <a:lnTo>
                    <a:pt x="1121" y="171"/>
                  </a:lnTo>
                  <a:lnTo>
                    <a:pt x="1121" y="171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4" y="169"/>
                  </a:lnTo>
                  <a:lnTo>
                    <a:pt x="1126" y="171"/>
                  </a:lnTo>
                  <a:lnTo>
                    <a:pt x="1128" y="171"/>
                  </a:lnTo>
                  <a:lnTo>
                    <a:pt x="1126" y="171"/>
                  </a:lnTo>
                  <a:lnTo>
                    <a:pt x="1126" y="169"/>
                  </a:lnTo>
                  <a:lnTo>
                    <a:pt x="1126" y="169"/>
                  </a:lnTo>
                  <a:lnTo>
                    <a:pt x="1128" y="169"/>
                  </a:lnTo>
                  <a:lnTo>
                    <a:pt x="1130" y="169"/>
                  </a:lnTo>
                  <a:lnTo>
                    <a:pt x="1130" y="169"/>
                  </a:lnTo>
                  <a:lnTo>
                    <a:pt x="1133" y="169"/>
                  </a:lnTo>
                  <a:lnTo>
                    <a:pt x="1137" y="171"/>
                  </a:lnTo>
                  <a:lnTo>
                    <a:pt x="1139" y="171"/>
                  </a:lnTo>
                  <a:lnTo>
                    <a:pt x="1144" y="171"/>
                  </a:lnTo>
                  <a:lnTo>
                    <a:pt x="1146" y="171"/>
                  </a:lnTo>
                  <a:lnTo>
                    <a:pt x="1146" y="171"/>
                  </a:lnTo>
                  <a:lnTo>
                    <a:pt x="1148" y="171"/>
                  </a:lnTo>
                  <a:lnTo>
                    <a:pt x="1148" y="171"/>
                  </a:lnTo>
                  <a:lnTo>
                    <a:pt x="1148" y="171"/>
                  </a:lnTo>
                  <a:lnTo>
                    <a:pt x="1146" y="171"/>
                  </a:lnTo>
                  <a:lnTo>
                    <a:pt x="1146" y="171"/>
                  </a:lnTo>
                  <a:lnTo>
                    <a:pt x="1146" y="171"/>
                  </a:lnTo>
                  <a:lnTo>
                    <a:pt x="1144" y="171"/>
                  </a:lnTo>
                  <a:lnTo>
                    <a:pt x="1142" y="171"/>
                  </a:lnTo>
                  <a:lnTo>
                    <a:pt x="1139" y="169"/>
                  </a:lnTo>
                  <a:lnTo>
                    <a:pt x="1137" y="169"/>
                  </a:lnTo>
                  <a:lnTo>
                    <a:pt x="1137" y="169"/>
                  </a:lnTo>
                  <a:lnTo>
                    <a:pt x="1130" y="167"/>
                  </a:lnTo>
                  <a:lnTo>
                    <a:pt x="1130" y="167"/>
                  </a:lnTo>
                  <a:lnTo>
                    <a:pt x="1128" y="167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7"/>
                  </a:lnTo>
                  <a:lnTo>
                    <a:pt x="1130" y="167"/>
                  </a:lnTo>
                  <a:lnTo>
                    <a:pt x="1130" y="167"/>
                  </a:lnTo>
                  <a:lnTo>
                    <a:pt x="1130" y="167"/>
                  </a:lnTo>
                  <a:lnTo>
                    <a:pt x="1133" y="165"/>
                  </a:lnTo>
                  <a:lnTo>
                    <a:pt x="1137" y="165"/>
                  </a:lnTo>
                  <a:lnTo>
                    <a:pt x="1137" y="165"/>
                  </a:lnTo>
                  <a:lnTo>
                    <a:pt x="1137" y="165"/>
                  </a:lnTo>
                  <a:lnTo>
                    <a:pt x="1137" y="165"/>
                  </a:lnTo>
                  <a:lnTo>
                    <a:pt x="1137" y="165"/>
                  </a:lnTo>
                  <a:lnTo>
                    <a:pt x="1137" y="167"/>
                  </a:lnTo>
                  <a:lnTo>
                    <a:pt x="1139" y="167"/>
                  </a:lnTo>
                  <a:lnTo>
                    <a:pt x="1139" y="167"/>
                  </a:lnTo>
                  <a:lnTo>
                    <a:pt x="1139" y="167"/>
                  </a:lnTo>
                  <a:lnTo>
                    <a:pt x="1139" y="167"/>
                  </a:lnTo>
                  <a:lnTo>
                    <a:pt x="1139" y="167"/>
                  </a:lnTo>
                  <a:lnTo>
                    <a:pt x="1139" y="167"/>
                  </a:lnTo>
                  <a:lnTo>
                    <a:pt x="1142" y="167"/>
                  </a:lnTo>
                  <a:lnTo>
                    <a:pt x="1142" y="167"/>
                  </a:lnTo>
                  <a:lnTo>
                    <a:pt x="1139" y="165"/>
                  </a:lnTo>
                  <a:lnTo>
                    <a:pt x="1139" y="165"/>
                  </a:lnTo>
                  <a:lnTo>
                    <a:pt x="1139" y="165"/>
                  </a:lnTo>
                  <a:lnTo>
                    <a:pt x="1139" y="165"/>
                  </a:lnTo>
                  <a:lnTo>
                    <a:pt x="1139" y="165"/>
                  </a:lnTo>
                  <a:lnTo>
                    <a:pt x="1139" y="165"/>
                  </a:lnTo>
                  <a:lnTo>
                    <a:pt x="1139" y="165"/>
                  </a:lnTo>
                  <a:lnTo>
                    <a:pt x="1142" y="165"/>
                  </a:lnTo>
                  <a:lnTo>
                    <a:pt x="1146" y="162"/>
                  </a:lnTo>
                  <a:lnTo>
                    <a:pt x="1148" y="162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7"/>
                  </a:lnTo>
                  <a:lnTo>
                    <a:pt x="1153" y="167"/>
                  </a:lnTo>
                  <a:lnTo>
                    <a:pt x="1153" y="167"/>
                  </a:lnTo>
                  <a:lnTo>
                    <a:pt x="1153" y="167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3" y="165"/>
                  </a:lnTo>
                  <a:lnTo>
                    <a:pt x="1155" y="165"/>
                  </a:lnTo>
                  <a:lnTo>
                    <a:pt x="1155" y="165"/>
                  </a:lnTo>
                  <a:lnTo>
                    <a:pt x="1155" y="165"/>
                  </a:lnTo>
                  <a:lnTo>
                    <a:pt x="1155" y="162"/>
                  </a:lnTo>
                  <a:lnTo>
                    <a:pt x="1155" y="162"/>
                  </a:lnTo>
                  <a:lnTo>
                    <a:pt x="1151" y="162"/>
                  </a:lnTo>
                  <a:lnTo>
                    <a:pt x="1151" y="162"/>
                  </a:lnTo>
                  <a:lnTo>
                    <a:pt x="1157" y="160"/>
                  </a:lnTo>
                  <a:lnTo>
                    <a:pt x="1160" y="160"/>
                  </a:lnTo>
                  <a:lnTo>
                    <a:pt x="1162" y="160"/>
                  </a:lnTo>
                  <a:lnTo>
                    <a:pt x="1166" y="160"/>
                  </a:lnTo>
                  <a:lnTo>
                    <a:pt x="1166" y="160"/>
                  </a:lnTo>
                  <a:lnTo>
                    <a:pt x="1166" y="160"/>
                  </a:lnTo>
                  <a:lnTo>
                    <a:pt x="1166" y="160"/>
                  </a:lnTo>
                  <a:lnTo>
                    <a:pt x="1169" y="158"/>
                  </a:lnTo>
                  <a:lnTo>
                    <a:pt x="1171" y="158"/>
                  </a:lnTo>
                  <a:lnTo>
                    <a:pt x="1171" y="158"/>
                  </a:lnTo>
                  <a:lnTo>
                    <a:pt x="1171" y="158"/>
                  </a:lnTo>
                  <a:lnTo>
                    <a:pt x="1171" y="158"/>
                  </a:lnTo>
                  <a:lnTo>
                    <a:pt x="1178" y="158"/>
                  </a:lnTo>
                  <a:lnTo>
                    <a:pt x="1182" y="158"/>
                  </a:lnTo>
                  <a:lnTo>
                    <a:pt x="1184" y="158"/>
                  </a:lnTo>
                  <a:lnTo>
                    <a:pt x="1189" y="158"/>
                  </a:lnTo>
                  <a:lnTo>
                    <a:pt x="1191" y="158"/>
                  </a:lnTo>
                  <a:lnTo>
                    <a:pt x="1191" y="158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0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2"/>
                  </a:lnTo>
                  <a:lnTo>
                    <a:pt x="1191" y="165"/>
                  </a:lnTo>
                  <a:lnTo>
                    <a:pt x="1191" y="165"/>
                  </a:lnTo>
                  <a:lnTo>
                    <a:pt x="1191" y="165"/>
                  </a:lnTo>
                  <a:lnTo>
                    <a:pt x="1189" y="165"/>
                  </a:lnTo>
                  <a:lnTo>
                    <a:pt x="1189" y="165"/>
                  </a:lnTo>
                  <a:lnTo>
                    <a:pt x="1189" y="165"/>
                  </a:lnTo>
                  <a:lnTo>
                    <a:pt x="1189" y="165"/>
                  </a:lnTo>
                  <a:lnTo>
                    <a:pt x="1189" y="165"/>
                  </a:lnTo>
                  <a:lnTo>
                    <a:pt x="1187" y="167"/>
                  </a:lnTo>
                  <a:lnTo>
                    <a:pt x="1187" y="167"/>
                  </a:lnTo>
                  <a:lnTo>
                    <a:pt x="1189" y="167"/>
                  </a:lnTo>
                  <a:lnTo>
                    <a:pt x="1193" y="169"/>
                  </a:lnTo>
                  <a:lnTo>
                    <a:pt x="1193" y="169"/>
                  </a:lnTo>
                  <a:lnTo>
                    <a:pt x="1193" y="169"/>
                  </a:lnTo>
                  <a:lnTo>
                    <a:pt x="1193" y="169"/>
                  </a:lnTo>
                  <a:lnTo>
                    <a:pt x="1193" y="171"/>
                  </a:lnTo>
                  <a:lnTo>
                    <a:pt x="1193" y="171"/>
                  </a:lnTo>
                  <a:lnTo>
                    <a:pt x="1193" y="171"/>
                  </a:lnTo>
                  <a:lnTo>
                    <a:pt x="1193" y="171"/>
                  </a:lnTo>
                  <a:lnTo>
                    <a:pt x="1191" y="171"/>
                  </a:lnTo>
                  <a:lnTo>
                    <a:pt x="1191" y="171"/>
                  </a:lnTo>
                  <a:lnTo>
                    <a:pt x="1191" y="171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4"/>
                  </a:lnTo>
                  <a:lnTo>
                    <a:pt x="1191" y="176"/>
                  </a:lnTo>
                  <a:lnTo>
                    <a:pt x="1191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6"/>
                  </a:lnTo>
                  <a:lnTo>
                    <a:pt x="1193" y="178"/>
                  </a:lnTo>
                  <a:lnTo>
                    <a:pt x="1191" y="178"/>
                  </a:lnTo>
                  <a:lnTo>
                    <a:pt x="1191" y="178"/>
                  </a:lnTo>
                  <a:lnTo>
                    <a:pt x="1191" y="178"/>
                  </a:lnTo>
                  <a:lnTo>
                    <a:pt x="1191" y="178"/>
                  </a:lnTo>
                  <a:lnTo>
                    <a:pt x="1189" y="178"/>
                  </a:lnTo>
                  <a:lnTo>
                    <a:pt x="1189" y="178"/>
                  </a:lnTo>
                  <a:lnTo>
                    <a:pt x="1189" y="178"/>
                  </a:lnTo>
                  <a:lnTo>
                    <a:pt x="1189" y="178"/>
                  </a:lnTo>
                  <a:lnTo>
                    <a:pt x="1187" y="178"/>
                  </a:lnTo>
                  <a:lnTo>
                    <a:pt x="1187" y="178"/>
                  </a:lnTo>
                  <a:lnTo>
                    <a:pt x="1187" y="178"/>
                  </a:lnTo>
                  <a:lnTo>
                    <a:pt x="1187" y="180"/>
                  </a:lnTo>
                  <a:lnTo>
                    <a:pt x="1187" y="180"/>
                  </a:lnTo>
                  <a:lnTo>
                    <a:pt x="1182" y="180"/>
                  </a:lnTo>
                  <a:lnTo>
                    <a:pt x="1180" y="183"/>
                  </a:lnTo>
                  <a:lnTo>
                    <a:pt x="1178" y="183"/>
                  </a:lnTo>
                  <a:lnTo>
                    <a:pt x="1178" y="183"/>
                  </a:lnTo>
                  <a:lnTo>
                    <a:pt x="1175" y="183"/>
                  </a:lnTo>
                  <a:lnTo>
                    <a:pt x="1175" y="185"/>
                  </a:lnTo>
                  <a:lnTo>
                    <a:pt x="1175" y="185"/>
                  </a:lnTo>
                  <a:lnTo>
                    <a:pt x="1175" y="185"/>
                  </a:lnTo>
                  <a:lnTo>
                    <a:pt x="1175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3" y="185"/>
                  </a:lnTo>
                  <a:lnTo>
                    <a:pt x="1171" y="185"/>
                  </a:lnTo>
                  <a:lnTo>
                    <a:pt x="1171" y="185"/>
                  </a:lnTo>
                  <a:lnTo>
                    <a:pt x="1169" y="187"/>
                  </a:lnTo>
                  <a:lnTo>
                    <a:pt x="1171" y="187"/>
                  </a:lnTo>
                  <a:lnTo>
                    <a:pt x="1171" y="187"/>
                  </a:lnTo>
                  <a:lnTo>
                    <a:pt x="1180" y="183"/>
                  </a:lnTo>
                  <a:lnTo>
                    <a:pt x="1180" y="183"/>
                  </a:lnTo>
                  <a:lnTo>
                    <a:pt x="1180" y="183"/>
                  </a:lnTo>
                  <a:lnTo>
                    <a:pt x="1180" y="183"/>
                  </a:lnTo>
                  <a:lnTo>
                    <a:pt x="1182" y="183"/>
                  </a:lnTo>
                  <a:lnTo>
                    <a:pt x="1184" y="180"/>
                  </a:lnTo>
                  <a:lnTo>
                    <a:pt x="1184" y="180"/>
                  </a:lnTo>
                  <a:lnTo>
                    <a:pt x="1187" y="180"/>
                  </a:lnTo>
                  <a:lnTo>
                    <a:pt x="1187" y="180"/>
                  </a:lnTo>
                  <a:lnTo>
                    <a:pt x="1187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4" y="183"/>
                  </a:lnTo>
                  <a:lnTo>
                    <a:pt x="1182" y="185"/>
                  </a:lnTo>
                  <a:lnTo>
                    <a:pt x="1182" y="185"/>
                  </a:lnTo>
                  <a:lnTo>
                    <a:pt x="1180" y="185"/>
                  </a:lnTo>
                  <a:lnTo>
                    <a:pt x="1178" y="187"/>
                  </a:lnTo>
                  <a:lnTo>
                    <a:pt x="1175" y="187"/>
                  </a:lnTo>
                  <a:lnTo>
                    <a:pt x="1175" y="187"/>
                  </a:lnTo>
                  <a:lnTo>
                    <a:pt x="1175" y="187"/>
                  </a:lnTo>
                  <a:lnTo>
                    <a:pt x="1175" y="187"/>
                  </a:lnTo>
                  <a:lnTo>
                    <a:pt x="1175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8" y="189"/>
                  </a:lnTo>
                  <a:lnTo>
                    <a:pt x="1175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1" y="189"/>
                  </a:lnTo>
                  <a:lnTo>
                    <a:pt x="1173" y="189"/>
                  </a:lnTo>
                  <a:lnTo>
                    <a:pt x="1175" y="189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1" y="192"/>
                  </a:lnTo>
                  <a:lnTo>
                    <a:pt x="1171" y="194"/>
                  </a:lnTo>
                  <a:lnTo>
                    <a:pt x="1169" y="194"/>
                  </a:lnTo>
                  <a:lnTo>
                    <a:pt x="1171" y="194"/>
                  </a:lnTo>
                  <a:lnTo>
                    <a:pt x="1173" y="192"/>
                  </a:lnTo>
                  <a:lnTo>
                    <a:pt x="1173" y="192"/>
                  </a:lnTo>
                  <a:lnTo>
                    <a:pt x="1175" y="192"/>
                  </a:lnTo>
                  <a:lnTo>
                    <a:pt x="1178" y="192"/>
                  </a:lnTo>
                  <a:lnTo>
                    <a:pt x="1178" y="192"/>
                  </a:lnTo>
                  <a:lnTo>
                    <a:pt x="1178" y="192"/>
                  </a:lnTo>
                  <a:lnTo>
                    <a:pt x="1180" y="189"/>
                  </a:lnTo>
                  <a:lnTo>
                    <a:pt x="1180" y="189"/>
                  </a:lnTo>
                  <a:lnTo>
                    <a:pt x="1182" y="189"/>
                  </a:lnTo>
                  <a:lnTo>
                    <a:pt x="1182" y="189"/>
                  </a:lnTo>
                  <a:lnTo>
                    <a:pt x="1182" y="189"/>
                  </a:lnTo>
                  <a:lnTo>
                    <a:pt x="1182" y="189"/>
                  </a:lnTo>
                  <a:lnTo>
                    <a:pt x="1180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2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4" y="187"/>
                  </a:lnTo>
                  <a:lnTo>
                    <a:pt x="1187" y="185"/>
                  </a:lnTo>
                  <a:lnTo>
                    <a:pt x="1187" y="185"/>
                  </a:lnTo>
                  <a:lnTo>
                    <a:pt x="1187" y="185"/>
                  </a:lnTo>
                  <a:lnTo>
                    <a:pt x="1187" y="185"/>
                  </a:lnTo>
                  <a:lnTo>
                    <a:pt x="1187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91" y="189"/>
                  </a:lnTo>
                  <a:lnTo>
                    <a:pt x="1191" y="187"/>
                  </a:lnTo>
                  <a:lnTo>
                    <a:pt x="1191" y="187"/>
                  </a:lnTo>
                  <a:lnTo>
                    <a:pt x="1191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89" y="187"/>
                  </a:lnTo>
                  <a:lnTo>
                    <a:pt x="1189" y="185"/>
                  </a:lnTo>
                  <a:lnTo>
                    <a:pt x="1189" y="185"/>
                  </a:lnTo>
                  <a:lnTo>
                    <a:pt x="1189" y="185"/>
                  </a:lnTo>
                  <a:lnTo>
                    <a:pt x="1189" y="185"/>
                  </a:lnTo>
                  <a:lnTo>
                    <a:pt x="1191" y="183"/>
                  </a:lnTo>
                  <a:lnTo>
                    <a:pt x="1193" y="183"/>
                  </a:lnTo>
                  <a:lnTo>
                    <a:pt x="1193" y="183"/>
                  </a:lnTo>
                  <a:lnTo>
                    <a:pt x="1193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0"/>
                  </a:lnTo>
                  <a:lnTo>
                    <a:pt x="1196" y="180"/>
                  </a:lnTo>
                  <a:lnTo>
                    <a:pt x="1196" y="180"/>
                  </a:lnTo>
                  <a:lnTo>
                    <a:pt x="1196" y="180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8" y="183"/>
                  </a:lnTo>
                  <a:lnTo>
                    <a:pt x="1198" y="183"/>
                  </a:lnTo>
                  <a:lnTo>
                    <a:pt x="1198" y="183"/>
                  </a:lnTo>
                  <a:lnTo>
                    <a:pt x="1198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3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3" y="185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3" y="187"/>
                  </a:lnTo>
                  <a:lnTo>
                    <a:pt x="1196" y="187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6" y="187"/>
                  </a:lnTo>
                  <a:lnTo>
                    <a:pt x="1198" y="187"/>
                  </a:lnTo>
                  <a:lnTo>
                    <a:pt x="1198" y="187"/>
                  </a:lnTo>
                  <a:lnTo>
                    <a:pt x="1198" y="187"/>
                  </a:lnTo>
                  <a:lnTo>
                    <a:pt x="1198" y="187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6" y="185"/>
                  </a:lnTo>
                  <a:lnTo>
                    <a:pt x="1196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198" y="185"/>
                  </a:lnTo>
                  <a:lnTo>
                    <a:pt x="1200" y="185"/>
                  </a:lnTo>
                  <a:lnTo>
                    <a:pt x="1200" y="185"/>
                  </a:lnTo>
                  <a:lnTo>
                    <a:pt x="1200" y="185"/>
                  </a:lnTo>
                  <a:lnTo>
                    <a:pt x="1200" y="183"/>
                  </a:lnTo>
                  <a:lnTo>
                    <a:pt x="1202" y="183"/>
                  </a:lnTo>
                  <a:lnTo>
                    <a:pt x="1202" y="183"/>
                  </a:lnTo>
                  <a:lnTo>
                    <a:pt x="1202" y="185"/>
                  </a:lnTo>
                  <a:lnTo>
                    <a:pt x="1205" y="185"/>
                  </a:lnTo>
                  <a:lnTo>
                    <a:pt x="1205" y="185"/>
                  </a:lnTo>
                  <a:lnTo>
                    <a:pt x="1205" y="185"/>
                  </a:lnTo>
                  <a:lnTo>
                    <a:pt x="1205" y="185"/>
                  </a:lnTo>
                  <a:lnTo>
                    <a:pt x="1205" y="185"/>
                  </a:lnTo>
                  <a:lnTo>
                    <a:pt x="1205" y="185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2" y="187"/>
                  </a:lnTo>
                  <a:lnTo>
                    <a:pt x="1202" y="187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0" y="189"/>
                  </a:lnTo>
                  <a:lnTo>
                    <a:pt x="1200" y="189"/>
                  </a:lnTo>
                  <a:lnTo>
                    <a:pt x="1200" y="189"/>
                  </a:lnTo>
                  <a:lnTo>
                    <a:pt x="1200" y="189"/>
                  </a:lnTo>
                  <a:lnTo>
                    <a:pt x="1198" y="192"/>
                  </a:lnTo>
                  <a:lnTo>
                    <a:pt x="1198" y="192"/>
                  </a:lnTo>
                  <a:lnTo>
                    <a:pt x="1196" y="192"/>
                  </a:lnTo>
                  <a:lnTo>
                    <a:pt x="1198" y="192"/>
                  </a:lnTo>
                  <a:lnTo>
                    <a:pt x="1198" y="192"/>
                  </a:lnTo>
                  <a:lnTo>
                    <a:pt x="1198" y="192"/>
                  </a:lnTo>
                  <a:lnTo>
                    <a:pt x="1198" y="192"/>
                  </a:lnTo>
                  <a:lnTo>
                    <a:pt x="1198" y="192"/>
                  </a:lnTo>
                  <a:lnTo>
                    <a:pt x="1202" y="192"/>
                  </a:lnTo>
                  <a:lnTo>
                    <a:pt x="1205" y="194"/>
                  </a:lnTo>
                  <a:lnTo>
                    <a:pt x="1205" y="194"/>
                  </a:lnTo>
                  <a:lnTo>
                    <a:pt x="1205" y="194"/>
                  </a:lnTo>
                  <a:lnTo>
                    <a:pt x="1205" y="194"/>
                  </a:lnTo>
                  <a:lnTo>
                    <a:pt x="1205" y="194"/>
                  </a:lnTo>
                  <a:lnTo>
                    <a:pt x="1205" y="194"/>
                  </a:lnTo>
                  <a:lnTo>
                    <a:pt x="1205" y="194"/>
                  </a:lnTo>
                  <a:lnTo>
                    <a:pt x="1205" y="192"/>
                  </a:lnTo>
                  <a:lnTo>
                    <a:pt x="1205" y="192"/>
                  </a:lnTo>
                  <a:lnTo>
                    <a:pt x="1205" y="192"/>
                  </a:lnTo>
                  <a:lnTo>
                    <a:pt x="1205" y="192"/>
                  </a:lnTo>
                  <a:lnTo>
                    <a:pt x="1205" y="192"/>
                  </a:lnTo>
                  <a:lnTo>
                    <a:pt x="1202" y="192"/>
                  </a:lnTo>
                  <a:lnTo>
                    <a:pt x="1202" y="192"/>
                  </a:lnTo>
                  <a:lnTo>
                    <a:pt x="1202" y="192"/>
                  </a:lnTo>
                  <a:lnTo>
                    <a:pt x="1202" y="192"/>
                  </a:lnTo>
                  <a:lnTo>
                    <a:pt x="1202" y="192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2" y="189"/>
                  </a:lnTo>
                  <a:lnTo>
                    <a:pt x="1205" y="189"/>
                  </a:lnTo>
                  <a:lnTo>
                    <a:pt x="1205" y="189"/>
                  </a:lnTo>
                  <a:lnTo>
                    <a:pt x="1205" y="189"/>
                  </a:lnTo>
                  <a:lnTo>
                    <a:pt x="1205" y="189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9" y="189"/>
                  </a:lnTo>
                  <a:lnTo>
                    <a:pt x="1209" y="189"/>
                  </a:lnTo>
                  <a:lnTo>
                    <a:pt x="1209" y="189"/>
                  </a:lnTo>
                  <a:lnTo>
                    <a:pt x="1209" y="192"/>
                  </a:lnTo>
                  <a:lnTo>
                    <a:pt x="1209" y="192"/>
                  </a:lnTo>
                  <a:lnTo>
                    <a:pt x="1209" y="194"/>
                  </a:lnTo>
                  <a:lnTo>
                    <a:pt x="1211" y="194"/>
                  </a:lnTo>
                  <a:lnTo>
                    <a:pt x="1211" y="196"/>
                  </a:lnTo>
                  <a:lnTo>
                    <a:pt x="1211" y="196"/>
                  </a:lnTo>
                  <a:lnTo>
                    <a:pt x="1214" y="196"/>
                  </a:lnTo>
                  <a:lnTo>
                    <a:pt x="1214" y="196"/>
                  </a:lnTo>
                  <a:lnTo>
                    <a:pt x="1214" y="196"/>
                  </a:lnTo>
                  <a:lnTo>
                    <a:pt x="1211" y="194"/>
                  </a:lnTo>
                  <a:lnTo>
                    <a:pt x="1211" y="194"/>
                  </a:lnTo>
                  <a:lnTo>
                    <a:pt x="1209" y="194"/>
                  </a:lnTo>
                  <a:lnTo>
                    <a:pt x="1209" y="194"/>
                  </a:lnTo>
                  <a:lnTo>
                    <a:pt x="1209" y="194"/>
                  </a:lnTo>
                  <a:lnTo>
                    <a:pt x="1209" y="192"/>
                  </a:lnTo>
                  <a:lnTo>
                    <a:pt x="1209" y="192"/>
                  </a:lnTo>
                  <a:lnTo>
                    <a:pt x="1209" y="192"/>
                  </a:lnTo>
                  <a:lnTo>
                    <a:pt x="1209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6" y="196"/>
                  </a:lnTo>
                  <a:lnTo>
                    <a:pt x="1216" y="196"/>
                  </a:lnTo>
                  <a:lnTo>
                    <a:pt x="1216" y="196"/>
                  </a:lnTo>
                  <a:lnTo>
                    <a:pt x="1216" y="196"/>
                  </a:lnTo>
                  <a:lnTo>
                    <a:pt x="1216" y="196"/>
                  </a:lnTo>
                  <a:lnTo>
                    <a:pt x="1216" y="194"/>
                  </a:lnTo>
                  <a:lnTo>
                    <a:pt x="1216" y="194"/>
                  </a:lnTo>
                  <a:lnTo>
                    <a:pt x="1216" y="194"/>
                  </a:lnTo>
                  <a:lnTo>
                    <a:pt x="1216" y="194"/>
                  </a:lnTo>
                  <a:lnTo>
                    <a:pt x="1216" y="194"/>
                  </a:lnTo>
                  <a:lnTo>
                    <a:pt x="1216" y="194"/>
                  </a:lnTo>
                  <a:lnTo>
                    <a:pt x="1216" y="194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4" y="194"/>
                  </a:lnTo>
                  <a:lnTo>
                    <a:pt x="1214" y="192"/>
                  </a:lnTo>
                  <a:lnTo>
                    <a:pt x="1214" y="192"/>
                  </a:lnTo>
                  <a:lnTo>
                    <a:pt x="1214" y="192"/>
                  </a:lnTo>
                  <a:lnTo>
                    <a:pt x="1214" y="192"/>
                  </a:lnTo>
                  <a:lnTo>
                    <a:pt x="1214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11" y="192"/>
                  </a:lnTo>
                  <a:lnTo>
                    <a:pt x="1209" y="192"/>
                  </a:lnTo>
                  <a:lnTo>
                    <a:pt x="1209" y="192"/>
                  </a:lnTo>
                  <a:lnTo>
                    <a:pt x="1211" y="189"/>
                  </a:lnTo>
                  <a:lnTo>
                    <a:pt x="1211" y="189"/>
                  </a:lnTo>
                  <a:lnTo>
                    <a:pt x="1211" y="189"/>
                  </a:lnTo>
                  <a:lnTo>
                    <a:pt x="1211" y="189"/>
                  </a:lnTo>
                  <a:lnTo>
                    <a:pt x="1211" y="189"/>
                  </a:lnTo>
                  <a:lnTo>
                    <a:pt x="1211" y="189"/>
                  </a:lnTo>
                  <a:lnTo>
                    <a:pt x="1209" y="189"/>
                  </a:lnTo>
                  <a:lnTo>
                    <a:pt x="1209" y="189"/>
                  </a:lnTo>
                  <a:lnTo>
                    <a:pt x="1209" y="187"/>
                  </a:lnTo>
                  <a:lnTo>
                    <a:pt x="1207" y="187"/>
                  </a:lnTo>
                  <a:lnTo>
                    <a:pt x="1205" y="187"/>
                  </a:lnTo>
                  <a:lnTo>
                    <a:pt x="1205" y="187"/>
                  </a:lnTo>
                  <a:lnTo>
                    <a:pt x="1207" y="187"/>
                  </a:lnTo>
                  <a:lnTo>
                    <a:pt x="1207" y="185"/>
                  </a:lnTo>
                  <a:lnTo>
                    <a:pt x="1209" y="185"/>
                  </a:lnTo>
                  <a:lnTo>
                    <a:pt x="1209" y="185"/>
                  </a:lnTo>
                  <a:lnTo>
                    <a:pt x="1209" y="185"/>
                  </a:lnTo>
                  <a:lnTo>
                    <a:pt x="1207" y="185"/>
                  </a:lnTo>
                  <a:lnTo>
                    <a:pt x="1207" y="185"/>
                  </a:lnTo>
                  <a:lnTo>
                    <a:pt x="1207" y="185"/>
                  </a:lnTo>
                  <a:lnTo>
                    <a:pt x="1207" y="185"/>
                  </a:lnTo>
                  <a:lnTo>
                    <a:pt x="1209" y="185"/>
                  </a:lnTo>
                  <a:lnTo>
                    <a:pt x="1209" y="185"/>
                  </a:lnTo>
                  <a:lnTo>
                    <a:pt x="1209" y="185"/>
                  </a:lnTo>
                  <a:lnTo>
                    <a:pt x="1209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5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7"/>
                  </a:lnTo>
                  <a:lnTo>
                    <a:pt x="1211" y="185"/>
                  </a:lnTo>
                  <a:lnTo>
                    <a:pt x="1214" y="185"/>
                  </a:lnTo>
                  <a:lnTo>
                    <a:pt x="1214" y="185"/>
                  </a:lnTo>
                  <a:lnTo>
                    <a:pt x="1214" y="185"/>
                  </a:lnTo>
                  <a:lnTo>
                    <a:pt x="1218" y="185"/>
                  </a:lnTo>
                  <a:lnTo>
                    <a:pt x="1218" y="185"/>
                  </a:lnTo>
                  <a:lnTo>
                    <a:pt x="1218" y="187"/>
                  </a:lnTo>
                  <a:lnTo>
                    <a:pt x="1220" y="185"/>
                  </a:lnTo>
                  <a:lnTo>
                    <a:pt x="1220" y="185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9"/>
                  </a:lnTo>
                  <a:lnTo>
                    <a:pt x="1223" y="189"/>
                  </a:lnTo>
                  <a:lnTo>
                    <a:pt x="1223" y="189"/>
                  </a:lnTo>
                  <a:lnTo>
                    <a:pt x="1223" y="189"/>
                  </a:lnTo>
                  <a:lnTo>
                    <a:pt x="1220" y="189"/>
                  </a:lnTo>
                  <a:lnTo>
                    <a:pt x="1223" y="189"/>
                  </a:lnTo>
                  <a:lnTo>
                    <a:pt x="1223" y="189"/>
                  </a:lnTo>
                  <a:lnTo>
                    <a:pt x="1223" y="189"/>
                  </a:lnTo>
                  <a:lnTo>
                    <a:pt x="1223" y="189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3" y="187"/>
                  </a:lnTo>
                  <a:lnTo>
                    <a:pt x="1227" y="187"/>
                  </a:lnTo>
                  <a:lnTo>
                    <a:pt x="1229" y="187"/>
                  </a:lnTo>
                  <a:lnTo>
                    <a:pt x="1229" y="187"/>
                  </a:lnTo>
                  <a:lnTo>
                    <a:pt x="1232" y="189"/>
                  </a:lnTo>
                  <a:lnTo>
                    <a:pt x="1229" y="187"/>
                  </a:lnTo>
                  <a:lnTo>
                    <a:pt x="1229" y="187"/>
                  </a:lnTo>
                  <a:lnTo>
                    <a:pt x="1225" y="187"/>
                  </a:lnTo>
                  <a:lnTo>
                    <a:pt x="1225" y="187"/>
                  </a:lnTo>
                  <a:lnTo>
                    <a:pt x="1223" y="187"/>
                  </a:lnTo>
                  <a:lnTo>
                    <a:pt x="1223" y="185"/>
                  </a:lnTo>
                  <a:lnTo>
                    <a:pt x="1220" y="185"/>
                  </a:lnTo>
                  <a:lnTo>
                    <a:pt x="1220" y="185"/>
                  </a:lnTo>
                  <a:lnTo>
                    <a:pt x="1216" y="185"/>
                  </a:lnTo>
                  <a:lnTo>
                    <a:pt x="1214" y="183"/>
                  </a:lnTo>
                  <a:lnTo>
                    <a:pt x="1214" y="183"/>
                  </a:lnTo>
                  <a:lnTo>
                    <a:pt x="1214" y="183"/>
                  </a:lnTo>
                  <a:lnTo>
                    <a:pt x="1214" y="183"/>
                  </a:lnTo>
                  <a:lnTo>
                    <a:pt x="1214" y="180"/>
                  </a:lnTo>
                  <a:lnTo>
                    <a:pt x="1216" y="180"/>
                  </a:lnTo>
                  <a:lnTo>
                    <a:pt x="1216" y="180"/>
                  </a:lnTo>
                  <a:lnTo>
                    <a:pt x="1216" y="180"/>
                  </a:lnTo>
                  <a:lnTo>
                    <a:pt x="1216" y="180"/>
                  </a:lnTo>
                  <a:lnTo>
                    <a:pt x="1218" y="180"/>
                  </a:lnTo>
                  <a:lnTo>
                    <a:pt x="1218" y="180"/>
                  </a:lnTo>
                  <a:lnTo>
                    <a:pt x="1218" y="180"/>
                  </a:lnTo>
                  <a:lnTo>
                    <a:pt x="1218" y="180"/>
                  </a:lnTo>
                  <a:lnTo>
                    <a:pt x="1218" y="180"/>
                  </a:lnTo>
                  <a:lnTo>
                    <a:pt x="1223" y="178"/>
                  </a:lnTo>
                  <a:lnTo>
                    <a:pt x="1225" y="178"/>
                  </a:lnTo>
                  <a:lnTo>
                    <a:pt x="1225" y="178"/>
                  </a:lnTo>
                  <a:lnTo>
                    <a:pt x="1225" y="178"/>
                  </a:lnTo>
                  <a:lnTo>
                    <a:pt x="1225" y="178"/>
                  </a:lnTo>
                  <a:lnTo>
                    <a:pt x="1229" y="178"/>
                  </a:lnTo>
                  <a:lnTo>
                    <a:pt x="1229" y="178"/>
                  </a:lnTo>
                  <a:lnTo>
                    <a:pt x="1232" y="176"/>
                  </a:lnTo>
                  <a:lnTo>
                    <a:pt x="1232" y="176"/>
                  </a:lnTo>
                  <a:lnTo>
                    <a:pt x="1243" y="176"/>
                  </a:lnTo>
                  <a:lnTo>
                    <a:pt x="1243" y="176"/>
                  </a:lnTo>
                  <a:lnTo>
                    <a:pt x="1245" y="178"/>
                  </a:lnTo>
                  <a:lnTo>
                    <a:pt x="1245" y="178"/>
                  </a:lnTo>
                  <a:lnTo>
                    <a:pt x="1245" y="178"/>
                  </a:lnTo>
                  <a:lnTo>
                    <a:pt x="1245" y="178"/>
                  </a:lnTo>
                  <a:lnTo>
                    <a:pt x="1245" y="178"/>
                  </a:lnTo>
                  <a:lnTo>
                    <a:pt x="1243" y="178"/>
                  </a:lnTo>
                  <a:lnTo>
                    <a:pt x="1245" y="178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0"/>
                  </a:lnTo>
                  <a:lnTo>
                    <a:pt x="1250" y="183"/>
                  </a:lnTo>
                  <a:lnTo>
                    <a:pt x="1250" y="183"/>
                  </a:lnTo>
                  <a:lnTo>
                    <a:pt x="1250" y="183"/>
                  </a:lnTo>
                  <a:lnTo>
                    <a:pt x="1252" y="183"/>
                  </a:lnTo>
                  <a:lnTo>
                    <a:pt x="1252" y="180"/>
                  </a:lnTo>
                  <a:lnTo>
                    <a:pt x="1252" y="180"/>
                  </a:lnTo>
                  <a:lnTo>
                    <a:pt x="1252" y="180"/>
                  </a:lnTo>
                  <a:lnTo>
                    <a:pt x="1252" y="180"/>
                  </a:lnTo>
                  <a:lnTo>
                    <a:pt x="1252" y="180"/>
                  </a:lnTo>
                  <a:lnTo>
                    <a:pt x="1254" y="180"/>
                  </a:lnTo>
                  <a:lnTo>
                    <a:pt x="1254" y="180"/>
                  </a:lnTo>
                  <a:lnTo>
                    <a:pt x="1256" y="180"/>
                  </a:lnTo>
                  <a:lnTo>
                    <a:pt x="1259" y="180"/>
                  </a:lnTo>
                  <a:lnTo>
                    <a:pt x="1259" y="180"/>
                  </a:lnTo>
                  <a:lnTo>
                    <a:pt x="1259" y="180"/>
                  </a:lnTo>
                  <a:lnTo>
                    <a:pt x="1261" y="180"/>
                  </a:lnTo>
                  <a:lnTo>
                    <a:pt x="1263" y="180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3"/>
                  </a:lnTo>
                  <a:lnTo>
                    <a:pt x="1263" y="185"/>
                  </a:lnTo>
                  <a:lnTo>
                    <a:pt x="1263" y="185"/>
                  </a:lnTo>
                  <a:lnTo>
                    <a:pt x="1263" y="185"/>
                  </a:lnTo>
                  <a:lnTo>
                    <a:pt x="1263" y="185"/>
                  </a:lnTo>
                  <a:lnTo>
                    <a:pt x="1263" y="187"/>
                  </a:lnTo>
                  <a:lnTo>
                    <a:pt x="1263" y="187"/>
                  </a:lnTo>
                  <a:lnTo>
                    <a:pt x="1263" y="187"/>
                  </a:lnTo>
                  <a:lnTo>
                    <a:pt x="1261" y="187"/>
                  </a:lnTo>
                  <a:lnTo>
                    <a:pt x="1261" y="187"/>
                  </a:lnTo>
                  <a:lnTo>
                    <a:pt x="1261" y="187"/>
                  </a:lnTo>
                  <a:lnTo>
                    <a:pt x="1261" y="187"/>
                  </a:lnTo>
                  <a:lnTo>
                    <a:pt x="1261" y="187"/>
                  </a:lnTo>
                  <a:lnTo>
                    <a:pt x="1261" y="187"/>
                  </a:lnTo>
                  <a:lnTo>
                    <a:pt x="1256" y="189"/>
                  </a:lnTo>
                  <a:lnTo>
                    <a:pt x="1256" y="189"/>
                  </a:lnTo>
                  <a:lnTo>
                    <a:pt x="1254" y="187"/>
                  </a:lnTo>
                  <a:lnTo>
                    <a:pt x="1252" y="187"/>
                  </a:lnTo>
                  <a:lnTo>
                    <a:pt x="1245" y="189"/>
                  </a:lnTo>
                  <a:lnTo>
                    <a:pt x="1245" y="189"/>
                  </a:lnTo>
                  <a:lnTo>
                    <a:pt x="1245" y="189"/>
                  </a:lnTo>
                  <a:lnTo>
                    <a:pt x="1243" y="189"/>
                  </a:lnTo>
                  <a:lnTo>
                    <a:pt x="1243" y="192"/>
                  </a:lnTo>
                  <a:lnTo>
                    <a:pt x="1243" y="192"/>
                  </a:lnTo>
                  <a:lnTo>
                    <a:pt x="1241" y="192"/>
                  </a:lnTo>
                  <a:lnTo>
                    <a:pt x="1238" y="192"/>
                  </a:lnTo>
                  <a:lnTo>
                    <a:pt x="1238" y="192"/>
                  </a:lnTo>
                  <a:lnTo>
                    <a:pt x="1238" y="194"/>
                  </a:lnTo>
                  <a:lnTo>
                    <a:pt x="1236" y="194"/>
                  </a:lnTo>
                  <a:lnTo>
                    <a:pt x="1236" y="194"/>
                  </a:lnTo>
                  <a:lnTo>
                    <a:pt x="1236" y="194"/>
                  </a:lnTo>
                  <a:lnTo>
                    <a:pt x="1236" y="194"/>
                  </a:lnTo>
                  <a:lnTo>
                    <a:pt x="1238" y="194"/>
                  </a:lnTo>
                  <a:lnTo>
                    <a:pt x="1238" y="194"/>
                  </a:lnTo>
                  <a:lnTo>
                    <a:pt x="1241" y="192"/>
                  </a:lnTo>
                  <a:lnTo>
                    <a:pt x="1241" y="192"/>
                  </a:lnTo>
                  <a:lnTo>
                    <a:pt x="1243" y="192"/>
                  </a:lnTo>
                  <a:lnTo>
                    <a:pt x="1243" y="192"/>
                  </a:lnTo>
                  <a:lnTo>
                    <a:pt x="1243" y="192"/>
                  </a:lnTo>
                  <a:lnTo>
                    <a:pt x="1245" y="189"/>
                  </a:lnTo>
                  <a:lnTo>
                    <a:pt x="1245" y="189"/>
                  </a:lnTo>
                  <a:lnTo>
                    <a:pt x="1245" y="189"/>
                  </a:lnTo>
                  <a:lnTo>
                    <a:pt x="1252" y="189"/>
                  </a:lnTo>
                  <a:lnTo>
                    <a:pt x="1254" y="189"/>
                  </a:lnTo>
                  <a:lnTo>
                    <a:pt x="1256" y="189"/>
                  </a:lnTo>
                  <a:lnTo>
                    <a:pt x="1256" y="189"/>
                  </a:lnTo>
                  <a:lnTo>
                    <a:pt x="1256" y="189"/>
                  </a:lnTo>
                  <a:lnTo>
                    <a:pt x="1256" y="189"/>
                  </a:lnTo>
                  <a:lnTo>
                    <a:pt x="1252" y="192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0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5" y="194"/>
                  </a:lnTo>
                  <a:lnTo>
                    <a:pt x="1245" y="196"/>
                  </a:lnTo>
                  <a:lnTo>
                    <a:pt x="1243" y="196"/>
                  </a:lnTo>
                  <a:lnTo>
                    <a:pt x="1243" y="196"/>
                  </a:lnTo>
                  <a:lnTo>
                    <a:pt x="1241" y="196"/>
                  </a:lnTo>
                  <a:lnTo>
                    <a:pt x="1238" y="196"/>
                  </a:lnTo>
                  <a:lnTo>
                    <a:pt x="1238" y="196"/>
                  </a:lnTo>
                  <a:lnTo>
                    <a:pt x="1238" y="196"/>
                  </a:lnTo>
                  <a:lnTo>
                    <a:pt x="1241" y="196"/>
                  </a:lnTo>
                  <a:lnTo>
                    <a:pt x="1241" y="196"/>
                  </a:lnTo>
                  <a:lnTo>
                    <a:pt x="1243" y="196"/>
                  </a:lnTo>
                  <a:lnTo>
                    <a:pt x="1243" y="196"/>
                  </a:lnTo>
                  <a:lnTo>
                    <a:pt x="1243" y="196"/>
                  </a:lnTo>
                  <a:lnTo>
                    <a:pt x="1243" y="196"/>
                  </a:lnTo>
                  <a:lnTo>
                    <a:pt x="1245" y="196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47" y="194"/>
                  </a:lnTo>
                  <a:lnTo>
                    <a:pt x="1250" y="194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0" y="192"/>
                  </a:lnTo>
                  <a:lnTo>
                    <a:pt x="1252" y="192"/>
                  </a:lnTo>
                  <a:lnTo>
                    <a:pt x="1252" y="192"/>
                  </a:lnTo>
                  <a:lnTo>
                    <a:pt x="1252" y="192"/>
                  </a:lnTo>
                  <a:lnTo>
                    <a:pt x="1254" y="192"/>
                  </a:lnTo>
                  <a:lnTo>
                    <a:pt x="1254" y="192"/>
                  </a:lnTo>
                  <a:lnTo>
                    <a:pt x="1256" y="192"/>
                  </a:lnTo>
                  <a:lnTo>
                    <a:pt x="1256" y="192"/>
                  </a:lnTo>
                  <a:lnTo>
                    <a:pt x="1256" y="189"/>
                  </a:lnTo>
                  <a:lnTo>
                    <a:pt x="1259" y="189"/>
                  </a:lnTo>
                  <a:lnTo>
                    <a:pt x="1259" y="189"/>
                  </a:lnTo>
                  <a:lnTo>
                    <a:pt x="1259" y="189"/>
                  </a:lnTo>
                  <a:lnTo>
                    <a:pt x="1259" y="189"/>
                  </a:lnTo>
                  <a:lnTo>
                    <a:pt x="1259" y="189"/>
                  </a:lnTo>
                  <a:lnTo>
                    <a:pt x="1259" y="189"/>
                  </a:lnTo>
                  <a:lnTo>
                    <a:pt x="1261" y="189"/>
                  </a:lnTo>
                  <a:lnTo>
                    <a:pt x="1261" y="189"/>
                  </a:lnTo>
                  <a:lnTo>
                    <a:pt x="1261" y="189"/>
                  </a:lnTo>
                  <a:lnTo>
                    <a:pt x="1263" y="189"/>
                  </a:lnTo>
                  <a:lnTo>
                    <a:pt x="1270" y="189"/>
                  </a:lnTo>
                  <a:lnTo>
                    <a:pt x="1270" y="189"/>
                  </a:lnTo>
                  <a:lnTo>
                    <a:pt x="1272" y="189"/>
                  </a:lnTo>
                  <a:lnTo>
                    <a:pt x="1272" y="189"/>
                  </a:lnTo>
                  <a:lnTo>
                    <a:pt x="1272" y="189"/>
                  </a:lnTo>
                  <a:lnTo>
                    <a:pt x="1272" y="189"/>
                  </a:lnTo>
                  <a:lnTo>
                    <a:pt x="1272" y="189"/>
                  </a:lnTo>
                  <a:lnTo>
                    <a:pt x="1272" y="189"/>
                  </a:lnTo>
                  <a:lnTo>
                    <a:pt x="1272" y="192"/>
                  </a:lnTo>
                  <a:lnTo>
                    <a:pt x="1272" y="192"/>
                  </a:lnTo>
                  <a:lnTo>
                    <a:pt x="1272" y="192"/>
                  </a:lnTo>
                  <a:lnTo>
                    <a:pt x="1270" y="192"/>
                  </a:lnTo>
                  <a:lnTo>
                    <a:pt x="1270" y="192"/>
                  </a:lnTo>
                  <a:lnTo>
                    <a:pt x="1270" y="194"/>
                  </a:lnTo>
                  <a:lnTo>
                    <a:pt x="1270" y="194"/>
                  </a:lnTo>
                  <a:lnTo>
                    <a:pt x="1270" y="194"/>
                  </a:lnTo>
                  <a:lnTo>
                    <a:pt x="1270" y="194"/>
                  </a:lnTo>
                  <a:lnTo>
                    <a:pt x="1270" y="194"/>
                  </a:lnTo>
                  <a:lnTo>
                    <a:pt x="1270" y="194"/>
                  </a:lnTo>
                  <a:lnTo>
                    <a:pt x="1270" y="194"/>
                  </a:lnTo>
                  <a:lnTo>
                    <a:pt x="1268" y="194"/>
                  </a:lnTo>
                  <a:lnTo>
                    <a:pt x="1268" y="194"/>
                  </a:lnTo>
                  <a:lnTo>
                    <a:pt x="1268" y="194"/>
                  </a:lnTo>
                  <a:lnTo>
                    <a:pt x="1268" y="194"/>
                  </a:lnTo>
                  <a:lnTo>
                    <a:pt x="1265" y="194"/>
                  </a:lnTo>
                  <a:lnTo>
                    <a:pt x="1265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4"/>
                  </a:lnTo>
                  <a:lnTo>
                    <a:pt x="1263" y="196"/>
                  </a:lnTo>
                  <a:lnTo>
                    <a:pt x="1263" y="196"/>
                  </a:lnTo>
                  <a:lnTo>
                    <a:pt x="1261" y="196"/>
                  </a:lnTo>
                  <a:lnTo>
                    <a:pt x="1261" y="196"/>
                  </a:lnTo>
                  <a:lnTo>
                    <a:pt x="1261" y="196"/>
                  </a:lnTo>
                  <a:lnTo>
                    <a:pt x="1261" y="196"/>
                  </a:lnTo>
                  <a:lnTo>
                    <a:pt x="1261" y="196"/>
                  </a:lnTo>
                  <a:lnTo>
                    <a:pt x="1259" y="196"/>
                  </a:lnTo>
                  <a:lnTo>
                    <a:pt x="1259" y="196"/>
                  </a:lnTo>
                  <a:lnTo>
                    <a:pt x="1259" y="196"/>
                  </a:lnTo>
                  <a:lnTo>
                    <a:pt x="1256" y="196"/>
                  </a:lnTo>
                  <a:lnTo>
                    <a:pt x="1256" y="196"/>
                  </a:lnTo>
                  <a:lnTo>
                    <a:pt x="1254" y="196"/>
                  </a:lnTo>
                  <a:lnTo>
                    <a:pt x="1250" y="196"/>
                  </a:lnTo>
                  <a:lnTo>
                    <a:pt x="1250" y="196"/>
                  </a:lnTo>
                  <a:lnTo>
                    <a:pt x="1250" y="198"/>
                  </a:lnTo>
                  <a:lnTo>
                    <a:pt x="1254" y="196"/>
                  </a:lnTo>
                  <a:lnTo>
                    <a:pt x="1254" y="196"/>
                  </a:lnTo>
                  <a:lnTo>
                    <a:pt x="1256" y="196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4" y="198"/>
                  </a:lnTo>
                  <a:lnTo>
                    <a:pt x="1252" y="198"/>
                  </a:lnTo>
                  <a:lnTo>
                    <a:pt x="1250" y="201"/>
                  </a:lnTo>
                  <a:lnTo>
                    <a:pt x="1247" y="201"/>
                  </a:lnTo>
                  <a:lnTo>
                    <a:pt x="1247" y="201"/>
                  </a:lnTo>
                  <a:lnTo>
                    <a:pt x="1247" y="201"/>
                  </a:lnTo>
                  <a:lnTo>
                    <a:pt x="1250" y="201"/>
                  </a:lnTo>
                  <a:lnTo>
                    <a:pt x="1252" y="198"/>
                  </a:lnTo>
                  <a:lnTo>
                    <a:pt x="1254" y="198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9" y="196"/>
                  </a:lnTo>
                  <a:lnTo>
                    <a:pt x="1259" y="196"/>
                  </a:lnTo>
                  <a:lnTo>
                    <a:pt x="1259" y="196"/>
                  </a:lnTo>
                  <a:lnTo>
                    <a:pt x="1259" y="196"/>
                  </a:lnTo>
                  <a:lnTo>
                    <a:pt x="1261" y="196"/>
                  </a:lnTo>
                  <a:lnTo>
                    <a:pt x="1261" y="198"/>
                  </a:lnTo>
                  <a:lnTo>
                    <a:pt x="1261" y="198"/>
                  </a:lnTo>
                  <a:lnTo>
                    <a:pt x="1261" y="198"/>
                  </a:lnTo>
                  <a:lnTo>
                    <a:pt x="1259" y="198"/>
                  </a:lnTo>
                  <a:lnTo>
                    <a:pt x="1259" y="198"/>
                  </a:lnTo>
                  <a:lnTo>
                    <a:pt x="1259" y="198"/>
                  </a:lnTo>
                  <a:lnTo>
                    <a:pt x="1259" y="198"/>
                  </a:lnTo>
                  <a:lnTo>
                    <a:pt x="1259" y="198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6" y="198"/>
                  </a:lnTo>
                  <a:lnTo>
                    <a:pt x="1256" y="201"/>
                  </a:lnTo>
                  <a:lnTo>
                    <a:pt x="1256" y="201"/>
                  </a:lnTo>
                  <a:lnTo>
                    <a:pt x="1256" y="201"/>
                  </a:lnTo>
                  <a:lnTo>
                    <a:pt x="1252" y="201"/>
                  </a:lnTo>
                  <a:lnTo>
                    <a:pt x="1252" y="201"/>
                  </a:lnTo>
                  <a:lnTo>
                    <a:pt x="1252" y="201"/>
                  </a:lnTo>
                  <a:lnTo>
                    <a:pt x="1250" y="201"/>
                  </a:lnTo>
                  <a:lnTo>
                    <a:pt x="1250" y="201"/>
                  </a:lnTo>
                  <a:lnTo>
                    <a:pt x="1250" y="201"/>
                  </a:lnTo>
                  <a:lnTo>
                    <a:pt x="1250" y="201"/>
                  </a:lnTo>
                  <a:lnTo>
                    <a:pt x="1252" y="201"/>
                  </a:lnTo>
                  <a:lnTo>
                    <a:pt x="1252" y="201"/>
                  </a:lnTo>
                  <a:lnTo>
                    <a:pt x="1252" y="201"/>
                  </a:lnTo>
                  <a:lnTo>
                    <a:pt x="1254" y="201"/>
                  </a:lnTo>
                  <a:lnTo>
                    <a:pt x="1254" y="201"/>
                  </a:lnTo>
                  <a:lnTo>
                    <a:pt x="1254" y="201"/>
                  </a:lnTo>
                  <a:lnTo>
                    <a:pt x="1254" y="201"/>
                  </a:lnTo>
                  <a:lnTo>
                    <a:pt x="1254" y="201"/>
                  </a:lnTo>
                  <a:lnTo>
                    <a:pt x="1252" y="201"/>
                  </a:lnTo>
                  <a:lnTo>
                    <a:pt x="1254" y="201"/>
                  </a:lnTo>
                  <a:lnTo>
                    <a:pt x="1254" y="203"/>
                  </a:lnTo>
                  <a:lnTo>
                    <a:pt x="1256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2" y="203"/>
                  </a:lnTo>
                  <a:lnTo>
                    <a:pt x="1252" y="205"/>
                  </a:lnTo>
                  <a:lnTo>
                    <a:pt x="1252" y="205"/>
                  </a:lnTo>
                  <a:lnTo>
                    <a:pt x="1252" y="205"/>
                  </a:lnTo>
                  <a:lnTo>
                    <a:pt x="1252" y="205"/>
                  </a:lnTo>
                  <a:lnTo>
                    <a:pt x="1250" y="205"/>
                  </a:lnTo>
                  <a:lnTo>
                    <a:pt x="1250" y="205"/>
                  </a:lnTo>
                  <a:lnTo>
                    <a:pt x="1250" y="205"/>
                  </a:lnTo>
                  <a:lnTo>
                    <a:pt x="1250" y="205"/>
                  </a:lnTo>
                  <a:lnTo>
                    <a:pt x="1250" y="205"/>
                  </a:lnTo>
                  <a:lnTo>
                    <a:pt x="1247" y="205"/>
                  </a:lnTo>
                  <a:lnTo>
                    <a:pt x="1247" y="205"/>
                  </a:lnTo>
                  <a:lnTo>
                    <a:pt x="1247" y="205"/>
                  </a:lnTo>
                  <a:lnTo>
                    <a:pt x="1247" y="207"/>
                  </a:lnTo>
                  <a:lnTo>
                    <a:pt x="1247" y="207"/>
                  </a:lnTo>
                  <a:lnTo>
                    <a:pt x="1247" y="207"/>
                  </a:lnTo>
                  <a:lnTo>
                    <a:pt x="1247" y="207"/>
                  </a:lnTo>
                  <a:lnTo>
                    <a:pt x="1247" y="207"/>
                  </a:lnTo>
                  <a:lnTo>
                    <a:pt x="1250" y="205"/>
                  </a:lnTo>
                  <a:lnTo>
                    <a:pt x="1252" y="205"/>
                  </a:lnTo>
                  <a:lnTo>
                    <a:pt x="1252" y="205"/>
                  </a:lnTo>
                  <a:lnTo>
                    <a:pt x="1254" y="205"/>
                  </a:lnTo>
                  <a:lnTo>
                    <a:pt x="1254" y="203"/>
                  </a:lnTo>
                  <a:lnTo>
                    <a:pt x="1254" y="203"/>
                  </a:lnTo>
                  <a:lnTo>
                    <a:pt x="1256" y="203"/>
                  </a:lnTo>
                  <a:lnTo>
                    <a:pt x="1256" y="203"/>
                  </a:lnTo>
                  <a:lnTo>
                    <a:pt x="1256" y="203"/>
                  </a:lnTo>
                  <a:lnTo>
                    <a:pt x="1256" y="201"/>
                  </a:lnTo>
                  <a:lnTo>
                    <a:pt x="1256" y="201"/>
                  </a:lnTo>
                  <a:lnTo>
                    <a:pt x="1256" y="201"/>
                  </a:lnTo>
                  <a:lnTo>
                    <a:pt x="1256" y="201"/>
                  </a:lnTo>
                  <a:lnTo>
                    <a:pt x="1256" y="201"/>
                  </a:lnTo>
                  <a:lnTo>
                    <a:pt x="1259" y="201"/>
                  </a:lnTo>
                  <a:lnTo>
                    <a:pt x="1259" y="201"/>
                  </a:lnTo>
                  <a:lnTo>
                    <a:pt x="1259" y="198"/>
                  </a:lnTo>
                  <a:lnTo>
                    <a:pt x="1261" y="198"/>
                  </a:lnTo>
                  <a:lnTo>
                    <a:pt x="1261" y="198"/>
                  </a:lnTo>
                  <a:lnTo>
                    <a:pt x="1261" y="198"/>
                  </a:lnTo>
                  <a:lnTo>
                    <a:pt x="1261" y="198"/>
                  </a:lnTo>
                  <a:lnTo>
                    <a:pt x="1263" y="198"/>
                  </a:lnTo>
                  <a:lnTo>
                    <a:pt x="1265" y="196"/>
                  </a:lnTo>
                  <a:lnTo>
                    <a:pt x="1265" y="196"/>
                  </a:lnTo>
                  <a:lnTo>
                    <a:pt x="1265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70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68" y="196"/>
                  </a:lnTo>
                  <a:lnTo>
                    <a:pt x="1268" y="198"/>
                  </a:lnTo>
                  <a:lnTo>
                    <a:pt x="1268" y="198"/>
                  </a:lnTo>
                  <a:lnTo>
                    <a:pt x="1265" y="198"/>
                  </a:lnTo>
                  <a:lnTo>
                    <a:pt x="1265" y="198"/>
                  </a:lnTo>
                  <a:lnTo>
                    <a:pt x="1265" y="198"/>
                  </a:lnTo>
                  <a:lnTo>
                    <a:pt x="1265" y="198"/>
                  </a:lnTo>
                  <a:lnTo>
                    <a:pt x="1265" y="198"/>
                  </a:lnTo>
                  <a:lnTo>
                    <a:pt x="1265" y="201"/>
                  </a:lnTo>
                  <a:lnTo>
                    <a:pt x="1265" y="201"/>
                  </a:lnTo>
                  <a:lnTo>
                    <a:pt x="1265" y="201"/>
                  </a:lnTo>
                  <a:lnTo>
                    <a:pt x="1265" y="198"/>
                  </a:lnTo>
                  <a:lnTo>
                    <a:pt x="1265" y="198"/>
                  </a:lnTo>
                  <a:lnTo>
                    <a:pt x="1265" y="198"/>
                  </a:lnTo>
                  <a:lnTo>
                    <a:pt x="1268" y="198"/>
                  </a:lnTo>
                  <a:lnTo>
                    <a:pt x="1268" y="198"/>
                  </a:lnTo>
                  <a:lnTo>
                    <a:pt x="1268" y="198"/>
                  </a:lnTo>
                  <a:lnTo>
                    <a:pt x="1270" y="196"/>
                  </a:lnTo>
                  <a:lnTo>
                    <a:pt x="1270" y="196"/>
                  </a:lnTo>
                  <a:lnTo>
                    <a:pt x="1272" y="196"/>
                  </a:lnTo>
                  <a:lnTo>
                    <a:pt x="1274" y="196"/>
                  </a:lnTo>
                  <a:lnTo>
                    <a:pt x="1274" y="196"/>
                  </a:lnTo>
                  <a:lnTo>
                    <a:pt x="1274" y="196"/>
                  </a:lnTo>
                  <a:lnTo>
                    <a:pt x="1274" y="196"/>
                  </a:lnTo>
                  <a:lnTo>
                    <a:pt x="1274" y="196"/>
                  </a:lnTo>
                  <a:lnTo>
                    <a:pt x="1274" y="196"/>
                  </a:lnTo>
                  <a:lnTo>
                    <a:pt x="1274" y="196"/>
                  </a:lnTo>
                  <a:lnTo>
                    <a:pt x="1277" y="196"/>
                  </a:lnTo>
                  <a:lnTo>
                    <a:pt x="1277" y="196"/>
                  </a:lnTo>
                  <a:lnTo>
                    <a:pt x="1277" y="196"/>
                  </a:lnTo>
                  <a:lnTo>
                    <a:pt x="1277" y="196"/>
                  </a:lnTo>
                  <a:lnTo>
                    <a:pt x="1277" y="196"/>
                  </a:lnTo>
                  <a:lnTo>
                    <a:pt x="1274" y="196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0" y="198"/>
                  </a:lnTo>
                  <a:lnTo>
                    <a:pt x="1270" y="198"/>
                  </a:lnTo>
                  <a:lnTo>
                    <a:pt x="1270" y="198"/>
                  </a:lnTo>
                  <a:lnTo>
                    <a:pt x="1270" y="198"/>
                  </a:lnTo>
                  <a:lnTo>
                    <a:pt x="1270" y="198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5" y="201"/>
                  </a:lnTo>
                  <a:lnTo>
                    <a:pt x="1265" y="201"/>
                  </a:lnTo>
                  <a:lnTo>
                    <a:pt x="1265" y="201"/>
                  </a:lnTo>
                  <a:lnTo>
                    <a:pt x="1263" y="201"/>
                  </a:lnTo>
                  <a:lnTo>
                    <a:pt x="1263" y="203"/>
                  </a:lnTo>
                  <a:lnTo>
                    <a:pt x="1263" y="203"/>
                  </a:lnTo>
                  <a:lnTo>
                    <a:pt x="1263" y="203"/>
                  </a:lnTo>
                  <a:lnTo>
                    <a:pt x="1261" y="203"/>
                  </a:lnTo>
                  <a:lnTo>
                    <a:pt x="1261" y="203"/>
                  </a:lnTo>
                  <a:lnTo>
                    <a:pt x="1263" y="203"/>
                  </a:lnTo>
                  <a:lnTo>
                    <a:pt x="1263" y="203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3" y="203"/>
                  </a:lnTo>
                  <a:lnTo>
                    <a:pt x="1263" y="203"/>
                  </a:lnTo>
                  <a:lnTo>
                    <a:pt x="1263" y="203"/>
                  </a:lnTo>
                  <a:lnTo>
                    <a:pt x="1263" y="205"/>
                  </a:lnTo>
                  <a:lnTo>
                    <a:pt x="1261" y="205"/>
                  </a:lnTo>
                  <a:lnTo>
                    <a:pt x="1261" y="205"/>
                  </a:lnTo>
                  <a:lnTo>
                    <a:pt x="1263" y="205"/>
                  </a:lnTo>
                  <a:lnTo>
                    <a:pt x="1263" y="205"/>
                  </a:lnTo>
                  <a:lnTo>
                    <a:pt x="1263" y="205"/>
                  </a:lnTo>
                  <a:lnTo>
                    <a:pt x="1263" y="205"/>
                  </a:lnTo>
                  <a:lnTo>
                    <a:pt x="1263" y="205"/>
                  </a:lnTo>
                  <a:lnTo>
                    <a:pt x="1261" y="205"/>
                  </a:lnTo>
                  <a:lnTo>
                    <a:pt x="1261" y="205"/>
                  </a:lnTo>
                  <a:lnTo>
                    <a:pt x="1261" y="207"/>
                  </a:lnTo>
                  <a:lnTo>
                    <a:pt x="1259" y="207"/>
                  </a:lnTo>
                  <a:lnTo>
                    <a:pt x="1259" y="207"/>
                  </a:lnTo>
                  <a:lnTo>
                    <a:pt x="1261" y="207"/>
                  </a:lnTo>
                  <a:lnTo>
                    <a:pt x="1265" y="205"/>
                  </a:lnTo>
                  <a:lnTo>
                    <a:pt x="1265" y="205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5" y="203"/>
                  </a:lnTo>
                  <a:lnTo>
                    <a:pt x="1268" y="203"/>
                  </a:lnTo>
                  <a:lnTo>
                    <a:pt x="1268" y="203"/>
                  </a:lnTo>
                  <a:lnTo>
                    <a:pt x="1268" y="203"/>
                  </a:lnTo>
                  <a:lnTo>
                    <a:pt x="1268" y="203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68" y="201"/>
                  </a:lnTo>
                  <a:lnTo>
                    <a:pt x="1270" y="201"/>
                  </a:lnTo>
                  <a:lnTo>
                    <a:pt x="1270" y="201"/>
                  </a:lnTo>
                  <a:lnTo>
                    <a:pt x="1270" y="201"/>
                  </a:lnTo>
                  <a:lnTo>
                    <a:pt x="1270" y="201"/>
                  </a:lnTo>
                  <a:lnTo>
                    <a:pt x="1270" y="201"/>
                  </a:lnTo>
                  <a:lnTo>
                    <a:pt x="1270" y="201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2" y="198"/>
                  </a:lnTo>
                  <a:lnTo>
                    <a:pt x="1274" y="198"/>
                  </a:lnTo>
                  <a:lnTo>
                    <a:pt x="1274" y="198"/>
                  </a:lnTo>
                  <a:lnTo>
                    <a:pt x="1274" y="201"/>
                  </a:lnTo>
                  <a:lnTo>
                    <a:pt x="1274" y="201"/>
                  </a:lnTo>
                  <a:lnTo>
                    <a:pt x="1274" y="201"/>
                  </a:lnTo>
                  <a:lnTo>
                    <a:pt x="1272" y="201"/>
                  </a:lnTo>
                  <a:lnTo>
                    <a:pt x="1272" y="201"/>
                  </a:lnTo>
                  <a:lnTo>
                    <a:pt x="1272" y="201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0" y="203"/>
                  </a:lnTo>
                  <a:lnTo>
                    <a:pt x="1270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4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3"/>
                  </a:lnTo>
                  <a:lnTo>
                    <a:pt x="1272" y="205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68" y="205"/>
                  </a:lnTo>
                  <a:lnTo>
                    <a:pt x="1268" y="205"/>
                  </a:lnTo>
                  <a:lnTo>
                    <a:pt x="1268" y="205"/>
                  </a:lnTo>
                  <a:lnTo>
                    <a:pt x="1268" y="205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5" y="207"/>
                  </a:lnTo>
                  <a:lnTo>
                    <a:pt x="1265" y="207"/>
                  </a:lnTo>
                  <a:lnTo>
                    <a:pt x="1265" y="210"/>
                  </a:lnTo>
                  <a:lnTo>
                    <a:pt x="1263" y="210"/>
                  </a:lnTo>
                  <a:lnTo>
                    <a:pt x="1263" y="210"/>
                  </a:lnTo>
                  <a:lnTo>
                    <a:pt x="1263" y="210"/>
                  </a:lnTo>
                  <a:lnTo>
                    <a:pt x="1263" y="210"/>
                  </a:lnTo>
                  <a:lnTo>
                    <a:pt x="1263" y="210"/>
                  </a:lnTo>
                  <a:lnTo>
                    <a:pt x="1263" y="210"/>
                  </a:lnTo>
                  <a:lnTo>
                    <a:pt x="1265" y="210"/>
                  </a:lnTo>
                  <a:lnTo>
                    <a:pt x="1265" y="210"/>
                  </a:lnTo>
                  <a:lnTo>
                    <a:pt x="1265" y="210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68" y="207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70" y="205"/>
                  </a:lnTo>
                  <a:lnTo>
                    <a:pt x="1272" y="205"/>
                  </a:lnTo>
                  <a:lnTo>
                    <a:pt x="1272" y="205"/>
                  </a:lnTo>
                  <a:lnTo>
                    <a:pt x="1272" y="205"/>
                  </a:lnTo>
                  <a:lnTo>
                    <a:pt x="1272" y="205"/>
                  </a:lnTo>
                  <a:lnTo>
                    <a:pt x="1272" y="205"/>
                  </a:lnTo>
                  <a:lnTo>
                    <a:pt x="1272" y="205"/>
                  </a:lnTo>
                  <a:lnTo>
                    <a:pt x="1272" y="205"/>
                  </a:lnTo>
                  <a:lnTo>
                    <a:pt x="1272" y="203"/>
                  </a:lnTo>
                  <a:lnTo>
                    <a:pt x="1274" y="203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4" y="205"/>
                  </a:lnTo>
                  <a:lnTo>
                    <a:pt x="1274" y="205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2" y="207"/>
                  </a:lnTo>
                  <a:lnTo>
                    <a:pt x="1272" y="210"/>
                  </a:lnTo>
                  <a:lnTo>
                    <a:pt x="1272" y="210"/>
                  </a:lnTo>
                  <a:lnTo>
                    <a:pt x="1270" y="210"/>
                  </a:lnTo>
                  <a:lnTo>
                    <a:pt x="1268" y="210"/>
                  </a:lnTo>
                  <a:lnTo>
                    <a:pt x="1270" y="210"/>
                  </a:lnTo>
                  <a:lnTo>
                    <a:pt x="1270" y="210"/>
                  </a:lnTo>
                  <a:lnTo>
                    <a:pt x="1270" y="212"/>
                  </a:lnTo>
                  <a:lnTo>
                    <a:pt x="1270" y="210"/>
                  </a:lnTo>
                  <a:lnTo>
                    <a:pt x="1270" y="210"/>
                  </a:lnTo>
                  <a:lnTo>
                    <a:pt x="1270" y="210"/>
                  </a:lnTo>
                  <a:lnTo>
                    <a:pt x="1270" y="210"/>
                  </a:lnTo>
                  <a:lnTo>
                    <a:pt x="1272" y="210"/>
                  </a:lnTo>
                  <a:lnTo>
                    <a:pt x="1272" y="210"/>
                  </a:lnTo>
                  <a:lnTo>
                    <a:pt x="1272" y="207"/>
                  </a:lnTo>
                  <a:lnTo>
                    <a:pt x="1272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4" y="207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7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79" y="205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1" y="203"/>
                  </a:lnTo>
                  <a:lnTo>
                    <a:pt x="1283" y="203"/>
                  </a:lnTo>
                  <a:lnTo>
                    <a:pt x="1285" y="203"/>
                  </a:lnTo>
                  <a:lnTo>
                    <a:pt x="1285" y="201"/>
                  </a:lnTo>
                  <a:lnTo>
                    <a:pt x="1285" y="201"/>
                  </a:lnTo>
                  <a:lnTo>
                    <a:pt x="1285" y="201"/>
                  </a:lnTo>
                  <a:lnTo>
                    <a:pt x="1285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3" y="201"/>
                  </a:lnTo>
                  <a:lnTo>
                    <a:pt x="1285" y="201"/>
                  </a:lnTo>
                  <a:lnTo>
                    <a:pt x="1285" y="201"/>
                  </a:lnTo>
                  <a:lnTo>
                    <a:pt x="1288" y="201"/>
                  </a:lnTo>
                  <a:lnTo>
                    <a:pt x="1288" y="198"/>
                  </a:lnTo>
                  <a:lnTo>
                    <a:pt x="1288" y="198"/>
                  </a:lnTo>
                  <a:lnTo>
                    <a:pt x="1290" y="198"/>
                  </a:lnTo>
                  <a:lnTo>
                    <a:pt x="1290" y="198"/>
                  </a:lnTo>
                  <a:lnTo>
                    <a:pt x="1290" y="198"/>
                  </a:lnTo>
                  <a:lnTo>
                    <a:pt x="1290" y="198"/>
                  </a:lnTo>
                  <a:lnTo>
                    <a:pt x="1290" y="198"/>
                  </a:lnTo>
                  <a:lnTo>
                    <a:pt x="1290" y="198"/>
                  </a:lnTo>
                  <a:lnTo>
                    <a:pt x="1292" y="198"/>
                  </a:lnTo>
                  <a:lnTo>
                    <a:pt x="1292" y="198"/>
                  </a:lnTo>
                  <a:lnTo>
                    <a:pt x="1299" y="198"/>
                  </a:lnTo>
                  <a:lnTo>
                    <a:pt x="1301" y="201"/>
                  </a:lnTo>
                  <a:lnTo>
                    <a:pt x="1303" y="201"/>
                  </a:lnTo>
                  <a:lnTo>
                    <a:pt x="1303" y="201"/>
                  </a:lnTo>
                  <a:lnTo>
                    <a:pt x="1303" y="201"/>
                  </a:lnTo>
                  <a:lnTo>
                    <a:pt x="1303" y="201"/>
                  </a:lnTo>
                  <a:lnTo>
                    <a:pt x="1306" y="201"/>
                  </a:lnTo>
                  <a:lnTo>
                    <a:pt x="1303" y="203"/>
                  </a:lnTo>
                  <a:lnTo>
                    <a:pt x="1303" y="203"/>
                  </a:lnTo>
                  <a:lnTo>
                    <a:pt x="1303" y="203"/>
                  </a:lnTo>
                  <a:lnTo>
                    <a:pt x="1306" y="203"/>
                  </a:lnTo>
                  <a:lnTo>
                    <a:pt x="1306" y="205"/>
                  </a:lnTo>
                  <a:lnTo>
                    <a:pt x="1306" y="205"/>
                  </a:lnTo>
                  <a:lnTo>
                    <a:pt x="1306" y="205"/>
                  </a:lnTo>
                  <a:lnTo>
                    <a:pt x="1303" y="207"/>
                  </a:lnTo>
                  <a:lnTo>
                    <a:pt x="1303" y="207"/>
                  </a:lnTo>
                  <a:lnTo>
                    <a:pt x="1301" y="207"/>
                  </a:lnTo>
                  <a:lnTo>
                    <a:pt x="1301" y="207"/>
                  </a:lnTo>
                  <a:lnTo>
                    <a:pt x="1301" y="207"/>
                  </a:lnTo>
                  <a:lnTo>
                    <a:pt x="1299" y="210"/>
                  </a:lnTo>
                  <a:lnTo>
                    <a:pt x="1299" y="210"/>
                  </a:lnTo>
                  <a:lnTo>
                    <a:pt x="1299" y="210"/>
                  </a:lnTo>
                  <a:lnTo>
                    <a:pt x="1297" y="210"/>
                  </a:lnTo>
                  <a:lnTo>
                    <a:pt x="1294" y="210"/>
                  </a:lnTo>
                  <a:lnTo>
                    <a:pt x="1294" y="207"/>
                  </a:lnTo>
                  <a:lnTo>
                    <a:pt x="1292" y="207"/>
                  </a:lnTo>
                  <a:lnTo>
                    <a:pt x="1292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90" y="210"/>
                  </a:lnTo>
                  <a:lnTo>
                    <a:pt x="1288" y="210"/>
                  </a:lnTo>
                  <a:lnTo>
                    <a:pt x="1288" y="210"/>
                  </a:lnTo>
                  <a:lnTo>
                    <a:pt x="1288" y="210"/>
                  </a:lnTo>
                  <a:lnTo>
                    <a:pt x="1288" y="210"/>
                  </a:lnTo>
                  <a:lnTo>
                    <a:pt x="1288" y="210"/>
                  </a:lnTo>
                  <a:lnTo>
                    <a:pt x="1288" y="210"/>
                  </a:lnTo>
                  <a:lnTo>
                    <a:pt x="1288" y="210"/>
                  </a:lnTo>
                  <a:lnTo>
                    <a:pt x="1288" y="212"/>
                  </a:lnTo>
                  <a:lnTo>
                    <a:pt x="1288" y="212"/>
                  </a:lnTo>
                  <a:lnTo>
                    <a:pt x="1285" y="212"/>
                  </a:lnTo>
                  <a:lnTo>
                    <a:pt x="1285" y="212"/>
                  </a:lnTo>
                  <a:lnTo>
                    <a:pt x="1283" y="212"/>
                  </a:lnTo>
                  <a:lnTo>
                    <a:pt x="1283" y="212"/>
                  </a:lnTo>
                  <a:lnTo>
                    <a:pt x="1283" y="212"/>
                  </a:lnTo>
                  <a:lnTo>
                    <a:pt x="1283" y="212"/>
                  </a:lnTo>
                  <a:lnTo>
                    <a:pt x="1283" y="212"/>
                  </a:lnTo>
                  <a:lnTo>
                    <a:pt x="1277" y="214"/>
                  </a:lnTo>
                  <a:lnTo>
                    <a:pt x="1277" y="214"/>
                  </a:lnTo>
                  <a:lnTo>
                    <a:pt x="1281" y="214"/>
                  </a:lnTo>
                  <a:lnTo>
                    <a:pt x="1283" y="212"/>
                  </a:lnTo>
                  <a:lnTo>
                    <a:pt x="1283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5" y="214"/>
                  </a:lnTo>
                  <a:lnTo>
                    <a:pt x="1283" y="214"/>
                  </a:lnTo>
                  <a:lnTo>
                    <a:pt x="1281" y="214"/>
                  </a:lnTo>
                  <a:lnTo>
                    <a:pt x="1281" y="214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79" y="216"/>
                  </a:lnTo>
                  <a:lnTo>
                    <a:pt x="1277" y="216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7" y="219"/>
                  </a:lnTo>
                  <a:lnTo>
                    <a:pt x="1279" y="216"/>
                  </a:lnTo>
                  <a:lnTo>
                    <a:pt x="1279" y="216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81" y="216"/>
                  </a:lnTo>
                  <a:lnTo>
                    <a:pt x="1283" y="216"/>
                  </a:lnTo>
                  <a:lnTo>
                    <a:pt x="1283" y="214"/>
                  </a:lnTo>
                  <a:lnTo>
                    <a:pt x="1288" y="214"/>
                  </a:lnTo>
                  <a:lnTo>
                    <a:pt x="1290" y="214"/>
                  </a:lnTo>
                  <a:lnTo>
                    <a:pt x="1292" y="214"/>
                  </a:lnTo>
                  <a:lnTo>
                    <a:pt x="1294" y="212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9" y="214"/>
                  </a:lnTo>
                  <a:lnTo>
                    <a:pt x="1299" y="214"/>
                  </a:lnTo>
                  <a:lnTo>
                    <a:pt x="1301" y="214"/>
                  </a:lnTo>
                  <a:lnTo>
                    <a:pt x="1301" y="214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299" y="212"/>
                  </a:lnTo>
                  <a:lnTo>
                    <a:pt x="1301" y="212"/>
                  </a:lnTo>
                  <a:lnTo>
                    <a:pt x="1301" y="212"/>
                  </a:lnTo>
                  <a:lnTo>
                    <a:pt x="1301" y="212"/>
                  </a:lnTo>
                  <a:lnTo>
                    <a:pt x="1301" y="212"/>
                  </a:lnTo>
                  <a:lnTo>
                    <a:pt x="1301" y="212"/>
                  </a:lnTo>
                  <a:lnTo>
                    <a:pt x="1301" y="210"/>
                  </a:lnTo>
                  <a:lnTo>
                    <a:pt x="1303" y="210"/>
                  </a:lnTo>
                  <a:lnTo>
                    <a:pt x="1303" y="210"/>
                  </a:lnTo>
                  <a:lnTo>
                    <a:pt x="1306" y="210"/>
                  </a:lnTo>
                  <a:lnTo>
                    <a:pt x="1308" y="207"/>
                  </a:lnTo>
                  <a:lnTo>
                    <a:pt x="1310" y="207"/>
                  </a:lnTo>
                  <a:lnTo>
                    <a:pt x="1310" y="207"/>
                  </a:lnTo>
                  <a:lnTo>
                    <a:pt x="1310" y="210"/>
                  </a:lnTo>
                  <a:lnTo>
                    <a:pt x="1312" y="210"/>
                  </a:lnTo>
                  <a:lnTo>
                    <a:pt x="1312" y="210"/>
                  </a:lnTo>
                  <a:lnTo>
                    <a:pt x="1312" y="210"/>
                  </a:lnTo>
                  <a:lnTo>
                    <a:pt x="1310" y="210"/>
                  </a:lnTo>
                  <a:lnTo>
                    <a:pt x="1310" y="210"/>
                  </a:lnTo>
                  <a:lnTo>
                    <a:pt x="1310" y="212"/>
                  </a:lnTo>
                  <a:lnTo>
                    <a:pt x="1310" y="212"/>
                  </a:lnTo>
                  <a:lnTo>
                    <a:pt x="1310" y="212"/>
                  </a:lnTo>
                  <a:lnTo>
                    <a:pt x="1310" y="212"/>
                  </a:lnTo>
                  <a:lnTo>
                    <a:pt x="1308" y="214"/>
                  </a:lnTo>
                  <a:lnTo>
                    <a:pt x="1306" y="214"/>
                  </a:lnTo>
                  <a:lnTo>
                    <a:pt x="1306" y="214"/>
                  </a:lnTo>
                  <a:lnTo>
                    <a:pt x="1306" y="214"/>
                  </a:lnTo>
                  <a:lnTo>
                    <a:pt x="1306" y="216"/>
                  </a:lnTo>
                  <a:lnTo>
                    <a:pt x="1303" y="216"/>
                  </a:lnTo>
                  <a:lnTo>
                    <a:pt x="1299" y="216"/>
                  </a:lnTo>
                  <a:lnTo>
                    <a:pt x="1299" y="216"/>
                  </a:lnTo>
                  <a:lnTo>
                    <a:pt x="1299" y="219"/>
                  </a:lnTo>
                  <a:lnTo>
                    <a:pt x="1299" y="219"/>
                  </a:lnTo>
                  <a:lnTo>
                    <a:pt x="1297" y="219"/>
                  </a:lnTo>
                  <a:lnTo>
                    <a:pt x="1297" y="219"/>
                  </a:lnTo>
                  <a:lnTo>
                    <a:pt x="1297" y="219"/>
                  </a:lnTo>
                  <a:lnTo>
                    <a:pt x="1294" y="219"/>
                  </a:lnTo>
                  <a:lnTo>
                    <a:pt x="1292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90" y="219"/>
                  </a:lnTo>
                  <a:lnTo>
                    <a:pt x="1288" y="221"/>
                  </a:lnTo>
                  <a:lnTo>
                    <a:pt x="1288" y="221"/>
                  </a:lnTo>
                  <a:lnTo>
                    <a:pt x="1288" y="221"/>
                  </a:lnTo>
                  <a:lnTo>
                    <a:pt x="1285" y="221"/>
                  </a:lnTo>
                  <a:lnTo>
                    <a:pt x="1285" y="221"/>
                  </a:lnTo>
                  <a:lnTo>
                    <a:pt x="1285" y="221"/>
                  </a:lnTo>
                  <a:lnTo>
                    <a:pt x="1283" y="221"/>
                  </a:lnTo>
                  <a:lnTo>
                    <a:pt x="1283" y="221"/>
                  </a:lnTo>
                  <a:lnTo>
                    <a:pt x="1283" y="221"/>
                  </a:lnTo>
                  <a:lnTo>
                    <a:pt x="1283" y="223"/>
                  </a:lnTo>
                  <a:lnTo>
                    <a:pt x="1285" y="221"/>
                  </a:lnTo>
                  <a:lnTo>
                    <a:pt x="1285" y="221"/>
                  </a:lnTo>
                  <a:lnTo>
                    <a:pt x="1285" y="221"/>
                  </a:lnTo>
                  <a:lnTo>
                    <a:pt x="1285" y="223"/>
                  </a:lnTo>
                  <a:lnTo>
                    <a:pt x="1285" y="223"/>
                  </a:lnTo>
                  <a:lnTo>
                    <a:pt x="1285" y="223"/>
                  </a:lnTo>
                  <a:lnTo>
                    <a:pt x="1283" y="223"/>
                  </a:lnTo>
                  <a:lnTo>
                    <a:pt x="1283" y="225"/>
                  </a:lnTo>
                  <a:lnTo>
                    <a:pt x="1283" y="225"/>
                  </a:lnTo>
                  <a:lnTo>
                    <a:pt x="1283" y="225"/>
                  </a:lnTo>
                  <a:lnTo>
                    <a:pt x="1285" y="223"/>
                  </a:lnTo>
                  <a:lnTo>
                    <a:pt x="1285" y="223"/>
                  </a:lnTo>
                  <a:lnTo>
                    <a:pt x="1288" y="223"/>
                  </a:lnTo>
                  <a:lnTo>
                    <a:pt x="1288" y="223"/>
                  </a:lnTo>
                  <a:lnTo>
                    <a:pt x="1288" y="221"/>
                  </a:lnTo>
                  <a:lnTo>
                    <a:pt x="1288" y="221"/>
                  </a:lnTo>
                  <a:lnTo>
                    <a:pt x="1288" y="221"/>
                  </a:lnTo>
                  <a:lnTo>
                    <a:pt x="1288" y="221"/>
                  </a:lnTo>
                  <a:lnTo>
                    <a:pt x="1290" y="221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2" y="219"/>
                  </a:lnTo>
                  <a:lnTo>
                    <a:pt x="1294" y="219"/>
                  </a:lnTo>
                  <a:lnTo>
                    <a:pt x="1294" y="219"/>
                  </a:lnTo>
                  <a:lnTo>
                    <a:pt x="1294" y="219"/>
                  </a:lnTo>
                  <a:lnTo>
                    <a:pt x="1294" y="219"/>
                  </a:lnTo>
                  <a:lnTo>
                    <a:pt x="1297" y="219"/>
                  </a:lnTo>
                  <a:lnTo>
                    <a:pt x="1297" y="219"/>
                  </a:lnTo>
                  <a:lnTo>
                    <a:pt x="1297" y="219"/>
                  </a:lnTo>
                  <a:lnTo>
                    <a:pt x="1297" y="221"/>
                  </a:lnTo>
                  <a:lnTo>
                    <a:pt x="1294" y="223"/>
                  </a:lnTo>
                  <a:lnTo>
                    <a:pt x="1292" y="223"/>
                  </a:lnTo>
                  <a:lnTo>
                    <a:pt x="1292" y="223"/>
                  </a:lnTo>
                  <a:lnTo>
                    <a:pt x="1292" y="223"/>
                  </a:lnTo>
                  <a:lnTo>
                    <a:pt x="1292" y="223"/>
                  </a:lnTo>
                  <a:lnTo>
                    <a:pt x="1290" y="223"/>
                  </a:lnTo>
                  <a:lnTo>
                    <a:pt x="1290" y="225"/>
                  </a:lnTo>
                  <a:lnTo>
                    <a:pt x="1290" y="225"/>
                  </a:lnTo>
                  <a:lnTo>
                    <a:pt x="1290" y="225"/>
                  </a:lnTo>
                  <a:lnTo>
                    <a:pt x="1290" y="225"/>
                  </a:lnTo>
                  <a:lnTo>
                    <a:pt x="1290" y="225"/>
                  </a:lnTo>
                  <a:lnTo>
                    <a:pt x="1288" y="225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5" y="228"/>
                  </a:lnTo>
                  <a:lnTo>
                    <a:pt x="1285" y="230"/>
                  </a:lnTo>
                  <a:lnTo>
                    <a:pt x="1283" y="230"/>
                  </a:lnTo>
                  <a:lnTo>
                    <a:pt x="1283" y="230"/>
                  </a:lnTo>
                  <a:lnTo>
                    <a:pt x="1283" y="230"/>
                  </a:lnTo>
                  <a:lnTo>
                    <a:pt x="1285" y="230"/>
                  </a:lnTo>
                  <a:lnTo>
                    <a:pt x="1285" y="230"/>
                  </a:lnTo>
                  <a:lnTo>
                    <a:pt x="1285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88" y="228"/>
                  </a:lnTo>
                  <a:lnTo>
                    <a:pt x="1290" y="228"/>
                  </a:lnTo>
                  <a:lnTo>
                    <a:pt x="1290" y="228"/>
                  </a:lnTo>
                  <a:lnTo>
                    <a:pt x="1290" y="225"/>
                  </a:lnTo>
                  <a:lnTo>
                    <a:pt x="1290" y="225"/>
                  </a:lnTo>
                  <a:lnTo>
                    <a:pt x="1290" y="225"/>
                  </a:lnTo>
                  <a:lnTo>
                    <a:pt x="1292" y="225"/>
                  </a:lnTo>
                  <a:lnTo>
                    <a:pt x="1292" y="225"/>
                  </a:lnTo>
                  <a:lnTo>
                    <a:pt x="1292" y="225"/>
                  </a:lnTo>
                  <a:lnTo>
                    <a:pt x="1292" y="225"/>
                  </a:lnTo>
                  <a:lnTo>
                    <a:pt x="1292" y="225"/>
                  </a:lnTo>
                  <a:lnTo>
                    <a:pt x="1292" y="225"/>
                  </a:lnTo>
                  <a:lnTo>
                    <a:pt x="1292" y="223"/>
                  </a:lnTo>
                  <a:lnTo>
                    <a:pt x="1292" y="223"/>
                  </a:lnTo>
                  <a:lnTo>
                    <a:pt x="1292" y="223"/>
                  </a:lnTo>
                  <a:lnTo>
                    <a:pt x="1294" y="223"/>
                  </a:lnTo>
                  <a:lnTo>
                    <a:pt x="1294" y="223"/>
                  </a:lnTo>
                  <a:lnTo>
                    <a:pt x="1294" y="223"/>
                  </a:lnTo>
                  <a:lnTo>
                    <a:pt x="1294" y="223"/>
                  </a:lnTo>
                  <a:lnTo>
                    <a:pt x="1294" y="223"/>
                  </a:lnTo>
                  <a:lnTo>
                    <a:pt x="1294" y="223"/>
                  </a:lnTo>
                  <a:lnTo>
                    <a:pt x="1294" y="221"/>
                  </a:lnTo>
                  <a:lnTo>
                    <a:pt x="1294" y="221"/>
                  </a:lnTo>
                  <a:lnTo>
                    <a:pt x="1297" y="221"/>
                  </a:lnTo>
                  <a:lnTo>
                    <a:pt x="1297" y="221"/>
                  </a:lnTo>
                  <a:lnTo>
                    <a:pt x="1297" y="221"/>
                  </a:lnTo>
                  <a:lnTo>
                    <a:pt x="1297" y="221"/>
                  </a:lnTo>
                  <a:lnTo>
                    <a:pt x="1299" y="221"/>
                  </a:lnTo>
                  <a:lnTo>
                    <a:pt x="1299" y="221"/>
                  </a:lnTo>
                  <a:lnTo>
                    <a:pt x="1299" y="219"/>
                  </a:lnTo>
                  <a:lnTo>
                    <a:pt x="1299" y="219"/>
                  </a:lnTo>
                  <a:lnTo>
                    <a:pt x="1299" y="219"/>
                  </a:lnTo>
                  <a:lnTo>
                    <a:pt x="1299" y="219"/>
                  </a:lnTo>
                  <a:lnTo>
                    <a:pt x="1299" y="219"/>
                  </a:lnTo>
                  <a:lnTo>
                    <a:pt x="1299" y="219"/>
                  </a:lnTo>
                  <a:lnTo>
                    <a:pt x="1301" y="219"/>
                  </a:lnTo>
                  <a:lnTo>
                    <a:pt x="1303" y="219"/>
                  </a:lnTo>
                  <a:lnTo>
                    <a:pt x="1306" y="216"/>
                  </a:lnTo>
                  <a:lnTo>
                    <a:pt x="1306" y="216"/>
                  </a:lnTo>
                  <a:lnTo>
                    <a:pt x="1306" y="216"/>
                  </a:lnTo>
                  <a:lnTo>
                    <a:pt x="1308" y="216"/>
                  </a:lnTo>
                  <a:lnTo>
                    <a:pt x="1308" y="216"/>
                  </a:lnTo>
                  <a:lnTo>
                    <a:pt x="1308" y="216"/>
                  </a:lnTo>
                  <a:lnTo>
                    <a:pt x="1308" y="216"/>
                  </a:lnTo>
                  <a:lnTo>
                    <a:pt x="1308" y="216"/>
                  </a:lnTo>
                  <a:lnTo>
                    <a:pt x="1310" y="214"/>
                  </a:lnTo>
                  <a:lnTo>
                    <a:pt x="1310" y="214"/>
                  </a:lnTo>
                  <a:lnTo>
                    <a:pt x="1315" y="214"/>
                  </a:lnTo>
                  <a:lnTo>
                    <a:pt x="1319" y="212"/>
                  </a:lnTo>
                  <a:lnTo>
                    <a:pt x="1319" y="212"/>
                  </a:lnTo>
                  <a:lnTo>
                    <a:pt x="1321" y="212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21" y="214"/>
                  </a:lnTo>
                  <a:lnTo>
                    <a:pt x="1319" y="214"/>
                  </a:lnTo>
                  <a:lnTo>
                    <a:pt x="1319" y="214"/>
                  </a:lnTo>
                  <a:lnTo>
                    <a:pt x="1317" y="216"/>
                  </a:lnTo>
                  <a:lnTo>
                    <a:pt x="1312" y="216"/>
                  </a:lnTo>
                  <a:lnTo>
                    <a:pt x="1310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21"/>
                  </a:lnTo>
                  <a:lnTo>
                    <a:pt x="1308" y="221"/>
                  </a:lnTo>
                  <a:lnTo>
                    <a:pt x="1306" y="221"/>
                  </a:lnTo>
                  <a:lnTo>
                    <a:pt x="1306" y="221"/>
                  </a:lnTo>
                  <a:lnTo>
                    <a:pt x="1306" y="221"/>
                  </a:lnTo>
                  <a:lnTo>
                    <a:pt x="1306" y="221"/>
                  </a:lnTo>
                  <a:lnTo>
                    <a:pt x="1308" y="221"/>
                  </a:lnTo>
                  <a:lnTo>
                    <a:pt x="1308" y="221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08" y="219"/>
                  </a:lnTo>
                  <a:lnTo>
                    <a:pt x="1310" y="219"/>
                  </a:lnTo>
                  <a:lnTo>
                    <a:pt x="1310" y="219"/>
                  </a:lnTo>
                  <a:lnTo>
                    <a:pt x="1312" y="219"/>
                  </a:lnTo>
                  <a:lnTo>
                    <a:pt x="1312" y="219"/>
                  </a:lnTo>
                  <a:lnTo>
                    <a:pt x="1312" y="219"/>
                  </a:lnTo>
                  <a:lnTo>
                    <a:pt x="1315" y="219"/>
                  </a:lnTo>
                  <a:lnTo>
                    <a:pt x="1315" y="219"/>
                  </a:lnTo>
                  <a:lnTo>
                    <a:pt x="1315" y="219"/>
                  </a:lnTo>
                  <a:lnTo>
                    <a:pt x="1315" y="219"/>
                  </a:lnTo>
                  <a:lnTo>
                    <a:pt x="1315" y="219"/>
                  </a:lnTo>
                  <a:lnTo>
                    <a:pt x="1315" y="216"/>
                  </a:lnTo>
                  <a:lnTo>
                    <a:pt x="1317" y="216"/>
                  </a:lnTo>
                  <a:lnTo>
                    <a:pt x="1317" y="216"/>
                  </a:lnTo>
                  <a:lnTo>
                    <a:pt x="1317" y="216"/>
                  </a:lnTo>
                  <a:lnTo>
                    <a:pt x="1319" y="216"/>
                  </a:lnTo>
                  <a:lnTo>
                    <a:pt x="1319" y="216"/>
                  </a:lnTo>
                  <a:lnTo>
                    <a:pt x="1319" y="216"/>
                  </a:lnTo>
                  <a:lnTo>
                    <a:pt x="1319" y="216"/>
                  </a:lnTo>
                  <a:lnTo>
                    <a:pt x="1319" y="216"/>
                  </a:lnTo>
                  <a:lnTo>
                    <a:pt x="1319" y="216"/>
                  </a:lnTo>
                  <a:lnTo>
                    <a:pt x="1319" y="216"/>
                  </a:lnTo>
                  <a:lnTo>
                    <a:pt x="1321" y="216"/>
                  </a:lnTo>
                  <a:lnTo>
                    <a:pt x="1321" y="216"/>
                  </a:lnTo>
                  <a:lnTo>
                    <a:pt x="1321" y="216"/>
                  </a:lnTo>
                  <a:lnTo>
                    <a:pt x="1321" y="216"/>
                  </a:lnTo>
                  <a:lnTo>
                    <a:pt x="1321" y="216"/>
                  </a:lnTo>
                  <a:lnTo>
                    <a:pt x="1321" y="214"/>
                  </a:lnTo>
                  <a:lnTo>
                    <a:pt x="1324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28" y="214"/>
                  </a:lnTo>
                  <a:lnTo>
                    <a:pt x="1328" y="214"/>
                  </a:lnTo>
                  <a:lnTo>
                    <a:pt x="1330" y="216"/>
                  </a:lnTo>
                  <a:lnTo>
                    <a:pt x="1330" y="216"/>
                  </a:lnTo>
                  <a:lnTo>
                    <a:pt x="1339" y="219"/>
                  </a:lnTo>
                  <a:lnTo>
                    <a:pt x="1339" y="219"/>
                  </a:lnTo>
                  <a:lnTo>
                    <a:pt x="1339" y="219"/>
                  </a:lnTo>
                  <a:lnTo>
                    <a:pt x="1339" y="219"/>
                  </a:lnTo>
                  <a:lnTo>
                    <a:pt x="1339" y="219"/>
                  </a:lnTo>
                  <a:lnTo>
                    <a:pt x="1339" y="221"/>
                  </a:lnTo>
                  <a:lnTo>
                    <a:pt x="1339" y="221"/>
                  </a:lnTo>
                  <a:lnTo>
                    <a:pt x="1339" y="221"/>
                  </a:lnTo>
                  <a:lnTo>
                    <a:pt x="1339" y="221"/>
                  </a:lnTo>
                  <a:lnTo>
                    <a:pt x="1337" y="221"/>
                  </a:lnTo>
                  <a:lnTo>
                    <a:pt x="1337" y="221"/>
                  </a:lnTo>
                  <a:lnTo>
                    <a:pt x="1337" y="221"/>
                  </a:lnTo>
                  <a:lnTo>
                    <a:pt x="1337" y="221"/>
                  </a:lnTo>
                  <a:lnTo>
                    <a:pt x="1337" y="221"/>
                  </a:lnTo>
                  <a:lnTo>
                    <a:pt x="1337" y="221"/>
                  </a:lnTo>
                  <a:lnTo>
                    <a:pt x="1335" y="221"/>
                  </a:lnTo>
                  <a:lnTo>
                    <a:pt x="1335" y="223"/>
                  </a:lnTo>
                  <a:lnTo>
                    <a:pt x="1335" y="223"/>
                  </a:lnTo>
                  <a:lnTo>
                    <a:pt x="1335" y="223"/>
                  </a:lnTo>
                  <a:lnTo>
                    <a:pt x="1335" y="223"/>
                  </a:lnTo>
                  <a:lnTo>
                    <a:pt x="1335" y="223"/>
                  </a:lnTo>
                  <a:lnTo>
                    <a:pt x="1333" y="223"/>
                  </a:lnTo>
                  <a:lnTo>
                    <a:pt x="1333" y="223"/>
                  </a:lnTo>
                  <a:lnTo>
                    <a:pt x="1333" y="221"/>
                  </a:lnTo>
                  <a:lnTo>
                    <a:pt x="1335" y="221"/>
                  </a:lnTo>
                  <a:lnTo>
                    <a:pt x="1335" y="221"/>
                  </a:lnTo>
                  <a:lnTo>
                    <a:pt x="1335" y="221"/>
                  </a:lnTo>
                  <a:lnTo>
                    <a:pt x="1335" y="221"/>
                  </a:lnTo>
                  <a:lnTo>
                    <a:pt x="1335" y="221"/>
                  </a:lnTo>
                  <a:lnTo>
                    <a:pt x="1333" y="221"/>
                  </a:lnTo>
                  <a:lnTo>
                    <a:pt x="1333" y="221"/>
                  </a:lnTo>
                  <a:lnTo>
                    <a:pt x="1333" y="221"/>
                  </a:lnTo>
                  <a:lnTo>
                    <a:pt x="1333" y="221"/>
                  </a:lnTo>
                  <a:lnTo>
                    <a:pt x="1333" y="223"/>
                  </a:lnTo>
                  <a:lnTo>
                    <a:pt x="1333" y="223"/>
                  </a:lnTo>
                  <a:lnTo>
                    <a:pt x="1333" y="223"/>
                  </a:lnTo>
                  <a:lnTo>
                    <a:pt x="1330" y="223"/>
                  </a:lnTo>
                  <a:lnTo>
                    <a:pt x="1330" y="223"/>
                  </a:lnTo>
                  <a:lnTo>
                    <a:pt x="1330" y="223"/>
                  </a:lnTo>
                  <a:lnTo>
                    <a:pt x="1328" y="223"/>
                  </a:lnTo>
                  <a:lnTo>
                    <a:pt x="1328" y="225"/>
                  </a:lnTo>
                  <a:lnTo>
                    <a:pt x="1326" y="225"/>
                  </a:lnTo>
                  <a:lnTo>
                    <a:pt x="1324" y="225"/>
                  </a:lnTo>
                  <a:lnTo>
                    <a:pt x="1324" y="225"/>
                  </a:lnTo>
                  <a:lnTo>
                    <a:pt x="1321" y="225"/>
                  </a:lnTo>
                  <a:lnTo>
                    <a:pt x="1321" y="225"/>
                  </a:lnTo>
                  <a:lnTo>
                    <a:pt x="1321" y="225"/>
                  </a:lnTo>
                  <a:lnTo>
                    <a:pt x="1321" y="225"/>
                  </a:lnTo>
                  <a:lnTo>
                    <a:pt x="1319" y="225"/>
                  </a:lnTo>
                  <a:lnTo>
                    <a:pt x="1317" y="225"/>
                  </a:lnTo>
                  <a:lnTo>
                    <a:pt x="1317" y="225"/>
                  </a:lnTo>
                  <a:lnTo>
                    <a:pt x="1317" y="225"/>
                  </a:lnTo>
                  <a:lnTo>
                    <a:pt x="1317" y="225"/>
                  </a:lnTo>
                  <a:lnTo>
                    <a:pt x="1315" y="225"/>
                  </a:lnTo>
                  <a:lnTo>
                    <a:pt x="1312" y="228"/>
                  </a:lnTo>
                  <a:lnTo>
                    <a:pt x="1312" y="228"/>
                  </a:lnTo>
                  <a:lnTo>
                    <a:pt x="1312" y="228"/>
                  </a:lnTo>
                  <a:lnTo>
                    <a:pt x="1312" y="228"/>
                  </a:lnTo>
                  <a:lnTo>
                    <a:pt x="1310" y="228"/>
                  </a:lnTo>
                  <a:lnTo>
                    <a:pt x="1310" y="228"/>
                  </a:lnTo>
                  <a:lnTo>
                    <a:pt x="1310" y="228"/>
                  </a:lnTo>
                  <a:lnTo>
                    <a:pt x="1310" y="228"/>
                  </a:lnTo>
                  <a:lnTo>
                    <a:pt x="1310" y="228"/>
                  </a:lnTo>
                  <a:lnTo>
                    <a:pt x="1308" y="228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3" y="230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8" y="230"/>
                  </a:lnTo>
                  <a:lnTo>
                    <a:pt x="1308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6" y="230"/>
                  </a:lnTo>
                  <a:lnTo>
                    <a:pt x="1303" y="230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3" y="232"/>
                  </a:lnTo>
                  <a:lnTo>
                    <a:pt x="1301" y="232"/>
                  </a:lnTo>
                  <a:lnTo>
                    <a:pt x="1301" y="232"/>
                  </a:lnTo>
                  <a:lnTo>
                    <a:pt x="1301" y="232"/>
                  </a:lnTo>
                  <a:lnTo>
                    <a:pt x="1301" y="232"/>
                  </a:lnTo>
                  <a:lnTo>
                    <a:pt x="1299" y="232"/>
                  </a:lnTo>
                  <a:lnTo>
                    <a:pt x="1299" y="232"/>
                  </a:lnTo>
                  <a:lnTo>
                    <a:pt x="1299" y="232"/>
                  </a:lnTo>
                  <a:lnTo>
                    <a:pt x="1299" y="232"/>
                  </a:lnTo>
                  <a:lnTo>
                    <a:pt x="1299" y="232"/>
                  </a:lnTo>
                  <a:lnTo>
                    <a:pt x="1297" y="234"/>
                  </a:lnTo>
                  <a:lnTo>
                    <a:pt x="1299" y="234"/>
                  </a:lnTo>
                  <a:lnTo>
                    <a:pt x="1299" y="234"/>
                  </a:lnTo>
                  <a:lnTo>
                    <a:pt x="1306" y="232"/>
                  </a:lnTo>
                  <a:lnTo>
                    <a:pt x="1306" y="232"/>
                  </a:lnTo>
                  <a:lnTo>
                    <a:pt x="1308" y="230"/>
                  </a:lnTo>
                  <a:lnTo>
                    <a:pt x="1308" y="232"/>
                  </a:lnTo>
                  <a:lnTo>
                    <a:pt x="1308" y="232"/>
                  </a:lnTo>
                  <a:lnTo>
                    <a:pt x="1308" y="232"/>
                  </a:lnTo>
                  <a:lnTo>
                    <a:pt x="1310" y="232"/>
                  </a:lnTo>
                  <a:lnTo>
                    <a:pt x="1310" y="232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30"/>
                  </a:lnTo>
                  <a:lnTo>
                    <a:pt x="1310" y="228"/>
                  </a:lnTo>
                  <a:lnTo>
                    <a:pt x="1312" y="228"/>
                  </a:lnTo>
                  <a:lnTo>
                    <a:pt x="1312" y="228"/>
                  </a:lnTo>
                  <a:lnTo>
                    <a:pt x="1312" y="228"/>
                  </a:lnTo>
                  <a:lnTo>
                    <a:pt x="1321" y="225"/>
                  </a:lnTo>
                  <a:lnTo>
                    <a:pt x="1321" y="228"/>
                  </a:lnTo>
                  <a:lnTo>
                    <a:pt x="1324" y="228"/>
                  </a:lnTo>
                  <a:lnTo>
                    <a:pt x="1324" y="228"/>
                  </a:lnTo>
                  <a:lnTo>
                    <a:pt x="1324" y="228"/>
                  </a:lnTo>
                  <a:lnTo>
                    <a:pt x="1324" y="225"/>
                  </a:lnTo>
                  <a:lnTo>
                    <a:pt x="1324" y="225"/>
                  </a:lnTo>
                  <a:lnTo>
                    <a:pt x="1324" y="225"/>
                  </a:lnTo>
                  <a:lnTo>
                    <a:pt x="1324" y="225"/>
                  </a:lnTo>
                  <a:lnTo>
                    <a:pt x="1326" y="225"/>
                  </a:lnTo>
                  <a:lnTo>
                    <a:pt x="1328" y="225"/>
                  </a:lnTo>
                  <a:lnTo>
                    <a:pt x="1330" y="225"/>
                  </a:lnTo>
                  <a:lnTo>
                    <a:pt x="1330" y="225"/>
                  </a:lnTo>
                  <a:lnTo>
                    <a:pt x="1328" y="228"/>
                  </a:lnTo>
                  <a:lnTo>
                    <a:pt x="1328" y="228"/>
                  </a:lnTo>
                  <a:lnTo>
                    <a:pt x="1330" y="228"/>
                  </a:lnTo>
                  <a:lnTo>
                    <a:pt x="1330" y="228"/>
                  </a:lnTo>
                  <a:lnTo>
                    <a:pt x="1328" y="228"/>
                  </a:lnTo>
                  <a:lnTo>
                    <a:pt x="1326" y="228"/>
                  </a:lnTo>
                  <a:lnTo>
                    <a:pt x="1326" y="228"/>
                  </a:lnTo>
                  <a:lnTo>
                    <a:pt x="1326" y="228"/>
                  </a:lnTo>
                  <a:lnTo>
                    <a:pt x="1326" y="230"/>
                  </a:lnTo>
                  <a:lnTo>
                    <a:pt x="1324" y="230"/>
                  </a:lnTo>
                  <a:lnTo>
                    <a:pt x="1321" y="230"/>
                  </a:lnTo>
                  <a:lnTo>
                    <a:pt x="1319" y="230"/>
                  </a:lnTo>
                  <a:lnTo>
                    <a:pt x="1319" y="232"/>
                  </a:lnTo>
                  <a:lnTo>
                    <a:pt x="1319" y="232"/>
                  </a:lnTo>
                  <a:lnTo>
                    <a:pt x="1317" y="232"/>
                  </a:lnTo>
                  <a:lnTo>
                    <a:pt x="1317" y="232"/>
                  </a:lnTo>
                  <a:lnTo>
                    <a:pt x="1317" y="232"/>
                  </a:lnTo>
                  <a:lnTo>
                    <a:pt x="1317" y="232"/>
                  </a:lnTo>
                  <a:lnTo>
                    <a:pt x="1315" y="234"/>
                  </a:lnTo>
                  <a:lnTo>
                    <a:pt x="1315" y="234"/>
                  </a:lnTo>
                  <a:lnTo>
                    <a:pt x="1312" y="234"/>
                  </a:lnTo>
                  <a:lnTo>
                    <a:pt x="1312" y="234"/>
                  </a:lnTo>
                  <a:lnTo>
                    <a:pt x="1310" y="234"/>
                  </a:lnTo>
                  <a:lnTo>
                    <a:pt x="1308" y="234"/>
                  </a:lnTo>
                  <a:lnTo>
                    <a:pt x="1308" y="234"/>
                  </a:lnTo>
                  <a:lnTo>
                    <a:pt x="1308" y="234"/>
                  </a:lnTo>
                  <a:lnTo>
                    <a:pt x="1306" y="234"/>
                  </a:lnTo>
                  <a:lnTo>
                    <a:pt x="1306" y="234"/>
                  </a:lnTo>
                  <a:lnTo>
                    <a:pt x="1306" y="234"/>
                  </a:lnTo>
                  <a:lnTo>
                    <a:pt x="1306" y="237"/>
                  </a:lnTo>
                  <a:lnTo>
                    <a:pt x="1306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1" y="237"/>
                  </a:lnTo>
                  <a:lnTo>
                    <a:pt x="1301" y="239"/>
                  </a:lnTo>
                  <a:lnTo>
                    <a:pt x="1303" y="239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3" y="237"/>
                  </a:lnTo>
                  <a:lnTo>
                    <a:pt x="1306" y="237"/>
                  </a:lnTo>
                  <a:lnTo>
                    <a:pt x="1306" y="237"/>
                  </a:lnTo>
                  <a:lnTo>
                    <a:pt x="1306" y="234"/>
                  </a:lnTo>
                  <a:lnTo>
                    <a:pt x="1306" y="234"/>
                  </a:lnTo>
                  <a:lnTo>
                    <a:pt x="1306" y="234"/>
                  </a:lnTo>
                  <a:lnTo>
                    <a:pt x="1308" y="234"/>
                  </a:lnTo>
                  <a:lnTo>
                    <a:pt x="1308" y="234"/>
                  </a:lnTo>
                  <a:lnTo>
                    <a:pt x="1308" y="234"/>
                  </a:lnTo>
                  <a:lnTo>
                    <a:pt x="1308" y="234"/>
                  </a:lnTo>
                  <a:lnTo>
                    <a:pt x="1310" y="234"/>
                  </a:lnTo>
                  <a:lnTo>
                    <a:pt x="1310" y="234"/>
                  </a:lnTo>
                  <a:lnTo>
                    <a:pt x="1312" y="234"/>
                  </a:lnTo>
                  <a:lnTo>
                    <a:pt x="1312" y="234"/>
                  </a:lnTo>
                  <a:lnTo>
                    <a:pt x="1312" y="234"/>
                  </a:lnTo>
                  <a:lnTo>
                    <a:pt x="1315" y="234"/>
                  </a:lnTo>
                  <a:lnTo>
                    <a:pt x="1317" y="232"/>
                  </a:lnTo>
                  <a:lnTo>
                    <a:pt x="1319" y="232"/>
                  </a:lnTo>
                  <a:lnTo>
                    <a:pt x="1319" y="232"/>
                  </a:lnTo>
                  <a:lnTo>
                    <a:pt x="1321" y="232"/>
                  </a:lnTo>
                  <a:lnTo>
                    <a:pt x="1321" y="232"/>
                  </a:lnTo>
                  <a:lnTo>
                    <a:pt x="1321" y="232"/>
                  </a:lnTo>
                  <a:lnTo>
                    <a:pt x="1324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2"/>
                  </a:lnTo>
                  <a:lnTo>
                    <a:pt x="1326" y="230"/>
                  </a:lnTo>
                  <a:lnTo>
                    <a:pt x="1326" y="230"/>
                  </a:lnTo>
                  <a:lnTo>
                    <a:pt x="1326" y="230"/>
                  </a:lnTo>
                  <a:lnTo>
                    <a:pt x="1328" y="230"/>
                  </a:lnTo>
                  <a:lnTo>
                    <a:pt x="1328" y="230"/>
                  </a:lnTo>
                  <a:lnTo>
                    <a:pt x="1328" y="230"/>
                  </a:lnTo>
                  <a:lnTo>
                    <a:pt x="1328" y="230"/>
                  </a:lnTo>
                  <a:lnTo>
                    <a:pt x="1328" y="230"/>
                  </a:lnTo>
                  <a:lnTo>
                    <a:pt x="1330" y="230"/>
                  </a:lnTo>
                  <a:lnTo>
                    <a:pt x="1328" y="230"/>
                  </a:lnTo>
                  <a:lnTo>
                    <a:pt x="1328" y="230"/>
                  </a:lnTo>
                  <a:lnTo>
                    <a:pt x="1328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0" y="230"/>
                  </a:lnTo>
                  <a:lnTo>
                    <a:pt x="1333" y="230"/>
                  </a:lnTo>
                  <a:lnTo>
                    <a:pt x="1333" y="230"/>
                  </a:lnTo>
                  <a:lnTo>
                    <a:pt x="1333" y="230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5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8"/>
                  </a:lnTo>
                  <a:lnTo>
                    <a:pt x="1335" y="225"/>
                  </a:lnTo>
                  <a:lnTo>
                    <a:pt x="1335" y="225"/>
                  </a:lnTo>
                  <a:lnTo>
                    <a:pt x="1335" y="225"/>
                  </a:lnTo>
                  <a:lnTo>
                    <a:pt x="1335" y="225"/>
                  </a:lnTo>
                  <a:lnTo>
                    <a:pt x="1337" y="225"/>
                  </a:lnTo>
                  <a:lnTo>
                    <a:pt x="1337" y="225"/>
                  </a:lnTo>
                  <a:lnTo>
                    <a:pt x="1339" y="225"/>
                  </a:lnTo>
                  <a:lnTo>
                    <a:pt x="1339" y="223"/>
                  </a:lnTo>
                  <a:lnTo>
                    <a:pt x="1339" y="223"/>
                  </a:lnTo>
                  <a:lnTo>
                    <a:pt x="1339" y="223"/>
                  </a:lnTo>
                  <a:lnTo>
                    <a:pt x="1339" y="223"/>
                  </a:lnTo>
                  <a:lnTo>
                    <a:pt x="1339" y="223"/>
                  </a:lnTo>
                  <a:lnTo>
                    <a:pt x="1339" y="225"/>
                  </a:lnTo>
                  <a:lnTo>
                    <a:pt x="1339" y="225"/>
                  </a:lnTo>
                  <a:lnTo>
                    <a:pt x="1342" y="225"/>
                  </a:lnTo>
                  <a:lnTo>
                    <a:pt x="1342" y="225"/>
                  </a:lnTo>
                  <a:lnTo>
                    <a:pt x="1344" y="225"/>
                  </a:lnTo>
                  <a:lnTo>
                    <a:pt x="1344" y="225"/>
                  </a:lnTo>
                  <a:lnTo>
                    <a:pt x="1344" y="225"/>
                  </a:lnTo>
                  <a:lnTo>
                    <a:pt x="1346" y="228"/>
                  </a:lnTo>
                  <a:lnTo>
                    <a:pt x="1346" y="228"/>
                  </a:lnTo>
                  <a:lnTo>
                    <a:pt x="1346" y="228"/>
                  </a:lnTo>
                  <a:lnTo>
                    <a:pt x="1346" y="228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6" y="230"/>
                  </a:lnTo>
                  <a:lnTo>
                    <a:pt x="1348" y="232"/>
                  </a:lnTo>
                  <a:lnTo>
                    <a:pt x="1348" y="232"/>
                  </a:lnTo>
                  <a:lnTo>
                    <a:pt x="1348" y="232"/>
                  </a:lnTo>
                  <a:lnTo>
                    <a:pt x="1348" y="232"/>
                  </a:lnTo>
                  <a:lnTo>
                    <a:pt x="1348" y="232"/>
                  </a:lnTo>
                  <a:lnTo>
                    <a:pt x="1348" y="234"/>
                  </a:lnTo>
                  <a:lnTo>
                    <a:pt x="1348" y="234"/>
                  </a:lnTo>
                  <a:lnTo>
                    <a:pt x="1346" y="234"/>
                  </a:lnTo>
                  <a:lnTo>
                    <a:pt x="1346" y="234"/>
                  </a:lnTo>
                  <a:lnTo>
                    <a:pt x="1346" y="234"/>
                  </a:lnTo>
                  <a:lnTo>
                    <a:pt x="1346" y="237"/>
                  </a:lnTo>
                  <a:lnTo>
                    <a:pt x="1344" y="237"/>
                  </a:lnTo>
                  <a:lnTo>
                    <a:pt x="1342" y="237"/>
                  </a:lnTo>
                  <a:lnTo>
                    <a:pt x="1339" y="234"/>
                  </a:lnTo>
                  <a:lnTo>
                    <a:pt x="1339" y="234"/>
                  </a:lnTo>
                  <a:lnTo>
                    <a:pt x="1339" y="234"/>
                  </a:lnTo>
                  <a:lnTo>
                    <a:pt x="1337" y="234"/>
                  </a:lnTo>
                  <a:lnTo>
                    <a:pt x="1335" y="234"/>
                  </a:lnTo>
                  <a:lnTo>
                    <a:pt x="1333" y="234"/>
                  </a:lnTo>
                  <a:lnTo>
                    <a:pt x="1333" y="234"/>
                  </a:lnTo>
                  <a:lnTo>
                    <a:pt x="1333" y="234"/>
                  </a:lnTo>
                  <a:lnTo>
                    <a:pt x="1333" y="234"/>
                  </a:lnTo>
                  <a:lnTo>
                    <a:pt x="1333" y="237"/>
                  </a:lnTo>
                  <a:lnTo>
                    <a:pt x="1330" y="237"/>
                  </a:lnTo>
                  <a:lnTo>
                    <a:pt x="1330" y="237"/>
                  </a:lnTo>
                  <a:lnTo>
                    <a:pt x="1330" y="237"/>
                  </a:lnTo>
                  <a:lnTo>
                    <a:pt x="1328" y="237"/>
                  </a:lnTo>
                  <a:lnTo>
                    <a:pt x="1328" y="237"/>
                  </a:lnTo>
                  <a:lnTo>
                    <a:pt x="1328" y="237"/>
                  </a:lnTo>
                  <a:lnTo>
                    <a:pt x="1328" y="237"/>
                  </a:lnTo>
                  <a:lnTo>
                    <a:pt x="1324" y="237"/>
                  </a:lnTo>
                  <a:lnTo>
                    <a:pt x="1324" y="237"/>
                  </a:lnTo>
                  <a:lnTo>
                    <a:pt x="1321" y="237"/>
                  </a:lnTo>
                  <a:lnTo>
                    <a:pt x="1321" y="237"/>
                  </a:lnTo>
                  <a:lnTo>
                    <a:pt x="1321" y="237"/>
                  </a:lnTo>
                  <a:lnTo>
                    <a:pt x="1321" y="237"/>
                  </a:lnTo>
                  <a:lnTo>
                    <a:pt x="1321" y="237"/>
                  </a:lnTo>
                  <a:lnTo>
                    <a:pt x="1319" y="239"/>
                  </a:lnTo>
                  <a:lnTo>
                    <a:pt x="1317" y="239"/>
                  </a:lnTo>
                  <a:lnTo>
                    <a:pt x="1317" y="239"/>
                  </a:lnTo>
                  <a:lnTo>
                    <a:pt x="1317" y="239"/>
                  </a:lnTo>
                  <a:lnTo>
                    <a:pt x="1315" y="239"/>
                  </a:lnTo>
                  <a:lnTo>
                    <a:pt x="1315" y="239"/>
                  </a:lnTo>
                  <a:lnTo>
                    <a:pt x="1312" y="239"/>
                  </a:lnTo>
                  <a:lnTo>
                    <a:pt x="1312" y="239"/>
                  </a:lnTo>
                  <a:lnTo>
                    <a:pt x="1306" y="239"/>
                  </a:lnTo>
                  <a:lnTo>
                    <a:pt x="1306" y="239"/>
                  </a:lnTo>
                  <a:lnTo>
                    <a:pt x="1301" y="239"/>
                  </a:lnTo>
                  <a:lnTo>
                    <a:pt x="1301" y="239"/>
                  </a:lnTo>
                  <a:lnTo>
                    <a:pt x="1301" y="239"/>
                  </a:lnTo>
                  <a:lnTo>
                    <a:pt x="1301" y="239"/>
                  </a:lnTo>
                  <a:lnTo>
                    <a:pt x="1301" y="239"/>
                  </a:lnTo>
                  <a:lnTo>
                    <a:pt x="1301" y="239"/>
                  </a:lnTo>
                  <a:lnTo>
                    <a:pt x="1301" y="239"/>
                  </a:lnTo>
                  <a:lnTo>
                    <a:pt x="1303" y="241"/>
                  </a:lnTo>
                  <a:lnTo>
                    <a:pt x="1303" y="239"/>
                  </a:lnTo>
                  <a:lnTo>
                    <a:pt x="1303" y="239"/>
                  </a:lnTo>
                  <a:lnTo>
                    <a:pt x="1306" y="239"/>
                  </a:lnTo>
                  <a:lnTo>
                    <a:pt x="1306" y="239"/>
                  </a:lnTo>
                  <a:lnTo>
                    <a:pt x="1312" y="241"/>
                  </a:lnTo>
                  <a:lnTo>
                    <a:pt x="1312" y="241"/>
                  </a:lnTo>
                  <a:lnTo>
                    <a:pt x="1312" y="239"/>
                  </a:lnTo>
                  <a:lnTo>
                    <a:pt x="1315" y="239"/>
                  </a:lnTo>
                  <a:lnTo>
                    <a:pt x="1315" y="239"/>
                  </a:lnTo>
                  <a:lnTo>
                    <a:pt x="1315" y="239"/>
                  </a:lnTo>
                  <a:lnTo>
                    <a:pt x="1315" y="239"/>
                  </a:lnTo>
                  <a:lnTo>
                    <a:pt x="1315" y="239"/>
                  </a:lnTo>
                  <a:lnTo>
                    <a:pt x="1317" y="239"/>
                  </a:lnTo>
                  <a:lnTo>
                    <a:pt x="1317" y="239"/>
                  </a:lnTo>
                  <a:lnTo>
                    <a:pt x="1321" y="239"/>
                  </a:lnTo>
                  <a:lnTo>
                    <a:pt x="1324" y="239"/>
                  </a:lnTo>
                  <a:lnTo>
                    <a:pt x="1326" y="239"/>
                  </a:lnTo>
                  <a:lnTo>
                    <a:pt x="1326" y="239"/>
                  </a:lnTo>
                  <a:lnTo>
                    <a:pt x="1330" y="241"/>
                  </a:lnTo>
                  <a:lnTo>
                    <a:pt x="1333" y="241"/>
                  </a:lnTo>
                  <a:lnTo>
                    <a:pt x="1333" y="241"/>
                  </a:lnTo>
                  <a:lnTo>
                    <a:pt x="1335" y="241"/>
                  </a:lnTo>
                  <a:lnTo>
                    <a:pt x="1337" y="241"/>
                  </a:lnTo>
                  <a:lnTo>
                    <a:pt x="1337" y="241"/>
                  </a:lnTo>
                  <a:lnTo>
                    <a:pt x="1342" y="241"/>
                  </a:lnTo>
                  <a:lnTo>
                    <a:pt x="1348" y="243"/>
                  </a:lnTo>
                  <a:lnTo>
                    <a:pt x="1348" y="243"/>
                  </a:lnTo>
                  <a:lnTo>
                    <a:pt x="1348" y="243"/>
                  </a:lnTo>
                  <a:lnTo>
                    <a:pt x="1348" y="243"/>
                  </a:lnTo>
                  <a:lnTo>
                    <a:pt x="1348" y="246"/>
                  </a:lnTo>
                  <a:lnTo>
                    <a:pt x="1348" y="246"/>
                  </a:lnTo>
                  <a:lnTo>
                    <a:pt x="1348" y="246"/>
                  </a:lnTo>
                  <a:lnTo>
                    <a:pt x="1348" y="246"/>
                  </a:lnTo>
                  <a:lnTo>
                    <a:pt x="1348" y="246"/>
                  </a:lnTo>
                  <a:lnTo>
                    <a:pt x="1348" y="246"/>
                  </a:lnTo>
                  <a:lnTo>
                    <a:pt x="1348" y="246"/>
                  </a:lnTo>
                  <a:lnTo>
                    <a:pt x="1346" y="248"/>
                  </a:lnTo>
                  <a:lnTo>
                    <a:pt x="1346" y="248"/>
                  </a:lnTo>
                  <a:lnTo>
                    <a:pt x="1342" y="248"/>
                  </a:lnTo>
                  <a:lnTo>
                    <a:pt x="1339" y="246"/>
                  </a:lnTo>
                  <a:lnTo>
                    <a:pt x="1339" y="248"/>
                  </a:lnTo>
                  <a:lnTo>
                    <a:pt x="1339" y="248"/>
                  </a:lnTo>
                  <a:lnTo>
                    <a:pt x="1339" y="248"/>
                  </a:lnTo>
                  <a:lnTo>
                    <a:pt x="1339" y="248"/>
                  </a:lnTo>
                  <a:lnTo>
                    <a:pt x="1339" y="248"/>
                  </a:lnTo>
                  <a:lnTo>
                    <a:pt x="1339" y="248"/>
                  </a:lnTo>
                  <a:lnTo>
                    <a:pt x="1337" y="246"/>
                  </a:lnTo>
                  <a:lnTo>
                    <a:pt x="1337" y="246"/>
                  </a:lnTo>
                  <a:lnTo>
                    <a:pt x="1337" y="246"/>
                  </a:lnTo>
                  <a:lnTo>
                    <a:pt x="1335" y="248"/>
                  </a:lnTo>
                  <a:lnTo>
                    <a:pt x="1335" y="248"/>
                  </a:lnTo>
                  <a:lnTo>
                    <a:pt x="1333" y="248"/>
                  </a:lnTo>
                  <a:lnTo>
                    <a:pt x="1330" y="246"/>
                  </a:lnTo>
                  <a:lnTo>
                    <a:pt x="1328" y="246"/>
                  </a:lnTo>
                  <a:lnTo>
                    <a:pt x="1328" y="246"/>
                  </a:lnTo>
                  <a:lnTo>
                    <a:pt x="1328" y="246"/>
                  </a:lnTo>
                  <a:lnTo>
                    <a:pt x="1326" y="246"/>
                  </a:lnTo>
                  <a:lnTo>
                    <a:pt x="1326" y="243"/>
                  </a:lnTo>
                  <a:lnTo>
                    <a:pt x="1326" y="243"/>
                  </a:lnTo>
                  <a:lnTo>
                    <a:pt x="1324" y="243"/>
                  </a:lnTo>
                  <a:lnTo>
                    <a:pt x="1315" y="243"/>
                  </a:lnTo>
                  <a:lnTo>
                    <a:pt x="1310" y="243"/>
                  </a:lnTo>
                  <a:lnTo>
                    <a:pt x="1310" y="246"/>
                  </a:lnTo>
                  <a:lnTo>
                    <a:pt x="1310" y="246"/>
                  </a:lnTo>
                  <a:lnTo>
                    <a:pt x="1310" y="246"/>
                  </a:lnTo>
                  <a:lnTo>
                    <a:pt x="1312" y="243"/>
                  </a:lnTo>
                  <a:lnTo>
                    <a:pt x="1315" y="243"/>
                  </a:lnTo>
                  <a:lnTo>
                    <a:pt x="1315" y="243"/>
                  </a:lnTo>
                  <a:lnTo>
                    <a:pt x="1317" y="243"/>
                  </a:lnTo>
                  <a:lnTo>
                    <a:pt x="1317" y="243"/>
                  </a:lnTo>
                  <a:lnTo>
                    <a:pt x="1321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6" y="246"/>
                  </a:lnTo>
                  <a:lnTo>
                    <a:pt x="1324" y="246"/>
                  </a:lnTo>
                  <a:lnTo>
                    <a:pt x="1324" y="246"/>
                  </a:lnTo>
                  <a:lnTo>
                    <a:pt x="1319" y="246"/>
                  </a:lnTo>
                  <a:lnTo>
                    <a:pt x="1317" y="246"/>
                  </a:lnTo>
                  <a:lnTo>
                    <a:pt x="1315" y="246"/>
                  </a:lnTo>
                  <a:lnTo>
                    <a:pt x="1312" y="246"/>
                  </a:lnTo>
                  <a:lnTo>
                    <a:pt x="1312" y="246"/>
                  </a:lnTo>
                  <a:lnTo>
                    <a:pt x="1315" y="246"/>
                  </a:lnTo>
                  <a:lnTo>
                    <a:pt x="1317" y="246"/>
                  </a:lnTo>
                  <a:lnTo>
                    <a:pt x="1317" y="246"/>
                  </a:lnTo>
                  <a:lnTo>
                    <a:pt x="1319" y="246"/>
                  </a:lnTo>
                  <a:lnTo>
                    <a:pt x="1319" y="246"/>
                  </a:lnTo>
                  <a:lnTo>
                    <a:pt x="1319" y="246"/>
                  </a:lnTo>
                  <a:lnTo>
                    <a:pt x="1317" y="248"/>
                  </a:lnTo>
                  <a:lnTo>
                    <a:pt x="1317" y="248"/>
                  </a:lnTo>
                  <a:lnTo>
                    <a:pt x="1317" y="248"/>
                  </a:lnTo>
                  <a:lnTo>
                    <a:pt x="1315" y="248"/>
                  </a:lnTo>
                  <a:lnTo>
                    <a:pt x="1315" y="248"/>
                  </a:lnTo>
                  <a:lnTo>
                    <a:pt x="1312" y="248"/>
                  </a:lnTo>
                  <a:lnTo>
                    <a:pt x="1310" y="248"/>
                  </a:lnTo>
                  <a:lnTo>
                    <a:pt x="1310" y="248"/>
                  </a:lnTo>
                  <a:lnTo>
                    <a:pt x="1310" y="248"/>
                  </a:lnTo>
                  <a:lnTo>
                    <a:pt x="1310" y="248"/>
                  </a:lnTo>
                  <a:lnTo>
                    <a:pt x="1310" y="248"/>
                  </a:lnTo>
                  <a:lnTo>
                    <a:pt x="1310" y="248"/>
                  </a:lnTo>
                  <a:lnTo>
                    <a:pt x="1310" y="248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0" y="250"/>
                  </a:lnTo>
                  <a:lnTo>
                    <a:pt x="1312" y="250"/>
                  </a:lnTo>
                  <a:lnTo>
                    <a:pt x="1312" y="250"/>
                  </a:lnTo>
                  <a:lnTo>
                    <a:pt x="1312" y="250"/>
                  </a:lnTo>
                  <a:lnTo>
                    <a:pt x="1312" y="250"/>
                  </a:lnTo>
                  <a:lnTo>
                    <a:pt x="1312" y="250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2" y="248"/>
                  </a:lnTo>
                  <a:lnTo>
                    <a:pt x="1315" y="248"/>
                  </a:lnTo>
                  <a:lnTo>
                    <a:pt x="1317" y="248"/>
                  </a:lnTo>
                  <a:lnTo>
                    <a:pt x="1317" y="248"/>
                  </a:lnTo>
                  <a:lnTo>
                    <a:pt x="1319" y="248"/>
                  </a:lnTo>
                  <a:lnTo>
                    <a:pt x="1321" y="246"/>
                  </a:lnTo>
                  <a:lnTo>
                    <a:pt x="1324" y="248"/>
                  </a:lnTo>
                  <a:lnTo>
                    <a:pt x="1324" y="248"/>
                  </a:lnTo>
                  <a:lnTo>
                    <a:pt x="1324" y="248"/>
                  </a:lnTo>
                  <a:lnTo>
                    <a:pt x="1326" y="248"/>
                  </a:lnTo>
                  <a:lnTo>
                    <a:pt x="1330" y="250"/>
                  </a:lnTo>
                  <a:lnTo>
                    <a:pt x="1330" y="250"/>
                  </a:lnTo>
                  <a:lnTo>
                    <a:pt x="1328" y="250"/>
                  </a:lnTo>
                  <a:lnTo>
                    <a:pt x="1326" y="250"/>
                  </a:lnTo>
                  <a:lnTo>
                    <a:pt x="1326" y="250"/>
                  </a:lnTo>
                  <a:lnTo>
                    <a:pt x="1326" y="250"/>
                  </a:lnTo>
                  <a:lnTo>
                    <a:pt x="1324" y="250"/>
                  </a:lnTo>
                  <a:lnTo>
                    <a:pt x="1324" y="250"/>
                  </a:lnTo>
                  <a:lnTo>
                    <a:pt x="1321" y="250"/>
                  </a:lnTo>
                  <a:lnTo>
                    <a:pt x="1319" y="250"/>
                  </a:lnTo>
                  <a:lnTo>
                    <a:pt x="1319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7" y="250"/>
                  </a:lnTo>
                  <a:lnTo>
                    <a:pt x="1319" y="250"/>
                  </a:lnTo>
                  <a:lnTo>
                    <a:pt x="1319" y="250"/>
                  </a:lnTo>
                  <a:lnTo>
                    <a:pt x="1321" y="250"/>
                  </a:lnTo>
                  <a:lnTo>
                    <a:pt x="1321" y="250"/>
                  </a:lnTo>
                  <a:lnTo>
                    <a:pt x="1321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4" y="252"/>
                  </a:lnTo>
                  <a:lnTo>
                    <a:pt x="1321" y="252"/>
                  </a:lnTo>
                  <a:lnTo>
                    <a:pt x="1321" y="252"/>
                  </a:lnTo>
                  <a:lnTo>
                    <a:pt x="1317" y="252"/>
                  </a:lnTo>
                  <a:lnTo>
                    <a:pt x="1317" y="252"/>
                  </a:lnTo>
                  <a:lnTo>
                    <a:pt x="1319" y="252"/>
                  </a:lnTo>
                  <a:lnTo>
                    <a:pt x="1319" y="252"/>
                  </a:lnTo>
                  <a:lnTo>
                    <a:pt x="1319" y="252"/>
                  </a:lnTo>
                  <a:lnTo>
                    <a:pt x="1319" y="252"/>
                  </a:lnTo>
                  <a:lnTo>
                    <a:pt x="1321" y="252"/>
                  </a:lnTo>
                  <a:lnTo>
                    <a:pt x="1321" y="255"/>
                  </a:lnTo>
                  <a:lnTo>
                    <a:pt x="1324" y="255"/>
                  </a:lnTo>
                  <a:lnTo>
                    <a:pt x="1324" y="255"/>
                  </a:lnTo>
                  <a:lnTo>
                    <a:pt x="1324" y="255"/>
                  </a:lnTo>
                  <a:lnTo>
                    <a:pt x="1326" y="255"/>
                  </a:lnTo>
                  <a:lnTo>
                    <a:pt x="1324" y="255"/>
                  </a:lnTo>
                  <a:lnTo>
                    <a:pt x="1326" y="255"/>
                  </a:lnTo>
                  <a:lnTo>
                    <a:pt x="1326" y="255"/>
                  </a:lnTo>
                  <a:lnTo>
                    <a:pt x="1326" y="255"/>
                  </a:lnTo>
                  <a:lnTo>
                    <a:pt x="1326" y="255"/>
                  </a:lnTo>
                  <a:lnTo>
                    <a:pt x="1324" y="255"/>
                  </a:lnTo>
                  <a:lnTo>
                    <a:pt x="1319" y="255"/>
                  </a:lnTo>
                  <a:lnTo>
                    <a:pt x="1319" y="255"/>
                  </a:lnTo>
                  <a:lnTo>
                    <a:pt x="1317" y="252"/>
                  </a:lnTo>
                  <a:lnTo>
                    <a:pt x="1317" y="252"/>
                  </a:lnTo>
                  <a:lnTo>
                    <a:pt x="1315" y="252"/>
                  </a:lnTo>
                  <a:lnTo>
                    <a:pt x="1315" y="252"/>
                  </a:lnTo>
                  <a:lnTo>
                    <a:pt x="1315" y="252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2" y="255"/>
                  </a:lnTo>
                  <a:lnTo>
                    <a:pt x="1310" y="255"/>
                  </a:lnTo>
                  <a:lnTo>
                    <a:pt x="1310" y="255"/>
                  </a:lnTo>
                  <a:lnTo>
                    <a:pt x="1310" y="255"/>
                  </a:lnTo>
                  <a:lnTo>
                    <a:pt x="1310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2"/>
                  </a:lnTo>
                  <a:lnTo>
                    <a:pt x="1308" y="252"/>
                  </a:lnTo>
                  <a:lnTo>
                    <a:pt x="1306" y="252"/>
                  </a:lnTo>
                  <a:lnTo>
                    <a:pt x="1303" y="252"/>
                  </a:lnTo>
                  <a:lnTo>
                    <a:pt x="1303" y="252"/>
                  </a:lnTo>
                  <a:lnTo>
                    <a:pt x="1301" y="252"/>
                  </a:lnTo>
                  <a:lnTo>
                    <a:pt x="1303" y="252"/>
                  </a:lnTo>
                  <a:lnTo>
                    <a:pt x="1306" y="252"/>
                  </a:lnTo>
                  <a:lnTo>
                    <a:pt x="1306" y="255"/>
                  </a:lnTo>
                  <a:lnTo>
                    <a:pt x="1303" y="255"/>
                  </a:lnTo>
                  <a:lnTo>
                    <a:pt x="1301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6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08" y="255"/>
                  </a:lnTo>
                  <a:lnTo>
                    <a:pt x="1310" y="255"/>
                  </a:lnTo>
                  <a:lnTo>
                    <a:pt x="1312" y="255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5" y="255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21" y="257"/>
                  </a:lnTo>
                  <a:lnTo>
                    <a:pt x="1321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9" y="257"/>
                  </a:lnTo>
                  <a:lnTo>
                    <a:pt x="1317" y="257"/>
                  </a:lnTo>
                  <a:lnTo>
                    <a:pt x="1317" y="257"/>
                  </a:lnTo>
                  <a:lnTo>
                    <a:pt x="1317" y="257"/>
                  </a:lnTo>
                  <a:lnTo>
                    <a:pt x="1315" y="257"/>
                  </a:lnTo>
                  <a:lnTo>
                    <a:pt x="1315" y="257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08" y="257"/>
                  </a:lnTo>
                  <a:lnTo>
                    <a:pt x="1308" y="257"/>
                  </a:lnTo>
                  <a:lnTo>
                    <a:pt x="1308" y="257"/>
                  </a:lnTo>
                  <a:lnTo>
                    <a:pt x="1308" y="257"/>
                  </a:lnTo>
                  <a:lnTo>
                    <a:pt x="1308" y="257"/>
                  </a:lnTo>
                  <a:lnTo>
                    <a:pt x="1308" y="257"/>
                  </a:lnTo>
                  <a:lnTo>
                    <a:pt x="1308" y="259"/>
                  </a:lnTo>
                  <a:lnTo>
                    <a:pt x="1308" y="259"/>
                  </a:lnTo>
                  <a:lnTo>
                    <a:pt x="1306" y="259"/>
                  </a:lnTo>
                  <a:lnTo>
                    <a:pt x="1306" y="259"/>
                  </a:lnTo>
                  <a:lnTo>
                    <a:pt x="1308" y="259"/>
                  </a:lnTo>
                  <a:lnTo>
                    <a:pt x="1308" y="259"/>
                  </a:lnTo>
                  <a:lnTo>
                    <a:pt x="1308" y="259"/>
                  </a:lnTo>
                  <a:lnTo>
                    <a:pt x="1308" y="259"/>
                  </a:lnTo>
                  <a:lnTo>
                    <a:pt x="1310" y="259"/>
                  </a:lnTo>
                  <a:lnTo>
                    <a:pt x="1310" y="259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10" y="257"/>
                  </a:lnTo>
                  <a:lnTo>
                    <a:pt x="1312" y="257"/>
                  </a:lnTo>
                  <a:lnTo>
                    <a:pt x="1312" y="257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0" y="259"/>
                  </a:lnTo>
                  <a:lnTo>
                    <a:pt x="1308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2" y="259"/>
                  </a:lnTo>
                  <a:lnTo>
                    <a:pt x="1315" y="259"/>
                  </a:lnTo>
                  <a:lnTo>
                    <a:pt x="1315" y="259"/>
                  </a:lnTo>
                  <a:lnTo>
                    <a:pt x="1315" y="259"/>
                  </a:lnTo>
                  <a:lnTo>
                    <a:pt x="1315" y="259"/>
                  </a:lnTo>
                  <a:lnTo>
                    <a:pt x="1315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7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19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19" y="261"/>
                  </a:lnTo>
                  <a:lnTo>
                    <a:pt x="1321" y="261"/>
                  </a:lnTo>
                  <a:lnTo>
                    <a:pt x="1321" y="261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1" y="259"/>
                  </a:lnTo>
                  <a:lnTo>
                    <a:pt x="1324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8" y="259"/>
                  </a:lnTo>
                  <a:lnTo>
                    <a:pt x="1328" y="259"/>
                  </a:lnTo>
                  <a:lnTo>
                    <a:pt x="1328" y="259"/>
                  </a:lnTo>
                  <a:lnTo>
                    <a:pt x="1326" y="259"/>
                  </a:lnTo>
                  <a:lnTo>
                    <a:pt x="1326" y="259"/>
                  </a:lnTo>
                  <a:lnTo>
                    <a:pt x="1324" y="261"/>
                  </a:lnTo>
                  <a:lnTo>
                    <a:pt x="1324" y="261"/>
                  </a:lnTo>
                  <a:lnTo>
                    <a:pt x="1324" y="261"/>
                  </a:lnTo>
                  <a:lnTo>
                    <a:pt x="1324" y="261"/>
                  </a:lnTo>
                  <a:lnTo>
                    <a:pt x="1324" y="261"/>
                  </a:lnTo>
                  <a:lnTo>
                    <a:pt x="1324" y="261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6" y="261"/>
                  </a:lnTo>
                  <a:lnTo>
                    <a:pt x="1326" y="261"/>
                  </a:lnTo>
                  <a:lnTo>
                    <a:pt x="1326" y="261"/>
                  </a:lnTo>
                  <a:lnTo>
                    <a:pt x="1326" y="261"/>
                  </a:lnTo>
                  <a:lnTo>
                    <a:pt x="1326" y="261"/>
                  </a:lnTo>
                  <a:lnTo>
                    <a:pt x="1326" y="261"/>
                  </a:lnTo>
                  <a:lnTo>
                    <a:pt x="1326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30" y="261"/>
                  </a:lnTo>
                  <a:lnTo>
                    <a:pt x="1328" y="261"/>
                  </a:lnTo>
                  <a:lnTo>
                    <a:pt x="1328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3" y="261"/>
                  </a:lnTo>
                  <a:lnTo>
                    <a:pt x="1335" y="261"/>
                  </a:lnTo>
                  <a:lnTo>
                    <a:pt x="1335" y="261"/>
                  </a:lnTo>
                  <a:lnTo>
                    <a:pt x="1335" y="261"/>
                  </a:lnTo>
                  <a:lnTo>
                    <a:pt x="1335" y="261"/>
                  </a:lnTo>
                  <a:lnTo>
                    <a:pt x="1337" y="261"/>
                  </a:lnTo>
                  <a:lnTo>
                    <a:pt x="1337" y="261"/>
                  </a:lnTo>
                  <a:lnTo>
                    <a:pt x="1339" y="261"/>
                  </a:lnTo>
                  <a:lnTo>
                    <a:pt x="1339" y="261"/>
                  </a:lnTo>
                  <a:lnTo>
                    <a:pt x="1337" y="261"/>
                  </a:lnTo>
                  <a:lnTo>
                    <a:pt x="1337" y="261"/>
                  </a:lnTo>
                  <a:lnTo>
                    <a:pt x="1337" y="261"/>
                  </a:lnTo>
                  <a:lnTo>
                    <a:pt x="1337" y="261"/>
                  </a:lnTo>
                  <a:lnTo>
                    <a:pt x="1337" y="261"/>
                  </a:lnTo>
                  <a:lnTo>
                    <a:pt x="1337" y="261"/>
                  </a:lnTo>
                  <a:lnTo>
                    <a:pt x="1335" y="261"/>
                  </a:lnTo>
                  <a:lnTo>
                    <a:pt x="1335" y="261"/>
                  </a:lnTo>
                  <a:lnTo>
                    <a:pt x="1335" y="261"/>
                  </a:lnTo>
                  <a:lnTo>
                    <a:pt x="1335" y="264"/>
                  </a:lnTo>
                  <a:lnTo>
                    <a:pt x="1335" y="264"/>
                  </a:lnTo>
                  <a:lnTo>
                    <a:pt x="1333" y="264"/>
                  </a:lnTo>
                  <a:lnTo>
                    <a:pt x="1333" y="264"/>
                  </a:lnTo>
                  <a:lnTo>
                    <a:pt x="1333" y="264"/>
                  </a:lnTo>
                  <a:lnTo>
                    <a:pt x="1330" y="264"/>
                  </a:lnTo>
                  <a:lnTo>
                    <a:pt x="1330" y="264"/>
                  </a:lnTo>
                  <a:lnTo>
                    <a:pt x="1328" y="261"/>
                  </a:lnTo>
                  <a:lnTo>
                    <a:pt x="1328" y="264"/>
                  </a:lnTo>
                  <a:lnTo>
                    <a:pt x="1328" y="261"/>
                  </a:lnTo>
                  <a:lnTo>
                    <a:pt x="1326" y="264"/>
                  </a:lnTo>
                  <a:lnTo>
                    <a:pt x="1326" y="264"/>
                  </a:lnTo>
                  <a:lnTo>
                    <a:pt x="1326" y="264"/>
                  </a:lnTo>
                  <a:lnTo>
                    <a:pt x="1326" y="264"/>
                  </a:lnTo>
                  <a:lnTo>
                    <a:pt x="1326" y="264"/>
                  </a:lnTo>
                  <a:lnTo>
                    <a:pt x="1326" y="264"/>
                  </a:lnTo>
                  <a:lnTo>
                    <a:pt x="1321" y="264"/>
                  </a:lnTo>
                  <a:lnTo>
                    <a:pt x="1319" y="264"/>
                  </a:lnTo>
                  <a:lnTo>
                    <a:pt x="1319" y="264"/>
                  </a:lnTo>
                  <a:lnTo>
                    <a:pt x="1319" y="264"/>
                  </a:lnTo>
                  <a:lnTo>
                    <a:pt x="1319" y="266"/>
                  </a:lnTo>
                  <a:lnTo>
                    <a:pt x="1319" y="266"/>
                  </a:lnTo>
                  <a:lnTo>
                    <a:pt x="1319" y="266"/>
                  </a:lnTo>
                  <a:lnTo>
                    <a:pt x="1319" y="266"/>
                  </a:lnTo>
                  <a:lnTo>
                    <a:pt x="1319" y="266"/>
                  </a:lnTo>
                  <a:lnTo>
                    <a:pt x="1319" y="264"/>
                  </a:lnTo>
                  <a:lnTo>
                    <a:pt x="1319" y="264"/>
                  </a:lnTo>
                  <a:lnTo>
                    <a:pt x="1319" y="264"/>
                  </a:lnTo>
                  <a:lnTo>
                    <a:pt x="1321" y="264"/>
                  </a:lnTo>
                  <a:lnTo>
                    <a:pt x="1321" y="264"/>
                  </a:lnTo>
                  <a:lnTo>
                    <a:pt x="1321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6"/>
                  </a:lnTo>
                  <a:lnTo>
                    <a:pt x="1324" y="266"/>
                  </a:lnTo>
                  <a:lnTo>
                    <a:pt x="1321" y="266"/>
                  </a:lnTo>
                  <a:lnTo>
                    <a:pt x="1321" y="266"/>
                  </a:lnTo>
                  <a:lnTo>
                    <a:pt x="1321" y="266"/>
                  </a:lnTo>
                  <a:lnTo>
                    <a:pt x="1321" y="266"/>
                  </a:lnTo>
                  <a:lnTo>
                    <a:pt x="1321" y="266"/>
                  </a:lnTo>
                  <a:lnTo>
                    <a:pt x="1321" y="266"/>
                  </a:lnTo>
                  <a:lnTo>
                    <a:pt x="1321" y="266"/>
                  </a:lnTo>
                  <a:lnTo>
                    <a:pt x="1324" y="266"/>
                  </a:lnTo>
                  <a:lnTo>
                    <a:pt x="1324" y="266"/>
                  </a:lnTo>
                  <a:lnTo>
                    <a:pt x="1324" y="266"/>
                  </a:lnTo>
                  <a:lnTo>
                    <a:pt x="1324" y="266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4" y="264"/>
                  </a:lnTo>
                  <a:lnTo>
                    <a:pt x="1326" y="264"/>
                  </a:lnTo>
                  <a:lnTo>
                    <a:pt x="1326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30" y="264"/>
                  </a:lnTo>
                  <a:lnTo>
                    <a:pt x="1330" y="264"/>
                  </a:lnTo>
                  <a:lnTo>
                    <a:pt x="1333" y="264"/>
                  </a:lnTo>
                  <a:lnTo>
                    <a:pt x="1333" y="264"/>
                  </a:lnTo>
                  <a:lnTo>
                    <a:pt x="1330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4"/>
                  </a:lnTo>
                  <a:lnTo>
                    <a:pt x="1328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8"/>
                  </a:lnTo>
                  <a:lnTo>
                    <a:pt x="1324" y="268"/>
                  </a:lnTo>
                  <a:lnTo>
                    <a:pt x="1324" y="268"/>
                  </a:lnTo>
                  <a:lnTo>
                    <a:pt x="1324" y="268"/>
                  </a:lnTo>
                  <a:lnTo>
                    <a:pt x="1321" y="268"/>
                  </a:lnTo>
                  <a:lnTo>
                    <a:pt x="1321" y="266"/>
                  </a:lnTo>
                  <a:lnTo>
                    <a:pt x="1321" y="268"/>
                  </a:lnTo>
                  <a:lnTo>
                    <a:pt x="1321" y="268"/>
                  </a:lnTo>
                  <a:lnTo>
                    <a:pt x="1324" y="268"/>
                  </a:lnTo>
                  <a:lnTo>
                    <a:pt x="1324" y="268"/>
                  </a:lnTo>
                  <a:lnTo>
                    <a:pt x="1324" y="268"/>
                  </a:lnTo>
                  <a:lnTo>
                    <a:pt x="1326" y="268"/>
                  </a:lnTo>
                  <a:lnTo>
                    <a:pt x="1326" y="268"/>
                  </a:lnTo>
                  <a:lnTo>
                    <a:pt x="1326" y="268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26" y="266"/>
                  </a:lnTo>
                  <a:lnTo>
                    <a:pt x="1330" y="266"/>
                  </a:lnTo>
                  <a:lnTo>
                    <a:pt x="1330" y="264"/>
                  </a:lnTo>
                  <a:lnTo>
                    <a:pt x="1330" y="264"/>
                  </a:lnTo>
                  <a:lnTo>
                    <a:pt x="1333" y="264"/>
                  </a:lnTo>
                  <a:lnTo>
                    <a:pt x="1333" y="264"/>
                  </a:lnTo>
                  <a:lnTo>
                    <a:pt x="1333" y="264"/>
                  </a:lnTo>
                  <a:lnTo>
                    <a:pt x="1333" y="264"/>
                  </a:lnTo>
                  <a:lnTo>
                    <a:pt x="1333" y="266"/>
                  </a:lnTo>
                  <a:lnTo>
                    <a:pt x="1333" y="266"/>
                  </a:lnTo>
                  <a:lnTo>
                    <a:pt x="1333" y="266"/>
                  </a:lnTo>
                  <a:lnTo>
                    <a:pt x="1333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5" y="266"/>
                  </a:lnTo>
                  <a:lnTo>
                    <a:pt x="1333" y="266"/>
                  </a:lnTo>
                  <a:lnTo>
                    <a:pt x="1333" y="266"/>
                  </a:lnTo>
                  <a:lnTo>
                    <a:pt x="1333" y="268"/>
                  </a:lnTo>
                  <a:lnTo>
                    <a:pt x="1333" y="268"/>
                  </a:lnTo>
                  <a:lnTo>
                    <a:pt x="1333" y="268"/>
                  </a:lnTo>
                  <a:lnTo>
                    <a:pt x="1333" y="268"/>
                  </a:lnTo>
                  <a:lnTo>
                    <a:pt x="1330" y="268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70"/>
                  </a:lnTo>
                  <a:lnTo>
                    <a:pt x="1330" y="268"/>
                  </a:lnTo>
                  <a:lnTo>
                    <a:pt x="1333" y="268"/>
                  </a:lnTo>
                  <a:lnTo>
                    <a:pt x="1333" y="268"/>
                  </a:lnTo>
                  <a:lnTo>
                    <a:pt x="1333" y="268"/>
                  </a:lnTo>
                  <a:lnTo>
                    <a:pt x="1333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68"/>
                  </a:lnTo>
                  <a:lnTo>
                    <a:pt x="1335" y="270"/>
                  </a:lnTo>
                  <a:lnTo>
                    <a:pt x="1335" y="270"/>
                  </a:lnTo>
                  <a:lnTo>
                    <a:pt x="1333" y="270"/>
                  </a:lnTo>
                  <a:lnTo>
                    <a:pt x="1333" y="270"/>
                  </a:lnTo>
                  <a:lnTo>
                    <a:pt x="1333" y="270"/>
                  </a:lnTo>
                  <a:lnTo>
                    <a:pt x="1333" y="270"/>
                  </a:lnTo>
                  <a:lnTo>
                    <a:pt x="1335" y="270"/>
                  </a:lnTo>
                  <a:lnTo>
                    <a:pt x="1335" y="270"/>
                  </a:lnTo>
                  <a:lnTo>
                    <a:pt x="1335" y="268"/>
                  </a:lnTo>
                  <a:lnTo>
                    <a:pt x="1337" y="268"/>
                  </a:lnTo>
                  <a:lnTo>
                    <a:pt x="1337" y="268"/>
                  </a:lnTo>
                  <a:lnTo>
                    <a:pt x="1337" y="268"/>
                  </a:lnTo>
                  <a:lnTo>
                    <a:pt x="1339" y="268"/>
                  </a:lnTo>
                  <a:lnTo>
                    <a:pt x="1342" y="268"/>
                  </a:lnTo>
                  <a:lnTo>
                    <a:pt x="1339" y="268"/>
                  </a:lnTo>
                  <a:lnTo>
                    <a:pt x="1339" y="268"/>
                  </a:lnTo>
                  <a:lnTo>
                    <a:pt x="1337" y="268"/>
                  </a:lnTo>
                  <a:lnTo>
                    <a:pt x="1337" y="268"/>
                  </a:lnTo>
                  <a:lnTo>
                    <a:pt x="1339" y="268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42" y="268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39" y="270"/>
                  </a:lnTo>
                  <a:lnTo>
                    <a:pt x="1339" y="270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5" y="273"/>
                  </a:lnTo>
                  <a:lnTo>
                    <a:pt x="1335" y="273"/>
                  </a:lnTo>
                  <a:lnTo>
                    <a:pt x="1333" y="273"/>
                  </a:lnTo>
                  <a:lnTo>
                    <a:pt x="1333" y="273"/>
                  </a:lnTo>
                  <a:lnTo>
                    <a:pt x="1330" y="273"/>
                  </a:lnTo>
                  <a:lnTo>
                    <a:pt x="1330" y="273"/>
                  </a:lnTo>
                  <a:lnTo>
                    <a:pt x="1333" y="273"/>
                  </a:lnTo>
                  <a:lnTo>
                    <a:pt x="1333" y="273"/>
                  </a:lnTo>
                  <a:lnTo>
                    <a:pt x="1333" y="273"/>
                  </a:lnTo>
                  <a:lnTo>
                    <a:pt x="1335" y="273"/>
                  </a:lnTo>
                  <a:lnTo>
                    <a:pt x="1335" y="275"/>
                  </a:lnTo>
                  <a:lnTo>
                    <a:pt x="1335" y="275"/>
                  </a:lnTo>
                  <a:lnTo>
                    <a:pt x="1335" y="275"/>
                  </a:lnTo>
                  <a:lnTo>
                    <a:pt x="1335" y="275"/>
                  </a:lnTo>
                  <a:lnTo>
                    <a:pt x="1335" y="275"/>
                  </a:lnTo>
                  <a:lnTo>
                    <a:pt x="1335" y="275"/>
                  </a:lnTo>
                  <a:lnTo>
                    <a:pt x="1337" y="275"/>
                  </a:lnTo>
                  <a:lnTo>
                    <a:pt x="1337" y="275"/>
                  </a:lnTo>
                  <a:lnTo>
                    <a:pt x="1337" y="275"/>
                  </a:lnTo>
                  <a:lnTo>
                    <a:pt x="1337" y="275"/>
                  </a:lnTo>
                  <a:lnTo>
                    <a:pt x="1337" y="275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7" y="273"/>
                  </a:lnTo>
                  <a:lnTo>
                    <a:pt x="1339" y="273"/>
                  </a:lnTo>
                  <a:lnTo>
                    <a:pt x="1339" y="270"/>
                  </a:lnTo>
                  <a:lnTo>
                    <a:pt x="1339" y="270"/>
                  </a:lnTo>
                  <a:lnTo>
                    <a:pt x="1339" y="270"/>
                  </a:lnTo>
                  <a:lnTo>
                    <a:pt x="1339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2" y="270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8" y="268"/>
                  </a:lnTo>
                  <a:lnTo>
                    <a:pt x="1348" y="268"/>
                  </a:lnTo>
                  <a:lnTo>
                    <a:pt x="1348" y="268"/>
                  </a:lnTo>
                  <a:lnTo>
                    <a:pt x="1348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6" y="268"/>
                  </a:lnTo>
                  <a:lnTo>
                    <a:pt x="1348" y="268"/>
                  </a:lnTo>
                  <a:lnTo>
                    <a:pt x="1346" y="268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44" y="273"/>
                  </a:lnTo>
                  <a:lnTo>
                    <a:pt x="1344" y="273"/>
                  </a:lnTo>
                  <a:lnTo>
                    <a:pt x="1344" y="273"/>
                  </a:lnTo>
                  <a:lnTo>
                    <a:pt x="1344" y="273"/>
                  </a:lnTo>
                  <a:lnTo>
                    <a:pt x="1344" y="273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39" y="277"/>
                  </a:lnTo>
                  <a:lnTo>
                    <a:pt x="1342" y="277"/>
                  </a:lnTo>
                  <a:lnTo>
                    <a:pt x="1342" y="277"/>
                  </a:lnTo>
                  <a:lnTo>
                    <a:pt x="1342" y="277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2" y="275"/>
                  </a:lnTo>
                  <a:lnTo>
                    <a:pt x="1344" y="275"/>
                  </a:lnTo>
                  <a:lnTo>
                    <a:pt x="1344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3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6" y="270"/>
                  </a:lnTo>
                  <a:lnTo>
                    <a:pt x="1348" y="270"/>
                  </a:lnTo>
                  <a:lnTo>
                    <a:pt x="1348" y="270"/>
                  </a:lnTo>
                  <a:lnTo>
                    <a:pt x="1348" y="270"/>
                  </a:lnTo>
                  <a:lnTo>
                    <a:pt x="1348" y="270"/>
                  </a:lnTo>
                  <a:lnTo>
                    <a:pt x="1351" y="270"/>
                  </a:lnTo>
                  <a:lnTo>
                    <a:pt x="1351" y="270"/>
                  </a:lnTo>
                  <a:lnTo>
                    <a:pt x="1353" y="270"/>
                  </a:lnTo>
                  <a:lnTo>
                    <a:pt x="1353" y="270"/>
                  </a:lnTo>
                  <a:lnTo>
                    <a:pt x="1353" y="270"/>
                  </a:lnTo>
                  <a:lnTo>
                    <a:pt x="1353" y="270"/>
                  </a:lnTo>
                  <a:lnTo>
                    <a:pt x="1353" y="273"/>
                  </a:lnTo>
                  <a:lnTo>
                    <a:pt x="1351" y="273"/>
                  </a:lnTo>
                  <a:lnTo>
                    <a:pt x="1351" y="273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7"/>
                  </a:lnTo>
                  <a:lnTo>
                    <a:pt x="1348" y="277"/>
                  </a:lnTo>
                  <a:lnTo>
                    <a:pt x="1348" y="277"/>
                  </a:lnTo>
                  <a:lnTo>
                    <a:pt x="1348" y="277"/>
                  </a:lnTo>
                  <a:lnTo>
                    <a:pt x="1348" y="277"/>
                  </a:lnTo>
                  <a:lnTo>
                    <a:pt x="1348" y="279"/>
                  </a:lnTo>
                  <a:lnTo>
                    <a:pt x="1348" y="279"/>
                  </a:lnTo>
                  <a:lnTo>
                    <a:pt x="1351" y="279"/>
                  </a:lnTo>
                  <a:lnTo>
                    <a:pt x="1351" y="279"/>
                  </a:lnTo>
                  <a:lnTo>
                    <a:pt x="1351" y="277"/>
                  </a:lnTo>
                  <a:lnTo>
                    <a:pt x="1351" y="277"/>
                  </a:lnTo>
                  <a:lnTo>
                    <a:pt x="1351" y="277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48" y="275"/>
                  </a:lnTo>
                  <a:lnTo>
                    <a:pt x="1351" y="275"/>
                  </a:lnTo>
                  <a:lnTo>
                    <a:pt x="1351" y="275"/>
                  </a:lnTo>
                  <a:lnTo>
                    <a:pt x="1351" y="273"/>
                  </a:lnTo>
                  <a:lnTo>
                    <a:pt x="1353" y="273"/>
                  </a:lnTo>
                  <a:lnTo>
                    <a:pt x="1353" y="273"/>
                  </a:lnTo>
                  <a:lnTo>
                    <a:pt x="1353" y="273"/>
                  </a:lnTo>
                  <a:lnTo>
                    <a:pt x="1353" y="273"/>
                  </a:lnTo>
                  <a:lnTo>
                    <a:pt x="1355" y="273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57" y="270"/>
                  </a:lnTo>
                  <a:lnTo>
                    <a:pt x="1360" y="270"/>
                  </a:lnTo>
                  <a:lnTo>
                    <a:pt x="1360" y="270"/>
                  </a:lnTo>
                  <a:lnTo>
                    <a:pt x="1360" y="270"/>
                  </a:lnTo>
                  <a:lnTo>
                    <a:pt x="1360" y="270"/>
                  </a:lnTo>
                  <a:lnTo>
                    <a:pt x="1360" y="270"/>
                  </a:lnTo>
                  <a:lnTo>
                    <a:pt x="1362" y="270"/>
                  </a:lnTo>
                  <a:lnTo>
                    <a:pt x="1364" y="270"/>
                  </a:lnTo>
                  <a:lnTo>
                    <a:pt x="1364" y="270"/>
                  </a:lnTo>
                  <a:lnTo>
                    <a:pt x="1364" y="270"/>
                  </a:lnTo>
                  <a:lnTo>
                    <a:pt x="1362" y="270"/>
                  </a:lnTo>
                  <a:lnTo>
                    <a:pt x="1360" y="273"/>
                  </a:lnTo>
                  <a:lnTo>
                    <a:pt x="1360" y="273"/>
                  </a:lnTo>
                  <a:lnTo>
                    <a:pt x="1357" y="273"/>
                  </a:lnTo>
                  <a:lnTo>
                    <a:pt x="1357" y="273"/>
                  </a:lnTo>
                  <a:lnTo>
                    <a:pt x="1360" y="273"/>
                  </a:lnTo>
                  <a:lnTo>
                    <a:pt x="1360" y="273"/>
                  </a:lnTo>
                  <a:lnTo>
                    <a:pt x="1357" y="273"/>
                  </a:lnTo>
                  <a:lnTo>
                    <a:pt x="1357" y="273"/>
                  </a:lnTo>
                  <a:lnTo>
                    <a:pt x="1357" y="273"/>
                  </a:lnTo>
                  <a:lnTo>
                    <a:pt x="1357" y="273"/>
                  </a:lnTo>
                  <a:lnTo>
                    <a:pt x="1357" y="273"/>
                  </a:lnTo>
                  <a:lnTo>
                    <a:pt x="1357" y="273"/>
                  </a:lnTo>
                  <a:lnTo>
                    <a:pt x="1355" y="273"/>
                  </a:lnTo>
                  <a:lnTo>
                    <a:pt x="1355" y="273"/>
                  </a:lnTo>
                  <a:lnTo>
                    <a:pt x="1355" y="273"/>
                  </a:lnTo>
                  <a:lnTo>
                    <a:pt x="1355" y="275"/>
                  </a:lnTo>
                  <a:lnTo>
                    <a:pt x="1355" y="275"/>
                  </a:lnTo>
                  <a:lnTo>
                    <a:pt x="1355" y="275"/>
                  </a:lnTo>
                  <a:lnTo>
                    <a:pt x="1355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5" y="275"/>
                  </a:lnTo>
                  <a:lnTo>
                    <a:pt x="1355" y="275"/>
                  </a:lnTo>
                  <a:lnTo>
                    <a:pt x="1355" y="275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3" y="277"/>
                  </a:lnTo>
                  <a:lnTo>
                    <a:pt x="1355" y="277"/>
                  </a:lnTo>
                  <a:lnTo>
                    <a:pt x="1355" y="277"/>
                  </a:lnTo>
                  <a:lnTo>
                    <a:pt x="1355" y="277"/>
                  </a:lnTo>
                  <a:lnTo>
                    <a:pt x="1355" y="277"/>
                  </a:lnTo>
                  <a:lnTo>
                    <a:pt x="1355" y="277"/>
                  </a:lnTo>
                  <a:lnTo>
                    <a:pt x="1355" y="277"/>
                  </a:lnTo>
                  <a:lnTo>
                    <a:pt x="1355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0" y="277"/>
                  </a:lnTo>
                  <a:lnTo>
                    <a:pt x="1360" y="277"/>
                  </a:lnTo>
                  <a:lnTo>
                    <a:pt x="1360" y="277"/>
                  </a:lnTo>
                  <a:lnTo>
                    <a:pt x="1357" y="277"/>
                  </a:lnTo>
                  <a:lnTo>
                    <a:pt x="1357" y="277"/>
                  </a:lnTo>
                  <a:lnTo>
                    <a:pt x="1360" y="277"/>
                  </a:lnTo>
                  <a:lnTo>
                    <a:pt x="1360" y="277"/>
                  </a:lnTo>
                  <a:lnTo>
                    <a:pt x="1360" y="277"/>
                  </a:lnTo>
                  <a:lnTo>
                    <a:pt x="1360" y="275"/>
                  </a:lnTo>
                  <a:lnTo>
                    <a:pt x="1360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2" y="275"/>
                  </a:lnTo>
                  <a:lnTo>
                    <a:pt x="1364" y="275"/>
                  </a:lnTo>
                  <a:lnTo>
                    <a:pt x="1364" y="275"/>
                  </a:lnTo>
                  <a:lnTo>
                    <a:pt x="1364" y="275"/>
                  </a:lnTo>
                  <a:lnTo>
                    <a:pt x="1366" y="275"/>
                  </a:lnTo>
                  <a:lnTo>
                    <a:pt x="1366" y="275"/>
                  </a:lnTo>
                  <a:lnTo>
                    <a:pt x="1366" y="275"/>
                  </a:lnTo>
                  <a:lnTo>
                    <a:pt x="1366" y="275"/>
                  </a:lnTo>
                  <a:lnTo>
                    <a:pt x="1366" y="275"/>
                  </a:lnTo>
                  <a:lnTo>
                    <a:pt x="1366" y="275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4" y="277"/>
                  </a:lnTo>
                  <a:lnTo>
                    <a:pt x="1364" y="277"/>
                  </a:lnTo>
                  <a:lnTo>
                    <a:pt x="1362" y="277"/>
                  </a:lnTo>
                  <a:lnTo>
                    <a:pt x="1362" y="277"/>
                  </a:lnTo>
                  <a:lnTo>
                    <a:pt x="1362" y="277"/>
                  </a:lnTo>
                  <a:lnTo>
                    <a:pt x="1364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5"/>
                  </a:lnTo>
                  <a:lnTo>
                    <a:pt x="1369" y="277"/>
                  </a:lnTo>
                  <a:lnTo>
                    <a:pt x="1369" y="277"/>
                  </a:lnTo>
                  <a:lnTo>
                    <a:pt x="1369" y="277"/>
                  </a:lnTo>
                  <a:lnTo>
                    <a:pt x="1369" y="277"/>
                  </a:lnTo>
                  <a:lnTo>
                    <a:pt x="1369" y="277"/>
                  </a:lnTo>
                  <a:lnTo>
                    <a:pt x="1369" y="277"/>
                  </a:lnTo>
                  <a:lnTo>
                    <a:pt x="1366" y="277"/>
                  </a:lnTo>
                  <a:lnTo>
                    <a:pt x="1366" y="277"/>
                  </a:lnTo>
                  <a:lnTo>
                    <a:pt x="1366" y="279"/>
                  </a:lnTo>
                  <a:lnTo>
                    <a:pt x="1366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79"/>
                  </a:lnTo>
                  <a:lnTo>
                    <a:pt x="1369" y="282"/>
                  </a:lnTo>
                  <a:lnTo>
                    <a:pt x="1369" y="282"/>
                  </a:lnTo>
                  <a:lnTo>
                    <a:pt x="1366" y="282"/>
                  </a:lnTo>
                  <a:lnTo>
                    <a:pt x="1364" y="282"/>
                  </a:lnTo>
                  <a:lnTo>
                    <a:pt x="1362" y="282"/>
                  </a:lnTo>
                  <a:lnTo>
                    <a:pt x="1364" y="282"/>
                  </a:lnTo>
                  <a:lnTo>
                    <a:pt x="1364" y="282"/>
                  </a:lnTo>
                  <a:lnTo>
                    <a:pt x="1366" y="282"/>
                  </a:lnTo>
                  <a:lnTo>
                    <a:pt x="1369" y="282"/>
                  </a:lnTo>
                  <a:lnTo>
                    <a:pt x="1369" y="282"/>
                  </a:lnTo>
                  <a:lnTo>
                    <a:pt x="1369" y="282"/>
                  </a:lnTo>
                  <a:lnTo>
                    <a:pt x="1369" y="282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9" y="284"/>
                  </a:lnTo>
                  <a:lnTo>
                    <a:pt x="1366" y="284"/>
                  </a:lnTo>
                  <a:lnTo>
                    <a:pt x="1355" y="284"/>
                  </a:lnTo>
                  <a:lnTo>
                    <a:pt x="1355" y="284"/>
                  </a:lnTo>
                  <a:lnTo>
                    <a:pt x="1362" y="284"/>
                  </a:lnTo>
                  <a:lnTo>
                    <a:pt x="1364" y="284"/>
                  </a:lnTo>
                  <a:lnTo>
                    <a:pt x="1364" y="284"/>
                  </a:lnTo>
                  <a:lnTo>
                    <a:pt x="1362" y="286"/>
                  </a:lnTo>
                  <a:lnTo>
                    <a:pt x="1362" y="286"/>
                  </a:lnTo>
                  <a:lnTo>
                    <a:pt x="1360" y="286"/>
                  </a:lnTo>
                  <a:lnTo>
                    <a:pt x="1360" y="286"/>
                  </a:lnTo>
                  <a:lnTo>
                    <a:pt x="1355" y="286"/>
                  </a:lnTo>
                  <a:lnTo>
                    <a:pt x="1353" y="286"/>
                  </a:lnTo>
                  <a:lnTo>
                    <a:pt x="1355" y="286"/>
                  </a:lnTo>
                  <a:lnTo>
                    <a:pt x="1355" y="286"/>
                  </a:lnTo>
                  <a:lnTo>
                    <a:pt x="1357" y="286"/>
                  </a:lnTo>
                  <a:lnTo>
                    <a:pt x="1357" y="286"/>
                  </a:lnTo>
                  <a:lnTo>
                    <a:pt x="1362" y="286"/>
                  </a:lnTo>
                  <a:lnTo>
                    <a:pt x="1366" y="286"/>
                  </a:lnTo>
                  <a:lnTo>
                    <a:pt x="1366" y="286"/>
                  </a:lnTo>
                  <a:lnTo>
                    <a:pt x="1369" y="286"/>
                  </a:lnTo>
                  <a:lnTo>
                    <a:pt x="1366" y="286"/>
                  </a:lnTo>
                  <a:lnTo>
                    <a:pt x="1366" y="286"/>
                  </a:lnTo>
                  <a:lnTo>
                    <a:pt x="1366" y="286"/>
                  </a:lnTo>
                  <a:lnTo>
                    <a:pt x="1364" y="286"/>
                  </a:lnTo>
                  <a:lnTo>
                    <a:pt x="1364" y="286"/>
                  </a:lnTo>
                  <a:lnTo>
                    <a:pt x="1364" y="286"/>
                  </a:lnTo>
                  <a:lnTo>
                    <a:pt x="1364" y="286"/>
                  </a:lnTo>
                  <a:lnTo>
                    <a:pt x="1355" y="288"/>
                  </a:lnTo>
                  <a:lnTo>
                    <a:pt x="1355" y="288"/>
                  </a:lnTo>
                  <a:lnTo>
                    <a:pt x="1353" y="288"/>
                  </a:lnTo>
                  <a:lnTo>
                    <a:pt x="1353" y="291"/>
                  </a:lnTo>
                  <a:lnTo>
                    <a:pt x="1353" y="291"/>
                  </a:lnTo>
                  <a:lnTo>
                    <a:pt x="1353" y="291"/>
                  </a:lnTo>
                  <a:lnTo>
                    <a:pt x="1353" y="291"/>
                  </a:lnTo>
                  <a:lnTo>
                    <a:pt x="1353" y="291"/>
                  </a:lnTo>
                  <a:lnTo>
                    <a:pt x="1355" y="291"/>
                  </a:lnTo>
                  <a:lnTo>
                    <a:pt x="1355" y="291"/>
                  </a:lnTo>
                  <a:lnTo>
                    <a:pt x="1355" y="288"/>
                  </a:lnTo>
                  <a:lnTo>
                    <a:pt x="1355" y="288"/>
                  </a:lnTo>
                  <a:lnTo>
                    <a:pt x="1355" y="288"/>
                  </a:lnTo>
                  <a:lnTo>
                    <a:pt x="1355" y="288"/>
                  </a:lnTo>
                  <a:lnTo>
                    <a:pt x="1357" y="288"/>
                  </a:lnTo>
                  <a:lnTo>
                    <a:pt x="1357" y="288"/>
                  </a:lnTo>
                  <a:lnTo>
                    <a:pt x="1357" y="288"/>
                  </a:lnTo>
                  <a:lnTo>
                    <a:pt x="1360" y="288"/>
                  </a:lnTo>
                  <a:lnTo>
                    <a:pt x="1362" y="288"/>
                  </a:lnTo>
                  <a:lnTo>
                    <a:pt x="1362" y="288"/>
                  </a:lnTo>
                  <a:lnTo>
                    <a:pt x="1364" y="286"/>
                  </a:lnTo>
                  <a:lnTo>
                    <a:pt x="1366" y="286"/>
                  </a:lnTo>
                  <a:lnTo>
                    <a:pt x="1366" y="286"/>
                  </a:lnTo>
                  <a:lnTo>
                    <a:pt x="1366" y="286"/>
                  </a:lnTo>
                  <a:lnTo>
                    <a:pt x="1366" y="286"/>
                  </a:lnTo>
                  <a:lnTo>
                    <a:pt x="1369" y="286"/>
                  </a:lnTo>
                  <a:lnTo>
                    <a:pt x="1369" y="286"/>
                  </a:lnTo>
                  <a:lnTo>
                    <a:pt x="1369" y="286"/>
                  </a:lnTo>
                  <a:lnTo>
                    <a:pt x="1369" y="286"/>
                  </a:lnTo>
                  <a:lnTo>
                    <a:pt x="1371" y="286"/>
                  </a:lnTo>
                  <a:lnTo>
                    <a:pt x="1371" y="286"/>
                  </a:lnTo>
                  <a:lnTo>
                    <a:pt x="1371" y="286"/>
                  </a:lnTo>
                  <a:lnTo>
                    <a:pt x="1371" y="286"/>
                  </a:lnTo>
                  <a:lnTo>
                    <a:pt x="1371" y="286"/>
                  </a:lnTo>
                  <a:lnTo>
                    <a:pt x="1371" y="286"/>
                  </a:lnTo>
                  <a:lnTo>
                    <a:pt x="1373" y="286"/>
                  </a:lnTo>
                  <a:lnTo>
                    <a:pt x="1375" y="286"/>
                  </a:lnTo>
                  <a:lnTo>
                    <a:pt x="1375" y="286"/>
                  </a:lnTo>
                  <a:lnTo>
                    <a:pt x="1375" y="286"/>
                  </a:lnTo>
                  <a:lnTo>
                    <a:pt x="1375" y="286"/>
                  </a:lnTo>
                  <a:lnTo>
                    <a:pt x="1375" y="288"/>
                  </a:lnTo>
                  <a:lnTo>
                    <a:pt x="1373" y="288"/>
                  </a:lnTo>
                  <a:lnTo>
                    <a:pt x="1373" y="288"/>
                  </a:lnTo>
                  <a:lnTo>
                    <a:pt x="1371" y="291"/>
                  </a:lnTo>
                  <a:lnTo>
                    <a:pt x="1369" y="291"/>
                  </a:lnTo>
                  <a:lnTo>
                    <a:pt x="1369" y="291"/>
                  </a:lnTo>
                  <a:lnTo>
                    <a:pt x="1366" y="291"/>
                  </a:lnTo>
                  <a:lnTo>
                    <a:pt x="1366" y="291"/>
                  </a:lnTo>
                  <a:lnTo>
                    <a:pt x="1366" y="293"/>
                  </a:lnTo>
                  <a:lnTo>
                    <a:pt x="1366" y="291"/>
                  </a:lnTo>
                  <a:lnTo>
                    <a:pt x="1369" y="291"/>
                  </a:lnTo>
                  <a:lnTo>
                    <a:pt x="1369" y="291"/>
                  </a:lnTo>
                  <a:lnTo>
                    <a:pt x="1369" y="291"/>
                  </a:lnTo>
                  <a:lnTo>
                    <a:pt x="1369" y="291"/>
                  </a:lnTo>
                  <a:lnTo>
                    <a:pt x="1371" y="291"/>
                  </a:lnTo>
                  <a:lnTo>
                    <a:pt x="1373" y="288"/>
                  </a:lnTo>
                  <a:lnTo>
                    <a:pt x="1373" y="288"/>
                  </a:lnTo>
                  <a:lnTo>
                    <a:pt x="1375" y="288"/>
                  </a:lnTo>
                  <a:lnTo>
                    <a:pt x="1375" y="288"/>
                  </a:lnTo>
                  <a:lnTo>
                    <a:pt x="1375" y="288"/>
                  </a:lnTo>
                  <a:lnTo>
                    <a:pt x="1375" y="286"/>
                  </a:lnTo>
                  <a:lnTo>
                    <a:pt x="1375" y="286"/>
                  </a:lnTo>
                  <a:lnTo>
                    <a:pt x="1378" y="286"/>
                  </a:lnTo>
                  <a:lnTo>
                    <a:pt x="1378" y="284"/>
                  </a:lnTo>
                  <a:lnTo>
                    <a:pt x="1378" y="284"/>
                  </a:lnTo>
                  <a:lnTo>
                    <a:pt x="1380" y="284"/>
                  </a:lnTo>
                  <a:lnTo>
                    <a:pt x="1380" y="284"/>
                  </a:lnTo>
                  <a:lnTo>
                    <a:pt x="1380" y="284"/>
                  </a:lnTo>
                  <a:lnTo>
                    <a:pt x="1380" y="286"/>
                  </a:lnTo>
                  <a:lnTo>
                    <a:pt x="1380" y="286"/>
                  </a:lnTo>
                  <a:lnTo>
                    <a:pt x="1380" y="286"/>
                  </a:lnTo>
                  <a:lnTo>
                    <a:pt x="1378" y="286"/>
                  </a:lnTo>
                  <a:lnTo>
                    <a:pt x="1378" y="286"/>
                  </a:lnTo>
                  <a:lnTo>
                    <a:pt x="1378" y="286"/>
                  </a:lnTo>
                  <a:lnTo>
                    <a:pt x="1378" y="286"/>
                  </a:lnTo>
                  <a:lnTo>
                    <a:pt x="1380" y="286"/>
                  </a:lnTo>
                  <a:lnTo>
                    <a:pt x="1380" y="286"/>
                  </a:lnTo>
                  <a:lnTo>
                    <a:pt x="1380" y="284"/>
                  </a:lnTo>
                  <a:lnTo>
                    <a:pt x="1380" y="284"/>
                  </a:lnTo>
                  <a:lnTo>
                    <a:pt x="1380" y="284"/>
                  </a:lnTo>
                  <a:lnTo>
                    <a:pt x="1380" y="284"/>
                  </a:lnTo>
                  <a:lnTo>
                    <a:pt x="1382" y="284"/>
                  </a:lnTo>
                  <a:lnTo>
                    <a:pt x="1382" y="284"/>
                  </a:lnTo>
                  <a:lnTo>
                    <a:pt x="1382" y="284"/>
                  </a:lnTo>
                  <a:lnTo>
                    <a:pt x="1382" y="286"/>
                  </a:lnTo>
                  <a:lnTo>
                    <a:pt x="1382" y="286"/>
                  </a:lnTo>
                  <a:lnTo>
                    <a:pt x="1382" y="286"/>
                  </a:lnTo>
                  <a:lnTo>
                    <a:pt x="1382" y="286"/>
                  </a:lnTo>
                  <a:lnTo>
                    <a:pt x="1380" y="288"/>
                  </a:lnTo>
                  <a:lnTo>
                    <a:pt x="1380" y="288"/>
                  </a:lnTo>
                  <a:lnTo>
                    <a:pt x="1378" y="288"/>
                  </a:lnTo>
                  <a:lnTo>
                    <a:pt x="1378" y="288"/>
                  </a:lnTo>
                  <a:lnTo>
                    <a:pt x="1375" y="288"/>
                  </a:lnTo>
                  <a:lnTo>
                    <a:pt x="1375" y="288"/>
                  </a:lnTo>
                  <a:lnTo>
                    <a:pt x="1375" y="288"/>
                  </a:lnTo>
                  <a:lnTo>
                    <a:pt x="1375" y="288"/>
                  </a:lnTo>
                  <a:lnTo>
                    <a:pt x="1375" y="291"/>
                  </a:lnTo>
                  <a:lnTo>
                    <a:pt x="1375" y="291"/>
                  </a:lnTo>
                  <a:lnTo>
                    <a:pt x="1375" y="291"/>
                  </a:lnTo>
                  <a:lnTo>
                    <a:pt x="1375" y="291"/>
                  </a:lnTo>
                  <a:lnTo>
                    <a:pt x="1375" y="291"/>
                  </a:lnTo>
                  <a:lnTo>
                    <a:pt x="1375" y="293"/>
                  </a:lnTo>
                  <a:lnTo>
                    <a:pt x="1373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69" y="293"/>
                  </a:lnTo>
                  <a:lnTo>
                    <a:pt x="1369" y="293"/>
                  </a:lnTo>
                  <a:lnTo>
                    <a:pt x="1369" y="293"/>
                  </a:lnTo>
                  <a:lnTo>
                    <a:pt x="1369" y="293"/>
                  </a:lnTo>
                  <a:lnTo>
                    <a:pt x="1369" y="293"/>
                  </a:lnTo>
                  <a:lnTo>
                    <a:pt x="1369" y="295"/>
                  </a:lnTo>
                  <a:lnTo>
                    <a:pt x="1369" y="295"/>
                  </a:lnTo>
                  <a:lnTo>
                    <a:pt x="1369" y="295"/>
                  </a:lnTo>
                  <a:lnTo>
                    <a:pt x="1366" y="295"/>
                  </a:lnTo>
                  <a:lnTo>
                    <a:pt x="1366" y="295"/>
                  </a:lnTo>
                  <a:lnTo>
                    <a:pt x="1364" y="295"/>
                  </a:lnTo>
                  <a:lnTo>
                    <a:pt x="1364" y="295"/>
                  </a:lnTo>
                  <a:lnTo>
                    <a:pt x="1369" y="295"/>
                  </a:lnTo>
                  <a:lnTo>
                    <a:pt x="1369" y="295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3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69" y="297"/>
                  </a:lnTo>
                  <a:lnTo>
                    <a:pt x="1369" y="297"/>
                  </a:lnTo>
                  <a:lnTo>
                    <a:pt x="1371" y="297"/>
                  </a:lnTo>
                  <a:lnTo>
                    <a:pt x="1371" y="297"/>
                  </a:lnTo>
                  <a:lnTo>
                    <a:pt x="1371" y="297"/>
                  </a:lnTo>
                  <a:lnTo>
                    <a:pt x="1371" y="295"/>
                  </a:lnTo>
                  <a:lnTo>
                    <a:pt x="1371" y="295"/>
                  </a:lnTo>
                  <a:lnTo>
                    <a:pt x="1373" y="295"/>
                  </a:lnTo>
                  <a:lnTo>
                    <a:pt x="1373" y="295"/>
                  </a:lnTo>
                  <a:lnTo>
                    <a:pt x="1373" y="293"/>
                  </a:lnTo>
                  <a:lnTo>
                    <a:pt x="1373" y="293"/>
                  </a:lnTo>
                  <a:lnTo>
                    <a:pt x="1373" y="293"/>
                  </a:lnTo>
                  <a:lnTo>
                    <a:pt x="1375" y="293"/>
                  </a:lnTo>
                  <a:lnTo>
                    <a:pt x="1375" y="293"/>
                  </a:lnTo>
                  <a:lnTo>
                    <a:pt x="1378" y="293"/>
                  </a:lnTo>
                  <a:lnTo>
                    <a:pt x="1380" y="293"/>
                  </a:lnTo>
                  <a:lnTo>
                    <a:pt x="1380" y="293"/>
                  </a:lnTo>
                  <a:lnTo>
                    <a:pt x="1380" y="293"/>
                  </a:lnTo>
                  <a:lnTo>
                    <a:pt x="1380" y="291"/>
                  </a:lnTo>
                  <a:lnTo>
                    <a:pt x="1380" y="291"/>
                  </a:lnTo>
                  <a:lnTo>
                    <a:pt x="1380" y="291"/>
                  </a:lnTo>
                  <a:lnTo>
                    <a:pt x="1382" y="291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0" y="293"/>
                  </a:lnTo>
                  <a:lnTo>
                    <a:pt x="1380" y="293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0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78" y="297"/>
                  </a:lnTo>
                  <a:lnTo>
                    <a:pt x="1380" y="297"/>
                  </a:lnTo>
                  <a:lnTo>
                    <a:pt x="1380" y="297"/>
                  </a:lnTo>
                  <a:lnTo>
                    <a:pt x="1380" y="297"/>
                  </a:lnTo>
                  <a:lnTo>
                    <a:pt x="1380" y="297"/>
                  </a:lnTo>
                  <a:lnTo>
                    <a:pt x="1380" y="297"/>
                  </a:lnTo>
                  <a:lnTo>
                    <a:pt x="1380" y="297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0" y="295"/>
                  </a:lnTo>
                  <a:lnTo>
                    <a:pt x="1382" y="295"/>
                  </a:lnTo>
                  <a:lnTo>
                    <a:pt x="1382" y="295"/>
                  </a:lnTo>
                  <a:lnTo>
                    <a:pt x="1382" y="295"/>
                  </a:lnTo>
                  <a:lnTo>
                    <a:pt x="1382" y="295"/>
                  </a:lnTo>
                  <a:lnTo>
                    <a:pt x="1382" y="295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2" y="293"/>
                  </a:lnTo>
                  <a:lnTo>
                    <a:pt x="1384" y="293"/>
                  </a:lnTo>
                  <a:lnTo>
                    <a:pt x="1384" y="293"/>
                  </a:lnTo>
                  <a:lnTo>
                    <a:pt x="1384" y="293"/>
                  </a:lnTo>
                  <a:lnTo>
                    <a:pt x="1384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7"/>
                  </a:lnTo>
                  <a:lnTo>
                    <a:pt x="1387" y="297"/>
                  </a:lnTo>
                  <a:lnTo>
                    <a:pt x="1387" y="297"/>
                  </a:lnTo>
                  <a:lnTo>
                    <a:pt x="1389" y="297"/>
                  </a:lnTo>
                  <a:lnTo>
                    <a:pt x="1389" y="295"/>
                  </a:lnTo>
                  <a:lnTo>
                    <a:pt x="1389" y="295"/>
                  </a:lnTo>
                  <a:lnTo>
                    <a:pt x="1389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5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7" y="293"/>
                  </a:lnTo>
                  <a:lnTo>
                    <a:pt x="1389" y="293"/>
                  </a:lnTo>
                  <a:lnTo>
                    <a:pt x="1389" y="293"/>
                  </a:lnTo>
                  <a:lnTo>
                    <a:pt x="1389" y="293"/>
                  </a:lnTo>
                  <a:lnTo>
                    <a:pt x="1389" y="293"/>
                  </a:lnTo>
                  <a:lnTo>
                    <a:pt x="1391" y="293"/>
                  </a:lnTo>
                  <a:lnTo>
                    <a:pt x="1391" y="293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1" y="291"/>
                  </a:lnTo>
                  <a:lnTo>
                    <a:pt x="1393" y="291"/>
                  </a:lnTo>
                  <a:lnTo>
                    <a:pt x="1393" y="291"/>
                  </a:lnTo>
                  <a:lnTo>
                    <a:pt x="1393" y="291"/>
                  </a:lnTo>
                  <a:lnTo>
                    <a:pt x="1393" y="291"/>
                  </a:lnTo>
                  <a:lnTo>
                    <a:pt x="1393" y="291"/>
                  </a:lnTo>
                  <a:lnTo>
                    <a:pt x="1396" y="291"/>
                  </a:lnTo>
                  <a:lnTo>
                    <a:pt x="1396" y="291"/>
                  </a:lnTo>
                  <a:lnTo>
                    <a:pt x="1396" y="291"/>
                  </a:lnTo>
                  <a:lnTo>
                    <a:pt x="1393" y="291"/>
                  </a:lnTo>
                  <a:lnTo>
                    <a:pt x="1393" y="291"/>
                  </a:lnTo>
                  <a:lnTo>
                    <a:pt x="1393" y="291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6" y="293"/>
                  </a:lnTo>
                  <a:lnTo>
                    <a:pt x="1396" y="291"/>
                  </a:lnTo>
                  <a:lnTo>
                    <a:pt x="1396" y="291"/>
                  </a:lnTo>
                  <a:lnTo>
                    <a:pt x="1396" y="291"/>
                  </a:lnTo>
                  <a:lnTo>
                    <a:pt x="1398" y="291"/>
                  </a:lnTo>
                  <a:lnTo>
                    <a:pt x="1398" y="291"/>
                  </a:lnTo>
                  <a:lnTo>
                    <a:pt x="1396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6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3" y="293"/>
                  </a:lnTo>
                  <a:lnTo>
                    <a:pt x="1396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398" y="293"/>
                  </a:lnTo>
                  <a:lnTo>
                    <a:pt x="1400" y="293"/>
                  </a:lnTo>
                  <a:lnTo>
                    <a:pt x="1400" y="295"/>
                  </a:lnTo>
                  <a:lnTo>
                    <a:pt x="1398" y="295"/>
                  </a:lnTo>
                  <a:lnTo>
                    <a:pt x="1398" y="295"/>
                  </a:lnTo>
                  <a:lnTo>
                    <a:pt x="1398" y="295"/>
                  </a:lnTo>
                  <a:lnTo>
                    <a:pt x="1400" y="295"/>
                  </a:lnTo>
                  <a:lnTo>
                    <a:pt x="1402" y="295"/>
                  </a:lnTo>
                  <a:lnTo>
                    <a:pt x="1400" y="295"/>
                  </a:lnTo>
                  <a:lnTo>
                    <a:pt x="1400" y="295"/>
                  </a:lnTo>
                  <a:lnTo>
                    <a:pt x="1402" y="295"/>
                  </a:lnTo>
                  <a:lnTo>
                    <a:pt x="1402" y="297"/>
                  </a:lnTo>
                  <a:lnTo>
                    <a:pt x="1402" y="297"/>
                  </a:lnTo>
                  <a:lnTo>
                    <a:pt x="1402" y="297"/>
                  </a:lnTo>
                  <a:lnTo>
                    <a:pt x="1402" y="297"/>
                  </a:lnTo>
                  <a:lnTo>
                    <a:pt x="1402" y="300"/>
                  </a:lnTo>
                  <a:lnTo>
                    <a:pt x="1402" y="300"/>
                  </a:lnTo>
                  <a:lnTo>
                    <a:pt x="1402" y="300"/>
                  </a:lnTo>
                  <a:lnTo>
                    <a:pt x="1402" y="300"/>
                  </a:lnTo>
                  <a:lnTo>
                    <a:pt x="1402" y="300"/>
                  </a:lnTo>
                  <a:lnTo>
                    <a:pt x="1402" y="300"/>
                  </a:lnTo>
                  <a:lnTo>
                    <a:pt x="1402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400" y="300"/>
                  </a:lnTo>
                  <a:lnTo>
                    <a:pt x="1398" y="300"/>
                  </a:lnTo>
                  <a:lnTo>
                    <a:pt x="1398" y="300"/>
                  </a:lnTo>
                  <a:lnTo>
                    <a:pt x="1396" y="300"/>
                  </a:lnTo>
                  <a:lnTo>
                    <a:pt x="1396" y="300"/>
                  </a:lnTo>
                  <a:lnTo>
                    <a:pt x="1396" y="300"/>
                  </a:lnTo>
                  <a:lnTo>
                    <a:pt x="1396" y="300"/>
                  </a:lnTo>
                  <a:lnTo>
                    <a:pt x="1396" y="300"/>
                  </a:lnTo>
                  <a:lnTo>
                    <a:pt x="1396" y="297"/>
                  </a:lnTo>
                  <a:lnTo>
                    <a:pt x="1396" y="297"/>
                  </a:lnTo>
                  <a:lnTo>
                    <a:pt x="1393" y="297"/>
                  </a:lnTo>
                  <a:lnTo>
                    <a:pt x="1393" y="297"/>
                  </a:lnTo>
                  <a:lnTo>
                    <a:pt x="1393" y="297"/>
                  </a:lnTo>
                  <a:lnTo>
                    <a:pt x="1391" y="297"/>
                  </a:lnTo>
                  <a:lnTo>
                    <a:pt x="1391" y="297"/>
                  </a:lnTo>
                  <a:lnTo>
                    <a:pt x="1391" y="297"/>
                  </a:lnTo>
                  <a:lnTo>
                    <a:pt x="1391" y="297"/>
                  </a:lnTo>
                  <a:lnTo>
                    <a:pt x="1391" y="297"/>
                  </a:lnTo>
                  <a:lnTo>
                    <a:pt x="1389" y="300"/>
                  </a:lnTo>
                  <a:lnTo>
                    <a:pt x="1389" y="300"/>
                  </a:lnTo>
                  <a:lnTo>
                    <a:pt x="1389" y="300"/>
                  </a:lnTo>
                  <a:lnTo>
                    <a:pt x="1389" y="300"/>
                  </a:lnTo>
                  <a:lnTo>
                    <a:pt x="1391" y="300"/>
                  </a:lnTo>
                  <a:lnTo>
                    <a:pt x="1391" y="297"/>
                  </a:lnTo>
                  <a:lnTo>
                    <a:pt x="1391" y="297"/>
                  </a:lnTo>
                  <a:lnTo>
                    <a:pt x="1391" y="297"/>
                  </a:lnTo>
                  <a:lnTo>
                    <a:pt x="1393" y="300"/>
                  </a:lnTo>
                  <a:lnTo>
                    <a:pt x="1393" y="300"/>
                  </a:lnTo>
                  <a:lnTo>
                    <a:pt x="1393" y="300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6" y="302"/>
                  </a:lnTo>
                  <a:lnTo>
                    <a:pt x="1393" y="302"/>
                  </a:lnTo>
                  <a:lnTo>
                    <a:pt x="1393" y="302"/>
                  </a:lnTo>
                  <a:lnTo>
                    <a:pt x="1393" y="302"/>
                  </a:lnTo>
                  <a:lnTo>
                    <a:pt x="1393" y="302"/>
                  </a:lnTo>
                  <a:lnTo>
                    <a:pt x="1393" y="302"/>
                  </a:lnTo>
                  <a:lnTo>
                    <a:pt x="1393" y="302"/>
                  </a:lnTo>
                  <a:lnTo>
                    <a:pt x="1391" y="302"/>
                  </a:lnTo>
                  <a:lnTo>
                    <a:pt x="1391" y="302"/>
                  </a:lnTo>
                  <a:lnTo>
                    <a:pt x="1391" y="302"/>
                  </a:lnTo>
                  <a:lnTo>
                    <a:pt x="1391" y="302"/>
                  </a:lnTo>
                  <a:lnTo>
                    <a:pt x="1391" y="302"/>
                  </a:lnTo>
                  <a:lnTo>
                    <a:pt x="1391" y="302"/>
                  </a:lnTo>
                  <a:lnTo>
                    <a:pt x="1389" y="304"/>
                  </a:lnTo>
                  <a:lnTo>
                    <a:pt x="1389" y="304"/>
                  </a:lnTo>
                  <a:lnTo>
                    <a:pt x="1389" y="304"/>
                  </a:lnTo>
                  <a:lnTo>
                    <a:pt x="1391" y="304"/>
                  </a:lnTo>
                  <a:lnTo>
                    <a:pt x="1391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8" y="304"/>
                  </a:lnTo>
                  <a:lnTo>
                    <a:pt x="1398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6" y="304"/>
                  </a:lnTo>
                  <a:lnTo>
                    <a:pt x="1393" y="304"/>
                  </a:lnTo>
                  <a:lnTo>
                    <a:pt x="1393" y="304"/>
                  </a:lnTo>
                  <a:lnTo>
                    <a:pt x="1393" y="304"/>
                  </a:lnTo>
                  <a:lnTo>
                    <a:pt x="1393" y="304"/>
                  </a:lnTo>
                  <a:lnTo>
                    <a:pt x="1393" y="304"/>
                  </a:lnTo>
                  <a:lnTo>
                    <a:pt x="1391" y="304"/>
                  </a:lnTo>
                  <a:lnTo>
                    <a:pt x="1391" y="304"/>
                  </a:lnTo>
                  <a:lnTo>
                    <a:pt x="1391" y="304"/>
                  </a:lnTo>
                  <a:lnTo>
                    <a:pt x="1391" y="306"/>
                  </a:lnTo>
                  <a:lnTo>
                    <a:pt x="1391" y="306"/>
                  </a:lnTo>
                  <a:lnTo>
                    <a:pt x="1389" y="306"/>
                  </a:lnTo>
                  <a:lnTo>
                    <a:pt x="1389" y="306"/>
                  </a:lnTo>
                  <a:lnTo>
                    <a:pt x="1389" y="306"/>
                  </a:lnTo>
                  <a:lnTo>
                    <a:pt x="1389" y="306"/>
                  </a:lnTo>
                  <a:lnTo>
                    <a:pt x="1387" y="306"/>
                  </a:lnTo>
                  <a:lnTo>
                    <a:pt x="1387" y="304"/>
                  </a:lnTo>
                  <a:lnTo>
                    <a:pt x="1387" y="304"/>
                  </a:lnTo>
                  <a:lnTo>
                    <a:pt x="1387" y="304"/>
                  </a:lnTo>
                  <a:lnTo>
                    <a:pt x="1387" y="304"/>
                  </a:lnTo>
                  <a:lnTo>
                    <a:pt x="1387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4" y="304"/>
                  </a:lnTo>
                  <a:lnTo>
                    <a:pt x="1382" y="304"/>
                  </a:lnTo>
                  <a:lnTo>
                    <a:pt x="1382" y="302"/>
                  </a:lnTo>
                  <a:lnTo>
                    <a:pt x="1382" y="302"/>
                  </a:lnTo>
                  <a:lnTo>
                    <a:pt x="1380" y="302"/>
                  </a:lnTo>
                  <a:lnTo>
                    <a:pt x="1380" y="302"/>
                  </a:lnTo>
                  <a:lnTo>
                    <a:pt x="1380" y="302"/>
                  </a:lnTo>
                  <a:lnTo>
                    <a:pt x="1380" y="304"/>
                  </a:lnTo>
                  <a:lnTo>
                    <a:pt x="1380" y="304"/>
                  </a:lnTo>
                  <a:lnTo>
                    <a:pt x="1380" y="304"/>
                  </a:lnTo>
                  <a:lnTo>
                    <a:pt x="1378" y="304"/>
                  </a:lnTo>
                  <a:lnTo>
                    <a:pt x="1378" y="304"/>
                  </a:lnTo>
                  <a:lnTo>
                    <a:pt x="1378" y="304"/>
                  </a:lnTo>
                  <a:lnTo>
                    <a:pt x="1378" y="304"/>
                  </a:lnTo>
                  <a:lnTo>
                    <a:pt x="1378" y="304"/>
                  </a:lnTo>
                  <a:lnTo>
                    <a:pt x="1378" y="304"/>
                  </a:lnTo>
                  <a:lnTo>
                    <a:pt x="1380" y="304"/>
                  </a:lnTo>
                  <a:lnTo>
                    <a:pt x="1380" y="304"/>
                  </a:lnTo>
                  <a:lnTo>
                    <a:pt x="1380" y="304"/>
                  </a:lnTo>
                  <a:lnTo>
                    <a:pt x="1380" y="304"/>
                  </a:lnTo>
                  <a:lnTo>
                    <a:pt x="1382" y="304"/>
                  </a:lnTo>
                  <a:lnTo>
                    <a:pt x="1382" y="304"/>
                  </a:lnTo>
                  <a:lnTo>
                    <a:pt x="1382" y="304"/>
                  </a:lnTo>
                  <a:lnTo>
                    <a:pt x="1382" y="304"/>
                  </a:lnTo>
                  <a:lnTo>
                    <a:pt x="1382" y="304"/>
                  </a:lnTo>
                  <a:lnTo>
                    <a:pt x="1382" y="306"/>
                  </a:lnTo>
                  <a:lnTo>
                    <a:pt x="1382" y="306"/>
                  </a:lnTo>
                  <a:lnTo>
                    <a:pt x="1382" y="306"/>
                  </a:lnTo>
                  <a:lnTo>
                    <a:pt x="1380" y="306"/>
                  </a:lnTo>
                  <a:lnTo>
                    <a:pt x="1378" y="306"/>
                  </a:lnTo>
                  <a:lnTo>
                    <a:pt x="1378" y="306"/>
                  </a:lnTo>
                  <a:lnTo>
                    <a:pt x="1378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4"/>
                  </a:lnTo>
                  <a:lnTo>
                    <a:pt x="1375" y="304"/>
                  </a:lnTo>
                  <a:lnTo>
                    <a:pt x="1375" y="304"/>
                  </a:lnTo>
                  <a:lnTo>
                    <a:pt x="1373" y="304"/>
                  </a:lnTo>
                  <a:lnTo>
                    <a:pt x="1373" y="304"/>
                  </a:lnTo>
                  <a:lnTo>
                    <a:pt x="1375" y="304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6"/>
                  </a:lnTo>
                  <a:lnTo>
                    <a:pt x="1375" y="309"/>
                  </a:lnTo>
                  <a:lnTo>
                    <a:pt x="1375" y="309"/>
                  </a:lnTo>
                  <a:lnTo>
                    <a:pt x="1378" y="306"/>
                  </a:lnTo>
                  <a:lnTo>
                    <a:pt x="1378" y="306"/>
                  </a:lnTo>
                  <a:lnTo>
                    <a:pt x="1380" y="306"/>
                  </a:lnTo>
                  <a:lnTo>
                    <a:pt x="1380" y="306"/>
                  </a:lnTo>
                  <a:lnTo>
                    <a:pt x="1380" y="309"/>
                  </a:lnTo>
                  <a:lnTo>
                    <a:pt x="1380" y="309"/>
                  </a:lnTo>
                  <a:lnTo>
                    <a:pt x="1380" y="309"/>
                  </a:lnTo>
                  <a:lnTo>
                    <a:pt x="1380" y="309"/>
                  </a:lnTo>
                  <a:lnTo>
                    <a:pt x="1382" y="309"/>
                  </a:lnTo>
                  <a:lnTo>
                    <a:pt x="1384" y="309"/>
                  </a:lnTo>
                  <a:lnTo>
                    <a:pt x="1384" y="309"/>
                  </a:lnTo>
                  <a:lnTo>
                    <a:pt x="1384" y="309"/>
                  </a:lnTo>
                  <a:lnTo>
                    <a:pt x="1382" y="309"/>
                  </a:lnTo>
                  <a:lnTo>
                    <a:pt x="1382" y="309"/>
                  </a:lnTo>
                  <a:lnTo>
                    <a:pt x="1384" y="309"/>
                  </a:lnTo>
                  <a:lnTo>
                    <a:pt x="1384" y="309"/>
                  </a:lnTo>
                  <a:lnTo>
                    <a:pt x="1384" y="309"/>
                  </a:lnTo>
                  <a:lnTo>
                    <a:pt x="1384" y="309"/>
                  </a:lnTo>
                  <a:lnTo>
                    <a:pt x="1384" y="309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7" y="311"/>
                  </a:lnTo>
                  <a:lnTo>
                    <a:pt x="1387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4" y="311"/>
                  </a:lnTo>
                  <a:lnTo>
                    <a:pt x="1382" y="311"/>
                  </a:lnTo>
                  <a:lnTo>
                    <a:pt x="1382" y="311"/>
                  </a:lnTo>
                  <a:lnTo>
                    <a:pt x="1382" y="311"/>
                  </a:lnTo>
                  <a:lnTo>
                    <a:pt x="1382" y="311"/>
                  </a:lnTo>
                  <a:lnTo>
                    <a:pt x="1380" y="313"/>
                  </a:lnTo>
                  <a:lnTo>
                    <a:pt x="1380" y="313"/>
                  </a:lnTo>
                  <a:lnTo>
                    <a:pt x="1380" y="313"/>
                  </a:lnTo>
                  <a:lnTo>
                    <a:pt x="1380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8" y="311"/>
                  </a:lnTo>
                  <a:lnTo>
                    <a:pt x="1375" y="311"/>
                  </a:lnTo>
                  <a:lnTo>
                    <a:pt x="1375" y="311"/>
                  </a:lnTo>
                  <a:lnTo>
                    <a:pt x="1375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3" y="311"/>
                  </a:lnTo>
                  <a:lnTo>
                    <a:pt x="1371" y="311"/>
                  </a:lnTo>
                  <a:lnTo>
                    <a:pt x="1371" y="311"/>
                  </a:lnTo>
                  <a:lnTo>
                    <a:pt x="1373" y="309"/>
                  </a:lnTo>
                  <a:lnTo>
                    <a:pt x="1373" y="309"/>
                  </a:lnTo>
                  <a:lnTo>
                    <a:pt x="1371" y="309"/>
                  </a:lnTo>
                  <a:lnTo>
                    <a:pt x="1371" y="309"/>
                  </a:lnTo>
                  <a:lnTo>
                    <a:pt x="1369" y="309"/>
                  </a:lnTo>
                  <a:lnTo>
                    <a:pt x="1369" y="309"/>
                  </a:lnTo>
                  <a:lnTo>
                    <a:pt x="1369" y="309"/>
                  </a:lnTo>
                  <a:lnTo>
                    <a:pt x="1371" y="309"/>
                  </a:lnTo>
                  <a:lnTo>
                    <a:pt x="1371" y="309"/>
                  </a:lnTo>
                  <a:lnTo>
                    <a:pt x="1371" y="309"/>
                  </a:lnTo>
                  <a:lnTo>
                    <a:pt x="1371" y="309"/>
                  </a:lnTo>
                  <a:lnTo>
                    <a:pt x="1371" y="309"/>
                  </a:lnTo>
                  <a:lnTo>
                    <a:pt x="1371" y="311"/>
                  </a:lnTo>
                  <a:lnTo>
                    <a:pt x="1371" y="311"/>
                  </a:lnTo>
                  <a:lnTo>
                    <a:pt x="1371" y="311"/>
                  </a:lnTo>
                  <a:lnTo>
                    <a:pt x="1371" y="311"/>
                  </a:lnTo>
                  <a:lnTo>
                    <a:pt x="1371" y="311"/>
                  </a:lnTo>
                  <a:lnTo>
                    <a:pt x="1375" y="311"/>
                  </a:lnTo>
                  <a:lnTo>
                    <a:pt x="1378" y="311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3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8" y="315"/>
                  </a:lnTo>
                  <a:lnTo>
                    <a:pt x="1375" y="315"/>
                  </a:lnTo>
                  <a:lnTo>
                    <a:pt x="1375" y="315"/>
                  </a:lnTo>
                  <a:lnTo>
                    <a:pt x="1373" y="315"/>
                  </a:lnTo>
                  <a:lnTo>
                    <a:pt x="1375" y="315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3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3"/>
                  </a:lnTo>
                  <a:lnTo>
                    <a:pt x="1371" y="313"/>
                  </a:lnTo>
                  <a:lnTo>
                    <a:pt x="1371" y="313"/>
                  </a:lnTo>
                  <a:lnTo>
                    <a:pt x="1371" y="313"/>
                  </a:lnTo>
                  <a:lnTo>
                    <a:pt x="1371" y="313"/>
                  </a:lnTo>
                  <a:lnTo>
                    <a:pt x="1371" y="313"/>
                  </a:lnTo>
                  <a:lnTo>
                    <a:pt x="1369" y="313"/>
                  </a:lnTo>
                  <a:lnTo>
                    <a:pt x="1369" y="313"/>
                  </a:lnTo>
                  <a:lnTo>
                    <a:pt x="1369" y="313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1" y="315"/>
                  </a:lnTo>
                  <a:lnTo>
                    <a:pt x="1373" y="315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3" y="318"/>
                  </a:lnTo>
                  <a:lnTo>
                    <a:pt x="1371" y="318"/>
                  </a:lnTo>
                  <a:lnTo>
                    <a:pt x="1371" y="318"/>
                  </a:lnTo>
                  <a:lnTo>
                    <a:pt x="1369" y="318"/>
                  </a:lnTo>
                  <a:lnTo>
                    <a:pt x="1369" y="318"/>
                  </a:lnTo>
                  <a:lnTo>
                    <a:pt x="1369" y="318"/>
                  </a:lnTo>
                  <a:lnTo>
                    <a:pt x="1369" y="318"/>
                  </a:lnTo>
                  <a:lnTo>
                    <a:pt x="1371" y="318"/>
                  </a:lnTo>
                  <a:lnTo>
                    <a:pt x="1371" y="318"/>
                  </a:lnTo>
                  <a:lnTo>
                    <a:pt x="1371" y="318"/>
                  </a:lnTo>
                  <a:lnTo>
                    <a:pt x="1371" y="318"/>
                  </a:lnTo>
                  <a:lnTo>
                    <a:pt x="1371" y="318"/>
                  </a:lnTo>
                  <a:lnTo>
                    <a:pt x="1371" y="320"/>
                  </a:lnTo>
                  <a:lnTo>
                    <a:pt x="1371" y="320"/>
                  </a:lnTo>
                  <a:lnTo>
                    <a:pt x="1371" y="320"/>
                  </a:lnTo>
                  <a:lnTo>
                    <a:pt x="1371" y="320"/>
                  </a:lnTo>
                  <a:lnTo>
                    <a:pt x="1371" y="320"/>
                  </a:lnTo>
                  <a:lnTo>
                    <a:pt x="1369" y="320"/>
                  </a:lnTo>
                  <a:lnTo>
                    <a:pt x="1371" y="320"/>
                  </a:lnTo>
                  <a:lnTo>
                    <a:pt x="1371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9" y="320"/>
                  </a:lnTo>
                  <a:lnTo>
                    <a:pt x="1369" y="320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9" y="318"/>
                  </a:lnTo>
                  <a:lnTo>
                    <a:pt x="1369" y="318"/>
                  </a:lnTo>
                  <a:lnTo>
                    <a:pt x="1369" y="318"/>
                  </a:lnTo>
                  <a:lnTo>
                    <a:pt x="1366" y="318"/>
                  </a:lnTo>
                  <a:lnTo>
                    <a:pt x="1366" y="318"/>
                  </a:lnTo>
                  <a:lnTo>
                    <a:pt x="1366" y="318"/>
                  </a:lnTo>
                  <a:lnTo>
                    <a:pt x="1366" y="318"/>
                  </a:lnTo>
                  <a:lnTo>
                    <a:pt x="1366" y="318"/>
                  </a:lnTo>
                  <a:lnTo>
                    <a:pt x="1366" y="318"/>
                  </a:lnTo>
                  <a:lnTo>
                    <a:pt x="1366" y="318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6" y="320"/>
                  </a:lnTo>
                  <a:lnTo>
                    <a:pt x="1364" y="320"/>
                  </a:lnTo>
                  <a:lnTo>
                    <a:pt x="1364" y="320"/>
                  </a:lnTo>
                  <a:lnTo>
                    <a:pt x="1364" y="320"/>
                  </a:lnTo>
                  <a:lnTo>
                    <a:pt x="1364" y="320"/>
                  </a:lnTo>
                  <a:lnTo>
                    <a:pt x="1364" y="320"/>
                  </a:lnTo>
                  <a:lnTo>
                    <a:pt x="1364" y="320"/>
                  </a:lnTo>
                  <a:lnTo>
                    <a:pt x="1364" y="320"/>
                  </a:lnTo>
                  <a:lnTo>
                    <a:pt x="1362" y="320"/>
                  </a:lnTo>
                  <a:lnTo>
                    <a:pt x="1362" y="320"/>
                  </a:lnTo>
                  <a:lnTo>
                    <a:pt x="1362" y="320"/>
                  </a:lnTo>
                  <a:lnTo>
                    <a:pt x="1362" y="320"/>
                  </a:lnTo>
                  <a:lnTo>
                    <a:pt x="1362" y="320"/>
                  </a:lnTo>
                  <a:lnTo>
                    <a:pt x="1362" y="318"/>
                  </a:lnTo>
                  <a:lnTo>
                    <a:pt x="1362" y="318"/>
                  </a:lnTo>
                  <a:lnTo>
                    <a:pt x="1362" y="318"/>
                  </a:lnTo>
                  <a:lnTo>
                    <a:pt x="1362" y="318"/>
                  </a:lnTo>
                  <a:lnTo>
                    <a:pt x="1362" y="318"/>
                  </a:lnTo>
                  <a:lnTo>
                    <a:pt x="1362" y="315"/>
                  </a:lnTo>
                  <a:lnTo>
                    <a:pt x="1360" y="315"/>
                  </a:lnTo>
                  <a:lnTo>
                    <a:pt x="1360" y="315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3"/>
                  </a:lnTo>
                  <a:lnTo>
                    <a:pt x="1360" y="315"/>
                  </a:lnTo>
                  <a:lnTo>
                    <a:pt x="1360" y="315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60" y="318"/>
                  </a:lnTo>
                  <a:lnTo>
                    <a:pt x="1357" y="318"/>
                  </a:lnTo>
                  <a:lnTo>
                    <a:pt x="1355" y="318"/>
                  </a:lnTo>
                  <a:lnTo>
                    <a:pt x="1355" y="318"/>
                  </a:lnTo>
                  <a:lnTo>
                    <a:pt x="1355" y="318"/>
                  </a:lnTo>
                  <a:lnTo>
                    <a:pt x="1355" y="318"/>
                  </a:lnTo>
                  <a:lnTo>
                    <a:pt x="1355" y="318"/>
                  </a:lnTo>
                  <a:lnTo>
                    <a:pt x="1353" y="318"/>
                  </a:lnTo>
                  <a:lnTo>
                    <a:pt x="1353" y="318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7" y="320"/>
                  </a:lnTo>
                  <a:lnTo>
                    <a:pt x="1357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60" y="320"/>
                  </a:lnTo>
                  <a:lnTo>
                    <a:pt x="1357" y="322"/>
                  </a:lnTo>
                  <a:lnTo>
                    <a:pt x="1357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0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5" y="322"/>
                  </a:lnTo>
                  <a:lnTo>
                    <a:pt x="1357" y="324"/>
                  </a:lnTo>
                  <a:lnTo>
                    <a:pt x="1357" y="324"/>
                  </a:lnTo>
                  <a:lnTo>
                    <a:pt x="1357" y="324"/>
                  </a:lnTo>
                  <a:lnTo>
                    <a:pt x="1357" y="324"/>
                  </a:lnTo>
                  <a:lnTo>
                    <a:pt x="1357" y="324"/>
                  </a:lnTo>
                  <a:lnTo>
                    <a:pt x="1357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3" y="322"/>
                  </a:lnTo>
                  <a:lnTo>
                    <a:pt x="1353" y="322"/>
                  </a:lnTo>
                  <a:lnTo>
                    <a:pt x="1353" y="322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3" y="324"/>
                  </a:lnTo>
                  <a:lnTo>
                    <a:pt x="1353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4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3" y="327"/>
                  </a:lnTo>
                  <a:lnTo>
                    <a:pt x="1353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5" y="327"/>
                  </a:lnTo>
                  <a:lnTo>
                    <a:pt x="1353" y="327"/>
                  </a:lnTo>
                  <a:lnTo>
                    <a:pt x="1353" y="327"/>
                  </a:lnTo>
                  <a:lnTo>
                    <a:pt x="1353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5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3" y="329"/>
                  </a:lnTo>
                  <a:lnTo>
                    <a:pt x="1355" y="329"/>
                  </a:lnTo>
                  <a:lnTo>
                    <a:pt x="1353" y="329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1" y="331"/>
                  </a:lnTo>
                  <a:lnTo>
                    <a:pt x="1351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3" y="331"/>
                  </a:lnTo>
                  <a:lnTo>
                    <a:pt x="1351" y="331"/>
                  </a:lnTo>
                  <a:lnTo>
                    <a:pt x="1351" y="331"/>
                  </a:lnTo>
                  <a:lnTo>
                    <a:pt x="1351" y="331"/>
                  </a:lnTo>
                  <a:lnTo>
                    <a:pt x="1351" y="333"/>
                  </a:lnTo>
                  <a:lnTo>
                    <a:pt x="1351" y="333"/>
                  </a:lnTo>
                  <a:lnTo>
                    <a:pt x="1351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51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6"/>
                  </a:lnTo>
                  <a:lnTo>
                    <a:pt x="1348" y="336"/>
                  </a:lnTo>
                  <a:lnTo>
                    <a:pt x="1348" y="336"/>
                  </a:lnTo>
                  <a:lnTo>
                    <a:pt x="1348" y="336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8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4" y="333"/>
                  </a:lnTo>
                  <a:lnTo>
                    <a:pt x="1344" y="333"/>
                  </a:lnTo>
                  <a:lnTo>
                    <a:pt x="1344" y="333"/>
                  </a:lnTo>
                  <a:lnTo>
                    <a:pt x="1344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4" y="333"/>
                  </a:lnTo>
                  <a:lnTo>
                    <a:pt x="1344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3"/>
                  </a:lnTo>
                  <a:lnTo>
                    <a:pt x="1346" y="331"/>
                  </a:lnTo>
                  <a:lnTo>
                    <a:pt x="1346" y="331"/>
                  </a:lnTo>
                  <a:lnTo>
                    <a:pt x="1348" y="331"/>
                  </a:lnTo>
                  <a:lnTo>
                    <a:pt x="1348" y="331"/>
                  </a:lnTo>
                  <a:lnTo>
                    <a:pt x="1346" y="331"/>
                  </a:lnTo>
                  <a:lnTo>
                    <a:pt x="1346" y="331"/>
                  </a:lnTo>
                  <a:lnTo>
                    <a:pt x="1346" y="331"/>
                  </a:lnTo>
                  <a:lnTo>
                    <a:pt x="1346" y="331"/>
                  </a:lnTo>
                  <a:lnTo>
                    <a:pt x="1344" y="331"/>
                  </a:lnTo>
                  <a:lnTo>
                    <a:pt x="1344" y="331"/>
                  </a:lnTo>
                  <a:lnTo>
                    <a:pt x="1344" y="331"/>
                  </a:lnTo>
                  <a:lnTo>
                    <a:pt x="1344" y="331"/>
                  </a:lnTo>
                  <a:lnTo>
                    <a:pt x="1346" y="331"/>
                  </a:lnTo>
                  <a:lnTo>
                    <a:pt x="1346" y="331"/>
                  </a:lnTo>
                  <a:lnTo>
                    <a:pt x="1346" y="329"/>
                  </a:lnTo>
                  <a:lnTo>
                    <a:pt x="1348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6" y="329"/>
                  </a:lnTo>
                  <a:lnTo>
                    <a:pt x="1344" y="331"/>
                  </a:lnTo>
                  <a:lnTo>
                    <a:pt x="1344" y="331"/>
                  </a:lnTo>
                  <a:lnTo>
                    <a:pt x="1344" y="331"/>
                  </a:lnTo>
                  <a:lnTo>
                    <a:pt x="1344" y="331"/>
                  </a:lnTo>
                  <a:lnTo>
                    <a:pt x="1342" y="331"/>
                  </a:lnTo>
                  <a:lnTo>
                    <a:pt x="1342" y="331"/>
                  </a:lnTo>
                  <a:lnTo>
                    <a:pt x="1342" y="331"/>
                  </a:lnTo>
                  <a:lnTo>
                    <a:pt x="1342" y="331"/>
                  </a:lnTo>
                  <a:lnTo>
                    <a:pt x="1342" y="331"/>
                  </a:lnTo>
                  <a:lnTo>
                    <a:pt x="1342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39" y="331"/>
                  </a:lnTo>
                  <a:lnTo>
                    <a:pt x="1342" y="329"/>
                  </a:lnTo>
                  <a:lnTo>
                    <a:pt x="1342" y="329"/>
                  </a:lnTo>
                  <a:lnTo>
                    <a:pt x="1342" y="329"/>
                  </a:lnTo>
                  <a:lnTo>
                    <a:pt x="1344" y="329"/>
                  </a:lnTo>
                  <a:lnTo>
                    <a:pt x="1344" y="329"/>
                  </a:lnTo>
                  <a:lnTo>
                    <a:pt x="1342" y="329"/>
                  </a:lnTo>
                  <a:lnTo>
                    <a:pt x="1342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9" y="329"/>
                  </a:lnTo>
                  <a:lnTo>
                    <a:pt x="1337" y="329"/>
                  </a:lnTo>
                  <a:lnTo>
                    <a:pt x="1337" y="329"/>
                  </a:lnTo>
                  <a:lnTo>
                    <a:pt x="1337" y="329"/>
                  </a:lnTo>
                  <a:lnTo>
                    <a:pt x="1337" y="329"/>
                  </a:lnTo>
                  <a:lnTo>
                    <a:pt x="1337" y="329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4" y="324"/>
                  </a:lnTo>
                  <a:lnTo>
                    <a:pt x="1344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42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9" y="327"/>
                  </a:lnTo>
                  <a:lnTo>
                    <a:pt x="1337" y="327"/>
                  </a:lnTo>
                  <a:lnTo>
                    <a:pt x="1337" y="327"/>
                  </a:lnTo>
                  <a:lnTo>
                    <a:pt x="1337" y="327"/>
                  </a:lnTo>
                  <a:lnTo>
                    <a:pt x="1337" y="327"/>
                  </a:lnTo>
                  <a:lnTo>
                    <a:pt x="1337" y="329"/>
                  </a:lnTo>
                  <a:lnTo>
                    <a:pt x="1335" y="329"/>
                  </a:lnTo>
                  <a:lnTo>
                    <a:pt x="1335" y="331"/>
                  </a:lnTo>
                  <a:lnTo>
                    <a:pt x="1335" y="331"/>
                  </a:lnTo>
                  <a:lnTo>
                    <a:pt x="1335" y="331"/>
                  </a:lnTo>
                  <a:lnTo>
                    <a:pt x="1335" y="331"/>
                  </a:lnTo>
                  <a:lnTo>
                    <a:pt x="1335" y="329"/>
                  </a:lnTo>
                  <a:lnTo>
                    <a:pt x="1333" y="331"/>
                  </a:lnTo>
                  <a:lnTo>
                    <a:pt x="1333" y="331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5" y="329"/>
                  </a:lnTo>
                  <a:lnTo>
                    <a:pt x="1335" y="329"/>
                  </a:lnTo>
                  <a:lnTo>
                    <a:pt x="1335" y="329"/>
                  </a:lnTo>
                  <a:lnTo>
                    <a:pt x="1335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9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5" y="327"/>
                  </a:lnTo>
                  <a:lnTo>
                    <a:pt x="1335" y="327"/>
                  </a:lnTo>
                  <a:lnTo>
                    <a:pt x="1335" y="327"/>
                  </a:lnTo>
                  <a:lnTo>
                    <a:pt x="1335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0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3" y="327"/>
                  </a:lnTo>
                  <a:lnTo>
                    <a:pt x="1335" y="327"/>
                  </a:lnTo>
                  <a:lnTo>
                    <a:pt x="1335" y="324"/>
                  </a:lnTo>
                  <a:lnTo>
                    <a:pt x="1333" y="324"/>
                  </a:lnTo>
                  <a:lnTo>
                    <a:pt x="1330" y="327"/>
                  </a:lnTo>
                  <a:lnTo>
                    <a:pt x="1330" y="324"/>
                  </a:lnTo>
                  <a:lnTo>
                    <a:pt x="1333" y="324"/>
                  </a:lnTo>
                  <a:lnTo>
                    <a:pt x="1333" y="324"/>
                  </a:lnTo>
                  <a:lnTo>
                    <a:pt x="1335" y="324"/>
                  </a:lnTo>
                  <a:lnTo>
                    <a:pt x="1335" y="324"/>
                  </a:lnTo>
                  <a:lnTo>
                    <a:pt x="1337" y="324"/>
                  </a:lnTo>
                  <a:lnTo>
                    <a:pt x="1337" y="324"/>
                  </a:lnTo>
                  <a:lnTo>
                    <a:pt x="1337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42" y="322"/>
                  </a:lnTo>
                  <a:lnTo>
                    <a:pt x="1342" y="322"/>
                  </a:lnTo>
                  <a:lnTo>
                    <a:pt x="1339" y="322"/>
                  </a:lnTo>
                  <a:lnTo>
                    <a:pt x="1339" y="322"/>
                  </a:lnTo>
                  <a:lnTo>
                    <a:pt x="1339" y="322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4"/>
                  </a:lnTo>
                  <a:lnTo>
                    <a:pt x="1339" y="322"/>
                  </a:lnTo>
                  <a:lnTo>
                    <a:pt x="1339" y="322"/>
                  </a:lnTo>
                  <a:lnTo>
                    <a:pt x="1337" y="322"/>
                  </a:lnTo>
                  <a:lnTo>
                    <a:pt x="1337" y="322"/>
                  </a:lnTo>
                  <a:lnTo>
                    <a:pt x="1337" y="322"/>
                  </a:lnTo>
                  <a:lnTo>
                    <a:pt x="1337" y="322"/>
                  </a:lnTo>
                  <a:lnTo>
                    <a:pt x="1337" y="322"/>
                  </a:lnTo>
                  <a:lnTo>
                    <a:pt x="1337" y="324"/>
                  </a:lnTo>
                  <a:lnTo>
                    <a:pt x="1335" y="324"/>
                  </a:lnTo>
                  <a:lnTo>
                    <a:pt x="1335" y="324"/>
                  </a:lnTo>
                  <a:lnTo>
                    <a:pt x="1335" y="324"/>
                  </a:lnTo>
                  <a:lnTo>
                    <a:pt x="1335" y="324"/>
                  </a:lnTo>
                  <a:lnTo>
                    <a:pt x="1333" y="324"/>
                  </a:lnTo>
                  <a:lnTo>
                    <a:pt x="1333" y="324"/>
                  </a:lnTo>
                  <a:lnTo>
                    <a:pt x="1333" y="324"/>
                  </a:lnTo>
                  <a:lnTo>
                    <a:pt x="1330" y="324"/>
                  </a:lnTo>
                  <a:lnTo>
                    <a:pt x="1330" y="324"/>
                  </a:lnTo>
                  <a:lnTo>
                    <a:pt x="1330" y="324"/>
                  </a:lnTo>
                  <a:lnTo>
                    <a:pt x="1330" y="324"/>
                  </a:lnTo>
                  <a:lnTo>
                    <a:pt x="1330" y="324"/>
                  </a:lnTo>
                  <a:lnTo>
                    <a:pt x="1328" y="324"/>
                  </a:lnTo>
                  <a:lnTo>
                    <a:pt x="1328" y="324"/>
                  </a:lnTo>
                  <a:lnTo>
                    <a:pt x="1328" y="324"/>
                  </a:lnTo>
                  <a:lnTo>
                    <a:pt x="1328" y="324"/>
                  </a:lnTo>
                  <a:lnTo>
                    <a:pt x="1328" y="324"/>
                  </a:lnTo>
                  <a:lnTo>
                    <a:pt x="1328" y="322"/>
                  </a:lnTo>
                  <a:lnTo>
                    <a:pt x="1328" y="322"/>
                  </a:lnTo>
                  <a:lnTo>
                    <a:pt x="1328" y="322"/>
                  </a:lnTo>
                  <a:lnTo>
                    <a:pt x="1328" y="322"/>
                  </a:lnTo>
                  <a:lnTo>
                    <a:pt x="1330" y="322"/>
                  </a:lnTo>
                  <a:lnTo>
                    <a:pt x="1330" y="322"/>
                  </a:lnTo>
                  <a:lnTo>
                    <a:pt x="1333" y="322"/>
                  </a:lnTo>
                  <a:lnTo>
                    <a:pt x="1333" y="322"/>
                  </a:lnTo>
                  <a:lnTo>
                    <a:pt x="1333" y="322"/>
                  </a:lnTo>
                  <a:lnTo>
                    <a:pt x="1333" y="322"/>
                  </a:lnTo>
                  <a:lnTo>
                    <a:pt x="1333" y="322"/>
                  </a:lnTo>
                  <a:lnTo>
                    <a:pt x="1333" y="322"/>
                  </a:lnTo>
                  <a:lnTo>
                    <a:pt x="1335" y="322"/>
                  </a:lnTo>
                  <a:lnTo>
                    <a:pt x="1335" y="322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7" y="320"/>
                  </a:lnTo>
                  <a:lnTo>
                    <a:pt x="1337" y="320"/>
                  </a:lnTo>
                  <a:lnTo>
                    <a:pt x="1337" y="320"/>
                  </a:lnTo>
                  <a:lnTo>
                    <a:pt x="1337" y="320"/>
                  </a:lnTo>
                  <a:lnTo>
                    <a:pt x="1335" y="320"/>
                  </a:lnTo>
                  <a:lnTo>
                    <a:pt x="1335" y="320"/>
                  </a:lnTo>
                  <a:lnTo>
                    <a:pt x="1333" y="320"/>
                  </a:lnTo>
                  <a:lnTo>
                    <a:pt x="1333" y="322"/>
                  </a:lnTo>
                  <a:lnTo>
                    <a:pt x="1333" y="322"/>
                  </a:lnTo>
                  <a:lnTo>
                    <a:pt x="1330" y="322"/>
                  </a:lnTo>
                  <a:lnTo>
                    <a:pt x="1330" y="322"/>
                  </a:lnTo>
                  <a:lnTo>
                    <a:pt x="1328" y="322"/>
                  </a:lnTo>
                  <a:lnTo>
                    <a:pt x="1328" y="322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30" y="320"/>
                  </a:lnTo>
                  <a:lnTo>
                    <a:pt x="1330" y="320"/>
                  </a:lnTo>
                  <a:lnTo>
                    <a:pt x="1330" y="320"/>
                  </a:lnTo>
                  <a:lnTo>
                    <a:pt x="1328" y="320"/>
                  </a:lnTo>
                  <a:lnTo>
                    <a:pt x="1328" y="322"/>
                  </a:lnTo>
                  <a:lnTo>
                    <a:pt x="1326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28" y="320"/>
                  </a:lnTo>
                  <a:lnTo>
                    <a:pt x="1330" y="320"/>
                  </a:lnTo>
                  <a:lnTo>
                    <a:pt x="1330" y="320"/>
                  </a:lnTo>
                  <a:lnTo>
                    <a:pt x="1330" y="320"/>
                  </a:lnTo>
                  <a:lnTo>
                    <a:pt x="1330" y="320"/>
                  </a:lnTo>
                  <a:lnTo>
                    <a:pt x="1333" y="318"/>
                  </a:lnTo>
                  <a:lnTo>
                    <a:pt x="1333" y="318"/>
                  </a:lnTo>
                  <a:lnTo>
                    <a:pt x="1333" y="318"/>
                  </a:lnTo>
                  <a:lnTo>
                    <a:pt x="1335" y="318"/>
                  </a:lnTo>
                  <a:lnTo>
                    <a:pt x="1335" y="318"/>
                  </a:lnTo>
                  <a:lnTo>
                    <a:pt x="1337" y="318"/>
                  </a:lnTo>
                  <a:lnTo>
                    <a:pt x="1337" y="318"/>
                  </a:lnTo>
                  <a:lnTo>
                    <a:pt x="1337" y="318"/>
                  </a:lnTo>
                  <a:lnTo>
                    <a:pt x="1337" y="318"/>
                  </a:lnTo>
                  <a:lnTo>
                    <a:pt x="1335" y="318"/>
                  </a:lnTo>
                  <a:lnTo>
                    <a:pt x="1333" y="318"/>
                  </a:lnTo>
                  <a:lnTo>
                    <a:pt x="1333" y="318"/>
                  </a:lnTo>
                  <a:lnTo>
                    <a:pt x="1330" y="318"/>
                  </a:lnTo>
                  <a:lnTo>
                    <a:pt x="1330" y="320"/>
                  </a:lnTo>
                  <a:lnTo>
                    <a:pt x="1330" y="320"/>
                  </a:lnTo>
                  <a:lnTo>
                    <a:pt x="1326" y="318"/>
                  </a:lnTo>
                  <a:lnTo>
                    <a:pt x="1326" y="318"/>
                  </a:lnTo>
                  <a:lnTo>
                    <a:pt x="1328" y="318"/>
                  </a:lnTo>
                  <a:lnTo>
                    <a:pt x="1328" y="318"/>
                  </a:lnTo>
                  <a:lnTo>
                    <a:pt x="1328" y="318"/>
                  </a:lnTo>
                  <a:lnTo>
                    <a:pt x="1328" y="315"/>
                  </a:lnTo>
                  <a:lnTo>
                    <a:pt x="1328" y="315"/>
                  </a:lnTo>
                  <a:lnTo>
                    <a:pt x="1328" y="315"/>
                  </a:lnTo>
                  <a:lnTo>
                    <a:pt x="1328" y="315"/>
                  </a:lnTo>
                  <a:lnTo>
                    <a:pt x="1328" y="318"/>
                  </a:lnTo>
                  <a:lnTo>
                    <a:pt x="1326" y="318"/>
                  </a:lnTo>
                  <a:lnTo>
                    <a:pt x="1326" y="318"/>
                  </a:lnTo>
                  <a:lnTo>
                    <a:pt x="1326" y="318"/>
                  </a:lnTo>
                  <a:lnTo>
                    <a:pt x="1326" y="318"/>
                  </a:lnTo>
                  <a:lnTo>
                    <a:pt x="1326" y="315"/>
                  </a:lnTo>
                  <a:lnTo>
                    <a:pt x="1328" y="315"/>
                  </a:lnTo>
                  <a:lnTo>
                    <a:pt x="1328" y="315"/>
                  </a:lnTo>
                  <a:lnTo>
                    <a:pt x="1328" y="315"/>
                  </a:lnTo>
                  <a:lnTo>
                    <a:pt x="1330" y="313"/>
                  </a:lnTo>
                  <a:lnTo>
                    <a:pt x="1330" y="313"/>
                  </a:lnTo>
                  <a:lnTo>
                    <a:pt x="1330" y="313"/>
                  </a:lnTo>
                  <a:lnTo>
                    <a:pt x="1330" y="313"/>
                  </a:lnTo>
                  <a:lnTo>
                    <a:pt x="1333" y="313"/>
                  </a:lnTo>
                  <a:lnTo>
                    <a:pt x="1333" y="313"/>
                  </a:lnTo>
                  <a:lnTo>
                    <a:pt x="1333" y="313"/>
                  </a:lnTo>
                  <a:lnTo>
                    <a:pt x="1335" y="313"/>
                  </a:lnTo>
                  <a:lnTo>
                    <a:pt x="1335" y="313"/>
                  </a:lnTo>
                  <a:lnTo>
                    <a:pt x="1335" y="313"/>
                  </a:lnTo>
                  <a:lnTo>
                    <a:pt x="1335" y="313"/>
                  </a:lnTo>
                  <a:lnTo>
                    <a:pt x="1335" y="313"/>
                  </a:lnTo>
                  <a:lnTo>
                    <a:pt x="1337" y="311"/>
                  </a:lnTo>
                  <a:lnTo>
                    <a:pt x="1337" y="311"/>
                  </a:lnTo>
                  <a:lnTo>
                    <a:pt x="1339" y="311"/>
                  </a:lnTo>
                  <a:lnTo>
                    <a:pt x="1339" y="313"/>
                  </a:lnTo>
                  <a:lnTo>
                    <a:pt x="1339" y="313"/>
                  </a:lnTo>
                  <a:lnTo>
                    <a:pt x="1339" y="313"/>
                  </a:lnTo>
                  <a:lnTo>
                    <a:pt x="1339" y="313"/>
                  </a:lnTo>
                  <a:lnTo>
                    <a:pt x="1342" y="313"/>
                  </a:lnTo>
                  <a:lnTo>
                    <a:pt x="1342" y="313"/>
                  </a:lnTo>
                  <a:lnTo>
                    <a:pt x="1342" y="313"/>
                  </a:lnTo>
                  <a:lnTo>
                    <a:pt x="1342" y="311"/>
                  </a:lnTo>
                  <a:lnTo>
                    <a:pt x="1342" y="311"/>
                  </a:lnTo>
                  <a:lnTo>
                    <a:pt x="1339" y="311"/>
                  </a:lnTo>
                  <a:lnTo>
                    <a:pt x="1339" y="311"/>
                  </a:lnTo>
                  <a:lnTo>
                    <a:pt x="1339" y="311"/>
                  </a:lnTo>
                  <a:lnTo>
                    <a:pt x="1339" y="311"/>
                  </a:lnTo>
                  <a:lnTo>
                    <a:pt x="1339" y="311"/>
                  </a:lnTo>
                  <a:lnTo>
                    <a:pt x="1342" y="311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4" y="309"/>
                  </a:lnTo>
                  <a:lnTo>
                    <a:pt x="1344" y="309"/>
                  </a:lnTo>
                  <a:lnTo>
                    <a:pt x="1344" y="306"/>
                  </a:lnTo>
                  <a:lnTo>
                    <a:pt x="1346" y="306"/>
                  </a:lnTo>
                  <a:lnTo>
                    <a:pt x="1346" y="306"/>
                  </a:lnTo>
                  <a:lnTo>
                    <a:pt x="1348" y="306"/>
                  </a:lnTo>
                  <a:lnTo>
                    <a:pt x="1348" y="306"/>
                  </a:lnTo>
                  <a:lnTo>
                    <a:pt x="1348" y="306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51" y="304"/>
                  </a:lnTo>
                  <a:lnTo>
                    <a:pt x="1348" y="304"/>
                  </a:lnTo>
                  <a:lnTo>
                    <a:pt x="1348" y="304"/>
                  </a:lnTo>
                  <a:lnTo>
                    <a:pt x="1348" y="304"/>
                  </a:lnTo>
                  <a:lnTo>
                    <a:pt x="1348" y="304"/>
                  </a:lnTo>
                  <a:lnTo>
                    <a:pt x="1348" y="304"/>
                  </a:lnTo>
                  <a:lnTo>
                    <a:pt x="1346" y="306"/>
                  </a:lnTo>
                  <a:lnTo>
                    <a:pt x="1346" y="306"/>
                  </a:lnTo>
                  <a:lnTo>
                    <a:pt x="1344" y="306"/>
                  </a:lnTo>
                  <a:lnTo>
                    <a:pt x="1344" y="306"/>
                  </a:lnTo>
                  <a:lnTo>
                    <a:pt x="1344" y="306"/>
                  </a:lnTo>
                  <a:lnTo>
                    <a:pt x="1342" y="306"/>
                  </a:lnTo>
                  <a:lnTo>
                    <a:pt x="1342" y="306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42" y="309"/>
                  </a:lnTo>
                  <a:lnTo>
                    <a:pt x="1339" y="309"/>
                  </a:lnTo>
                  <a:lnTo>
                    <a:pt x="1339" y="311"/>
                  </a:lnTo>
                  <a:lnTo>
                    <a:pt x="1339" y="311"/>
                  </a:lnTo>
                  <a:lnTo>
                    <a:pt x="1339" y="311"/>
                  </a:lnTo>
                  <a:lnTo>
                    <a:pt x="1337" y="311"/>
                  </a:lnTo>
                  <a:lnTo>
                    <a:pt x="1337" y="311"/>
                  </a:lnTo>
                  <a:lnTo>
                    <a:pt x="1337" y="311"/>
                  </a:lnTo>
                  <a:lnTo>
                    <a:pt x="1335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3" y="311"/>
                  </a:lnTo>
                  <a:lnTo>
                    <a:pt x="1330" y="311"/>
                  </a:lnTo>
                  <a:lnTo>
                    <a:pt x="1330" y="313"/>
                  </a:lnTo>
                  <a:lnTo>
                    <a:pt x="1330" y="313"/>
                  </a:lnTo>
                  <a:lnTo>
                    <a:pt x="1326" y="313"/>
                  </a:lnTo>
                  <a:lnTo>
                    <a:pt x="1324" y="313"/>
                  </a:lnTo>
                  <a:lnTo>
                    <a:pt x="1324" y="313"/>
                  </a:lnTo>
                  <a:lnTo>
                    <a:pt x="1321" y="313"/>
                  </a:lnTo>
                  <a:lnTo>
                    <a:pt x="1321" y="313"/>
                  </a:lnTo>
                  <a:lnTo>
                    <a:pt x="1321" y="313"/>
                  </a:lnTo>
                  <a:lnTo>
                    <a:pt x="1321" y="311"/>
                  </a:lnTo>
                  <a:lnTo>
                    <a:pt x="1321" y="311"/>
                  </a:lnTo>
                  <a:lnTo>
                    <a:pt x="1321" y="311"/>
                  </a:lnTo>
                  <a:lnTo>
                    <a:pt x="1321" y="311"/>
                  </a:lnTo>
                  <a:lnTo>
                    <a:pt x="1321" y="311"/>
                  </a:lnTo>
                  <a:lnTo>
                    <a:pt x="1324" y="311"/>
                  </a:lnTo>
                  <a:lnTo>
                    <a:pt x="1324" y="311"/>
                  </a:lnTo>
                  <a:lnTo>
                    <a:pt x="1324" y="311"/>
                  </a:lnTo>
                  <a:lnTo>
                    <a:pt x="1324" y="311"/>
                  </a:lnTo>
                  <a:lnTo>
                    <a:pt x="1324" y="311"/>
                  </a:lnTo>
                  <a:lnTo>
                    <a:pt x="1324" y="309"/>
                  </a:lnTo>
                  <a:lnTo>
                    <a:pt x="1326" y="309"/>
                  </a:lnTo>
                  <a:lnTo>
                    <a:pt x="1328" y="309"/>
                  </a:lnTo>
                  <a:lnTo>
                    <a:pt x="1328" y="309"/>
                  </a:lnTo>
                  <a:lnTo>
                    <a:pt x="1328" y="309"/>
                  </a:lnTo>
                  <a:lnTo>
                    <a:pt x="1330" y="309"/>
                  </a:lnTo>
                  <a:lnTo>
                    <a:pt x="1330" y="306"/>
                  </a:lnTo>
                  <a:lnTo>
                    <a:pt x="1330" y="306"/>
                  </a:lnTo>
                  <a:lnTo>
                    <a:pt x="1330" y="306"/>
                  </a:lnTo>
                  <a:lnTo>
                    <a:pt x="1330" y="306"/>
                  </a:lnTo>
                  <a:lnTo>
                    <a:pt x="1333" y="306"/>
                  </a:lnTo>
                  <a:lnTo>
                    <a:pt x="1333" y="306"/>
                  </a:lnTo>
                  <a:lnTo>
                    <a:pt x="1333" y="306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5" y="304"/>
                  </a:lnTo>
                  <a:lnTo>
                    <a:pt x="1335" y="304"/>
                  </a:lnTo>
                  <a:lnTo>
                    <a:pt x="1335" y="304"/>
                  </a:lnTo>
                  <a:lnTo>
                    <a:pt x="1335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3" y="304"/>
                  </a:lnTo>
                  <a:lnTo>
                    <a:pt x="1330" y="306"/>
                  </a:lnTo>
                  <a:lnTo>
                    <a:pt x="1330" y="306"/>
                  </a:lnTo>
                  <a:lnTo>
                    <a:pt x="1330" y="306"/>
                  </a:lnTo>
                  <a:lnTo>
                    <a:pt x="1328" y="309"/>
                  </a:lnTo>
                  <a:lnTo>
                    <a:pt x="1328" y="309"/>
                  </a:lnTo>
                  <a:lnTo>
                    <a:pt x="1328" y="309"/>
                  </a:lnTo>
                  <a:lnTo>
                    <a:pt x="1326" y="309"/>
                  </a:lnTo>
                  <a:lnTo>
                    <a:pt x="1326" y="309"/>
                  </a:lnTo>
                  <a:lnTo>
                    <a:pt x="1326" y="309"/>
                  </a:lnTo>
                  <a:lnTo>
                    <a:pt x="1326" y="309"/>
                  </a:lnTo>
                  <a:lnTo>
                    <a:pt x="1324" y="309"/>
                  </a:lnTo>
                  <a:lnTo>
                    <a:pt x="1324" y="309"/>
                  </a:lnTo>
                  <a:lnTo>
                    <a:pt x="1324" y="309"/>
                  </a:lnTo>
                  <a:lnTo>
                    <a:pt x="1324" y="309"/>
                  </a:lnTo>
                  <a:lnTo>
                    <a:pt x="1321" y="309"/>
                  </a:lnTo>
                  <a:lnTo>
                    <a:pt x="1321" y="309"/>
                  </a:lnTo>
                  <a:lnTo>
                    <a:pt x="1321" y="309"/>
                  </a:lnTo>
                  <a:lnTo>
                    <a:pt x="1321" y="309"/>
                  </a:lnTo>
                  <a:lnTo>
                    <a:pt x="1321" y="309"/>
                  </a:lnTo>
                  <a:lnTo>
                    <a:pt x="1319" y="309"/>
                  </a:lnTo>
                  <a:lnTo>
                    <a:pt x="1319" y="309"/>
                  </a:lnTo>
                  <a:lnTo>
                    <a:pt x="1319" y="309"/>
                  </a:lnTo>
                  <a:lnTo>
                    <a:pt x="1319" y="309"/>
                  </a:lnTo>
                  <a:lnTo>
                    <a:pt x="1319" y="309"/>
                  </a:lnTo>
                  <a:lnTo>
                    <a:pt x="1319" y="309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21" y="306"/>
                  </a:lnTo>
                  <a:lnTo>
                    <a:pt x="1321" y="306"/>
                  </a:lnTo>
                  <a:lnTo>
                    <a:pt x="1321" y="306"/>
                  </a:lnTo>
                  <a:lnTo>
                    <a:pt x="1321" y="306"/>
                  </a:lnTo>
                  <a:lnTo>
                    <a:pt x="1321" y="306"/>
                  </a:lnTo>
                  <a:lnTo>
                    <a:pt x="1321" y="306"/>
                  </a:lnTo>
                  <a:lnTo>
                    <a:pt x="1321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9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9"/>
                  </a:lnTo>
                  <a:lnTo>
                    <a:pt x="1317" y="309"/>
                  </a:lnTo>
                  <a:lnTo>
                    <a:pt x="1315" y="306"/>
                  </a:lnTo>
                  <a:lnTo>
                    <a:pt x="1315" y="306"/>
                  </a:lnTo>
                  <a:lnTo>
                    <a:pt x="1315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6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9" y="304"/>
                  </a:lnTo>
                  <a:lnTo>
                    <a:pt x="1319" y="304"/>
                  </a:lnTo>
                  <a:lnTo>
                    <a:pt x="1319" y="304"/>
                  </a:lnTo>
                  <a:lnTo>
                    <a:pt x="1319" y="304"/>
                  </a:lnTo>
                  <a:lnTo>
                    <a:pt x="1319" y="304"/>
                  </a:lnTo>
                  <a:lnTo>
                    <a:pt x="1319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7" y="304"/>
                  </a:lnTo>
                  <a:lnTo>
                    <a:pt x="1315" y="304"/>
                  </a:lnTo>
                  <a:lnTo>
                    <a:pt x="1317" y="304"/>
                  </a:lnTo>
                  <a:lnTo>
                    <a:pt x="1315" y="304"/>
                  </a:lnTo>
                  <a:lnTo>
                    <a:pt x="1315" y="304"/>
                  </a:lnTo>
                  <a:lnTo>
                    <a:pt x="1315" y="304"/>
                  </a:lnTo>
                  <a:lnTo>
                    <a:pt x="1315" y="304"/>
                  </a:lnTo>
                  <a:lnTo>
                    <a:pt x="1315" y="304"/>
                  </a:lnTo>
                  <a:lnTo>
                    <a:pt x="1315" y="302"/>
                  </a:lnTo>
                  <a:lnTo>
                    <a:pt x="1317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2"/>
                  </a:lnTo>
                  <a:lnTo>
                    <a:pt x="1315" y="300"/>
                  </a:lnTo>
                  <a:lnTo>
                    <a:pt x="1315" y="300"/>
                  </a:lnTo>
                  <a:lnTo>
                    <a:pt x="1315" y="300"/>
                  </a:lnTo>
                  <a:lnTo>
                    <a:pt x="1315" y="300"/>
                  </a:lnTo>
                  <a:lnTo>
                    <a:pt x="1315" y="300"/>
                  </a:lnTo>
                  <a:lnTo>
                    <a:pt x="1317" y="300"/>
                  </a:lnTo>
                  <a:lnTo>
                    <a:pt x="1317" y="300"/>
                  </a:lnTo>
                  <a:lnTo>
                    <a:pt x="1317" y="300"/>
                  </a:lnTo>
                  <a:lnTo>
                    <a:pt x="1315" y="300"/>
                  </a:lnTo>
                  <a:lnTo>
                    <a:pt x="1315" y="300"/>
                  </a:lnTo>
                  <a:lnTo>
                    <a:pt x="1312" y="300"/>
                  </a:lnTo>
                  <a:lnTo>
                    <a:pt x="1312" y="297"/>
                  </a:lnTo>
                  <a:lnTo>
                    <a:pt x="1312" y="297"/>
                  </a:lnTo>
                  <a:lnTo>
                    <a:pt x="1312" y="300"/>
                  </a:lnTo>
                  <a:lnTo>
                    <a:pt x="1315" y="300"/>
                  </a:lnTo>
                  <a:lnTo>
                    <a:pt x="1312" y="300"/>
                  </a:lnTo>
                  <a:lnTo>
                    <a:pt x="1312" y="300"/>
                  </a:lnTo>
                  <a:lnTo>
                    <a:pt x="1312" y="300"/>
                  </a:lnTo>
                  <a:lnTo>
                    <a:pt x="1310" y="300"/>
                  </a:lnTo>
                  <a:lnTo>
                    <a:pt x="1310" y="300"/>
                  </a:lnTo>
                  <a:lnTo>
                    <a:pt x="1310" y="302"/>
                  </a:lnTo>
                  <a:lnTo>
                    <a:pt x="1310" y="302"/>
                  </a:lnTo>
                  <a:lnTo>
                    <a:pt x="1310" y="302"/>
                  </a:lnTo>
                  <a:lnTo>
                    <a:pt x="1310" y="300"/>
                  </a:lnTo>
                  <a:lnTo>
                    <a:pt x="1310" y="300"/>
                  </a:lnTo>
                  <a:lnTo>
                    <a:pt x="1310" y="300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10" y="302"/>
                  </a:lnTo>
                  <a:lnTo>
                    <a:pt x="1310" y="302"/>
                  </a:lnTo>
                  <a:lnTo>
                    <a:pt x="1310" y="302"/>
                  </a:lnTo>
                  <a:lnTo>
                    <a:pt x="1310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0"/>
                  </a:lnTo>
                  <a:lnTo>
                    <a:pt x="1308" y="300"/>
                  </a:lnTo>
                  <a:lnTo>
                    <a:pt x="1308" y="300"/>
                  </a:lnTo>
                  <a:lnTo>
                    <a:pt x="1308" y="300"/>
                  </a:lnTo>
                  <a:lnTo>
                    <a:pt x="1308" y="300"/>
                  </a:lnTo>
                  <a:lnTo>
                    <a:pt x="1308" y="300"/>
                  </a:lnTo>
                  <a:lnTo>
                    <a:pt x="1306" y="300"/>
                  </a:lnTo>
                  <a:lnTo>
                    <a:pt x="1306" y="300"/>
                  </a:lnTo>
                  <a:lnTo>
                    <a:pt x="1306" y="300"/>
                  </a:lnTo>
                  <a:lnTo>
                    <a:pt x="1306" y="300"/>
                  </a:lnTo>
                  <a:lnTo>
                    <a:pt x="1306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3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1" y="300"/>
                  </a:lnTo>
                  <a:lnTo>
                    <a:pt x="1306" y="300"/>
                  </a:lnTo>
                  <a:lnTo>
                    <a:pt x="1306" y="300"/>
                  </a:lnTo>
                  <a:lnTo>
                    <a:pt x="1308" y="300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2"/>
                  </a:lnTo>
                  <a:lnTo>
                    <a:pt x="1308" y="304"/>
                  </a:lnTo>
                  <a:lnTo>
                    <a:pt x="1308" y="304"/>
                  </a:lnTo>
                  <a:lnTo>
                    <a:pt x="1308" y="304"/>
                  </a:lnTo>
                  <a:lnTo>
                    <a:pt x="1308" y="304"/>
                  </a:lnTo>
                  <a:lnTo>
                    <a:pt x="1308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2"/>
                  </a:lnTo>
                  <a:lnTo>
                    <a:pt x="1306" y="302"/>
                  </a:lnTo>
                  <a:lnTo>
                    <a:pt x="1306" y="302"/>
                  </a:lnTo>
                  <a:lnTo>
                    <a:pt x="1303" y="302"/>
                  </a:lnTo>
                  <a:lnTo>
                    <a:pt x="1303" y="304"/>
                  </a:lnTo>
                  <a:lnTo>
                    <a:pt x="1303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6" y="304"/>
                  </a:lnTo>
                  <a:lnTo>
                    <a:pt x="1308" y="304"/>
                  </a:lnTo>
                  <a:lnTo>
                    <a:pt x="1308" y="304"/>
                  </a:lnTo>
                  <a:lnTo>
                    <a:pt x="1306" y="306"/>
                  </a:lnTo>
                  <a:lnTo>
                    <a:pt x="1306" y="306"/>
                  </a:lnTo>
                  <a:lnTo>
                    <a:pt x="1306" y="306"/>
                  </a:lnTo>
                  <a:lnTo>
                    <a:pt x="1306" y="306"/>
                  </a:lnTo>
                  <a:lnTo>
                    <a:pt x="1303" y="306"/>
                  </a:lnTo>
                  <a:lnTo>
                    <a:pt x="1303" y="306"/>
                  </a:lnTo>
                  <a:lnTo>
                    <a:pt x="1303" y="306"/>
                  </a:lnTo>
                  <a:lnTo>
                    <a:pt x="1303" y="306"/>
                  </a:lnTo>
                  <a:lnTo>
                    <a:pt x="1303" y="304"/>
                  </a:lnTo>
                  <a:lnTo>
                    <a:pt x="1303" y="306"/>
                  </a:lnTo>
                  <a:lnTo>
                    <a:pt x="1303" y="306"/>
                  </a:lnTo>
                  <a:lnTo>
                    <a:pt x="1303" y="306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3" y="304"/>
                  </a:lnTo>
                  <a:lnTo>
                    <a:pt x="1303" y="304"/>
                  </a:lnTo>
                  <a:lnTo>
                    <a:pt x="1303" y="304"/>
                  </a:lnTo>
                  <a:lnTo>
                    <a:pt x="1303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4"/>
                  </a:lnTo>
                  <a:lnTo>
                    <a:pt x="1301" y="302"/>
                  </a:lnTo>
                  <a:lnTo>
                    <a:pt x="1301" y="302"/>
                  </a:lnTo>
                  <a:lnTo>
                    <a:pt x="1301" y="302"/>
                  </a:lnTo>
                  <a:lnTo>
                    <a:pt x="1301" y="302"/>
                  </a:lnTo>
                  <a:lnTo>
                    <a:pt x="1301" y="302"/>
                  </a:lnTo>
                  <a:lnTo>
                    <a:pt x="1299" y="302"/>
                  </a:lnTo>
                  <a:lnTo>
                    <a:pt x="1299" y="302"/>
                  </a:lnTo>
                  <a:lnTo>
                    <a:pt x="1299" y="302"/>
                  </a:lnTo>
                  <a:lnTo>
                    <a:pt x="1299" y="302"/>
                  </a:lnTo>
                  <a:lnTo>
                    <a:pt x="1299" y="302"/>
                  </a:lnTo>
                  <a:lnTo>
                    <a:pt x="1299" y="302"/>
                  </a:lnTo>
                  <a:lnTo>
                    <a:pt x="1299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2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4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7" y="306"/>
                  </a:lnTo>
                  <a:lnTo>
                    <a:pt x="1299" y="306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299" y="309"/>
                  </a:lnTo>
                  <a:lnTo>
                    <a:pt x="1301" y="309"/>
                  </a:lnTo>
                  <a:lnTo>
                    <a:pt x="1301" y="309"/>
                  </a:lnTo>
                  <a:lnTo>
                    <a:pt x="1301" y="309"/>
                  </a:lnTo>
                  <a:lnTo>
                    <a:pt x="1301" y="309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3" y="311"/>
                  </a:lnTo>
                  <a:lnTo>
                    <a:pt x="1303" y="311"/>
                  </a:lnTo>
                  <a:lnTo>
                    <a:pt x="1303" y="311"/>
                  </a:lnTo>
                  <a:lnTo>
                    <a:pt x="1303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1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301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9" y="313"/>
                  </a:lnTo>
                  <a:lnTo>
                    <a:pt x="1297" y="313"/>
                  </a:lnTo>
                  <a:lnTo>
                    <a:pt x="1297" y="313"/>
                  </a:lnTo>
                  <a:lnTo>
                    <a:pt x="1297" y="313"/>
                  </a:lnTo>
                  <a:lnTo>
                    <a:pt x="1297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4" y="313"/>
                  </a:lnTo>
                  <a:lnTo>
                    <a:pt x="1292" y="313"/>
                  </a:lnTo>
                  <a:lnTo>
                    <a:pt x="1292" y="313"/>
                  </a:lnTo>
                  <a:lnTo>
                    <a:pt x="1292" y="313"/>
                  </a:lnTo>
                  <a:lnTo>
                    <a:pt x="1294" y="313"/>
                  </a:lnTo>
                  <a:lnTo>
                    <a:pt x="1292" y="313"/>
                  </a:lnTo>
                  <a:lnTo>
                    <a:pt x="1292" y="313"/>
                  </a:lnTo>
                  <a:lnTo>
                    <a:pt x="1292" y="313"/>
                  </a:lnTo>
                  <a:lnTo>
                    <a:pt x="1292" y="313"/>
                  </a:lnTo>
                  <a:lnTo>
                    <a:pt x="1292" y="313"/>
                  </a:lnTo>
                  <a:lnTo>
                    <a:pt x="1290" y="313"/>
                  </a:lnTo>
                  <a:lnTo>
                    <a:pt x="1290" y="313"/>
                  </a:lnTo>
                  <a:lnTo>
                    <a:pt x="1290" y="313"/>
                  </a:lnTo>
                  <a:lnTo>
                    <a:pt x="1290" y="313"/>
                  </a:lnTo>
                  <a:lnTo>
                    <a:pt x="1290" y="313"/>
                  </a:lnTo>
                  <a:lnTo>
                    <a:pt x="1290" y="313"/>
                  </a:lnTo>
                  <a:lnTo>
                    <a:pt x="1290" y="313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2" y="311"/>
                  </a:lnTo>
                  <a:lnTo>
                    <a:pt x="1290" y="309"/>
                  </a:lnTo>
                  <a:lnTo>
                    <a:pt x="1290" y="309"/>
                  </a:lnTo>
                  <a:lnTo>
                    <a:pt x="1290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6"/>
                  </a:lnTo>
                  <a:lnTo>
                    <a:pt x="1288" y="306"/>
                  </a:lnTo>
                  <a:lnTo>
                    <a:pt x="1288" y="306"/>
                  </a:lnTo>
                  <a:lnTo>
                    <a:pt x="1288" y="306"/>
                  </a:lnTo>
                  <a:lnTo>
                    <a:pt x="1288" y="306"/>
                  </a:lnTo>
                  <a:lnTo>
                    <a:pt x="1288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5" y="306"/>
                  </a:lnTo>
                  <a:lnTo>
                    <a:pt x="1283" y="306"/>
                  </a:lnTo>
                  <a:lnTo>
                    <a:pt x="1283" y="306"/>
                  </a:lnTo>
                  <a:lnTo>
                    <a:pt x="1279" y="309"/>
                  </a:lnTo>
                  <a:lnTo>
                    <a:pt x="1279" y="309"/>
                  </a:lnTo>
                  <a:lnTo>
                    <a:pt x="1281" y="309"/>
                  </a:lnTo>
                  <a:lnTo>
                    <a:pt x="1281" y="309"/>
                  </a:lnTo>
                  <a:lnTo>
                    <a:pt x="1281" y="309"/>
                  </a:lnTo>
                  <a:lnTo>
                    <a:pt x="1281" y="309"/>
                  </a:lnTo>
                  <a:lnTo>
                    <a:pt x="1281" y="309"/>
                  </a:lnTo>
                  <a:lnTo>
                    <a:pt x="1281" y="309"/>
                  </a:lnTo>
                  <a:lnTo>
                    <a:pt x="1281" y="309"/>
                  </a:lnTo>
                  <a:lnTo>
                    <a:pt x="1283" y="309"/>
                  </a:lnTo>
                  <a:lnTo>
                    <a:pt x="1283" y="309"/>
                  </a:lnTo>
                  <a:lnTo>
                    <a:pt x="1283" y="309"/>
                  </a:lnTo>
                  <a:lnTo>
                    <a:pt x="1283" y="309"/>
                  </a:lnTo>
                  <a:lnTo>
                    <a:pt x="1283" y="309"/>
                  </a:lnTo>
                  <a:lnTo>
                    <a:pt x="1283" y="309"/>
                  </a:lnTo>
                  <a:lnTo>
                    <a:pt x="1283" y="309"/>
                  </a:lnTo>
                  <a:lnTo>
                    <a:pt x="1285" y="309"/>
                  </a:lnTo>
                  <a:lnTo>
                    <a:pt x="1283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09"/>
                  </a:lnTo>
                  <a:lnTo>
                    <a:pt x="1285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88" y="309"/>
                  </a:lnTo>
                  <a:lnTo>
                    <a:pt x="1290" y="309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90" y="311"/>
                  </a:lnTo>
                  <a:lnTo>
                    <a:pt x="1288" y="311"/>
                  </a:lnTo>
                  <a:lnTo>
                    <a:pt x="1288" y="313"/>
                  </a:lnTo>
                  <a:lnTo>
                    <a:pt x="1288" y="313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5" y="311"/>
                  </a:lnTo>
                  <a:lnTo>
                    <a:pt x="1288" y="311"/>
                  </a:lnTo>
                  <a:lnTo>
                    <a:pt x="1288" y="311"/>
                  </a:lnTo>
                  <a:lnTo>
                    <a:pt x="1288" y="313"/>
                  </a:lnTo>
                  <a:lnTo>
                    <a:pt x="1288" y="313"/>
                  </a:lnTo>
                  <a:lnTo>
                    <a:pt x="1288" y="313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1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3" y="313"/>
                  </a:lnTo>
                  <a:lnTo>
                    <a:pt x="1283" y="313"/>
                  </a:lnTo>
                  <a:lnTo>
                    <a:pt x="1283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8" y="313"/>
                  </a:lnTo>
                  <a:lnTo>
                    <a:pt x="1288" y="313"/>
                  </a:lnTo>
                  <a:lnTo>
                    <a:pt x="1288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3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3" y="315"/>
                  </a:lnTo>
                  <a:lnTo>
                    <a:pt x="1283" y="315"/>
                  </a:lnTo>
                  <a:lnTo>
                    <a:pt x="1285" y="315"/>
                  </a:lnTo>
                  <a:lnTo>
                    <a:pt x="1285" y="315"/>
                  </a:lnTo>
                  <a:lnTo>
                    <a:pt x="1288" y="315"/>
                  </a:lnTo>
                  <a:lnTo>
                    <a:pt x="1288" y="315"/>
                  </a:lnTo>
                  <a:lnTo>
                    <a:pt x="1288" y="315"/>
                  </a:lnTo>
                  <a:lnTo>
                    <a:pt x="1288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5"/>
                  </a:lnTo>
                  <a:lnTo>
                    <a:pt x="1290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18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3" y="320"/>
                  </a:lnTo>
                  <a:lnTo>
                    <a:pt x="1283" y="320"/>
                  </a:lnTo>
                  <a:lnTo>
                    <a:pt x="1283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0"/>
                  </a:lnTo>
                  <a:lnTo>
                    <a:pt x="1285" y="322"/>
                  </a:lnTo>
                  <a:lnTo>
                    <a:pt x="1283" y="322"/>
                  </a:lnTo>
                  <a:lnTo>
                    <a:pt x="1283" y="322"/>
                  </a:lnTo>
                  <a:lnTo>
                    <a:pt x="1283" y="322"/>
                  </a:lnTo>
                  <a:lnTo>
                    <a:pt x="1283" y="322"/>
                  </a:lnTo>
                  <a:lnTo>
                    <a:pt x="1283" y="322"/>
                  </a:lnTo>
                  <a:lnTo>
                    <a:pt x="1283" y="322"/>
                  </a:lnTo>
                  <a:lnTo>
                    <a:pt x="1285" y="322"/>
                  </a:lnTo>
                  <a:lnTo>
                    <a:pt x="1285" y="322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88" y="320"/>
                  </a:lnTo>
                  <a:lnTo>
                    <a:pt x="1290" y="320"/>
                  </a:lnTo>
                  <a:lnTo>
                    <a:pt x="1290" y="320"/>
                  </a:lnTo>
                  <a:lnTo>
                    <a:pt x="1290" y="320"/>
                  </a:lnTo>
                  <a:lnTo>
                    <a:pt x="1292" y="318"/>
                  </a:lnTo>
                  <a:lnTo>
                    <a:pt x="1294" y="320"/>
                  </a:lnTo>
                  <a:lnTo>
                    <a:pt x="1294" y="320"/>
                  </a:lnTo>
                  <a:lnTo>
                    <a:pt x="1294" y="320"/>
                  </a:lnTo>
                  <a:lnTo>
                    <a:pt x="1294" y="320"/>
                  </a:lnTo>
                  <a:lnTo>
                    <a:pt x="1294" y="318"/>
                  </a:lnTo>
                  <a:lnTo>
                    <a:pt x="1294" y="318"/>
                  </a:lnTo>
                  <a:lnTo>
                    <a:pt x="1294" y="318"/>
                  </a:lnTo>
                  <a:lnTo>
                    <a:pt x="1294" y="318"/>
                  </a:lnTo>
                  <a:lnTo>
                    <a:pt x="1297" y="318"/>
                  </a:lnTo>
                  <a:lnTo>
                    <a:pt x="1294" y="318"/>
                  </a:lnTo>
                  <a:lnTo>
                    <a:pt x="1297" y="318"/>
                  </a:lnTo>
                  <a:lnTo>
                    <a:pt x="1297" y="320"/>
                  </a:lnTo>
                  <a:lnTo>
                    <a:pt x="1297" y="320"/>
                  </a:lnTo>
                  <a:lnTo>
                    <a:pt x="1297" y="320"/>
                  </a:lnTo>
                  <a:lnTo>
                    <a:pt x="1297" y="320"/>
                  </a:lnTo>
                  <a:lnTo>
                    <a:pt x="1297" y="320"/>
                  </a:lnTo>
                  <a:lnTo>
                    <a:pt x="1294" y="320"/>
                  </a:lnTo>
                  <a:lnTo>
                    <a:pt x="1294" y="320"/>
                  </a:lnTo>
                  <a:lnTo>
                    <a:pt x="1294" y="320"/>
                  </a:lnTo>
                  <a:lnTo>
                    <a:pt x="1297" y="320"/>
                  </a:lnTo>
                  <a:lnTo>
                    <a:pt x="1297" y="320"/>
                  </a:lnTo>
                  <a:lnTo>
                    <a:pt x="1297" y="320"/>
                  </a:lnTo>
                  <a:lnTo>
                    <a:pt x="1297" y="322"/>
                  </a:lnTo>
                  <a:lnTo>
                    <a:pt x="1297" y="322"/>
                  </a:lnTo>
                  <a:lnTo>
                    <a:pt x="1297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2" y="322"/>
                  </a:lnTo>
                  <a:lnTo>
                    <a:pt x="1292" y="322"/>
                  </a:lnTo>
                  <a:lnTo>
                    <a:pt x="1292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4" y="322"/>
                  </a:lnTo>
                  <a:lnTo>
                    <a:pt x="1297" y="322"/>
                  </a:lnTo>
                  <a:lnTo>
                    <a:pt x="1297" y="322"/>
                  </a:lnTo>
                  <a:lnTo>
                    <a:pt x="1297" y="322"/>
                  </a:lnTo>
                  <a:lnTo>
                    <a:pt x="1297" y="322"/>
                  </a:lnTo>
                  <a:lnTo>
                    <a:pt x="1297" y="322"/>
                  </a:lnTo>
                  <a:lnTo>
                    <a:pt x="1299" y="322"/>
                  </a:lnTo>
                  <a:lnTo>
                    <a:pt x="1299" y="322"/>
                  </a:lnTo>
                  <a:lnTo>
                    <a:pt x="1299" y="322"/>
                  </a:lnTo>
                  <a:lnTo>
                    <a:pt x="1297" y="324"/>
                  </a:lnTo>
                  <a:lnTo>
                    <a:pt x="1297" y="324"/>
                  </a:lnTo>
                  <a:lnTo>
                    <a:pt x="1297" y="324"/>
                  </a:lnTo>
                  <a:lnTo>
                    <a:pt x="1299" y="324"/>
                  </a:lnTo>
                  <a:lnTo>
                    <a:pt x="1299" y="324"/>
                  </a:lnTo>
                  <a:lnTo>
                    <a:pt x="1299" y="324"/>
                  </a:lnTo>
                  <a:lnTo>
                    <a:pt x="1297" y="324"/>
                  </a:lnTo>
                  <a:lnTo>
                    <a:pt x="1297" y="324"/>
                  </a:lnTo>
                  <a:lnTo>
                    <a:pt x="1297" y="324"/>
                  </a:lnTo>
                  <a:lnTo>
                    <a:pt x="1297" y="324"/>
                  </a:lnTo>
                  <a:lnTo>
                    <a:pt x="1297" y="324"/>
                  </a:lnTo>
                  <a:lnTo>
                    <a:pt x="1294" y="324"/>
                  </a:lnTo>
                  <a:lnTo>
                    <a:pt x="1292" y="324"/>
                  </a:lnTo>
                  <a:lnTo>
                    <a:pt x="1292" y="324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2" y="327"/>
                  </a:lnTo>
                  <a:lnTo>
                    <a:pt x="1294" y="324"/>
                  </a:lnTo>
                  <a:lnTo>
                    <a:pt x="1294" y="324"/>
                  </a:lnTo>
                  <a:lnTo>
                    <a:pt x="1294" y="324"/>
                  </a:lnTo>
                  <a:lnTo>
                    <a:pt x="1294" y="324"/>
                  </a:lnTo>
                  <a:lnTo>
                    <a:pt x="1294" y="327"/>
                  </a:lnTo>
                  <a:lnTo>
                    <a:pt x="1297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7" y="327"/>
                  </a:lnTo>
                  <a:lnTo>
                    <a:pt x="1297" y="327"/>
                  </a:lnTo>
                  <a:lnTo>
                    <a:pt x="1297" y="327"/>
                  </a:lnTo>
                  <a:lnTo>
                    <a:pt x="1294" y="327"/>
                  </a:lnTo>
                  <a:lnTo>
                    <a:pt x="1294" y="327"/>
                  </a:lnTo>
                  <a:lnTo>
                    <a:pt x="1294" y="329"/>
                  </a:lnTo>
                  <a:lnTo>
                    <a:pt x="1294" y="329"/>
                  </a:lnTo>
                  <a:lnTo>
                    <a:pt x="1294" y="327"/>
                  </a:lnTo>
                  <a:lnTo>
                    <a:pt x="1294" y="329"/>
                  </a:lnTo>
                  <a:lnTo>
                    <a:pt x="1294" y="329"/>
                  </a:lnTo>
                  <a:lnTo>
                    <a:pt x="1294" y="329"/>
                  </a:lnTo>
                  <a:lnTo>
                    <a:pt x="1294" y="329"/>
                  </a:lnTo>
                  <a:lnTo>
                    <a:pt x="1294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9" y="327"/>
                  </a:lnTo>
                  <a:lnTo>
                    <a:pt x="1297" y="329"/>
                  </a:lnTo>
                  <a:lnTo>
                    <a:pt x="1297" y="329"/>
                  </a:lnTo>
                  <a:lnTo>
                    <a:pt x="1297" y="331"/>
                  </a:lnTo>
                  <a:lnTo>
                    <a:pt x="1294" y="331"/>
                  </a:lnTo>
                  <a:lnTo>
                    <a:pt x="1294" y="331"/>
                  </a:lnTo>
                  <a:lnTo>
                    <a:pt x="1294" y="331"/>
                  </a:lnTo>
                  <a:lnTo>
                    <a:pt x="1294" y="331"/>
                  </a:lnTo>
                  <a:lnTo>
                    <a:pt x="1292" y="331"/>
                  </a:lnTo>
                  <a:lnTo>
                    <a:pt x="1292" y="331"/>
                  </a:lnTo>
                  <a:lnTo>
                    <a:pt x="1294" y="331"/>
                  </a:lnTo>
                  <a:lnTo>
                    <a:pt x="1294" y="331"/>
                  </a:lnTo>
                  <a:lnTo>
                    <a:pt x="1294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4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9" y="329"/>
                  </a:lnTo>
                  <a:lnTo>
                    <a:pt x="1299" y="329"/>
                  </a:lnTo>
                  <a:lnTo>
                    <a:pt x="1299" y="329"/>
                  </a:lnTo>
                  <a:lnTo>
                    <a:pt x="1301" y="329"/>
                  </a:lnTo>
                  <a:lnTo>
                    <a:pt x="1301" y="329"/>
                  </a:lnTo>
                  <a:lnTo>
                    <a:pt x="1301" y="329"/>
                  </a:lnTo>
                  <a:lnTo>
                    <a:pt x="1301" y="329"/>
                  </a:lnTo>
                  <a:lnTo>
                    <a:pt x="1299" y="329"/>
                  </a:lnTo>
                  <a:lnTo>
                    <a:pt x="1299" y="329"/>
                  </a:lnTo>
                  <a:lnTo>
                    <a:pt x="1299" y="329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7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7" y="333"/>
                  </a:lnTo>
                  <a:lnTo>
                    <a:pt x="1297" y="333"/>
                  </a:lnTo>
                  <a:lnTo>
                    <a:pt x="1297" y="333"/>
                  </a:lnTo>
                  <a:lnTo>
                    <a:pt x="1297" y="333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8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7" y="336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3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299" y="331"/>
                  </a:lnTo>
                  <a:lnTo>
                    <a:pt x="1301" y="331"/>
                  </a:lnTo>
                  <a:lnTo>
                    <a:pt x="1301" y="331"/>
                  </a:lnTo>
                  <a:lnTo>
                    <a:pt x="1301" y="331"/>
                  </a:lnTo>
                  <a:lnTo>
                    <a:pt x="1301" y="331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1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3" y="333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3" y="336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3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6" y="338"/>
                  </a:lnTo>
                  <a:lnTo>
                    <a:pt x="1306" y="338"/>
                  </a:lnTo>
                  <a:lnTo>
                    <a:pt x="1303" y="338"/>
                  </a:lnTo>
                  <a:lnTo>
                    <a:pt x="1301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38"/>
                  </a:lnTo>
                  <a:lnTo>
                    <a:pt x="1303" y="340"/>
                  </a:lnTo>
                  <a:lnTo>
                    <a:pt x="1303" y="338"/>
                  </a:lnTo>
                  <a:lnTo>
                    <a:pt x="1306" y="338"/>
                  </a:lnTo>
                  <a:lnTo>
                    <a:pt x="1306" y="338"/>
                  </a:lnTo>
                  <a:lnTo>
                    <a:pt x="1306" y="336"/>
                  </a:lnTo>
                  <a:lnTo>
                    <a:pt x="1306" y="336"/>
                  </a:lnTo>
                  <a:lnTo>
                    <a:pt x="1308" y="336"/>
                  </a:lnTo>
                  <a:lnTo>
                    <a:pt x="1308" y="336"/>
                  </a:lnTo>
                  <a:lnTo>
                    <a:pt x="1308" y="336"/>
                  </a:lnTo>
                  <a:lnTo>
                    <a:pt x="1308" y="336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6" y="338"/>
                  </a:lnTo>
                  <a:lnTo>
                    <a:pt x="1306" y="338"/>
                  </a:lnTo>
                  <a:lnTo>
                    <a:pt x="1306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08" y="340"/>
                  </a:lnTo>
                  <a:lnTo>
                    <a:pt x="1308" y="340"/>
                  </a:lnTo>
                  <a:lnTo>
                    <a:pt x="1308" y="340"/>
                  </a:lnTo>
                  <a:lnTo>
                    <a:pt x="1308" y="340"/>
                  </a:lnTo>
                  <a:lnTo>
                    <a:pt x="1308" y="340"/>
                  </a:lnTo>
                  <a:lnTo>
                    <a:pt x="1310" y="340"/>
                  </a:lnTo>
                  <a:lnTo>
                    <a:pt x="1310" y="340"/>
                  </a:lnTo>
                  <a:lnTo>
                    <a:pt x="1310" y="340"/>
                  </a:lnTo>
                  <a:lnTo>
                    <a:pt x="1310" y="340"/>
                  </a:lnTo>
                  <a:lnTo>
                    <a:pt x="1308" y="338"/>
                  </a:lnTo>
                  <a:lnTo>
                    <a:pt x="1308" y="338"/>
                  </a:lnTo>
                  <a:lnTo>
                    <a:pt x="1310" y="338"/>
                  </a:lnTo>
                  <a:lnTo>
                    <a:pt x="1310" y="338"/>
                  </a:lnTo>
                  <a:lnTo>
                    <a:pt x="1310" y="338"/>
                  </a:lnTo>
                  <a:lnTo>
                    <a:pt x="1310" y="338"/>
                  </a:lnTo>
                  <a:lnTo>
                    <a:pt x="1310" y="338"/>
                  </a:lnTo>
                  <a:lnTo>
                    <a:pt x="1310" y="338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0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6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2" y="338"/>
                  </a:lnTo>
                  <a:lnTo>
                    <a:pt x="1315" y="338"/>
                  </a:lnTo>
                  <a:lnTo>
                    <a:pt x="1315" y="338"/>
                  </a:lnTo>
                  <a:lnTo>
                    <a:pt x="1315" y="338"/>
                  </a:lnTo>
                  <a:lnTo>
                    <a:pt x="1315" y="338"/>
                  </a:lnTo>
                  <a:lnTo>
                    <a:pt x="1312" y="338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2" y="340"/>
                  </a:lnTo>
                  <a:lnTo>
                    <a:pt x="1310" y="340"/>
                  </a:lnTo>
                  <a:lnTo>
                    <a:pt x="1310" y="340"/>
                  </a:lnTo>
                  <a:lnTo>
                    <a:pt x="1310" y="340"/>
                  </a:lnTo>
                  <a:lnTo>
                    <a:pt x="1310" y="340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0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2" y="342"/>
                  </a:lnTo>
                  <a:lnTo>
                    <a:pt x="1312" y="345"/>
                  </a:lnTo>
                  <a:lnTo>
                    <a:pt x="1312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2" y="345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2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7" y="345"/>
                  </a:lnTo>
                  <a:lnTo>
                    <a:pt x="1317" y="345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9" y="342"/>
                  </a:lnTo>
                  <a:lnTo>
                    <a:pt x="1319" y="342"/>
                  </a:lnTo>
                  <a:lnTo>
                    <a:pt x="1319" y="342"/>
                  </a:lnTo>
                  <a:lnTo>
                    <a:pt x="1317" y="342"/>
                  </a:lnTo>
                  <a:lnTo>
                    <a:pt x="1317" y="342"/>
                  </a:lnTo>
                  <a:lnTo>
                    <a:pt x="1317" y="345"/>
                  </a:lnTo>
                  <a:lnTo>
                    <a:pt x="1319" y="342"/>
                  </a:lnTo>
                  <a:lnTo>
                    <a:pt x="1319" y="342"/>
                  </a:lnTo>
                  <a:lnTo>
                    <a:pt x="1319" y="342"/>
                  </a:lnTo>
                  <a:lnTo>
                    <a:pt x="1319" y="345"/>
                  </a:lnTo>
                  <a:lnTo>
                    <a:pt x="1319" y="345"/>
                  </a:lnTo>
                  <a:lnTo>
                    <a:pt x="1319" y="345"/>
                  </a:lnTo>
                  <a:lnTo>
                    <a:pt x="1319" y="345"/>
                  </a:lnTo>
                  <a:lnTo>
                    <a:pt x="1317" y="345"/>
                  </a:lnTo>
                  <a:lnTo>
                    <a:pt x="1317" y="345"/>
                  </a:lnTo>
                  <a:lnTo>
                    <a:pt x="1315" y="345"/>
                  </a:lnTo>
                  <a:lnTo>
                    <a:pt x="1315" y="345"/>
                  </a:lnTo>
                  <a:lnTo>
                    <a:pt x="1317" y="347"/>
                  </a:lnTo>
                  <a:lnTo>
                    <a:pt x="1317" y="347"/>
                  </a:lnTo>
                  <a:lnTo>
                    <a:pt x="1315" y="347"/>
                  </a:lnTo>
                  <a:lnTo>
                    <a:pt x="1315" y="347"/>
                  </a:lnTo>
                  <a:lnTo>
                    <a:pt x="1315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08" y="347"/>
                  </a:lnTo>
                  <a:lnTo>
                    <a:pt x="1308" y="347"/>
                  </a:lnTo>
                  <a:lnTo>
                    <a:pt x="1308" y="347"/>
                  </a:lnTo>
                  <a:lnTo>
                    <a:pt x="1308" y="347"/>
                  </a:lnTo>
                  <a:lnTo>
                    <a:pt x="1308" y="347"/>
                  </a:lnTo>
                  <a:lnTo>
                    <a:pt x="1310" y="347"/>
                  </a:lnTo>
                  <a:lnTo>
                    <a:pt x="1312" y="347"/>
                  </a:lnTo>
                  <a:lnTo>
                    <a:pt x="1312" y="347"/>
                  </a:lnTo>
                  <a:lnTo>
                    <a:pt x="1312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7"/>
                  </a:lnTo>
                  <a:lnTo>
                    <a:pt x="1310" y="349"/>
                  </a:lnTo>
                  <a:lnTo>
                    <a:pt x="1308" y="349"/>
                  </a:lnTo>
                  <a:lnTo>
                    <a:pt x="1310" y="349"/>
                  </a:lnTo>
                  <a:lnTo>
                    <a:pt x="1310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0" y="349"/>
                  </a:lnTo>
                  <a:lnTo>
                    <a:pt x="1310" y="351"/>
                  </a:lnTo>
                  <a:lnTo>
                    <a:pt x="1310" y="351"/>
                  </a:lnTo>
                  <a:lnTo>
                    <a:pt x="1310" y="351"/>
                  </a:lnTo>
                  <a:lnTo>
                    <a:pt x="1312" y="351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2" y="349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2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1"/>
                  </a:lnTo>
                  <a:lnTo>
                    <a:pt x="1315" y="354"/>
                  </a:lnTo>
                  <a:lnTo>
                    <a:pt x="1312" y="354"/>
                  </a:lnTo>
                  <a:lnTo>
                    <a:pt x="1312" y="354"/>
                  </a:lnTo>
                  <a:lnTo>
                    <a:pt x="1312" y="354"/>
                  </a:lnTo>
                  <a:lnTo>
                    <a:pt x="1312" y="354"/>
                  </a:lnTo>
                  <a:lnTo>
                    <a:pt x="1315" y="354"/>
                  </a:lnTo>
                  <a:lnTo>
                    <a:pt x="1315" y="354"/>
                  </a:lnTo>
                  <a:lnTo>
                    <a:pt x="1315" y="354"/>
                  </a:lnTo>
                  <a:lnTo>
                    <a:pt x="1317" y="354"/>
                  </a:lnTo>
                  <a:lnTo>
                    <a:pt x="1317" y="354"/>
                  </a:lnTo>
                  <a:lnTo>
                    <a:pt x="1317" y="354"/>
                  </a:lnTo>
                  <a:lnTo>
                    <a:pt x="1315" y="354"/>
                  </a:lnTo>
                  <a:lnTo>
                    <a:pt x="1317" y="354"/>
                  </a:lnTo>
                  <a:lnTo>
                    <a:pt x="1317" y="354"/>
                  </a:lnTo>
                  <a:lnTo>
                    <a:pt x="1317" y="354"/>
                  </a:lnTo>
                  <a:lnTo>
                    <a:pt x="1317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19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21" y="354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7" y="356"/>
                  </a:lnTo>
                  <a:lnTo>
                    <a:pt x="1315" y="356"/>
                  </a:lnTo>
                  <a:lnTo>
                    <a:pt x="1315" y="356"/>
                  </a:lnTo>
                  <a:lnTo>
                    <a:pt x="1315" y="356"/>
                  </a:lnTo>
                  <a:lnTo>
                    <a:pt x="1315" y="356"/>
                  </a:lnTo>
                  <a:lnTo>
                    <a:pt x="1315" y="356"/>
                  </a:lnTo>
                  <a:lnTo>
                    <a:pt x="1312" y="358"/>
                  </a:lnTo>
                  <a:lnTo>
                    <a:pt x="1315" y="358"/>
                  </a:lnTo>
                  <a:lnTo>
                    <a:pt x="1315" y="358"/>
                  </a:lnTo>
                  <a:lnTo>
                    <a:pt x="1315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7" y="358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60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7" y="362"/>
                  </a:lnTo>
                  <a:lnTo>
                    <a:pt x="1317" y="362"/>
                  </a:lnTo>
                  <a:lnTo>
                    <a:pt x="1317" y="362"/>
                  </a:lnTo>
                  <a:lnTo>
                    <a:pt x="1319" y="362"/>
                  </a:lnTo>
                  <a:lnTo>
                    <a:pt x="1319" y="362"/>
                  </a:lnTo>
                  <a:lnTo>
                    <a:pt x="1317" y="362"/>
                  </a:lnTo>
                  <a:lnTo>
                    <a:pt x="1317" y="362"/>
                  </a:lnTo>
                  <a:lnTo>
                    <a:pt x="1317" y="362"/>
                  </a:lnTo>
                  <a:lnTo>
                    <a:pt x="1317" y="362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5"/>
                  </a:lnTo>
                  <a:lnTo>
                    <a:pt x="1317" y="367"/>
                  </a:lnTo>
                  <a:lnTo>
                    <a:pt x="1317" y="367"/>
                  </a:lnTo>
                  <a:lnTo>
                    <a:pt x="1315" y="365"/>
                  </a:lnTo>
                  <a:lnTo>
                    <a:pt x="1315" y="367"/>
                  </a:lnTo>
                  <a:lnTo>
                    <a:pt x="1315" y="367"/>
                  </a:lnTo>
                  <a:lnTo>
                    <a:pt x="1317" y="367"/>
                  </a:lnTo>
                  <a:lnTo>
                    <a:pt x="1317" y="367"/>
                  </a:lnTo>
                  <a:lnTo>
                    <a:pt x="1317" y="367"/>
                  </a:lnTo>
                  <a:lnTo>
                    <a:pt x="1317" y="367"/>
                  </a:lnTo>
                  <a:lnTo>
                    <a:pt x="1317" y="367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7"/>
                  </a:lnTo>
                  <a:lnTo>
                    <a:pt x="1315" y="367"/>
                  </a:lnTo>
                  <a:lnTo>
                    <a:pt x="1315" y="367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7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5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9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7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5"/>
                  </a:lnTo>
                  <a:lnTo>
                    <a:pt x="1312" y="362"/>
                  </a:lnTo>
                  <a:lnTo>
                    <a:pt x="1312" y="362"/>
                  </a:lnTo>
                  <a:lnTo>
                    <a:pt x="1312" y="362"/>
                  </a:lnTo>
                  <a:lnTo>
                    <a:pt x="1312" y="362"/>
                  </a:lnTo>
                  <a:lnTo>
                    <a:pt x="1312" y="362"/>
                  </a:lnTo>
                  <a:lnTo>
                    <a:pt x="1312" y="362"/>
                  </a:lnTo>
                  <a:lnTo>
                    <a:pt x="1312" y="362"/>
                  </a:lnTo>
                  <a:lnTo>
                    <a:pt x="1312" y="360"/>
                  </a:lnTo>
                  <a:lnTo>
                    <a:pt x="1312" y="360"/>
                  </a:lnTo>
                  <a:lnTo>
                    <a:pt x="1312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10" y="358"/>
                  </a:lnTo>
                  <a:lnTo>
                    <a:pt x="1308" y="358"/>
                  </a:lnTo>
                  <a:lnTo>
                    <a:pt x="1308" y="358"/>
                  </a:lnTo>
                  <a:lnTo>
                    <a:pt x="1308" y="358"/>
                  </a:lnTo>
                  <a:lnTo>
                    <a:pt x="1308" y="358"/>
                  </a:lnTo>
                  <a:lnTo>
                    <a:pt x="1308" y="358"/>
                  </a:lnTo>
                  <a:lnTo>
                    <a:pt x="1310" y="358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0"/>
                  </a:lnTo>
                  <a:lnTo>
                    <a:pt x="1310" y="362"/>
                  </a:lnTo>
                  <a:lnTo>
                    <a:pt x="1310" y="362"/>
                  </a:lnTo>
                  <a:lnTo>
                    <a:pt x="1310" y="362"/>
                  </a:lnTo>
                  <a:lnTo>
                    <a:pt x="1310" y="362"/>
                  </a:lnTo>
                  <a:lnTo>
                    <a:pt x="1310" y="362"/>
                  </a:lnTo>
                  <a:lnTo>
                    <a:pt x="1310" y="362"/>
                  </a:lnTo>
                  <a:lnTo>
                    <a:pt x="1308" y="362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6" y="365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8" y="365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10" y="367"/>
                  </a:lnTo>
                  <a:lnTo>
                    <a:pt x="1310" y="367"/>
                  </a:lnTo>
                  <a:lnTo>
                    <a:pt x="1310" y="367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08" y="367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7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8" y="369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8" y="369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6" y="369"/>
                  </a:lnTo>
                  <a:lnTo>
                    <a:pt x="1306" y="369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6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08" y="371"/>
                  </a:lnTo>
                  <a:lnTo>
                    <a:pt x="1310" y="371"/>
                  </a:lnTo>
                  <a:lnTo>
                    <a:pt x="1310" y="371"/>
                  </a:lnTo>
                  <a:lnTo>
                    <a:pt x="1310" y="371"/>
                  </a:lnTo>
                  <a:lnTo>
                    <a:pt x="1310" y="371"/>
                  </a:lnTo>
                  <a:lnTo>
                    <a:pt x="1310" y="374"/>
                  </a:lnTo>
                  <a:lnTo>
                    <a:pt x="1310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4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6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10" y="376"/>
                  </a:lnTo>
                  <a:lnTo>
                    <a:pt x="1310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6"/>
                  </a:lnTo>
                  <a:lnTo>
                    <a:pt x="1308" y="378"/>
                  </a:lnTo>
                  <a:lnTo>
                    <a:pt x="1308" y="378"/>
                  </a:lnTo>
                  <a:lnTo>
                    <a:pt x="1308" y="378"/>
                  </a:lnTo>
                  <a:lnTo>
                    <a:pt x="1306" y="378"/>
                  </a:lnTo>
                  <a:lnTo>
                    <a:pt x="1306" y="378"/>
                  </a:lnTo>
                  <a:lnTo>
                    <a:pt x="1303" y="378"/>
                  </a:lnTo>
                  <a:lnTo>
                    <a:pt x="1303" y="378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4"/>
                  </a:lnTo>
                  <a:lnTo>
                    <a:pt x="1299" y="376"/>
                  </a:lnTo>
                  <a:lnTo>
                    <a:pt x="1299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301" y="376"/>
                  </a:lnTo>
                  <a:lnTo>
                    <a:pt x="1299" y="378"/>
                  </a:lnTo>
                  <a:lnTo>
                    <a:pt x="1299" y="378"/>
                  </a:lnTo>
                  <a:lnTo>
                    <a:pt x="1301" y="378"/>
                  </a:lnTo>
                  <a:lnTo>
                    <a:pt x="1301" y="378"/>
                  </a:lnTo>
                  <a:lnTo>
                    <a:pt x="1301" y="378"/>
                  </a:lnTo>
                  <a:lnTo>
                    <a:pt x="1301" y="378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0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301" y="383"/>
                  </a:lnTo>
                  <a:lnTo>
                    <a:pt x="1299" y="383"/>
                  </a:lnTo>
                  <a:lnTo>
                    <a:pt x="1299" y="385"/>
                  </a:lnTo>
                  <a:lnTo>
                    <a:pt x="1297" y="385"/>
                  </a:lnTo>
                  <a:lnTo>
                    <a:pt x="1297" y="385"/>
                  </a:lnTo>
                  <a:lnTo>
                    <a:pt x="1297" y="385"/>
                  </a:lnTo>
                  <a:lnTo>
                    <a:pt x="1297" y="383"/>
                  </a:lnTo>
                  <a:lnTo>
                    <a:pt x="1297" y="383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7" y="383"/>
                  </a:lnTo>
                  <a:lnTo>
                    <a:pt x="1294" y="383"/>
                  </a:lnTo>
                  <a:lnTo>
                    <a:pt x="1294" y="383"/>
                  </a:lnTo>
                  <a:lnTo>
                    <a:pt x="1294" y="383"/>
                  </a:lnTo>
                  <a:lnTo>
                    <a:pt x="1294" y="380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9" y="380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7" y="380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9" y="378"/>
                  </a:lnTo>
                  <a:lnTo>
                    <a:pt x="1299" y="378"/>
                  </a:lnTo>
                  <a:lnTo>
                    <a:pt x="1299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9" y="376"/>
                  </a:lnTo>
                  <a:lnTo>
                    <a:pt x="1299" y="376"/>
                  </a:lnTo>
                  <a:lnTo>
                    <a:pt x="1299" y="376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7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4" y="378"/>
                  </a:lnTo>
                  <a:lnTo>
                    <a:pt x="1292" y="378"/>
                  </a:lnTo>
                  <a:lnTo>
                    <a:pt x="1292" y="378"/>
                  </a:lnTo>
                  <a:lnTo>
                    <a:pt x="1292" y="378"/>
                  </a:lnTo>
                  <a:lnTo>
                    <a:pt x="1292" y="378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8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4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2" y="376"/>
                  </a:lnTo>
                  <a:lnTo>
                    <a:pt x="1290" y="376"/>
                  </a:lnTo>
                  <a:lnTo>
                    <a:pt x="1290" y="376"/>
                  </a:lnTo>
                  <a:lnTo>
                    <a:pt x="1290" y="376"/>
                  </a:lnTo>
                  <a:lnTo>
                    <a:pt x="1290" y="376"/>
                  </a:lnTo>
                  <a:lnTo>
                    <a:pt x="1290" y="378"/>
                  </a:lnTo>
                  <a:lnTo>
                    <a:pt x="1290" y="378"/>
                  </a:lnTo>
                  <a:lnTo>
                    <a:pt x="1290" y="378"/>
                  </a:lnTo>
                  <a:lnTo>
                    <a:pt x="1290" y="376"/>
                  </a:lnTo>
                  <a:lnTo>
                    <a:pt x="1290" y="376"/>
                  </a:lnTo>
                  <a:lnTo>
                    <a:pt x="1290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90" y="376"/>
                  </a:lnTo>
                  <a:lnTo>
                    <a:pt x="1290" y="376"/>
                  </a:lnTo>
                  <a:lnTo>
                    <a:pt x="1290" y="374"/>
                  </a:lnTo>
                  <a:lnTo>
                    <a:pt x="1290" y="374"/>
                  </a:lnTo>
                  <a:lnTo>
                    <a:pt x="1290" y="374"/>
                  </a:lnTo>
                  <a:lnTo>
                    <a:pt x="1292" y="374"/>
                  </a:lnTo>
                  <a:lnTo>
                    <a:pt x="1292" y="374"/>
                  </a:lnTo>
                  <a:lnTo>
                    <a:pt x="1290" y="374"/>
                  </a:lnTo>
                  <a:lnTo>
                    <a:pt x="1290" y="374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6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8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1"/>
                  </a:lnTo>
                  <a:lnTo>
                    <a:pt x="1285" y="371"/>
                  </a:lnTo>
                  <a:lnTo>
                    <a:pt x="1285" y="371"/>
                  </a:lnTo>
                  <a:lnTo>
                    <a:pt x="1285" y="371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4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5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3" y="376"/>
                  </a:lnTo>
                  <a:lnTo>
                    <a:pt x="1281" y="376"/>
                  </a:lnTo>
                  <a:lnTo>
                    <a:pt x="1281" y="376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81" y="367"/>
                  </a:lnTo>
                  <a:lnTo>
                    <a:pt x="1279" y="369"/>
                  </a:lnTo>
                  <a:lnTo>
                    <a:pt x="1279" y="369"/>
                  </a:lnTo>
                  <a:lnTo>
                    <a:pt x="1279" y="369"/>
                  </a:lnTo>
                  <a:lnTo>
                    <a:pt x="1279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69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79" y="371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81" y="371"/>
                  </a:lnTo>
                  <a:lnTo>
                    <a:pt x="1279" y="371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81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6"/>
                  </a:lnTo>
                  <a:lnTo>
                    <a:pt x="1279" y="376"/>
                  </a:lnTo>
                  <a:lnTo>
                    <a:pt x="1279" y="376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9" y="374"/>
                  </a:lnTo>
                  <a:lnTo>
                    <a:pt x="1277" y="374"/>
                  </a:lnTo>
                  <a:lnTo>
                    <a:pt x="1277" y="374"/>
                  </a:lnTo>
                  <a:lnTo>
                    <a:pt x="1277" y="374"/>
                  </a:lnTo>
                  <a:lnTo>
                    <a:pt x="1277" y="374"/>
                  </a:lnTo>
                  <a:lnTo>
                    <a:pt x="1277" y="374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9" y="371"/>
                  </a:lnTo>
                  <a:lnTo>
                    <a:pt x="1279" y="371"/>
                  </a:lnTo>
                  <a:lnTo>
                    <a:pt x="1279" y="369"/>
                  </a:lnTo>
                  <a:lnTo>
                    <a:pt x="1279" y="369"/>
                  </a:lnTo>
                  <a:lnTo>
                    <a:pt x="1279" y="369"/>
                  </a:lnTo>
                  <a:lnTo>
                    <a:pt x="1277" y="369"/>
                  </a:lnTo>
                  <a:lnTo>
                    <a:pt x="1277" y="369"/>
                  </a:lnTo>
                  <a:lnTo>
                    <a:pt x="1277" y="369"/>
                  </a:lnTo>
                  <a:lnTo>
                    <a:pt x="1277" y="369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7" y="371"/>
                  </a:lnTo>
                  <a:lnTo>
                    <a:pt x="1274" y="371"/>
                  </a:lnTo>
                  <a:lnTo>
                    <a:pt x="1274" y="371"/>
                  </a:lnTo>
                  <a:lnTo>
                    <a:pt x="1274" y="371"/>
                  </a:lnTo>
                  <a:lnTo>
                    <a:pt x="1274" y="369"/>
                  </a:lnTo>
                  <a:lnTo>
                    <a:pt x="1274" y="369"/>
                  </a:lnTo>
                  <a:lnTo>
                    <a:pt x="1274" y="369"/>
                  </a:lnTo>
                  <a:lnTo>
                    <a:pt x="1274" y="369"/>
                  </a:lnTo>
                  <a:lnTo>
                    <a:pt x="1277" y="369"/>
                  </a:lnTo>
                  <a:lnTo>
                    <a:pt x="1277" y="369"/>
                  </a:lnTo>
                  <a:lnTo>
                    <a:pt x="1277" y="369"/>
                  </a:lnTo>
                  <a:lnTo>
                    <a:pt x="1277" y="369"/>
                  </a:lnTo>
                  <a:lnTo>
                    <a:pt x="1274" y="369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7" y="367"/>
                  </a:lnTo>
                  <a:lnTo>
                    <a:pt x="1274" y="367"/>
                  </a:lnTo>
                  <a:lnTo>
                    <a:pt x="1274" y="367"/>
                  </a:lnTo>
                  <a:lnTo>
                    <a:pt x="1274" y="367"/>
                  </a:lnTo>
                  <a:lnTo>
                    <a:pt x="1274" y="369"/>
                  </a:lnTo>
                  <a:lnTo>
                    <a:pt x="1274" y="369"/>
                  </a:lnTo>
                  <a:lnTo>
                    <a:pt x="1274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2" y="369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7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68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70" y="365"/>
                  </a:lnTo>
                  <a:lnTo>
                    <a:pt x="1268" y="365"/>
                  </a:lnTo>
                  <a:lnTo>
                    <a:pt x="1268" y="365"/>
                  </a:lnTo>
                  <a:lnTo>
                    <a:pt x="1270" y="365"/>
                  </a:lnTo>
                  <a:lnTo>
                    <a:pt x="1270" y="362"/>
                  </a:lnTo>
                  <a:lnTo>
                    <a:pt x="1268" y="362"/>
                  </a:lnTo>
                  <a:lnTo>
                    <a:pt x="1268" y="362"/>
                  </a:lnTo>
                  <a:lnTo>
                    <a:pt x="1268" y="362"/>
                  </a:lnTo>
                  <a:lnTo>
                    <a:pt x="1268" y="362"/>
                  </a:lnTo>
                  <a:lnTo>
                    <a:pt x="1268" y="362"/>
                  </a:lnTo>
                  <a:lnTo>
                    <a:pt x="1268" y="362"/>
                  </a:lnTo>
                  <a:lnTo>
                    <a:pt x="1268" y="360"/>
                  </a:lnTo>
                  <a:lnTo>
                    <a:pt x="1268" y="360"/>
                  </a:lnTo>
                  <a:lnTo>
                    <a:pt x="1268" y="360"/>
                  </a:lnTo>
                  <a:lnTo>
                    <a:pt x="1268" y="362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8" y="360"/>
                  </a:lnTo>
                  <a:lnTo>
                    <a:pt x="1268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58"/>
                  </a:lnTo>
                  <a:lnTo>
                    <a:pt x="1265" y="358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0"/>
                  </a:lnTo>
                  <a:lnTo>
                    <a:pt x="1265" y="362"/>
                  </a:lnTo>
                  <a:lnTo>
                    <a:pt x="1265" y="362"/>
                  </a:lnTo>
                  <a:lnTo>
                    <a:pt x="1265" y="362"/>
                  </a:lnTo>
                  <a:lnTo>
                    <a:pt x="1265" y="362"/>
                  </a:lnTo>
                  <a:lnTo>
                    <a:pt x="1265" y="362"/>
                  </a:lnTo>
                  <a:lnTo>
                    <a:pt x="1265" y="365"/>
                  </a:lnTo>
                  <a:lnTo>
                    <a:pt x="1265" y="365"/>
                  </a:lnTo>
                  <a:lnTo>
                    <a:pt x="1265" y="365"/>
                  </a:lnTo>
                  <a:lnTo>
                    <a:pt x="1265" y="367"/>
                  </a:lnTo>
                  <a:lnTo>
                    <a:pt x="1265" y="367"/>
                  </a:lnTo>
                  <a:lnTo>
                    <a:pt x="1263" y="367"/>
                  </a:lnTo>
                  <a:lnTo>
                    <a:pt x="1263" y="367"/>
                  </a:lnTo>
                  <a:lnTo>
                    <a:pt x="1263" y="367"/>
                  </a:lnTo>
                  <a:lnTo>
                    <a:pt x="1263" y="367"/>
                  </a:lnTo>
                  <a:lnTo>
                    <a:pt x="1263" y="367"/>
                  </a:lnTo>
                  <a:lnTo>
                    <a:pt x="1263" y="365"/>
                  </a:lnTo>
                  <a:lnTo>
                    <a:pt x="1263" y="365"/>
                  </a:lnTo>
                  <a:lnTo>
                    <a:pt x="1263" y="365"/>
                  </a:lnTo>
                  <a:lnTo>
                    <a:pt x="1263" y="365"/>
                  </a:lnTo>
                  <a:lnTo>
                    <a:pt x="1261" y="365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61" y="362"/>
                  </a:lnTo>
                  <a:lnTo>
                    <a:pt x="1259" y="362"/>
                  </a:lnTo>
                  <a:lnTo>
                    <a:pt x="1259" y="362"/>
                  </a:lnTo>
                  <a:lnTo>
                    <a:pt x="1259" y="362"/>
                  </a:lnTo>
                  <a:lnTo>
                    <a:pt x="1259" y="362"/>
                  </a:lnTo>
                  <a:lnTo>
                    <a:pt x="1259" y="362"/>
                  </a:lnTo>
                  <a:lnTo>
                    <a:pt x="1259" y="362"/>
                  </a:lnTo>
                  <a:lnTo>
                    <a:pt x="1259" y="362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0"/>
                  </a:lnTo>
                  <a:lnTo>
                    <a:pt x="1259" y="362"/>
                  </a:lnTo>
                  <a:lnTo>
                    <a:pt x="1259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60"/>
                  </a:lnTo>
                  <a:lnTo>
                    <a:pt x="1256" y="358"/>
                  </a:lnTo>
                  <a:lnTo>
                    <a:pt x="1256" y="358"/>
                  </a:lnTo>
                  <a:lnTo>
                    <a:pt x="1254" y="358"/>
                  </a:lnTo>
                  <a:lnTo>
                    <a:pt x="1254" y="360"/>
                  </a:lnTo>
                  <a:lnTo>
                    <a:pt x="1254" y="360"/>
                  </a:lnTo>
                  <a:lnTo>
                    <a:pt x="1254" y="360"/>
                  </a:lnTo>
                  <a:lnTo>
                    <a:pt x="1254" y="360"/>
                  </a:lnTo>
                  <a:lnTo>
                    <a:pt x="1252" y="358"/>
                  </a:lnTo>
                  <a:lnTo>
                    <a:pt x="1252" y="358"/>
                  </a:lnTo>
                  <a:lnTo>
                    <a:pt x="1252" y="358"/>
                  </a:lnTo>
                  <a:lnTo>
                    <a:pt x="1252" y="358"/>
                  </a:lnTo>
                  <a:lnTo>
                    <a:pt x="1252" y="358"/>
                  </a:lnTo>
                  <a:lnTo>
                    <a:pt x="1252" y="358"/>
                  </a:lnTo>
                  <a:lnTo>
                    <a:pt x="1252" y="360"/>
                  </a:lnTo>
                  <a:lnTo>
                    <a:pt x="1252" y="360"/>
                  </a:lnTo>
                  <a:lnTo>
                    <a:pt x="1252" y="360"/>
                  </a:lnTo>
                  <a:lnTo>
                    <a:pt x="1252" y="360"/>
                  </a:lnTo>
                  <a:lnTo>
                    <a:pt x="1252" y="360"/>
                  </a:lnTo>
                  <a:lnTo>
                    <a:pt x="1250" y="358"/>
                  </a:lnTo>
                  <a:lnTo>
                    <a:pt x="1250" y="358"/>
                  </a:lnTo>
                  <a:lnTo>
                    <a:pt x="1250" y="358"/>
                  </a:lnTo>
                  <a:lnTo>
                    <a:pt x="1247" y="358"/>
                  </a:lnTo>
                  <a:lnTo>
                    <a:pt x="1247" y="358"/>
                  </a:lnTo>
                  <a:lnTo>
                    <a:pt x="1247" y="360"/>
                  </a:lnTo>
                  <a:lnTo>
                    <a:pt x="1250" y="360"/>
                  </a:lnTo>
                  <a:lnTo>
                    <a:pt x="1250" y="360"/>
                  </a:lnTo>
                  <a:lnTo>
                    <a:pt x="1250" y="360"/>
                  </a:lnTo>
                  <a:lnTo>
                    <a:pt x="1250" y="360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47" y="362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50" y="362"/>
                  </a:lnTo>
                  <a:lnTo>
                    <a:pt x="1250" y="365"/>
                  </a:lnTo>
                  <a:lnTo>
                    <a:pt x="1250" y="365"/>
                  </a:lnTo>
                  <a:lnTo>
                    <a:pt x="1252" y="365"/>
                  </a:lnTo>
                  <a:lnTo>
                    <a:pt x="1252" y="365"/>
                  </a:lnTo>
                  <a:lnTo>
                    <a:pt x="1252" y="365"/>
                  </a:lnTo>
                  <a:lnTo>
                    <a:pt x="1252" y="365"/>
                  </a:lnTo>
                  <a:lnTo>
                    <a:pt x="1254" y="365"/>
                  </a:lnTo>
                  <a:lnTo>
                    <a:pt x="1254" y="365"/>
                  </a:lnTo>
                  <a:lnTo>
                    <a:pt x="1252" y="365"/>
                  </a:lnTo>
                  <a:lnTo>
                    <a:pt x="1252" y="365"/>
                  </a:lnTo>
                  <a:lnTo>
                    <a:pt x="1252" y="367"/>
                  </a:lnTo>
                  <a:lnTo>
                    <a:pt x="1252" y="367"/>
                  </a:lnTo>
                  <a:lnTo>
                    <a:pt x="1254" y="367"/>
                  </a:lnTo>
                  <a:lnTo>
                    <a:pt x="1254" y="367"/>
                  </a:lnTo>
                  <a:lnTo>
                    <a:pt x="1254" y="367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69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4" y="371"/>
                  </a:lnTo>
                  <a:lnTo>
                    <a:pt x="1256" y="371"/>
                  </a:lnTo>
                  <a:lnTo>
                    <a:pt x="1256" y="371"/>
                  </a:lnTo>
                  <a:lnTo>
                    <a:pt x="1256" y="371"/>
                  </a:lnTo>
                  <a:lnTo>
                    <a:pt x="1259" y="371"/>
                  </a:lnTo>
                  <a:lnTo>
                    <a:pt x="1259" y="371"/>
                  </a:lnTo>
                  <a:lnTo>
                    <a:pt x="1259" y="371"/>
                  </a:lnTo>
                  <a:lnTo>
                    <a:pt x="1259" y="371"/>
                  </a:lnTo>
                  <a:lnTo>
                    <a:pt x="1259" y="371"/>
                  </a:lnTo>
                  <a:lnTo>
                    <a:pt x="1259" y="374"/>
                  </a:lnTo>
                  <a:lnTo>
                    <a:pt x="1256" y="374"/>
                  </a:lnTo>
                  <a:lnTo>
                    <a:pt x="1256" y="374"/>
                  </a:lnTo>
                  <a:lnTo>
                    <a:pt x="1256" y="374"/>
                  </a:lnTo>
                  <a:lnTo>
                    <a:pt x="1259" y="374"/>
                  </a:lnTo>
                  <a:lnTo>
                    <a:pt x="1259" y="374"/>
                  </a:lnTo>
                  <a:lnTo>
                    <a:pt x="1259" y="374"/>
                  </a:lnTo>
                  <a:lnTo>
                    <a:pt x="1259" y="371"/>
                  </a:lnTo>
                  <a:lnTo>
                    <a:pt x="1259" y="371"/>
                  </a:lnTo>
                  <a:lnTo>
                    <a:pt x="1261" y="374"/>
                  </a:lnTo>
                  <a:lnTo>
                    <a:pt x="1261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1" y="374"/>
                  </a:lnTo>
                  <a:lnTo>
                    <a:pt x="1261" y="374"/>
                  </a:lnTo>
                  <a:lnTo>
                    <a:pt x="1261" y="374"/>
                  </a:lnTo>
                  <a:lnTo>
                    <a:pt x="1261" y="374"/>
                  </a:lnTo>
                  <a:lnTo>
                    <a:pt x="1259" y="374"/>
                  </a:lnTo>
                  <a:lnTo>
                    <a:pt x="1259" y="374"/>
                  </a:lnTo>
                  <a:lnTo>
                    <a:pt x="1259" y="374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61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59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4"/>
                  </a:lnTo>
                  <a:lnTo>
                    <a:pt x="1261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4"/>
                  </a:lnTo>
                  <a:lnTo>
                    <a:pt x="1263" y="376"/>
                  </a:lnTo>
                  <a:lnTo>
                    <a:pt x="1263" y="376"/>
                  </a:lnTo>
                  <a:lnTo>
                    <a:pt x="1263" y="376"/>
                  </a:lnTo>
                  <a:lnTo>
                    <a:pt x="1263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1" y="376"/>
                  </a:lnTo>
                  <a:lnTo>
                    <a:pt x="1263" y="376"/>
                  </a:lnTo>
                  <a:lnTo>
                    <a:pt x="1263" y="376"/>
                  </a:lnTo>
                  <a:lnTo>
                    <a:pt x="1263" y="376"/>
                  </a:lnTo>
                  <a:lnTo>
                    <a:pt x="1263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6"/>
                  </a:lnTo>
                  <a:lnTo>
                    <a:pt x="1265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5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78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70" y="380"/>
                  </a:lnTo>
                  <a:lnTo>
                    <a:pt x="1270" y="380"/>
                  </a:lnTo>
                  <a:lnTo>
                    <a:pt x="1270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70" y="380"/>
                  </a:lnTo>
                  <a:lnTo>
                    <a:pt x="1270" y="380"/>
                  </a:lnTo>
                  <a:lnTo>
                    <a:pt x="1270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68" y="380"/>
                  </a:lnTo>
                  <a:lnTo>
                    <a:pt x="1270" y="380"/>
                  </a:lnTo>
                  <a:lnTo>
                    <a:pt x="1270" y="380"/>
                  </a:lnTo>
                  <a:lnTo>
                    <a:pt x="1270" y="380"/>
                  </a:lnTo>
                  <a:lnTo>
                    <a:pt x="1270" y="383"/>
                  </a:lnTo>
                  <a:lnTo>
                    <a:pt x="1270" y="383"/>
                  </a:lnTo>
                  <a:lnTo>
                    <a:pt x="1268" y="383"/>
                  </a:lnTo>
                  <a:lnTo>
                    <a:pt x="1268" y="383"/>
                  </a:lnTo>
                  <a:lnTo>
                    <a:pt x="1268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4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2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3"/>
                  </a:lnTo>
                  <a:lnTo>
                    <a:pt x="1274" y="385"/>
                  </a:lnTo>
                  <a:lnTo>
                    <a:pt x="1274" y="385"/>
                  </a:lnTo>
                  <a:lnTo>
                    <a:pt x="1274" y="385"/>
                  </a:lnTo>
                  <a:lnTo>
                    <a:pt x="1274" y="385"/>
                  </a:lnTo>
                  <a:lnTo>
                    <a:pt x="1274" y="385"/>
                  </a:lnTo>
                  <a:lnTo>
                    <a:pt x="1274" y="385"/>
                  </a:lnTo>
                  <a:lnTo>
                    <a:pt x="1274" y="387"/>
                  </a:lnTo>
                  <a:lnTo>
                    <a:pt x="1274" y="387"/>
                  </a:lnTo>
                  <a:lnTo>
                    <a:pt x="1274" y="387"/>
                  </a:lnTo>
                  <a:lnTo>
                    <a:pt x="1274" y="387"/>
                  </a:lnTo>
                  <a:lnTo>
                    <a:pt x="1274" y="387"/>
                  </a:lnTo>
                  <a:lnTo>
                    <a:pt x="1274" y="387"/>
                  </a:lnTo>
                  <a:lnTo>
                    <a:pt x="1274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7" y="387"/>
                  </a:lnTo>
                  <a:lnTo>
                    <a:pt x="1274" y="387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4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89"/>
                  </a:lnTo>
                  <a:lnTo>
                    <a:pt x="1279" y="392"/>
                  </a:lnTo>
                  <a:lnTo>
                    <a:pt x="1277" y="392"/>
                  </a:lnTo>
                  <a:lnTo>
                    <a:pt x="1277" y="392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89"/>
                  </a:lnTo>
                  <a:lnTo>
                    <a:pt x="1277" y="392"/>
                  </a:lnTo>
                  <a:lnTo>
                    <a:pt x="1279" y="392"/>
                  </a:lnTo>
                  <a:lnTo>
                    <a:pt x="1279" y="392"/>
                  </a:lnTo>
                  <a:lnTo>
                    <a:pt x="1279" y="392"/>
                  </a:lnTo>
                  <a:lnTo>
                    <a:pt x="1279" y="392"/>
                  </a:lnTo>
                  <a:lnTo>
                    <a:pt x="1281" y="392"/>
                  </a:lnTo>
                  <a:lnTo>
                    <a:pt x="1281" y="392"/>
                  </a:lnTo>
                  <a:lnTo>
                    <a:pt x="1281" y="392"/>
                  </a:lnTo>
                  <a:lnTo>
                    <a:pt x="1279" y="392"/>
                  </a:lnTo>
                  <a:lnTo>
                    <a:pt x="1279" y="392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9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4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4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4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6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7" y="398"/>
                  </a:lnTo>
                  <a:lnTo>
                    <a:pt x="1274" y="398"/>
                  </a:lnTo>
                  <a:lnTo>
                    <a:pt x="1274" y="398"/>
                  </a:lnTo>
                  <a:lnTo>
                    <a:pt x="1274" y="398"/>
                  </a:lnTo>
                  <a:lnTo>
                    <a:pt x="1272" y="398"/>
                  </a:lnTo>
                  <a:lnTo>
                    <a:pt x="1270" y="398"/>
                  </a:lnTo>
                  <a:lnTo>
                    <a:pt x="1270" y="398"/>
                  </a:lnTo>
                  <a:lnTo>
                    <a:pt x="1270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8" y="398"/>
                  </a:lnTo>
                  <a:lnTo>
                    <a:pt x="1265" y="398"/>
                  </a:lnTo>
                  <a:lnTo>
                    <a:pt x="1265" y="398"/>
                  </a:lnTo>
                  <a:lnTo>
                    <a:pt x="1265" y="398"/>
                  </a:lnTo>
                  <a:lnTo>
                    <a:pt x="1265" y="396"/>
                  </a:lnTo>
                  <a:lnTo>
                    <a:pt x="1268" y="396"/>
                  </a:lnTo>
                  <a:lnTo>
                    <a:pt x="1268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5" y="396"/>
                  </a:lnTo>
                  <a:lnTo>
                    <a:pt x="1263" y="396"/>
                  </a:lnTo>
                  <a:lnTo>
                    <a:pt x="1263" y="396"/>
                  </a:lnTo>
                  <a:lnTo>
                    <a:pt x="1263" y="396"/>
                  </a:lnTo>
                  <a:lnTo>
                    <a:pt x="1263" y="396"/>
                  </a:lnTo>
                  <a:lnTo>
                    <a:pt x="1263" y="396"/>
                  </a:lnTo>
                  <a:lnTo>
                    <a:pt x="1263" y="396"/>
                  </a:lnTo>
                  <a:lnTo>
                    <a:pt x="1261" y="396"/>
                  </a:lnTo>
                  <a:lnTo>
                    <a:pt x="1261" y="394"/>
                  </a:lnTo>
                  <a:lnTo>
                    <a:pt x="1261" y="394"/>
                  </a:lnTo>
                  <a:lnTo>
                    <a:pt x="1261" y="396"/>
                  </a:lnTo>
                  <a:lnTo>
                    <a:pt x="1261" y="396"/>
                  </a:lnTo>
                  <a:lnTo>
                    <a:pt x="1259" y="396"/>
                  </a:lnTo>
                  <a:lnTo>
                    <a:pt x="1259" y="396"/>
                  </a:lnTo>
                  <a:lnTo>
                    <a:pt x="1259" y="394"/>
                  </a:lnTo>
                  <a:lnTo>
                    <a:pt x="1259" y="394"/>
                  </a:lnTo>
                  <a:lnTo>
                    <a:pt x="1259" y="394"/>
                  </a:lnTo>
                  <a:lnTo>
                    <a:pt x="1259" y="394"/>
                  </a:lnTo>
                  <a:lnTo>
                    <a:pt x="1259" y="394"/>
                  </a:lnTo>
                  <a:lnTo>
                    <a:pt x="1259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6" y="394"/>
                  </a:lnTo>
                  <a:lnTo>
                    <a:pt x="1254" y="394"/>
                  </a:lnTo>
                  <a:lnTo>
                    <a:pt x="1254" y="394"/>
                  </a:lnTo>
                  <a:lnTo>
                    <a:pt x="1254" y="392"/>
                  </a:lnTo>
                  <a:lnTo>
                    <a:pt x="1254" y="392"/>
                  </a:lnTo>
                  <a:lnTo>
                    <a:pt x="1252" y="392"/>
                  </a:lnTo>
                  <a:lnTo>
                    <a:pt x="1252" y="392"/>
                  </a:lnTo>
                  <a:lnTo>
                    <a:pt x="1252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50" y="392"/>
                  </a:lnTo>
                  <a:lnTo>
                    <a:pt x="1247" y="392"/>
                  </a:lnTo>
                  <a:lnTo>
                    <a:pt x="1247" y="392"/>
                  </a:lnTo>
                  <a:lnTo>
                    <a:pt x="1247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45" y="392"/>
                  </a:lnTo>
                  <a:lnTo>
                    <a:pt x="1238" y="392"/>
                  </a:lnTo>
                  <a:lnTo>
                    <a:pt x="1238" y="389"/>
                  </a:lnTo>
                  <a:lnTo>
                    <a:pt x="1238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6" y="389"/>
                  </a:lnTo>
                  <a:lnTo>
                    <a:pt x="1234" y="389"/>
                  </a:lnTo>
                  <a:lnTo>
                    <a:pt x="1236" y="387"/>
                  </a:lnTo>
                  <a:lnTo>
                    <a:pt x="1236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4" y="387"/>
                  </a:lnTo>
                  <a:lnTo>
                    <a:pt x="1232" y="387"/>
                  </a:lnTo>
                  <a:lnTo>
                    <a:pt x="1232" y="387"/>
                  </a:lnTo>
                  <a:lnTo>
                    <a:pt x="1229" y="387"/>
                  </a:lnTo>
                  <a:lnTo>
                    <a:pt x="1229" y="385"/>
                  </a:lnTo>
                  <a:lnTo>
                    <a:pt x="1229" y="385"/>
                  </a:lnTo>
                  <a:lnTo>
                    <a:pt x="1229" y="385"/>
                  </a:lnTo>
                  <a:lnTo>
                    <a:pt x="1232" y="383"/>
                  </a:lnTo>
                  <a:lnTo>
                    <a:pt x="1232" y="383"/>
                  </a:lnTo>
                  <a:lnTo>
                    <a:pt x="1229" y="383"/>
                  </a:lnTo>
                  <a:lnTo>
                    <a:pt x="1229" y="383"/>
                  </a:lnTo>
                  <a:lnTo>
                    <a:pt x="1229" y="383"/>
                  </a:lnTo>
                  <a:lnTo>
                    <a:pt x="1229" y="383"/>
                  </a:lnTo>
                  <a:lnTo>
                    <a:pt x="1229" y="383"/>
                  </a:lnTo>
                  <a:lnTo>
                    <a:pt x="1229" y="383"/>
                  </a:lnTo>
                  <a:lnTo>
                    <a:pt x="1229" y="385"/>
                  </a:lnTo>
                  <a:lnTo>
                    <a:pt x="1229" y="385"/>
                  </a:lnTo>
                  <a:lnTo>
                    <a:pt x="1229" y="385"/>
                  </a:lnTo>
                  <a:lnTo>
                    <a:pt x="1229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9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5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7" y="383"/>
                  </a:lnTo>
                  <a:lnTo>
                    <a:pt x="1225" y="383"/>
                  </a:lnTo>
                  <a:lnTo>
                    <a:pt x="1225" y="383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9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78"/>
                  </a:lnTo>
                  <a:lnTo>
                    <a:pt x="1227" y="378"/>
                  </a:lnTo>
                  <a:lnTo>
                    <a:pt x="1227" y="378"/>
                  </a:lnTo>
                  <a:lnTo>
                    <a:pt x="1227" y="378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7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78"/>
                  </a:lnTo>
                  <a:lnTo>
                    <a:pt x="1225" y="378"/>
                  </a:lnTo>
                  <a:lnTo>
                    <a:pt x="1225" y="378"/>
                  </a:lnTo>
                  <a:lnTo>
                    <a:pt x="1225" y="378"/>
                  </a:lnTo>
                  <a:lnTo>
                    <a:pt x="1223" y="378"/>
                  </a:lnTo>
                  <a:lnTo>
                    <a:pt x="1223" y="378"/>
                  </a:lnTo>
                  <a:lnTo>
                    <a:pt x="1223" y="378"/>
                  </a:lnTo>
                  <a:lnTo>
                    <a:pt x="1223" y="378"/>
                  </a:lnTo>
                  <a:lnTo>
                    <a:pt x="1225" y="378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5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80"/>
                  </a:lnTo>
                  <a:lnTo>
                    <a:pt x="1223" y="378"/>
                  </a:lnTo>
                  <a:lnTo>
                    <a:pt x="1220" y="380"/>
                  </a:lnTo>
                  <a:lnTo>
                    <a:pt x="1220" y="380"/>
                  </a:lnTo>
                  <a:lnTo>
                    <a:pt x="1218" y="380"/>
                  </a:lnTo>
                  <a:lnTo>
                    <a:pt x="1218" y="380"/>
                  </a:lnTo>
                  <a:lnTo>
                    <a:pt x="1218" y="380"/>
                  </a:lnTo>
                  <a:lnTo>
                    <a:pt x="1218" y="380"/>
                  </a:lnTo>
                  <a:lnTo>
                    <a:pt x="1218" y="380"/>
                  </a:lnTo>
                  <a:lnTo>
                    <a:pt x="1216" y="380"/>
                  </a:lnTo>
                  <a:lnTo>
                    <a:pt x="1216" y="380"/>
                  </a:lnTo>
                  <a:lnTo>
                    <a:pt x="1216" y="378"/>
                  </a:lnTo>
                  <a:lnTo>
                    <a:pt x="1216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4" y="378"/>
                  </a:lnTo>
                  <a:lnTo>
                    <a:pt x="1211" y="376"/>
                  </a:lnTo>
                  <a:lnTo>
                    <a:pt x="1209" y="376"/>
                  </a:lnTo>
                  <a:lnTo>
                    <a:pt x="1209" y="376"/>
                  </a:lnTo>
                  <a:lnTo>
                    <a:pt x="1209" y="376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9" y="376"/>
                  </a:lnTo>
                  <a:lnTo>
                    <a:pt x="1209" y="376"/>
                  </a:lnTo>
                  <a:lnTo>
                    <a:pt x="1209" y="376"/>
                  </a:lnTo>
                  <a:lnTo>
                    <a:pt x="1209" y="376"/>
                  </a:lnTo>
                  <a:lnTo>
                    <a:pt x="1209" y="376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5" y="376"/>
                  </a:lnTo>
                  <a:lnTo>
                    <a:pt x="1205" y="376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9" y="374"/>
                  </a:lnTo>
                  <a:lnTo>
                    <a:pt x="1209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6"/>
                  </a:lnTo>
                  <a:lnTo>
                    <a:pt x="1207" y="376"/>
                  </a:lnTo>
                  <a:lnTo>
                    <a:pt x="1205" y="376"/>
                  </a:lnTo>
                  <a:lnTo>
                    <a:pt x="1205" y="376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9" y="374"/>
                  </a:lnTo>
                  <a:lnTo>
                    <a:pt x="1209" y="374"/>
                  </a:lnTo>
                  <a:lnTo>
                    <a:pt x="1209" y="374"/>
                  </a:lnTo>
                  <a:lnTo>
                    <a:pt x="1209" y="374"/>
                  </a:lnTo>
                  <a:lnTo>
                    <a:pt x="1209" y="374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11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11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9" y="371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7" y="374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5" y="371"/>
                  </a:lnTo>
                  <a:lnTo>
                    <a:pt x="1205" y="371"/>
                  </a:lnTo>
                  <a:lnTo>
                    <a:pt x="1205" y="371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5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2" y="374"/>
                  </a:lnTo>
                  <a:lnTo>
                    <a:pt x="1200" y="374"/>
                  </a:lnTo>
                  <a:lnTo>
                    <a:pt x="1200" y="374"/>
                  </a:lnTo>
                  <a:lnTo>
                    <a:pt x="1200" y="374"/>
                  </a:lnTo>
                  <a:lnTo>
                    <a:pt x="1202" y="371"/>
                  </a:lnTo>
                  <a:lnTo>
                    <a:pt x="1202" y="371"/>
                  </a:lnTo>
                  <a:lnTo>
                    <a:pt x="1202" y="371"/>
                  </a:lnTo>
                  <a:lnTo>
                    <a:pt x="1202" y="371"/>
                  </a:lnTo>
                  <a:lnTo>
                    <a:pt x="1200" y="371"/>
                  </a:lnTo>
                  <a:lnTo>
                    <a:pt x="1200" y="371"/>
                  </a:lnTo>
                  <a:lnTo>
                    <a:pt x="1200" y="371"/>
                  </a:lnTo>
                  <a:lnTo>
                    <a:pt x="1200" y="371"/>
                  </a:lnTo>
                  <a:lnTo>
                    <a:pt x="1200" y="371"/>
                  </a:lnTo>
                  <a:lnTo>
                    <a:pt x="1198" y="371"/>
                  </a:lnTo>
                  <a:lnTo>
                    <a:pt x="1198" y="371"/>
                  </a:lnTo>
                  <a:lnTo>
                    <a:pt x="1198" y="371"/>
                  </a:lnTo>
                  <a:lnTo>
                    <a:pt x="1198" y="371"/>
                  </a:lnTo>
                  <a:lnTo>
                    <a:pt x="1198" y="371"/>
                  </a:lnTo>
                  <a:lnTo>
                    <a:pt x="1198" y="371"/>
                  </a:lnTo>
                  <a:lnTo>
                    <a:pt x="1198" y="371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200" y="369"/>
                  </a:lnTo>
                  <a:lnTo>
                    <a:pt x="1200" y="369"/>
                  </a:lnTo>
                  <a:lnTo>
                    <a:pt x="1200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9"/>
                  </a:lnTo>
                  <a:lnTo>
                    <a:pt x="1198" y="367"/>
                  </a:lnTo>
                  <a:lnTo>
                    <a:pt x="1198" y="367"/>
                  </a:lnTo>
                  <a:lnTo>
                    <a:pt x="1198" y="367"/>
                  </a:lnTo>
                  <a:lnTo>
                    <a:pt x="1198" y="367"/>
                  </a:lnTo>
                  <a:lnTo>
                    <a:pt x="1198" y="367"/>
                  </a:lnTo>
                  <a:lnTo>
                    <a:pt x="1200" y="367"/>
                  </a:lnTo>
                  <a:lnTo>
                    <a:pt x="1200" y="367"/>
                  </a:lnTo>
                  <a:lnTo>
                    <a:pt x="1198" y="367"/>
                  </a:lnTo>
                  <a:lnTo>
                    <a:pt x="1200" y="367"/>
                  </a:lnTo>
                  <a:lnTo>
                    <a:pt x="1200" y="367"/>
                  </a:lnTo>
                  <a:lnTo>
                    <a:pt x="1198" y="365"/>
                  </a:lnTo>
                  <a:lnTo>
                    <a:pt x="1198" y="367"/>
                  </a:lnTo>
                  <a:lnTo>
                    <a:pt x="1198" y="367"/>
                  </a:lnTo>
                  <a:lnTo>
                    <a:pt x="1198" y="367"/>
                  </a:lnTo>
                  <a:lnTo>
                    <a:pt x="1196" y="367"/>
                  </a:lnTo>
                  <a:lnTo>
                    <a:pt x="1196" y="367"/>
                  </a:lnTo>
                  <a:lnTo>
                    <a:pt x="1196" y="365"/>
                  </a:lnTo>
                  <a:lnTo>
                    <a:pt x="1196" y="365"/>
                  </a:lnTo>
                  <a:lnTo>
                    <a:pt x="1196" y="365"/>
                  </a:lnTo>
                  <a:lnTo>
                    <a:pt x="1196" y="365"/>
                  </a:lnTo>
                  <a:lnTo>
                    <a:pt x="1196" y="367"/>
                  </a:lnTo>
                  <a:lnTo>
                    <a:pt x="1196" y="367"/>
                  </a:lnTo>
                  <a:lnTo>
                    <a:pt x="1196" y="367"/>
                  </a:lnTo>
                  <a:lnTo>
                    <a:pt x="1193" y="367"/>
                  </a:lnTo>
                  <a:lnTo>
                    <a:pt x="1193" y="367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3" y="365"/>
                  </a:lnTo>
                  <a:lnTo>
                    <a:pt x="1196" y="365"/>
                  </a:lnTo>
                  <a:lnTo>
                    <a:pt x="1196" y="365"/>
                  </a:lnTo>
                  <a:lnTo>
                    <a:pt x="1196" y="365"/>
                  </a:lnTo>
                  <a:lnTo>
                    <a:pt x="1196" y="365"/>
                  </a:lnTo>
                  <a:lnTo>
                    <a:pt x="1198" y="365"/>
                  </a:lnTo>
                  <a:lnTo>
                    <a:pt x="1200" y="365"/>
                  </a:lnTo>
                  <a:lnTo>
                    <a:pt x="1202" y="365"/>
                  </a:lnTo>
                  <a:lnTo>
                    <a:pt x="1202" y="365"/>
                  </a:lnTo>
                  <a:lnTo>
                    <a:pt x="1202" y="365"/>
                  </a:lnTo>
                  <a:lnTo>
                    <a:pt x="1202" y="365"/>
                  </a:lnTo>
                  <a:lnTo>
                    <a:pt x="1202" y="365"/>
                  </a:lnTo>
                  <a:lnTo>
                    <a:pt x="1205" y="365"/>
                  </a:lnTo>
                  <a:lnTo>
                    <a:pt x="1207" y="365"/>
                  </a:lnTo>
                  <a:lnTo>
                    <a:pt x="1207" y="365"/>
                  </a:lnTo>
                  <a:lnTo>
                    <a:pt x="1207" y="365"/>
                  </a:lnTo>
                  <a:lnTo>
                    <a:pt x="1207" y="365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9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9" y="362"/>
                  </a:lnTo>
                  <a:lnTo>
                    <a:pt x="1209" y="360"/>
                  </a:lnTo>
                  <a:lnTo>
                    <a:pt x="1209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7" y="362"/>
                  </a:lnTo>
                  <a:lnTo>
                    <a:pt x="1205" y="362"/>
                  </a:lnTo>
                  <a:lnTo>
                    <a:pt x="1205" y="362"/>
                  </a:lnTo>
                  <a:lnTo>
                    <a:pt x="1205" y="362"/>
                  </a:lnTo>
                  <a:lnTo>
                    <a:pt x="1205" y="362"/>
                  </a:lnTo>
                  <a:lnTo>
                    <a:pt x="1205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7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7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2" y="360"/>
                  </a:lnTo>
                  <a:lnTo>
                    <a:pt x="1202" y="360"/>
                  </a:lnTo>
                  <a:lnTo>
                    <a:pt x="1205" y="360"/>
                  </a:lnTo>
                  <a:lnTo>
                    <a:pt x="1205" y="360"/>
                  </a:lnTo>
                  <a:lnTo>
                    <a:pt x="1205" y="358"/>
                  </a:lnTo>
                  <a:lnTo>
                    <a:pt x="1205" y="358"/>
                  </a:lnTo>
                  <a:lnTo>
                    <a:pt x="1205" y="358"/>
                  </a:lnTo>
                  <a:lnTo>
                    <a:pt x="1205" y="358"/>
                  </a:lnTo>
                  <a:lnTo>
                    <a:pt x="1202" y="360"/>
                  </a:lnTo>
                  <a:lnTo>
                    <a:pt x="1202" y="360"/>
                  </a:lnTo>
                  <a:lnTo>
                    <a:pt x="1202" y="360"/>
                  </a:lnTo>
                  <a:lnTo>
                    <a:pt x="1202" y="360"/>
                  </a:lnTo>
                  <a:lnTo>
                    <a:pt x="1202" y="360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0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2" y="358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200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58"/>
                  </a:lnTo>
                  <a:lnTo>
                    <a:pt x="1198" y="358"/>
                  </a:lnTo>
                  <a:lnTo>
                    <a:pt x="1198" y="358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60"/>
                  </a:lnTo>
                  <a:lnTo>
                    <a:pt x="1198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60"/>
                  </a:lnTo>
                  <a:lnTo>
                    <a:pt x="1196" y="360"/>
                  </a:lnTo>
                  <a:lnTo>
                    <a:pt x="1196" y="360"/>
                  </a:lnTo>
                  <a:lnTo>
                    <a:pt x="1196" y="360"/>
                  </a:lnTo>
                  <a:lnTo>
                    <a:pt x="1196" y="360"/>
                  </a:lnTo>
                  <a:lnTo>
                    <a:pt x="1193" y="360"/>
                  </a:lnTo>
                  <a:lnTo>
                    <a:pt x="1193" y="360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6" y="358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200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4"/>
                  </a:lnTo>
                  <a:lnTo>
                    <a:pt x="1198" y="354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8" y="356"/>
                  </a:lnTo>
                  <a:lnTo>
                    <a:pt x="1196" y="356"/>
                  </a:lnTo>
                  <a:lnTo>
                    <a:pt x="1196" y="356"/>
                  </a:lnTo>
                  <a:lnTo>
                    <a:pt x="1196" y="356"/>
                  </a:lnTo>
                  <a:lnTo>
                    <a:pt x="1196" y="356"/>
                  </a:lnTo>
                  <a:lnTo>
                    <a:pt x="1196" y="356"/>
                  </a:lnTo>
                  <a:lnTo>
                    <a:pt x="1193" y="356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1" y="358"/>
                  </a:lnTo>
                  <a:lnTo>
                    <a:pt x="1191" y="358"/>
                  </a:lnTo>
                  <a:lnTo>
                    <a:pt x="1191" y="358"/>
                  </a:lnTo>
                  <a:lnTo>
                    <a:pt x="1191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3" y="358"/>
                  </a:lnTo>
                  <a:lnTo>
                    <a:pt x="1191" y="356"/>
                  </a:lnTo>
                  <a:lnTo>
                    <a:pt x="1191" y="356"/>
                  </a:lnTo>
                  <a:lnTo>
                    <a:pt x="1191" y="356"/>
                  </a:lnTo>
                  <a:lnTo>
                    <a:pt x="1191" y="356"/>
                  </a:lnTo>
                  <a:lnTo>
                    <a:pt x="1189" y="356"/>
                  </a:lnTo>
                  <a:lnTo>
                    <a:pt x="1191" y="356"/>
                  </a:lnTo>
                  <a:lnTo>
                    <a:pt x="1191" y="356"/>
                  </a:lnTo>
                  <a:lnTo>
                    <a:pt x="1191" y="356"/>
                  </a:lnTo>
                  <a:lnTo>
                    <a:pt x="1191" y="356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3" y="354"/>
                  </a:lnTo>
                  <a:lnTo>
                    <a:pt x="1193" y="354"/>
                  </a:lnTo>
                  <a:lnTo>
                    <a:pt x="1193" y="354"/>
                  </a:lnTo>
                  <a:lnTo>
                    <a:pt x="1193" y="354"/>
                  </a:lnTo>
                  <a:lnTo>
                    <a:pt x="1193" y="354"/>
                  </a:lnTo>
                  <a:lnTo>
                    <a:pt x="1193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1"/>
                  </a:lnTo>
                  <a:lnTo>
                    <a:pt x="1193" y="351"/>
                  </a:lnTo>
                  <a:lnTo>
                    <a:pt x="1193" y="351"/>
                  </a:lnTo>
                  <a:lnTo>
                    <a:pt x="1193" y="351"/>
                  </a:lnTo>
                  <a:lnTo>
                    <a:pt x="1193" y="351"/>
                  </a:lnTo>
                  <a:lnTo>
                    <a:pt x="1193" y="351"/>
                  </a:lnTo>
                  <a:lnTo>
                    <a:pt x="1193" y="351"/>
                  </a:lnTo>
                  <a:lnTo>
                    <a:pt x="1191" y="351"/>
                  </a:lnTo>
                  <a:lnTo>
                    <a:pt x="1191" y="351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91" y="354"/>
                  </a:lnTo>
                  <a:lnTo>
                    <a:pt x="1189" y="354"/>
                  </a:lnTo>
                  <a:lnTo>
                    <a:pt x="1189" y="354"/>
                  </a:lnTo>
                  <a:lnTo>
                    <a:pt x="1189" y="354"/>
                  </a:lnTo>
                  <a:lnTo>
                    <a:pt x="1189" y="351"/>
                  </a:lnTo>
                  <a:lnTo>
                    <a:pt x="1189" y="354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51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7" y="349"/>
                  </a:lnTo>
                  <a:lnTo>
                    <a:pt x="1187" y="349"/>
                  </a:lnTo>
                  <a:lnTo>
                    <a:pt x="1187" y="349"/>
                  </a:lnTo>
                  <a:lnTo>
                    <a:pt x="1187" y="349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9" y="349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9" y="347"/>
                  </a:lnTo>
                  <a:lnTo>
                    <a:pt x="1189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7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7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4" y="345"/>
                  </a:lnTo>
                  <a:lnTo>
                    <a:pt x="1187" y="345"/>
                  </a:lnTo>
                  <a:lnTo>
                    <a:pt x="1187" y="345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5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7" y="342"/>
                  </a:lnTo>
                  <a:lnTo>
                    <a:pt x="1189" y="342"/>
                  </a:lnTo>
                  <a:lnTo>
                    <a:pt x="1189" y="342"/>
                  </a:lnTo>
                  <a:lnTo>
                    <a:pt x="1189" y="342"/>
                  </a:lnTo>
                  <a:lnTo>
                    <a:pt x="1189" y="342"/>
                  </a:lnTo>
                  <a:lnTo>
                    <a:pt x="1189" y="342"/>
                  </a:lnTo>
                  <a:lnTo>
                    <a:pt x="1189" y="342"/>
                  </a:lnTo>
                  <a:lnTo>
                    <a:pt x="1191" y="342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91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0"/>
                  </a:lnTo>
                  <a:lnTo>
                    <a:pt x="1189" y="342"/>
                  </a:lnTo>
                  <a:lnTo>
                    <a:pt x="1189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2"/>
                  </a:lnTo>
                  <a:lnTo>
                    <a:pt x="1184" y="340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2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7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4" y="340"/>
                  </a:lnTo>
                  <a:lnTo>
                    <a:pt x="1182" y="340"/>
                  </a:lnTo>
                  <a:lnTo>
                    <a:pt x="1182" y="340"/>
                  </a:lnTo>
                  <a:lnTo>
                    <a:pt x="1182" y="340"/>
                  </a:lnTo>
                  <a:lnTo>
                    <a:pt x="1182" y="340"/>
                  </a:lnTo>
                  <a:lnTo>
                    <a:pt x="1182" y="340"/>
                  </a:lnTo>
                  <a:lnTo>
                    <a:pt x="1182" y="340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2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0"/>
                  </a:lnTo>
                  <a:lnTo>
                    <a:pt x="1180" y="340"/>
                  </a:lnTo>
                  <a:lnTo>
                    <a:pt x="1180" y="340"/>
                  </a:lnTo>
                  <a:lnTo>
                    <a:pt x="1180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80" y="340"/>
                  </a:lnTo>
                  <a:lnTo>
                    <a:pt x="1178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80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5"/>
                  </a:lnTo>
                  <a:lnTo>
                    <a:pt x="1178" y="345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7"/>
                  </a:lnTo>
                  <a:lnTo>
                    <a:pt x="1175" y="347"/>
                  </a:lnTo>
                  <a:lnTo>
                    <a:pt x="1175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3" y="347"/>
                  </a:lnTo>
                  <a:lnTo>
                    <a:pt x="1171" y="345"/>
                  </a:lnTo>
                  <a:lnTo>
                    <a:pt x="1171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5"/>
                  </a:lnTo>
                  <a:lnTo>
                    <a:pt x="1173" y="342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5"/>
                  </a:lnTo>
                  <a:lnTo>
                    <a:pt x="1175" y="342"/>
                  </a:lnTo>
                  <a:lnTo>
                    <a:pt x="1175" y="342"/>
                  </a:lnTo>
                  <a:lnTo>
                    <a:pt x="1175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8" y="342"/>
                  </a:lnTo>
                  <a:lnTo>
                    <a:pt x="1175" y="342"/>
                  </a:lnTo>
                  <a:lnTo>
                    <a:pt x="1175" y="342"/>
                  </a:lnTo>
                  <a:lnTo>
                    <a:pt x="1175" y="342"/>
                  </a:lnTo>
                  <a:lnTo>
                    <a:pt x="1175" y="342"/>
                  </a:lnTo>
                  <a:lnTo>
                    <a:pt x="1175" y="340"/>
                  </a:lnTo>
                  <a:lnTo>
                    <a:pt x="1175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78" y="340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8" y="338"/>
                  </a:lnTo>
                  <a:lnTo>
                    <a:pt x="1175" y="338"/>
                  </a:lnTo>
                  <a:lnTo>
                    <a:pt x="1175" y="338"/>
                  </a:lnTo>
                  <a:lnTo>
                    <a:pt x="1175" y="340"/>
                  </a:lnTo>
                  <a:lnTo>
                    <a:pt x="1175" y="340"/>
                  </a:lnTo>
                  <a:lnTo>
                    <a:pt x="1175" y="338"/>
                  </a:lnTo>
                  <a:lnTo>
                    <a:pt x="1175" y="340"/>
                  </a:lnTo>
                  <a:lnTo>
                    <a:pt x="1175" y="340"/>
                  </a:lnTo>
                  <a:lnTo>
                    <a:pt x="1175" y="340"/>
                  </a:lnTo>
                  <a:lnTo>
                    <a:pt x="1175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38"/>
                  </a:lnTo>
                  <a:lnTo>
                    <a:pt x="1173" y="338"/>
                  </a:lnTo>
                  <a:lnTo>
                    <a:pt x="1173" y="338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3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3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71" y="340"/>
                  </a:lnTo>
                  <a:lnTo>
                    <a:pt x="1169" y="340"/>
                  </a:lnTo>
                  <a:lnTo>
                    <a:pt x="1169" y="340"/>
                  </a:lnTo>
                  <a:lnTo>
                    <a:pt x="1169" y="340"/>
                  </a:lnTo>
                  <a:lnTo>
                    <a:pt x="1169" y="340"/>
                  </a:lnTo>
                  <a:lnTo>
                    <a:pt x="1169" y="340"/>
                  </a:lnTo>
                  <a:lnTo>
                    <a:pt x="1169" y="340"/>
                  </a:lnTo>
                  <a:lnTo>
                    <a:pt x="1169" y="340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6"/>
                  </a:lnTo>
                  <a:lnTo>
                    <a:pt x="1171" y="336"/>
                  </a:lnTo>
                  <a:lnTo>
                    <a:pt x="1171" y="336"/>
                  </a:lnTo>
                  <a:lnTo>
                    <a:pt x="1171" y="336"/>
                  </a:lnTo>
                  <a:lnTo>
                    <a:pt x="1173" y="336"/>
                  </a:lnTo>
                  <a:lnTo>
                    <a:pt x="1173" y="336"/>
                  </a:lnTo>
                  <a:lnTo>
                    <a:pt x="1173" y="336"/>
                  </a:lnTo>
                  <a:lnTo>
                    <a:pt x="1173" y="336"/>
                  </a:lnTo>
                  <a:lnTo>
                    <a:pt x="1171" y="336"/>
                  </a:lnTo>
                  <a:lnTo>
                    <a:pt x="1171" y="336"/>
                  </a:lnTo>
                  <a:lnTo>
                    <a:pt x="1173" y="336"/>
                  </a:lnTo>
                  <a:lnTo>
                    <a:pt x="1173" y="336"/>
                  </a:lnTo>
                  <a:lnTo>
                    <a:pt x="1173" y="333"/>
                  </a:lnTo>
                  <a:lnTo>
                    <a:pt x="1173" y="333"/>
                  </a:lnTo>
                  <a:lnTo>
                    <a:pt x="1173" y="333"/>
                  </a:lnTo>
                  <a:lnTo>
                    <a:pt x="1171" y="333"/>
                  </a:lnTo>
                  <a:lnTo>
                    <a:pt x="1171" y="333"/>
                  </a:lnTo>
                  <a:lnTo>
                    <a:pt x="1171" y="333"/>
                  </a:lnTo>
                  <a:lnTo>
                    <a:pt x="1171" y="336"/>
                  </a:lnTo>
                  <a:lnTo>
                    <a:pt x="1171" y="336"/>
                  </a:lnTo>
                  <a:lnTo>
                    <a:pt x="1171" y="336"/>
                  </a:lnTo>
                  <a:lnTo>
                    <a:pt x="1169" y="336"/>
                  </a:lnTo>
                  <a:lnTo>
                    <a:pt x="1169" y="336"/>
                  </a:lnTo>
                  <a:lnTo>
                    <a:pt x="1169" y="336"/>
                  </a:lnTo>
                  <a:lnTo>
                    <a:pt x="1169" y="336"/>
                  </a:lnTo>
                  <a:lnTo>
                    <a:pt x="1169" y="336"/>
                  </a:lnTo>
                  <a:lnTo>
                    <a:pt x="1169" y="336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9" y="338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6" y="336"/>
                  </a:lnTo>
                  <a:lnTo>
                    <a:pt x="1164" y="336"/>
                  </a:lnTo>
                  <a:lnTo>
                    <a:pt x="1164" y="336"/>
                  </a:lnTo>
                  <a:lnTo>
                    <a:pt x="1164" y="338"/>
                  </a:lnTo>
                  <a:lnTo>
                    <a:pt x="1164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6" y="338"/>
                  </a:lnTo>
                  <a:lnTo>
                    <a:pt x="1169" y="340"/>
                  </a:lnTo>
                  <a:lnTo>
                    <a:pt x="1169" y="342"/>
                  </a:lnTo>
                  <a:lnTo>
                    <a:pt x="1169" y="342"/>
                  </a:lnTo>
                  <a:lnTo>
                    <a:pt x="1169" y="342"/>
                  </a:lnTo>
                  <a:lnTo>
                    <a:pt x="1169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9" y="342"/>
                  </a:lnTo>
                  <a:lnTo>
                    <a:pt x="1169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6" y="342"/>
                  </a:lnTo>
                  <a:lnTo>
                    <a:pt x="1169" y="342"/>
                  </a:lnTo>
                  <a:lnTo>
                    <a:pt x="1169" y="345"/>
                  </a:lnTo>
                  <a:lnTo>
                    <a:pt x="1166" y="345"/>
                  </a:lnTo>
                  <a:lnTo>
                    <a:pt x="1166" y="345"/>
                  </a:lnTo>
                  <a:lnTo>
                    <a:pt x="1166" y="345"/>
                  </a:lnTo>
                  <a:lnTo>
                    <a:pt x="1166" y="345"/>
                  </a:lnTo>
                  <a:lnTo>
                    <a:pt x="1166" y="345"/>
                  </a:lnTo>
                  <a:lnTo>
                    <a:pt x="1166" y="345"/>
                  </a:lnTo>
                  <a:lnTo>
                    <a:pt x="1166" y="345"/>
                  </a:lnTo>
                  <a:lnTo>
                    <a:pt x="1164" y="345"/>
                  </a:lnTo>
                  <a:lnTo>
                    <a:pt x="1164" y="345"/>
                  </a:lnTo>
                  <a:lnTo>
                    <a:pt x="1164" y="345"/>
                  </a:lnTo>
                  <a:lnTo>
                    <a:pt x="1164" y="345"/>
                  </a:lnTo>
                  <a:lnTo>
                    <a:pt x="1164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2" y="345"/>
                  </a:lnTo>
                  <a:lnTo>
                    <a:pt x="1160" y="345"/>
                  </a:lnTo>
                  <a:lnTo>
                    <a:pt x="1160" y="345"/>
                  </a:lnTo>
                  <a:lnTo>
                    <a:pt x="1160" y="345"/>
                  </a:lnTo>
                  <a:lnTo>
                    <a:pt x="1160" y="345"/>
                  </a:lnTo>
                  <a:lnTo>
                    <a:pt x="1160" y="345"/>
                  </a:lnTo>
                  <a:lnTo>
                    <a:pt x="1160" y="345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2"/>
                  </a:lnTo>
                  <a:lnTo>
                    <a:pt x="1157" y="345"/>
                  </a:lnTo>
                  <a:lnTo>
                    <a:pt x="1157" y="345"/>
                  </a:lnTo>
                  <a:lnTo>
                    <a:pt x="1157" y="345"/>
                  </a:lnTo>
                  <a:lnTo>
                    <a:pt x="1157" y="345"/>
                  </a:lnTo>
                  <a:lnTo>
                    <a:pt x="1157" y="345"/>
                  </a:lnTo>
                  <a:lnTo>
                    <a:pt x="1155" y="345"/>
                  </a:lnTo>
                  <a:lnTo>
                    <a:pt x="1155" y="345"/>
                  </a:lnTo>
                  <a:lnTo>
                    <a:pt x="1155" y="345"/>
                  </a:lnTo>
                  <a:lnTo>
                    <a:pt x="1155" y="345"/>
                  </a:lnTo>
                  <a:lnTo>
                    <a:pt x="1155" y="345"/>
                  </a:lnTo>
                  <a:lnTo>
                    <a:pt x="1155" y="345"/>
                  </a:lnTo>
                  <a:lnTo>
                    <a:pt x="1155" y="342"/>
                  </a:lnTo>
                  <a:lnTo>
                    <a:pt x="1155" y="342"/>
                  </a:lnTo>
                  <a:lnTo>
                    <a:pt x="1155" y="342"/>
                  </a:lnTo>
                  <a:lnTo>
                    <a:pt x="1155" y="342"/>
                  </a:lnTo>
                  <a:lnTo>
                    <a:pt x="1155" y="342"/>
                  </a:lnTo>
                  <a:lnTo>
                    <a:pt x="1155" y="342"/>
                  </a:lnTo>
                  <a:lnTo>
                    <a:pt x="1155" y="342"/>
                  </a:lnTo>
                  <a:lnTo>
                    <a:pt x="1153" y="342"/>
                  </a:lnTo>
                  <a:lnTo>
                    <a:pt x="1153" y="342"/>
                  </a:lnTo>
                  <a:lnTo>
                    <a:pt x="1153" y="342"/>
                  </a:lnTo>
                  <a:lnTo>
                    <a:pt x="1153" y="342"/>
                  </a:lnTo>
                  <a:lnTo>
                    <a:pt x="1153" y="340"/>
                  </a:lnTo>
                  <a:lnTo>
                    <a:pt x="1151" y="342"/>
                  </a:lnTo>
                  <a:lnTo>
                    <a:pt x="1151" y="342"/>
                  </a:lnTo>
                  <a:lnTo>
                    <a:pt x="1151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0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51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2"/>
                  </a:lnTo>
                  <a:lnTo>
                    <a:pt x="1148" y="342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8" y="345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2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6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4" y="345"/>
                  </a:lnTo>
                  <a:lnTo>
                    <a:pt x="1142" y="345"/>
                  </a:lnTo>
                  <a:lnTo>
                    <a:pt x="1142" y="345"/>
                  </a:lnTo>
                  <a:lnTo>
                    <a:pt x="1142" y="347"/>
                  </a:lnTo>
                  <a:lnTo>
                    <a:pt x="1142" y="347"/>
                  </a:lnTo>
                  <a:lnTo>
                    <a:pt x="1142" y="347"/>
                  </a:lnTo>
                  <a:lnTo>
                    <a:pt x="1142" y="345"/>
                  </a:lnTo>
                  <a:lnTo>
                    <a:pt x="1142" y="345"/>
                  </a:lnTo>
                  <a:lnTo>
                    <a:pt x="1142" y="345"/>
                  </a:lnTo>
                  <a:lnTo>
                    <a:pt x="1142" y="345"/>
                  </a:lnTo>
                  <a:lnTo>
                    <a:pt x="1142" y="345"/>
                  </a:lnTo>
                  <a:lnTo>
                    <a:pt x="1139" y="345"/>
                  </a:lnTo>
                  <a:lnTo>
                    <a:pt x="1139" y="345"/>
                  </a:lnTo>
                  <a:lnTo>
                    <a:pt x="1139" y="345"/>
                  </a:lnTo>
                  <a:lnTo>
                    <a:pt x="1139" y="345"/>
                  </a:lnTo>
                  <a:lnTo>
                    <a:pt x="1139" y="347"/>
                  </a:lnTo>
                  <a:lnTo>
                    <a:pt x="1139" y="347"/>
                  </a:lnTo>
                  <a:lnTo>
                    <a:pt x="1139" y="347"/>
                  </a:lnTo>
                  <a:lnTo>
                    <a:pt x="1137" y="347"/>
                  </a:lnTo>
                  <a:lnTo>
                    <a:pt x="1137" y="347"/>
                  </a:lnTo>
                  <a:lnTo>
                    <a:pt x="1137" y="347"/>
                  </a:lnTo>
                  <a:lnTo>
                    <a:pt x="1137" y="347"/>
                  </a:lnTo>
                  <a:lnTo>
                    <a:pt x="1137" y="347"/>
                  </a:lnTo>
                  <a:lnTo>
                    <a:pt x="1137" y="347"/>
                  </a:lnTo>
                  <a:lnTo>
                    <a:pt x="1137" y="347"/>
                  </a:lnTo>
                  <a:lnTo>
                    <a:pt x="1139" y="347"/>
                  </a:lnTo>
                  <a:lnTo>
                    <a:pt x="1139" y="347"/>
                  </a:lnTo>
                  <a:lnTo>
                    <a:pt x="1137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5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3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7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30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6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8" y="349"/>
                  </a:lnTo>
                  <a:lnTo>
                    <a:pt x="1126" y="349"/>
                  </a:lnTo>
                  <a:lnTo>
                    <a:pt x="1126" y="349"/>
                  </a:lnTo>
                  <a:lnTo>
                    <a:pt x="1126" y="347"/>
                  </a:lnTo>
                  <a:lnTo>
                    <a:pt x="1126" y="349"/>
                  </a:lnTo>
                  <a:lnTo>
                    <a:pt x="1124" y="349"/>
                  </a:lnTo>
                  <a:lnTo>
                    <a:pt x="1124" y="347"/>
                  </a:lnTo>
                  <a:lnTo>
                    <a:pt x="1124" y="347"/>
                  </a:lnTo>
                  <a:lnTo>
                    <a:pt x="1124" y="347"/>
                  </a:lnTo>
                  <a:lnTo>
                    <a:pt x="1124" y="347"/>
                  </a:lnTo>
                  <a:lnTo>
                    <a:pt x="1124" y="347"/>
                  </a:lnTo>
                  <a:lnTo>
                    <a:pt x="1121" y="347"/>
                  </a:lnTo>
                  <a:lnTo>
                    <a:pt x="1119" y="349"/>
                  </a:lnTo>
                  <a:lnTo>
                    <a:pt x="1119" y="349"/>
                  </a:lnTo>
                  <a:lnTo>
                    <a:pt x="1119" y="349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7" y="347"/>
                  </a:lnTo>
                  <a:lnTo>
                    <a:pt x="1117" y="347"/>
                  </a:lnTo>
                  <a:lnTo>
                    <a:pt x="1117" y="347"/>
                  </a:lnTo>
                  <a:lnTo>
                    <a:pt x="1119" y="347"/>
                  </a:lnTo>
                  <a:lnTo>
                    <a:pt x="1119" y="347"/>
                  </a:lnTo>
                  <a:lnTo>
                    <a:pt x="1117" y="347"/>
                  </a:lnTo>
                  <a:lnTo>
                    <a:pt x="1117" y="345"/>
                  </a:lnTo>
                  <a:lnTo>
                    <a:pt x="1117" y="345"/>
                  </a:lnTo>
                  <a:lnTo>
                    <a:pt x="1117" y="345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5" y="347"/>
                  </a:lnTo>
                  <a:lnTo>
                    <a:pt x="1113" y="347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5" y="345"/>
                  </a:lnTo>
                  <a:lnTo>
                    <a:pt x="1115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0" y="345"/>
                  </a:lnTo>
                  <a:lnTo>
                    <a:pt x="1110" y="345"/>
                  </a:lnTo>
                  <a:lnTo>
                    <a:pt x="1110" y="345"/>
                  </a:lnTo>
                  <a:lnTo>
                    <a:pt x="1110" y="345"/>
                  </a:lnTo>
                  <a:lnTo>
                    <a:pt x="1110" y="345"/>
                  </a:lnTo>
                  <a:lnTo>
                    <a:pt x="1110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3" y="345"/>
                  </a:lnTo>
                  <a:lnTo>
                    <a:pt x="1110" y="342"/>
                  </a:lnTo>
                  <a:lnTo>
                    <a:pt x="1110" y="342"/>
                  </a:lnTo>
                  <a:lnTo>
                    <a:pt x="1113" y="342"/>
                  </a:lnTo>
                  <a:lnTo>
                    <a:pt x="1113" y="342"/>
                  </a:lnTo>
                  <a:lnTo>
                    <a:pt x="1110" y="342"/>
                  </a:lnTo>
                  <a:lnTo>
                    <a:pt x="1110" y="342"/>
                  </a:lnTo>
                  <a:lnTo>
                    <a:pt x="1110" y="342"/>
                  </a:lnTo>
                  <a:lnTo>
                    <a:pt x="1110" y="342"/>
                  </a:lnTo>
                  <a:lnTo>
                    <a:pt x="1110" y="342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0" y="340"/>
                  </a:lnTo>
                  <a:lnTo>
                    <a:pt x="1113" y="340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0" y="338"/>
                  </a:lnTo>
                  <a:lnTo>
                    <a:pt x="1110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3" y="338"/>
                  </a:lnTo>
                  <a:lnTo>
                    <a:pt x="1115" y="338"/>
                  </a:lnTo>
                  <a:lnTo>
                    <a:pt x="1115" y="338"/>
                  </a:lnTo>
                  <a:lnTo>
                    <a:pt x="1115" y="338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6"/>
                  </a:lnTo>
                  <a:lnTo>
                    <a:pt x="1115" y="333"/>
                  </a:lnTo>
                  <a:lnTo>
                    <a:pt x="1115" y="333"/>
                  </a:lnTo>
                  <a:lnTo>
                    <a:pt x="1115" y="333"/>
                  </a:lnTo>
                  <a:lnTo>
                    <a:pt x="1115" y="333"/>
                  </a:lnTo>
                  <a:lnTo>
                    <a:pt x="1117" y="333"/>
                  </a:lnTo>
                  <a:lnTo>
                    <a:pt x="1117" y="333"/>
                  </a:lnTo>
                  <a:lnTo>
                    <a:pt x="1117" y="333"/>
                  </a:lnTo>
                  <a:lnTo>
                    <a:pt x="1117" y="333"/>
                  </a:lnTo>
                  <a:lnTo>
                    <a:pt x="1117" y="333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19" y="331"/>
                  </a:lnTo>
                  <a:lnTo>
                    <a:pt x="1121" y="331"/>
                  </a:lnTo>
                  <a:lnTo>
                    <a:pt x="1121" y="331"/>
                  </a:lnTo>
                  <a:lnTo>
                    <a:pt x="1124" y="331"/>
                  </a:lnTo>
                  <a:lnTo>
                    <a:pt x="1124" y="331"/>
                  </a:lnTo>
                  <a:lnTo>
                    <a:pt x="1124" y="331"/>
                  </a:lnTo>
                  <a:lnTo>
                    <a:pt x="1126" y="329"/>
                  </a:lnTo>
                  <a:lnTo>
                    <a:pt x="1126" y="329"/>
                  </a:lnTo>
                  <a:lnTo>
                    <a:pt x="1126" y="329"/>
                  </a:lnTo>
                  <a:lnTo>
                    <a:pt x="1128" y="329"/>
                  </a:lnTo>
                  <a:lnTo>
                    <a:pt x="1128" y="329"/>
                  </a:lnTo>
                  <a:lnTo>
                    <a:pt x="1128" y="329"/>
                  </a:lnTo>
                  <a:lnTo>
                    <a:pt x="1130" y="329"/>
                  </a:lnTo>
                  <a:lnTo>
                    <a:pt x="1130" y="329"/>
                  </a:lnTo>
                  <a:lnTo>
                    <a:pt x="1130" y="329"/>
                  </a:lnTo>
                  <a:lnTo>
                    <a:pt x="1133" y="329"/>
                  </a:lnTo>
                  <a:lnTo>
                    <a:pt x="1133" y="329"/>
                  </a:lnTo>
                  <a:lnTo>
                    <a:pt x="1133" y="327"/>
                  </a:lnTo>
                  <a:lnTo>
                    <a:pt x="1130" y="327"/>
                  </a:lnTo>
                  <a:lnTo>
                    <a:pt x="1130" y="327"/>
                  </a:lnTo>
                  <a:lnTo>
                    <a:pt x="1130" y="327"/>
                  </a:lnTo>
                  <a:lnTo>
                    <a:pt x="1130" y="327"/>
                  </a:lnTo>
                  <a:lnTo>
                    <a:pt x="1130" y="324"/>
                  </a:lnTo>
                  <a:lnTo>
                    <a:pt x="1133" y="324"/>
                  </a:lnTo>
                  <a:lnTo>
                    <a:pt x="1133" y="324"/>
                  </a:lnTo>
                  <a:lnTo>
                    <a:pt x="1135" y="324"/>
                  </a:lnTo>
                  <a:lnTo>
                    <a:pt x="1135" y="324"/>
                  </a:lnTo>
                  <a:lnTo>
                    <a:pt x="1135" y="324"/>
                  </a:lnTo>
                  <a:lnTo>
                    <a:pt x="1135" y="324"/>
                  </a:lnTo>
                  <a:lnTo>
                    <a:pt x="1133" y="322"/>
                  </a:lnTo>
                  <a:lnTo>
                    <a:pt x="1135" y="322"/>
                  </a:lnTo>
                  <a:lnTo>
                    <a:pt x="1137" y="322"/>
                  </a:lnTo>
                  <a:lnTo>
                    <a:pt x="1137" y="322"/>
                  </a:lnTo>
                  <a:lnTo>
                    <a:pt x="1137" y="322"/>
                  </a:lnTo>
                  <a:lnTo>
                    <a:pt x="1137" y="322"/>
                  </a:lnTo>
                  <a:lnTo>
                    <a:pt x="1137" y="322"/>
                  </a:lnTo>
                  <a:lnTo>
                    <a:pt x="1137" y="322"/>
                  </a:lnTo>
                  <a:lnTo>
                    <a:pt x="1137" y="322"/>
                  </a:lnTo>
                  <a:lnTo>
                    <a:pt x="1139" y="324"/>
                  </a:lnTo>
                  <a:lnTo>
                    <a:pt x="1137" y="324"/>
                  </a:lnTo>
                  <a:lnTo>
                    <a:pt x="1139" y="324"/>
                  </a:lnTo>
                  <a:lnTo>
                    <a:pt x="1139" y="324"/>
                  </a:lnTo>
                  <a:lnTo>
                    <a:pt x="1142" y="324"/>
                  </a:lnTo>
                  <a:lnTo>
                    <a:pt x="1142" y="324"/>
                  </a:lnTo>
                  <a:lnTo>
                    <a:pt x="1142" y="324"/>
                  </a:lnTo>
                  <a:lnTo>
                    <a:pt x="1144" y="324"/>
                  </a:lnTo>
                  <a:lnTo>
                    <a:pt x="1144" y="324"/>
                  </a:lnTo>
                  <a:lnTo>
                    <a:pt x="1144" y="324"/>
                  </a:lnTo>
                  <a:lnTo>
                    <a:pt x="1144" y="324"/>
                  </a:lnTo>
                  <a:lnTo>
                    <a:pt x="1146" y="324"/>
                  </a:lnTo>
                  <a:lnTo>
                    <a:pt x="1153" y="327"/>
                  </a:lnTo>
                  <a:lnTo>
                    <a:pt x="1153" y="327"/>
                  </a:lnTo>
                  <a:lnTo>
                    <a:pt x="1153" y="327"/>
                  </a:lnTo>
                  <a:lnTo>
                    <a:pt x="1153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7" y="327"/>
                  </a:lnTo>
                  <a:lnTo>
                    <a:pt x="1157" y="327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60" y="329"/>
                  </a:lnTo>
                  <a:lnTo>
                    <a:pt x="1160" y="329"/>
                  </a:lnTo>
                  <a:lnTo>
                    <a:pt x="1160" y="331"/>
                  </a:lnTo>
                  <a:lnTo>
                    <a:pt x="1160" y="331"/>
                  </a:lnTo>
                  <a:lnTo>
                    <a:pt x="1160" y="331"/>
                  </a:lnTo>
                  <a:lnTo>
                    <a:pt x="1160" y="331"/>
                  </a:lnTo>
                  <a:lnTo>
                    <a:pt x="1160" y="331"/>
                  </a:lnTo>
                  <a:lnTo>
                    <a:pt x="1160" y="331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57" y="333"/>
                  </a:lnTo>
                  <a:lnTo>
                    <a:pt x="1157" y="333"/>
                  </a:lnTo>
                  <a:lnTo>
                    <a:pt x="1157" y="333"/>
                  </a:lnTo>
                  <a:lnTo>
                    <a:pt x="1157" y="333"/>
                  </a:lnTo>
                  <a:lnTo>
                    <a:pt x="1155" y="333"/>
                  </a:lnTo>
                  <a:lnTo>
                    <a:pt x="1155" y="333"/>
                  </a:lnTo>
                  <a:lnTo>
                    <a:pt x="1155" y="333"/>
                  </a:lnTo>
                  <a:lnTo>
                    <a:pt x="1155" y="333"/>
                  </a:lnTo>
                  <a:lnTo>
                    <a:pt x="1155" y="333"/>
                  </a:lnTo>
                  <a:lnTo>
                    <a:pt x="1155" y="333"/>
                  </a:lnTo>
                  <a:lnTo>
                    <a:pt x="1155" y="333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5" y="338"/>
                  </a:lnTo>
                  <a:lnTo>
                    <a:pt x="1155" y="338"/>
                  </a:lnTo>
                  <a:lnTo>
                    <a:pt x="1155" y="338"/>
                  </a:lnTo>
                  <a:lnTo>
                    <a:pt x="1155" y="338"/>
                  </a:lnTo>
                  <a:lnTo>
                    <a:pt x="1155" y="338"/>
                  </a:lnTo>
                  <a:lnTo>
                    <a:pt x="1155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60" y="338"/>
                  </a:lnTo>
                  <a:lnTo>
                    <a:pt x="1160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8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60" y="336"/>
                  </a:lnTo>
                  <a:lnTo>
                    <a:pt x="1160" y="336"/>
                  </a:lnTo>
                  <a:lnTo>
                    <a:pt x="1157" y="336"/>
                  </a:lnTo>
                  <a:lnTo>
                    <a:pt x="1160" y="336"/>
                  </a:lnTo>
                  <a:lnTo>
                    <a:pt x="1160" y="336"/>
                  </a:lnTo>
                  <a:lnTo>
                    <a:pt x="1160" y="336"/>
                  </a:lnTo>
                  <a:lnTo>
                    <a:pt x="1160" y="336"/>
                  </a:lnTo>
                  <a:lnTo>
                    <a:pt x="1160" y="336"/>
                  </a:lnTo>
                  <a:lnTo>
                    <a:pt x="1160" y="336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5" y="336"/>
                  </a:lnTo>
                  <a:lnTo>
                    <a:pt x="1155" y="336"/>
                  </a:lnTo>
                  <a:lnTo>
                    <a:pt x="1157" y="336"/>
                  </a:lnTo>
                  <a:lnTo>
                    <a:pt x="1157" y="336"/>
                  </a:lnTo>
                  <a:lnTo>
                    <a:pt x="1157" y="333"/>
                  </a:lnTo>
                  <a:lnTo>
                    <a:pt x="1157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0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2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4" y="331"/>
                  </a:lnTo>
                  <a:lnTo>
                    <a:pt x="1162" y="331"/>
                  </a:lnTo>
                  <a:lnTo>
                    <a:pt x="1162" y="331"/>
                  </a:lnTo>
                  <a:lnTo>
                    <a:pt x="1162" y="331"/>
                  </a:lnTo>
                  <a:lnTo>
                    <a:pt x="1162" y="331"/>
                  </a:lnTo>
                  <a:lnTo>
                    <a:pt x="1162" y="333"/>
                  </a:lnTo>
                  <a:lnTo>
                    <a:pt x="1162" y="333"/>
                  </a:lnTo>
                  <a:lnTo>
                    <a:pt x="1160" y="331"/>
                  </a:lnTo>
                  <a:lnTo>
                    <a:pt x="1160" y="331"/>
                  </a:lnTo>
                  <a:lnTo>
                    <a:pt x="1162" y="331"/>
                  </a:lnTo>
                  <a:lnTo>
                    <a:pt x="1162" y="331"/>
                  </a:lnTo>
                  <a:lnTo>
                    <a:pt x="1160" y="331"/>
                  </a:lnTo>
                  <a:lnTo>
                    <a:pt x="1160" y="329"/>
                  </a:lnTo>
                  <a:lnTo>
                    <a:pt x="1160" y="329"/>
                  </a:lnTo>
                  <a:lnTo>
                    <a:pt x="1160" y="329"/>
                  </a:lnTo>
                  <a:lnTo>
                    <a:pt x="1160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9"/>
                  </a:lnTo>
                  <a:lnTo>
                    <a:pt x="1157" y="327"/>
                  </a:lnTo>
                  <a:lnTo>
                    <a:pt x="1157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55" y="327"/>
                  </a:lnTo>
                  <a:lnTo>
                    <a:pt x="1160" y="327"/>
                  </a:lnTo>
                  <a:lnTo>
                    <a:pt x="1160" y="327"/>
                  </a:lnTo>
                  <a:lnTo>
                    <a:pt x="1160" y="327"/>
                  </a:lnTo>
                  <a:lnTo>
                    <a:pt x="1160" y="327"/>
                  </a:lnTo>
                  <a:lnTo>
                    <a:pt x="1160" y="327"/>
                  </a:lnTo>
                  <a:lnTo>
                    <a:pt x="1160" y="324"/>
                  </a:lnTo>
                  <a:lnTo>
                    <a:pt x="1160" y="324"/>
                  </a:lnTo>
                  <a:lnTo>
                    <a:pt x="1162" y="324"/>
                  </a:lnTo>
                  <a:lnTo>
                    <a:pt x="1162" y="327"/>
                  </a:lnTo>
                  <a:lnTo>
                    <a:pt x="1162" y="327"/>
                  </a:lnTo>
                  <a:lnTo>
                    <a:pt x="1160" y="327"/>
                  </a:lnTo>
                  <a:lnTo>
                    <a:pt x="1162" y="327"/>
                  </a:lnTo>
                  <a:lnTo>
                    <a:pt x="1162" y="327"/>
                  </a:lnTo>
                  <a:lnTo>
                    <a:pt x="1164" y="327"/>
                  </a:lnTo>
                  <a:lnTo>
                    <a:pt x="1166" y="327"/>
                  </a:lnTo>
                  <a:lnTo>
                    <a:pt x="1166" y="327"/>
                  </a:lnTo>
                  <a:lnTo>
                    <a:pt x="1169" y="327"/>
                  </a:lnTo>
                  <a:lnTo>
                    <a:pt x="1169" y="327"/>
                  </a:lnTo>
                  <a:lnTo>
                    <a:pt x="1169" y="327"/>
                  </a:lnTo>
                  <a:lnTo>
                    <a:pt x="1169" y="327"/>
                  </a:lnTo>
                  <a:lnTo>
                    <a:pt x="1169" y="327"/>
                  </a:lnTo>
                  <a:lnTo>
                    <a:pt x="1169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1" y="324"/>
                  </a:lnTo>
                  <a:lnTo>
                    <a:pt x="1173" y="324"/>
                  </a:lnTo>
                  <a:lnTo>
                    <a:pt x="1173" y="324"/>
                  </a:lnTo>
                  <a:lnTo>
                    <a:pt x="1173" y="324"/>
                  </a:lnTo>
                  <a:lnTo>
                    <a:pt x="1173" y="324"/>
                  </a:lnTo>
                  <a:lnTo>
                    <a:pt x="1173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5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8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5" y="324"/>
                  </a:lnTo>
                  <a:lnTo>
                    <a:pt x="1178" y="324"/>
                  </a:lnTo>
                  <a:lnTo>
                    <a:pt x="1178" y="327"/>
                  </a:lnTo>
                  <a:lnTo>
                    <a:pt x="1180" y="324"/>
                  </a:lnTo>
                  <a:lnTo>
                    <a:pt x="1180" y="324"/>
                  </a:lnTo>
                  <a:lnTo>
                    <a:pt x="1180" y="324"/>
                  </a:lnTo>
                  <a:lnTo>
                    <a:pt x="1182" y="324"/>
                  </a:lnTo>
                  <a:lnTo>
                    <a:pt x="1182" y="324"/>
                  </a:lnTo>
                  <a:lnTo>
                    <a:pt x="1182" y="324"/>
                  </a:lnTo>
                  <a:lnTo>
                    <a:pt x="1182" y="322"/>
                  </a:lnTo>
                  <a:lnTo>
                    <a:pt x="1184" y="322"/>
                  </a:lnTo>
                  <a:lnTo>
                    <a:pt x="1184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7" y="322"/>
                  </a:lnTo>
                  <a:lnTo>
                    <a:pt x="1189" y="322"/>
                  </a:lnTo>
                  <a:lnTo>
                    <a:pt x="1189" y="322"/>
                  </a:lnTo>
                  <a:lnTo>
                    <a:pt x="1189" y="322"/>
                  </a:lnTo>
                  <a:lnTo>
                    <a:pt x="1189" y="322"/>
                  </a:lnTo>
                  <a:lnTo>
                    <a:pt x="1189" y="322"/>
                  </a:lnTo>
                  <a:lnTo>
                    <a:pt x="1189" y="322"/>
                  </a:lnTo>
                  <a:lnTo>
                    <a:pt x="1189" y="322"/>
                  </a:lnTo>
                  <a:lnTo>
                    <a:pt x="1191" y="322"/>
                  </a:lnTo>
                  <a:lnTo>
                    <a:pt x="1191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3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2"/>
                  </a:lnTo>
                  <a:lnTo>
                    <a:pt x="1196" y="320"/>
                  </a:lnTo>
                  <a:lnTo>
                    <a:pt x="1196" y="320"/>
                  </a:lnTo>
                  <a:lnTo>
                    <a:pt x="1196" y="320"/>
                  </a:lnTo>
                  <a:lnTo>
                    <a:pt x="1196" y="320"/>
                  </a:lnTo>
                  <a:lnTo>
                    <a:pt x="1196" y="320"/>
                  </a:lnTo>
                  <a:lnTo>
                    <a:pt x="1196" y="320"/>
                  </a:lnTo>
                  <a:lnTo>
                    <a:pt x="1198" y="320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8" y="318"/>
                  </a:lnTo>
                  <a:lnTo>
                    <a:pt x="1198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8"/>
                  </a:lnTo>
                  <a:lnTo>
                    <a:pt x="1196" y="315"/>
                  </a:lnTo>
                  <a:lnTo>
                    <a:pt x="1196" y="315"/>
                  </a:lnTo>
                  <a:lnTo>
                    <a:pt x="1196" y="315"/>
                  </a:lnTo>
                  <a:lnTo>
                    <a:pt x="1196" y="315"/>
                  </a:lnTo>
                  <a:lnTo>
                    <a:pt x="1193" y="315"/>
                  </a:lnTo>
                  <a:lnTo>
                    <a:pt x="1193" y="315"/>
                  </a:lnTo>
                  <a:lnTo>
                    <a:pt x="1193" y="315"/>
                  </a:lnTo>
                  <a:lnTo>
                    <a:pt x="1193" y="315"/>
                  </a:lnTo>
                  <a:lnTo>
                    <a:pt x="1193" y="313"/>
                  </a:lnTo>
                  <a:lnTo>
                    <a:pt x="1191" y="313"/>
                  </a:lnTo>
                  <a:lnTo>
                    <a:pt x="1191" y="313"/>
                  </a:lnTo>
                  <a:lnTo>
                    <a:pt x="1191" y="313"/>
                  </a:lnTo>
                  <a:lnTo>
                    <a:pt x="1191" y="311"/>
                  </a:lnTo>
                  <a:lnTo>
                    <a:pt x="1191" y="311"/>
                  </a:lnTo>
                  <a:lnTo>
                    <a:pt x="1191" y="311"/>
                  </a:lnTo>
                  <a:lnTo>
                    <a:pt x="1189" y="311"/>
                  </a:lnTo>
                  <a:lnTo>
                    <a:pt x="1189" y="309"/>
                  </a:lnTo>
                  <a:lnTo>
                    <a:pt x="1189" y="309"/>
                  </a:lnTo>
                  <a:lnTo>
                    <a:pt x="1189" y="309"/>
                  </a:lnTo>
                  <a:lnTo>
                    <a:pt x="1189" y="309"/>
                  </a:lnTo>
                  <a:lnTo>
                    <a:pt x="1191" y="309"/>
                  </a:lnTo>
                  <a:lnTo>
                    <a:pt x="1193" y="306"/>
                  </a:lnTo>
                  <a:lnTo>
                    <a:pt x="1198" y="306"/>
                  </a:lnTo>
                  <a:lnTo>
                    <a:pt x="1198" y="304"/>
                  </a:lnTo>
                  <a:lnTo>
                    <a:pt x="1198" y="304"/>
                  </a:lnTo>
                  <a:lnTo>
                    <a:pt x="1198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0" y="304"/>
                  </a:lnTo>
                  <a:lnTo>
                    <a:pt x="1202" y="304"/>
                  </a:lnTo>
                  <a:lnTo>
                    <a:pt x="1202" y="304"/>
                  </a:lnTo>
                  <a:lnTo>
                    <a:pt x="1202" y="304"/>
                  </a:lnTo>
                  <a:lnTo>
                    <a:pt x="1202" y="304"/>
                  </a:lnTo>
                  <a:lnTo>
                    <a:pt x="1205" y="304"/>
                  </a:lnTo>
                  <a:lnTo>
                    <a:pt x="1205" y="302"/>
                  </a:lnTo>
                  <a:lnTo>
                    <a:pt x="1211" y="300"/>
                  </a:lnTo>
                  <a:lnTo>
                    <a:pt x="1211" y="300"/>
                  </a:lnTo>
                  <a:lnTo>
                    <a:pt x="1211" y="300"/>
                  </a:lnTo>
                  <a:lnTo>
                    <a:pt x="1214" y="300"/>
                  </a:lnTo>
                  <a:lnTo>
                    <a:pt x="1214" y="297"/>
                  </a:lnTo>
                  <a:lnTo>
                    <a:pt x="1214" y="297"/>
                  </a:lnTo>
                  <a:lnTo>
                    <a:pt x="1214" y="297"/>
                  </a:lnTo>
                  <a:lnTo>
                    <a:pt x="1216" y="297"/>
                  </a:lnTo>
                  <a:lnTo>
                    <a:pt x="1216" y="297"/>
                  </a:lnTo>
                  <a:lnTo>
                    <a:pt x="1216" y="297"/>
                  </a:lnTo>
                  <a:lnTo>
                    <a:pt x="1218" y="297"/>
                  </a:lnTo>
                  <a:lnTo>
                    <a:pt x="1218" y="297"/>
                  </a:lnTo>
                  <a:lnTo>
                    <a:pt x="1220" y="297"/>
                  </a:lnTo>
                  <a:lnTo>
                    <a:pt x="1223" y="297"/>
                  </a:lnTo>
                  <a:lnTo>
                    <a:pt x="1234" y="297"/>
                  </a:lnTo>
                  <a:lnTo>
                    <a:pt x="1243" y="300"/>
                  </a:lnTo>
                  <a:lnTo>
                    <a:pt x="1243" y="300"/>
                  </a:lnTo>
                  <a:lnTo>
                    <a:pt x="1245" y="300"/>
                  </a:lnTo>
                  <a:lnTo>
                    <a:pt x="1245" y="302"/>
                  </a:lnTo>
                  <a:lnTo>
                    <a:pt x="1245" y="302"/>
                  </a:lnTo>
                  <a:lnTo>
                    <a:pt x="1243" y="302"/>
                  </a:lnTo>
                  <a:lnTo>
                    <a:pt x="1243" y="302"/>
                  </a:lnTo>
                  <a:lnTo>
                    <a:pt x="1243" y="302"/>
                  </a:lnTo>
                  <a:lnTo>
                    <a:pt x="1245" y="302"/>
                  </a:lnTo>
                  <a:lnTo>
                    <a:pt x="1245" y="302"/>
                  </a:lnTo>
                  <a:lnTo>
                    <a:pt x="1243" y="302"/>
                  </a:lnTo>
                  <a:lnTo>
                    <a:pt x="1243" y="302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3" y="304"/>
                  </a:lnTo>
                  <a:lnTo>
                    <a:pt x="1243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5" y="304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6"/>
                  </a:lnTo>
                  <a:lnTo>
                    <a:pt x="1243" y="309"/>
                  </a:lnTo>
                  <a:lnTo>
                    <a:pt x="1243" y="309"/>
                  </a:lnTo>
                  <a:lnTo>
                    <a:pt x="1241" y="309"/>
                  </a:lnTo>
                  <a:lnTo>
                    <a:pt x="1241" y="309"/>
                  </a:lnTo>
                  <a:lnTo>
                    <a:pt x="1241" y="309"/>
                  </a:lnTo>
                  <a:lnTo>
                    <a:pt x="1241" y="309"/>
                  </a:lnTo>
                  <a:lnTo>
                    <a:pt x="1238" y="311"/>
                  </a:lnTo>
                  <a:lnTo>
                    <a:pt x="1238" y="311"/>
                  </a:lnTo>
                  <a:lnTo>
                    <a:pt x="1241" y="311"/>
                  </a:lnTo>
                  <a:lnTo>
                    <a:pt x="1241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1" y="311"/>
                  </a:lnTo>
                  <a:lnTo>
                    <a:pt x="1241" y="311"/>
                  </a:lnTo>
                  <a:lnTo>
                    <a:pt x="1241" y="311"/>
                  </a:lnTo>
                  <a:lnTo>
                    <a:pt x="1241" y="311"/>
                  </a:lnTo>
                  <a:lnTo>
                    <a:pt x="1238" y="311"/>
                  </a:lnTo>
                  <a:lnTo>
                    <a:pt x="1238" y="311"/>
                  </a:lnTo>
                  <a:lnTo>
                    <a:pt x="1238" y="311"/>
                  </a:lnTo>
                  <a:lnTo>
                    <a:pt x="1238" y="311"/>
                  </a:lnTo>
                  <a:lnTo>
                    <a:pt x="1238" y="311"/>
                  </a:lnTo>
                  <a:lnTo>
                    <a:pt x="1238" y="311"/>
                  </a:lnTo>
                  <a:lnTo>
                    <a:pt x="1238" y="313"/>
                  </a:lnTo>
                  <a:lnTo>
                    <a:pt x="1236" y="313"/>
                  </a:lnTo>
                  <a:lnTo>
                    <a:pt x="1236" y="313"/>
                  </a:lnTo>
                  <a:lnTo>
                    <a:pt x="1236" y="313"/>
                  </a:lnTo>
                  <a:lnTo>
                    <a:pt x="1238" y="313"/>
                  </a:lnTo>
                  <a:lnTo>
                    <a:pt x="1238" y="313"/>
                  </a:lnTo>
                  <a:lnTo>
                    <a:pt x="1241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3" y="311"/>
                  </a:lnTo>
                  <a:lnTo>
                    <a:pt x="1245" y="311"/>
                  </a:lnTo>
                  <a:lnTo>
                    <a:pt x="1245" y="309"/>
                  </a:lnTo>
                  <a:lnTo>
                    <a:pt x="1245" y="309"/>
                  </a:lnTo>
                  <a:lnTo>
                    <a:pt x="1245" y="309"/>
                  </a:lnTo>
                  <a:lnTo>
                    <a:pt x="1245" y="309"/>
                  </a:lnTo>
                  <a:lnTo>
                    <a:pt x="1245" y="309"/>
                  </a:lnTo>
                  <a:lnTo>
                    <a:pt x="1245" y="309"/>
                  </a:lnTo>
                  <a:lnTo>
                    <a:pt x="1245" y="309"/>
                  </a:lnTo>
                  <a:lnTo>
                    <a:pt x="1247" y="309"/>
                  </a:lnTo>
                  <a:lnTo>
                    <a:pt x="1247" y="309"/>
                  </a:lnTo>
                  <a:lnTo>
                    <a:pt x="1247" y="309"/>
                  </a:lnTo>
                  <a:lnTo>
                    <a:pt x="1247" y="309"/>
                  </a:lnTo>
                  <a:lnTo>
                    <a:pt x="1247" y="309"/>
                  </a:lnTo>
                  <a:lnTo>
                    <a:pt x="1250" y="309"/>
                  </a:lnTo>
                  <a:lnTo>
                    <a:pt x="1250" y="309"/>
                  </a:lnTo>
                  <a:lnTo>
                    <a:pt x="1250" y="309"/>
                  </a:lnTo>
                  <a:lnTo>
                    <a:pt x="1250" y="309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0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2" y="304"/>
                  </a:lnTo>
                  <a:lnTo>
                    <a:pt x="1252" y="304"/>
                  </a:lnTo>
                  <a:lnTo>
                    <a:pt x="1252" y="304"/>
                  </a:lnTo>
                  <a:lnTo>
                    <a:pt x="1252" y="304"/>
                  </a:lnTo>
                  <a:lnTo>
                    <a:pt x="1252" y="304"/>
                  </a:lnTo>
                  <a:lnTo>
                    <a:pt x="1252" y="304"/>
                  </a:lnTo>
                  <a:lnTo>
                    <a:pt x="1252" y="304"/>
                  </a:lnTo>
                  <a:lnTo>
                    <a:pt x="1254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2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4" y="309"/>
                  </a:lnTo>
                  <a:lnTo>
                    <a:pt x="1256" y="309"/>
                  </a:lnTo>
                  <a:lnTo>
                    <a:pt x="1256" y="309"/>
                  </a:lnTo>
                  <a:lnTo>
                    <a:pt x="1256" y="309"/>
                  </a:lnTo>
                  <a:lnTo>
                    <a:pt x="1256" y="309"/>
                  </a:lnTo>
                  <a:lnTo>
                    <a:pt x="1259" y="306"/>
                  </a:lnTo>
                  <a:lnTo>
                    <a:pt x="1259" y="306"/>
                  </a:lnTo>
                  <a:lnTo>
                    <a:pt x="1259" y="306"/>
                  </a:lnTo>
                  <a:lnTo>
                    <a:pt x="1259" y="306"/>
                  </a:lnTo>
                  <a:lnTo>
                    <a:pt x="1259" y="306"/>
                  </a:lnTo>
                  <a:lnTo>
                    <a:pt x="1259" y="306"/>
                  </a:lnTo>
                  <a:lnTo>
                    <a:pt x="1261" y="306"/>
                  </a:lnTo>
                  <a:lnTo>
                    <a:pt x="1261" y="306"/>
                  </a:lnTo>
                  <a:lnTo>
                    <a:pt x="1261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3" y="306"/>
                  </a:lnTo>
                  <a:lnTo>
                    <a:pt x="1265" y="309"/>
                  </a:lnTo>
                  <a:lnTo>
                    <a:pt x="1265" y="309"/>
                  </a:lnTo>
                  <a:lnTo>
                    <a:pt x="1265" y="309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6"/>
                  </a:lnTo>
                  <a:lnTo>
                    <a:pt x="1265" y="309"/>
                  </a:lnTo>
                  <a:lnTo>
                    <a:pt x="1268" y="309"/>
                  </a:lnTo>
                  <a:lnTo>
                    <a:pt x="1268" y="309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68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6"/>
                  </a:lnTo>
                  <a:lnTo>
                    <a:pt x="1270" y="304"/>
                  </a:lnTo>
                  <a:lnTo>
                    <a:pt x="1270" y="304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72" y="304"/>
                  </a:lnTo>
                  <a:lnTo>
                    <a:pt x="1274" y="304"/>
                  </a:lnTo>
                  <a:lnTo>
                    <a:pt x="1277" y="304"/>
                  </a:lnTo>
                  <a:lnTo>
                    <a:pt x="1277" y="304"/>
                  </a:lnTo>
                  <a:lnTo>
                    <a:pt x="1277" y="302"/>
                  </a:lnTo>
                  <a:lnTo>
                    <a:pt x="1277" y="302"/>
                  </a:lnTo>
                  <a:lnTo>
                    <a:pt x="1277" y="302"/>
                  </a:lnTo>
                  <a:lnTo>
                    <a:pt x="1277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4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0" y="302"/>
                  </a:lnTo>
                  <a:lnTo>
                    <a:pt x="1270" y="302"/>
                  </a:lnTo>
                  <a:lnTo>
                    <a:pt x="1270" y="302"/>
                  </a:lnTo>
                  <a:lnTo>
                    <a:pt x="1270" y="302"/>
                  </a:lnTo>
                  <a:lnTo>
                    <a:pt x="1270" y="302"/>
                  </a:lnTo>
                  <a:lnTo>
                    <a:pt x="1268" y="302"/>
                  </a:lnTo>
                  <a:lnTo>
                    <a:pt x="1268" y="302"/>
                  </a:lnTo>
                  <a:lnTo>
                    <a:pt x="1268" y="302"/>
                  </a:lnTo>
                  <a:lnTo>
                    <a:pt x="1270" y="302"/>
                  </a:lnTo>
                  <a:lnTo>
                    <a:pt x="1270" y="302"/>
                  </a:lnTo>
                  <a:lnTo>
                    <a:pt x="1268" y="302"/>
                  </a:lnTo>
                  <a:lnTo>
                    <a:pt x="1268" y="302"/>
                  </a:lnTo>
                  <a:lnTo>
                    <a:pt x="1270" y="302"/>
                  </a:lnTo>
                  <a:lnTo>
                    <a:pt x="1270" y="302"/>
                  </a:lnTo>
                  <a:lnTo>
                    <a:pt x="1272" y="302"/>
                  </a:lnTo>
                  <a:lnTo>
                    <a:pt x="1270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4" y="302"/>
                  </a:lnTo>
                  <a:lnTo>
                    <a:pt x="1274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7" y="300"/>
                  </a:lnTo>
                  <a:lnTo>
                    <a:pt x="1274" y="300"/>
                  </a:lnTo>
                  <a:lnTo>
                    <a:pt x="1274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2"/>
                  </a:lnTo>
                  <a:lnTo>
                    <a:pt x="1272" y="300"/>
                  </a:lnTo>
                  <a:lnTo>
                    <a:pt x="1272" y="300"/>
                  </a:lnTo>
                  <a:lnTo>
                    <a:pt x="1272" y="300"/>
                  </a:lnTo>
                  <a:lnTo>
                    <a:pt x="1274" y="300"/>
                  </a:lnTo>
                  <a:lnTo>
                    <a:pt x="1274" y="300"/>
                  </a:lnTo>
                  <a:lnTo>
                    <a:pt x="1274" y="300"/>
                  </a:lnTo>
                  <a:lnTo>
                    <a:pt x="1274" y="300"/>
                  </a:lnTo>
                  <a:lnTo>
                    <a:pt x="1272" y="300"/>
                  </a:lnTo>
                  <a:lnTo>
                    <a:pt x="1270" y="300"/>
                  </a:lnTo>
                  <a:lnTo>
                    <a:pt x="1270" y="300"/>
                  </a:lnTo>
                  <a:lnTo>
                    <a:pt x="1270" y="300"/>
                  </a:lnTo>
                  <a:lnTo>
                    <a:pt x="1270" y="300"/>
                  </a:lnTo>
                  <a:lnTo>
                    <a:pt x="1270" y="300"/>
                  </a:lnTo>
                  <a:lnTo>
                    <a:pt x="1270" y="300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70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8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5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5"/>
                  </a:lnTo>
                  <a:lnTo>
                    <a:pt x="1263" y="295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3" y="297"/>
                  </a:lnTo>
                  <a:lnTo>
                    <a:pt x="1261" y="297"/>
                  </a:lnTo>
                  <a:lnTo>
                    <a:pt x="1261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5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9" y="293"/>
                  </a:lnTo>
                  <a:lnTo>
                    <a:pt x="1256" y="293"/>
                  </a:lnTo>
                  <a:lnTo>
                    <a:pt x="1256" y="291"/>
                  </a:lnTo>
                  <a:lnTo>
                    <a:pt x="1259" y="291"/>
                  </a:lnTo>
                  <a:lnTo>
                    <a:pt x="1259" y="291"/>
                  </a:lnTo>
                  <a:lnTo>
                    <a:pt x="1259" y="291"/>
                  </a:lnTo>
                  <a:lnTo>
                    <a:pt x="1259" y="291"/>
                  </a:lnTo>
                  <a:lnTo>
                    <a:pt x="1259" y="291"/>
                  </a:lnTo>
                  <a:lnTo>
                    <a:pt x="1256" y="291"/>
                  </a:lnTo>
                  <a:lnTo>
                    <a:pt x="1256" y="291"/>
                  </a:lnTo>
                  <a:lnTo>
                    <a:pt x="1256" y="291"/>
                  </a:lnTo>
                  <a:lnTo>
                    <a:pt x="1256" y="291"/>
                  </a:lnTo>
                  <a:lnTo>
                    <a:pt x="1256" y="291"/>
                  </a:lnTo>
                  <a:lnTo>
                    <a:pt x="1256" y="291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2" y="291"/>
                  </a:lnTo>
                  <a:lnTo>
                    <a:pt x="1252" y="291"/>
                  </a:lnTo>
                  <a:lnTo>
                    <a:pt x="1252" y="291"/>
                  </a:lnTo>
                  <a:lnTo>
                    <a:pt x="1252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50" y="291"/>
                  </a:lnTo>
                  <a:lnTo>
                    <a:pt x="1252" y="291"/>
                  </a:lnTo>
                  <a:lnTo>
                    <a:pt x="1252" y="291"/>
                  </a:lnTo>
                  <a:lnTo>
                    <a:pt x="1252" y="293"/>
                  </a:lnTo>
                  <a:lnTo>
                    <a:pt x="1252" y="293"/>
                  </a:lnTo>
                  <a:lnTo>
                    <a:pt x="1252" y="293"/>
                  </a:lnTo>
                  <a:lnTo>
                    <a:pt x="1252" y="293"/>
                  </a:lnTo>
                  <a:lnTo>
                    <a:pt x="1252" y="293"/>
                  </a:lnTo>
                  <a:lnTo>
                    <a:pt x="1252" y="293"/>
                  </a:lnTo>
                  <a:lnTo>
                    <a:pt x="1250" y="293"/>
                  </a:lnTo>
                  <a:lnTo>
                    <a:pt x="1250" y="293"/>
                  </a:lnTo>
                  <a:lnTo>
                    <a:pt x="1250" y="293"/>
                  </a:lnTo>
                  <a:lnTo>
                    <a:pt x="1250" y="293"/>
                  </a:lnTo>
                  <a:lnTo>
                    <a:pt x="1250" y="295"/>
                  </a:lnTo>
                  <a:lnTo>
                    <a:pt x="1250" y="295"/>
                  </a:lnTo>
                  <a:lnTo>
                    <a:pt x="1247" y="295"/>
                  </a:lnTo>
                  <a:lnTo>
                    <a:pt x="1247" y="295"/>
                  </a:lnTo>
                  <a:lnTo>
                    <a:pt x="1247" y="295"/>
                  </a:lnTo>
                  <a:lnTo>
                    <a:pt x="1247" y="295"/>
                  </a:lnTo>
                  <a:lnTo>
                    <a:pt x="1247" y="295"/>
                  </a:lnTo>
                  <a:lnTo>
                    <a:pt x="1247" y="295"/>
                  </a:lnTo>
                  <a:lnTo>
                    <a:pt x="1247" y="297"/>
                  </a:lnTo>
                  <a:lnTo>
                    <a:pt x="1247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297"/>
                  </a:lnTo>
                  <a:lnTo>
                    <a:pt x="1245" y="300"/>
                  </a:lnTo>
                  <a:lnTo>
                    <a:pt x="1243" y="300"/>
                  </a:lnTo>
                  <a:lnTo>
                    <a:pt x="1243" y="297"/>
                  </a:lnTo>
                  <a:lnTo>
                    <a:pt x="1243" y="300"/>
                  </a:lnTo>
                  <a:lnTo>
                    <a:pt x="1243" y="300"/>
                  </a:lnTo>
                  <a:lnTo>
                    <a:pt x="1241" y="300"/>
                  </a:lnTo>
                  <a:lnTo>
                    <a:pt x="1241" y="297"/>
                  </a:lnTo>
                  <a:lnTo>
                    <a:pt x="1236" y="297"/>
                  </a:lnTo>
                  <a:lnTo>
                    <a:pt x="1234" y="297"/>
                  </a:lnTo>
                  <a:lnTo>
                    <a:pt x="1223" y="297"/>
                  </a:lnTo>
                  <a:lnTo>
                    <a:pt x="1223" y="297"/>
                  </a:lnTo>
                  <a:lnTo>
                    <a:pt x="1220" y="295"/>
                  </a:lnTo>
                  <a:lnTo>
                    <a:pt x="1220" y="295"/>
                  </a:lnTo>
                  <a:lnTo>
                    <a:pt x="1220" y="295"/>
                  </a:lnTo>
                  <a:lnTo>
                    <a:pt x="1220" y="295"/>
                  </a:lnTo>
                  <a:lnTo>
                    <a:pt x="1223" y="293"/>
                  </a:lnTo>
                  <a:lnTo>
                    <a:pt x="1223" y="293"/>
                  </a:lnTo>
                  <a:lnTo>
                    <a:pt x="1225" y="293"/>
                  </a:lnTo>
                  <a:lnTo>
                    <a:pt x="1225" y="293"/>
                  </a:lnTo>
                  <a:lnTo>
                    <a:pt x="1225" y="293"/>
                  </a:lnTo>
                  <a:lnTo>
                    <a:pt x="1225" y="293"/>
                  </a:lnTo>
                  <a:lnTo>
                    <a:pt x="1225" y="293"/>
                  </a:lnTo>
                  <a:lnTo>
                    <a:pt x="1227" y="291"/>
                  </a:lnTo>
                  <a:lnTo>
                    <a:pt x="1227" y="291"/>
                  </a:lnTo>
                  <a:lnTo>
                    <a:pt x="1229" y="291"/>
                  </a:lnTo>
                  <a:lnTo>
                    <a:pt x="1229" y="288"/>
                  </a:lnTo>
                  <a:lnTo>
                    <a:pt x="1232" y="288"/>
                  </a:lnTo>
                  <a:lnTo>
                    <a:pt x="1234" y="288"/>
                  </a:lnTo>
                  <a:lnTo>
                    <a:pt x="1236" y="288"/>
                  </a:lnTo>
                  <a:lnTo>
                    <a:pt x="1236" y="288"/>
                  </a:lnTo>
                  <a:lnTo>
                    <a:pt x="1236" y="288"/>
                  </a:lnTo>
                  <a:lnTo>
                    <a:pt x="1236" y="288"/>
                  </a:lnTo>
                  <a:lnTo>
                    <a:pt x="1236" y="286"/>
                  </a:lnTo>
                  <a:lnTo>
                    <a:pt x="1236" y="286"/>
                  </a:lnTo>
                  <a:lnTo>
                    <a:pt x="1238" y="286"/>
                  </a:lnTo>
                  <a:lnTo>
                    <a:pt x="1238" y="286"/>
                  </a:lnTo>
                  <a:lnTo>
                    <a:pt x="1238" y="286"/>
                  </a:lnTo>
                  <a:lnTo>
                    <a:pt x="1238" y="286"/>
                  </a:lnTo>
                  <a:lnTo>
                    <a:pt x="1238" y="284"/>
                  </a:lnTo>
                  <a:lnTo>
                    <a:pt x="1238" y="284"/>
                  </a:lnTo>
                  <a:lnTo>
                    <a:pt x="1238" y="284"/>
                  </a:lnTo>
                  <a:lnTo>
                    <a:pt x="1238" y="284"/>
                  </a:lnTo>
                  <a:lnTo>
                    <a:pt x="1238" y="282"/>
                  </a:lnTo>
                  <a:lnTo>
                    <a:pt x="1238" y="282"/>
                  </a:lnTo>
                  <a:lnTo>
                    <a:pt x="1238" y="282"/>
                  </a:lnTo>
                  <a:lnTo>
                    <a:pt x="1238" y="282"/>
                  </a:lnTo>
                  <a:lnTo>
                    <a:pt x="1238" y="282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9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6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7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5"/>
                  </a:lnTo>
                  <a:lnTo>
                    <a:pt x="1238" y="273"/>
                  </a:lnTo>
                  <a:lnTo>
                    <a:pt x="1238" y="273"/>
                  </a:lnTo>
                  <a:lnTo>
                    <a:pt x="1238" y="273"/>
                  </a:lnTo>
                  <a:lnTo>
                    <a:pt x="1238" y="273"/>
                  </a:lnTo>
                  <a:lnTo>
                    <a:pt x="1238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3"/>
                  </a:lnTo>
                  <a:lnTo>
                    <a:pt x="1236" y="270"/>
                  </a:lnTo>
                  <a:lnTo>
                    <a:pt x="1236" y="270"/>
                  </a:lnTo>
                  <a:lnTo>
                    <a:pt x="1236" y="270"/>
                  </a:lnTo>
                  <a:lnTo>
                    <a:pt x="1236" y="270"/>
                  </a:lnTo>
                  <a:lnTo>
                    <a:pt x="1236" y="270"/>
                  </a:lnTo>
                  <a:lnTo>
                    <a:pt x="1236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70"/>
                  </a:lnTo>
                  <a:lnTo>
                    <a:pt x="1238" y="268"/>
                  </a:lnTo>
                  <a:lnTo>
                    <a:pt x="1238" y="268"/>
                  </a:lnTo>
                  <a:lnTo>
                    <a:pt x="1238" y="268"/>
                  </a:lnTo>
                  <a:lnTo>
                    <a:pt x="1238" y="268"/>
                  </a:lnTo>
                  <a:lnTo>
                    <a:pt x="1238" y="268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8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6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4" y="266"/>
                  </a:lnTo>
                  <a:lnTo>
                    <a:pt x="1232" y="266"/>
                  </a:lnTo>
                  <a:lnTo>
                    <a:pt x="1232" y="266"/>
                  </a:lnTo>
                  <a:lnTo>
                    <a:pt x="1232" y="266"/>
                  </a:lnTo>
                  <a:lnTo>
                    <a:pt x="1232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8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6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4" y="264"/>
                  </a:lnTo>
                  <a:lnTo>
                    <a:pt x="1232" y="264"/>
                  </a:lnTo>
                  <a:lnTo>
                    <a:pt x="1232" y="264"/>
                  </a:lnTo>
                  <a:lnTo>
                    <a:pt x="1234" y="264"/>
                  </a:lnTo>
                  <a:lnTo>
                    <a:pt x="1232" y="266"/>
                  </a:lnTo>
                  <a:lnTo>
                    <a:pt x="1232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6"/>
                  </a:lnTo>
                  <a:lnTo>
                    <a:pt x="1229" y="264"/>
                  </a:lnTo>
                  <a:lnTo>
                    <a:pt x="1229" y="264"/>
                  </a:lnTo>
                  <a:lnTo>
                    <a:pt x="1229" y="264"/>
                  </a:lnTo>
                  <a:lnTo>
                    <a:pt x="1229" y="264"/>
                  </a:lnTo>
                  <a:lnTo>
                    <a:pt x="1229" y="264"/>
                  </a:lnTo>
                  <a:lnTo>
                    <a:pt x="1232" y="264"/>
                  </a:lnTo>
                  <a:lnTo>
                    <a:pt x="1229" y="264"/>
                  </a:lnTo>
                  <a:lnTo>
                    <a:pt x="1229" y="264"/>
                  </a:lnTo>
                  <a:lnTo>
                    <a:pt x="1229" y="264"/>
                  </a:lnTo>
                  <a:lnTo>
                    <a:pt x="1227" y="264"/>
                  </a:lnTo>
                  <a:lnTo>
                    <a:pt x="1227" y="264"/>
                  </a:lnTo>
                  <a:lnTo>
                    <a:pt x="1227" y="264"/>
                  </a:lnTo>
                  <a:lnTo>
                    <a:pt x="1227" y="264"/>
                  </a:lnTo>
                  <a:lnTo>
                    <a:pt x="1227" y="264"/>
                  </a:lnTo>
                  <a:lnTo>
                    <a:pt x="1227" y="261"/>
                  </a:lnTo>
                  <a:lnTo>
                    <a:pt x="1227" y="261"/>
                  </a:lnTo>
                  <a:lnTo>
                    <a:pt x="1227" y="261"/>
                  </a:lnTo>
                  <a:lnTo>
                    <a:pt x="1227" y="261"/>
                  </a:lnTo>
                  <a:lnTo>
                    <a:pt x="1229" y="261"/>
                  </a:lnTo>
                  <a:lnTo>
                    <a:pt x="1229" y="261"/>
                  </a:lnTo>
                  <a:lnTo>
                    <a:pt x="1229" y="261"/>
                  </a:lnTo>
                  <a:lnTo>
                    <a:pt x="1229" y="261"/>
                  </a:lnTo>
                  <a:lnTo>
                    <a:pt x="1232" y="261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9"/>
                  </a:lnTo>
                  <a:lnTo>
                    <a:pt x="1232" y="257"/>
                  </a:lnTo>
                  <a:lnTo>
                    <a:pt x="1232" y="257"/>
                  </a:lnTo>
                  <a:lnTo>
                    <a:pt x="1232" y="259"/>
                  </a:lnTo>
                  <a:lnTo>
                    <a:pt x="1232" y="257"/>
                  </a:lnTo>
                  <a:lnTo>
                    <a:pt x="1234" y="257"/>
                  </a:lnTo>
                  <a:lnTo>
                    <a:pt x="1234" y="257"/>
                  </a:lnTo>
                  <a:lnTo>
                    <a:pt x="1232" y="257"/>
                  </a:lnTo>
                  <a:lnTo>
                    <a:pt x="1232" y="257"/>
                  </a:lnTo>
                  <a:lnTo>
                    <a:pt x="1232" y="257"/>
                  </a:lnTo>
                  <a:lnTo>
                    <a:pt x="1232" y="257"/>
                  </a:lnTo>
                  <a:lnTo>
                    <a:pt x="1234" y="257"/>
                  </a:lnTo>
                  <a:lnTo>
                    <a:pt x="1232" y="257"/>
                  </a:lnTo>
                  <a:lnTo>
                    <a:pt x="1232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7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7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7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9" y="259"/>
                  </a:lnTo>
                  <a:lnTo>
                    <a:pt x="1227" y="261"/>
                  </a:lnTo>
                  <a:lnTo>
                    <a:pt x="1227" y="261"/>
                  </a:lnTo>
                  <a:lnTo>
                    <a:pt x="1227" y="261"/>
                  </a:lnTo>
                  <a:lnTo>
                    <a:pt x="1227" y="261"/>
                  </a:lnTo>
                  <a:lnTo>
                    <a:pt x="1227" y="259"/>
                  </a:lnTo>
                  <a:lnTo>
                    <a:pt x="1227" y="259"/>
                  </a:lnTo>
                  <a:lnTo>
                    <a:pt x="1225" y="259"/>
                  </a:lnTo>
                  <a:lnTo>
                    <a:pt x="1225" y="259"/>
                  </a:lnTo>
                  <a:lnTo>
                    <a:pt x="1223" y="259"/>
                  </a:lnTo>
                  <a:lnTo>
                    <a:pt x="1225" y="259"/>
                  </a:lnTo>
                  <a:lnTo>
                    <a:pt x="1223" y="259"/>
                  </a:lnTo>
                  <a:lnTo>
                    <a:pt x="1223" y="259"/>
                  </a:lnTo>
                  <a:lnTo>
                    <a:pt x="1223" y="259"/>
                  </a:lnTo>
                  <a:lnTo>
                    <a:pt x="1223" y="259"/>
                  </a:lnTo>
                  <a:lnTo>
                    <a:pt x="1223" y="259"/>
                  </a:lnTo>
                  <a:lnTo>
                    <a:pt x="1223" y="259"/>
                  </a:lnTo>
                  <a:lnTo>
                    <a:pt x="1223" y="259"/>
                  </a:lnTo>
                  <a:lnTo>
                    <a:pt x="1220" y="259"/>
                  </a:lnTo>
                  <a:lnTo>
                    <a:pt x="1220" y="259"/>
                  </a:lnTo>
                  <a:lnTo>
                    <a:pt x="1220" y="259"/>
                  </a:lnTo>
                  <a:lnTo>
                    <a:pt x="1220" y="259"/>
                  </a:lnTo>
                  <a:lnTo>
                    <a:pt x="1220" y="257"/>
                  </a:lnTo>
                  <a:lnTo>
                    <a:pt x="1220" y="257"/>
                  </a:lnTo>
                  <a:lnTo>
                    <a:pt x="1220" y="257"/>
                  </a:lnTo>
                  <a:lnTo>
                    <a:pt x="1220" y="257"/>
                  </a:lnTo>
                  <a:lnTo>
                    <a:pt x="1220" y="257"/>
                  </a:lnTo>
                  <a:lnTo>
                    <a:pt x="1220" y="257"/>
                  </a:lnTo>
                  <a:lnTo>
                    <a:pt x="1220" y="257"/>
                  </a:lnTo>
                  <a:lnTo>
                    <a:pt x="1218" y="257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3" y="255"/>
                  </a:lnTo>
                  <a:lnTo>
                    <a:pt x="1223" y="255"/>
                  </a:lnTo>
                  <a:lnTo>
                    <a:pt x="1223" y="255"/>
                  </a:lnTo>
                  <a:lnTo>
                    <a:pt x="1223" y="255"/>
                  </a:lnTo>
                  <a:lnTo>
                    <a:pt x="1223" y="252"/>
                  </a:lnTo>
                  <a:lnTo>
                    <a:pt x="1220" y="252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20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6" y="255"/>
                  </a:lnTo>
                  <a:lnTo>
                    <a:pt x="1216" y="255"/>
                  </a:lnTo>
                  <a:lnTo>
                    <a:pt x="1216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18" y="255"/>
                  </a:lnTo>
                  <a:lnTo>
                    <a:pt x="1220" y="252"/>
                  </a:lnTo>
                  <a:lnTo>
                    <a:pt x="1220" y="252"/>
                  </a:lnTo>
                  <a:lnTo>
                    <a:pt x="1220" y="252"/>
                  </a:lnTo>
                  <a:lnTo>
                    <a:pt x="1220" y="252"/>
                  </a:lnTo>
                  <a:lnTo>
                    <a:pt x="1223" y="252"/>
                  </a:lnTo>
                  <a:lnTo>
                    <a:pt x="1220" y="252"/>
                  </a:lnTo>
                  <a:lnTo>
                    <a:pt x="1223" y="252"/>
                  </a:lnTo>
                  <a:lnTo>
                    <a:pt x="1223" y="252"/>
                  </a:lnTo>
                  <a:lnTo>
                    <a:pt x="1223" y="252"/>
                  </a:lnTo>
                  <a:lnTo>
                    <a:pt x="1223" y="252"/>
                  </a:lnTo>
                  <a:lnTo>
                    <a:pt x="1220" y="252"/>
                  </a:lnTo>
                  <a:lnTo>
                    <a:pt x="1218" y="252"/>
                  </a:lnTo>
                  <a:lnTo>
                    <a:pt x="1216" y="252"/>
                  </a:lnTo>
                  <a:lnTo>
                    <a:pt x="1216" y="252"/>
                  </a:lnTo>
                  <a:lnTo>
                    <a:pt x="1218" y="252"/>
                  </a:lnTo>
                  <a:lnTo>
                    <a:pt x="1220" y="252"/>
                  </a:lnTo>
                  <a:lnTo>
                    <a:pt x="1218" y="252"/>
                  </a:lnTo>
                  <a:lnTo>
                    <a:pt x="1218" y="252"/>
                  </a:lnTo>
                  <a:lnTo>
                    <a:pt x="1216" y="252"/>
                  </a:lnTo>
                  <a:lnTo>
                    <a:pt x="1220" y="250"/>
                  </a:lnTo>
                  <a:lnTo>
                    <a:pt x="1218" y="250"/>
                  </a:lnTo>
                  <a:lnTo>
                    <a:pt x="1218" y="252"/>
                  </a:lnTo>
                  <a:lnTo>
                    <a:pt x="1218" y="252"/>
                  </a:lnTo>
                  <a:lnTo>
                    <a:pt x="1218" y="252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23" y="250"/>
                  </a:lnTo>
                  <a:lnTo>
                    <a:pt x="1220" y="250"/>
                  </a:lnTo>
                  <a:lnTo>
                    <a:pt x="1220" y="250"/>
                  </a:lnTo>
                  <a:lnTo>
                    <a:pt x="1220" y="250"/>
                  </a:lnTo>
                  <a:lnTo>
                    <a:pt x="1223" y="250"/>
                  </a:lnTo>
                  <a:lnTo>
                    <a:pt x="1223" y="250"/>
                  </a:lnTo>
                  <a:lnTo>
                    <a:pt x="1223" y="250"/>
                  </a:lnTo>
                  <a:lnTo>
                    <a:pt x="1223" y="250"/>
                  </a:lnTo>
                  <a:lnTo>
                    <a:pt x="1225" y="250"/>
                  </a:lnTo>
                  <a:lnTo>
                    <a:pt x="1225" y="250"/>
                  </a:lnTo>
                  <a:lnTo>
                    <a:pt x="1225" y="250"/>
                  </a:lnTo>
                  <a:lnTo>
                    <a:pt x="1223" y="250"/>
                  </a:lnTo>
                  <a:lnTo>
                    <a:pt x="1223" y="250"/>
                  </a:lnTo>
                  <a:lnTo>
                    <a:pt x="1223" y="248"/>
                  </a:lnTo>
                  <a:lnTo>
                    <a:pt x="1223" y="248"/>
                  </a:lnTo>
                  <a:lnTo>
                    <a:pt x="1223" y="248"/>
                  </a:lnTo>
                  <a:lnTo>
                    <a:pt x="1220" y="248"/>
                  </a:lnTo>
                  <a:lnTo>
                    <a:pt x="1220" y="250"/>
                  </a:lnTo>
                  <a:lnTo>
                    <a:pt x="1220" y="250"/>
                  </a:lnTo>
                  <a:lnTo>
                    <a:pt x="1220" y="250"/>
                  </a:lnTo>
                  <a:lnTo>
                    <a:pt x="1220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8" y="250"/>
                  </a:lnTo>
                  <a:lnTo>
                    <a:pt x="1216" y="250"/>
                  </a:lnTo>
                  <a:lnTo>
                    <a:pt x="1216" y="250"/>
                  </a:lnTo>
                  <a:lnTo>
                    <a:pt x="1216" y="252"/>
                  </a:lnTo>
                  <a:lnTo>
                    <a:pt x="1216" y="252"/>
                  </a:lnTo>
                  <a:lnTo>
                    <a:pt x="1216" y="252"/>
                  </a:lnTo>
                  <a:lnTo>
                    <a:pt x="1216" y="252"/>
                  </a:lnTo>
                  <a:lnTo>
                    <a:pt x="1214" y="252"/>
                  </a:lnTo>
                  <a:lnTo>
                    <a:pt x="1214" y="252"/>
                  </a:lnTo>
                  <a:lnTo>
                    <a:pt x="1214" y="252"/>
                  </a:lnTo>
                  <a:lnTo>
                    <a:pt x="1214" y="252"/>
                  </a:lnTo>
                  <a:lnTo>
                    <a:pt x="1214" y="252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11" y="250"/>
                  </a:lnTo>
                  <a:lnTo>
                    <a:pt x="1209" y="250"/>
                  </a:lnTo>
                  <a:lnTo>
                    <a:pt x="1209" y="250"/>
                  </a:lnTo>
                  <a:lnTo>
                    <a:pt x="1209" y="250"/>
                  </a:lnTo>
                  <a:lnTo>
                    <a:pt x="1209" y="252"/>
                  </a:lnTo>
                  <a:lnTo>
                    <a:pt x="1209" y="252"/>
                  </a:lnTo>
                  <a:lnTo>
                    <a:pt x="1207" y="252"/>
                  </a:lnTo>
                  <a:lnTo>
                    <a:pt x="1205" y="252"/>
                  </a:lnTo>
                  <a:lnTo>
                    <a:pt x="1205" y="255"/>
                  </a:lnTo>
                  <a:lnTo>
                    <a:pt x="1202" y="255"/>
                  </a:lnTo>
                  <a:lnTo>
                    <a:pt x="1200" y="255"/>
                  </a:lnTo>
                  <a:lnTo>
                    <a:pt x="1200" y="255"/>
                  </a:lnTo>
                  <a:lnTo>
                    <a:pt x="1200" y="255"/>
                  </a:lnTo>
                  <a:lnTo>
                    <a:pt x="1193" y="257"/>
                  </a:lnTo>
                  <a:lnTo>
                    <a:pt x="1191" y="257"/>
                  </a:lnTo>
                  <a:lnTo>
                    <a:pt x="1189" y="257"/>
                  </a:lnTo>
                  <a:lnTo>
                    <a:pt x="1189" y="257"/>
                  </a:lnTo>
                  <a:lnTo>
                    <a:pt x="1189" y="255"/>
                  </a:lnTo>
                  <a:lnTo>
                    <a:pt x="1191" y="255"/>
                  </a:lnTo>
                  <a:lnTo>
                    <a:pt x="1193" y="252"/>
                  </a:lnTo>
                  <a:lnTo>
                    <a:pt x="1193" y="252"/>
                  </a:lnTo>
                  <a:lnTo>
                    <a:pt x="1193" y="252"/>
                  </a:lnTo>
                  <a:lnTo>
                    <a:pt x="1191" y="252"/>
                  </a:lnTo>
                  <a:lnTo>
                    <a:pt x="1191" y="252"/>
                  </a:lnTo>
                  <a:lnTo>
                    <a:pt x="1191" y="252"/>
                  </a:lnTo>
                  <a:lnTo>
                    <a:pt x="1191" y="252"/>
                  </a:lnTo>
                  <a:lnTo>
                    <a:pt x="1191" y="252"/>
                  </a:lnTo>
                  <a:lnTo>
                    <a:pt x="1193" y="250"/>
                  </a:lnTo>
                  <a:lnTo>
                    <a:pt x="1193" y="250"/>
                  </a:lnTo>
                  <a:lnTo>
                    <a:pt x="1193" y="250"/>
                  </a:lnTo>
                  <a:lnTo>
                    <a:pt x="1193" y="250"/>
                  </a:lnTo>
                  <a:lnTo>
                    <a:pt x="1193" y="250"/>
                  </a:lnTo>
                  <a:lnTo>
                    <a:pt x="1193" y="250"/>
                  </a:lnTo>
                  <a:lnTo>
                    <a:pt x="1196" y="250"/>
                  </a:lnTo>
                  <a:lnTo>
                    <a:pt x="1198" y="250"/>
                  </a:lnTo>
                  <a:lnTo>
                    <a:pt x="1200" y="250"/>
                  </a:lnTo>
                  <a:lnTo>
                    <a:pt x="1200" y="250"/>
                  </a:lnTo>
                  <a:lnTo>
                    <a:pt x="1202" y="250"/>
                  </a:lnTo>
                  <a:lnTo>
                    <a:pt x="1202" y="250"/>
                  </a:lnTo>
                  <a:lnTo>
                    <a:pt x="1202" y="250"/>
                  </a:lnTo>
                  <a:lnTo>
                    <a:pt x="1202" y="250"/>
                  </a:lnTo>
                  <a:lnTo>
                    <a:pt x="1205" y="250"/>
                  </a:lnTo>
                  <a:lnTo>
                    <a:pt x="1205" y="250"/>
                  </a:lnTo>
                  <a:lnTo>
                    <a:pt x="1207" y="250"/>
                  </a:lnTo>
                  <a:lnTo>
                    <a:pt x="1207" y="250"/>
                  </a:lnTo>
                  <a:lnTo>
                    <a:pt x="1207" y="250"/>
                  </a:lnTo>
                  <a:lnTo>
                    <a:pt x="1207" y="250"/>
                  </a:lnTo>
                  <a:lnTo>
                    <a:pt x="1207" y="250"/>
                  </a:lnTo>
                  <a:lnTo>
                    <a:pt x="1207" y="248"/>
                  </a:lnTo>
                  <a:lnTo>
                    <a:pt x="1207" y="248"/>
                  </a:lnTo>
                  <a:lnTo>
                    <a:pt x="1209" y="248"/>
                  </a:lnTo>
                  <a:lnTo>
                    <a:pt x="1209" y="248"/>
                  </a:lnTo>
                  <a:lnTo>
                    <a:pt x="1209" y="248"/>
                  </a:lnTo>
                  <a:lnTo>
                    <a:pt x="1211" y="248"/>
                  </a:lnTo>
                  <a:lnTo>
                    <a:pt x="1211" y="248"/>
                  </a:lnTo>
                  <a:lnTo>
                    <a:pt x="1211" y="248"/>
                  </a:lnTo>
                  <a:lnTo>
                    <a:pt x="1211" y="248"/>
                  </a:lnTo>
                  <a:lnTo>
                    <a:pt x="1211" y="248"/>
                  </a:lnTo>
                  <a:lnTo>
                    <a:pt x="1211" y="248"/>
                  </a:lnTo>
                  <a:lnTo>
                    <a:pt x="1211" y="248"/>
                  </a:lnTo>
                  <a:lnTo>
                    <a:pt x="1211" y="246"/>
                  </a:lnTo>
                  <a:lnTo>
                    <a:pt x="1211" y="246"/>
                  </a:lnTo>
                  <a:lnTo>
                    <a:pt x="1211" y="246"/>
                  </a:lnTo>
                  <a:lnTo>
                    <a:pt x="1211" y="246"/>
                  </a:lnTo>
                  <a:lnTo>
                    <a:pt x="1211" y="243"/>
                  </a:lnTo>
                  <a:lnTo>
                    <a:pt x="1209" y="243"/>
                  </a:lnTo>
                  <a:lnTo>
                    <a:pt x="1209" y="243"/>
                  </a:lnTo>
                  <a:lnTo>
                    <a:pt x="1209" y="243"/>
                  </a:lnTo>
                  <a:lnTo>
                    <a:pt x="1209" y="243"/>
                  </a:lnTo>
                  <a:lnTo>
                    <a:pt x="1209" y="243"/>
                  </a:lnTo>
                  <a:lnTo>
                    <a:pt x="1209" y="243"/>
                  </a:lnTo>
                  <a:lnTo>
                    <a:pt x="1209" y="243"/>
                  </a:lnTo>
                  <a:lnTo>
                    <a:pt x="1207" y="243"/>
                  </a:lnTo>
                  <a:lnTo>
                    <a:pt x="1207" y="241"/>
                  </a:lnTo>
                  <a:lnTo>
                    <a:pt x="1205" y="241"/>
                  </a:lnTo>
                  <a:lnTo>
                    <a:pt x="1202" y="243"/>
                  </a:lnTo>
                  <a:lnTo>
                    <a:pt x="1202" y="241"/>
                  </a:lnTo>
                  <a:lnTo>
                    <a:pt x="1202" y="241"/>
                  </a:lnTo>
                  <a:lnTo>
                    <a:pt x="1202" y="241"/>
                  </a:lnTo>
                  <a:lnTo>
                    <a:pt x="1202" y="241"/>
                  </a:lnTo>
                  <a:lnTo>
                    <a:pt x="1202" y="241"/>
                  </a:lnTo>
                  <a:lnTo>
                    <a:pt x="1200" y="239"/>
                  </a:lnTo>
                  <a:lnTo>
                    <a:pt x="1200" y="239"/>
                  </a:lnTo>
                  <a:lnTo>
                    <a:pt x="1200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5" y="237"/>
                  </a:lnTo>
                  <a:lnTo>
                    <a:pt x="1205" y="237"/>
                  </a:lnTo>
                  <a:lnTo>
                    <a:pt x="1205" y="237"/>
                  </a:lnTo>
                  <a:lnTo>
                    <a:pt x="1207" y="237"/>
                  </a:lnTo>
                  <a:lnTo>
                    <a:pt x="1207" y="239"/>
                  </a:lnTo>
                  <a:lnTo>
                    <a:pt x="1207" y="239"/>
                  </a:lnTo>
                  <a:lnTo>
                    <a:pt x="1209" y="239"/>
                  </a:lnTo>
                  <a:lnTo>
                    <a:pt x="1207" y="237"/>
                  </a:lnTo>
                  <a:lnTo>
                    <a:pt x="1209" y="237"/>
                  </a:lnTo>
                  <a:lnTo>
                    <a:pt x="1209" y="237"/>
                  </a:lnTo>
                  <a:lnTo>
                    <a:pt x="1207" y="237"/>
                  </a:lnTo>
                  <a:lnTo>
                    <a:pt x="1207" y="237"/>
                  </a:lnTo>
                  <a:lnTo>
                    <a:pt x="1207" y="237"/>
                  </a:lnTo>
                  <a:lnTo>
                    <a:pt x="1207" y="237"/>
                  </a:lnTo>
                  <a:lnTo>
                    <a:pt x="1207" y="237"/>
                  </a:lnTo>
                  <a:lnTo>
                    <a:pt x="1207" y="237"/>
                  </a:lnTo>
                  <a:lnTo>
                    <a:pt x="1205" y="237"/>
                  </a:lnTo>
                  <a:lnTo>
                    <a:pt x="1202" y="237"/>
                  </a:lnTo>
                  <a:lnTo>
                    <a:pt x="1202" y="237"/>
                  </a:lnTo>
                  <a:lnTo>
                    <a:pt x="1202" y="237"/>
                  </a:lnTo>
                  <a:lnTo>
                    <a:pt x="1205" y="237"/>
                  </a:lnTo>
                  <a:lnTo>
                    <a:pt x="1205" y="237"/>
                  </a:lnTo>
                  <a:lnTo>
                    <a:pt x="1205" y="237"/>
                  </a:lnTo>
                  <a:lnTo>
                    <a:pt x="1202" y="237"/>
                  </a:lnTo>
                  <a:lnTo>
                    <a:pt x="1202" y="237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2" y="239"/>
                  </a:lnTo>
                  <a:lnTo>
                    <a:pt x="1200" y="239"/>
                  </a:lnTo>
                  <a:lnTo>
                    <a:pt x="1200" y="239"/>
                  </a:lnTo>
                  <a:lnTo>
                    <a:pt x="1200" y="239"/>
                  </a:lnTo>
                  <a:lnTo>
                    <a:pt x="1198" y="239"/>
                  </a:lnTo>
                  <a:lnTo>
                    <a:pt x="1198" y="239"/>
                  </a:lnTo>
                  <a:lnTo>
                    <a:pt x="1198" y="239"/>
                  </a:lnTo>
                  <a:lnTo>
                    <a:pt x="1198" y="239"/>
                  </a:lnTo>
                  <a:lnTo>
                    <a:pt x="1198" y="239"/>
                  </a:lnTo>
                  <a:lnTo>
                    <a:pt x="1198" y="239"/>
                  </a:lnTo>
                  <a:lnTo>
                    <a:pt x="1198" y="237"/>
                  </a:lnTo>
                  <a:lnTo>
                    <a:pt x="1198" y="239"/>
                  </a:lnTo>
                  <a:lnTo>
                    <a:pt x="1198" y="239"/>
                  </a:lnTo>
                  <a:lnTo>
                    <a:pt x="1196" y="239"/>
                  </a:lnTo>
                  <a:lnTo>
                    <a:pt x="1196" y="239"/>
                  </a:lnTo>
                  <a:lnTo>
                    <a:pt x="1196" y="239"/>
                  </a:lnTo>
                  <a:lnTo>
                    <a:pt x="1196" y="239"/>
                  </a:lnTo>
                  <a:lnTo>
                    <a:pt x="1196" y="239"/>
                  </a:lnTo>
                  <a:lnTo>
                    <a:pt x="1196" y="239"/>
                  </a:lnTo>
                  <a:lnTo>
                    <a:pt x="1196" y="237"/>
                  </a:lnTo>
                  <a:lnTo>
                    <a:pt x="1196" y="237"/>
                  </a:lnTo>
                  <a:lnTo>
                    <a:pt x="1193" y="239"/>
                  </a:lnTo>
                  <a:lnTo>
                    <a:pt x="1193" y="237"/>
                  </a:lnTo>
                  <a:lnTo>
                    <a:pt x="1193" y="237"/>
                  </a:lnTo>
                  <a:lnTo>
                    <a:pt x="1193" y="237"/>
                  </a:lnTo>
                  <a:lnTo>
                    <a:pt x="1196" y="237"/>
                  </a:lnTo>
                  <a:lnTo>
                    <a:pt x="1196" y="237"/>
                  </a:lnTo>
                  <a:lnTo>
                    <a:pt x="1196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198" y="237"/>
                  </a:lnTo>
                  <a:lnTo>
                    <a:pt x="1200" y="237"/>
                  </a:lnTo>
                  <a:lnTo>
                    <a:pt x="1200" y="237"/>
                  </a:lnTo>
                  <a:lnTo>
                    <a:pt x="1200" y="237"/>
                  </a:lnTo>
                  <a:lnTo>
                    <a:pt x="1200" y="237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202" y="234"/>
                  </a:lnTo>
                  <a:lnTo>
                    <a:pt x="1202" y="234"/>
                  </a:lnTo>
                  <a:lnTo>
                    <a:pt x="1202" y="234"/>
                  </a:lnTo>
                  <a:lnTo>
                    <a:pt x="1202" y="234"/>
                  </a:lnTo>
                  <a:lnTo>
                    <a:pt x="1200" y="234"/>
                  </a:lnTo>
                  <a:lnTo>
                    <a:pt x="1200" y="234"/>
                  </a:lnTo>
                  <a:lnTo>
                    <a:pt x="1198" y="234"/>
                  </a:lnTo>
                  <a:lnTo>
                    <a:pt x="1198" y="234"/>
                  </a:lnTo>
                  <a:lnTo>
                    <a:pt x="1198" y="234"/>
                  </a:lnTo>
                  <a:lnTo>
                    <a:pt x="1198" y="234"/>
                  </a:lnTo>
                  <a:lnTo>
                    <a:pt x="1200" y="232"/>
                  </a:lnTo>
                  <a:lnTo>
                    <a:pt x="1198" y="232"/>
                  </a:lnTo>
                  <a:lnTo>
                    <a:pt x="1198" y="232"/>
                  </a:lnTo>
                  <a:lnTo>
                    <a:pt x="1198" y="234"/>
                  </a:lnTo>
                  <a:lnTo>
                    <a:pt x="1198" y="234"/>
                  </a:lnTo>
                  <a:lnTo>
                    <a:pt x="1196" y="234"/>
                  </a:lnTo>
                  <a:lnTo>
                    <a:pt x="1196" y="234"/>
                  </a:lnTo>
                  <a:lnTo>
                    <a:pt x="1193" y="234"/>
                  </a:lnTo>
                  <a:lnTo>
                    <a:pt x="1193" y="234"/>
                  </a:lnTo>
                  <a:lnTo>
                    <a:pt x="1196" y="232"/>
                  </a:lnTo>
                  <a:lnTo>
                    <a:pt x="1198" y="232"/>
                  </a:lnTo>
                  <a:lnTo>
                    <a:pt x="1200" y="232"/>
                  </a:lnTo>
                  <a:lnTo>
                    <a:pt x="1200" y="232"/>
                  </a:lnTo>
                  <a:lnTo>
                    <a:pt x="1200" y="232"/>
                  </a:lnTo>
                  <a:lnTo>
                    <a:pt x="1196" y="232"/>
                  </a:lnTo>
                  <a:lnTo>
                    <a:pt x="1196" y="232"/>
                  </a:lnTo>
                  <a:lnTo>
                    <a:pt x="1196" y="232"/>
                  </a:lnTo>
                  <a:lnTo>
                    <a:pt x="1196" y="232"/>
                  </a:lnTo>
                  <a:lnTo>
                    <a:pt x="1196" y="232"/>
                  </a:lnTo>
                  <a:lnTo>
                    <a:pt x="1193" y="232"/>
                  </a:lnTo>
                  <a:lnTo>
                    <a:pt x="1191" y="232"/>
                  </a:lnTo>
                  <a:lnTo>
                    <a:pt x="1191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91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4"/>
                  </a:lnTo>
                  <a:lnTo>
                    <a:pt x="1189" y="232"/>
                  </a:lnTo>
                  <a:lnTo>
                    <a:pt x="1189" y="232"/>
                  </a:lnTo>
                  <a:lnTo>
                    <a:pt x="1191" y="232"/>
                  </a:lnTo>
                  <a:lnTo>
                    <a:pt x="1191" y="230"/>
                  </a:lnTo>
                  <a:lnTo>
                    <a:pt x="1191" y="230"/>
                  </a:lnTo>
                  <a:lnTo>
                    <a:pt x="1191" y="230"/>
                  </a:lnTo>
                  <a:lnTo>
                    <a:pt x="1191" y="230"/>
                  </a:lnTo>
                  <a:lnTo>
                    <a:pt x="1191" y="230"/>
                  </a:lnTo>
                  <a:lnTo>
                    <a:pt x="1193" y="228"/>
                  </a:lnTo>
                  <a:lnTo>
                    <a:pt x="1193" y="228"/>
                  </a:lnTo>
                  <a:lnTo>
                    <a:pt x="1193" y="228"/>
                  </a:lnTo>
                  <a:lnTo>
                    <a:pt x="1193" y="228"/>
                  </a:lnTo>
                  <a:lnTo>
                    <a:pt x="1193" y="225"/>
                  </a:lnTo>
                  <a:lnTo>
                    <a:pt x="1193" y="225"/>
                  </a:lnTo>
                  <a:lnTo>
                    <a:pt x="1193" y="225"/>
                  </a:lnTo>
                  <a:lnTo>
                    <a:pt x="1193" y="225"/>
                  </a:lnTo>
                  <a:lnTo>
                    <a:pt x="1193" y="225"/>
                  </a:lnTo>
                  <a:lnTo>
                    <a:pt x="1193" y="225"/>
                  </a:lnTo>
                  <a:lnTo>
                    <a:pt x="1191" y="225"/>
                  </a:lnTo>
                  <a:lnTo>
                    <a:pt x="1191" y="225"/>
                  </a:lnTo>
                  <a:lnTo>
                    <a:pt x="1191" y="225"/>
                  </a:lnTo>
                  <a:lnTo>
                    <a:pt x="1191" y="225"/>
                  </a:lnTo>
                  <a:lnTo>
                    <a:pt x="1191" y="225"/>
                  </a:lnTo>
                  <a:lnTo>
                    <a:pt x="1189" y="225"/>
                  </a:lnTo>
                  <a:lnTo>
                    <a:pt x="1189" y="225"/>
                  </a:lnTo>
                  <a:lnTo>
                    <a:pt x="1189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7" y="225"/>
                  </a:lnTo>
                  <a:lnTo>
                    <a:pt x="1184" y="225"/>
                  </a:lnTo>
                  <a:lnTo>
                    <a:pt x="1187" y="225"/>
                  </a:lnTo>
                  <a:lnTo>
                    <a:pt x="1184" y="225"/>
                  </a:lnTo>
                  <a:lnTo>
                    <a:pt x="1184" y="225"/>
                  </a:lnTo>
                  <a:lnTo>
                    <a:pt x="1184" y="225"/>
                  </a:lnTo>
                  <a:lnTo>
                    <a:pt x="1184" y="225"/>
                  </a:lnTo>
                  <a:lnTo>
                    <a:pt x="1184" y="225"/>
                  </a:lnTo>
                  <a:lnTo>
                    <a:pt x="1182" y="225"/>
                  </a:lnTo>
                  <a:lnTo>
                    <a:pt x="1182" y="225"/>
                  </a:lnTo>
                  <a:lnTo>
                    <a:pt x="1182" y="225"/>
                  </a:lnTo>
                  <a:lnTo>
                    <a:pt x="1184" y="225"/>
                  </a:lnTo>
                  <a:lnTo>
                    <a:pt x="1182" y="225"/>
                  </a:lnTo>
                  <a:lnTo>
                    <a:pt x="1182" y="225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4" y="223"/>
                  </a:lnTo>
                  <a:lnTo>
                    <a:pt x="1184" y="223"/>
                  </a:lnTo>
                  <a:lnTo>
                    <a:pt x="1184" y="223"/>
                  </a:lnTo>
                  <a:lnTo>
                    <a:pt x="1184" y="223"/>
                  </a:lnTo>
                  <a:lnTo>
                    <a:pt x="1184" y="223"/>
                  </a:lnTo>
                  <a:lnTo>
                    <a:pt x="1184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2" y="223"/>
                  </a:lnTo>
                  <a:lnTo>
                    <a:pt x="1180" y="223"/>
                  </a:lnTo>
                  <a:lnTo>
                    <a:pt x="1180" y="221"/>
                  </a:lnTo>
                  <a:lnTo>
                    <a:pt x="1182" y="221"/>
                  </a:lnTo>
                  <a:lnTo>
                    <a:pt x="1182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78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1"/>
                  </a:lnTo>
                  <a:lnTo>
                    <a:pt x="1180" y="223"/>
                  </a:lnTo>
                  <a:lnTo>
                    <a:pt x="1178" y="223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8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2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80" y="216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80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19"/>
                  </a:lnTo>
                  <a:lnTo>
                    <a:pt x="1178" y="221"/>
                  </a:lnTo>
                  <a:lnTo>
                    <a:pt x="1178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5" y="221"/>
                  </a:lnTo>
                  <a:lnTo>
                    <a:pt x="1175" y="221"/>
                  </a:lnTo>
                  <a:lnTo>
                    <a:pt x="1175" y="219"/>
                  </a:lnTo>
                  <a:lnTo>
                    <a:pt x="1175" y="219"/>
                  </a:lnTo>
                  <a:lnTo>
                    <a:pt x="1175" y="219"/>
                  </a:lnTo>
                  <a:lnTo>
                    <a:pt x="1175" y="219"/>
                  </a:lnTo>
                  <a:lnTo>
                    <a:pt x="1175" y="219"/>
                  </a:lnTo>
                  <a:lnTo>
                    <a:pt x="1175" y="219"/>
                  </a:lnTo>
                  <a:lnTo>
                    <a:pt x="1173" y="219"/>
                  </a:lnTo>
                  <a:lnTo>
                    <a:pt x="1173" y="219"/>
                  </a:lnTo>
                  <a:lnTo>
                    <a:pt x="1173" y="219"/>
                  </a:lnTo>
                  <a:lnTo>
                    <a:pt x="1173" y="221"/>
                  </a:lnTo>
                  <a:lnTo>
                    <a:pt x="1175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3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71" y="221"/>
                  </a:lnTo>
                  <a:lnTo>
                    <a:pt x="1169" y="221"/>
                  </a:lnTo>
                  <a:lnTo>
                    <a:pt x="1169" y="221"/>
                  </a:lnTo>
                  <a:lnTo>
                    <a:pt x="1169" y="221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69" y="223"/>
                  </a:lnTo>
                  <a:lnTo>
                    <a:pt x="1171" y="223"/>
                  </a:lnTo>
                  <a:lnTo>
                    <a:pt x="1171" y="223"/>
                  </a:lnTo>
                  <a:lnTo>
                    <a:pt x="1171" y="223"/>
                  </a:lnTo>
                  <a:lnTo>
                    <a:pt x="1171" y="223"/>
                  </a:lnTo>
                  <a:lnTo>
                    <a:pt x="1171" y="223"/>
                  </a:lnTo>
                  <a:lnTo>
                    <a:pt x="1173" y="223"/>
                  </a:lnTo>
                  <a:lnTo>
                    <a:pt x="1173" y="223"/>
                  </a:lnTo>
                  <a:lnTo>
                    <a:pt x="1173" y="223"/>
                  </a:lnTo>
                  <a:lnTo>
                    <a:pt x="1173" y="223"/>
                  </a:lnTo>
                  <a:lnTo>
                    <a:pt x="1175" y="223"/>
                  </a:lnTo>
                  <a:lnTo>
                    <a:pt x="1175" y="223"/>
                  </a:lnTo>
                  <a:lnTo>
                    <a:pt x="1175" y="223"/>
                  </a:lnTo>
                  <a:lnTo>
                    <a:pt x="1175" y="223"/>
                  </a:lnTo>
                  <a:lnTo>
                    <a:pt x="1175" y="225"/>
                  </a:lnTo>
                  <a:lnTo>
                    <a:pt x="1178" y="225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8" y="228"/>
                  </a:lnTo>
                  <a:lnTo>
                    <a:pt x="1175" y="228"/>
                  </a:lnTo>
                  <a:lnTo>
                    <a:pt x="1175" y="228"/>
                  </a:lnTo>
                  <a:lnTo>
                    <a:pt x="1175" y="228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0"/>
                  </a:lnTo>
                  <a:lnTo>
                    <a:pt x="1175" y="232"/>
                  </a:lnTo>
                  <a:lnTo>
                    <a:pt x="1173" y="232"/>
                  </a:lnTo>
                  <a:lnTo>
                    <a:pt x="1173" y="232"/>
                  </a:lnTo>
                  <a:lnTo>
                    <a:pt x="1173" y="232"/>
                  </a:lnTo>
                  <a:lnTo>
                    <a:pt x="1173" y="232"/>
                  </a:lnTo>
                  <a:lnTo>
                    <a:pt x="1173" y="232"/>
                  </a:lnTo>
                  <a:lnTo>
                    <a:pt x="1173" y="232"/>
                  </a:lnTo>
                  <a:lnTo>
                    <a:pt x="1173" y="232"/>
                  </a:lnTo>
                  <a:lnTo>
                    <a:pt x="1171" y="232"/>
                  </a:lnTo>
                  <a:lnTo>
                    <a:pt x="1171" y="232"/>
                  </a:lnTo>
                  <a:lnTo>
                    <a:pt x="1171" y="232"/>
                  </a:lnTo>
                  <a:lnTo>
                    <a:pt x="1171" y="232"/>
                  </a:lnTo>
                  <a:lnTo>
                    <a:pt x="1162" y="232"/>
                  </a:lnTo>
                  <a:lnTo>
                    <a:pt x="1157" y="234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2"/>
                  </a:lnTo>
                  <a:lnTo>
                    <a:pt x="1157" y="230"/>
                  </a:lnTo>
                  <a:lnTo>
                    <a:pt x="1157" y="230"/>
                  </a:lnTo>
                  <a:lnTo>
                    <a:pt x="1157" y="230"/>
                  </a:lnTo>
                  <a:lnTo>
                    <a:pt x="1157" y="230"/>
                  </a:lnTo>
                  <a:lnTo>
                    <a:pt x="1155" y="232"/>
                  </a:lnTo>
                  <a:lnTo>
                    <a:pt x="1155" y="232"/>
                  </a:lnTo>
                  <a:lnTo>
                    <a:pt x="1155" y="232"/>
                  </a:lnTo>
                  <a:lnTo>
                    <a:pt x="1155" y="230"/>
                  </a:lnTo>
                  <a:lnTo>
                    <a:pt x="1155" y="230"/>
                  </a:lnTo>
                  <a:lnTo>
                    <a:pt x="1155" y="230"/>
                  </a:lnTo>
                  <a:lnTo>
                    <a:pt x="1155" y="230"/>
                  </a:lnTo>
                  <a:lnTo>
                    <a:pt x="1155" y="230"/>
                  </a:lnTo>
                  <a:lnTo>
                    <a:pt x="1153" y="230"/>
                  </a:lnTo>
                  <a:lnTo>
                    <a:pt x="1153" y="230"/>
                  </a:lnTo>
                  <a:lnTo>
                    <a:pt x="1153" y="230"/>
                  </a:lnTo>
                  <a:lnTo>
                    <a:pt x="1151" y="230"/>
                  </a:lnTo>
                  <a:lnTo>
                    <a:pt x="1151" y="230"/>
                  </a:lnTo>
                  <a:lnTo>
                    <a:pt x="1151" y="230"/>
                  </a:lnTo>
                  <a:lnTo>
                    <a:pt x="1148" y="230"/>
                  </a:lnTo>
                  <a:lnTo>
                    <a:pt x="1144" y="230"/>
                  </a:lnTo>
                  <a:lnTo>
                    <a:pt x="1144" y="230"/>
                  </a:lnTo>
                  <a:lnTo>
                    <a:pt x="1142" y="230"/>
                  </a:lnTo>
                  <a:lnTo>
                    <a:pt x="1142" y="230"/>
                  </a:lnTo>
                  <a:lnTo>
                    <a:pt x="1142" y="230"/>
                  </a:lnTo>
                  <a:lnTo>
                    <a:pt x="1142" y="230"/>
                  </a:lnTo>
                  <a:lnTo>
                    <a:pt x="1142" y="228"/>
                  </a:lnTo>
                  <a:lnTo>
                    <a:pt x="1142" y="228"/>
                  </a:lnTo>
                  <a:lnTo>
                    <a:pt x="1139" y="228"/>
                  </a:lnTo>
                  <a:lnTo>
                    <a:pt x="1139" y="228"/>
                  </a:lnTo>
                  <a:lnTo>
                    <a:pt x="1139" y="228"/>
                  </a:lnTo>
                  <a:lnTo>
                    <a:pt x="1133" y="228"/>
                  </a:lnTo>
                  <a:lnTo>
                    <a:pt x="1133" y="228"/>
                  </a:lnTo>
                  <a:lnTo>
                    <a:pt x="1133" y="228"/>
                  </a:lnTo>
                  <a:lnTo>
                    <a:pt x="1133" y="228"/>
                  </a:lnTo>
                  <a:lnTo>
                    <a:pt x="1130" y="228"/>
                  </a:lnTo>
                  <a:lnTo>
                    <a:pt x="1130" y="228"/>
                  </a:lnTo>
                  <a:lnTo>
                    <a:pt x="1130" y="228"/>
                  </a:lnTo>
                  <a:lnTo>
                    <a:pt x="1130" y="228"/>
                  </a:lnTo>
                  <a:lnTo>
                    <a:pt x="1130" y="230"/>
                  </a:lnTo>
                  <a:lnTo>
                    <a:pt x="1133" y="230"/>
                  </a:lnTo>
                  <a:lnTo>
                    <a:pt x="1133" y="230"/>
                  </a:lnTo>
                  <a:lnTo>
                    <a:pt x="1135" y="230"/>
                  </a:lnTo>
                  <a:lnTo>
                    <a:pt x="1135" y="230"/>
                  </a:lnTo>
                  <a:lnTo>
                    <a:pt x="1135" y="230"/>
                  </a:lnTo>
                  <a:lnTo>
                    <a:pt x="1135" y="230"/>
                  </a:lnTo>
                  <a:lnTo>
                    <a:pt x="1135" y="230"/>
                  </a:lnTo>
                  <a:lnTo>
                    <a:pt x="1135" y="230"/>
                  </a:lnTo>
                  <a:lnTo>
                    <a:pt x="1137" y="230"/>
                  </a:lnTo>
                  <a:lnTo>
                    <a:pt x="1137" y="230"/>
                  </a:lnTo>
                  <a:lnTo>
                    <a:pt x="1137" y="230"/>
                  </a:lnTo>
                  <a:lnTo>
                    <a:pt x="1137" y="230"/>
                  </a:lnTo>
                  <a:lnTo>
                    <a:pt x="1137" y="230"/>
                  </a:lnTo>
                  <a:lnTo>
                    <a:pt x="1137" y="232"/>
                  </a:lnTo>
                  <a:lnTo>
                    <a:pt x="1137" y="232"/>
                  </a:lnTo>
                  <a:lnTo>
                    <a:pt x="1137" y="232"/>
                  </a:lnTo>
                  <a:lnTo>
                    <a:pt x="1137" y="232"/>
                  </a:lnTo>
                  <a:lnTo>
                    <a:pt x="1139" y="232"/>
                  </a:lnTo>
                  <a:lnTo>
                    <a:pt x="1139" y="232"/>
                  </a:lnTo>
                  <a:lnTo>
                    <a:pt x="1139" y="234"/>
                  </a:lnTo>
                  <a:lnTo>
                    <a:pt x="1142" y="234"/>
                  </a:lnTo>
                  <a:lnTo>
                    <a:pt x="1142" y="234"/>
                  </a:lnTo>
                  <a:lnTo>
                    <a:pt x="1142" y="234"/>
                  </a:lnTo>
                  <a:lnTo>
                    <a:pt x="1139" y="234"/>
                  </a:lnTo>
                  <a:lnTo>
                    <a:pt x="1139" y="234"/>
                  </a:lnTo>
                  <a:lnTo>
                    <a:pt x="1139" y="237"/>
                  </a:lnTo>
                  <a:lnTo>
                    <a:pt x="1137" y="237"/>
                  </a:lnTo>
                  <a:lnTo>
                    <a:pt x="1137" y="237"/>
                  </a:lnTo>
                  <a:lnTo>
                    <a:pt x="1137" y="237"/>
                  </a:lnTo>
                  <a:lnTo>
                    <a:pt x="1137" y="237"/>
                  </a:lnTo>
                  <a:lnTo>
                    <a:pt x="1137" y="237"/>
                  </a:lnTo>
                  <a:lnTo>
                    <a:pt x="1137" y="237"/>
                  </a:lnTo>
                  <a:lnTo>
                    <a:pt x="1137" y="234"/>
                  </a:lnTo>
                  <a:lnTo>
                    <a:pt x="1135" y="234"/>
                  </a:lnTo>
                  <a:lnTo>
                    <a:pt x="1135" y="234"/>
                  </a:lnTo>
                  <a:lnTo>
                    <a:pt x="1135" y="234"/>
                  </a:lnTo>
                  <a:lnTo>
                    <a:pt x="1135" y="234"/>
                  </a:lnTo>
                  <a:lnTo>
                    <a:pt x="1135" y="234"/>
                  </a:lnTo>
                  <a:lnTo>
                    <a:pt x="1135" y="232"/>
                  </a:lnTo>
                  <a:lnTo>
                    <a:pt x="1133" y="232"/>
                  </a:lnTo>
                  <a:lnTo>
                    <a:pt x="1133" y="232"/>
                  </a:lnTo>
                  <a:lnTo>
                    <a:pt x="1133" y="232"/>
                  </a:lnTo>
                  <a:lnTo>
                    <a:pt x="1133" y="232"/>
                  </a:lnTo>
                  <a:lnTo>
                    <a:pt x="1133" y="232"/>
                  </a:lnTo>
                  <a:lnTo>
                    <a:pt x="1130" y="232"/>
                  </a:lnTo>
                  <a:lnTo>
                    <a:pt x="1130" y="232"/>
                  </a:lnTo>
                  <a:lnTo>
                    <a:pt x="1130" y="232"/>
                  </a:lnTo>
                  <a:lnTo>
                    <a:pt x="1130" y="232"/>
                  </a:lnTo>
                  <a:lnTo>
                    <a:pt x="1133" y="230"/>
                  </a:lnTo>
                  <a:lnTo>
                    <a:pt x="1130" y="230"/>
                  </a:lnTo>
                  <a:lnTo>
                    <a:pt x="1128" y="230"/>
                  </a:lnTo>
                  <a:lnTo>
                    <a:pt x="1128" y="230"/>
                  </a:lnTo>
                  <a:lnTo>
                    <a:pt x="1128" y="230"/>
                  </a:lnTo>
                  <a:lnTo>
                    <a:pt x="1128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28"/>
                  </a:lnTo>
                  <a:lnTo>
                    <a:pt x="1126" y="228"/>
                  </a:lnTo>
                  <a:lnTo>
                    <a:pt x="1124" y="228"/>
                  </a:lnTo>
                  <a:lnTo>
                    <a:pt x="1124" y="228"/>
                  </a:lnTo>
                  <a:lnTo>
                    <a:pt x="1124" y="228"/>
                  </a:lnTo>
                  <a:lnTo>
                    <a:pt x="1124" y="228"/>
                  </a:lnTo>
                  <a:lnTo>
                    <a:pt x="1124" y="228"/>
                  </a:lnTo>
                  <a:lnTo>
                    <a:pt x="1124" y="228"/>
                  </a:lnTo>
                  <a:lnTo>
                    <a:pt x="1124" y="228"/>
                  </a:lnTo>
                  <a:lnTo>
                    <a:pt x="1121" y="228"/>
                  </a:lnTo>
                  <a:lnTo>
                    <a:pt x="1121" y="228"/>
                  </a:lnTo>
                  <a:lnTo>
                    <a:pt x="1121" y="228"/>
                  </a:lnTo>
                  <a:lnTo>
                    <a:pt x="1121" y="228"/>
                  </a:lnTo>
                  <a:lnTo>
                    <a:pt x="1119" y="228"/>
                  </a:lnTo>
                  <a:lnTo>
                    <a:pt x="1119" y="225"/>
                  </a:lnTo>
                  <a:lnTo>
                    <a:pt x="1119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5" y="225"/>
                  </a:lnTo>
                  <a:lnTo>
                    <a:pt x="1115" y="223"/>
                  </a:lnTo>
                  <a:lnTo>
                    <a:pt x="1115" y="223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7" y="225"/>
                  </a:lnTo>
                  <a:lnTo>
                    <a:pt x="1119" y="228"/>
                  </a:lnTo>
                  <a:lnTo>
                    <a:pt x="1124" y="228"/>
                  </a:lnTo>
                  <a:lnTo>
                    <a:pt x="1124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6" y="230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8" y="232"/>
                  </a:lnTo>
                  <a:lnTo>
                    <a:pt x="1126" y="232"/>
                  </a:lnTo>
                  <a:lnTo>
                    <a:pt x="1126" y="232"/>
                  </a:lnTo>
                  <a:lnTo>
                    <a:pt x="1126" y="232"/>
                  </a:lnTo>
                  <a:lnTo>
                    <a:pt x="1126" y="232"/>
                  </a:lnTo>
                  <a:lnTo>
                    <a:pt x="1126" y="232"/>
                  </a:lnTo>
                  <a:lnTo>
                    <a:pt x="1124" y="234"/>
                  </a:lnTo>
                  <a:lnTo>
                    <a:pt x="1124" y="232"/>
                  </a:lnTo>
                  <a:lnTo>
                    <a:pt x="1124" y="232"/>
                  </a:lnTo>
                  <a:lnTo>
                    <a:pt x="1124" y="232"/>
                  </a:lnTo>
                  <a:lnTo>
                    <a:pt x="1124" y="232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21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4"/>
                  </a:lnTo>
                  <a:lnTo>
                    <a:pt x="1119" y="232"/>
                  </a:lnTo>
                  <a:lnTo>
                    <a:pt x="1117" y="232"/>
                  </a:lnTo>
                  <a:lnTo>
                    <a:pt x="1117" y="234"/>
                  </a:lnTo>
                  <a:lnTo>
                    <a:pt x="1117" y="234"/>
                  </a:lnTo>
                  <a:lnTo>
                    <a:pt x="1115" y="232"/>
                  </a:lnTo>
                  <a:lnTo>
                    <a:pt x="1115" y="232"/>
                  </a:lnTo>
                  <a:lnTo>
                    <a:pt x="1115" y="232"/>
                  </a:lnTo>
                  <a:lnTo>
                    <a:pt x="1113" y="232"/>
                  </a:lnTo>
                  <a:lnTo>
                    <a:pt x="1113" y="232"/>
                  </a:lnTo>
                  <a:lnTo>
                    <a:pt x="1113" y="232"/>
                  </a:lnTo>
                  <a:lnTo>
                    <a:pt x="1113" y="232"/>
                  </a:lnTo>
                  <a:lnTo>
                    <a:pt x="1110" y="232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10" y="230"/>
                  </a:lnTo>
                  <a:lnTo>
                    <a:pt x="1108" y="230"/>
                  </a:lnTo>
                  <a:lnTo>
                    <a:pt x="1108" y="230"/>
                  </a:lnTo>
                  <a:lnTo>
                    <a:pt x="1108" y="230"/>
                  </a:lnTo>
                  <a:lnTo>
                    <a:pt x="1108" y="230"/>
                  </a:lnTo>
                  <a:lnTo>
                    <a:pt x="1108" y="230"/>
                  </a:lnTo>
                  <a:lnTo>
                    <a:pt x="1108" y="230"/>
                  </a:lnTo>
                  <a:lnTo>
                    <a:pt x="1106" y="230"/>
                  </a:lnTo>
                  <a:lnTo>
                    <a:pt x="1108" y="230"/>
                  </a:lnTo>
                  <a:lnTo>
                    <a:pt x="1106" y="230"/>
                  </a:lnTo>
                  <a:lnTo>
                    <a:pt x="1106" y="230"/>
                  </a:lnTo>
                  <a:lnTo>
                    <a:pt x="1104" y="230"/>
                  </a:lnTo>
                  <a:lnTo>
                    <a:pt x="1101" y="232"/>
                  </a:lnTo>
                  <a:lnTo>
                    <a:pt x="1099" y="232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5" y="230"/>
                  </a:lnTo>
                  <a:lnTo>
                    <a:pt x="1090" y="230"/>
                  </a:lnTo>
                  <a:lnTo>
                    <a:pt x="1088" y="230"/>
                  </a:lnTo>
                  <a:lnTo>
                    <a:pt x="1086" y="230"/>
                  </a:lnTo>
                  <a:lnTo>
                    <a:pt x="1086" y="230"/>
                  </a:lnTo>
                  <a:lnTo>
                    <a:pt x="1083" y="230"/>
                  </a:lnTo>
                  <a:lnTo>
                    <a:pt x="1083" y="230"/>
                  </a:lnTo>
                  <a:lnTo>
                    <a:pt x="1083" y="230"/>
                  </a:lnTo>
                  <a:lnTo>
                    <a:pt x="1083" y="228"/>
                  </a:lnTo>
                  <a:lnTo>
                    <a:pt x="1086" y="228"/>
                  </a:lnTo>
                  <a:lnTo>
                    <a:pt x="1086" y="228"/>
                  </a:lnTo>
                  <a:lnTo>
                    <a:pt x="1086" y="228"/>
                  </a:lnTo>
                  <a:lnTo>
                    <a:pt x="1086" y="228"/>
                  </a:lnTo>
                  <a:lnTo>
                    <a:pt x="1083" y="228"/>
                  </a:lnTo>
                  <a:lnTo>
                    <a:pt x="1083" y="228"/>
                  </a:lnTo>
                  <a:lnTo>
                    <a:pt x="1081" y="230"/>
                  </a:lnTo>
                  <a:lnTo>
                    <a:pt x="1079" y="228"/>
                  </a:lnTo>
                  <a:lnTo>
                    <a:pt x="1079" y="228"/>
                  </a:lnTo>
                  <a:lnTo>
                    <a:pt x="1079" y="228"/>
                  </a:lnTo>
                  <a:lnTo>
                    <a:pt x="1079" y="228"/>
                  </a:lnTo>
                  <a:lnTo>
                    <a:pt x="1079" y="228"/>
                  </a:lnTo>
                  <a:lnTo>
                    <a:pt x="1079" y="228"/>
                  </a:lnTo>
                  <a:lnTo>
                    <a:pt x="1077" y="228"/>
                  </a:lnTo>
                  <a:lnTo>
                    <a:pt x="1077" y="228"/>
                  </a:lnTo>
                  <a:lnTo>
                    <a:pt x="1077" y="228"/>
                  </a:lnTo>
                  <a:lnTo>
                    <a:pt x="1074" y="228"/>
                  </a:lnTo>
                  <a:lnTo>
                    <a:pt x="1074" y="228"/>
                  </a:lnTo>
                  <a:lnTo>
                    <a:pt x="1070" y="228"/>
                  </a:lnTo>
                  <a:lnTo>
                    <a:pt x="1070" y="228"/>
                  </a:lnTo>
                  <a:lnTo>
                    <a:pt x="1068" y="230"/>
                  </a:lnTo>
                  <a:lnTo>
                    <a:pt x="1068" y="230"/>
                  </a:lnTo>
                  <a:lnTo>
                    <a:pt x="1068" y="230"/>
                  </a:lnTo>
                  <a:lnTo>
                    <a:pt x="1070" y="230"/>
                  </a:lnTo>
                  <a:lnTo>
                    <a:pt x="1072" y="230"/>
                  </a:lnTo>
                  <a:lnTo>
                    <a:pt x="1072" y="230"/>
                  </a:lnTo>
                  <a:lnTo>
                    <a:pt x="1074" y="230"/>
                  </a:lnTo>
                  <a:lnTo>
                    <a:pt x="1074" y="230"/>
                  </a:lnTo>
                  <a:lnTo>
                    <a:pt x="1077" y="230"/>
                  </a:lnTo>
                  <a:lnTo>
                    <a:pt x="1077" y="230"/>
                  </a:lnTo>
                  <a:lnTo>
                    <a:pt x="1077" y="230"/>
                  </a:lnTo>
                  <a:lnTo>
                    <a:pt x="1072" y="230"/>
                  </a:lnTo>
                  <a:lnTo>
                    <a:pt x="1070" y="230"/>
                  </a:lnTo>
                  <a:lnTo>
                    <a:pt x="1068" y="230"/>
                  </a:lnTo>
                  <a:lnTo>
                    <a:pt x="1063" y="228"/>
                  </a:lnTo>
                  <a:lnTo>
                    <a:pt x="1061" y="225"/>
                  </a:lnTo>
                  <a:lnTo>
                    <a:pt x="1061" y="225"/>
                  </a:lnTo>
                  <a:lnTo>
                    <a:pt x="1061" y="225"/>
                  </a:lnTo>
                  <a:lnTo>
                    <a:pt x="1061" y="225"/>
                  </a:lnTo>
                  <a:lnTo>
                    <a:pt x="1061" y="225"/>
                  </a:lnTo>
                  <a:lnTo>
                    <a:pt x="1061" y="223"/>
                  </a:lnTo>
                  <a:lnTo>
                    <a:pt x="1063" y="223"/>
                  </a:lnTo>
                  <a:lnTo>
                    <a:pt x="1063" y="223"/>
                  </a:lnTo>
                  <a:lnTo>
                    <a:pt x="1063" y="223"/>
                  </a:lnTo>
                  <a:lnTo>
                    <a:pt x="1063" y="223"/>
                  </a:lnTo>
                  <a:lnTo>
                    <a:pt x="1063" y="223"/>
                  </a:lnTo>
                  <a:lnTo>
                    <a:pt x="1063" y="223"/>
                  </a:lnTo>
                  <a:lnTo>
                    <a:pt x="1063" y="223"/>
                  </a:lnTo>
                  <a:lnTo>
                    <a:pt x="1065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8" y="221"/>
                  </a:lnTo>
                  <a:lnTo>
                    <a:pt x="1065" y="221"/>
                  </a:lnTo>
                  <a:lnTo>
                    <a:pt x="1065" y="221"/>
                  </a:lnTo>
                  <a:lnTo>
                    <a:pt x="1065" y="221"/>
                  </a:lnTo>
                  <a:lnTo>
                    <a:pt x="1065" y="221"/>
                  </a:lnTo>
                  <a:lnTo>
                    <a:pt x="1063" y="221"/>
                  </a:lnTo>
                  <a:lnTo>
                    <a:pt x="1063" y="221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61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9" y="223"/>
                  </a:lnTo>
                  <a:lnTo>
                    <a:pt x="1059" y="223"/>
                  </a:lnTo>
                  <a:lnTo>
                    <a:pt x="1061" y="223"/>
                  </a:lnTo>
                  <a:lnTo>
                    <a:pt x="1059" y="223"/>
                  </a:lnTo>
                  <a:lnTo>
                    <a:pt x="1059" y="223"/>
                  </a:lnTo>
                  <a:lnTo>
                    <a:pt x="1059" y="223"/>
                  </a:lnTo>
                  <a:lnTo>
                    <a:pt x="1059" y="223"/>
                  </a:lnTo>
                  <a:lnTo>
                    <a:pt x="1059" y="221"/>
                  </a:lnTo>
                  <a:lnTo>
                    <a:pt x="1056" y="221"/>
                  </a:lnTo>
                  <a:lnTo>
                    <a:pt x="1056" y="221"/>
                  </a:lnTo>
                  <a:lnTo>
                    <a:pt x="1059" y="221"/>
                  </a:lnTo>
                  <a:lnTo>
                    <a:pt x="1059" y="221"/>
                  </a:lnTo>
                  <a:lnTo>
                    <a:pt x="1059" y="221"/>
                  </a:lnTo>
                  <a:lnTo>
                    <a:pt x="1059" y="221"/>
                  </a:lnTo>
                  <a:lnTo>
                    <a:pt x="1059" y="221"/>
                  </a:lnTo>
                  <a:lnTo>
                    <a:pt x="1056" y="221"/>
                  </a:lnTo>
                  <a:lnTo>
                    <a:pt x="1054" y="221"/>
                  </a:lnTo>
                  <a:lnTo>
                    <a:pt x="1054" y="223"/>
                  </a:lnTo>
                  <a:lnTo>
                    <a:pt x="1054" y="223"/>
                  </a:lnTo>
                  <a:lnTo>
                    <a:pt x="1052" y="223"/>
                  </a:lnTo>
                  <a:lnTo>
                    <a:pt x="1052" y="223"/>
                  </a:lnTo>
                  <a:lnTo>
                    <a:pt x="1052" y="223"/>
                  </a:lnTo>
                  <a:lnTo>
                    <a:pt x="1054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4" y="225"/>
                  </a:lnTo>
                  <a:lnTo>
                    <a:pt x="1054" y="225"/>
                  </a:lnTo>
                  <a:lnTo>
                    <a:pt x="1054" y="225"/>
                  </a:lnTo>
                  <a:lnTo>
                    <a:pt x="1054" y="225"/>
                  </a:lnTo>
                  <a:lnTo>
                    <a:pt x="1054" y="225"/>
                  </a:lnTo>
                  <a:lnTo>
                    <a:pt x="1050" y="223"/>
                  </a:lnTo>
                  <a:lnTo>
                    <a:pt x="1047" y="223"/>
                  </a:lnTo>
                  <a:lnTo>
                    <a:pt x="1043" y="223"/>
                  </a:lnTo>
                  <a:lnTo>
                    <a:pt x="1043" y="223"/>
                  </a:lnTo>
                  <a:lnTo>
                    <a:pt x="1043" y="223"/>
                  </a:lnTo>
                  <a:lnTo>
                    <a:pt x="1043" y="223"/>
                  </a:lnTo>
                  <a:lnTo>
                    <a:pt x="1043" y="223"/>
                  </a:lnTo>
                  <a:lnTo>
                    <a:pt x="1045" y="225"/>
                  </a:lnTo>
                  <a:lnTo>
                    <a:pt x="1045" y="225"/>
                  </a:lnTo>
                  <a:lnTo>
                    <a:pt x="1045" y="225"/>
                  </a:lnTo>
                  <a:lnTo>
                    <a:pt x="1043" y="225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38" y="225"/>
                  </a:lnTo>
                  <a:lnTo>
                    <a:pt x="1038" y="225"/>
                  </a:lnTo>
                  <a:lnTo>
                    <a:pt x="1036" y="223"/>
                  </a:lnTo>
                  <a:lnTo>
                    <a:pt x="1036" y="223"/>
                  </a:lnTo>
                  <a:lnTo>
                    <a:pt x="1036" y="223"/>
                  </a:lnTo>
                  <a:lnTo>
                    <a:pt x="1036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38" y="223"/>
                  </a:lnTo>
                  <a:lnTo>
                    <a:pt x="1041" y="223"/>
                  </a:lnTo>
                  <a:lnTo>
                    <a:pt x="1041" y="225"/>
                  </a:lnTo>
                  <a:lnTo>
                    <a:pt x="1041" y="225"/>
                  </a:lnTo>
                  <a:lnTo>
                    <a:pt x="1043" y="223"/>
                  </a:lnTo>
                  <a:lnTo>
                    <a:pt x="1043" y="223"/>
                  </a:lnTo>
                  <a:lnTo>
                    <a:pt x="1041" y="223"/>
                  </a:lnTo>
                  <a:lnTo>
                    <a:pt x="1038" y="223"/>
                  </a:lnTo>
                  <a:lnTo>
                    <a:pt x="1036" y="221"/>
                  </a:lnTo>
                  <a:lnTo>
                    <a:pt x="1036" y="221"/>
                  </a:lnTo>
                  <a:lnTo>
                    <a:pt x="1036" y="221"/>
                  </a:lnTo>
                  <a:lnTo>
                    <a:pt x="1036" y="221"/>
                  </a:lnTo>
                  <a:lnTo>
                    <a:pt x="1036" y="221"/>
                  </a:lnTo>
                  <a:lnTo>
                    <a:pt x="1032" y="221"/>
                  </a:lnTo>
                  <a:lnTo>
                    <a:pt x="1032" y="221"/>
                  </a:lnTo>
                  <a:lnTo>
                    <a:pt x="1029" y="219"/>
                  </a:lnTo>
                  <a:lnTo>
                    <a:pt x="1029" y="219"/>
                  </a:lnTo>
                  <a:lnTo>
                    <a:pt x="1029" y="219"/>
                  </a:lnTo>
                  <a:lnTo>
                    <a:pt x="1029" y="219"/>
                  </a:lnTo>
                  <a:lnTo>
                    <a:pt x="1029" y="216"/>
                  </a:lnTo>
                  <a:lnTo>
                    <a:pt x="1032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9" y="216"/>
                  </a:lnTo>
                  <a:lnTo>
                    <a:pt x="1027" y="214"/>
                  </a:lnTo>
                  <a:lnTo>
                    <a:pt x="1027" y="214"/>
                  </a:lnTo>
                  <a:lnTo>
                    <a:pt x="1027" y="214"/>
                  </a:lnTo>
                  <a:lnTo>
                    <a:pt x="1027" y="212"/>
                  </a:lnTo>
                  <a:lnTo>
                    <a:pt x="1027" y="212"/>
                  </a:lnTo>
                  <a:lnTo>
                    <a:pt x="1029" y="212"/>
                  </a:lnTo>
                  <a:lnTo>
                    <a:pt x="1029" y="212"/>
                  </a:lnTo>
                  <a:lnTo>
                    <a:pt x="1029" y="212"/>
                  </a:lnTo>
                  <a:lnTo>
                    <a:pt x="1029" y="212"/>
                  </a:lnTo>
                  <a:lnTo>
                    <a:pt x="1032" y="212"/>
                  </a:lnTo>
                  <a:lnTo>
                    <a:pt x="1032" y="212"/>
                  </a:lnTo>
                  <a:lnTo>
                    <a:pt x="1032" y="212"/>
                  </a:lnTo>
                  <a:lnTo>
                    <a:pt x="1032" y="212"/>
                  </a:lnTo>
                  <a:lnTo>
                    <a:pt x="1032" y="212"/>
                  </a:lnTo>
                  <a:lnTo>
                    <a:pt x="1034" y="212"/>
                  </a:lnTo>
                  <a:lnTo>
                    <a:pt x="1032" y="212"/>
                  </a:lnTo>
                  <a:lnTo>
                    <a:pt x="1032" y="212"/>
                  </a:lnTo>
                  <a:lnTo>
                    <a:pt x="1032" y="210"/>
                  </a:lnTo>
                  <a:lnTo>
                    <a:pt x="1029" y="210"/>
                  </a:lnTo>
                  <a:lnTo>
                    <a:pt x="1029" y="210"/>
                  </a:lnTo>
                  <a:lnTo>
                    <a:pt x="1029" y="210"/>
                  </a:lnTo>
                  <a:lnTo>
                    <a:pt x="1029" y="210"/>
                  </a:lnTo>
                  <a:lnTo>
                    <a:pt x="1029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4" y="210"/>
                  </a:lnTo>
                  <a:lnTo>
                    <a:pt x="1038" y="210"/>
                  </a:lnTo>
                  <a:lnTo>
                    <a:pt x="1038" y="210"/>
                  </a:lnTo>
                  <a:lnTo>
                    <a:pt x="1038" y="210"/>
                  </a:lnTo>
                  <a:lnTo>
                    <a:pt x="1038" y="210"/>
                  </a:lnTo>
                  <a:lnTo>
                    <a:pt x="1041" y="210"/>
                  </a:lnTo>
                  <a:lnTo>
                    <a:pt x="1041" y="210"/>
                  </a:lnTo>
                  <a:lnTo>
                    <a:pt x="1043" y="210"/>
                  </a:lnTo>
                  <a:lnTo>
                    <a:pt x="1043" y="210"/>
                  </a:lnTo>
                  <a:lnTo>
                    <a:pt x="1043" y="210"/>
                  </a:lnTo>
                  <a:lnTo>
                    <a:pt x="1045" y="210"/>
                  </a:lnTo>
                  <a:lnTo>
                    <a:pt x="1045" y="210"/>
                  </a:lnTo>
                  <a:lnTo>
                    <a:pt x="1045" y="210"/>
                  </a:lnTo>
                  <a:lnTo>
                    <a:pt x="1045" y="210"/>
                  </a:lnTo>
                  <a:lnTo>
                    <a:pt x="1045" y="212"/>
                  </a:lnTo>
                  <a:lnTo>
                    <a:pt x="1045" y="212"/>
                  </a:lnTo>
                  <a:lnTo>
                    <a:pt x="1045" y="212"/>
                  </a:lnTo>
                  <a:lnTo>
                    <a:pt x="1045" y="212"/>
                  </a:lnTo>
                  <a:lnTo>
                    <a:pt x="1052" y="212"/>
                  </a:lnTo>
                  <a:lnTo>
                    <a:pt x="1054" y="212"/>
                  </a:lnTo>
                  <a:lnTo>
                    <a:pt x="1054" y="212"/>
                  </a:lnTo>
                  <a:lnTo>
                    <a:pt x="1054" y="212"/>
                  </a:lnTo>
                  <a:lnTo>
                    <a:pt x="1054" y="212"/>
                  </a:lnTo>
                  <a:lnTo>
                    <a:pt x="1054" y="212"/>
                  </a:lnTo>
                  <a:lnTo>
                    <a:pt x="1056" y="212"/>
                  </a:lnTo>
                  <a:lnTo>
                    <a:pt x="1056" y="212"/>
                  </a:lnTo>
                  <a:lnTo>
                    <a:pt x="1059" y="212"/>
                  </a:lnTo>
                  <a:lnTo>
                    <a:pt x="1061" y="212"/>
                  </a:lnTo>
                  <a:lnTo>
                    <a:pt x="1059" y="212"/>
                  </a:lnTo>
                  <a:lnTo>
                    <a:pt x="1061" y="212"/>
                  </a:lnTo>
                  <a:lnTo>
                    <a:pt x="1061" y="212"/>
                  </a:lnTo>
                  <a:lnTo>
                    <a:pt x="1061" y="212"/>
                  </a:lnTo>
                  <a:lnTo>
                    <a:pt x="1061" y="210"/>
                  </a:lnTo>
                  <a:lnTo>
                    <a:pt x="1063" y="210"/>
                  </a:lnTo>
                  <a:lnTo>
                    <a:pt x="1063" y="210"/>
                  </a:lnTo>
                  <a:lnTo>
                    <a:pt x="1065" y="210"/>
                  </a:lnTo>
                  <a:lnTo>
                    <a:pt x="1065" y="210"/>
                  </a:lnTo>
                  <a:lnTo>
                    <a:pt x="1065" y="210"/>
                  </a:lnTo>
                  <a:lnTo>
                    <a:pt x="1065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61" y="210"/>
                  </a:lnTo>
                  <a:lnTo>
                    <a:pt x="1059" y="210"/>
                  </a:lnTo>
                  <a:lnTo>
                    <a:pt x="1059" y="207"/>
                  </a:lnTo>
                  <a:lnTo>
                    <a:pt x="1059" y="207"/>
                  </a:lnTo>
                  <a:lnTo>
                    <a:pt x="1059" y="207"/>
                  </a:lnTo>
                  <a:lnTo>
                    <a:pt x="1056" y="207"/>
                  </a:lnTo>
                  <a:lnTo>
                    <a:pt x="1056" y="207"/>
                  </a:lnTo>
                  <a:lnTo>
                    <a:pt x="1056" y="207"/>
                  </a:lnTo>
                  <a:lnTo>
                    <a:pt x="1056" y="207"/>
                  </a:lnTo>
                  <a:lnTo>
                    <a:pt x="1056" y="205"/>
                  </a:lnTo>
                  <a:lnTo>
                    <a:pt x="1059" y="205"/>
                  </a:lnTo>
                  <a:lnTo>
                    <a:pt x="1059" y="205"/>
                  </a:lnTo>
                  <a:lnTo>
                    <a:pt x="1059" y="205"/>
                  </a:lnTo>
                  <a:lnTo>
                    <a:pt x="1059" y="205"/>
                  </a:lnTo>
                  <a:lnTo>
                    <a:pt x="1059" y="205"/>
                  </a:lnTo>
                  <a:lnTo>
                    <a:pt x="1059" y="205"/>
                  </a:lnTo>
                  <a:lnTo>
                    <a:pt x="1056" y="205"/>
                  </a:lnTo>
                  <a:lnTo>
                    <a:pt x="1054" y="205"/>
                  </a:lnTo>
                  <a:lnTo>
                    <a:pt x="1054" y="207"/>
                  </a:lnTo>
                  <a:lnTo>
                    <a:pt x="1054" y="207"/>
                  </a:lnTo>
                  <a:lnTo>
                    <a:pt x="1054" y="207"/>
                  </a:lnTo>
                  <a:lnTo>
                    <a:pt x="1052" y="205"/>
                  </a:lnTo>
                  <a:lnTo>
                    <a:pt x="1047" y="205"/>
                  </a:lnTo>
                  <a:lnTo>
                    <a:pt x="1045" y="205"/>
                  </a:lnTo>
                  <a:lnTo>
                    <a:pt x="1029" y="205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3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29" y="201"/>
                  </a:lnTo>
                  <a:lnTo>
                    <a:pt x="1032" y="201"/>
                  </a:lnTo>
                  <a:lnTo>
                    <a:pt x="1032" y="201"/>
                  </a:lnTo>
                  <a:lnTo>
                    <a:pt x="1032" y="201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2" y="198"/>
                  </a:lnTo>
                  <a:lnTo>
                    <a:pt x="1034" y="198"/>
                  </a:lnTo>
                  <a:lnTo>
                    <a:pt x="1034" y="198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6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4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6" y="192"/>
                  </a:lnTo>
                  <a:lnTo>
                    <a:pt x="1038" y="192"/>
                  </a:lnTo>
                  <a:lnTo>
                    <a:pt x="1038" y="192"/>
                  </a:lnTo>
                  <a:lnTo>
                    <a:pt x="1038" y="192"/>
                  </a:lnTo>
                  <a:lnTo>
                    <a:pt x="1038" y="192"/>
                  </a:lnTo>
                  <a:lnTo>
                    <a:pt x="1038" y="192"/>
                  </a:lnTo>
                  <a:lnTo>
                    <a:pt x="1038" y="192"/>
                  </a:lnTo>
                  <a:lnTo>
                    <a:pt x="1038" y="189"/>
                  </a:lnTo>
                  <a:lnTo>
                    <a:pt x="1038" y="189"/>
                  </a:lnTo>
                  <a:lnTo>
                    <a:pt x="1041" y="189"/>
                  </a:lnTo>
                  <a:lnTo>
                    <a:pt x="1043" y="189"/>
                  </a:lnTo>
                  <a:lnTo>
                    <a:pt x="1045" y="189"/>
                  </a:lnTo>
                  <a:lnTo>
                    <a:pt x="1045" y="189"/>
                  </a:lnTo>
                  <a:lnTo>
                    <a:pt x="1045" y="189"/>
                  </a:lnTo>
                  <a:lnTo>
                    <a:pt x="1045" y="189"/>
                  </a:lnTo>
                  <a:lnTo>
                    <a:pt x="1045" y="189"/>
                  </a:lnTo>
                  <a:lnTo>
                    <a:pt x="1045" y="189"/>
                  </a:lnTo>
                  <a:lnTo>
                    <a:pt x="1047" y="187"/>
                  </a:lnTo>
                  <a:lnTo>
                    <a:pt x="1047" y="187"/>
                  </a:lnTo>
                  <a:lnTo>
                    <a:pt x="1047" y="187"/>
                  </a:lnTo>
                  <a:lnTo>
                    <a:pt x="1047" y="187"/>
                  </a:lnTo>
                  <a:lnTo>
                    <a:pt x="1045" y="187"/>
                  </a:lnTo>
                  <a:lnTo>
                    <a:pt x="1045" y="187"/>
                  </a:lnTo>
                  <a:lnTo>
                    <a:pt x="1045" y="187"/>
                  </a:lnTo>
                  <a:lnTo>
                    <a:pt x="1045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7"/>
                  </a:lnTo>
                  <a:lnTo>
                    <a:pt x="1043" y="185"/>
                  </a:lnTo>
                  <a:lnTo>
                    <a:pt x="1043" y="185"/>
                  </a:lnTo>
                  <a:lnTo>
                    <a:pt x="1045" y="185"/>
                  </a:lnTo>
                  <a:lnTo>
                    <a:pt x="1045" y="185"/>
                  </a:lnTo>
                  <a:lnTo>
                    <a:pt x="1045" y="185"/>
                  </a:lnTo>
                  <a:lnTo>
                    <a:pt x="1045" y="185"/>
                  </a:lnTo>
                  <a:lnTo>
                    <a:pt x="1045" y="185"/>
                  </a:lnTo>
                  <a:lnTo>
                    <a:pt x="1047" y="185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47" y="183"/>
                  </a:lnTo>
                  <a:lnTo>
                    <a:pt x="1050" y="183"/>
                  </a:lnTo>
                  <a:lnTo>
                    <a:pt x="1050" y="183"/>
                  </a:lnTo>
                  <a:lnTo>
                    <a:pt x="1050" y="183"/>
                  </a:lnTo>
                  <a:lnTo>
                    <a:pt x="1050" y="183"/>
                  </a:lnTo>
                  <a:lnTo>
                    <a:pt x="1050" y="180"/>
                  </a:lnTo>
                  <a:lnTo>
                    <a:pt x="1050" y="180"/>
                  </a:lnTo>
                  <a:lnTo>
                    <a:pt x="1050" y="180"/>
                  </a:lnTo>
                  <a:lnTo>
                    <a:pt x="1050" y="180"/>
                  </a:lnTo>
                  <a:lnTo>
                    <a:pt x="1052" y="180"/>
                  </a:lnTo>
                  <a:lnTo>
                    <a:pt x="1052" y="180"/>
                  </a:lnTo>
                  <a:lnTo>
                    <a:pt x="1052" y="180"/>
                  </a:lnTo>
                  <a:lnTo>
                    <a:pt x="1052" y="180"/>
                  </a:lnTo>
                  <a:lnTo>
                    <a:pt x="1052" y="178"/>
                  </a:lnTo>
                  <a:lnTo>
                    <a:pt x="1054" y="178"/>
                  </a:lnTo>
                  <a:lnTo>
                    <a:pt x="1054" y="178"/>
                  </a:lnTo>
                  <a:lnTo>
                    <a:pt x="1054" y="178"/>
                  </a:lnTo>
                  <a:lnTo>
                    <a:pt x="1054" y="178"/>
                  </a:lnTo>
                  <a:lnTo>
                    <a:pt x="1054" y="178"/>
                  </a:lnTo>
                  <a:lnTo>
                    <a:pt x="1054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8"/>
                  </a:lnTo>
                  <a:lnTo>
                    <a:pt x="1056" y="176"/>
                  </a:lnTo>
                  <a:lnTo>
                    <a:pt x="1056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59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3" y="176"/>
                  </a:lnTo>
                  <a:lnTo>
                    <a:pt x="1063" y="176"/>
                  </a:lnTo>
                  <a:lnTo>
                    <a:pt x="1063" y="176"/>
                  </a:lnTo>
                  <a:lnTo>
                    <a:pt x="1063" y="176"/>
                  </a:lnTo>
                  <a:lnTo>
                    <a:pt x="1063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6"/>
                  </a:lnTo>
                  <a:lnTo>
                    <a:pt x="1061" y="174"/>
                  </a:lnTo>
                  <a:lnTo>
                    <a:pt x="1061" y="174"/>
                  </a:lnTo>
                  <a:lnTo>
                    <a:pt x="1061" y="174"/>
                  </a:lnTo>
                  <a:lnTo>
                    <a:pt x="1063" y="174"/>
                  </a:lnTo>
                  <a:lnTo>
                    <a:pt x="1063" y="174"/>
                  </a:lnTo>
                  <a:lnTo>
                    <a:pt x="1063" y="174"/>
                  </a:lnTo>
                  <a:lnTo>
                    <a:pt x="1063" y="174"/>
                  </a:lnTo>
                  <a:lnTo>
                    <a:pt x="1063" y="174"/>
                  </a:lnTo>
                  <a:lnTo>
                    <a:pt x="1063" y="174"/>
                  </a:lnTo>
                  <a:lnTo>
                    <a:pt x="1065" y="174"/>
                  </a:lnTo>
                  <a:lnTo>
                    <a:pt x="1065" y="174"/>
                  </a:lnTo>
                  <a:lnTo>
                    <a:pt x="1065" y="174"/>
                  </a:lnTo>
                  <a:lnTo>
                    <a:pt x="1063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5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71"/>
                  </a:lnTo>
                  <a:lnTo>
                    <a:pt x="1068" y="169"/>
                  </a:lnTo>
                  <a:lnTo>
                    <a:pt x="1068" y="169"/>
                  </a:lnTo>
                  <a:lnTo>
                    <a:pt x="1068" y="169"/>
                  </a:lnTo>
                  <a:lnTo>
                    <a:pt x="1070" y="169"/>
                  </a:lnTo>
                  <a:lnTo>
                    <a:pt x="1070" y="169"/>
                  </a:lnTo>
                  <a:lnTo>
                    <a:pt x="1070" y="169"/>
                  </a:lnTo>
                  <a:lnTo>
                    <a:pt x="1070" y="169"/>
                  </a:lnTo>
                  <a:lnTo>
                    <a:pt x="1070" y="169"/>
                  </a:lnTo>
                  <a:lnTo>
                    <a:pt x="1070" y="169"/>
                  </a:lnTo>
                  <a:lnTo>
                    <a:pt x="1070" y="169"/>
                  </a:lnTo>
                  <a:lnTo>
                    <a:pt x="1072" y="169"/>
                  </a:lnTo>
                  <a:lnTo>
                    <a:pt x="1072" y="169"/>
                  </a:lnTo>
                  <a:lnTo>
                    <a:pt x="1072" y="167"/>
                  </a:lnTo>
                  <a:lnTo>
                    <a:pt x="1072" y="167"/>
                  </a:lnTo>
                  <a:lnTo>
                    <a:pt x="1072" y="167"/>
                  </a:lnTo>
                  <a:lnTo>
                    <a:pt x="1072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4" y="167"/>
                  </a:lnTo>
                  <a:lnTo>
                    <a:pt x="1077" y="167"/>
                  </a:lnTo>
                  <a:lnTo>
                    <a:pt x="1077" y="167"/>
                  </a:lnTo>
                  <a:lnTo>
                    <a:pt x="1077" y="167"/>
                  </a:lnTo>
                  <a:lnTo>
                    <a:pt x="1077" y="167"/>
                  </a:lnTo>
                  <a:lnTo>
                    <a:pt x="1077" y="167"/>
                  </a:lnTo>
                  <a:lnTo>
                    <a:pt x="1079" y="167"/>
                  </a:lnTo>
                  <a:lnTo>
                    <a:pt x="1079" y="167"/>
                  </a:lnTo>
                  <a:lnTo>
                    <a:pt x="1081" y="167"/>
                  </a:lnTo>
                  <a:lnTo>
                    <a:pt x="1081" y="167"/>
                  </a:lnTo>
                  <a:lnTo>
                    <a:pt x="1079" y="165"/>
                  </a:lnTo>
                  <a:lnTo>
                    <a:pt x="1077" y="165"/>
                  </a:lnTo>
                  <a:lnTo>
                    <a:pt x="1079" y="165"/>
                  </a:lnTo>
                  <a:lnTo>
                    <a:pt x="1079" y="165"/>
                  </a:lnTo>
                  <a:lnTo>
                    <a:pt x="1079" y="165"/>
                  </a:lnTo>
                  <a:lnTo>
                    <a:pt x="1081" y="165"/>
                  </a:lnTo>
                  <a:lnTo>
                    <a:pt x="1081" y="165"/>
                  </a:lnTo>
                  <a:lnTo>
                    <a:pt x="1083" y="162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8" y="162"/>
                  </a:lnTo>
                  <a:lnTo>
                    <a:pt x="1097" y="160"/>
                  </a:lnTo>
                  <a:lnTo>
                    <a:pt x="1099" y="158"/>
                  </a:lnTo>
                  <a:lnTo>
                    <a:pt x="1099" y="158"/>
                  </a:lnTo>
                  <a:lnTo>
                    <a:pt x="1104" y="158"/>
                  </a:lnTo>
                  <a:lnTo>
                    <a:pt x="1106" y="158"/>
                  </a:lnTo>
                  <a:lnTo>
                    <a:pt x="1108" y="158"/>
                  </a:lnTo>
                  <a:lnTo>
                    <a:pt x="1110" y="156"/>
                  </a:lnTo>
                  <a:lnTo>
                    <a:pt x="1115" y="156"/>
                  </a:lnTo>
                  <a:lnTo>
                    <a:pt x="1117" y="156"/>
                  </a:lnTo>
                  <a:lnTo>
                    <a:pt x="1119" y="156"/>
                  </a:lnTo>
                  <a:lnTo>
                    <a:pt x="1121" y="156"/>
                  </a:lnTo>
                  <a:lnTo>
                    <a:pt x="1128" y="156"/>
                  </a:lnTo>
                  <a:lnTo>
                    <a:pt x="1130" y="156"/>
                  </a:lnTo>
                  <a:lnTo>
                    <a:pt x="1137" y="156"/>
                  </a:lnTo>
                  <a:lnTo>
                    <a:pt x="1137" y="156"/>
                  </a:lnTo>
                  <a:lnTo>
                    <a:pt x="1139" y="156"/>
                  </a:lnTo>
                  <a:lnTo>
                    <a:pt x="1139" y="156"/>
                  </a:lnTo>
                  <a:lnTo>
                    <a:pt x="1142" y="158"/>
                  </a:lnTo>
                  <a:lnTo>
                    <a:pt x="1142" y="158"/>
                  </a:lnTo>
                  <a:lnTo>
                    <a:pt x="1142" y="158"/>
                  </a:lnTo>
                  <a:lnTo>
                    <a:pt x="1142" y="158"/>
                  </a:lnTo>
                  <a:lnTo>
                    <a:pt x="1142" y="158"/>
                  </a:lnTo>
                  <a:lnTo>
                    <a:pt x="1142" y="158"/>
                  </a:lnTo>
                  <a:lnTo>
                    <a:pt x="1139" y="160"/>
                  </a:lnTo>
                  <a:lnTo>
                    <a:pt x="1130" y="162"/>
                  </a:lnTo>
                  <a:lnTo>
                    <a:pt x="1128" y="162"/>
                  </a:lnTo>
                  <a:lnTo>
                    <a:pt x="1128" y="162"/>
                  </a:lnTo>
                  <a:lnTo>
                    <a:pt x="1126" y="162"/>
                  </a:lnTo>
                  <a:lnTo>
                    <a:pt x="1124" y="162"/>
                  </a:lnTo>
                  <a:lnTo>
                    <a:pt x="1117" y="167"/>
                  </a:lnTo>
                  <a:lnTo>
                    <a:pt x="1115" y="167"/>
                  </a:lnTo>
                  <a:lnTo>
                    <a:pt x="1113" y="169"/>
                  </a:lnTo>
                  <a:lnTo>
                    <a:pt x="1113" y="169"/>
                  </a:lnTo>
                  <a:lnTo>
                    <a:pt x="1110" y="169"/>
                  </a:lnTo>
                  <a:lnTo>
                    <a:pt x="1110" y="169"/>
                  </a:lnTo>
                  <a:lnTo>
                    <a:pt x="1110" y="169"/>
                  </a:lnTo>
                  <a:lnTo>
                    <a:pt x="1110" y="169"/>
                  </a:lnTo>
                  <a:lnTo>
                    <a:pt x="1110" y="171"/>
                  </a:lnTo>
                  <a:lnTo>
                    <a:pt x="1110" y="171"/>
                  </a:lnTo>
                  <a:lnTo>
                    <a:pt x="1110" y="171"/>
                  </a:lnTo>
                  <a:lnTo>
                    <a:pt x="1110" y="171"/>
                  </a:lnTo>
                  <a:lnTo>
                    <a:pt x="1108" y="171"/>
                  </a:lnTo>
                  <a:lnTo>
                    <a:pt x="1108" y="171"/>
                  </a:lnTo>
                  <a:lnTo>
                    <a:pt x="1106" y="174"/>
                  </a:lnTo>
                  <a:lnTo>
                    <a:pt x="1104" y="174"/>
                  </a:lnTo>
                  <a:lnTo>
                    <a:pt x="1101" y="174"/>
                  </a:lnTo>
                  <a:lnTo>
                    <a:pt x="1101" y="176"/>
                  </a:lnTo>
                  <a:lnTo>
                    <a:pt x="1101" y="176"/>
                  </a:lnTo>
                  <a:lnTo>
                    <a:pt x="1099" y="176"/>
                  </a:lnTo>
                  <a:lnTo>
                    <a:pt x="1099" y="176"/>
                  </a:lnTo>
                  <a:lnTo>
                    <a:pt x="1099" y="176"/>
                  </a:lnTo>
                  <a:lnTo>
                    <a:pt x="1099" y="176"/>
                  </a:lnTo>
                  <a:lnTo>
                    <a:pt x="1099" y="178"/>
                  </a:lnTo>
                  <a:lnTo>
                    <a:pt x="1099" y="178"/>
                  </a:lnTo>
                  <a:lnTo>
                    <a:pt x="1097" y="178"/>
                  </a:lnTo>
                  <a:lnTo>
                    <a:pt x="1097" y="178"/>
                  </a:lnTo>
                  <a:lnTo>
                    <a:pt x="1101" y="180"/>
                  </a:lnTo>
                  <a:lnTo>
                    <a:pt x="1101" y="183"/>
                  </a:lnTo>
                  <a:lnTo>
                    <a:pt x="1101" y="183"/>
                  </a:lnTo>
                  <a:lnTo>
                    <a:pt x="1099" y="183"/>
                  </a:lnTo>
                  <a:lnTo>
                    <a:pt x="1099" y="183"/>
                  </a:lnTo>
                  <a:lnTo>
                    <a:pt x="1099" y="185"/>
                  </a:lnTo>
                  <a:lnTo>
                    <a:pt x="1097" y="185"/>
                  </a:lnTo>
                  <a:lnTo>
                    <a:pt x="1097" y="185"/>
                  </a:lnTo>
                  <a:lnTo>
                    <a:pt x="1097" y="185"/>
                  </a:lnTo>
                  <a:lnTo>
                    <a:pt x="1095" y="185"/>
                  </a:lnTo>
                  <a:lnTo>
                    <a:pt x="1095" y="185"/>
                  </a:lnTo>
                  <a:lnTo>
                    <a:pt x="1095" y="185"/>
                  </a:lnTo>
                  <a:lnTo>
                    <a:pt x="1095" y="187"/>
                  </a:lnTo>
                  <a:lnTo>
                    <a:pt x="1095" y="187"/>
                  </a:lnTo>
                  <a:lnTo>
                    <a:pt x="1095" y="187"/>
                  </a:lnTo>
                  <a:lnTo>
                    <a:pt x="1095" y="187"/>
                  </a:lnTo>
                  <a:lnTo>
                    <a:pt x="1095" y="187"/>
                  </a:lnTo>
                  <a:lnTo>
                    <a:pt x="1092" y="189"/>
                  </a:lnTo>
                  <a:lnTo>
                    <a:pt x="1092" y="189"/>
                  </a:lnTo>
                  <a:lnTo>
                    <a:pt x="1092" y="189"/>
                  </a:lnTo>
                  <a:lnTo>
                    <a:pt x="1092" y="189"/>
                  </a:lnTo>
                  <a:lnTo>
                    <a:pt x="1092" y="189"/>
                  </a:lnTo>
                  <a:lnTo>
                    <a:pt x="1092" y="189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2"/>
                  </a:lnTo>
                  <a:lnTo>
                    <a:pt x="1092" y="194"/>
                  </a:lnTo>
                  <a:lnTo>
                    <a:pt x="1092" y="194"/>
                  </a:lnTo>
                  <a:lnTo>
                    <a:pt x="1092" y="194"/>
                  </a:lnTo>
                  <a:lnTo>
                    <a:pt x="1092" y="194"/>
                  </a:lnTo>
                  <a:lnTo>
                    <a:pt x="1092" y="196"/>
                  </a:lnTo>
                  <a:lnTo>
                    <a:pt x="1092" y="196"/>
                  </a:lnTo>
                  <a:lnTo>
                    <a:pt x="1092" y="196"/>
                  </a:lnTo>
                  <a:lnTo>
                    <a:pt x="1092" y="196"/>
                  </a:lnTo>
                  <a:lnTo>
                    <a:pt x="1092" y="196"/>
                  </a:lnTo>
                  <a:lnTo>
                    <a:pt x="1095" y="196"/>
                  </a:lnTo>
                  <a:lnTo>
                    <a:pt x="1095" y="196"/>
                  </a:lnTo>
                  <a:lnTo>
                    <a:pt x="1095" y="196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5" y="198"/>
                  </a:lnTo>
                  <a:lnTo>
                    <a:pt x="1097" y="198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9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7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101" y="201"/>
                  </a:lnTo>
                  <a:lnTo>
                    <a:pt x="1101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099" y="201"/>
                  </a:lnTo>
                  <a:lnTo>
                    <a:pt x="1101" y="201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1" y="203"/>
                  </a:lnTo>
                  <a:lnTo>
                    <a:pt x="1101" y="203"/>
                  </a:lnTo>
                  <a:lnTo>
                    <a:pt x="1101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3"/>
                  </a:lnTo>
                  <a:lnTo>
                    <a:pt x="1104" y="205"/>
                  </a:lnTo>
                  <a:lnTo>
                    <a:pt x="1104" y="205"/>
                  </a:lnTo>
                  <a:lnTo>
                    <a:pt x="1104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7" y="205"/>
                  </a:lnTo>
                  <a:lnTo>
                    <a:pt x="1095" y="205"/>
                  </a:lnTo>
                  <a:lnTo>
                    <a:pt x="1095" y="205"/>
                  </a:lnTo>
                  <a:lnTo>
                    <a:pt x="1092" y="205"/>
                  </a:lnTo>
                  <a:lnTo>
                    <a:pt x="1092" y="205"/>
                  </a:lnTo>
                  <a:lnTo>
                    <a:pt x="1092" y="205"/>
                  </a:lnTo>
                  <a:lnTo>
                    <a:pt x="1092" y="205"/>
                  </a:lnTo>
                  <a:lnTo>
                    <a:pt x="1095" y="205"/>
                  </a:lnTo>
                  <a:lnTo>
                    <a:pt x="1095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0" y="207"/>
                  </a:lnTo>
                  <a:lnTo>
                    <a:pt x="1090" y="207"/>
                  </a:lnTo>
                  <a:lnTo>
                    <a:pt x="1088" y="207"/>
                  </a:lnTo>
                  <a:lnTo>
                    <a:pt x="1088" y="207"/>
                  </a:lnTo>
                  <a:lnTo>
                    <a:pt x="1088" y="207"/>
                  </a:lnTo>
                  <a:lnTo>
                    <a:pt x="1086" y="207"/>
                  </a:lnTo>
                  <a:lnTo>
                    <a:pt x="1086" y="207"/>
                  </a:lnTo>
                  <a:lnTo>
                    <a:pt x="1086" y="207"/>
                  </a:lnTo>
                  <a:lnTo>
                    <a:pt x="1086" y="207"/>
                  </a:lnTo>
                  <a:lnTo>
                    <a:pt x="1083" y="207"/>
                  </a:lnTo>
                  <a:lnTo>
                    <a:pt x="1083" y="207"/>
                  </a:lnTo>
                  <a:lnTo>
                    <a:pt x="1083" y="207"/>
                  </a:lnTo>
                  <a:lnTo>
                    <a:pt x="1081" y="207"/>
                  </a:lnTo>
                  <a:lnTo>
                    <a:pt x="1079" y="207"/>
                  </a:lnTo>
                  <a:lnTo>
                    <a:pt x="1079" y="210"/>
                  </a:lnTo>
                  <a:lnTo>
                    <a:pt x="1079" y="210"/>
                  </a:lnTo>
                  <a:lnTo>
                    <a:pt x="1079" y="210"/>
                  </a:lnTo>
                  <a:lnTo>
                    <a:pt x="1077" y="210"/>
                  </a:lnTo>
                  <a:lnTo>
                    <a:pt x="1077" y="210"/>
                  </a:lnTo>
                  <a:lnTo>
                    <a:pt x="1077" y="210"/>
                  </a:lnTo>
                  <a:lnTo>
                    <a:pt x="1077" y="210"/>
                  </a:lnTo>
                  <a:lnTo>
                    <a:pt x="1077" y="210"/>
                  </a:lnTo>
                  <a:lnTo>
                    <a:pt x="1077" y="210"/>
                  </a:lnTo>
                  <a:lnTo>
                    <a:pt x="1074" y="210"/>
                  </a:lnTo>
                  <a:lnTo>
                    <a:pt x="1074" y="210"/>
                  </a:lnTo>
                  <a:lnTo>
                    <a:pt x="1070" y="210"/>
                  </a:lnTo>
                  <a:lnTo>
                    <a:pt x="1068" y="210"/>
                  </a:lnTo>
                  <a:lnTo>
                    <a:pt x="1068" y="210"/>
                  </a:lnTo>
                  <a:lnTo>
                    <a:pt x="1070" y="212"/>
                  </a:lnTo>
                  <a:lnTo>
                    <a:pt x="1077" y="210"/>
                  </a:lnTo>
                  <a:lnTo>
                    <a:pt x="1077" y="210"/>
                  </a:lnTo>
                  <a:lnTo>
                    <a:pt x="1079" y="210"/>
                  </a:lnTo>
                  <a:lnTo>
                    <a:pt x="1079" y="210"/>
                  </a:lnTo>
                  <a:lnTo>
                    <a:pt x="1079" y="210"/>
                  </a:lnTo>
                  <a:lnTo>
                    <a:pt x="1081" y="210"/>
                  </a:lnTo>
                  <a:lnTo>
                    <a:pt x="1083" y="207"/>
                  </a:lnTo>
                  <a:lnTo>
                    <a:pt x="1086" y="207"/>
                  </a:lnTo>
                  <a:lnTo>
                    <a:pt x="1088" y="207"/>
                  </a:lnTo>
                  <a:lnTo>
                    <a:pt x="1090" y="207"/>
                  </a:lnTo>
                  <a:lnTo>
                    <a:pt x="1090" y="207"/>
                  </a:lnTo>
                  <a:lnTo>
                    <a:pt x="1092" y="207"/>
                  </a:lnTo>
                  <a:lnTo>
                    <a:pt x="1092" y="207"/>
                  </a:lnTo>
                  <a:lnTo>
                    <a:pt x="1095" y="207"/>
                  </a:lnTo>
                  <a:lnTo>
                    <a:pt x="1095" y="207"/>
                  </a:lnTo>
                  <a:lnTo>
                    <a:pt x="1095" y="207"/>
                  </a:lnTo>
                  <a:lnTo>
                    <a:pt x="1095" y="207"/>
                  </a:lnTo>
                  <a:lnTo>
                    <a:pt x="1095" y="207"/>
                  </a:lnTo>
                  <a:lnTo>
                    <a:pt x="1097" y="207"/>
                  </a:lnTo>
                  <a:lnTo>
                    <a:pt x="1097" y="207"/>
                  </a:lnTo>
                  <a:lnTo>
                    <a:pt x="1097" y="207"/>
                  </a:lnTo>
                  <a:lnTo>
                    <a:pt x="1097" y="207"/>
                  </a:lnTo>
                  <a:lnTo>
                    <a:pt x="1097" y="207"/>
                  </a:lnTo>
                  <a:lnTo>
                    <a:pt x="1097" y="207"/>
                  </a:lnTo>
                  <a:lnTo>
                    <a:pt x="1097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099" y="207"/>
                  </a:lnTo>
                  <a:lnTo>
                    <a:pt x="1099" y="207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07"/>
                  </a:lnTo>
                  <a:lnTo>
                    <a:pt x="1097" y="207"/>
                  </a:lnTo>
                  <a:lnTo>
                    <a:pt x="1095" y="210"/>
                  </a:lnTo>
                  <a:lnTo>
                    <a:pt x="1095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0"/>
                  </a:lnTo>
                  <a:lnTo>
                    <a:pt x="1097" y="212"/>
                  </a:lnTo>
                  <a:lnTo>
                    <a:pt x="1097" y="212"/>
                  </a:lnTo>
                  <a:lnTo>
                    <a:pt x="1097" y="212"/>
                  </a:lnTo>
                  <a:lnTo>
                    <a:pt x="1095" y="212"/>
                  </a:lnTo>
                  <a:lnTo>
                    <a:pt x="1095" y="212"/>
                  </a:lnTo>
                  <a:lnTo>
                    <a:pt x="1095" y="212"/>
                  </a:lnTo>
                  <a:lnTo>
                    <a:pt x="1095" y="212"/>
                  </a:lnTo>
                  <a:lnTo>
                    <a:pt x="1097" y="212"/>
                  </a:lnTo>
                  <a:lnTo>
                    <a:pt x="1097" y="212"/>
                  </a:lnTo>
                  <a:lnTo>
                    <a:pt x="1099" y="212"/>
                  </a:lnTo>
                  <a:lnTo>
                    <a:pt x="1099" y="212"/>
                  </a:lnTo>
                  <a:lnTo>
                    <a:pt x="1099" y="212"/>
                  </a:lnTo>
                  <a:lnTo>
                    <a:pt x="1099" y="212"/>
                  </a:lnTo>
                  <a:lnTo>
                    <a:pt x="1099" y="212"/>
                  </a:lnTo>
                  <a:lnTo>
                    <a:pt x="1099" y="212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099" y="210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1" y="207"/>
                  </a:lnTo>
                  <a:lnTo>
                    <a:pt x="1104" y="207"/>
                  </a:lnTo>
                  <a:lnTo>
                    <a:pt x="1104" y="207"/>
                  </a:lnTo>
                  <a:lnTo>
                    <a:pt x="1104" y="205"/>
                  </a:lnTo>
                  <a:lnTo>
                    <a:pt x="1104" y="205"/>
                  </a:lnTo>
                  <a:lnTo>
                    <a:pt x="1104" y="205"/>
                  </a:lnTo>
                  <a:lnTo>
                    <a:pt x="1104" y="205"/>
                  </a:lnTo>
                  <a:lnTo>
                    <a:pt x="1106" y="203"/>
                  </a:lnTo>
                  <a:lnTo>
                    <a:pt x="1106" y="203"/>
                  </a:lnTo>
                  <a:lnTo>
                    <a:pt x="1106" y="203"/>
                  </a:lnTo>
                  <a:lnTo>
                    <a:pt x="1106" y="203"/>
                  </a:lnTo>
                  <a:lnTo>
                    <a:pt x="1108" y="203"/>
                  </a:lnTo>
                  <a:lnTo>
                    <a:pt x="1108" y="203"/>
                  </a:lnTo>
                  <a:lnTo>
                    <a:pt x="1110" y="203"/>
                  </a:lnTo>
                  <a:lnTo>
                    <a:pt x="1110" y="201"/>
                  </a:lnTo>
                  <a:lnTo>
                    <a:pt x="1110" y="201"/>
                  </a:lnTo>
                  <a:lnTo>
                    <a:pt x="1110" y="201"/>
                  </a:lnTo>
                  <a:lnTo>
                    <a:pt x="1110" y="201"/>
                  </a:lnTo>
                  <a:lnTo>
                    <a:pt x="1110" y="201"/>
                  </a:lnTo>
                  <a:lnTo>
                    <a:pt x="1110" y="198"/>
                  </a:lnTo>
                  <a:lnTo>
                    <a:pt x="1110" y="198"/>
                  </a:lnTo>
                  <a:lnTo>
                    <a:pt x="1110" y="198"/>
                  </a:lnTo>
                  <a:lnTo>
                    <a:pt x="1110" y="198"/>
                  </a:lnTo>
                  <a:lnTo>
                    <a:pt x="1113" y="198"/>
                  </a:lnTo>
                  <a:lnTo>
                    <a:pt x="1113" y="198"/>
                  </a:lnTo>
                  <a:lnTo>
                    <a:pt x="1113" y="198"/>
                  </a:lnTo>
                  <a:lnTo>
                    <a:pt x="1113" y="198"/>
                  </a:lnTo>
                  <a:lnTo>
                    <a:pt x="1110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8" y="198"/>
                  </a:lnTo>
                  <a:lnTo>
                    <a:pt x="1104" y="198"/>
                  </a:lnTo>
                  <a:lnTo>
                    <a:pt x="1101" y="196"/>
                  </a:lnTo>
                  <a:lnTo>
                    <a:pt x="1101" y="196"/>
                  </a:lnTo>
                  <a:lnTo>
                    <a:pt x="1101" y="196"/>
                  </a:lnTo>
                  <a:lnTo>
                    <a:pt x="1101" y="196"/>
                  </a:lnTo>
                  <a:lnTo>
                    <a:pt x="1101" y="196"/>
                  </a:lnTo>
                  <a:lnTo>
                    <a:pt x="1099" y="196"/>
                  </a:lnTo>
                  <a:lnTo>
                    <a:pt x="1099" y="196"/>
                  </a:lnTo>
                  <a:lnTo>
                    <a:pt x="1101" y="194"/>
                  </a:lnTo>
                  <a:lnTo>
                    <a:pt x="1101" y="194"/>
                  </a:lnTo>
                  <a:lnTo>
                    <a:pt x="1101" y="194"/>
                  </a:lnTo>
                  <a:lnTo>
                    <a:pt x="1104" y="194"/>
                  </a:lnTo>
                  <a:lnTo>
                    <a:pt x="1104" y="194"/>
                  </a:lnTo>
                  <a:lnTo>
                    <a:pt x="1101" y="194"/>
                  </a:lnTo>
                  <a:lnTo>
                    <a:pt x="1101" y="194"/>
                  </a:lnTo>
                  <a:lnTo>
                    <a:pt x="1101" y="194"/>
                  </a:lnTo>
                  <a:lnTo>
                    <a:pt x="1101" y="194"/>
                  </a:lnTo>
                  <a:lnTo>
                    <a:pt x="1101" y="194"/>
                  </a:lnTo>
                  <a:lnTo>
                    <a:pt x="1101" y="192"/>
                  </a:lnTo>
                  <a:lnTo>
                    <a:pt x="1099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92"/>
                  </a:lnTo>
                  <a:lnTo>
                    <a:pt x="1097" y="189"/>
                  </a:lnTo>
                  <a:lnTo>
                    <a:pt x="1099" y="189"/>
                  </a:lnTo>
                  <a:lnTo>
                    <a:pt x="1099" y="192"/>
                  </a:lnTo>
                  <a:lnTo>
                    <a:pt x="1099" y="192"/>
                  </a:lnTo>
                  <a:lnTo>
                    <a:pt x="1099" y="189"/>
                  </a:lnTo>
                  <a:lnTo>
                    <a:pt x="1099" y="189"/>
                  </a:lnTo>
                  <a:lnTo>
                    <a:pt x="1099" y="189"/>
                  </a:lnTo>
                  <a:lnTo>
                    <a:pt x="1101" y="192"/>
                  </a:lnTo>
                  <a:lnTo>
                    <a:pt x="1101" y="192"/>
                  </a:lnTo>
                  <a:lnTo>
                    <a:pt x="1101" y="192"/>
                  </a:lnTo>
                  <a:lnTo>
                    <a:pt x="1101" y="189"/>
                  </a:lnTo>
                  <a:lnTo>
                    <a:pt x="1101" y="189"/>
                  </a:lnTo>
                  <a:lnTo>
                    <a:pt x="1104" y="189"/>
                  </a:lnTo>
                  <a:close/>
                  <a:moveTo>
                    <a:pt x="931" y="156"/>
                  </a:moveTo>
                  <a:lnTo>
                    <a:pt x="931" y="156"/>
                  </a:lnTo>
                  <a:lnTo>
                    <a:pt x="931" y="156"/>
                  </a:lnTo>
                  <a:lnTo>
                    <a:pt x="931" y="156"/>
                  </a:lnTo>
                  <a:lnTo>
                    <a:pt x="931" y="156"/>
                  </a:lnTo>
                  <a:lnTo>
                    <a:pt x="931" y="156"/>
                  </a:lnTo>
                  <a:lnTo>
                    <a:pt x="931" y="156"/>
                  </a:lnTo>
                  <a:lnTo>
                    <a:pt x="933" y="156"/>
                  </a:lnTo>
                  <a:lnTo>
                    <a:pt x="933" y="156"/>
                  </a:lnTo>
                  <a:lnTo>
                    <a:pt x="933" y="156"/>
                  </a:lnTo>
                  <a:lnTo>
                    <a:pt x="933" y="156"/>
                  </a:lnTo>
                  <a:lnTo>
                    <a:pt x="933" y="156"/>
                  </a:lnTo>
                  <a:lnTo>
                    <a:pt x="935" y="156"/>
                  </a:lnTo>
                  <a:lnTo>
                    <a:pt x="935" y="156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5" y="158"/>
                  </a:lnTo>
                  <a:lnTo>
                    <a:pt x="937" y="158"/>
                  </a:lnTo>
                  <a:lnTo>
                    <a:pt x="937" y="158"/>
                  </a:lnTo>
                  <a:lnTo>
                    <a:pt x="937" y="158"/>
                  </a:lnTo>
                  <a:lnTo>
                    <a:pt x="937" y="158"/>
                  </a:lnTo>
                  <a:lnTo>
                    <a:pt x="937" y="158"/>
                  </a:lnTo>
                  <a:lnTo>
                    <a:pt x="940" y="158"/>
                  </a:lnTo>
                  <a:lnTo>
                    <a:pt x="942" y="158"/>
                  </a:lnTo>
                  <a:lnTo>
                    <a:pt x="942" y="158"/>
                  </a:lnTo>
                  <a:lnTo>
                    <a:pt x="942" y="158"/>
                  </a:lnTo>
                  <a:lnTo>
                    <a:pt x="942" y="158"/>
                  </a:lnTo>
                  <a:lnTo>
                    <a:pt x="942" y="158"/>
                  </a:lnTo>
                  <a:lnTo>
                    <a:pt x="944" y="158"/>
                  </a:lnTo>
                  <a:lnTo>
                    <a:pt x="944" y="158"/>
                  </a:lnTo>
                  <a:lnTo>
                    <a:pt x="944" y="158"/>
                  </a:lnTo>
                  <a:lnTo>
                    <a:pt x="944" y="158"/>
                  </a:lnTo>
                  <a:lnTo>
                    <a:pt x="946" y="158"/>
                  </a:lnTo>
                  <a:lnTo>
                    <a:pt x="946" y="156"/>
                  </a:lnTo>
                  <a:lnTo>
                    <a:pt x="953" y="156"/>
                  </a:lnTo>
                  <a:lnTo>
                    <a:pt x="955" y="156"/>
                  </a:lnTo>
                  <a:lnTo>
                    <a:pt x="955" y="156"/>
                  </a:lnTo>
                  <a:lnTo>
                    <a:pt x="955" y="156"/>
                  </a:lnTo>
                  <a:lnTo>
                    <a:pt x="957" y="156"/>
                  </a:lnTo>
                  <a:lnTo>
                    <a:pt x="957" y="156"/>
                  </a:lnTo>
                  <a:lnTo>
                    <a:pt x="957" y="156"/>
                  </a:lnTo>
                  <a:lnTo>
                    <a:pt x="960" y="153"/>
                  </a:lnTo>
                  <a:lnTo>
                    <a:pt x="960" y="156"/>
                  </a:lnTo>
                  <a:lnTo>
                    <a:pt x="960" y="156"/>
                  </a:lnTo>
                  <a:lnTo>
                    <a:pt x="957" y="156"/>
                  </a:lnTo>
                  <a:lnTo>
                    <a:pt x="957" y="156"/>
                  </a:lnTo>
                  <a:lnTo>
                    <a:pt x="957" y="156"/>
                  </a:lnTo>
                  <a:lnTo>
                    <a:pt x="960" y="156"/>
                  </a:lnTo>
                  <a:lnTo>
                    <a:pt x="960" y="156"/>
                  </a:lnTo>
                  <a:lnTo>
                    <a:pt x="962" y="156"/>
                  </a:lnTo>
                  <a:lnTo>
                    <a:pt x="962" y="156"/>
                  </a:lnTo>
                  <a:lnTo>
                    <a:pt x="964" y="156"/>
                  </a:lnTo>
                  <a:lnTo>
                    <a:pt x="966" y="156"/>
                  </a:lnTo>
                  <a:lnTo>
                    <a:pt x="966" y="156"/>
                  </a:lnTo>
                  <a:lnTo>
                    <a:pt x="966" y="156"/>
                  </a:lnTo>
                  <a:lnTo>
                    <a:pt x="966" y="158"/>
                  </a:lnTo>
                  <a:lnTo>
                    <a:pt x="966" y="158"/>
                  </a:lnTo>
                  <a:lnTo>
                    <a:pt x="969" y="158"/>
                  </a:lnTo>
                  <a:lnTo>
                    <a:pt x="969" y="158"/>
                  </a:lnTo>
                  <a:lnTo>
                    <a:pt x="969" y="158"/>
                  </a:lnTo>
                  <a:lnTo>
                    <a:pt x="966" y="158"/>
                  </a:lnTo>
                  <a:lnTo>
                    <a:pt x="966" y="158"/>
                  </a:lnTo>
                  <a:lnTo>
                    <a:pt x="966" y="160"/>
                  </a:lnTo>
                  <a:lnTo>
                    <a:pt x="966" y="160"/>
                  </a:lnTo>
                  <a:lnTo>
                    <a:pt x="966" y="160"/>
                  </a:lnTo>
                  <a:lnTo>
                    <a:pt x="962" y="160"/>
                  </a:lnTo>
                  <a:lnTo>
                    <a:pt x="962" y="160"/>
                  </a:lnTo>
                  <a:lnTo>
                    <a:pt x="960" y="160"/>
                  </a:lnTo>
                  <a:lnTo>
                    <a:pt x="960" y="160"/>
                  </a:lnTo>
                  <a:lnTo>
                    <a:pt x="957" y="160"/>
                  </a:lnTo>
                  <a:lnTo>
                    <a:pt x="957" y="160"/>
                  </a:lnTo>
                  <a:lnTo>
                    <a:pt x="957" y="160"/>
                  </a:lnTo>
                  <a:lnTo>
                    <a:pt x="957" y="160"/>
                  </a:lnTo>
                  <a:lnTo>
                    <a:pt x="957" y="162"/>
                  </a:lnTo>
                  <a:lnTo>
                    <a:pt x="957" y="162"/>
                  </a:lnTo>
                  <a:lnTo>
                    <a:pt x="955" y="162"/>
                  </a:lnTo>
                  <a:lnTo>
                    <a:pt x="955" y="162"/>
                  </a:lnTo>
                  <a:lnTo>
                    <a:pt x="955" y="162"/>
                  </a:lnTo>
                  <a:lnTo>
                    <a:pt x="955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3" y="162"/>
                  </a:lnTo>
                  <a:lnTo>
                    <a:pt x="955" y="162"/>
                  </a:lnTo>
                  <a:lnTo>
                    <a:pt x="955" y="162"/>
                  </a:lnTo>
                  <a:lnTo>
                    <a:pt x="957" y="162"/>
                  </a:lnTo>
                  <a:lnTo>
                    <a:pt x="957" y="162"/>
                  </a:lnTo>
                  <a:lnTo>
                    <a:pt x="957" y="162"/>
                  </a:lnTo>
                  <a:lnTo>
                    <a:pt x="957" y="162"/>
                  </a:lnTo>
                  <a:lnTo>
                    <a:pt x="957" y="162"/>
                  </a:lnTo>
                  <a:lnTo>
                    <a:pt x="960" y="162"/>
                  </a:lnTo>
                  <a:lnTo>
                    <a:pt x="960" y="162"/>
                  </a:lnTo>
                  <a:lnTo>
                    <a:pt x="960" y="162"/>
                  </a:lnTo>
                  <a:lnTo>
                    <a:pt x="960" y="162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60" y="165"/>
                  </a:lnTo>
                  <a:lnTo>
                    <a:pt x="960" y="165"/>
                  </a:lnTo>
                  <a:lnTo>
                    <a:pt x="960" y="165"/>
                  </a:lnTo>
                  <a:lnTo>
                    <a:pt x="960" y="165"/>
                  </a:lnTo>
                  <a:lnTo>
                    <a:pt x="960" y="165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57" y="165"/>
                  </a:lnTo>
                  <a:lnTo>
                    <a:pt x="955" y="165"/>
                  </a:lnTo>
                  <a:lnTo>
                    <a:pt x="951" y="165"/>
                  </a:lnTo>
                  <a:lnTo>
                    <a:pt x="951" y="165"/>
                  </a:lnTo>
                  <a:lnTo>
                    <a:pt x="951" y="167"/>
                  </a:lnTo>
                  <a:lnTo>
                    <a:pt x="949" y="167"/>
                  </a:lnTo>
                  <a:lnTo>
                    <a:pt x="949" y="167"/>
                  </a:lnTo>
                  <a:lnTo>
                    <a:pt x="946" y="167"/>
                  </a:lnTo>
                  <a:lnTo>
                    <a:pt x="946" y="167"/>
                  </a:lnTo>
                  <a:lnTo>
                    <a:pt x="946" y="167"/>
                  </a:lnTo>
                  <a:lnTo>
                    <a:pt x="946" y="167"/>
                  </a:lnTo>
                  <a:lnTo>
                    <a:pt x="946" y="167"/>
                  </a:lnTo>
                  <a:lnTo>
                    <a:pt x="946" y="167"/>
                  </a:lnTo>
                  <a:lnTo>
                    <a:pt x="940" y="169"/>
                  </a:lnTo>
                  <a:lnTo>
                    <a:pt x="937" y="169"/>
                  </a:lnTo>
                  <a:lnTo>
                    <a:pt x="935" y="171"/>
                  </a:lnTo>
                  <a:lnTo>
                    <a:pt x="933" y="171"/>
                  </a:lnTo>
                  <a:lnTo>
                    <a:pt x="933" y="171"/>
                  </a:lnTo>
                  <a:lnTo>
                    <a:pt x="931" y="171"/>
                  </a:lnTo>
                  <a:lnTo>
                    <a:pt x="933" y="171"/>
                  </a:lnTo>
                  <a:lnTo>
                    <a:pt x="933" y="171"/>
                  </a:lnTo>
                  <a:lnTo>
                    <a:pt x="933" y="171"/>
                  </a:lnTo>
                  <a:lnTo>
                    <a:pt x="933" y="171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1" y="174"/>
                  </a:lnTo>
                  <a:lnTo>
                    <a:pt x="933" y="174"/>
                  </a:lnTo>
                  <a:lnTo>
                    <a:pt x="933" y="174"/>
                  </a:lnTo>
                  <a:lnTo>
                    <a:pt x="935" y="171"/>
                  </a:lnTo>
                  <a:lnTo>
                    <a:pt x="935" y="171"/>
                  </a:lnTo>
                  <a:lnTo>
                    <a:pt x="937" y="171"/>
                  </a:lnTo>
                  <a:lnTo>
                    <a:pt x="937" y="171"/>
                  </a:lnTo>
                  <a:lnTo>
                    <a:pt x="937" y="171"/>
                  </a:lnTo>
                  <a:lnTo>
                    <a:pt x="940" y="171"/>
                  </a:lnTo>
                  <a:lnTo>
                    <a:pt x="940" y="171"/>
                  </a:lnTo>
                  <a:lnTo>
                    <a:pt x="940" y="171"/>
                  </a:lnTo>
                  <a:lnTo>
                    <a:pt x="942" y="171"/>
                  </a:lnTo>
                  <a:lnTo>
                    <a:pt x="942" y="171"/>
                  </a:lnTo>
                  <a:lnTo>
                    <a:pt x="944" y="171"/>
                  </a:lnTo>
                  <a:lnTo>
                    <a:pt x="949" y="174"/>
                  </a:lnTo>
                  <a:lnTo>
                    <a:pt x="949" y="174"/>
                  </a:lnTo>
                  <a:lnTo>
                    <a:pt x="949" y="174"/>
                  </a:lnTo>
                  <a:lnTo>
                    <a:pt x="949" y="174"/>
                  </a:lnTo>
                  <a:lnTo>
                    <a:pt x="949" y="174"/>
                  </a:lnTo>
                  <a:lnTo>
                    <a:pt x="949" y="174"/>
                  </a:lnTo>
                  <a:lnTo>
                    <a:pt x="949" y="174"/>
                  </a:lnTo>
                  <a:lnTo>
                    <a:pt x="946" y="174"/>
                  </a:lnTo>
                  <a:lnTo>
                    <a:pt x="946" y="174"/>
                  </a:lnTo>
                  <a:lnTo>
                    <a:pt x="944" y="174"/>
                  </a:lnTo>
                  <a:lnTo>
                    <a:pt x="944" y="174"/>
                  </a:lnTo>
                  <a:lnTo>
                    <a:pt x="946" y="174"/>
                  </a:lnTo>
                  <a:lnTo>
                    <a:pt x="946" y="176"/>
                  </a:lnTo>
                  <a:lnTo>
                    <a:pt x="946" y="176"/>
                  </a:lnTo>
                  <a:lnTo>
                    <a:pt x="949" y="176"/>
                  </a:lnTo>
                  <a:lnTo>
                    <a:pt x="946" y="176"/>
                  </a:lnTo>
                  <a:lnTo>
                    <a:pt x="946" y="176"/>
                  </a:lnTo>
                  <a:lnTo>
                    <a:pt x="946" y="176"/>
                  </a:lnTo>
                  <a:lnTo>
                    <a:pt x="949" y="176"/>
                  </a:lnTo>
                  <a:lnTo>
                    <a:pt x="949" y="176"/>
                  </a:lnTo>
                  <a:lnTo>
                    <a:pt x="949" y="176"/>
                  </a:lnTo>
                  <a:lnTo>
                    <a:pt x="949" y="176"/>
                  </a:lnTo>
                  <a:lnTo>
                    <a:pt x="949" y="178"/>
                  </a:lnTo>
                  <a:lnTo>
                    <a:pt x="949" y="178"/>
                  </a:lnTo>
                  <a:lnTo>
                    <a:pt x="946" y="178"/>
                  </a:lnTo>
                  <a:lnTo>
                    <a:pt x="946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78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46" y="180"/>
                  </a:lnTo>
                  <a:lnTo>
                    <a:pt x="949" y="178"/>
                  </a:lnTo>
                  <a:lnTo>
                    <a:pt x="953" y="178"/>
                  </a:lnTo>
                  <a:lnTo>
                    <a:pt x="953" y="178"/>
                  </a:lnTo>
                  <a:lnTo>
                    <a:pt x="953" y="178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5" y="176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3" y="178"/>
                  </a:lnTo>
                  <a:lnTo>
                    <a:pt x="953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5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0"/>
                  </a:lnTo>
                  <a:lnTo>
                    <a:pt x="953" y="183"/>
                  </a:lnTo>
                  <a:lnTo>
                    <a:pt x="953" y="183"/>
                  </a:lnTo>
                  <a:lnTo>
                    <a:pt x="953" y="183"/>
                  </a:lnTo>
                  <a:lnTo>
                    <a:pt x="953" y="183"/>
                  </a:lnTo>
                  <a:lnTo>
                    <a:pt x="953" y="183"/>
                  </a:lnTo>
                  <a:lnTo>
                    <a:pt x="953" y="183"/>
                  </a:lnTo>
                  <a:lnTo>
                    <a:pt x="953" y="183"/>
                  </a:lnTo>
                  <a:lnTo>
                    <a:pt x="951" y="183"/>
                  </a:lnTo>
                  <a:lnTo>
                    <a:pt x="951" y="183"/>
                  </a:lnTo>
                  <a:lnTo>
                    <a:pt x="951" y="183"/>
                  </a:lnTo>
                  <a:lnTo>
                    <a:pt x="951" y="183"/>
                  </a:lnTo>
                  <a:lnTo>
                    <a:pt x="951" y="183"/>
                  </a:lnTo>
                  <a:lnTo>
                    <a:pt x="951" y="183"/>
                  </a:lnTo>
                  <a:lnTo>
                    <a:pt x="951" y="185"/>
                  </a:lnTo>
                  <a:lnTo>
                    <a:pt x="951" y="185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4" y="185"/>
                  </a:lnTo>
                  <a:lnTo>
                    <a:pt x="942" y="185"/>
                  </a:lnTo>
                  <a:lnTo>
                    <a:pt x="944" y="185"/>
                  </a:lnTo>
                  <a:lnTo>
                    <a:pt x="944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6" y="185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7"/>
                  </a:lnTo>
                  <a:lnTo>
                    <a:pt x="946" y="189"/>
                  </a:lnTo>
                  <a:lnTo>
                    <a:pt x="944" y="189"/>
                  </a:lnTo>
                  <a:lnTo>
                    <a:pt x="944" y="189"/>
                  </a:lnTo>
                  <a:lnTo>
                    <a:pt x="944" y="189"/>
                  </a:lnTo>
                  <a:lnTo>
                    <a:pt x="944" y="189"/>
                  </a:lnTo>
                  <a:lnTo>
                    <a:pt x="937" y="189"/>
                  </a:lnTo>
                  <a:lnTo>
                    <a:pt x="937" y="189"/>
                  </a:lnTo>
                  <a:lnTo>
                    <a:pt x="937" y="189"/>
                  </a:lnTo>
                  <a:lnTo>
                    <a:pt x="940" y="189"/>
                  </a:lnTo>
                  <a:lnTo>
                    <a:pt x="940" y="189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4" y="189"/>
                  </a:lnTo>
                  <a:lnTo>
                    <a:pt x="944" y="192"/>
                  </a:lnTo>
                  <a:lnTo>
                    <a:pt x="942" y="192"/>
                  </a:lnTo>
                  <a:lnTo>
                    <a:pt x="942" y="192"/>
                  </a:lnTo>
                  <a:lnTo>
                    <a:pt x="942" y="192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37" y="192"/>
                  </a:lnTo>
                  <a:lnTo>
                    <a:pt x="937" y="192"/>
                  </a:lnTo>
                  <a:lnTo>
                    <a:pt x="937" y="194"/>
                  </a:lnTo>
                  <a:lnTo>
                    <a:pt x="940" y="194"/>
                  </a:lnTo>
                  <a:lnTo>
                    <a:pt x="940" y="192"/>
                  </a:lnTo>
                  <a:lnTo>
                    <a:pt x="940" y="192"/>
                  </a:lnTo>
                  <a:lnTo>
                    <a:pt x="942" y="192"/>
                  </a:lnTo>
                  <a:lnTo>
                    <a:pt x="942" y="192"/>
                  </a:lnTo>
                  <a:lnTo>
                    <a:pt x="942" y="192"/>
                  </a:lnTo>
                  <a:lnTo>
                    <a:pt x="940" y="194"/>
                  </a:lnTo>
                  <a:lnTo>
                    <a:pt x="937" y="194"/>
                  </a:lnTo>
                  <a:lnTo>
                    <a:pt x="937" y="194"/>
                  </a:lnTo>
                  <a:lnTo>
                    <a:pt x="935" y="196"/>
                  </a:lnTo>
                  <a:lnTo>
                    <a:pt x="935" y="196"/>
                  </a:lnTo>
                  <a:lnTo>
                    <a:pt x="935" y="194"/>
                  </a:lnTo>
                  <a:lnTo>
                    <a:pt x="935" y="194"/>
                  </a:lnTo>
                  <a:lnTo>
                    <a:pt x="937" y="194"/>
                  </a:lnTo>
                  <a:lnTo>
                    <a:pt x="937" y="194"/>
                  </a:lnTo>
                  <a:lnTo>
                    <a:pt x="937" y="194"/>
                  </a:lnTo>
                  <a:lnTo>
                    <a:pt x="937" y="194"/>
                  </a:lnTo>
                  <a:lnTo>
                    <a:pt x="935" y="194"/>
                  </a:lnTo>
                  <a:lnTo>
                    <a:pt x="935" y="194"/>
                  </a:lnTo>
                  <a:lnTo>
                    <a:pt x="935" y="194"/>
                  </a:lnTo>
                  <a:lnTo>
                    <a:pt x="933" y="194"/>
                  </a:lnTo>
                  <a:lnTo>
                    <a:pt x="933" y="194"/>
                  </a:lnTo>
                  <a:lnTo>
                    <a:pt x="933" y="194"/>
                  </a:lnTo>
                  <a:lnTo>
                    <a:pt x="931" y="196"/>
                  </a:lnTo>
                  <a:lnTo>
                    <a:pt x="931" y="196"/>
                  </a:lnTo>
                  <a:lnTo>
                    <a:pt x="928" y="196"/>
                  </a:lnTo>
                  <a:lnTo>
                    <a:pt x="928" y="196"/>
                  </a:lnTo>
                  <a:lnTo>
                    <a:pt x="928" y="196"/>
                  </a:lnTo>
                  <a:lnTo>
                    <a:pt x="926" y="198"/>
                  </a:lnTo>
                  <a:lnTo>
                    <a:pt x="924" y="198"/>
                  </a:lnTo>
                  <a:lnTo>
                    <a:pt x="922" y="198"/>
                  </a:lnTo>
                  <a:lnTo>
                    <a:pt x="922" y="198"/>
                  </a:lnTo>
                  <a:lnTo>
                    <a:pt x="917" y="198"/>
                  </a:lnTo>
                  <a:lnTo>
                    <a:pt x="917" y="198"/>
                  </a:lnTo>
                  <a:lnTo>
                    <a:pt x="917" y="198"/>
                  </a:lnTo>
                  <a:lnTo>
                    <a:pt x="917" y="198"/>
                  </a:lnTo>
                  <a:lnTo>
                    <a:pt x="915" y="198"/>
                  </a:lnTo>
                  <a:lnTo>
                    <a:pt x="915" y="198"/>
                  </a:lnTo>
                  <a:lnTo>
                    <a:pt x="915" y="198"/>
                  </a:lnTo>
                  <a:lnTo>
                    <a:pt x="913" y="198"/>
                  </a:lnTo>
                  <a:lnTo>
                    <a:pt x="913" y="198"/>
                  </a:lnTo>
                  <a:lnTo>
                    <a:pt x="910" y="198"/>
                  </a:lnTo>
                  <a:lnTo>
                    <a:pt x="910" y="198"/>
                  </a:lnTo>
                  <a:lnTo>
                    <a:pt x="910" y="196"/>
                  </a:lnTo>
                  <a:lnTo>
                    <a:pt x="910" y="196"/>
                  </a:lnTo>
                  <a:lnTo>
                    <a:pt x="910" y="196"/>
                  </a:lnTo>
                  <a:lnTo>
                    <a:pt x="910" y="196"/>
                  </a:lnTo>
                  <a:lnTo>
                    <a:pt x="910" y="196"/>
                  </a:lnTo>
                  <a:lnTo>
                    <a:pt x="913" y="196"/>
                  </a:lnTo>
                  <a:lnTo>
                    <a:pt x="913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5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0" y="194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6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08" y="198"/>
                  </a:lnTo>
                  <a:lnTo>
                    <a:pt x="910" y="198"/>
                  </a:lnTo>
                  <a:lnTo>
                    <a:pt x="910" y="198"/>
                  </a:lnTo>
                  <a:lnTo>
                    <a:pt x="910" y="198"/>
                  </a:lnTo>
                  <a:lnTo>
                    <a:pt x="910" y="198"/>
                  </a:lnTo>
                  <a:lnTo>
                    <a:pt x="910" y="198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10" y="201"/>
                  </a:lnTo>
                  <a:lnTo>
                    <a:pt x="908" y="201"/>
                  </a:lnTo>
                  <a:lnTo>
                    <a:pt x="908" y="203"/>
                  </a:lnTo>
                  <a:lnTo>
                    <a:pt x="906" y="203"/>
                  </a:lnTo>
                  <a:lnTo>
                    <a:pt x="906" y="203"/>
                  </a:lnTo>
                  <a:lnTo>
                    <a:pt x="904" y="203"/>
                  </a:lnTo>
                  <a:lnTo>
                    <a:pt x="901" y="203"/>
                  </a:lnTo>
                  <a:lnTo>
                    <a:pt x="901" y="203"/>
                  </a:lnTo>
                  <a:lnTo>
                    <a:pt x="901" y="205"/>
                  </a:lnTo>
                  <a:lnTo>
                    <a:pt x="899" y="205"/>
                  </a:lnTo>
                  <a:lnTo>
                    <a:pt x="899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7" y="205"/>
                  </a:lnTo>
                  <a:lnTo>
                    <a:pt x="895" y="205"/>
                  </a:lnTo>
                  <a:lnTo>
                    <a:pt x="895" y="205"/>
                  </a:lnTo>
                  <a:lnTo>
                    <a:pt x="895" y="203"/>
                  </a:lnTo>
                  <a:lnTo>
                    <a:pt x="895" y="203"/>
                  </a:lnTo>
                  <a:lnTo>
                    <a:pt x="895" y="203"/>
                  </a:lnTo>
                  <a:lnTo>
                    <a:pt x="895" y="203"/>
                  </a:lnTo>
                  <a:lnTo>
                    <a:pt x="892" y="203"/>
                  </a:lnTo>
                  <a:lnTo>
                    <a:pt x="892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3"/>
                  </a:lnTo>
                  <a:lnTo>
                    <a:pt x="890" y="201"/>
                  </a:lnTo>
                  <a:lnTo>
                    <a:pt x="890" y="201"/>
                  </a:lnTo>
                  <a:lnTo>
                    <a:pt x="890" y="201"/>
                  </a:lnTo>
                  <a:lnTo>
                    <a:pt x="890" y="201"/>
                  </a:lnTo>
                  <a:lnTo>
                    <a:pt x="892" y="201"/>
                  </a:lnTo>
                  <a:lnTo>
                    <a:pt x="892" y="201"/>
                  </a:lnTo>
                  <a:lnTo>
                    <a:pt x="892" y="201"/>
                  </a:lnTo>
                  <a:lnTo>
                    <a:pt x="892" y="198"/>
                  </a:lnTo>
                  <a:lnTo>
                    <a:pt x="892" y="198"/>
                  </a:lnTo>
                  <a:lnTo>
                    <a:pt x="890" y="198"/>
                  </a:lnTo>
                  <a:lnTo>
                    <a:pt x="890" y="198"/>
                  </a:lnTo>
                  <a:lnTo>
                    <a:pt x="890" y="198"/>
                  </a:lnTo>
                  <a:lnTo>
                    <a:pt x="890" y="198"/>
                  </a:lnTo>
                  <a:lnTo>
                    <a:pt x="890" y="198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6"/>
                  </a:lnTo>
                  <a:lnTo>
                    <a:pt x="890" y="194"/>
                  </a:lnTo>
                  <a:lnTo>
                    <a:pt x="890" y="194"/>
                  </a:lnTo>
                  <a:lnTo>
                    <a:pt x="890" y="194"/>
                  </a:lnTo>
                  <a:lnTo>
                    <a:pt x="890" y="194"/>
                  </a:lnTo>
                  <a:lnTo>
                    <a:pt x="890" y="194"/>
                  </a:lnTo>
                  <a:lnTo>
                    <a:pt x="888" y="194"/>
                  </a:lnTo>
                  <a:lnTo>
                    <a:pt x="888" y="194"/>
                  </a:lnTo>
                  <a:lnTo>
                    <a:pt x="888" y="194"/>
                  </a:lnTo>
                  <a:lnTo>
                    <a:pt x="888" y="194"/>
                  </a:lnTo>
                  <a:lnTo>
                    <a:pt x="888" y="192"/>
                  </a:lnTo>
                  <a:lnTo>
                    <a:pt x="888" y="192"/>
                  </a:lnTo>
                  <a:lnTo>
                    <a:pt x="886" y="192"/>
                  </a:lnTo>
                  <a:lnTo>
                    <a:pt x="886" y="192"/>
                  </a:lnTo>
                  <a:lnTo>
                    <a:pt x="886" y="192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6" y="187"/>
                  </a:lnTo>
                  <a:lnTo>
                    <a:pt x="886" y="187"/>
                  </a:lnTo>
                  <a:lnTo>
                    <a:pt x="886" y="187"/>
                  </a:lnTo>
                  <a:lnTo>
                    <a:pt x="886" y="187"/>
                  </a:lnTo>
                  <a:lnTo>
                    <a:pt x="886" y="187"/>
                  </a:lnTo>
                  <a:lnTo>
                    <a:pt x="883" y="187"/>
                  </a:lnTo>
                  <a:lnTo>
                    <a:pt x="883" y="187"/>
                  </a:lnTo>
                  <a:lnTo>
                    <a:pt x="883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79" y="187"/>
                  </a:lnTo>
                  <a:lnTo>
                    <a:pt x="879" y="187"/>
                  </a:lnTo>
                  <a:lnTo>
                    <a:pt x="879" y="187"/>
                  </a:lnTo>
                  <a:lnTo>
                    <a:pt x="879" y="187"/>
                  </a:lnTo>
                  <a:lnTo>
                    <a:pt x="879" y="187"/>
                  </a:lnTo>
                  <a:lnTo>
                    <a:pt x="879" y="187"/>
                  </a:lnTo>
                  <a:lnTo>
                    <a:pt x="879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81" y="187"/>
                  </a:lnTo>
                  <a:lnTo>
                    <a:pt x="879" y="185"/>
                  </a:lnTo>
                  <a:lnTo>
                    <a:pt x="881" y="185"/>
                  </a:lnTo>
                  <a:lnTo>
                    <a:pt x="881" y="185"/>
                  </a:lnTo>
                  <a:lnTo>
                    <a:pt x="881" y="185"/>
                  </a:lnTo>
                  <a:lnTo>
                    <a:pt x="881" y="185"/>
                  </a:lnTo>
                  <a:lnTo>
                    <a:pt x="879" y="185"/>
                  </a:lnTo>
                  <a:lnTo>
                    <a:pt x="879" y="185"/>
                  </a:lnTo>
                  <a:lnTo>
                    <a:pt x="879" y="185"/>
                  </a:lnTo>
                  <a:lnTo>
                    <a:pt x="879" y="185"/>
                  </a:lnTo>
                  <a:lnTo>
                    <a:pt x="879" y="185"/>
                  </a:lnTo>
                  <a:lnTo>
                    <a:pt x="879" y="185"/>
                  </a:lnTo>
                  <a:lnTo>
                    <a:pt x="877" y="185"/>
                  </a:lnTo>
                  <a:lnTo>
                    <a:pt x="877" y="185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7"/>
                  </a:lnTo>
                  <a:lnTo>
                    <a:pt x="874" y="185"/>
                  </a:lnTo>
                  <a:lnTo>
                    <a:pt x="874" y="185"/>
                  </a:lnTo>
                  <a:lnTo>
                    <a:pt x="874" y="185"/>
                  </a:lnTo>
                  <a:lnTo>
                    <a:pt x="874" y="185"/>
                  </a:lnTo>
                  <a:lnTo>
                    <a:pt x="874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2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5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2" y="183"/>
                  </a:lnTo>
                  <a:lnTo>
                    <a:pt x="872" y="183"/>
                  </a:lnTo>
                  <a:lnTo>
                    <a:pt x="872" y="183"/>
                  </a:lnTo>
                  <a:lnTo>
                    <a:pt x="872" y="183"/>
                  </a:lnTo>
                  <a:lnTo>
                    <a:pt x="872" y="183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0" y="183"/>
                  </a:lnTo>
                  <a:lnTo>
                    <a:pt x="872" y="183"/>
                  </a:lnTo>
                  <a:lnTo>
                    <a:pt x="872" y="183"/>
                  </a:lnTo>
                  <a:lnTo>
                    <a:pt x="872" y="183"/>
                  </a:lnTo>
                  <a:lnTo>
                    <a:pt x="872" y="180"/>
                  </a:lnTo>
                  <a:lnTo>
                    <a:pt x="872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70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8" y="180"/>
                  </a:lnTo>
                  <a:lnTo>
                    <a:pt x="865" y="178"/>
                  </a:lnTo>
                  <a:lnTo>
                    <a:pt x="865" y="178"/>
                  </a:lnTo>
                  <a:lnTo>
                    <a:pt x="865" y="178"/>
                  </a:lnTo>
                  <a:lnTo>
                    <a:pt x="865" y="178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5" y="176"/>
                  </a:lnTo>
                  <a:lnTo>
                    <a:pt x="868" y="176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0" y="174"/>
                  </a:lnTo>
                  <a:lnTo>
                    <a:pt x="870" y="174"/>
                  </a:lnTo>
                  <a:lnTo>
                    <a:pt x="872" y="174"/>
                  </a:lnTo>
                  <a:lnTo>
                    <a:pt x="872" y="174"/>
                  </a:lnTo>
                  <a:lnTo>
                    <a:pt x="872" y="171"/>
                  </a:lnTo>
                  <a:lnTo>
                    <a:pt x="872" y="171"/>
                  </a:lnTo>
                  <a:lnTo>
                    <a:pt x="872" y="171"/>
                  </a:lnTo>
                  <a:lnTo>
                    <a:pt x="872" y="171"/>
                  </a:lnTo>
                  <a:lnTo>
                    <a:pt x="874" y="171"/>
                  </a:lnTo>
                  <a:lnTo>
                    <a:pt x="874" y="171"/>
                  </a:lnTo>
                  <a:lnTo>
                    <a:pt x="874" y="171"/>
                  </a:lnTo>
                  <a:lnTo>
                    <a:pt x="877" y="171"/>
                  </a:lnTo>
                  <a:lnTo>
                    <a:pt x="877" y="171"/>
                  </a:lnTo>
                  <a:lnTo>
                    <a:pt x="877" y="171"/>
                  </a:lnTo>
                  <a:lnTo>
                    <a:pt x="877" y="171"/>
                  </a:lnTo>
                  <a:lnTo>
                    <a:pt x="877" y="171"/>
                  </a:lnTo>
                  <a:lnTo>
                    <a:pt x="879" y="171"/>
                  </a:lnTo>
                  <a:lnTo>
                    <a:pt x="879" y="171"/>
                  </a:lnTo>
                  <a:lnTo>
                    <a:pt x="879" y="169"/>
                  </a:lnTo>
                  <a:lnTo>
                    <a:pt x="879" y="171"/>
                  </a:lnTo>
                  <a:lnTo>
                    <a:pt x="881" y="169"/>
                  </a:lnTo>
                  <a:lnTo>
                    <a:pt x="881" y="169"/>
                  </a:lnTo>
                  <a:lnTo>
                    <a:pt x="881" y="171"/>
                  </a:lnTo>
                  <a:lnTo>
                    <a:pt x="883" y="169"/>
                  </a:lnTo>
                  <a:lnTo>
                    <a:pt x="883" y="169"/>
                  </a:lnTo>
                  <a:lnTo>
                    <a:pt x="883" y="169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6" y="171"/>
                  </a:lnTo>
                  <a:lnTo>
                    <a:pt x="886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1"/>
                  </a:lnTo>
                  <a:lnTo>
                    <a:pt x="883" y="174"/>
                  </a:lnTo>
                  <a:lnTo>
                    <a:pt x="883" y="174"/>
                  </a:lnTo>
                  <a:lnTo>
                    <a:pt x="883" y="174"/>
                  </a:lnTo>
                  <a:lnTo>
                    <a:pt x="883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4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8" y="176"/>
                  </a:lnTo>
                  <a:lnTo>
                    <a:pt x="888" y="176"/>
                  </a:lnTo>
                  <a:lnTo>
                    <a:pt x="888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6"/>
                  </a:lnTo>
                  <a:lnTo>
                    <a:pt x="886" y="178"/>
                  </a:lnTo>
                  <a:lnTo>
                    <a:pt x="886" y="178"/>
                  </a:lnTo>
                  <a:lnTo>
                    <a:pt x="888" y="178"/>
                  </a:lnTo>
                  <a:lnTo>
                    <a:pt x="888" y="178"/>
                  </a:lnTo>
                  <a:lnTo>
                    <a:pt x="888" y="178"/>
                  </a:lnTo>
                  <a:lnTo>
                    <a:pt x="888" y="178"/>
                  </a:lnTo>
                  <a:lnTo>
                    <a:pt x="890" y="178"/>
                  </a:lnTo>
                  <a:lnTo>
                    <a:pt x="890" y="178"/>
                  </a:lnTo>
                  <a:lnTo>
                    <a:pt x="890" y="178"/>
                  </a:lnTo>
                  <a:lnTo>
                    <a:pt x="890" y="178"/>
                  </a:lnTo>
                  <a:lnTo>
                    <a:pt x="890" y="178"/>
                  </a:lnTo>
                  <a:lnTo>
                    <a:pt x="890" y="178"/>
                  </a:lnTo>
                  <a:lnTo>
                    <a:pt x="892" y="178"/>
                  </a:lnTo>
                  <a:lnTo>
                    <a:pt x="892" y="178"/>
                  </a:lnTo>
                  <a:lnTo>
                    <a:pt x="892" y="178"/>
                  </a:lnTo>
                  <a:lnTo>
                    <a:pt x="892" y="178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2" y="176"/>
                  </a:lnTo>
                  <a:lnTo>
                    <a:pt x="895" y="176"/>
                  </a:lnTo>
                  <a:lnTo>
                    <a:pt x="897" y="176"/>
                  </a:lnTo>
                  <a:lnTo>
                    <a:pt x="897" y="176"/>
                  </a:lnTo>
                  <a:lnTo>
                    <a:pt x="897" y="176"/>
                  </a:lnTo>
                  <a:lnTo>
                    <a:pt x="897" y="176"/>
                  </a:lnTo>
                  <a:lnTo>
                    <a:pt x="899" y="176"/>
                  </a:lnTo>
                  <a:lnTo>
                    <a:pt x="897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899" y="176"/>
                  </a:lnTo>
                  <a:lnTo>
                    <a:pt x="901" y="176"/>
                  </a:lnTo>
                  <a:lnTo>
                    <a:pt x="901" y="176"/>
                  </a:lnTo>
                  <a:lnTo>
                    <a:pt x="901" y="176"/>
                  </a:lnTo>
                  <a:lnTo>
                    <a:pt x="901" y="176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1" y="174"/>
                  </a:lnTo>
                  <a:lnTo>
                    <a:pt x="901" y="174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6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1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6" y="174"/>
                  </a:lnTo>
                  <a:lnTo>
                    <a:pt x="906" y="174"/>
                  </a:lnTo>
                  <a:lnTo>
                    <a:pt x="906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6" y="174"/>
                  </a:lnTo>
                  <a:lnTo>
                    <a:pt x="906" y="174"/>
                  </a:lnTo>
                  <a:lnTo>
                    <a:pt x="906" y="174"/>
                  </a:lnTo>
                  <a:lnTo>
                    <a:pt x="906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4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71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10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8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4" y="169"/>
                  </a:lnTo>
                  <a:lnTo>
                    <a:pt x="904" y="169"/>
                  </a:lnTo>
                  <a:lnTo>
                    <a:pt x="904" y="169"/>
                  </a:lnTo>
                  <a:lnTo>
                    <a:pt x="904" y="169"/>
                  </a:lnTo>
                  <a:lnTo>
                    <a:pt x="904" y="169"/>
                  </a:lnTo>
                  <a:lnTo>
                    <a:pt x="904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6" y="169"/>
                  </a:lnTo>
                  <a:lnTo>
                    <a:pt x="908" y="167"/>
                  </a:lnTo>
                  <a:lnTo>
                    <a:pt x="908" y="167"/>
                  </a:lnTo>
                  <a:lnTo>
                    <a:pt x="906" y="167"/>
                  </a:lnTo>
                  <a:lnTo>
                    <a:pt x="906" y="167"/>
                  </a:lnTo>
                  <a:lnTo>
                    <a:pt x="906" y="167"/>
                  </a:lnTo>
                  <a:lnTo>
                    <a:pt x="906" y="167"/>
                  </a:lnTo>
                  <a:lnTo>
                    <a:pt x="908" y="167"/>
                  </a:lnTo>
                  <a:lnTo>
                    <a:pt x="908" y="167"/>
                  </a:lnTo>
                  <a:lnTo>
                    <a:pt x="908" y="167"/>
                  </a:lnTo>
                  <a:lnTo>
                    <a:pt x="908" y="167"/>
                  </a:lnTo>
                  <a:lnTo>
                    <a:pt x="908" y="167"/>
                  </a:lnTo>
                  <a:lnTo>
                    <a:pt x="908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0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9"/>
                  </a:lnTo>
                  <a:lnTo>
                    <a:pt x="915" y="169"/>
                  </a:lnTo>
                  <a:lnTo>
                    <a:pt x="917" y="169"/>
                  </a:lnTo>
                  <a:lnTo>
                    <a:pt x="917" y="167"/>
                  </a:lnTo>
                  <a:lnTo>
                    <a:pt x="917" y="167"/>
                  </a:lnTo>
                  <a:lnTo>
                    <a:pt x="915" y="167"/>
                  </a:lnTo>
                  <a:lnTo>
                    <a:pt x="915" y="167"/>
                  </a:lnTo>
                  <a:lnTo>
                    <a:pt x="915" y="167"/>
                  </a:lnTo>
                  <a:lnTo>
                    <a:pt x="915" y="167"/>
                  </a:lnTo>
                  <a:lnTo>
                    <a:pt x="913" y="167"/>
                  </a:lnTo>
                  <a:lnTo>
                    <a:pt x="913" y="167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06" y="167"/>
                  </a:lnTo>
                  <a:lnTo>
                    <a:pt x="904" y="167"/>
                  </a:lnTo>
                  <a:lnTo>
                    <a:pt x="901" y="167"/>
                  </a:lnTo>
                  <a:lnTo>
                    <a:pt x="901" y="167"/>
                  </a:lnTo>
                  <a:lnTo>
                    <a:pt x="901" y="167"/>
                  </a:lnTo>
                  <a:lnTo>
                    <a:pt x="901" y="165"/>
                  </a:lnTo>
                  <a:lnTo>
                    <a:pt x="901" y="165"/>
                  </a:lnTo>
                  <a:lnTo>
                    <a:pt x="901" y="165"/>
                  </a:lnTo>
                  <a:lnTo>
                    <a:pt x="899" y="165"/>
                  </a:lnTo>
                  <a:lnTo>
                    <a:pt x="899" y="165"/>
                  </a:lnTo>
                  <a:lnTo>
                    <a:pt x="899" y="165"/>
                  </a:lnTo>
                  <a:lnTo>
                    <a:pt x="899" y="165"/>
                  </a:lnTo>
                  <a:lnTo>
                    <a:pt x="897" y="165"/>
                  </a:lnTo>
                  <a:lnTo>
                    <a:pt x="897" y="165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7" y="162"/>
                  </a:lnTo>
                  <a:lnTo>
                    <a:pt x="899" y="162"/>
                  </a:lnTo>
                  <a:lnTo>
                    <a:pt x="899" y="162"/>
                  </a:lnTo>
                  <a:lnTo>
                    <a:pt x="899" y="162"/>
                  </a:lnTo>
                  <a:lnTo>
                    <a:pt x="901" y="160"/>
                  </a:lnTo>
                  <a:lnTo>
                    <a:pt x="901" y="160"/>
                  </a:lnTo>
                  <a:lnTo>
                    <a:pt x="901" y="162"/>
                  </a:lnTo>
                  <a:lnTo>
                    <a:pt x="904" y="160"/>
                  </a:lnTo>
                  <a:lnTo>
                    <a:pt x="904" y="160"/>
                  </a:lnTo>
                  <a:lnTo>
                    <a:pt x="904" y="160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08" y="162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10" y="165"/>
                  </a:lnTo>
                  <a:lnTo>
                    <a:pt x="910" y="165"/>
                  </a:lnTo>
                  <a:lnTo>
                    <a:pt x="913" y="165"/>
                  </a:lnTo>
                  <a:lnTo>
                    <a:pt x="913" y="165"/>
                  </a:lnTo>
                  <a:lnTo>
                    <a:pt x="913" y="162"/>
                  </a:lnTo>
                  <a:lnTo>
                    <a:pt x="913" y="162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10" y="162"/>
                  </a:lnTo>
                  <a:lnTo>
                    <a:pt x="913" y="162"/>
                  </a:lnTo>
                  <a:lnTo>
                    <a:pt x="913" y="162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3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08" y="160"/>
                  </a:lnTo>
                  <a:lnTo>
                    <a:pt x="908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60"/>
                  </a:lnTo>
                  <a:lnTo>
                    <a:pt x="910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10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08" y="158"/>
                  </a:lnTo>
                  <a:lnTo>
                    <a:pt x="910" y="158"/>
                  </a:lnTo>
                  <a:lnTo>
                    <a:pt x="910" y="158"/>
                  </a:lnTo>
                  <a:lnTo>
                    <a:pt x="910" y="158"/>
                  </a:lnTo>
                  <a:lnTo>
                    <a:pt x="910" y="158"/>
                  </a:lnTo>
                  <a:lnTo>
                    <a:pt x="910" y="158"/>
                  </a:lnTo>
                  <a:lnTo>
                    <a:pt x="910" y="156"/>
                  </a:lnTo>
                  <a:lnTo>
                    <a:pt x="913" y="156"/>
                  </a:lnTo>
                  <a:lnTo>
                    <a:pt x="913" y="156"/>
                  </a:lnTo>
                  <a:lnTo>
                    <a:pt x="913" y="156"/>
                  </a:lnTo>
                  <a:lnTo>
                    <a:pt x="913" y="156"/>
                  </a:lnTo>
                  <a:lnTo>
                    <a:pt x="915" y="156"/>
                  </a:lnTo>
                  <a:lnTo>
                    <a:pt x="915" y="156"/>
                  </a:lnTo>
                  <a:lnTo>
                    <a:pt x="915" y="156"/>
                  </a:lnTo>
                  <a:lnTo>
                    <a:pt x="915" y="156"/>
                  </a:lnTo>
                  <a:lnTo>
                    <a:pt x="917" y="156"/>
                  </a:lnTo>
                  <a:lnTo>
                    <a:pt x="917" y="156"/>
                  </a:lnTo>
                  <a:lnTo>
                    <a:pt x="917" y="156"/>
                  </a:lnTo>
                  <a:lnTo>
                    <a:pt x="919" y="156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4" y="158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6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8" y="156"/>
                  </a:lnTo>
                  <a:lnTo>
                    <a:pt x="926" y="156"/>
                  </a:lnTo>
                  <a:lnTo>
                    <a:pt x="924" y="156"/>
                  </a:lnTo>
                  <a:lnTo>
                    <a:pt x="922" y="156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6"/>
                  </a:lnTo>
                  <a:lnTo>
                    <a:pt x="924" y="156"/>
                  </a:lnTo>
                  <a:lnTo>
                    <a:pt x="924" y="156"/>
                  </a:lnTo>
                  <a:lnTo>
                    <a:pt x="924" y="156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6"/>
                  </a:lnTo>
                  <a:lnTo>
                    <a:pt x="924" y="153"/>
                  </a:lnTo>
                  <a:lnTo>
                    <a:pt x="926" y="153"/>
                  </a:lnTo>
                  <a:lnTo>
                    <a:pt x="926" y="153"/>
                  </a:lnTo>
                  <a:lnTo>
                    <a:pt x="926" y="153"/>
                  </a:lnTo>
                  <a:lnTo>
                    <a:pt x="928" y="153"/>
                  </a:lnTo>
                  <a:lnTo>
                    <a:pt x="928" y="153"/>
                  </a:lnTo>
                  <a:lnTo>
                    <a:pt x="931" y="153"/>
                  </a:lnTo>
                  <a:lnTo>
                    <a:pt x="931" y="153"/>
                  </a:lnTo>
                  <a:lnTo>
                    <a:pt x="931" y="153"/>
                  </a:lnTo>
                  <a:lnTo>
                    <a:pt x="931" y="153"/>
                  </a:lnTo>
                  <a:lnTo>
                    <a:pt x="931" y="156"/>
                  </a:lnTo>
                  <a:lnTo>
                    <a:pt x="931" y="156"/>
                  </a:lnTo>
                  <a:close/>
                  <a:moveTo>
                    <a:pt x="964" y="151"/>
                  </a:moveTo>
                  <a:lnTo>
                    <a:pt x="964" y="151"/>
                  </a:lnTo>
                  <a:lnTo>
                    <a:pt x="960" y="153"/>
                  </a:lnTo>
                  <a:lnTo>
                    <a:pt x="960" y="153"/>
                  </a:lnTo>
                  <a:lnTo>
                    <a:pt x="957" y="153"/>
                  </a:lnTo>
                  <a:lnTo>
                    <a:pt x="957" y="153"/>
                  </a:lnTo>
                  <a:lnTo>
                    <a:pt x="955" y="153"/>
                  </a:lnTo>
                  <a:lnTo>
                    <a:pt x="955" y="153"/>
                  </a:lnTo>
                  <a:lnTo>
                    <a:pt x="955" y="153"/>
                  </a:lnTo>
                  <a:lnTo>
                    <a:pt x="955" y="153"/>
                  </a:lnTo>
                  <a:lnTo>
                    <a:pt x="955" y="156"/>
                  </a:lnTo>
                  <a:lnTo>
                    <a:pt x="955" y="156"/>
                  </a:lnTo>
                  <a:lnTo>
                    <a:pt x="955" y="156"/>
                  </a:lnTo>
                  <a:lnTo>
                    <a:pt x="955" y="156"/>
                  </a:lnTo>
                  <a:lnTo>
                    <a:pt x="953" y="156"/>
                  </a:lnTo>
                  <a:lnTo>
                    <a:pt x="953" y="156"/>
                  </a:lnTo>
                  <a:lnTo>
                    <a:pt x="946" y="156"/>
                  </a:lnTo>
                  <a:lnTo>
                    <a:pt x="946" y="156"/>
                  </a:lnTo>
                  <a:lnTo>
                    <a:pt x="944" y="156"/>
                  </a:lnTo>
                  <a:lnTo>
                    <a:pt x="944" y="156"/>
                  </a:lnTo>
                  <a:lnTo>
                    <a:pt x="944" y="156"/>
                  </a:lnTo>
                  <a:lnTo>
                    <a:pt x="944" y="156"/>
                  </a:lnTo>
                  <a:lnTo>
                    <a:pt x="944" y="156"/>
                  </a:lnTo>
                  <a:lnTo>
                    <a:pt x="942" y="156"/>
                  </a:lnTo>
                  <a:lnTo>
                    <a:pt x="942" y="156"/>
                  </a:lnTo>
                  <a:lnTo>
                    <a:pt x="942" y="156"/>
                  </a:lnTo>
                  <a:lnTo>
                    <a:pt x="937" y="156"/>
                  </a:lnTo>
                  <a:lnTo>
                    <a:pt x="937" y="156"/>
                  </a:lnTo>
                  <a:lnTo>
                    <a:pt x="940" y="156"/>
                  </a:lnTo>
                  <a:lnTo>
                    <a:pt x="944" y="156"/>
                  </a:lnTo>
                  <a:lnTo>
                    <a:pt x="944" y="156"/>
                  </a:lnTo>
                  <a:lnTo>
                    <a:pt x="944" y="156"/>
                  </a:lnTo>
                  <a:lnTo>
                    <a:pt x="942" y="156"/>
                  </a:lnTo>
                  <a:lnTo>
                    <a:pt x="937" y="156"/>
                  </a:lnTo>
                  <a:lnTo>
                    <a:pt x="935" y="156"/>
                  </a:lnTo>
                  <a:lnTo>
                    <a:pt x="935" y="156"/>
                  </a:lnTo>
                  <a:lnTo>
                    <a:pt x="935" y="156"/>
                  </a:lnTo>
                  <a:lnTo>
                    <a:pt x="937" y="153"/>
                  </a:lnTo>
                  <a:lnTo>
                    <a:pt x="942" y="153"/>
                  </a:lnTo>
                  <a:lnTo>
                    <a:pt x="942" y="153"/>
                  </a:lnTo>
                  <a:lnTo>
                    <a:pt x="944" y="153"/>
                  </a:lnTo>
                  <a:lnTo>
                    <a:pt x="944" y="153"/>
                  </a:lnTo>
                  <a:lnTo>
                    <a:pt x="944" y="153"/>
                  </a:lnTo>
                  <a:lnTo>
                    <a:pt x="944" y="153"/>
                  </a:lnTo>
                  <a:lnTo>
                    <a:pt x="944" y="153"/>
                  </a:lnTo>
                  <a:lnTo>
                    <a:pt x="944" y="153"/>
                  </a:lnTo>
                  <a:lnTo>
                    <a:pt x="946" y="153"/>
                  </a:lnTo>
                  <a:lnTo>
                    <a:pt x="949" y="151"/>
                  </a:lnTo>
                  <a:lnTo>
                    <a:pt x="949" y="151"/>
                  </a:lnTo>
                  <a:lnTo>
                    <a:pt x="951" y="151"/>
                  </a:lnTo>
                  <a:lnTo>
                    <a:pt x="957" y="151"/>
                  </a:lnTo>
                  <a:lnTo>
                    <a:pt x="964" y="151"/>
                  </a:lnTo>
                  <a:lnTo>
                    <a:pt x="964" y="151"/>
                  </a:lnTo>
                  <a:lnTo>
                    <a:pt x="964" y="151"/>
                  </a:lnTo>
                  <a:lnTo>
                    <a:pt x="964" y="151"/>
                  </a:lnTo>
                  <a:close/>
                  <a:moveTo>
                    <a:pt x="962" y="192"/>
                  </a:move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92"/>
                  </a:lnTo>
                  <a:lnTo>
                    <a:pt x="962" y="189"/>
                  </a:lnTo>
                  <a:lnTo>
                    <a:pt x="962" y="189"/>
                  </a:lnTo>
                  <a:lnTo>
                    <a:pt x="962" y="189"/>
                  </a:lnTo>
                  <a:lnTo>
                    <a:pt x="962" y="189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4" y="189"/>
                  </a:lnTo>
                  <a:lnTo>
                    <a:pt x="966" y="189"/>
                  </a:lnTo>
                  <a:lnTo>
                    <a:pt x="971" y="187"/>
                  </a:lnTo>
                  <a:lnTo>
                    <a:pt x="971" y="187"/>
                  </a:lnTo>
                  <a:lnTo>
                    <a:pt x="966" y="189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4" y="187"/>
                  </a:lnTo>
                  <a:lnTo>
                    <a:pt x="966" y="187"/>
                  </a:lnTo>
                  <a:lnTo>
                    <a:pt x="966" y="187"/>
                  </a:lnTo>
                  <a:lnTo>
                    <a:pt x="966" y="187"/>
                  </a:lnTo>
                  <a:lnTo>
                    <a:pt x="966" y="185"/>
                  </a:lnTo>
                  <a:lnTo>
                    <a:pt x="966" y="185"/>
                  </a:lnTo>
                  <a:lnTo>
                    <a:pt x="966" y="185"/>
                  </a:lnTo>
                  <a:lnTo>
                    <a:pt x="966" y="185"/>
                  </a:lnTo>
                  <a:lnTo>
                    <a:pt x="966" y="185"/>
                  </a:lnTo>
                  <a:lnTo>
                    <a:pt x="966" y="185"/>
                  </a:lnTo>
                  <a:lnTo>
                    <a:pt x="969" y="185"/>
                  </a:lnTo>
                  <a:lnTo>
                    <a:pt x="969" y="185"/>
                  </a:lnTo>
                  <a:lnTo>
                    <a:pt x="969" y="185"/>
                  </a:lnTo>
                  <a:lnTo>
                    <a:pt x="969" y="185"/>
                  </a:lnTo>
                  <a:lnTo>
                    <a:pt x="969" y="185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3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69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71" y="178"/>
                  </a:lnTo>
                  <a:lnTo>
                    <a:pt x="969" y="178"/>
                  </a:lnTo>
                  <a:lnTo>
                    <a:pt x="969" y="178"/>
                  </a:lnTo>
                  <a:lnTo>
                    <a:pt x="969" y="178"/>
                  </a:lnTo>
                  <a:lnTo>
                    <a:pt x="969" y="178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71" y="176"/>
                  </a:lnTo>
                  <a:lnTo>
                    <a:pt x="971" y="176"/>
                  </a:lnTo>
                  <a:lnTo>
                    <a:pt x="971" y="176"/>
                  </a:lnTo>
                  <a:lnTo>
                    <a:pt x="971" y="176"/>
                  </a:lnTo>
                  <a:lnTo>
                    <a:pt x="971" y="176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69" y="176"/>
                  </a:lnTo>
                  <a:lnTo>
                    <a:pt x="971" y="174"/>
                  </a:lnTo>
                  <a:lnTo>
                    <a:pt x="971" y="174"/>
                  </a:lnTo>
                  <a:lnTo>
                    <a:pt x="971" y="174"/>
                  </a:lnTo>
                  <a:lnTo>
                    <a:pt x="973" y="174"/>
                  </a:lnTo>
                  <a:lnTo>
                    <a:pt x="973" y="174"/>
                  </a:lnTo>
                  <a:lnTo>
                    <a:pt x="973" y="174"/>
                  </a:lnTo>
                  <a:lnTo>
                    <a:pt x="973" y="174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3" y="171"/>
                  </a:lnTo>
                  <a:lnTo>
                    <a:pt x="975" y="171"/>
                  </a:lnTo>
                  <a:lnTo>
                    <a:pt x="973" y="171"/>
                  </a:lnTo>
                  <a:lnTo>
                    <a:pt x="973" y="169"/>
                  </a:lnTo>
                  <a:lnTo>
                    <a:pt x="975" y="169"/>
                  </a:lnTo>
                  <a:lnTo>
                    <a:pt x="975" y="169"/>
                  </a:lnTo>
                  <a:lnTo>
                    <a:pt x="975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9"/>
                  </a:lnTo>
                  <a:lnTo>
                    <a:pt x="978" y="167"/>
                  </a:lnTo>
                  <a:lnTo>
                    <a:pt x="978" y="167"/>
                  </a:lnTo>
                  <a:lnTo>
                    <a:pt x="978" y="167"/>
                  </a:lnTo>
                  <a:lnTo>
                    <a:pt x="980" y="167"/>
                  </a:lnTo>
                  <a:lnTo>
                    <a:pt x="978" y="167"/>
                  </a:lnTo>
                  <a:lnTo>
                    <a:pt x="978" y="167"/>
                  </a:lnTo>
                  <a:lnTo>
                    <a:pt x="978" y="167"/>
                  </a:lnTo>
                  <a:lnTo>
                    <a:pt x="980" y="167"/>
                  </a:lnTo>
                  <a:lnTo>
                    <a:pt x="980" y="167"/>
                  </a:lnTo>
                  <a:lnTo>
                    <a:pt x="980" y="167"/>
                  </a:lnTo>
                  <a:lnTo>
                    <a:pt x="980" y="167"/>
                  </a:lnTo>
                  <a:lnTo>
                    <a:pt x="980" y="167"/>
                  </a:lnTo>
                  <a:lnTo>
                    <a:pt x="980" y="167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2" y="165"/>
                  </a:lnTo>
                  <a:lnTo>
                    <a:pt x="980" y="165"/>
                  </a:lnTo>
                  <a:lnTo>
                    <a:pt x="980" y="165"/>
                  </a:lnTo>
                  <a:lnTo>
                    <a:pt x="980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2"/>
                  </a:lnTo>
                  <a:lnTo>
                    <a:pt x="982" y="160"/>
                  </a:lnTo>
                  <a:lnTo>
                    <a:pt x="982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7" y="160"/>
                  </a:lnTo>
                  <a:lnTo>
                    <a:pt x="987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60"/>
                  </a:lnTo>
                  <a:lnTo>
                    <a:pt x="984" y="158"/>
                  </a:lnTo>
                  <a:lnTo>
                    <a:pt x="984" y="158"/>
                  </a:lnTo>
                  <a:lnTo>
                    <a:pt x="984" y="158"/>
                  </a:lnTo>
                  <a:lnTo>
                    <a:pt x="987" y="158"/>
                  </a:lnTo>
                  <a:lnTo>
                    <a:pt x="987" y="158"/>
                  </a:lnTo>
                  <a:lnTo>
                    <a:pt x="987" y="158"/>
                  </a:lnTo>
                  <a:lnTo>
                    <a:pt x="987" y="158"/>
                  </a:lnTo>
                  <a:lnTo>
                    <a:pt x="987" y="158"/>
                  </a:lnTo>
                  <a:lnTo>
                    <a:pt x="987" y="158"/>
                  </a:lnTo>
                  <a:lnTo>
                    <a:pt x="989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1" y="158"/>
                  </a:lnTo>
                  <a:lnTo>
                    <a:pt x="993" y="158"/>
                  </a:lnTo>
                  <a:lnTo>
                    <a:pt x="993" y="158"/>
                  </a:lnTo>
                  <a:lnTo>
                    <a:pt x="993" y="158"/>
                  </a:lnTo>
                  <a:lnTo>
                    <a:pt x="993" y="158"/>
                  </a:lnTo>
                  <a:lnTo>
                    <a:pt x="996" y="160"/>
                  </a:lnTo>
                  <a:lnTo>
                    <a:pt x="998" y="160"/>
                  </a:lnTo>
                  <a:lnTo>
                    <a:pt x="1000" y="160"/>
                  </a:lnTo>
                  <a:lnTo>
                    <a:pt x="1000" y="158"/>
                  </a:lnTo>
                  <a:lnTo>
                    <a:pt x="998" y="158"/>
                  </a:lnTo>
                  <a:lnTo>
                    <a:pt x="998" y="158"/>
                  </a:lnTo>
                  <a:lnTo>
                    <a:pt x="998" y="158"/>
                  </a:lnTo>
                  <a:lnTo>
                    <a:pt x="996" y="158"/>
                  </a:lnTo>
                  <a:lnTo>
                    <a:pt x="996" y="158"/>
                  </a:lnTo>
                  <a:lnTo>
                    <a:pt x="996" y="158"/>
                  </a:lnTo>
                  <a:lnTo>
                    <a:pt x="996" y="158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8" y="156"/>
                  </a:lnTo>
                  <a:lnTo>
                    <a:pt x="998" y="156"/>
                  </a:lnTo>
                  <a:lnTo>
                    <a:pt x="998" y="156"/>
                  </a:lnTo>
                  <a:lnTo>
                    <a:pt x="998" y="156"/>
                  </a:lnTo>
                  <a:lnTo>
                    <a:pt x="998" y="156"/>
                  </a:lnTo>
                  <a:lnTo>
                    <a:pt x="998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6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6" y="153"/>
                  </a:lnTo>
                  <a:lnTo>
                    <a:pt x="998" y="153"/>
                  </a:lnTo>
                  <a:lnTo>
                    <a:pt x="1000" y="153"/>
                  </a:lnTo>
                  <a:lnTo>
                    <a:pt x="1002" y="151"/>
                  </a:lnTo>
                  <a:lnTo>
                    <a:pt x="1005" y="151"/>
                  </a:lnTo>
                  <a:lnTo>
                    <a:pt x="1005" y="151"/>
                  </a:lnTo>
                  <a:lnTo>
                    <a:pt x="1007" y="151"/>
                  </a:lnTo>
                  <a:lnTo>
                    <a:pt x="1007" y="151"/>
                  </a:lnTo>
                  <a:lnTo>
                    <a:pt x="1007" y="151"/>
                  </a:lnTo>
                  <a:lnTo>
                    <a:pt x="1011" y="151"/>
                  </a:lnTo>
                  <a:lnTo>
                    <a:pt x="1011" y="151"/>
                  </a:lnTo>
                  <a:lnTo>
                    <a:pt x="1011" y="151"/>
                  </a:lnTo>
                  <a:lnTo>
                    <a:pt x="1011" y="151"/>
                  </a:lnTo>
                  <a:lnTo>
                    <a:pt x="1011" y="151"/>
                  </a:lnTo>
                  <a:lnTo>
                    <a:pt x="1014" y="151"/>
                  </a:lnTo>
                  <a:lnTo>
                    <a:pt x="1018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0" y="151"/>
                  </a:lnTo>
                  <a:lnTo>
                    <a:pt x="1023" y="149"/>
                  </a:lnTo>
                  <a:lnTo>
                    <a:pt x="1023" y="149"/>
                  </a:lnTo>
                  <a:lnTo>
                    <a:pt x="1027" y="149"/>
                  </a:lnTo>
                  <a:lnTo>
                    <a:pt x="1029" y="149"/>
                  </a:lnTo>
                  <a:lnTo>
                    <a:pt x="1032" y="151"/>
                  </a:lnTo>
                  <a:lnTo>
                    <a:pt x="1036" y="151"/>
                  </a:lnTo>
                  <a:lnTo>
                    <a:pt x="1036" y="151"/>
                  </a:lnTo>
                  <a:lnTo>
                    <a:pt x="1036" y="151"/>
                  </a:lnTo>
                  <a:lnTo>
                    <a:pt x="1034" y="151"/>
                  </a:lnTo>
                  <a:lnTo>
                    <a:pt x="1036" y="151"/>
                  </a:lnTo>
                  <a:lnTo>
                    <a:pt x="1036" y="151"/>
                  </a:lnTo>
                  <a:lnTo>
                    <a:pt x="1036" y="151"/>
                  </a:lnTo>
                  <a:lnTo>
                    <a:pt x="1036" y="151"/>
                  </a:lnTo>
                  <a:lnTo>
                    <a:pt x="1036" y="151"/>
                  </a:lnTo>
                  <a:lnTo>
                    <a:pt x="1038" y="151"/>
                  </a:lnTo>
                  <a:lnTo>
                    <a:pt x="1038" y="151"/>
                  </a:lnTo>
                  <a:lnTo>
                    <a:pt x="1041" y="151"/>
                  </a:lnTo>
                  <a:lnTo>
                    <a:pt x="1041" y="153"/>
                  </a:lnTo>
                  <a:lnTo>
                    <a:pt x="1041" y="153"/>
                  </a:lnTo>
                  <a:lnTo>
                    <a:pt x="1041" y="153"/>
                  </a:lnTo>
                  <a:lnTo>
                    <a:pt x="1038" y="153"/>
                  </a:lnTo>
                  <a:lnTo>
                    <a:pt x="1038" y="153"/>
                  </a:lnTo>
                  <a:lnTo>
                    <a:pt x="1038" y="153"/>
                  </a:lnTo>
                  <a:lnTo>
                    <a:pt x="1041" y="153"/>
                  </a:lnTo>
                  <a:lnTo>
                    <a:pt x="1043" y="153"/>
                  </a:lnTo>
                  <a:lnTo>
                    <a:pt x="1041" y="153"/>
                  </a:lnTo>
                  <a:lnTo>
                    <a:pt x="1043" y="153"/>
                  </a:lnTo>
                  <a:lnTo>
                    <a:pt x="1043" y="153"/>
                  </a:lnTo>
                  <a:lnTo>
                    <a:pt x="1043" y="153"/>
                  </a:lnTo>
                  <a:lnTo>
                    <a:pt x="1043" y="153"/>
                  </a:lnTo>
                  <a:lnTo>
                    <a:pt x="1043" y="153"/>
                  </a:lnTo>
                  <a:lnTo>
                    <a:pt x="1043" y="153"/>
                  </a:lnTo>
                  <a:lnTo>
                    <a:pt x="1043" y="153"/>
                  </a:lnTo>
                  <a:lnTo>
                    <a:pt x="1047" y="151"/>
                  </a:lnTo>
                  <a:lnTo>
                    <a:pt x="1047" y="153"/>
                  </a:lnTo>
                  <a:lnTo>
                    <a:pt x="1052" y="151"/>
                  </a:lnTo>
                  <a:lnTo>
                    <a:pt x="1054" y="153"/>
                  </a:lnTo>
                  <a:lnTo>
                    <a:pt x="1059" y="153"/>
                  </a:lnTo>
                  <a:lnTo>
                    <a:pt x="1063" y="153"/>
                  </a:lnTo>
                  <a:lnTo>
                    <a:pt x="1065" y="153"/>
                  </a:lnTo>
                  <a:lnTo>
                    <a:pt x="1068" y="153"/>
                  </a:lnTo>
                  <a:lnTo>
                    <a:pt x="1068" y="153"/>
                  </a:lnTo>
                  <a:lnTo>
                    <a:pt x="1068" y="153"/>
                  </a:lnTo>
                  <a:lnTo>
                    <a:pt x="1068" y="153"/>
                  </a:lnTo>
                  <a:lnTo>
                    <a:pt x="1068" y="153"/>
                  </a:lnTo>
                  <a:lnTo>
                    <a:pt x="1068" y="156"/>
                  </a:lnTo>
                  <a:lnTo>
                    <a:pt x="1068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5" y="156"/>
                  </a:lnTo>
                  <a:lnTo>
                    <a:pt x="1063" y="156"/>
                  </a:lnTo>
                  <a:lnTo>
                    <a:pt x="1063" y="158"/>
                  </a:lnTo>
                  <a:lnTo>
                    <a:pt x="1061" y="158"/>
                  </a:lnTo>
                  <a:lnTo>
                    <a:pt x="1061" y="158"/>
                  </a:lnTo>
                  <a:lnTo>
                    <a:pt x="1059" y="160"/>
                  </a:lnTo>
                  <a:lnTo>
                    <a:pt x="1056" y="160"/>
                  </a:lnTo>
                  <a:lnTo>
                    <a:pt x="1054" y="160"/>
                  </a:lnTo>
                  <a:lnTo>
                    <a:pt x="1052" y="162"/>
                  </a:lnTo>
                  <a:lnTo>
                    <a:pt x="1052" y="162"/>
                  </a:lnTo>
                  <a:lnTo>
                    <a:pt x="1052" y="162"/>
                  </a:lnTo>
                  <a:lnTo>
                    <a:pt x="1052" y="160"/>
                  </a:lnTo>
                  <a:lnTo>
                    <a:pt x="1052" y="160"/>
                  </a:lnTo>
                  <a:lnTo>
                    <a:pt x="1050" y="162"/>
                  </a:lnTo>
                  <a:lnTo>
                    <a:pt x="1050" y="162"/>
                  </a:lnTo>
                  <a:lnTo>
                    <a:pt x="1050" y="162"/>
                  </a:lnTo>
                  <a:lnTo>
                    <a:pt x="1050" y="162"/>
                  </a:lnTo>
                  <a:lnTo>
                    <a:pt x="1047" y="162"/>
                  </a:lnTo>
                  <a:lnTo>
                    <a:pt x="1047" y="162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7" y="165"/>
                  </a:lnTo>
                  <a:lnTo>
                    <a:pt x="1045" y="165"/>
                  </a:lnTo>
                  <a:lnTo>
                    <a:pt x="1045" y="165"/>
                  </a:lnTo>
                  <a:lnTo>
                    <a:pt x="1043" y="165"/>
                  </a:lnTo>
                  <a:lnTo>
                    <a:pt x="1043" y="167"/>
                  </a:lnTo>
                  <a:lnTo>
                    <a:pt x="1043" y="167"/>
                  </a:lnTo>
                  <a:lnTo>
                    <a:pt x="1041" y="167"/>
                  </a:lnTo>
                  <a:lnTo>
                    <a:pt x="1041" y="167"/>
                  </a:lnTo>
                  <a:lnTo>
                    <a:pt x="1041" y="167"/>
                  </a:lnTo>
                  <a:lnTo>
                    <a:pt x="1041" y="167"/>
                  </a:lnTo>
                  <a:lnTo>
                    <a:pt x="1038" y="167"/>
                  </a:lnTo>
                  <a:lnTo>
                    <a:pt x="1036" y="167"/>
                  </a:lnTo>
                  <a:lnTo>
                    <a:pt x="1036" y="167"/>
                  </a:lnTo>
                  <a:lnTo>
                    <a:pt x="1038" y="167"/>
                  </a:lnTo>
                  <a:lnTo>
                    <a:pt x="1038" y="167"/>
                  </a:lnTo>
                  <a:lnTo>
                    <a:pt x="1036" y="169"/>
                  </a:lnTo>
                  <a:lnTo>
                    <a:pt x="1036" y="169"/>
                  </a:lnTo>
                  <a:lnTo>
                    <a:pt x="1036" y="169"/>
                  </a:lnTo>
                  <a:lnTo>
                    <a:pt x="1034" y="169"/>
                  </a:lnTo>
                  <a:lnTo>
                    <a:pt x="1034" y="171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32" y="171"/>
                  </a:lnTo>
                  <a:lnTo>
                    <a:pt x="1027" y="174"/>
                  </a:lnTo>
                  <a:lnTo>
                    <a:pt x="1027" y="174"/>
                  </a:lnTo>
                  <a:lnTo>
                    <a:pt x="1027" y="174"/>
                  </a:lnTo>
                  <a:lnTo>
                    <a:pt x="1025" y="174"/>
                  </a:lnTo>
                  <a:lnTo>
                    <a:pt x="1023" y="176"/>
                  </a:lnTo>
                  <a:lnTo>
                    <a:pt x="1023" y="176"/>
                  </a:lnTo>
                  <a:lnTo>
                    <a:pt x="1020" y="176"/>
                  </a:lnTo>
                  <a:lnTo>
                    <a:pt x="1020" y="176"/>
                  </a:lnTo>
                  <a:lnTo>
                    <a:pt x="1018" y="176"/>
                  </a:lnTo>
                  <a:lnTo>
                    <a:pt x="1016" y="178"/>
                  </a:lnTo>
                  <a:lnTo>
                    <a:pt x="1014" y="178"/>
                  </a:lnTo>
                  <a:lnTo>
                    <a:pt x="1014" y="178"/>
                  </a:lnTo>
                  <a:lnTo>
                    <a:pt x="1011" y="176"/>
                  </a:lnTo>
                  <a:lnTo>
                    <a:pt x="1007" y="176"/>
                  </a:lnTo>
                  <a:lnTo>
                    <a:pt x="1007" y="176"/>
                  </a:lnTo>
                  <a:lnTo>
                    <a:pt x="1007" y="176"/>
                  </a:lnTo>
                  <a:lnTo>
                    <a:pt x="1005" y="176"/>
                  </a:lnTo>
                  <a:lnTo>
                    <a:pt x="1005" y="176"/>
                  </a:lnTo>
                  <a:lnTo>
                    <a:pt x="1005" y="176"/>
                  </a:lnTo>
                  <a:lnTo>
                    <a:pt x="1005" y="176"/>
                  </a:lnTo>
                  <a:lnTo>
                    <a:pt x="1005" y="176"/>
                  </a:lnTo>
                  <a:lnTo>
                    <a:pt x="1002" y="176"/>
                  </a:lnTo>
                  <a:lnTo>
                    <a:pt x="1002" y="176"/>
                  </a:lnTo>
                  <a:lnTo>
                    <a:pt x="1000" y="176"/>
                  </a:lnTo>
                  <a:lnTo>
                    <a:pt x="1000" y="176"/>
                  </a:lnTo>
                  <a:lnTo>
                    <a:pt x="991" y="176"/>
                  </a:lnTo>
                  <a:lnTo>
                    <a:pt x="989" y="176"/>
                  </a:lnTo>
                  <a:lnTo>
                    <a:pt x="989" y="176"/>
                  </a:lnTo>
                  <a:lnTo>
                    <a:pt x="989" y="176"/>
                  </a:lnTo>
                  <a:lnTo>
                    <a:pt x="989" y="176"/>
                  </a:lnTo>
                  <a:lnTo>
                    <a:pt x="987" y="176"/>
                  </a:lnTo>
                  <a:lnTo>
                    <a:pt x="987" y="176"/>
                  </a:lnTo>
                  <a:lnTo>
                    <a:pt x="987" y="178"/>
                  </a:lnTo>
                  <a:lnTo>
                    <a:pt x="987" y="178"/>
                  </a:lnTo>
                  <a:lnTo>
                    <a:pt x="987" y="178"/>
                  </a:lnTo>
                  <a:lnTo>
                    <a:pt x="989" y="176"/>
                  </a:lnTo>
                  <a:lnTo>
                    <a:pt x="989" y="176"/>
                  </a:lnTo>
                  <a:lnTo>
                    <a:pt x="989" y="176"/>
                  </a:lnTo>
                  <a:lnTo>
                    <a:pt x="991" y="178"/>
                  </a:lnTo>
                  <a:lnTo>
                    <a:pt x="993" y="178"/>
                  </a:lnTo>
                  <a:lnTo>
                    <a:pt x="993" y="178"/>
                  </a:lnTo>
                  <a:lnTo>
                    <a:pt x="993" y="178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6"/>
                  </a:lnTo>
                  <a:lnTo>
                    <a:pt x="996" y="178"/>
                  </a:lnTo>
                  <a:lnTo>
                    <a:pt x="996" y="178"/>
                  </a:lnTo>
                  <a:lnTo>
                    <a:pt x="993" y="178"/>
                  </a:lnTo>
                  <a:lnTo>
                    <a:pt x="993" y="178"/>
                  </a:lnTo>
                  <a:lnTo>
                    <a:pt x="993" y="178"/>
                  </a:lnTo>
                  <a:lnTo>
                    <a:pt x="993" y="178"/>
                  </a:lnTo>
                  <a:lnTo>
                    <a:pt x="993" y="178"/>
                  </a:lnTo>
                  <a:lnTo>
                    <a:pt x="996" y="178"/>
                  </a:lnTo>
                  <a:lnTo>
                    <a:pt x="996" y="180"/>
                  </a:lnTo>
                  <a:lnTo>
                    <a:pt x="996" y="180"/>
                  </a:lnTo>
                  <a:lnTo>
                    <a:pt x="996" y="180"/>
                  </a:lnTo>
                  <a:lnTo>
                    <a:pt x="996" y="183"/>
                  </a:lnTo>
                  <a:lnTo>
                    <a:pt x="996" y="183"/>
                  </a:lnTo>
                  <a:lnTo>
                    <a:pt x="996" y="183"/>
                  </a:lnTo>
                  <a:lnTo>
                    <a:pt x="996" y="183"/>
                  </a:lnTo>
                  <a:lnTo>
                    <a:pt x="993" y="183"/>
                  </a:lnTo>
                  <a:lnTo>
                    <a:pt x="993" y="183"/>
                  </a:lnTo>
                  <a:lnTo>
                    <a:pt x="993" y="183"/>
                  </a:lnTo>
                  <a:lnTo>
                    <a:pt x="993" y="183"/>
                  </a:lnTo>
                  <a:lnTo>
                    <a:pt x="993" y="183"/>
                  </a:lnTo>
                  <a:lnTo>
                    <a:pt x="993" y="183"/>
                  </a:lnTo>
                  <a:lnTo>
                    <a:pt x="991" y="185"/>
                  </a:lnTo>
                  <a:lnTo>
                    <a:pt x="991" y="185"/>
                  </a:lnTo>
                  <a:lnTo>
                    <a:pt x="989" y="185"/>
                  </a:lnTo>
                  <a:lnTo>
                    <a:pt x="989" y="185"/>
                  </a:lnTo>
                  <a:lnTo>
                    <a:pt x="989" y="185"/>
                  </a:lnTo>
                  <a:lnTo>
                    <a:pt x="987" y="185"/>
                  </a:lnTo>
                  <a:lnTo>
                    <a:pt x="987" y="185"/>
                  </a:lnTo>
                  <a:lnTo>
                    <a:pt x="987" y="185"/>
                  </a:lnTo>
                  <a:lnTo>
                    <a:pt x="987" y="185"/>
                  </a:lnTo>
                  <a:lnTo>
                    <a:pt x="984" y="187"/>
                  </a:lnTo>
                  <a:lnTo>
                    <a:pt x="984" y="187"/>
                  </a:lnTo>
                  <a:lnTo>
                    <a:pt x="984" y="187"/>
                  </a:lnTo>
                  <a:lnTo>
                    <a:pt x="984" y="187"/>
                  </a:lnTo>
                  <a:lnTo>
                    <a:pt x="984" y="187"/>
                  </a:lnTo>
                  <a:lnTo>
                    <a:pt x="982" y="187"/>
                  </a:lnTo>
                  <a:lnTo>
                    <a:pt x="982" y="187"/>
                  </a:lnTo>
                  <a:lnTo>
                    <a:pt x="982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78" y="189"/>
                  </a:lnTo>
                  <a:lnTo>
                    <a:pt x="975" y="189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80" y="189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8" y="192"/>
                  </a:lnTo>
                  <a:lnTo>
                    <a:pt x="975" y="192"/>
                  </a:lnTo>
                  <a:lnTo>
                    <a:pt x="975" y="192"/>
                  </a:lnTo>
                  <a:lnTo>
                    <a:pt x="975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71" y="192"/>
                  </a:lnTo>
                  <a:lnTo>
                    <a:pt x="969" y="192"/>
                  </a:lnTo>
                  <a:lnTo>
                    <a:pt x="962" y="192"/>
                  </a:lnTo>
                  <a:lnTo>
                    <a:pt x="962" y="192"/>
                  </a:lnTo>
                  <a:close/>
                  <a:moveTo>
                    <a:pt x="634" y="142"/>
                  </a:moveTo>
                  <a:lnTo>
                    <a:pt x="634" y="142"/>
                  </a:lnTo>
                  <a:lnTo>
                    <a:pt x="636" y="142"/>
                  </a:lnTo>
                  <a:lnTo>
                    <a:pt x="636" y="142"/>
                  </a:lnTo>
                  <a:lnTo>
                    <a:pt x="638" y="142"/>
                  </a:lnTo>
                  <a:lnTo>
                    <a:pt x="638" y="142"/>
                  </a:lnTo>
                  <a:lnTo>
                    <a:pt x="638" y="144"/>
                  </a:lnTo>
                  <a:lnTo>
                    <a:pt x="638" y="144"/>
                  </a:lnTo>
                  <a:lnTo>
                    <a:pt x="638" y="144"/>
                  </a:lnTo>
                  <a:lnTo>
                    <a:pt x="638" y="144"/>
                  </a:lnTo>
                  <a:lnTo>
                    <a:pt x="638" y="144"/>
                  </a:lnTo>
                  <a:lnTo>
                    <a:pt x="638" y="144"/>
                  </a:lnTo>
                  <a:lnTo>
                    <a:pt x="647" y="147"/>
                  </a:lnTo>
                  <a:lnTo>
                    <a:pt x="650" y="147"/>
                  </a:lnTo>
                  <a:lnTo>
                    <a:pt x="650" y="149"/>
                  </a:lnTo>
                  <a:lnTo>
                    <a:pt x="650" y="149"/>
                  </a:lnTo>
                  <a:lnTo>
                    <a:pt x="654" y="149"/>
                  </a:lnTo>
                  <a:lnTo>
                    <a:pt x="654" y="149"/>
                  </a:lnTo>
                  <a:lnTo>
                    <a:pt x="654" y="149"/>
                  </a:lnTo>
                  <a:lnTo>
                    <a:pt x="654" y="149"/>
                  </a:lnTo>
                  <a:lnTo>
                    <a:pt x="652" y="149"/>
                  </a:lnTo>
                  <a:lnTo>
                    <a:pt x="652" y="149"/>
                  </a:lnTo>
                  <a:lnTo>
                    <a:pt x="652" y="149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47" y="151"/>
                  </a:lnTo>
                  <a:lnTo>
                    <a:pt x="650" y="151"/>
                  </a:lnTo>
                  <a:lnTo>
                    <a:pt x="652" y="151"/>
                  </a:lnTo>
                  <a:lnTo>
                    <a:pt x="652" y="149"/>
                  </a:lnTo>
                  <a:lnTo>
                    <a:pt x="654" y="149"/>
                  </a:lnTo>
                  <a:lnTo>
                    <a:pt x="654" y="149"/>
                  </a:lnTo>
                  <a:lnTo>
                    <a:pt x="654" y="149"/>
                  </a:lnTo>
                  <a:lnTo>
                    <a:pt x="656" y="149"/>
                  </a:lnTo>
                  <a:lnTo>
                    <a:pt x="656" y="149"/>
                  </a:lnTo>
                  <a:lnTo>
                    <a:pt x="659" y="149"/>
                  </a:lnTo>
                  <a:lnTo>
                    <a:pt x="659" y="149"/>
                  </a:lnTo>
                  <a:lnTo>
                    <a:pt x="659" y="149"/>
                  </a:lnTo>
                  <a:lnTo>
                    <a:pt x="659" y="149"/>
                  </a:lnTo>
                  <a:lnTo>
                    <a:pt x="659" y="149"/>
                  </a:lnTo>
                  <a:lnTo>
                    <a:pt x="659" y="149"/>
                  </a:lnTo>
                  <a:lnTo>
                    <a:pt x="659" y="151"/>
                  </a:lnTo>
                  <a:lnTo>
                    <a:pt x="659" y="151"/>
                  </a:lnTo>
                  <a:lnTo>
                    <a:pt x="659" y="151"/>
                  </a:lnTo>
                  <a:lnTo>
                    <a:pt x="659" y="151"/>
                  </a:lnTo>
                  <a:lnTo>
                    <a:pt x="659" y="151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56" y="151"/>
                  </a:lnTo>
                  <a:lnTo>
                    <a:pt x="654" y="151"/>
                  </a:lnTo>
                  <a:lnTo>
                    <a:pt x="654" y="153"/>
                  </a:lnTo>
                  <a:lnTo>
                    <a:pt x="654" y="153"/>
                  </a:lnTo>
                  <a:lnTo>
                    <a:pt x="654" y="153"/>
                  </a:lnTo>
                  <a:lnTo>
                    <a:pt x="654" y="153"/>
                  </a:lnTo>
                  <a:lnTo>
                    <a:pt x="654" y="153"/>
                  </a:lnTo>
                  <a:lnTo>
                    <a:pt x="656" y="153"/>
                  </a:lnTo>
                  <a:lnTo>
                    <a:pt x="656" y="153"/>
                  </a:lnTo>
                  <a:lnTo>
                    <a:pt x="656" y="153"/>
                  </a:lnTo>
                  <a:lnTo>
                    <a:pt x="656" y="153"/>
                  </a:lnTo>
                  <a:lnTo>
                    <a:pt x="659" y="153"/>
                  </a:lnTo>
                  <a:lnTo>
                    <a:pt x="659" y="153"/>
                  </a:lnTo>
                  <a:lnTo>
                    <a:pt x="659" y="151"/>
                  </a:lnTo>
                  <a:lnTo>
                    <a:pt x="659" y="151"/>
                  </a:lnTo>
                  <a:lnTo>
                    <a:pt x="661" y="151"/>
                  </a:lnTo>
                  <a:lnTo>
                    <a:pt x="661" y="151"/>
                  </a:lnTo>
                  <a:lnTo>
                    <a:pt x="661" y="151"/>
                  </a:lnTo>
                  <a:lnTo>
                    <a:pt x="661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49"/>
                  </a:lnTo>
                  <a:lnTo>
                    <a:pt x="663" y="149"/>
                  </a:lnTo>
                  <a:lnTo>
                    <a:pt x="663" y="149"/>
                  </a:lnTo>
                  <a:lnTo>
                    <a:pt x="663" y="149"/>
                  </a:lnTo>
                  <a:lnTo>
                    <a:pt x="663" y="149"/>
                  </a:lnTo>
                  <a:lnTo>
                    <a:pt x="663" y="149"/>
                  </a:lnTo>
                  <a:lnTo>
                    <a:pt x="665" y="149"/>
                  </a:lnTo>
                  <a:lnTo>
                    <a:pt x="665" y="149"/>
                  </a:lnTo>
                  <a:lnTo>
                    <a:pt x="668" y="149"/>
                  </a:lnTo>
                  <a:lnTo>
                    <a:pt x="670" y="149"/>
                  </a:lnTo>
                  <a:lnTo>
                    <a:pt x="670" y="149"/>
                  </a:lnTo>
                  <a:lnTo>
                    <a:pt x="672" y="149"/>
                  </a:lnTo>
                  <a:lnTo>
                    <a:pt x="677" y="147"/>
                  </a:lnTo>
                  <a:lnTo>
                    <a:pt x="686" y="149"/>
                  </a:lnTo>
                  <a:lnTo>
                    <a:pt x="690" y="151"/>
                  </a:lnTo>
                  <a:lnTo>
                    <a:pt x="692" y="156"/>
                  </a:lnTo>
                  <a:lnTo>
                    <a:pt x="692" y="156"/>
                  </a:lnTo>
                  <a:lnTo>
                    <a:pt x="692" y="156"/>
                  </a:lnTo>
                  <a:lnTo>
                    <a:pt x="692" y="156"/>
                  </a:lnTo>
                  <a:lnTo>
                    <a:pt x="692" y="156"/>
                  </a:lnTo>
                  <a:lnTo>
                    <a:pt x="695" y="158"/>
                  </a:lnTo>
                  <a:lnTo>
                    <a:pt x="695" y="158"/>
                  </a:lnTo>
                  <a:lnTo>
                    <a:pt x="697" y="158"/>
                  </a:lnTo>
                  <a:lnTo>
                    <a:pt x="697" y="158"/>
                  </a:lnTo>
                  <a:lnTo>
                    <a:pt x="697" y="160"/>
                  </a:lnTo>
                  <a:lnTo>
                    <a:pt x="697" y="160"/>
                  </a:lnTo>
                  <a:lnTo>
                    <a:pt x="697" y="160"/>
                  </a:lnTo>
                  <a:lnTo>
                    <a:pt x="697" y="160"/>
                  </a:lnTo>
                  <a:lnTo>
                    <a:pt x="699" y="160"/>
                  </a:lnTo>
                  <a:lnTo>
                    <a:pt x="699" y="160"/>
                  </a:lnTo>
                  <a:lnTo>
                    <a:pt x="699" y="160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9" y="162"/>
                  </a:lnTo>
                  <a:lnTo>
                    <a:pt x="697" y="162"/>
                  </a:lnTo>
                  <a:lnTo>
                    <a:pt x="697" y="162"/>
                  </a:lnTo>
                  <a:lnTo>
                    <a:pt x="697" y="162"/>
                  </a:lnTo>
                  <a:lnTo>
                    <a:pt x="697" y="162"/>
                  </a:lnTo>
                  <a:lnTo>
                    <a:pt x="697" y="162"/>
                  </a:lnTo>
                  <a:lnTo>
                    <a:pt x="695" y="165"/>
                  </a:lnTo>
                  <a:lnTo>
                    <a:pt x="695" y="165"/>
                  </a:lnTo>
                  <a:lnTo>
                    <a:pt x="695" y="165"/>
                  </a:lnTo>
                  <a:lnTo>
                    <a:pt x="692" y="165"/>
                  </a:lnTo>
                  <a:lnTo>
                    <a:pt x="692" y="165"/>
                  </a:lnTo>
                  <a:lnTo>
                    <a:pt x="688" y="165"/>
                  </a:lnTo>
                  <a:lnTo>
                    <a:pt x="686" y="165"/>
                  </a:lnTo>
                  <a:lnTo>
                    <a:pt x="681" y="167"/>
                  </a:lnTo>
                  <a:lnTo>
                    <a:pt x="677" y="167"/>
                  </a:lnTo>
                  <a:lnTo>
                    <a:pt x="674" y="167"/>
                  </a:lnTo>
                  <a:lnTo>
                    <a:pt x="672" y="167"/>
                  </a:lnTo>
                  <a:lnTo>
                    <a:pt x="670" y="169"/>
                  </a:lnTo>
                  <a:lnTo>
                    <a:pt x="670" y="169"/>
                  </a:lnTo>
                  <a:lnTo>
                    <a:pt x="668" y="169"/>
                  </a:lnTo>
                  <a:lnTo>
                    <a:pt x="668" y="169"/>
                  </a:lnTo>
                  <a:lnTo>
                    <a:pt x="665" y="169"/>
                  </a:lnTo>
                  <a:lnTo>
                    <a:pt x="663" y="169"/>
                  </a:lnTo>
                  <a:lnTo>
                    <a:pt x="661" y="171"/>
                  </a:lnTo>
                  <a:lnTo>
                    <a:pt x="661" y="171"/>
                  </a:lnTo>
                  <a:lnTo>
                    <a:pt x="659" y="171"/>
                  </a:lnTo>
                  <a:lnTo>
                    <a:pt x="652" y="171"/>
                  </a:lnTo>
                  <a:lnTo>
                    <a:pt x="652" y="171"/>
                  </a:lnTo>
                  <a:lnTo>
                    <a:pt x="647" y="174"/>
                  </a:lnTo>
                  <a:lnTo>
                    <a:pt x="645" y="174"/>
                  </a:lnTo>
                  <a:lnTo>
                    <a:pt x="645" y="174"/>
                  </a:lnTo>
                  <a:lnTo>
                    <a:pt x="641" y="174"/>
                  </a:lnTo>
                  <a:lnTo>
                    <a:pt x="638" y="176"/>
                  </a:lnTo>
                  <a:lnTo>
                    <a:pt x="636" y="176"/>
                  </a:lnTo>
                  <a:lnTo>
                    <a:pt x="636" y="176"/>
                  </a:lnTo>
                  <a:lnTo>
                    <a:pt x="636" y="176"/>
                  </a:lnTo>
                  <a:lnTo>
                    <a:pt x="634" y="176"/>
                  </a:lnTo>
                  <a:lnTo>
                    <a:pt x="632" y="176"/>
                  </a:lnTo>
                  <a:lnTo>
                    <a:pt x="632" y="176"/>
                  </a:lnTo>
                  <a:lnTo>
                    <a:pt x="627" y="178"/>
                  </a:lnTo>
                  <a:lnTo>
                    <a:pt x="623" y="178"/>
                  </a:lnTo>
                  <a:lnTo>
                    <a:pt x="623" y="178"/>
                  </a:lnTo>
                  <a:lnTo>
                    <a:pt x="623" y="178"/>
                  </a:lnTo>
                  <a:lnTo>
                    <a:pt x="623" y="178"/>
                  </a:lnTo>
                  <a:lnTo>
                    <a:pt x="623" y="180"/>
                  </a:lnTo>
                  <a:lnTo>
                    <a:pt x="621" y="180"/>
                  </a:lnTo>
                  <a:lnTo>
                    <a:pt x="621" y="180"/>
                  </a:lnTo>
                  <a:lnTo>
                    <a:pt x="621" y="180"/>
                  </a:lnTo>
                  <a:lnTo>
                    <a:pt x="621" y="180"/>
                  </a:lnTo>
                  <a:lnTo>
                    <a:pt x="621" y="180"/>
                  </a:lnTo>
                  <a:lnTo>
                    <a:pt x="618" y="180"/>
                  </a:lnTo>
                  <a:lnTo>
                    <a:pt x="618" y="180"/>
                  </a:lnTo>
                  <a:lnTo>
                    <a:pt x="618" y="183"/>
                  </a:lnTo>
                  <a:lnTo>
                    <a:pt x="618" y="183"/>
                  </a:lnTo>
                  <a:lnTo>
                    <a:pt x="618" y="183"/>
                  </a:lnTo>
                  <a:lnTo>
                    <a:pt x="616" y="183"/>
                  </a:lnTo>
                  <a:lnTo>
                    <a:pt x="616" y="183"/>
                  </a:lnTo>
                  <a:lnTo>
                    <a:pt x="616" y="183"/>
                  </a:lnTo>
                  <a:lnTo>
                    <a:pt x="614" y="183"/>
                  </a:lnTo>
                  <a:lnTo>
                    <a:pt x="614" y="185"/>
                  </a:lnTo>
                  <a:lnTo>
                    <a:pt x="614" y="185"/>
                  </a:lnTo>
                  <a:lnTo>
                    <a:pt x="614" y="185"/>
                  </a:lnTo>
                  <a:lnTo>
                    <a:pt x="614" y="185"/>
                  </a:lnTo>
                  <a:lnTo>
                    <a:pt x="614" y="185"/>
                  </a:lnTo>
                  <a:lnTo>
                    <a:pt x="614" y="185"/>
                  </a:lnTo>
                  <a:lnTo>
                    <a:pt x="612" y="185"/>
                  </a:lnTo>
                  <a:lnTo>
                    <a:pt x="607" y="185"/>
                  </a:lnTo>
                  <a:lnTo>
                    <a:pt x="605" y="187"/>
                  </a:lnTo>
                  <a:lnTo>
                    <a:pt x="605" y="187"/>
                  </a:lnTo>
                  <a:lnTo>
                    <a:pt x="605" y="187"/>
                  </a:lnTo>
                  <a:lnTo>
                    <a:pt x="603" y="187"/>
                  </a:lnTo>
                  <a:lnTo>
                    <a:pt x="603" y="187"/>
                  </a:lnTo>
                  <a:lnTo>
                    <a:pt x="603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600" y="187"/>
                  </a:lnTo>
                  <a:lnTo>
                    <a:pt x="600" y="185"/>
                  </a:lnTo>
                  <a:lnTo>
                    <a:pt x="600" y="185"/>
                  </a:lnTo>
                  <a:lnTo>
                    <a:pt x="600" y="185"/>
                  </a:lnTo>
                  <a:lnTo>
                    <a:pt x="598" y="185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7"/>
                  </a:lnTo>
                  <a:lnTo>
                    <a:pt x="598" y="189"/>
                  </a:lnTo>
                  <a:lnTo>
                    <a:pt x="596" y="189"/>
                  </a:lnTo>
                  <a:lnTo>
                    <a:pt x="596" y="189"/>
                  </a:lnTo>
                  <a:lnTo>
                    <a:pt x="596" y="189"/>
                  </a:lnTo>
                  <a:lnTo>
                    <a:pt x="591" y="192"/>
                  </a:lnTo>
                  <a:lnTo>
                    <a:pt x="591" y="192"/>
                  </a:lnTo>
                  <a:lnTo>
                    <a:pt x="589" y="192"/>
                  </a:lnTo>
                  <a:lnTo>
                    <a:pt x="589" y="192"/>
                  </a:lnTo>
                  <a:lnTo>
                    <a:pt x="587" y="192"/>
                  </a:lnTo>
                  <a:lnTo>
                    <a:pt x="587" y="194"/>
                  </a:lnTo>
                  <a:lnTo>
                    <a:pt x="587" y="194"/>
                  </a:lnTo>
                  <a:lnTo>
                    <a:pt x="587" y="194"/>
                  </a:lnTo>
                  <a:lnTo>
                    <a:pt x="587" y="194"/>
                  </a:lnTo>
                  <a:lnTo>
                    <a:pt x="587" y="194"/>
                  </a:lnTo>
                  <a:lnTo>
                    <a:pt x="587" y="194"/>
                  </a:lnTo>
                  <a:lnTo>
                    <a:pt x="585" y="196"/>
                  </a:lnTo>
                  <a:lnTo>
                    <a:pt x="585" y="196"/>
                  </a:lnTo>
                  <a:lnTo>
                    <a:pt x="585" y="196"/>
                  </a:lnTo>
                  <a:lnTo>
                    <a:pt x="585" y="196"/>
                  </a:lnTo>
                  <a:lnTo>
                    <a:pt x="585" y="196"/>
                  </a:lnTo>
                  <a:lnTo>
                    <a:pt x="585" y="196"/>
                  </a:lnTo>
                  <a:lnTo>
                    <a:pt x="585" y="196"/>
                  </a:lnTo>
                  <a:lnTo>
                    <a:pt x="582" y="196"/>
                  </a:lnTo>
                  <a:lnTo>
                    <a:pt x="582" y="198"/>
                  </a:lnTo>
                  <a:lnTo>
                    <a:pt x="582" y="198"/>
                  </a:lnTo>
                  <a:lnTo>
                    <a:pt x="578" y="201"/>
                  </a:lnTo>
                  <a:lnTo>
                    <a:pt x="576" y="201"/>
                  </a:lnTo>
                  <a:lnTo>
                    <a:pt x="573" y="201"/>
                  </a:lnTo>
                  <a:lnTo>
                    <a:pt x="569" y="203"/>
                  </a:lnTo>
                  <a:lnTo>
                    <a:pt x="564" y="203"/>
                  </a:lnTo>
                  <a:lnTo>
                    <a:pt x="562" y="203"/>
                  </a:lnTo>
                  <a:lnTo>
                    <a:pt x="560" y="203"/>
                  </a:lnTo>
                  <a:lnTo>
                    <a:pt x="560" y="203"/>
                  </a:lnTo>
                  <a:lnTo>
                    <a:pt x="560" y="203"/>
                  </a:lnTo>
                  <a:lnTo>
                    <a:pt x="560" y="201"/>
                  </a:lnTo>
                  <a:lnTo>
                    <a:pt x="560" y="201"/>
                  </a:lnTo>
                  <a:lnTo>
                    <a:pt x="560" y="201"/>
                  </a:lnTo>
                  <a:lnTo>
                    <a:pt x="560" y="201"/>
                  </a:lnTo>
                  <a:lnTo>
                    <a:pt x="558" y="201"/>
                  </a:lnTo>
                  <a:lnTo>
                    <a:pt x="555" y="203"/>
                  </a:lnTo>
                  <a:lnTo>
                    <a:pt x="553" y="203"/>
                  </a:lnTo>
                  <a:lnTo>
                    <a:pt x="553" y="203"/>
                  </a:lnTo>
                  <a:lnTo>
                    <a:pt x="551" y="205"/>
                  </a:lnTo>
                  <a:lnTo>
                    <a:pt x="549" y="205"/>
                  </a:lnTo>
                  <a:lnTo>
                    <a:pt x="549" y="205"/>
                  </a:lnTo>
                  <a:lnTo>
                    <a:pt x="546" y="205"/>
                  </a:lnTo>
                  <a:lnTo>
                    <a:pt x="544" y="205"/>
                  </a:lnTo>
                  <a:lnTo>
                    <a:pt x="544" y="205"/>
                  </a:lnTo>
                  <a:lnTo>
                    <a:pt x="540" y="207"/>
                  </a:lnTo>
                  <a:lnTo>
                    <a:pt x="537" y="207"/>
                  </a:lnTo>
                  <a:lnTo>
                    <a:pt x="537" y="207"/>
                  </a:lnTo>
                  <a:lnTo>
                    <a:pt x="535" y="207"/>
                  </a:lnTo>
                  <a:lnTo>
                    <a:pt x="535" y="210"/>
                  </a:lnTo>
                  <a:lnTo>
                    <a:pt x="535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07"/>
                  </a:lnTo>
                  <a:lnTo>
                    <a:pt x="528" y="207"/>
                  </a:lnTo>
                  <a:lnTo>
                    <a:pt x="528" y="205"/>
                  </a:lnTo>
                  <a:lnTo>
                    <a:pt x="531" y="203"/>
                  </a:lnTo>
                  <a:lnTo>
                    <a:pt x="531" y="201"/>
                  </a:lnTo>
                  <a:lnTo>
                    <a:pt x="531" y="201"/>
                  </a:lnTo>
                  <a:lnTo>
                    <a:pt x="531" y="201"/>
                  </a:lnTo>
                  <a:lnTo>
                    <a:pt x="531" y="201"/>
                  </a:lnTo>
                  <a:lnTo>
                    <a:pt x="531" y="201"/>
                  </a:lnTo>
                  <a:lnTo>
                    <a:pt x="528" y="201"/>
                  </a:lnTo>
                  <a:lnTo>
                    <a:pt x="531" y="201"/>
                  </a:lnTo>
                  <a:lnTo>
                    <a:pt x="531" y="198"/>
                  </a:lnTo>
                  <a:lnTo>
                    <a:pt x="531" y="198"/>
                  </a:lnTo>
                  <a:lnTo>
                    <a:pt x="528" y="196"/>
                  </a:lnTo>
                  <a:lnTo>
                    <a:pt x="524" y="194"/>
                  </a:lnTo>
                  <a:lnTo>
                    <a:pt x="522" y="194"/>
                  </a:lnTo>
                  <a:lnTo>
                    <a:pt x="519" y="194"/>
                  </a:lnTo>
                  <a:lnTo>
                    <a:pt x="517" y="192"/>
                  </a:lnTo>
                  <a:lnTo>
                    <a:pt x="517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22" y="192"/>
                  </a:lnTo>
                  <a:lnTo>
                    <a:pt x="517" y="192"/>
                  </a:lnTo>
                  <a:lnTo>
                    <a:pt x="513" y="192"/>
                  </a:lnTo>
                  <a:lnTo>
                    <a:pt x="510" y="192"/>
                  </a:lnTo>
                  <a:lnTo>
                    <a:pt x="508" y="192"/>
                  </a:lnTo>
                  <a:lnTo>
                    <a:pt x="510" y="192"/>
                  </a:lnTo>
                  <a:lnTo>
                    <a:pt x="510" y="192"/>
                  </a:lnTo>
                  <a:lnTo>
                    <a:pt x="510" y="192"/>
                  </a:lnTo>
                  <a:lnTo>
                    <a:pt x="513" y="192"/>
                  </a:lnTo>
                  <a:lnTo>
                    <a:pt x="513" y="189"/>
                  </a:lnTo>
                  <a:lnTo>
                    <a:pt x="513" y="189"/>
                  </a:lnTo>
                  <a:lnTo>
                    <a:pt x="515" y="189"/>
                  </a:lnTo>
                  <a:lnTo>
                    <a:pt x="515" y="189"/>
                  </a:lnTo>
                  <a:lnTo>
                    <a:pt x="515" y="189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5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9" y="187"/>
                  </a:lnTo>
                  <a:lnTo>
                    <a:pt x="519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7" y="187"/>
                  </a:lnTo>
                  <a:lnTo>
                    <a:pt x="519" y="187"/>
                  </a:lnTo>
                  <a:lnTo>
                    <a:pt x="519" y="187"/>
                  </a:lnTo>
                  <a:lnTo>
                    <a:pt x="519" y="187"/>
                  </a:lnTo>
                  <a:lnTo>
                    <a:pt x="519" y="187"/>
                  </a:lnTo>
                  <a:lnTo>
                    <a:pt x="522" y="187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4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2" y="185"/>
                  </a:lnTo>
                  <a:lnTo>
                    <a:pt x="524" y="185"/>
                  </a:lnTo>
                  <a:lnTo>
                    <a:pt x="524" y="185"/>
                  </a:lnTo>
                  <a:lnTo>
                    <a:pt x="524" y="185"/>
                  </a:lnTo>
                  <a:lnTo>
                    <a:pt x="524" y="185"/>
                  </a:lnTo>
                  <a:lnTo>
                    <a:pt x="526" y="185"/>
                  </a:lnTo>
                  <a:lnTo>
                    <a:pt x="526" y="185"/>
                  </a:lnTo>
                  <a:lnTo>
                    <a:pt x="526" y="183"/>
                  </a:lnTo>
                  <a:lnTo>
                    <a:pt x="526" y="183"/>
                  </a:lnTo>
                  <a:lnTo>
                    <a:pt x="526" y="183"/>
                  </a:lnTo>
                  <a:lnTo>
                    <a:pt x="526" y="183"/>
                  </a:lnTo>
                  <a:lnTo>
                    <a:pt x="526" y="183"/>
                  </a:lnTo>
                  <a:lnTo>
                    <a:pt x="528" y="183"/>
                  </a:lnTo>
                  <a:lnTo>
                    <a:pt x="528" y="183"/>
                  </a:lnTo>
                  <a:lnTo>
                    <a:pt x="528" y="183"/>
                  </a:lnTo>
                  <a:lnTo>
                    <a:pt x="528" y="183"/>
                  </a:lnTo>
                  <a:lnTo>
                    <a:pt x="528" y="183"/>
                  </a:lnTo>
                  <a:lnTo>
                    <a:pt x="531" y="183"/>
                  </a:lnTo>
                  <a:lnTo>
                    <a:pt x="531" y="180"/>
                  </a:lnTo>
                  <a:lnTo>
                    <a:pt x="531" y="180"/>
                  </a:lnTo>
                  <a:lnTo>
                    <a:pt x="533" y="180"/>
                  </a:lnTo>
                  <a:lnTo>
                    <a:pt x="535" y="180"/>
                  </a:lnTo>
                  <a:lnTo>
                    <a:pt x="535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78"/>
                  </a:lnTo>
                  <a:lnTo>
                    <a:pt x="535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37" y="178"/>
                  </a:lnTo>
                  <a:lnTo>
                    <a:pt x="540" y="178"/>
                  </a:lnTo>
                  <a:lnTo>
                    <a:pt x="540" y="178"/>
                  </a:lnTo>
                  <a:lnTo>
                    <a:pt x="540" y="178"/>
                  </a:lnTo>
                  <a:lnTo>
                    <a:pt x="540" y="178"/>
                  </a:lnTo>
                  <a:lnTo>
                    <a:pt x="540" y="178"/>
                  </a:lnTo>
                  <a:lnTo>
                    <a:pt x="540" y="178"/>
                  </a:lnTo>
                  <a:lnTo>
                    <a:pt x="540" y="178"/>
                  </a:lnTo>
                  <a:lnTo>
                    <a:pt x="540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6"/>
                  </a:lnTo>
                  <a:lnTo>
                    <a:pt x="542" y="174"/>
                  </a:lnTo>
                  <a:lnTo>
                    <a:pt x="542" y="174"/>
                  </a:lnTo>
                  <a:lnTo>
                    <a:pt x="542" y="174"/>
                  </a:lnTo>
                  <a:lnTo>
                    <a:pt x="542" y="174"/>
                  </a:lnTo>
                  <a:lnTo>
                    <a:pt x="542" y="174"/>
                  </a:lnTo>
                  <a:lnTo>
                    <a:pt x="542" y="174"/>
                  </a:lnTo>
                  <a:lnTo>
                    <a:pt x="542" y="174"/>
                  </a:lnTo>
                  <a:lnTo>
                    <a:pt x="544" y="174"/>
                  </a:lnTo>
                  <a:lnTo>
                    <a:pt x="544" y="174"/>
                  </a:lnTo>
                  <a:lnTo>
                    <a:pt x="544" y="174"/>
                  </a:lnTo>
                  <a:lnTo>
                    <a:pt x="546" y="174"/>
                  </a:lnTo>
                  <a:lnTo>
                    <a:pt x="549" y="174"/>
                  </a:lnTo>
                  <a:lnTo>
                    <a:pt x="551" y="174"/>
                  </a:lnTo>
                  <a:lnTo>
                    <a:pt x="551" y="174"/>
                  </a:lnTo>
                  <a:lnTo>
                    <a:pt x="553" y="174"/>
                  </a:lnTo>
                  <a:lnTo>
                    <a:pt x="553" y="174"/>
                  </a:lnTo>
                  <a:lnTo>
                    <a:pt x="553" y="174"/>
                  </a:lnTo>
                  <a:lnTo>
                    <a:pt x="553" y="174"/>
                  </a:lnTo>
                  <a:lnTo>
                    <a:pt x="553" y="174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1" y="169"/>
                  </a:lnTo>
                  <a:lnTo>
                    <a:pt x="551" y="169"/>
                  </a:lnTo>
                  <a:lnTo>
                    <a:pt x="551" y="169"/>
                  </a:lnTo>
                  <a:lnTo>
                    <a:pt x="551" y="169"/>
                  </a:lnTo>
                  <a:lnTo>
                    <a:pt x="553" y="169"/>
                  </a:lnTo>
                  <a:lnTo>
                    <a:pt x="553" y="169"/>
                  </a:lnTo>
                  <a:lnTo>
                    <a:pt x="553" y="169"/>
                  </a:lnTo>
                  <a:lnTo>
                    <a:pt x="553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9"/>
                  </a:lnTo>
                  <a:lnTo>
                    <a:pt x="555" y="167"/>
                  </a:lnTo>
                  <a:lnTo>
                    <a:pt x="558" y="167"/>
                  </a:lnTo>
                  <a:lnTo>
                    <a:pt x="558" y="167"/>
                  </a:lnTo>
                  <a:lnTo>
                    <a:pt x="558" y="167"/>
                  </a:lnTo>
                  <a:lnTo>
                    <a:pt x="560" y="167"/>
                  </a:lnTo>
                  <a:lnTo>
                    <a:pt x="560" y="167"/>
                  </a:lnTo>
                  <a:lnTo>
                    <a:pt x="562" y="165"/>
                  </a:lnTo>
                  <a:lnTo>
                    <a:pt x="562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7" y="162"/>
                  </a:lnTo>
                  <a:lnTo>
                    <a:pt x="567" y="162"/>
                  </a:lnTo>
                  <a:lnTo>
                    <a:pt x="569" y="162"/>
                  </a:lnTo>
                  <a:lnTo>
                    <a:pt x="569" y="162"/>
                  </a:lnTo>
                  <a:lnTo>
                    <a:pt x="569" y="162"/>
                  </a:lnTo>
                  <a:lnTo>
                    <a:pt x="571" y="162"/>
                  </a:lnTo>
                  <a:lnTo>
                    <a:pt x="571" y="162"/>
                  </a:lnTo>
                  <a:lnTo>
                    <a:pt x="571" y="162"/>
                  </a:lnTo>
                  <a:lnTo>
                    <a:pt x="571" y="162"/>
                  </a:lnTo>
                  <a:lnTo>
                    <a:pt x="573" y="162"/>
                  </a:lnTo>
                  <a:lnTo>
                    <a:pt x="573" y="162"/>
                  </a:lnTo>
                  <a:lnTo>
                    <a:pt x="573" y="162"/>
                  </a:lnTo>
                  <a:lnTo>
                    <a:pt x="573" y="160"/>
                  </a:lnTo>
                  <a:lnTo>
                    <a:pt x="573" y="160"/>
                  </a:lnTo>
                  <a:lnTo>
                    <a:pt x="573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6" y="160"/>
                  </a:lnTo>
                  <a:lnTo>
                    <a:pt x="578" y="160"/>
                  </a:lnTo>
                  <a:lnTo>
                    <a:pt x="580" y="158"/>
                  </a:lnTo>
                  <a:lnTo>
                    <a:pt x="580" y="158"/>
                  </a:lnTo>
                  <a:lnTo>
                    <a:pt x="580" y="158"/>
                  </a:lnTo>
                  <a:lnTo>
                    <a:pt x="580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2" y="158"/>
                  </a:lnTo>
                  <a:lnTo>
                    <a:pt x="582" y="158"/>
                  </a:lnTo>
                  <a:lnTo>
                    <a:pt x="582" y="156"/>
                  </a:lnTo>
                  <a:lnTo>
                    <a:pt x="582" y="156"/>
                  </a:lnTo>
                  <a:lnTo>
                    <a:pt x="582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3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2" y="149"/>
                  </a:lnTo>
                  <a:lnTo>
                    <a:pt x="585" y="149"/>
                  </a:lnTo>
                  <a:lnTo>
                    <a:pt x="585" y="149"/>
                  </a:lnTo>
                  <a:lnTo>
                    <a:pt x="585" y="147"/>
                  </a:lnTo>
                  <a:lnTo>
                    <a:pt x="582" y="149"/>
                  </a:lnTo>
                  <a:lnTo>
                    <a:pt x="582" y="147"/>
                  </a:lnTo>
                  <a:lnTo>
                    <a:pt x="582" y="147"/>
                  </a:lnTo>
                  <a:lnTo>
                    <a:pt x="585" y="147"/>
                  </a:lnTo>
                  <a:lnTo>
                    <a:pt x="585" y="147"/>
                  </a:lnTo>
                  <a:lnTo>
                    <a:pt x="582" y="147"/>
                  </a:lnTo>
                  <a:lnTo>
                    <a:pt x="582" y="147"/>
                  </a:lnTo>
                  <a:lnTo>
                    <a:pt x="582" y="147"/>
                  </a:lnTo>
                  <a:lnTo>
                    <a:pt x="585" y="147"/>
                  </a:lnTo>
                  <a:lnTo>
                    <a:pt x="589" y="147"/>
                  </a:lnTo>
                  <a:lnTo>
                    <a:pt x="591" y="147"/>
                  </a:lnTo>
                  <a:lnTo>
                    <a:pt x="594" y="147"/>
                  </a:lnTo>
                  <a:lnTo>
                    <a:pt x="594" y="147"/>
                  </a:lnTo>
                  <a:lnTo>
                    <a:pt x="594" y="144"/>
                  </a:lnTo>
                  <a:lnTo>
                    <a:pt x="594" y="144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3" y="144"/>
                  </a:lnTo>
                  <a:lnTo>
                    <a:pt x="607" y="144"/>
                  </a:lnTo>
                  <a:lnTo>
                    <a:pt x="612" y="144"/>
                  </a:lnTo>
                  <a:lnTo>
                    <a:pt x="616" y="144"/>
                  </a:lnTo>
                  <a:lnTo>
                    <a:pt x="621" y="144"/>
                  </a:lnTo>
                  <a:lnTo>
                    <a:pt x="625" y="144"/>
                  </a:lnTo>
                  <a:lnTo>
                    <a:pt x="629" y="142"/>
                  </a:lnTo>
                  <a:lnTo>
                    <a:pt x="634" y="142"/>
                  </a:lnTo>
                  <a:close/>
                  <a:moveTo>
                    <a:pt x="980" y="142"/>
                  </a:moveTo>
                  <a:lnTo>
                    <a:pt x="980" y="142"/>
                  </a:lnTo>
                  <a:lnTo>
                    <a:pt x="980" y="142"/>
                  </a:lnTo>
                  <a:lnTo>
                    <a:pt x="980" y="142"/>
                  </a:lnTo>
                  <a:lnTo>
                    <a:pt x="978" y="142"/>
                  </a:lnTo>
                  <a:lnTo>
                    <a:pt x="975" y="142"/>
                  </a:lnTo>
                  <a:lnTo>
                    <a:pt x="975" y="142"/>
                  </a:lnTo>
                  <a:lnTo>
                    <a:pt x="975" y="144"/>
                  </a:lnTo>
                  <a:lnTo>
                    <a:pt x="973" y="144"/>
                  </a:lnTo>
                  <a:lnTo>
                    <a:pt x="971" y="144"/>
                  </a:lnTo>
                  <a:lnTo>
                    <a:pt x="971" y="144"/>
                  </a:lnTo>
                  <a:lnTo>
                    <a:pt x="971" y="144"/>
                  </a:lnTo>
                  <a:lnTo>
                    <a:pt x="971" y="144"/>
                  </a:lnTo>
                  <a:lnTo>
                    <a:pt x="971" y="144"/>
                  </a:lnTo>
                  <a:lnTo>
                    <a:pt x="971" y="144"/>
                  </a:lnTo>
                  <a:lnTo>
                    <a:pt x="971" y="144"/>
                  </a:lnTo>
                  <a:lnTo>
                    <a:pt x="971" y="142"/>
                  </a:lnTo>
                  <a:lnTo>
                    <a:pt x="973" y="142"/>
                  </a:lnTo>
                  <a:lnTo>
                    <a:pt x="973" y="142"/>
                  </a:lnTo>
                  <a:lnTo>
                    <a:pt x="975" y="142"/>
                  </a:lnTo>
                  <a:lnTo>
                    <a:pt x="975" y="142"/>
                  </a:lnTo>
                  <a:lnTo>
                    <a:pt x="978" y="142"/>
                  </a:lnTo>
                  <a:lnTo>
                    <a:pt x="975" y="142"/>
                  </a:lnTo>
                  <a:lnTo>
                    <a:pt x="978" y="142"/>
                  </a:lnTo>
                  <a:lnTo>
                    <a:pt x="978" y="140"/>
                  </a:lnTo>
                  <a:lnTo>
                    <a:pt x="980" y="140"/>
                  </a:lnTo>
                  <a:lnTo>
                    <a:pt x="980" y="142"/>
                  </a:lnTo>
                  <a:close/>
                  <a:moveTo>
                    <a:pt x="1007" y="142"/>
                  </a:moveTo>
                  <a:lnTo>
                    <a:pt x="1007" y="142"/>
                  </a:lnTo>
                  <a:lnTo>
                    <a:pt x="1007" y="142"/>
                  </a:lnTo>
                  <a:lnTo>
                    <a:pt x="1007" y="144"/>
                  </a:lnTo>
                  <a:lnTo>
                    <a:pt x="1005" y="144"/>
                  </a:lnTo>
                  <a:lnTo>
                    <a:pt x="1000" y="142"/>
                  </a:lnTo>
                  <a:lnTo>
                    <a:pt x="1000" y="142"/>
                  </a:lnTo>
                  <a:lnTo>
                    <a:pt x="1000" y="142"/>
                  </a:lnTo>
                  <a:lnTo>
                    <a:pt x="1000" y="142"/>
                  </a:lnTo>
                  <a:lnTo>
                    <a:pt x="1000" y="142"/>
                  </a:lnTo>
                  <a:lnTo>
                    <a:pt x="1000" y="142"/>
                  </a:lnTo>
                  <a:lnTo>
                    <a:pt x="1002" y="142"/>
                  </a:lnTo>
                  <a:lnTo>
                    <a:pt x="1002" y="142"/>
                  </a:lnTo>
                  <a:lnTo>
                    <a:pt x="1002" y="142"/>
                  </a:lnTo>
                  <a:lnTo>
                    <a:pt x="1002" y="140"/>
                  </a:lnTo>
                  <a:lnTo>
                    <a:pt x="1005" y="140"/>
                  </a:lnTo>
                  <a:lnTo>
                    <a:pt x="1005" y="140"/>
                  </a:lnTo>
                  <a:lnTo>
                    <a:pt x="1007" y="140"/>
                  </a:lnTo>
                  <a:lnTo>
                    <a:pt x="1007" y="142"/>
                  </a:lnTo>
                  <a:lnTo>
                    <a:pt x="1007" y="142"/>
                  </a:lnTo>
                  <a:close/>
                  <a:moveTo>
                    <a:pt x="785" y="131"/>
                  </a:moveTo>
                  <a:lnTo>
                    <a:pt x="785" y="131"/>
                  </a:lnTo>
                  <a:lnTo>
                    <a:pt x="785" y="131"/>
                  </a:lnTo>
                  <a:lnTo>
                    <a:pt x="785" y="131"/>
                  </a:lnTo>
                  <a:lnTo>
                    <a:pt x="785" y="131"/>
                  </a:lnTo>
                  <a:lnTo>
                    <a:pt x="785" y="131"/>
                  </a:lnTo>
                  <a:close/>
                  <a:moveTo>
                    <a:pt x="1245" y="129"/>
                  </a:move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close/>
                  <a:moveTo>
                    <a:pt x="901" y="129"/>
                  </a:moveTo>
                  <a:lnTo>
                    <a:pt x="901" y="129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901" y="131"/>
                  </a:lnTo>
                  <a:lnTo>
                    <a:pt x="897" y="133"/>
                  </a:lnTo>
                  <a:lnTo>
                    <a:pt x="897" y="133"/>
                  </a:lnTo>
                  <a:lnTo>
                    <a:pt x="890" y="133"/>
                  </a:lnTo>
                  <a:lnTo>
                    <a:pt x="890" y="133"/>
                  </a:lnTo>
                  <a:lnTo>
                    <a:pt x="890" y="133"/>
                  </a:lnTo>
                  <a:lnTo>
                    <a:pt x="888" y="133"/>
                  </a:lnTo>
                  <a:lnTo>
                    <a:pt x="888" y="133"/>
                  </a:lnTo>
                  <a:lnTo>
                    <a:pt x="886" y="133"/>
                  </a:lnTo>
                  <a:lnTo>
                    <a:pt x="886" y="133"/>
                  </a:lnTo>
                  <a:lnTo>
                    <a:pt x="883" y="133"/>
                  </a:lnTo>
                  <a:lnTo>
                    <a:pt x="883" y="133"/>
                  </a:lnTo>
                  <a:lnTo>
                    <a:pt x="883" y="131"/>
                  </a:lnTo>
                  <a:lnTo>
                    <a:pt x="883" y="131"/>
                  </a:lnTo>
                  <a:lnTo>
                    <a:pt x="883" y="131"/>
                  </a:lnTo>
                  <a:lnTo>
                    <a:pt x="883" y="131"/>
                  </a:lnTo>
                  <a:lnTo>
                    <a:pt x="886" y="131"/>
                  </a:lnTo>
                  <a:lnTo>
                    <a:pt x="886" y="131"/>
                  </a:lnTo>
                  <a:lnTo>
                    <a:pt x="886" y="131"/>
                  </a:lnTo>
                  <a:lnTo>
                    <a:pt x="886" y="131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88" y="129"/>
                  </a:lnTo>
                  <a:lnTo>
                    <a:pt x="890" y="129"/>
                  </a:lnTo>
                  <a:lnTo>
                    <a:pt x="890" y="129"/>
                  </a:lnTo>
                  <a:lnTo>
                    <a:pt x="890" y="129"/>
                  </a:lnTo>
                  <a:lnTo>
                    <a:pt x="890" y="129"/>
                  </a:lnTo>
                  <a:lnTo>
                    <a:pt x="895" y="126"/>
                  </a:lnTo>
                  <a:lnTo>
                    <a:pt x="897" y="126"/>
                  </a:lnTo>
                  <a:lnTo>
                    <a:pt x="899" y="126"/>
                  </a:lnTo>
                  <a:lnTo>
                    <a:pt x="901" y="126"/>
                  </a:lnTo>
                  <a:lnTo>
                    <a:pt x="901" y="126"/>
                  </a:lnTo>
                  <a:lnTo>
                    <a:pt x="901" y="126"/>
                  </a:lnTo>
                  <a:lnTo>
                    <a:pt x="901" y="126"/>
                  </a:lnTo>
                  <a:lnTo>
                    <a:pt x="904" y="126"/>
                  </a:lnTo>
                  <a:lnTo>
                    <a:pt x="904" y="126"/>
                  </a:lnTo>
                  <a:lnTo>
                    <a:pt x="904" y="129"/>
                  </a:lnTo>
                  <a:lnTo>
                    <a:pt x="901" y="129"/>
                  </a:lnTo>
                  <a:close/>
                  <a:moveTo>
                    <a:pt x="1133" y="124"/>
                  </a:moveTo>
                  <a:lnTo>
                    <a:pt x="1133" y="124"/>
                  </a:lnTo>
                  <a:lnTo>
                    <a:pt x="1133" y="124"/>
                  </a:lnTo>
                  <a:lnTo>
                    <a:pt x="1133" y="124"/>
                  </a:lnTo>
                  <a:close/>
                  <a:moveTo>
                    <a:pt x="1041" y="122"/>
                  </a:moveTo>
                  <a:lnTo>
                    <a:pt x="1043" y="126"/>
                  </a:lnTo>
                  <a:lnTo>
                    <a:pt x="1043" y="126"/>
                  </a:lnTo>
                  <a:lnTo>
                    <a:pt x="1043" y="126"/>
                  </a:lnTo>
                  <a:lnTo>
                    <a:pt x="1043" y="126"/>
                  </a:lnTo>
                  <a:lnTo>
                    <a:pt x="1045" y="126"/>
                  </a:lnTo>
                  <a:lnTo>
                    <a:pt x="1045" y="126"/>
                  </a:lnTo>
                  <a:lnTo>
                    <a:pt x="1045" y="126"/>
                  </a:lnTo>
                  <a:lnTo>
                    <a:pt x="1045" y="129"/>
                  </a:lnTo>
                  <a:lnTo>
                    <a:pt x="1045" y="129"/>
                  </a:lnTo>
                  <a:lnTo>
                    <a:pt x="1045" y="129"/>
                  </a:lnTo>
                  <a:lnTo>
                    <a:pt x="1045" y="129"/>
                  </a:lnTo>
                  <a:lnTo>
                    <a:pt x="1045" y="129"/>
                  </a:lnTo>
                  <a:lnTo>
                    <a:pt x="1043" y="129"/>
                  </a:lnTo>
                  <a:lnTo>
                    <a:pt x="1043" y="129"/>
                  </a:lnTo>
                  <a:lnTo>
                    <a:pt x="1045" y="129"/>
                  </a:lnTo>
                  <a:lnTo>
                    <a:pt x="1047" y="129"/>
                  </a:lnTo>
                  <a:lnTo>
                    <a:pt x="1045" y="129"/>
                  </a:lnTo>
                  <a:lnTo>
                    <a:pt x="1045" y="129"/>
                  </a:lnTo>
                  <a:lnTo>
                    <a:pt x="1045" y="131"/>
                  </a:lnTo>
                  <a:lnTo>
                    <a:pt x="1043" y="131"/>
                  </a:lnTo>
                  <a:lnTo>
                    <a:pt x="1043" y="131"/>
                  </a:lnTo>
                  <a:lnTo>
                    <a:pt x="1045" y="131"/>
                  </a:lnTo>
                  <a:lnTo>
                    <a:pt x="1045" y="131"/>
                  </a:lnTo>
                  <a:lnTo>
                    <a:pt x="1043" y="131"/>
                  </a:lnTo>
                  <a:lnTo>
                    <a:pt x="1043" y="133"/>
                  </a:lnTo>
                  <a:lnTo>
                    <a:pt x="1043" y="133"/>
                  </a:lnTo>
                  <a:lnTo>
                    <a:pt x="1043" y="133"/>
                  </a:lnTo>
                  <a:lnTo>
                    <a:pt x="1043" y="133"/>
                  </a:lnTo>
                  <a:lnTo>
                    <a:pt x="1043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3"/>
                  </a:lnTo>
                  <a:lnTo>
                    <a:pt x="1041" y="135"/>
                  </a:lnTo>
                  <a:lnTo>
                    <a:pt x="1041" y="135"/>
                  </a:lnTo>
                  <a:lnTo>
                    <a:pt x="1041" y="135"/>
                  </a:lnTo>
                  <a:lnTo>
                    <a:pt x="1041" y="135"/>
                  </a:lnTo>
                  <a:lnTo>
                    <a:pt x="1041" y="135"/>
                  </a:lnTo>
                  <a:lnTo>
                    <a:pt x="1041" y="135"/>
                  </a:lnTo>
                  <a:lnTo>
                    <a:pt x="1041" y="135"/>
                  </a:lnTo>
                  <a:lnTo>
                    <a:pt x="1038" y="138"/>
                  </a:lnTo>
                  <a:lnTo>
                    <a:pt x="1038" y="138"/>
                  </a:lnTo>
                  <a:lnTo>
                    <a:pt x="1038" y="138"/>
                  </a:lnTo>
                  <a:lnTo>
                    <a:pt x="1038" y="138"/>
                  </a:lnTo>
                  <a:lnTo>
                    <a:pt x="1036" y="138"/>
                  </a:lnTo>
                  <a:lnTo>
                    <a:pt x="1036" y="140"/>
                  </a:lnTo>
                  <a:lnTo>
                    <a:pt x="1036" y="140"/>
                  </a:lnTo>
                  <a:lnTo>
                    <a:pt x="1036" y="140"/>
                  </a:lnTo>
                  <a:lnTo>
                    <a:pt x="1036" y="140"/>
                  </a:lnTo>
                  <a:lnTo>
                    <a:pt x="1036" y="140"/>
                  </a:lnTo>
                  <a:lnTo>
                    <a:pt x="1036" y="140"/>
                  </a:lnTo>
                  <a:lnTo>
                    <a:pt x="1036" y="140"/>
                  </a:lnTo>
                  <a:lnTo>
                    <a:pt x="1034" y="140"/>
                  </a:lnTo>
                  <a:lnTo>
                    <a:pt x="1034" y="140"/>
                  </a:lnTo>
                  <a:lnTo>
                    <a:pt x="1025" y="140"/>
                  </a:lnTo>
                  <a:lnTo>
                    <a:pt x="1025" y="140"/>
                  </a:lnTo>
                  <a:lnTo>
                    <a:pt x="1025" y="140"/>
                  </a:lnTo>
                  <a:lnTo>
                    <a:pt x="1023" y="140"/>
                  </a:lnTo>
                  <a:lnTo>
                    <a:pt x="1020" y="140"/>
                  </a:lnTo>
                  <a:lnTo>
                    <a:pt x="1020" y="140"/>
                  </a:lnTo>
                  <a:lnTo>
                    <a:pt x="1016" y="140"/>
                  </a:lnTo>
                  <a:lnTo>
                    <a:pt x="1016" y="140"/>
                  </a:lnTo>
                  <a:lnTo>
                    <a:pt x="1016" y="140"/>
                  </a:lnTo>
                  <a:lnTo>
                    <a:pt x="1016" y="140"/>
                  </a:lnTo>
                  <a:lnTo>
                    <a:pt x="1016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4" y="140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11" y="138"/>
                  </a:lnTo>
                  <a:lnTo>
                    <a:pt x="1011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9" y="140"/>
                  </a:lnTo>
                  <a:lnTo>
                    <a:pt x="1007" y="140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9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7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5" y="138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5" y="135"/>
                  </a:lnTo>
                  <a:lnTo>
                    <a:pt x="1005" y="135"/>
                  </a:lnTo>
                  <a:lnTo>
                    <a:pt x="1005" y="135"/>
                  </a:lnTo>
                  <a:lnTo>
                    <a:pt x="1005" y="135"/>
                  </a:lnTo>
                  <a:lnTo>
                    <a:pt x="1005" y="135"/>
                  </a:lnTo>
                  <a:lnTo>
                    <a:pt x="1005" y="135"/>
                  </a:lnTo>
                  <a:lnTo>
                    <a:pt x="1005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5" y="133"/>
                  </a:lnTo>
                  <a:lnTo>
                    <a:pt x="1005" y="133"/>
                  </a:lnTo>
                  <a:lnTo>
                    <a:pt x="1005" y="133"/>
                  </a:lnTo>
                  <a:lnTo>
                    <a:pt x="1005" y="133"/>
                  </a:lnTo>
                  <a:lnTo>
                    <a:pt x="1005" y="133"/>
                  </a:lnTo>
                  <a:lnTo>
                    <a:pt x="1005" y="133"/>
                  </a:lnTo>
                  <a:lnTo>
                    <a:pt x="1005" y="133"/>
                  </a:lnTo>
                  <a:lnTo>
                    <a:pt x="1002" y="133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2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998" y="135"/>
                  </a:lnTo>
                  <a:lnTo>
                    <a:pt x="998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5"/>
                  </a:lnTo>
                  <a:lnTo>
                    <a:pt x="1000" y="133"/>
                  </a:lnTo>
                  <a:lnTo>
                    <a:pt x="1000" y="133"/>
                  </a:lnTo>
                  <a:lnTo>
                    <a:pt x="1000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5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998" y="133"/>
                  </a:lnTo>
                  <a:lnTo>
                    <a:pt x="1000" y="133"/>
                  </a:lnTo>
                  <a:lnTo>
                    <a:pt x="1000" y="133"/>
                  </a:lnTo>
                  <a:lnTo>
                    <a:pt x="1000" y="133"/>
                  </a:lnTo>
                  <a:lnTo>
                    <a:pt x="1000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2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5" y="131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11" y="129"/>
                  </a:lnTo>
                  <a:lnTo>
                    <a:pt x="1011" y="129"/>
                  </a:lnTo>
                  <a:lnTo>
                    <a:pt x="1011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11" y="129"/>
                  </a:lnTo>
                  <a:lnTo>
                    <a:pt x="1011" y="129"/>
                  </a:lnTo>
                  <a:lnTo>
                    <a:pt x="1014" y="129"/>
                  </a:lnTo>
                  <a:lnTo>
                    <a:pt x="1014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09" y="129"/>
                  </a:lnTo>
                  <a:lnTo>
                    <a:pt x="1011" y="129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9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6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6"/>
                  </a:lnTo>
                  <a:lnTo>
                    <a:pt x="1018" y="124"/>
                  </a:lnTo>
                  <a:lnTo>
                    <a:pt x="1023" y="124"/>
                  </a:lnTo>
                  <a:lnTo>
                    <a:pt x="1023" y="124"/>
                  </a:lnTo>
                  <a:lnTo>
                    <a:pt x="1025" y="124"/>
                  </a:lnTo>
                  <a:lnTo>
                    <a:pt x="1025" y="124"/>
                  </a:lnTo>
                  <a:lnTo>
                    <a:pt x="1025" y="124"/>
                  </a:lnTo>
                  <a:lnTo>
                    <a:pt x="1025" y="124"/>
                  </a:lnTo>
                  <a:lnTo>
                    <a:pt x="1025" y="124"/>
                  </a:lnTo>
                  <a:lnTo>
                    <a:pt x="1025" y="124"/>
                  </a:lnTo>
                  <a:lnTo>
                    <a:pt x="1027" y="124"/>
                  </a:lnTo>
                  <a:lnTo>
                    <a:pt x="1027" y="124"/>
                  </a:lnTo>
                  <a:lnTo>
                    <a:pt x="1027" y="124"/>
                  </a:lnTo>
                  <a:lnTo>
                    <a:pt x="1027" y="122"/>
                  </a:lnTo>
                  <a:lnTo>
                    <a:pt x="1027" y="122"/>
                  </a:lnTo>
                  <a:lnTo>
                    <a:pt x="1027" y="122"/>
                  </a:lnTo>
                  <a:lnTo>
                    <a:pt x="1029" y="124"/>
                  </a:lnTo>
                  <a:lnTo>
                    <a:pt x="1029" y="124"/>
                  </a:lnTo>
                  <a:lnTo>
                    <a:pt x="1029" y="124"/>
                  </a:lnTo>
                  <a:lnTo>
                    <a:pt x="1029" y="122"/>
                  </a:lnTo>
                  <a:lnTo>
                    <a:pt x="1029" y="122"/>
                  </a:lnTo>
                  <a:lnTo>
                    <a:pt x="1032" y="122"/>
                  </a:lnTo>
                  <a:lnTo>
                    <a:pt x="1032" y="122"/>
                  </a:lnTo>
                  <a:lnTo>
                    <a:pt x="1032" y="122"/>
                  </a:lnTo>
                  <a:lnTo>
                    <a:pt x="1032" y="122"/>
                  </a:lnTo>
                  <a:lnTo>
                    <a:pt x="1034" y="122"/>
                  </a:lnTo>
                  <a:lnTo>
                    <a:pt x="1034" y="122"/>
                  </a:lnTo>
                  <a:lnTo>
                    <a:pt x="1041" y="122"/>
                  </a:lnTo>
                  <a:close/>
                  <a:moveTo>
                    <a:pt x="1014" y="122"/>
                  </a:moveTo>
                  <a:lnTo>
                    <a:pt x="1016" y="122"/>
                  </a:lnTo>
                  <a:lnTo>
                    <a:pt x="1016" y="122"/>
                  </a:lnTo>
                  <a:lnTo>
                    <a:pt x="1018" y="122"/>
                  </a:lnTo>
                  <a:lnTo>
                    <a:pt x="1018" y="122"/>
                  </a:lnTo>
                  <a:lnTo>
                    <a:pt x="1018" y="122"/>
                  </a:lnTo>
                  <a:lnTo>
                    <a:pt x="1018" y="124"/>
                  </a:lnTo>
                  <a:lnTo>
                    <a:pt x="1018" y="124"/>
                  </a:lnTo>
                  <a:lnTo>
                    <a:pt x="1018" y="124"/>
                  </a:lnTo>
                  <a:lnTo>
                    <a:pt x="1018" y="124"/>
                  </a:lnTo>
                  <a:lnTo>
                    <a:pt x="1018" y="124"/>
                  </a:lnTo>
                  <a:lnTo>
                    <a:pt x="1016" y="124"/>
                  </a:lnTo>
                  <a:lnTo>
                    <a:pt x="1016" y="124"/>
                  </a:lnTo>
                  <a:lnTo>
                    <a:pt x="1016" y="124"/>
                  </a:lnTo>
                  <a:lnTo>
                    <a:pt x="1016" y="124"/>
                  </a:lnTo>
                  <a:lnTo>
                    <a:pt x="1016" y="124"/>
                  </a:lnTo>
                  <a:lnTo>
                    <a:pt x="1014" y="124"/>
                  </a:lnTo>
                  <a:lnTo>
                    <a:pt x="1014" y="124"/>
                  </a:lnTo>
                  <a:lnTo>
                    <a:pt x="1014" y="126"/>
                  </a:lnTo>
                  <a:lnTo>
                    <a:pt x="1014" y="126"/>
                  </a:lnTo>
                  <a:lnTo>
                    <a:pt x="1011" y="126"/>
                  </a:lnTo>
                  <a:lnTo>
                    <a:pt x="1011" y="126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09" y="124"/>
                  </a:lnTo>
                  <a:lnTo>
                    <a:pt x="1009" y="124"/>
                  </a:lnTo>
                  <a:lnTo>
                    <a:pt x="1009" y="124"/>
                  </a:lnTo>
                  <a:lnTo>
                    <a:pt x="1009" y="124"/>
                  </a:lnTo>
                  <a:lnTo>
                    <a:pt x="1009" y="124"/>
                  </a:lnTo>
                  <a:lnTo>
                    <a:pt x="1007" y="126"/>
                  </a:lnTo>
                  <a:lnTo>
                    <a:pt x="1007" y="126"/>
                  </a:lnTo>
                  <a:lnTo>
                    <a:pt x="1007" y="126"/>
                  </a:lnTo>
                  <a:lnTo>
                    <a:pt x="1007" y="126"/>
                  </a:lnTo>
                  <a:lnTo>
                    <a:pt x="1007" y="126"/>
                  </a:lnTo>
                  <a:lnTo>
                    <a:pt x="1007" y="126"/>
                  </a:lnTo>
                  <a:lnTo>
                    <a:pt x="1007" y="126"/>
                  </a:lnTo>
                  <a:lnTo>
                    <a:pt x="1005" y="126"/>
                  </a:lnTo>
                  <a:lnTo>
                    <a:pt x="1005" y="126"/>
                  </a:lnTo>
                  <a:lnTo>
                    <a:pt x="1005" y="126"/>
                  </a:lnTo>
                  <a:lnTo>
                    <a:pt x="1005" y="126"/>
                  </a:lnTo>
                  <a:lnTo>
                    <a:pt x="1005" y="126"/>
                  </a:lnTo>
                  <a:lnTo>
                    <a:pt x="1005" y="126"/>
                  </a:lnTo>
                  <a:lnTo>
                    <a:pt x="1005" y="126"/>
                  </a:lnTo>
                  <a:lnTo>
                    <a:pt x="1002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6"/>
                  </a:lnTo>
                  <a:lnTo>
                    <a:pt x="1000" y="124"/>
                  </a:lnTo>
                  <a:lnTo>
                    <a:pt x="1000" y="124"/>
                  </a:lnTo>
                  <a:lnTo>
                    <a:pt x="1007" y="124"/>
                  </a:lnTo>
                  <a:lnTo>
                    <a:pt x="1007" y="124"/>
                  </a:lnTo>
                  <a:lnTo>
                    <a:pt x="1009" y="124"/>
                  </a:lnTo>
                  <a:lnTo>
                    <a:pt x="1011" y="124"/>
                  </a:lnTo>
                  <a:lnTo>
                    <a:pt x="1011" y="124"/>
                  </a:lnTo>
                  <a:lnTo>
                    <a:pt x="1011" y="122"/>
                  </a:lnTo>
                  <a:lnTo>
                    <a:pt x="1011" y="122"/>
                  </a:lnTo>
                  <a:lnTo>
                    <a:pt x="1011" y="122"/>
                  </a:lnTo>
                  <a:lnTo>
                    <a:pt x="1014" y="122"/>
                  </a:lnTo>
                  <a:lnTo>
                    <a:pt x="1014" y="122"/>
                  </a:lnTo>
                  <a:close/>
                  <a:moveTo>
                    <a:pt x="838" y="122"/>
                  </a:move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close/>
                  <a:moveTo>
                    <a:pt x="670" y="120"/>
                  </a:moveTo>
                  <a:lnTo>
                    <a:pt x="668" y="120"/>
                  </a:lnTo>
                  <a:lnTo>
                    <a:pt x="668" y="120"/>
                  </a:lnTo>
                  <a:lnTo>
                    <a:pt x="668" y="120"/>
                  </a:lnTo>
                  <a:lnTo>
                    <a:pt x="668" y="120"/>
                  </a:lnTo>
                  <a:lnTo>
                    <a:pt x="670" y="120"/>
                  </a:lnTo>
                  <a:lnTo>
                    <a:pt x="672" y="120"/>
                  </a:lnTo>
                  <a:lnTo>
                    <a:pt x="672" y="120"/>
                  </a:lnTo>
                  <a:lnTo>
                    <a:pt x="672" y="120"/>
                  </a:lnTo>
                  <a:lnTo>
                    <a:pt x="672" y="120"/>
                  </a:lnTo>
                  <a:lnTo>
                    <a:pt x="672" y="120"/>
                  </a:lnTo>
                  <a:lnTo>
                    <a:pt x="672" y="120"/>
                  </a:lnTo>
                  <a:lnTo>
                    <a:pt x="672" y="120"/>
                  </a:lnTo>
                  <a:lnTo>
                    <a:pt x="672" y="117"/>
                  </a:lnTo>
                  <a:lnTo>
                    <a:pt x="674" y="117"/>
                  </a:lnTo>
                  <a:lnTo>
                    <a:pt x="674" y="117"/>
                  </a:lnTo>
                  <a:lnTo>
                    <a:pt x="674" y="117"/>
                  </a:lnTo>
                  <a:lnTo>
                    <a:pt x="674" y="117"/>
                  </a:lnTo>
                  <a:lnTo>
                    <a:pt x="674" y="117"/>
                  </a:lnTo>
                  <a:lnTo>
                    <a:pt x="674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4" y="120"/>
                  </a:lnTo>
                  <a:lnTo>
                    <a:pt x="674" y="120"/>
                  </a:lnTo>
                  <a:lnTo>
                    <a:pt x="674" y="120"/>
                  </a:lnTo>
                  <a:lnTo>
                    <a:pt x="672" y="120"/>
                  </a:lnTo>
                  <a:lnTo>
                    <a:pt x="670" y="120"/>
                  </a:lnTo>
                  <a:lnTo>
                    <a:pt x="670" y="120"/>
                  </a:lnTo>
                  <a:close/>
                  <a:moveTo>
                    <a:pt x="940" y="117"/>
                  </a:moveTo>
                  <a:lnTo>
                    <a:pt x="940" y="117"/>
                  </a:lnTo>
                  <a:lnTo>
                    <a:pt x="940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0" y="117"/>
                  </a:lnTo>
                  <a:lnTo>
                    <a:pt x="935" y="117"/>
                  </a:lnTo>
                  <a:lnTo>
                    <a:pt x="933" y="117"/>
                  </a:lnTo>
                  <a:lnTo>
                    <a:pt x="933" y="117"/>
                  </a:lnTo>
                  <a:lnTo>
                    <a:pt x="931" y="120"/>
                  </a:lnTo>
                  <a:lnTo>
                    <a:pt x="931" y="120"/>
                  </a:lnTo>
                  <a:lnTo>
                    <a:pt x="931" y="120"/>
                  </a:lnTo>
                  <a:lnTo>
                    <a:pt x="928" y="120"/>
                  </a:lnTo>
                  <a:lnTo>
                    <a:pt x="928" y="120"/>
                  </a:lnTo>
                  <a:lnTo>
                    <a:pt x="928" y="120"/>
                  </a:lnTo>
                  <a:lnTo>
                    <a:pt x="926" y="120"/>
                  </a:lnTo>
                  <a:lnTo>
                    <a:pt x="926" y="120"/>
                  </a:lnTo>
                  <a:lnTo>
                    <a:pt x="926" y="120"/>
                  </a:lnTo>
                  <a:lnTo>
                    <a:pt x="926" y="120"/>
                  </a:lnTo>
                  <a:lnTo>
                    <a:pt x="926" y="120"/>
                  </a:lnTo>
                  <a:lnTo>
                    <a:pt x="926" y="120"/>
                  </a:lnTo>
                  <a:lnTo>
                    <a:pt x="924" y="120"/>
                  </a:lnTo>
                  <a:lnTo>
                    <a:pt x="924" y="120"/>
                  </a:lnTo>
                  <a:lnTo>
                    <a:pt x="924" y="120"/>
                  </a:lnTo>
                  <a:lnTo>
                    <a:pt x="917" y="120"/>
                  </a:lnTo>
                  <a:lnTo>
                    <a:pt x="917" y="120"/>
                  </a:lnTo>
                  <a:lnTo>
                    <a:pt x="919" y="120"/>
                  </a:lnTo>
                  <a:lnTo>
                    <a:pt x="922" y="120"/>
                  </a:lnTo>
                  <a:lnTo>
                    <a:pt x="919" y="120"/>
                  </a:lnTo>
                  <a:lnTo>
                    <a:pt x="922" y="120"/>
                  </a:lnTo>
                  <a:lnTo>
                    <a:pt x="922" y="120"/>
                  </a:lnTo>
                  <a:lnTo>
                    <a:pt x="924" y="120"/>
                  </a:lnTo>
                  <a:lnTo>
                    <a:pt x="924" y="120"/>
                  </a:lnTo>
                  <a:lnTo>
                    <a:pt x="924" y="120"/>
                  </a:lnTo>
                  <a:lnTo>
                    <a:pt x="924" y="117"/>
                  </a:lnTo>
                  <a:lnTo>
                    <a:pt x="924" y="117"/>
                  </a:lnTo>
                  <a:lnTo>
                    <a:pt x="924" y="117"/>
                  </a:lnTo>
                  <a:lnTo>
                    <a:pt x="924" y="117"/>
                  </a:lnTo>
                  <a:lnTo>
                    <a:pt x="926" y="117"/>
                  </a:lnTo>
                  <a:lnTo>
                    <a:pt x="935" y="117"/>
                  </a:lnTo>
                  <a:lnTo>
                    <a:pt x="935" y="117"/>
                  </a:lnTo>
                  <a:lnTo>
                    <a:pt x="940" y="115"/>
                  </a:lnTo>
                  <a:lnTo>
                    <a:pt x="940" y="117"/>
                  </a:lnTo>
                  <a:close/>
                  <a:moveTo>
                    <a:pt x="1045" y="120"/>
                  </a:moveTo>
                  <a:lnTo>
                    <a:pt x="1038" y="120"/>
                  </a:lnTo>
                  <a:lnTo>
                    <a:pt x="1038" y="120"/>
                  </a:lnTo>
                  <a:lnTo>
                    <a:pt x="1038" y="120"/>
                  </a:lnTo>
                  <a:lnTo>
                    <a:pt x="1038" y="120"/>
                  </a:lnTo>
                  <a:lnTo>
                    <a:pt x="1038" y="120"/>
                  </a:lnTo>
                  <a:lnTo>
                    <a:pt x="1041" y="117"/>
                  </a:lnTo>
                  <a:lnTo>
                    <a:pt x="1041" y="117"/>
                  </a:lnTo>
                  <a:lnTo>
                    <a:pt x="1038" y="117"/>
                  </a:lnTo>
                  <a:lnTo>
                    <a:pt x="1038" y="117"/>
                  </a:lnTo>
                  <a:lnTo>
                    <a:pt x="1041" y="117"/>
                  </a:lnTo>
                  <a:lnTo>
                    <a:pt x="1041" y="117"/>
                  </a:lnTo>
                  <a:lnTo>
                    <a:pt x="1043" y="117"/>
                  </a:lnTo>
                  <a:lnTo>
                    <a:pt x="1045" y="115"/>
                  </a:lnTo>
                  <a:lnTo>
                    <a:pt x="1045" y="115"/>
                  </a:lnTo>
                  <a:lnTo>
                    <a:pt x="1047" y="115"/>
                  </a:lnTo>
                  <a:lnTo>
                    <a:pt x="1047" y="115"/>
                  </a:lnTo>
                  <a:lnTo>
                    <a:pt x="1047" y="117"/>
                  </a:lnTo>
                  <a:lnTo>
                    <a:pt x="1047" y="117"/>
                  </a:lnTo>
                  <a:lnTo>
                    <a:pt x="1045" y="117"/>
                  </a:lnTo>
                  <a:lnTo>
                    <a:pt x="1045" y="117"/>
                  </a:lnTo>
                  <a:lnTo>
                    <a:pt x="1045" y="117"/>
                  </a:lnTo>
                  <a:lnTo>
                    <a:pt x="1045" y="117"/>
                  </a:lnTo>
                  <a:lnTo>
                    <a:pt x="1045" y="117"/>
                  </a:lnTo>
                  <a:lnTo>
                    <a:pt x="1045" y="117"/>
                  </a:lnTo>
                  <a:lnTo>
                    <a:pt x="1045" y="117"/>
                  </a:lnTo>
                  <a:lnTo>
                    <a:pt x="1045" y="120"/>
                  </a:lnTo>
                  <a:lnTo>
                    <a:pt x="1045" y="120"/>
                  </a:lnTo>
                  <a:lnTo>
                    <a:pt x="1045" y="120"/>
                  </a:lnTo>
                  <a:lnTo>
                    <a:pt x="1045" y="120"/>
                  </a:lnTo>
                  <a:close/>
                  <a:moveTo>
                    <a:pt x="940" y="115"/>
                  </a:moveTo>
                  <a:lnTo>
                    <a:pt x="940" y="115"/>
                  </a:lnTo>
                  <a:lnTo>
                    <a:pt x="937" y="115"/>
                  </a:lnTo>
                  <a:lnTo>
                    <a:pt x="937" y="115"/>
                  </a:lnTo>
                  <a:lnTo>
                    <a:pt x="935" y="115"/>
                  </a:lnTo>
                  <a:lnTo>
                    <a:pt x="917" y="117"/>
                  </a:lnTo>
                  <a:lnTo>
                    <a:pt x="915" y="117"/>
                  </a:lnTo>
                  <a:lnTo>
                    <a:pt x="913" y="117"/>
                  </a:lnTo>
                  <a:lnTo>
                    <a:pt x="913" y="117"/>
                  </a:lnTo>
                  <a:lnTo>
                    <a:pt x="913" y="117"/>
                  </a:lnTo>
                  <a:lnTo>
                    <a:pt x="913" y="117"/>
                  </a:lnTo>
                  <a:lnTo>
                    <a:pt x="913" y="117"/>
                  </a:lnTo>
                  <a:lnTo>
                    <a:pt x="913" y="117"/>
                  </a:lnTo>
                  <a:lnTo>
                    <a:pt x="915" y="117"/>
                  </a:lnTo>
                  <a:lnTo>
                    <a:pt x="917" y="115"/>
                  </a:lnTo>
                  <a:lnTo>
                    <a:pt x="922" y="115"/>
                  </a:lnTo>
                  <a:lnTo>
                    <a:pt x="924" y="115"/>
                  </a:lnTo>
                  <a:lnTo>
                    <a:pt x="926" y="115"/>
                  </a:lnTo>
                  <a:lnTo>
                    <a:pt x="926" y="115"/>
                  </a:lnTo>
                  <a:lnTo>
                    <a:pt x="928" y="115"/>
                  </a:lnTo>
                  <a:lnTo>
                    <a:pt x="928" y="115"/>
                  </a:lnTo>
                  <a:lnTo>
                    <a:pt x="928" y="115"/>
                  </a:lnTo>
                  <a:lnTo>
                    <a:pt x="937" y="115"/>
                  </a:lnTo>
                  <a:lnTo>
                    <a:pt x="940" y="115"/>
                  </a:lnTo>
                  <a:lnTo>
                    <a:pt x="940" y="115"/>
                  </a:lnTo>
                  <a:close/>
                  <a:moveTo>
                    <a:pt x="726" y="113"/>
                  </a:moveTo>
                  <a:lnTo>
                    <a:pt x="726" y="113"/>
                  </a:lnTo>
                  <a:lnTo>
                    <a:pt x="728" y="113"/>
                  </a:lnTo>
                  <a:lnTo>
                    <a:pt x="728" y="113"/>
                  </a:lnTo>
                  <a:lnTo>
                    <a:pt x="728" y="115"/>
                  </a:lnTo>
                  <a:lnTo>
                    <a:pt x="728" y="115"/>
                  </a:lnTo>
                  <a:lnTo>
                    <a:pt x="728" y="115"/>
                  </a:lnTo>
                  <a:lnTo>
                    <a:pt x="726" y="115"/>
                  </a:lnTo>
                  <a:lnTo>
                    <a:pt x="726" y="115"/>
                  </a:lnTo>
                  <a:lnTo>
                    <a:pt x="726" y="115"/>
                  </a:lnTo>
                  <a:lnTo>
                    <a:pt x="726" y="115"/>
                  </a:lnTo>
                  <a:lnTo>
                    <a:pt x="724" y="115"/>
                  </a:lnTo>
                  <a:lnTo>
                    <a:pt x="724" y="115"/>
                  </a:lnTo>
                  <a:lnTo>
                    <a:pt x="724" y="117"/>
                  </a:lnTo>
                  <a:lnTo>
                    <a:pt x="724" y="117"/>
                  </a:lnTo>
                  <a:lnTo>
                    <a:pt x="724" y="117"/>
                  </a:lnTo>
                  <a:lnTo>
                    <a:pt x="722" y="117"/>
                  </a:lnTo>
                  <a:lnTo>
                    <a:pt x="722" y="117"/>
                  </a:lnTo>
                  <a:lnTo>
                    <a:pt x="719" y="117"/>
                  </a:lnTo>
                  <a:lnTo>
                    <a:pt x="719" y="117"/>
                  </a:lnTo>
                  <a:lnTo>
                    <a:pt x="717" y="117"/>
                  </a:lnTo>
                  <a:lnTo>
                    <a:pt x="717" y="117"/>
                  </a:lnTo>
                  <a:lnTo>
                    <a:pt x="717" y="117"/>
                  </a:lnTo>
                  <a:lnTo>
                    <a:pt x="717" y="117"/>
                  </a:lnTo>
                  <a:lnTo>
                    <a:pt x="717" y="120"/>
                  </a:lnTo>
                  <a:lnTo>
                    <a:pt x="717" y="120"/>
                  </a:lnTo>
                  <a:lnTo>
                    <a:pt x="717" y="120"/>
                  </a:lnTo>
                  <a:lnTo>
                    <a:pt x="717" y="120"/>
                  </a:lnTo>
                  <a:lnTo>
                    <a:pt x="717" y="120"/>
                  </a:lnTo>
                  <a:lnTo>
                    <a:pt x="717" y="120"/>
                  </a:lnTo>
                  <a:lnTo>
                    <a:pt x="715" y="120"/>
                  </a:lnTo>
                  <a:lnTo>
                    <a:pt x="715" y="120"/>
                  </a:lnTo>
                  <a:lnTo>
                    <a:pt x="715" y="120"/>
                  </a:lnTo>
                  <a:lnTo>
                    <a:pt x="715" y="120"/>
                  </a:lnTo>
                  <a:lnTo>
                    <a:pt x="715" y="120"/>
                  </a:lnTo>
                  <a:lnTo>
                    <a:pt x="715" y="120"/>
                  </a:lnTo>
                  <a:lnTo>
                    <a:pt x="713" y="120"/>
                  </a:lnTo>
                  <a:lnTo>
                    <a:pt x="713" y="120"/>
                  </a:lnTo>
                  <a:lnTo>
                    <a:pt x="713" y="120"/>
                  </a:lnTo>
                  <a:lnTo>
                    <a:pt x="713" y="120"/>
                  </a:lnTo>
                  <a:lnTo>
                    <a:pt x="713" y="120"/>
                  </a:lnTo>
                  <a:lnTo>
                    <a:pt x="713" y="122"/>
                  </a:lnTo>
                  <a:lnTo>
                    <a:pt x="713" y="122"/>
                  </a:lnTo>
                  <a:lnTo>
                    <a:pt x="706" y="122"/>
                  </a:lnTo>
                  <a:lnTo>
                    <a:pt x="706" y="122"/>
                  </a:lnTo>
                  <a:lnTo>
                    <a:pt x="706" y="122"/>
                  </a:lnTo>
                  <a:lnTo>
                    <a:pt x="706" y="124"/>
                  </a:lnTo>
                  <a:lnTo>
                    <a:pt x="699" y="124"/>
                  </a:lnTo>
                  <a:lnTo>
                    <a:pt x="697" y="124"/>
                  </a:lnTo>
                  <a:lnTo>
                    <a:pt x="697" y="124"/>
                  </a:lnTo>
                  <a:lnTo>
                    <a:pt x="697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7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2" y="124"/>
                  </a:lnTo>
                  <a:lnTo>
                    <a:pt x="692" y="124"/>
                  </a:lnTo>
                  <a:lnTo>
                    <a:pt x="690" y="124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0" y="122"/>
                  </a:lnTo>
                  <a:lnTo>
                    <a:pt x="692" y="122"/>
                  </a:lnTo>
                  <a:lnTo>
                    <a:pt x="699" y="120"/>
                  </a:lnTo>
                  <a:lnTo>
                    <a:pt x="699" y="120"/>
                  </a:lnTo>
                  <a:lnTo>
                    <a:pt x="699" y="120"/>
                  </a:lnTo>
                  <a:lnTo>
                    <a:pt x="701" y="120"/>
                  </a:lnTo>
                  <a:lnTo>
                    <a:pt x="704" y="120"/>
                  </a:lnTo>
                  <a:lnTo>
                    <a:pt x="704" y="120"/>
                  </a:lnTo>
                  <a:lnTo>
                    <a:pt x="704" y="120"/>
                  </a:lnTo>
                  <a:lnTo>
                    <a:pt x="706" y="117"/>
                  </a:lnTo>
                  <a:lnTo>
                    <a:pt x="708" y="117"/>
                  </a:lnTo>
                  <a:lnTo>
                    <a:pt x="708" y="117"/>
                  </a:lnTo>
                  <a:lnTo>
                    <a:pt x="715" y="117"/>
                  </a:lnTo>
                  <a:lnTo>
                    <a:pt x="715" y="117"/>
                  </a:lnTo>
                  <a:lnTo>
                    <a:pt x="715" y="117"/>
                  </a:lnTo>
                  <a:lnTo>
                    <a:pt x="717" y="115"/>
                  </a:lnTo>
                  <a:lnTo>
                    <a:pt x="717" y="115"/>
                  </a:lnTo>
                  <a:lnTo>
                    <a:pt x="717" y="115"/>
                  </a:lnTo>
                  <a:lnTo>
                    <a:pt x="719" y="115"/>
                  </a:lnTo>
                  <a:lnTo>
                    <a:pt x="719" y="115"/>
                  </a:lnTo>
                  <a:lnTo>
                    <a:pt x="719" y="115"/>
                  </a:lnTo>
                  <a:lnTo>
                    <a:pt x="722" y="115"/>
                  </a:lnTo>
                  <a:lnTo>
                    <a:pt x="722" y="115"/>
                  </a:lnTo>
                  <a:lnTo>
                    <a:pt x="722" y="115"/>
                  </a:lnTo>
                  <a:lnTo>
                    <a:pt x="724" y="113"/>
                  </a:lnTo>
                  <a:lnTo>
                    <a:pt x="726" y="113"/>
                  </a:lnTo>
                  <a:close/>
                  <a:moveTo>
                    <a:pt x="1265" y="113"/>
                  </a:moveTo>
                  <a:lnTo>
                    <a:pt x="1265" y="113"/>
                  </a:lnTo>
                  <a:lnTo>
                    <a:pt x="1265" y="113"/>
                  </a:lnTo>
                  <a:lnTo>
                    <a:pt x="1265" y="113"/>
                  </a:lnTo>
                  <a:lnTo>
                    <a:pt x="1268" y="113"/>
                  </a:lnTo>
                  <a:lnTo>
                    <a:pt x="1268" y="115"/>
                  </a:lnTo>
                  <a:lnTo>
                    <a:pt x="1268" y="115"/>
                  </a:lnTo>
                  <a:lnTo>
                    <a:pt x="1265" y="115"/>
                  </a:lnTo>
                  <a:lnTo>
                    <a:pt x="1265" y="115"/>
                  </a:lnTo>
                  <a:lnTo>
                    <a:pt x="1261" y="115"/>
                  </a:lnTo>
                  <a:lnTo>
                    <a:pt x="1261" y="117"/>
                  </a:lnTo>
                  <a:lnTo>
                    <a:pt x="1259" y="117"/>
                  </a:lnTo>
                  <a:lnTo>
                    <a:pt x="1259" y="117"/>
                  </a:lnTo>
                  <a:lnTo>
                    <a:pt x="1259" y="117"/>
                  </a:lnTo>
                  <a:lnTo>
                    <a:pt x="1261" y="117"/>
                  </a:lnTo>
                  <a:lnTo>
                    <a:pt x="1261" y="117"/>
                  </a:lnTo>
                  <a:lnTo>
                    <a:pt x="1263" y="117"/>
                  </a:lnTo>
                  <a:lnTo>
                    <a:pt x="1261" y="120"/>
                  </a:lnTo>
                  <a:lnTo>
                    <a:pt x="1261" y="120"/>
                  </a:lnTo>
                  <a:lnTo>
                    <a:pt x="1261" y="117"/>
                  </a:lnTo>
                  <a:lnTo>
                    <a:pt x="1259" y="120"/>
                  </a:lnTo>
                  <a:lnTo>
                    <a:pt x="1259" y="117"/>
                  </a:lnTo>
                  <a:lnTo>
                    <a:pt x="1261" y="117"/>
                  </a:lnTo>
                  <a:lnTo>
                    <a:pt x="1261" y="117"/>
                  </a:lnTo>
                  <a:lnTo>
                    <a:pt x="1261" y="117"/>
                  </a:lnTo>
                  <a:lnTo>
                    <a:pt x="1259" y="117"/>
                  </a:lnTo>
                  <a:lnTo>
                    <a:pt x="1256" y="117"/>
                  </a:lnTo>
                  <a:lnTo>
                    <a:pt x="1256" y="117"/>
                  </a:lnTo>
                  <a:lnTo>
                    <a:pt x="1254" y="117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4" y="120"/>
                  </a:lnTo>
                  <a:lnTo>
                    <a:pt x="1252" y="120"/>
                  </a:lnTo>
                  <a:lnTo>
                    <a:pt x="1252" y="120"/>
                  </a:lnTo>
                  <a:lnTo>
                    <a:pt x="1252" y="120"/>
                  </a:lnTo>
                  <a:lnTo>
                    <a:pt x="1252" y="120"/>
                  </a:lnTo>
                  <a:lnTo>
                    <a:pt x="1252" y="120"/>
                  </a:lnTo>
                  <a:lnTo>
                    <a:pt x="1252" y="117"/>
                  </a:lnTo>
                  <a:lnTo>
                    <a:pt x="1252" y="117"/>
                  </a:lnTo>
                  <a:lnTo>
                    <a:pt x="1252" y="117"/>
                  </a:lnTo>
                  <a:lnTo>
                    <a:pt x="1252" y="117"/>
                  </a:lnTo>
                  <a:lnTo>
                    <a:pt x="1252" y="117"/>
                  </a:lnTo>
                  <a:lnTo>
                    <a:pt x="1250" y="117"/>
                  </a:lnTo>
                  <a:lnTo>
                    <a:pt x="1250" y="117"/>
                  </a:lnTo>
                  <a:lnTo>
                    <a:pt x="1252" y="117"/>
                  </a:lnTo>
                  <a:lnTo>
                    <a:pt x="1252" y="117"/>
                  </a:lnTo>
                  <a:lnTo>
                    <a:pt x="1252" y="117"/>
                  </a:lnTo>
                  <a:lnTo>
                    <a:pt x="1254" y="117"/>
                  </a:lnTo>
                  <a:lnTo>
                    <a:pt x="1254" y="117"/>
                  </a:lnTo>
                  <a:lnTo>
                    <a:pt x="1254" y="117"/>
                  </a:lnTo>
                  <a:lnTo>
                    <a:pt x="1254" y="117"/>
                  </a:lnTo>
                  <a:lnTo>
                    <a:pt x="1254" y="117"/>
                  </a:lnTo>
                  <a:lnTo>
                    <a:pt x="1254" y="117"/>
                  </a:lnTo>
                  <a:lnTo>
                    <a:pt x="1254" y="117"/>
                  </a:lnTo>
                  <a:lnTo>
                    <a:pt x="1256" y="115"/>
                  </a:lnTo>
                  <a:lnTo>
                    <a:pt x="1256" y="115"/>
                  </a:lnTo>
                  <a:lnTo>
                    <a:pt x="1259" y="115"/>
                  </a:lnTo>
                  <a:lnTo>
                    <a:pt x="1259" y="115"/>
                  </a:lnTo>
                  <a:lnTo>
                    <a:pt x="1259" y="115"/>
                  </a:lnTo>
                  <a:lnTo>
                    <a:pt x="1261" y="115"/>
                  </a:lnTo>
                  <a:lnTo>
                    <a:pt x="1261" y="115"/>
                  </a:lnTo>
                  <a:lnTo>
                    <a:pt x="1261" y="115"/>
                  </a:lnTo>
                  <a:lnTo>
                    <a:pt x="1261" y="115"/>
                  </a:lnTo>
                  <a:lnTo>
                    <a:pt x="1263" y="115"/>
                  </a:lnTo>
                  <a:lnTo>
                    <a:pt x="1263" y="115"/>
                  </a:lnTo>
                  <a:lnTo>
                    <a:pt x="1263" y="113"/>
                  </a:lnTo>
                  <a:lnTo>
                    <a:pt x="1263" y="113"/>
                  </a:lnTo>
                  <a:lnTo>
                    <a:pt x="1265" y="113"/>
                  </a:lnTo>
                  <a:close/>
                  <a:moveTo>
                    <a:pt x="1234" y="113"/>
                  </a:moveTo>
                  <a:lnTo>
                    <a:pt x="1232" y="113"/>
                  </a:lnTo>
                  <a:lnTo>
                    <a:pt x="1232" y="113"/>
                  </a:lnTo>
                  <a:lnTo>
                    <a:pt x="1232" y="113"/>
                  </a:lnTo>
                  <a:lnTo>
                    <a:pt x="1232" y="113"/>
                  </a:lnTo>
                  <a:lnTo>
                    <a:pt x="1234" y="113"/>
                  </a:lnTo>
                  <a:lnTo>
                    <a:pt x="1234" y="113"/>
                  </a:lnTo>
                  <a:lnTo>
                    <a:pt x="1234" y="113"/>
                  </a:lnTo>
                  <a:lnTo>
                    <a:pt x="1236" y="113"/>
                  </a:lnTo>
                  <a:lnTo>
                    <a:pt x="1234" y="113"/>
                  </a:lnTo>
                  <a:lnTo>
                    <a:pt x="1234" y="113"/>
                  </a:lnTo>
                  <a:lnTo>
                    <a:pt x="1234" y="113"/>
                  </a:lnTo>
                  <a:close/>
                  <a:moveTo>
                    <a:pt x="940" y="111"/>
                  </a:moveTo>
                  <a:lnTo>
                    <a:pt x="940" y="111"/>
                  </a:lnTo>
                  <a:lnTo>
                    <a:pt x="940" y="111"/>
                  </a:lnTo>
                  <a:lnTo>
                    <a:pt x="940" y="113"/>
                  </a:lnTo>
                  <a:lnTo>
                    <a:pt x="937" y="113"/>
                  </a:lnTo>
                  <a:lnTo>
                    <a:pt x="937" y="113"/>
                  </a:lnTo>
                  <a:lnTo>
                    <a:pt x="937" y="113"/>
                  </a:lnTo>
                  <a:lnTo>
                    <a:pt x="937" y="113"/>
                  </a:lnTo>
                  <a:lnTo>
                    <a:pt x="937" y="113"/>
                  </a:lnTo>
                  <a:lnTo>
                    <a:pt x="937" y="113"/>
                  </a:lnTo>
                  <a:lnTo>
                    <a:pt x="935" y="113"/>
                  </a:lnTo>
                  <a:lnTo>
                    <a:pt x="933" y="115"/>
                  </a:lnTo>
                  <a:lnTo>
                    <a:pt x="926" y="115"/>
                  </a:lnTo>
                  <a:lnTo>
                    <a:pt x="926" y="115"/>
                  </a:lnTo>
                  <a:lnTo>
                    <a:pt x="917" y="115"/>
                  </a:lnTo>
                  <a:lnTo>
                    <a:pt x="915" y="115"/>
                  </a:lnTo>
                  <a:lnTo>
                    <a:pt x="917" y="115"/>
                  </a:lnTo>
                  <a:lnTo>
                    <a:pt x="917" y="115"/>
                  </a:lnTo>
                  <a:lnTo>
                    <a:pt x="915" y="115"/>
                  </a:lnTo>
                  <a:lnTo>
                    <a:pt x="915" y="115"/>
                  </a:lnTo>
                  <a:lnTo>
                    <a:pt x="915" y="115"/>
                  </a:lnTo>
                  <a:lnTo>
                    <a:pt x="910" y="115"/>
                  </a:lnTo>
                  <a:lnTo>
                    <a:pt x="910" y="115"/>
                  </a:lnTo>
                  <a:lnTo>
                    <a:pt x="910" y="115"/>
                  </a:lnTo>
                  <a:lnTo>
                    <a:pt x="910" y="113"/>
                  </a:lnTo>
                  <a:lnTo>
                    <a:pt x="910" y="113"/>
                  </a:lnTo>
                  <a:lnTo>
                    <a:pt x="910" y="113"/>
                  </a:lnTo>
                  <a:lnTo>
                    <a:pt x="910" y="113"/>
                  </a:lnTo>
                  <a:lnTo>
                    <a:pt x="913" y="113"/>
                  </a:lnTo>
                  <a:lnTo>
                    <a:pt x="913" y="113"/>
                  </a:lnTo>
                  <a:lnTo>
                    <a:pt x="913" y="113"/>
                  </a:lnTo>
                  <a:lnTo>
                    <a:pt x="913" y="113"/>
                  </a:lnTo>
                  <a:lnTo>
                    <a:pt x="915" y="113"/>
                  </a:lnTo>
                  <a:lnTo>
                    <a:pt x="915" y="113"/>
                  </a:lnTo>
                  <a:lnTo>
                    <a:pt x="917" y="111"/>
                  </a:lnTo>
                  <a:lnTo>
                    <a:pt x="917" y="113"/>
                  </a:lnTo>
                  <a:lnTo>
                    <a:pt x="917" y="113"/>
                  </a:lnTo>
                  <a:lnTo>
                    <a:pt x="917" y="111"/>
                  </a:lnTo>
                  <a:lnTo>
                    <a:pt x="922" y="111"/>
                  </a:lnTo>
                  <a:lnTo>
                    <a:pt x="922" y="111"/>
                  </a:lnTo>
                  <a:lnTo>
                    <a:pt x="922" y="111"/>
                  </a:lnTo>
                  <a:lnTo>
                    <a:pt x="924" y="111"/>
                  </a:lnTo>
                  <a:lnTo>
                    <a:pt x="926" y="111"/>
                  </a:lnTo>
                  <a:lnTo>
                    <a:pt x="926" y="111"/>
                  </a:lnTo>
                  <a:lnTo>
                    <a:pt x="926" y="111"/>
                  </a:lnTo>
                  <a:lnTo>
                    <a:pt x="928" y="111"/>
                  </a:lnTo>
                  <a:lnTo>
                    <a:pt x="928" y="111"/>
                  </a:lnTo>
                  <a:lnTo>
                    <a:pt x="940" y="111"/>
                  </a:lnTo>
                  <a:lnTo>
                    <a:pt x="940" y="111"/>
                  </a:lnTo>
                  <a:lnTo>
                    <a:pt x="940" y="111"/>
                  </a:lnTo>
                  <a:close/>
                  <a:moveTo>
                    <a:pt x="1211" y="108"/>
                  </a:moveTo>
                  <a:lnTo>
                    <a:pt x="1211" y="108"/>
                  </a:lnTo>
                  <a:lnTo>
                    <a:pt x="1211" y="108"/>
                  </a:lnTo>
                  <a:lnTo>
                    <a:pt x="1211" y="108"/>
                  </a:lnTo>
                  <a:close/>
                  <a:moveTo>
                    <a:pt x="1126" y="106"/>
                  </a:moveTo>
                  <a:lnTo>
                    <a:pt x="1126" y="108"/>
                  </a:lnTo>
                  <a:lnTo>
                    <a:pt x="1126" y="106"/>
                  </a:lnTo>
                  <a:lnTo>
                    <a:pt x="1126" y="108"/>
                  </a:lnTo>
                  <a:lnTo>
                    <a:pt x="1126" y="108"/>
                  </a:lnTo>
                  <a:lnTo>
                    <a:pt x="1126" y="108"/>
                  </a:lnTo>
                  <a:lnTo>
                    <a:pt x="1124" y="108"/>
                  </a:lnTo>
                  <a:lnTo>
                    <a:pt x="1124" y="108"/>
                  </a:lnTo>
                  <a:lnTo>
                    <a:pt x="1124" y="106"/>
                  </a:lnTo>
                  <a:lnTo>
                    <a:pt x="1126" y="106"/>
                  </a:lnTo>
                  <a:close/>
                  <a:moveTo>
                    <a:pt x="1200" y="108"/>
                  </a:moveTo>
                  <a:lnTo>
                    <a:pt x="1200" y="108"/>
                  </a:lnTo>
                  <a:lnTo>
                    <a:pt x="1200" y="108"/>
                  </a:lnTo>
                  <a:lnTo>
                    <a:pt x="1200" y="108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2" y="106"/>
                  </a:lnTo>
                  <a:lnTo>
                    <a:pt x="1202" y="106"/>
                  </a:lnTo>
                  <a:lnTo>
                    <a:pt x="1202" y="106"/>
                  </a:lnTo>
                  <a:lnTo>
                    <a:pt x="1202" y="108"/>
                  </a:lnTo>
                  <a:lnTo>
                    <a:pt x="1202" y="108"/>
                  </a:lnTo>
                  <a:lnTo>
                    <a:pt x="1200" y="108"/>
                  </a:lnTo>
                  <a:close/>
                  <a:moveTo>
                    <a:pt x="928" y="104"/>
                  </a:moveTo>
                  <a:lnTo>
                    <a:pt x="926" y="106"/>
                  </a:lnTo>
                  <a:lnTo>
                    <a:pt x="926" y="106"/>
                  </a:lnTo>
                  <a:lnTo>
                    <a:pt x="928" y="106"/>
                  </a:lnTo>
                  <a:lnTo>
                    <a:pt x="928" y="106"/>
                  </a:lnTo>
                  <a:lnTo>
                    <a:pt x="931" y="104"/>
                  </a:lnTo>
                  <a:lnTo>
                    <a:pt x="931" y="104"/>
                  </a:lnTo>
                  <a:lnTo>
                    <a:pt x="931" y="104"/>
                  </a:lnTo>
                  <a:lnTo>
                    <a:pt x="931" y="104"/>
                  </a:lnTo>
                  <a:lnTo>
                    <a:pt x="931" y="106"/>
                  </a:lnTo>
                  <a:lnTo>
                    <a:pt x="933" y="106"/>
                  </a:lnTo>
                  <a:lnTo>
                    <a:pt x="933" y="106"/>
                  </a:lnTo>
                  <a:lnTo>
                    <a:pt x="933" y="106"/>
                  </a:lnTo>
                  <a:lnTo>
                    <a:pt x="933" y="106"/>
                  </a:lnTo>
                  <a:lnTo>
                    <a:pt x="931" y="106"/>
                  </a:lnTo>
                  <a:lnTo>
                    <a:pt x="931" y="106"/>
                  </a:lnTo>
                  <a:lnTo>
                    <a:pt x="933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5" y="106"/>
                  </a:lnTo>
                  <a:lnTo>
                    <a:pt x="937" y="108"/>
                  </a:lnTo>
                  <a:lnTo>
                    <a:pt x="937" y="108"/>
                  </a:lnTo>
                  <a:lnTo>
                    <a:pt x="937" y="108"/>
                  </a:lnTo>
                  <a:lnTo>
                    <a:pt x="937" y="108"/>
                  </a:lnTo>
                  <a:lnTo>
                    <a:pt x="931" y="111"/>
                  </a:lnTo>
                  <a:lnTo>
                    <a:pt x="924" y="111"/>
                  </a:lnTo>
                  <a:lnTo>
                    <a:pt x="922" y="111"/>
                  </a:lnTo>
                  <a:lnTo>
                    <a:pt x="917" y="111"/>
                  </a:lnTo>
                  <a:lnTo>
                    <a:pt x="915" y="111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7" y="108"/>
                  </a:lnTo>
                  <a:lnTo>
                    <a:pt x="919" y="108"/>
                  </a:lnTo>
                  <a:lnTo>
                    <a:pt x="919" y="108"/>
                  </a:lnTo>
                  <a:lnTo>
                    <a:pt x="919" y="106"/>
                  </a:lnTo>
                  <a:lnTo>
                    <a:pt x="919" y="106"/>
                  </a:lnTo>
                  <a:lnTo>
                    <a:pt x="919" y="106"/>
                  </a:lnTo>
                  <a:lnTo>
                    <a:pt x="919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6"/>
                  </a:lnTo>
                  <a:lnTo>
                    <a:pt x="917" y="104"/>
                  </a:lnTo>
                  <a:lnTo>
                    <a:pt x="919" y="104"/>
                  </a:lnTo>
                  <a:lnTo>
                    <a:pt x="924" y="104"/>
                  </a:lnTo>
                  <a:lnTo>
                    <a:pt x="928" y="104"/>
                  </a:lnTo>
                  <a:lnTo>
                    <a:pt x="928" y="104"/>
                  </a:lnTo>
                  <a:lnTo>
                    <a:pt x="928" y="104"/>
                  </a:lnTo>
                  <a:lnTo>
                    <a:pt x="928" y="104"/>
                  </a:lnTo>
                  <a:close/>
                  <a:moveTo>
                    <a:pt x="1007" y="104"/>
                  </a:moveTo>
                  <a:lnTo>
                    <a:pt x="1007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7" y="104"/>
                  </a:lnTo>
                  <a:lnTo>
                    <a:pt x="1007" y="104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5" y="106"/>
                  </a:lnTo>
                  <a:lnTo>
                    <a:pt x="1005" y="106"/>
                  </a:lnTo>
                  <a:lnTo>
                    <a:pt x="1005" y="106"/>
                  </a:lnTo>
                  <a:lnTo>
                    <a:pt x="1005" y="106"/>
                  </a:lnTo>
                  <a:lnTo>
                    <a:pt x="1005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07" y="106"/>
                  </a:lnTo>
                  <a:lnTo>
                    <a:pt x="1011" y="106"/>
                  </a:lnTo>
                  <a:lnTo>
                    <a:pt x="1011" y="106"/>
                  </a:lnTo>
                  <a:lnTo>
                    <a:pt x="1011" y="106"/>
                  </a:lnTo>
                  <a:lnTo>
                    <a:pt x="1011" y="108"/>
                  </a:lnTo>
                  <a:lnTo>
                    <a:pt x="1011" y="108"/>
                  </a:lnTo>
                  <a:lnTo>
                    <a:pt x="1011" y="108"/>
                  </a:lnTo>
                  <a:lnTo>
                    <a:pt x="1011" y="108"/>
                  </a:lnTo>
                  <a:lnTo>
                    <a:pt x="1011" y="108"/>
                  </a:lnTo>
                  <a:lnTo>
                    <a:pt x="1011" y="108"/>
                  </a:lnTo>
                  <a:lnTo>
                    <a:pt x="1009" y="108"/>
                  </a:lnTo>
                  <a:lnTo>
                    <a:pt x="1009" y="108"/>
                  </a:lnTo>
                  <a:lnTo>
                    <a:pt x="1009" y="108"/>
                  </a:lnTo>
                  <a:lnTo>
                    <a:pt x="1009" y="108"/>
                  </a:lnTo>
                  <a:lnTo>
                    <a:pt x="1009" y="108"/>
                  </a:lnTo>
                  <a:lnTo>
                    <a:pt x="1009" y="108"/>
                  </a:lnTo>
                  <a:lnTo>
                    <a:pt x="1009" y="111"/>
                  </a:lnTo>
                  <a:lnTo>
                    <a:pt x="1007" y="111"/>
                  </a:lnTo>
                  <a:lnTo>
                    <a:pt x="1007" y="111"/>
                  </a:lnTo>
                  <a:lnTo>
                    <a:pt x="1007" y="111"/>
                  </a:lnTo>
                  <a:lnTo>
                    <a:pt x="1007" y="111"/>
                  </a:lnTo>
                  <a:lnTo>
                    <a:pt x="1009" y="111"/>
                  </a:lnTo>
                  <a:lnTo>
                    <a:pt x="1007" y="111"/>
                  </a:lnTo>
                  <a:lnTo>
                    <a:pt x="1007" y="111"/>
                  </a:lnTo>
                  <a:lnTo>
                    <a:pt x="1007" y="111"/>
                  </a:lnTo>
                  <a:lnTo>
                    <a:pt x="1007" y="111"/>
                  </a:lnTo>
                  <a:lnTo>
                    <a:pt x="1009" y="111"/>
                  </a:lnTo>
                  <a:lnTo>
                    <a:pt x="1009" y="113"/>
                  </a:lnTo>
                  <a:lnTo>
                    <a:pt x="1009" y="113"/>
                  </a:lnTo>
                  <a:lnTo>
                    <a:pt x="1009" y="113"/>
                  </a:lnTo>
                  <a:lnTo>
                    <a:pt x="1007" y="113"/>
                  </a:lnTo>
                  <a:lnTo>
                    <a:pt x="1007" y="113"/>
                  </a:lnTo>
                  <a:lnTo>
                    <a:pt x="1007" y="113"/>
                  </a:lnTo>
                  <a:lnTo>
                    <a:pt x="1007" y="113"/>
                  </a:lnTo>
                  <a:lnTo>
                    <a:pt x="1007" y="113"/>
                  </a:lnTo>
                  <a:lnTo>
                    <a:pt x="1005" y="115"/>
                  </a:lnTo>
                  <a:lnTo>
                    <a:pt x="1005" y="115"/>
                  </a:lnTo>
                  <a:lnTo>
                    <a:pt x="1005" y="115"/>
                  </a:lnTo>
                  <a:lnTo>
                    <a:pt x="1005" y="115"/>
                  </a:lnTo>
                  <a:lnTo>
                    <a:pt x="1005" y="115"/>
                  </a:lnTo>
                  <a:lnTo>
                    <a:pt x="1005" y="115"/>
                  </a:lnTo>
                  <a:lnTo>
                    <a:pt x="1005" y="115"/>
                  </a:lnTo>
                  <a:lnTo>
                    <a:pt x="1002" y="115"/>
                  </a:lnTo>
                  <a:lnTo>
                    <a:pt x="1002" y="115"/>
                  </a:lnTo>
                  <a:lnTo>
                    <a:pt x="1002" y="115"/>
                  </a:lnTo>
                  <a:lnTo>
                    <a:pt x="1002" y="115"/>
                  </a:lnTo>
                  <a:lnTo>
                    <a:pt x="1002" y="115"/>
                  </a:lnTo>
                  <a:lnTo>
                    <a:pt x="1002" y="115"/>
                  </a:lnTo>
                  <a:lnTo>
                    <a:pt x="1002" y="117"/>
                  </a:lnTo>
                  <a:lnTo>
                    <a:pt x="1002" y="117"/>
                  </a:lnTo>
                  <a:lnTo>
                    <a:pt x="1002" y="117"/>
                  </a:lnTo>
                  <a:lnTo>
                    <a:pt x="1002" y="117"/>
                  </a:lnTo>
                  <a:lnTo>
                    <a:pt x="1002" y="117"/>
                  </a:lnTo>
                  <a:lnTo>
                    <a:pt x="1002" y="117"/>
                  </a:lnTo>
                  <a:lnTo>
                    <a:pt x="1002" y="117"/>
                  </a:lnTo>
                  <a:lnTo>
                    <a:pt x="1000" y="117"/>
                  </a:lnTo>
                  <a:lnTo>
                    <a:pt x="1000" y="117"/>
                  </a:lnTo>
                  <a:lnTo>
                    <a:pt x="1000" y="120"/>
                  </a:lnTo>
                  <a:lnTo>
                    <a:pt x="998" y="120"/>
                  </a:lnTo>
                  <a:lnTo>
                    <a:pt x="998" y="120"/>
                  </a:lnTo>
                  <a:lnTo>
                    <a:pt x="998" y="120"/>
                  </a:lnTo>
                  <a:lnTo>
                    <a:pt x="998" y="120"/>
                  </a:lnTo>
                  <a:lnTo>
                    <a:pt x="996" y="120"/>
                  </a:lnTo>
                  <a:lnTo>
                    <a:pt x="993" y="120"/>
                  </a:lnTo>
                  <a:lnTo>
                    <a:pt x="993" y="120"/>
                  </a:lnTo>
                  <a:lnTo>
                    <a:pt x="993" y="120"/>
                  </a:lnTo>
                  <a:lnTo>
                    <a:pt x="998" y="120"/>
                  </a:lnTo>
                  <a:lnTo>
                    <a:pt x="998" y="122"/>
                  </a:lnTo>
                  <a:lnTo>
                    <a:pt x="998" y="122"/>
                  </a:lnTo>
                  <a:lnTo>
                    <a:pt x="998" y="122"/>
                  </a:lnTo>
                  <a:lnTo>
                    <a:pt x="1000" y="122"/>
                  </a:lnTo>
                  <a:lnTo>
                    <a:pt x="1000" y="122"/>
                  </a:lnTo>
                  <a:lnTo>
                    <a:pt x="1000" y="122"/>
                  </a:lnTo>
                  <a:lnTo>
                    <a:pt x="1000" y="122"/>
                  </a:lnTo>
                  <a:lnTo>
                    <a:pt x="1000" y="122"/>
                  </a:lnTo>
                  <a:lnTo>
                    <a:pt x="1000" y="122"/>
                  </a:lnTo>
                  <a:lnTo>
                    <a:pt x="998" y="122"/>
                  </a:lnTo>
                  <a:lnTo>
                    <a:pt x="998" y="122"/>
                  </a:lnTo>
                  <a:lnTo>
                    <a:pt x="998" y="122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8" y="124"/>
                  </a:lnTo>
                  <a:lnTo>
                    <a:pt x="996" y="124"/>
                  </a:lnTo>
                  <a:lnTo>
                    <a:pt x="996" y="124"/>
                  </a:lnTo>
                  <a:lnTo>
                    <a:pt x="996" y="126"/>
                  </a:lnTo>
                  <a:lnTo>
                    <a:pt x="996" y="126"/>
                  </a:lnTo>
                  <a:lnTo>
                    <a:pt x="996" y="126"/>
                  </a:lnTo>
                  <a:lnTo>
                    <a:pt x="996" y="126"/>
                  </a:lnTo>
                  <a:lnTo>
                    <a:pt x="996" y="126"/>
                  </a:lnTo>
                  <a:lnTo>
                    <a:pt x="993" y="126"/>
                  </a:lnTo>
                  <a:lnTo>
                    <a:pt x="993" y="126"/>
                  </a:lnTo>
                  <a:lnTo>
                    <a:pt x="993" y="126"/>
                  </a:lnTo>
                  <a:lnTo>
                    <a:pt x="993" y="126"/>
                  </a:lnTo>
                  <a:lnTo>
                    <a:pt x="993" y="126"/>
                  </a:lnTo>
                  <a:lnTo>
                    <a:pt x="993" y="126"/>
                  </a:lnTo>
                  <a:lnTo>
                    <a:pt x="993" y="124"/>
                  </a:lnTo>
                  <a:lnTo>
                    <a:pt x="993" y="124"/>
                  </a:lnTo>
                  <a:lnTo>
                    <a:pt x="996" y="124"/>
                  </a:lnTo>
                  <a:lnTo>
                    <a:pt x="993" y="124"/>
                  </a:lnTo>
                  <a:lnTo>
                    <a:pt x="993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4"/>
                  </a:lnTo>
                  <a:lnTo>
                    <a:pt x="991" y="126"/>
                  </a:lnTo>
                  <a:lnTo>
                    <a:pt x="991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9" y="124"/>
                  </a:lnTo>
                  <a:lnTo>
                    <a:pt x="987" y="124"/>
                  </a:lnTo>
                  <a:lnTo>
                    <a:pt x="987" y="124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9" y="126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7" y="126"/>
                  </a:lnTo>
                  <a:lnTo>
                    <a:pt x="984" y="129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6"/>
                  </a:lnTo>
                  <a:lnTo>
                    <a:pt x="984" y="126"/>
                  </a:lnTo>
                  <a:lnTo>
                    <a:pt x="982" y="126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2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7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2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4" y="129"/>
                  </a:lnTo>
                  <a:lnTo>
                    <a:pt x="987" y="129"/>
                  </a:lnTo>
                  <a:lnTo>
                    <a:pt x="984" y="131"/>
                  </a:lnTo>
                  <a:lnTo>
                    <a:pt x="984" y="131"/>
                  </a:lnTo>
                  <a:lnTo>
                    <a:pt x="984" y="131"/>
                  </a:lnTo>
                  <a:lnTo>
                    <a:pt x="984" y="131"/>
                  </a:lnTo>
                  <a:lnTo>
                    <a:pt x="984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4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7" y="131"/>
                  </a:lnTo>
                  <a:lnTo>
                    <a:pt x="984" y="131"/>
                  </a:lnTo>
                  <a:lnTo>
                    <a:pt x="984" y="131"/>
                  </a:lnTo>
                  <a:lnTo>
                    <a:pt x="982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2" y="131"/>
                  </a:lnTo>
                  <a:lnTo>
                    <a:pt x="982" y="131"/>
                  </a:lnTo>
                  <a:lnTo>
                    <a:pt x="982" y="131"/>
                  </a:lnTo>
                  <a:lnTo>
                    <a:pt x="982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78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1"/>
                  </a:lnTo>
                  <a:lnTo>
                    <a:pt x="980" y="133"/>
                  </a:lnTo>
                  <a:lnTo>
                    <a:pt x="980" y="133"/>
                  </a:lnTo>
                  <a:lnTo>
                    <a:pt x="980" y="133"/>
                  </a:lnTo>
                  <a:lnTo>
                    <a:pt x="980" y="133"/>
                  </a:lnTo>
                  <a:lnTo>
                    <a:pt x="980" y="133"/>
                  </a:lnTo>
                  <a:lnTo>
                    <a:pt x="980" y="133"/>
                  </a:lnTo>
                  <a:lnTo>
                    <a:pt x="980" y="133"/>
                  </a:lnTo>
                  <a:lnTo>
                    <a:pt x="978" y="133"/>
                  </a:lnTo>
                  <a:lnTo>
                    <a:pt x="978" y="133"/>
                  </a:lnTo>
                  <a:lnTo>
                    <a:pt x="978" y="133"/>
                  </a:lnTo>
                  <a:lnTo>
                    <a:pt x="966" y="135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6" y="133"/>
                  </a:lnTo>
                  <a:lnTo>
                    <a:pt x="964" y="133"/>
                  </a:lnTo>
                  <a:lnTo>
                    <a:pt x="964" y="133"/>
                  </a:lnTo>
                  <a:lnTo>
                    <a:pt x="964" y="133"/>
                  </a:lnTo>
                  <a:lnTo>
                    <a:pt x="964" y="133"/>
                  </a:lnTo>
                  <a:lnTo>
                    <a:pt x="957" y="135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60" y="133"/>
                  </a:lnTo>
                  <a:lnTo>
                    <a:pt x="962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2" y="131"/>
                  </a:lnTo>
                  <a:lnTo>
                    <a:pt x="962" y="131"/>
                  </a:lnTo>
                  <a:lnTo>
                    <a:pt x="960" y="133"/>
                  </a:lnTo>
                  <a:lnTo>
                    <a:pt x="960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7" y="133"/>
                  </a:lnTo>
                  <a:lnTo>
                    <a:pt x="955" y="133"/>
                  </a:lnTo>
                  <a:lnTo>
                    <a:pt x="955" y="135"/>
                  </a:lnTo>
                  <a:lnTo>
                    <a:pt x="953" y="135"/>
                  </a:lnTo>
                  <a:lnTo>
                    <a:pt x="944" y="133"/>
                  </a:lnTo>
                  <a:lnTo>
                    <a:pt x="944" y="133"/>
                  </a:lnTo>
                  <a:lnTo>
                    <a:pt x="944" y="133"/>
                  </a:lnTo>
                  <a:lnTo>
                    <a:pt x="944" y="133"/>
                  </a:lnTo>
                  <a:lnTo>
                    <a:pt x="946" y="133"/>
                  </a:lnTo>
                  <a:lnTo>
                    <a:pt x="946" y="133"/>
                  </a:lnTo>
                  <a:lnTo>
                    <a:pt x="946" y="133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6" y="131"/>
                  </a:lnTo>
                  <a:lnTo>
                    <a:pt x="949" y="131"/>
                  </a:lnTo>
                  <a:lnTo>
                    <a:pt x="953" y="131"/>
                  </a:lnTo>
                  <a:lnTo>
                    <a:pt x="955" y="129"/>
                  </a:lnTo>
                  <a:lnTo>
                    <a:pt x="955" y="129"/>
                  </a:lnTo>
                  <a:lnTo>
                    <a:pt x="953" y="129"/>
                  </a:lnTo>
                  <a:lnTo>
                    <a:pt x="953" y="129"/>
                  </a:lnTo>
                  <a:lnTo>
                    <a:pt x="953" y="129"/>
                  </a:lnTo>
                  <a:lnTo>
                    <a:pt x="951" y="129"/>
                  </a:lnTo>
                  <a:lnTo>
                    <a:pt x="949" y="129"/>
                  </a:lnTo>
                  <a:lnTo>
                    <a:pt x="949" y="129"/>
                  </a:lnTo>
                  <a:lnTo>
                    <a:pt x="951" y="129"/>
                  </a:lnTo>
                  <a:lnTo>
                    <a:pt x="951" y="129"/>
                  </a:lnTo>
                  <a:lnTo>
                    <a:pt x="951" y="129"/>
                  </a:lnTo>
                  <a:lnTo>
                    <a:pt x="953" y="129"/>
                  </a:lnTo>
                  <a:lnTo>
                    <a:pt x="949" y="129"/>
                  </a:lnTo>
                  <a:lnTo>
                    <a:pt x="949" y="129"/>
                  </a:lnTo>
                  <a:lnTo>
                    <a:pt x="946" y="129"/>
                  </a:lnTo>
                  <a:lnTo>
                    <a:pt x="946" y="129"/>
                  </a:lnTo>
                  <a:lnTo>
                    <a:pt x="946" y="129"/>
                  </a:lnTo>
                  <a:lnTo>
                    <a:pt x="946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6" y="126"/>
                  </a:lnTo>
                  <a:lnTo>
                    <a:pt x="946" y="126"/>
                  </a:lnTo>
                  <a:lnTo>
                    <a:pt x="946" y="129"/>
                  </a:lnTo>
                  <a:lnTo>
                    <a:pt x="949" y="129"/>
                  </a:lnTo>
                  <a:lnTo>
                    <a:pt x="949" y="129"/>
                  </a:lnTo>
                  <a:lnTo>
                    <a:pt x="949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51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49" y="126"/>
                  </a:lnTo>
                  <a:lnTo>
                    <a:pt x="957" y="126"/>
                  </a:lnTo>
                  <a:lnTo>
                    <a:pt x="960" y="126"/>
                  </a:lnTo>
                  <a:lnTo>
                    <a:pt x="955" y="124"/>
                  </a:lnTo>
                  <a:lnTo>
                    <a:pt x="955" y="124"/>
                  </a:lnTo>
                  <a:lnTo>
                    <a:pt x="957" y="124"/>
                  </a:lnTo>
                  <a:lnTo>
                    <a:pt x="960" y="124"/>
                  </a:lnTo>
                  <a:lnTo>
                    <a:pt x="955" y="124"/>
                  </a:lnTo>
                  <a:lnTo>
                    <a:pt x="955" y="124"/>
                  </a:lnTo>
                  <a:lnTo>
                    <a:pt x="962" y="124"/>
                  </a:lnTo>
                  <a:lnTo>
                    <a:pt x="962" y="124"/>
                  </a:lnTo>
                  <a:lnTo>
                    <a:pt x="962" y="124"/>
                  </a:lnTo>
                  <a:lnTo>
                    <a:pt x="960" y="124"/>
                  </a:lnTo>
                  <a:lnTo>
                    <a:pt x="960" y="124"/>
                  </a:lnTo>
                  <a:lnTo>
                    <a:pt x="960" y="124"/>
                  </a:lnTo>
                  <a:lnTo>
                    <a:pt x="962" y="124"/>
                  </a:lnTo>
                  <a:lnTo>
                    <a:pt x="964" y="124"/>
                  </a:lnTo>
                  <a:lnTo>
                    <a:pt x="964" y="124"/>
                  </a:lnTo>
                  <a:lnTo>
                    <a:pt x="966" y="124"/>
                  </a:lnTo>
                  <a:lnTo>
                    <a:pt x="966" y="122"/>
                  </a:lnTo>
                  <a:lnTo>
                    <a:pt x="964" y="122"/>
                  </a:lnTo>
                  <a:lnTo>
                    <a:pt x="964" y="122"/>
                  </a:lnTo>
                  <a:lnTo>
                    <a:pt x="964" y="122"/>
                  </a:lnTo>
                  <a:lnTo>
                    <a:pt x="964" y="122"/>
                  </a:lnTo>
                  <a:lnTo>
                    <a:pt x="964" y="122"/>
                  </a:lnTo>
                  <a:lnTo>
                    <a:pt x="964" y="122"/>
                  </a:lnTo>
                  <a:lnTo>
                    <a:pt x="978" y="122"/>
                  </a:lnTo>
                  <a:lnTo>
                    <a:pt x="978" y="122"/>
                  </a:lnTo>
                  <a:lnTo>
                    <a:pt x="980" y="122"/>
                  </a:lnTo>
                  <a:lnTo>
                    <a:pt x="980" y="122"/>
                  </a:lnTo>
                  <a:lnTo>
                    <a:pt x="980" y="122"/>
                  </a:lnTo>
                  <a:lnTo>
                    <a:pt x="969" y="122"/>
                  </a:lnTo>
                  <a:lnTo>
                    <a:pt x="969" y="122"/>
                  </a:lnTo>
                  <a:lnTo>
                    <a:pt x="969" y="122"/>
                  </a:lnTo>
                  <a:lnTo>
                    <a:pt x="960" y="122"/>
                  </a:lnTo>
                  <a:lnTo>
                    <a:pt x="960" y="122"/>
                  </a:lnTo>
                  <a:lnTo>
                    <a:pt x="957" y="122"/>
                  </a:lnTo>
                  <a:lnTo>
                    <a:pt x="957" y="122"/>
                  </a:lnTo>
                  <a:lnTo>
                    <a:pt x="955" y="122"/>
                  </a:lnTo>
                  <a:lnTo>
                    <a:pt x="955" y="122"/>
                  </a:lnTo>
                  <a:lnTo>
                    <a:pt x="946" y="122"/>
                  </a:lnTo>
                  <a:lnTo>
                    <a:pt x="946" y="122"/>
                  </a:lnTo>
                  <a:lnTo>
                    <a:pt x="946" y="122"/>
                  </a:lnTo>
                  <a:lnTo>
                    <a:pt x="946" y="122"/>
                  </a:lnTo>
                  <a:lnTo>
                    <a:pt x="944" y="124"/>
                  </a:lnTo>
                  <a:lnTo>
                    <a:pt x="944" y="124"/>
                  </a:lnTo>
                  <a:lnTo>
                    <a:pt x="942" y="124"/>
                  </a:lnTo>
                  <a:lnTo>
                    <a:pt x="942" y="124"/>
                  </a:lnTo>
                  <a:lnTo>
                    <a:pt x="942" y="124"/>
                  </a:lnTo>
                  <a:lnTo>
                    <a:pt x="942" y="122"/>
                  </a:lnTo>
                  <a:lnTo>
                    <a:pt x="942" y="122"/>
                  </a:lnTo>
                  <a:lnTo>
                    <a:pt x="931" y="124"/>
                  </a:lnTo>
                  <a:lnTo>
                    <a:pt x="931" y="124"/>
                  </a:lnTo>
                  <a:lnTo>
                    <a:pt x="926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4" y="124"/>
                  </a:lnTo>
                  <a:lnTo>
                    <a:pt x="922" y="124"/>
                  </a:lnTo>
                  <a:lnTo>
                    <a:pt x="922" y="124"/>
                  </a:lnTo>
                  <a:lnTo>
                    <a:pt x="922" y="122"/>
                  </a:lnTo>
                  <a:lnTo>
                    <a:pt x="922" y="122"/>
                  </a:lnTo>
                  <a:lnTo>
                    <a:pt x="922" y="122"/>
                  </a:lnTo>
                  <a:lnTo>
                    <a:pt x="922" y="122"/>
                  </a:lnTo>
                  <a:lnTo>
                    <a:pt x="924" y="122"/>
                  </a:lnTo>
                  <a:lnTo>
                    <a:pt x="924" y="122"/>
                  </a:lnTo>
                  <a:lnTo>
                    <a:pt x="924" y="122"/>
                  </a:lnTo>
                  <a:lnTo>
                    <a:pt x="924" y="122"/>
                  </a:lnTo>
                  <a:lnTo>
                    <a:pt x="926" y="122"/>
                  </a:lnTo>
                  <a:lnTo>
                    <a:pt x="926" y="122"/>
                  </a:lnTo>
                  <a:lnTo>
                    <a:pt x="924" y="122"/>
                  </a:lnTo>
                  <a:lnTo>
                    <a:pt x="924" y="122"/>
                  </a:lnTo>
                  <a:lnTo>
                    <a:pt x="924" y="122"/>
                  </a:lnTo>
                  <a:lnTo>
                    <a:pt x="924" y="122"/>
                  </a:lnTo>
                  <a:lnTo>
                    <a:pt x="926" y="122"/>
                  </a:lnTo>
                  <a:lnTo>
                    <a:pt x="926" y="122"/>
                  </a:lnTo>
                  <a:lnTo>
                    <a:pt x="926" y="122"/>
                  </a:lnTo>
                  <a:lnTo>
                    <a:pt x="926" y="122"/>
                  </a:lnTo>
                  <a:lnTo>
                    <a:pt x="926" y="122"/>
                  </a:lnTo>
                  <a:lnTo>
                    <a:pt x="926" y="122"/>
                  </a:lnTo>
                  <a:lnTo>
                    <a:pt x="928" y="122"/>
                  </a:lnTo>
                  <a:lnTo>
                    <a:pt x="928" y="122"/>
                  </a:lnTo>
                  <a:lnTo>
                    <a:pt x="928" y="122"/>
                  </a:lnTo>
                  <a:lnTo>
                    <a:pt x="928" y="122"/>
                  </a:lnTo>
                  <a:lnTo>
                    <a:pt x="928" y="122"/>
                  </a:lnTo>
                  <a:lnTo>
                    <a:pt x="928" y="122"/>
                  </a:lnTo>
                  <a:lnTo>
                    <a:pt x="928" y="122"/>
                  </a:lnTo>
                  <a:lnTo>
                    <a:pt x="928" y="120"/>
                  </a:lnTo>
                  <a:lnTo>
                    <a:pt x="928" y="120"/>
                  </a:lnTo>
                  <a:lnTo>
                    <a:pt x="933" y="120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2"/>
                  </a:lnTo>
                  <a:lnTo>
                    <a:pt x="935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7" y="120"/>
                  </a:lnTo>
                  <a:lnTo>
                    <a:pt x="935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3" y="120"/>
                  </a:lnTo>
                  <a:lnTo>
                    <a:pt x="935" y="120"/>
                  </a:lnTo>
                  <a:lnTo>
                    <a:pt x="935" y="117"/>
                  </a:lnTo>
                  <a:lnTo>
                    <a:pt x="935" y="117"/>
                  </a:lnTo>
                  <a:lnTo>
                    <a:pt x="935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2" y="117"/>
                  </a:lnTo>
                  <a:lnTo>
                    <a:pt x="944" y="117"/>
                  </a:lnTo>
                  <a:lnTo>
                    <a:pt x="944" y="117"/>
                  </a:lnTo>
                  <a:lnTo>
                    <a:pt x="944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4" y="120"/>
                  </a:lnTo>
                  <a:lnTo>
                    <a:pt x="944" y="120"/>
                  </a:lnTo>
                  <a:lnTo>
                    <a:pt x="944" y="120"/>
                  </a:lnTo>
                  <a:lnTo>
                    <a:pt x="944" y="120"/>
                  </a:lnTo>
                  <a:lnTo>
                    <a:pt x="944" y="120"/>
                  </a:lnTo>
                  <a:lnTo>
                    <a:pt x="944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9" y="120"/>
                  </a:lnTo>
                  <a:lnTo>
                    <a:pt x="949" y="120"/>
                  </a:lnTo>
                  <a:lnTo>
                    <a:pt x="949" y="120"/>
                  </a:lnTo>
                  <a:lnTo>
                    <a:pt x="951" y="120"/>
                  </a:lnTo>
                  <a:lnTo>
                    <a:pt x="953" y="120"/>
                  </a:lnTo>
                  <a:lnTo>
                    <a:pt x="951" y="120"/>
                  </a:lnTo>
                  <a:lnTo>
                    <a:pt x="951" y="120"/>
                  </a:lnTo>
                  <a:lnTo>
                    <a:pt x="951" y="120"/>
                  </a:lnTo>
                  <a:lnTo>
                    <a:pt x="949" y="120"/>
                  </a:lnTo>
                  <a:lnTo>
                    <a:pt x="949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6" y="120"/>
                  </a:lnTo>
                  <a:lnTo>
                    <a:pt x="949" y="120"/>
                  </a:lnTo>
                  <a:lnTo>
                    <a:pt x="949" y="120"/>
                  </a:lnTo>
                  <a:lnTo>
                    <a:pt x="949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6" y="117"/>
                  </a:lnTo>
                  <a:lnTo>
                    <a:pt x="949" y="117"/>
                  </a:lnTo>
                  <a:lnTo>
                    <a:pt x="949" y="117"/>
                  </a:lnTo>
                  <a:lnTo>
                    <a:pt x="951" y="115"/>
                  </a:lnTo>
                  <a:lnTo>
                    <a:pt x="951" y="115"/>
                  </a:lnTo>
                  <a:lnTo>
                    <a:pt x="951" y="115"/>
                  </a:lnTo>
                  <a:lnTo>
                    <a:pt x="951" y="115"/>
                  </a:lnTo>
                  <a:lnTo>
                    <a:pt x="951" y="115"/>
                  </a:lnTo>
                  <a:lnTo>
                    <a:pt x="951" y="115"/>
                  </a:lnTo>
                  <a:lnTo>
                    <a:pt x="953" y="115"/>
                  </a:lnTo>
                  <a:lnTo>
                    <a:pt x="951" y="115"/>
                  </a:lnTo>
                  <a:lnTo>
                    <a:pt x="951" y="115"/>
                  </a:lnTo>
                  <a:lnTo>
                    <a:pt x="946" y="115"/>
                  </a:lnTo>
                  <a:lnTo>
                    <a:pt x="946" y="115"/>
                  </a:lnTo>
                  <a:lnTo>
                    <a:pt x="944" y="115"/>
                  </a:lnTo>
                  <a:lnTo>
                    <a:pt x="944" y="115"/>
                  </a:lnTo>
                  <a:lnTo>
                    <a:pt x="946" y="115"/>
                  </a:lnTo>
                  <a:lnTo>
                    <a:pt x="946" y="113"/>
                  </a:lnTo>
                  <a:lnTo>
                    <a:pt x="946" y="113"/>
                  </a:lnTo>
                  <a:lnTo>
                    <a:pt x="946" y="113"/>
                  </a:lnTo>
                  <a:lnTo>
                    <a:pt x="946" y="113"/>
                  </a:lnTo>
                  <a:lnTo>
                    <a:pt x="949" y="113"/>
                  </a:lnTo>
                  <a:lnTo>
                    <a:pt x="949" y="113"/>
                  </a:lnTo>
                  <a:lnTo>
                    <a:pt x="949" y="113"/>
                  </a:lnTo>
                  <a:lnTo>
                    <a:pt x="949" y="113"/>
                  </a:lnTo>
                  <a:lnTo>
                    <a:pt x="953" y="113"/>
                  </a:lnTo>
                  <a:lnTo>
                    <a:pt x="955" y="111"/>
                  </a:lnTo>
                  <a:lnTo>
                    <a:pt x="951" y="111"/>
                  </a:lnTo>
                  <a:lnTo>
                    <a:pt x="949" y="111"/>
                  </a:lnTo>
                  <a:lnTo>
                    <a:pt x="949" y="111"/>
                  </a:lnTo>
                  <a:lnTo>
                    <a:pt x="946" y="111"/>
                  </a:lnTo>
                  <a:lnTo>
                    <a:pt x="944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6" y="111"/>
                  </a:lnTo>
                  <a:lnTo>
                    <a:pt x="949" y="111"/>
                  </a:lnTo>
                  <a:lnTo>
                    <a:pt x="949" y="111"/>
                  </a:lnTo>
                  <a:lnTo>
                    <a:pt x="949" y="111"/>
                  </a:lnTo>
                  <a:lnTo>
                    <a:pt x="949" y="108"/>
                  </a:lnTo>
                  <a:lnTo>
                    <a:pt x="949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1" y="108"/>
                  </a:lnTo>
                  <a:lnTo>
                    <a:pt x="953" y="108"/>
                  </a:lnTo>
                  <a:lnTo>
                    <a:pt x="953" y="108"/>
                  </a:lnTo>
                  <a:lnTo>
                    <a:pt x="955" y="108"/>
                  </a:lnTo>
                  <a:lnTo>
                    <a:pt x="960" y="108"/>
                  </a:lnTo>
                  <a:lnTo>
                    <a:pt x="960" y="108"/>
                  </a:lnTo>
                  <a:lnTo>
                    <a:pt x="960" y="108"/>
                  </a:lnTo>
                  <a:lnTo>
                    <a:pt x="960" y="108"/>
                  </a:lnTo>
                  <a:lnTo>
                    <a:pt x="960" y="108"/>
                  </a:lnTo>
                  <a:lnTo>
                    <a:pt x="960" y="108"/>
                  </a:lnTo>
                  <a:lnTo>
                    <a:pt x="962" y="111"/>
                  </a:lnTo>
                  <a:lnTo>
                    <a:pt x="962" y="111"/>
                  </a:lnTo>
                  <a:lnTo>
                    <a:pt x="962" y="111"/>
                  </a:lnTo>
                  <a:lnTo>
                    <a:pt x="962" y="111"/>
                  </a:lnTo>
                  <a:lnTo>
                    <a:pt x="962" y="111"/>
                  </a:lnTo>
                  <a:lnTo>
                    <a:pt x="962" y="111"/>
                  </a:lnTo>
                  <a:lnTo>
                    <a:pt x="962" y="111"/>
                  </a:lnTo>
                  <a:lnTo>
                    <a:pt x="960" y="111"/>
                  </a:lnTo>
                  <a:lnTo>
                    <a:pt x="960" y="111"/>
                  </a:lnTo>
                  <a:lnTo>
                    <a:pt x="960" y="111"/>
                  </a:lnTo>
                  <a:lnTo>
                    <a:pt x="962" y="111"/>
                  </a:lnTo>
                  <a:lnTo>
                    <a:pt x="962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4" y="113"/>
                  </a:lnTo>
                  <a:lnTo>
                    <a:pt x="962" y="113"/>
                  </a:lnTo>
                  <a:lnTo>
                    <a:pt x="962" y="113"/>
                  </a:lnTo>
                  <a:lnTo>
                    <a:pt x="966" y="113"/>
                  </a:lnTo>
                  <a:lnTo>
                    <a:pt x="966" y="113"/>
                  </a:lnTo>
                  <a:lnTo>
                    <a:pt x="962" y="115"/>
                  </a:lnTo>
                  <a:lnTo>
                    <a:pt x="962" y="115"/>
                  </a:lnTo>
                  <a:lnTo>
                    <a:pt x="966" y="115"/>
                  </a:lnTo>
                  <a:lnTo>
                    <a:pt x="966" y="115"/>
                  </a:lnTo>
                  <a:lnTo>
                    <a:pt x="966" y="115"/>
                  </a:lnTo>
                  <a:lnTo>
                    <a:pt x="966" y="115"/>
                  </a:lnTo>
                  <a:lnTo>
                    <a:pt x="966" y="115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9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6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69" y="117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3" y="117"/>
                  </a:lnTo>
                  <a:lnTo>
                    <a:pt x="973" y="117"/>
                  </a:lnTo>
                  <a:lnTo>
                    <a:pt x="973" y="117"/>
                  </a:lnTo>
                  <a:lnTo>
                    <a:pt x="973" y="117"/>
                  </a:lnTo>
                  <a:lnTo>
                    <a:pt x="973" y="117"/>
                  </a:lnTo>
                  <a:lnTo>
                    <a:pt x="975" y="117"/>
                  </a:lnTo>
                  <a:lnTo>
                    <a:pt x="975" y="117"/>
                  </a:lnTo>
                  <a:lnTo>
                    <a:pt x="975" y="117"/>
                  </a:lnTo>
                  <a:lnTo>
                    <a:pt x="975" y="117"/>
                  </a:lnTo>
                  <a:lnTo>
                    <a:pt x="975" y="117"/>
                  </a:lnTo>
                  <a:lnTo>
                    <a:pt x="975" y="117"/>
                  </a:lnTo>
                  <a:lnTo>
                    <a:pt x="975" y="117"/>
                  </a:lnTo>
                  <a:lnTo>
                    <a:pt x="978" y="115"/>
                  </a:lnTo>
                  <a:lnTo>
                    <a:pt x="978" y="115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1" y="117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69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5"/>
                  </a:lnTo>
                  <a:lnTo>
                    <a:pt x="971" y="113"/>
                  </a:lnTo>
                  <a:lnTo>
                    <a:pt x="971" y="113"/>
                  </a:lnTo>
                  <a:lnTo>
                    <a:pt x="969" y="113"/>
                  </a:lnTo>
                  <a:lnTo>
                    <a:pt x="969" y="113"/>
                  </a:lnTo>
                  <a:lnTo>
                    <a:pt x="971" y="113"/>
                  </a:lnTo>
                  <a:lnTo>
                    <a:pt x="971" y="113"/>
                  </a:lnTo>
                  <a:lnTo>
                    <a:pt x="971" y="113"/>
                  </a:lnTo>
                  <a:lnTo>
                    <a:pt x="973" y="113"/>
                  </a:lnTo>
                  <a:lnTo>
                    <a:pt x="973" y="113"/>
                  </a:lnTo>
                  <a:lnTo>
                    <a:pt x="973" y="113"/>
                  </a:lnTo>
                  <a:lnTo>
                    <a:pt x="975" y="113"/>
                  </a:lnTo>
                  <a:lnTo>
                    <a:pt x="975" y="113"/>
                  </a:lnTo>
                  <a:lnTo>
                    <a:pt x="978" y="113"/>
                  </a:lnTo>
                  <a:lnTo>
                    <a:pt x="980" y="113"/>
                  </a:lnTo>
                  <a:lnTo>
                    <a:pt x="980" y="113"/>
                  </a:lnTo>
                  <a:lnTo>
                    <a:pt x="982" y="113"/>
                  </a:lnTo>
                  <a:lnTo>
                    <a:pt x="978" y="113"/>
                  </a:lnTo>
                  <a:lnTo>
                    <a:pt x="978" y="113"/>
                  </a:lnTo>
                  <a:lnTo>
                    <a:pt x="975" y="113"/>
                  </a:lnTo>
                  <a:lnTo>
                    <a:pt x="975" y="113"/>
                  </a:lnTo>
                  <a:lnTo>
                    <a:pt x="975" y="113"/>
                  </a:lnTo>
                  <a:lnTo>
                    <a:pt x="975" y="113"/>
                  </a:lnTo>
                  <a:lnTo>
                    <a:pt x="973" y="113"/>
                  </a:lnTo>
                  <a:lnTo>
                    <a:pt x="971" y="113"/>
                  </a:lnTo>
                  <a:lnTo>
                    <a:pt x="969" y="111"/>
                  </a:lnTo>
                  <a:lnTo>
                    <a:pt x="969" y="111"/>
                  </a:lnTo>
                  <a:lnTo>
                    <a:pt x="969" y="111"/>
                  </a:lnTo>
                  <a:lnTo>
                    <a:pt x="969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3" y="111"/>
                  </a:lnTo>
                  <a:lnTo>
                    <a:pt x="975" y="111"/>
                  </a:lnTo>
                  <a:lnTo>
                    <a:pt x="973" y="111"/>
                  </a:lnTo>
                  <a:lnTo>
                    <a:pt x="973" y="111"/>
                  </a:lnTo>
                  <a:lnTo>
                    <a:pt x="973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8" y="111"/>
                  </a:lnTo>
                  <a:lnTo>
                    <a:pt x="978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8" y="111"/>
                  </a:lnTo>
                  <a:lnTo>
                    <a:pt x="978" y="111"/>
                  </a:lnTo>
                  <a:lnTo>
                    <a:pt x="978" y="111"/>
                  </a:lnTo>
                  <a:lnTo>
                    <a:pt x="975" y="111"/>
                  </a:lnTo>
                  <a:lnTo>
                    <a:pt x="975" y="111"/>
                  </a:lnTo>
                  <a:lnTo>
                    <a:pt x="975" y="108"/>
                  </a:lnTo>
                  <a:lnTo>
                    <a:pt x="975" y="108"/>
                  </a:lnTo>
                  <a:lnTo>
                    <a:pt x="975" y="108"/>
                  </a:lnTo>
                  <a:lnTo>
                    <a:pt x="975" y="108"/>
                  </a:lnTo>
                  <a:lnTo>
                    <a:pt x="975" y="108"/>
                  </a:lnTo>
                  <a:lnTo>
                    <a:pt x="973" y="108"/>
                  </a:lnTo>
                  <a:lnTo>
                    <a:pt x="973" y="108"/>
                  </a:lnTo>
                  <a:lnTo>
                    <a:pt x="969" y="108"/>
                  </a:lnTo>
                  <a:lnTo>
                    <a:pt x="966" y="106"/>
                  </a:lnTo>
                  <a:lnTo>
                    <a:pt x="966" y="106"/>
                  </a:lnTo>
                  <a:lnTo>
                    <a:pt x="971" y="106"/>
                  </a:lnTo>
                  <a:lnTo>
                    <a:pt x="971" y="106"/>
                  </a:lnTo>
                  <a:lnTo>
                    <a:pt x="971" y="106"/>
                  </a:lnTo>
                  <a:lnTo>
                    <a:pt x="971" y="106"/>
                  </a:lnTo>
                  <a:lnTo>
                    <a:pt x="971" y="106"/>
                  </a:lnTo>
                  <a:lnTo>
                    <a:pt x="971" y="106"/>
                  </a:lnTo>
                  <a:lnTo>
                    <a:pt x="971" y="106"/>
                  </a:lnTo>
                  <a:lnTo>
                    <a:pt x="973" y="106"/>
                  </a:lnTo>
                  <a:lnTo>
                    <a:pt x="975" y="106"/>
                  </a:lnTo>
                  <a:lnTo>
                    <a:pt x="978" y="104"/>
                  </a:lnTo>
                  <a:lnTo>
                    <a:pt x="978" y="104"/>
                  </a:lnTo>
                  <a:lnTo>
                    <a:pt x="980" y="104"/>
                  </a:lnTo>
                  <a:lnTo>
                    <a:pt x="980" y="104"/>
                  </a:lnTo>
                  <a:lnTo>
                    <a:pt x="984" y="104"/>
                  </a:lnTo>
                  <a:lnTo>
                    <a:pt x="984" y="104"/>
                  </a:lnTo>
                  <a:lnTo>
                    <a:pt x="987" y="104"/>
                  </a:lnTo>
                  <a:lnTo>
                    <a:pt x="987" y="104"/>
                  </a:lnTo>
                  <a:lnTo>
                    <a:pt x="989" y="104"/>
                  </a:lnTo>
                  <a:lnTo>
                    <a:pt x="989" y="104"/>
                  </a:lnTo>
                  <a:lnTo>
                    <a:pt x="989" y="104"/>
                  </a:lnTo>
                  <a:lnTo>
                    <a:pt x="989" y="104"/>
                  </a:lnTo>
                  <a:lnTo>
                    <a:pt x="987" y="104"/>
                  </a:lnTo>
                  <a:lnTo>
                    <a:pt x="987" y="104"/>
                  </a:lnTo>
                  <a:lnTo>
                    <a:pt x="989" y="106"/>
                  </a:lnTo>
                  <a:lnTo>
                    <a:pt x="991" y="106"/>
                  </a:lnTo>
                  <a:lnTo>
                    <a:pt x="991" y="106"/>
                  </a:lnTo>
                  <a:lnTo>
                    <a:pt x="991" y="106"/>
                  </a:lnTo>
                  <a:lnTo>
                    <a:pt x="991" y="106"/>
                  </a:lnTo>
                  <a:lnTo>
                    <a:pt x="991" y="106"/>
                  </a:lnTo>
                  <a:lnTo>
                    <a:pt x="991" y="106"/>
                  </a:lnTo>
                  <a:lnTo>
                    <a:pt x="993" y="106"/>
                  </a:lnTo>
                  <a:lnTo>
                    <a:pt x="993" y="106"/>
                  </a:lnTo>
                  <a:lnTo>
                    <a:pt x="991" y="106"/>
                  </a:lnTo>
                  <a:lnTo>
                    <a:pt x="991" y="108"/>
                  </a:lnTo>
                  <a:lnTo>
                    <a:pt x="989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1" y="108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3" y="106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3" y="108"/>
                  </a:lnTo>
                  <a:lnTo>
                    <a:pt x="996" y="108"/>
                  </a:lnTo>
                  <a:lnTo>
                    <a:pt x="996" y="108"/>
                  </a:lnTo>
                  <a:lnTo>
                    <a:pt x="996" y="108"/>
                  </a:lnTo>
                  <a:lnTo>
                    <a:pt x="996" y="108"/>
                  </a:lnTo>
                  <a:lnTo>
                    <a:pt x="996" y="108"/>
                  </a:lnTo>
                  <a:lnTo>
                    <a:pt x="996" y="108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3" y="106"/>
                  </a:lnTo>
                  <a:lnTo>
                    <a:pt x="993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6"/>
                  </a:lnTo>
                  <a:lnTo>
                    <a:pt x="996" y="104"/>
                  </a:lnTo>
                  <a:lnTo>
                    <a:pt x="998" y="104"/>
                  </a:lnTo>
                  <a:lnTo>
                    <a:pt x="998" y="104"/>
                  </a:lnTo>
                  <a:lnTo>
                    <a:pt x="1000" y="104"/>
                  </a:lnTo>
                  <a:lnTo>
                    <a:pt x="1000" y="104"/>
                  </a:lnTo>
                  <a:lnTo>
                    <a:pt x="1000" y="106"/>
                  </a:lnTo>
                  <a:lnTo>
                    <a:pt x="1000" y="106"/>
                  </a:lnTo>
                  <a:lnTo>
                    <a:pt x="1000" y="106"/>
                  </a:lnTo>
                  <a:lnTo>
                    <a:pt x="1000" y="104"/>
                  </a:lnTo>
                  <a:lnTo>
                    <a:pt x="1002" y="104"/>
                  </a:lnTo>
                  <a:lnTo>
                    <a:pt x="1002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5" y="104"/>
                  </a:lnTo>
                  <a:lnTo>
                    <a:pt x="1002" y="104"/>
                  </a:lnTo>
                  <a:lnTo>
                    <a:pt x="1000" y="104"/>
                  </a:lnTo>
                  <a:lnTo>
                    <a:pt x="1000" y="104"/>
                  </a:lnTo>
                  <a:lnTo>
                    <a:pt x="1000" y="104"/>
                  </a:lnTo>
                  <a:lnTo>
                    <a:pt x="1005" y="104"/>
                  </a:lnTo>
                  <a:lnTo>
                    <a:pt x="1007" y="104"/>
                  </a:lnTo>
                  <a:lnTo>
                    <a:pt x="1007" y="104"/>
                  </a:lnTo>
                  <a:close/>
                  <a:moveTo>
                    <a:pt x="980" y="104"/>
                  </a:moveTo>
                  <a:lnTo>
                    <a:pt x="966" y="106"/>
                  </a:lnTo>
                  <a:lnTo>
                    <a:pt x="964" y="106"/>
                  </a:lnTo>
                  <a:lnTo>
                    <a:pt x="960" y="106"/>
                  </a:lnTo>
                  <a:lnTo>
                    <a:pt x="960" y="106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4"/>
                  </a:lnTo>
                  <a:lnTo>
                    <a:pt x="969" y="104"/>
                  </a:lnTo>
                  <a:lnTo>
                    <a:pt x="969" y="104"/>
                  </a:lnTo>
                  <a:lnTo>
                    <a:pt x="971" y="104"/>
                  </a:lnTo>
                  <a:lnTo>
                    <a:pt x="971" y="104"/>
                  </a:lnTo>
                  <a:lnTo>
                    <a:pt x="971" y="104"/>
                  </a:lnTo>
                  <a:lnTo>
                    <a:pt x="971" y="104"/>
                  </a:lnTo>
                  <a:lnTo>
                    <a:pt x="971" y="104"/>
                  </a:lnTo>
                  <a:lnTo>
                    <a:pt x="971" y="104"/>
                  </a:lnTo>
                  <a:lnTo>
                    <a:pt x="971" y="104"/>
                  </a:lnTo>
                  <a:lnTo>
                    <a:pt x="973" y="102"/>
                  </a:lnTo>
                  <a:lnTo>
                    <a:pt x="978" y="102"/>
                  </a:lnTo>
                  <a:lnTo>
                    <a:pt x="982" y="102"/>
                  </a:lnTo>
                  <a:lnTo>
                    <a:pt x="980" y="104"/>
                  </a:lnTo>
                  <a:close/>
                  <a:moveTo>
                    <a:pt x="1124" y="106"/>
                  </a:moveTo>
                  <a:lnTo>
                    <a:pt x="1124" y="106"/>
                  </a:lnTo>
                  <a:lnTo>
                    <a:pt x="1124" y="106"/>
                  </a:lnTo>
                  <a:lnTo>
                    <a:pt x="1121" y="106"/>
                  </a:lnTo>
                  <a:lnTo>
                    <a:pt x="1121" y="106"/>
                  </a:lnTo>
                  <a:lnTo>
                    <a:pt x="1121" y="106"/>
                  </a:lnTo>
                  <a:lnTo>
                    <a:pt x="1119" y="106"/>
                  </a:lnTo>
                  <a:lnTo>
                    <a:pt x="1119" y="106"/>
                  </a:lnTo>
                  <a:lnTo>
                    <a:pt x="1119" y="106"/>
                  </a:lnTo>
                  <a:lnTo>
                    <a:pt x="1119" y="106"/>
                  </a:lnTo>
                  <a:lnTo>
                    <a:pt x="1117" y="106"/>
                  </a:lnTo>
                  <a:lnTo>
                    <a:pt x="1117" y="106"/>
                  </a:lnTo>
                  <a:lnTo>
                    <a:pt x="1117" y="106"/>
                  </a:lnTo>
                  <a:lnTo>
                    <a:pt x="1117" y="106"/>
                  </a:lnTo>
                  <a:lnTo>
                    <a:pt x="1115" y="104"/>
                  </a:lnTo>
                  <a:lnTo>
                    <a:pt x="1115" y="102"/>
                  </a:lnTo>
                  <a:lnTo>
                    <a:pt x="1115" y="102"/>
                  </a:lnTo>
                  <a:lnTo>
                    <a:pt x="1117" y="102"/>
                  </a:lnTo>
                  <a:lnTo>
                    <a:pt x="1117" y="102"/>
                  </a:lnTo>
                  <a:lnTo>
                    <a:pt x="1121" y="102"/>
                  </a:lnTo>
                  <a:lnTo>
                    <a:pt x="1121" y="102"/>
                  </a:lnTo>
                  <a:lnTo>
                    <a:pt x="1126" y="102"/>
                  </a:lnTo>
                  <a:lnTo>
                    <a:pt x="1126" y="102"/>
                  </a:lnTo>
                  <a:lnTo>
                    <a:pt x="1126" y="102"/>
                  </a:lnTo>
                  <a:lnTo>
                    <a:pt x="1128" y="102"/>
                  </a:lnTo>
                  <a:lnTo>
                    <a:pt x="1128" y="102"/>
                  </a:lnTo>
                  <a:lnTo>
                    <a:pt x="1128" y="102"/>
                  </a:lnTo>
                  <a:lnTo>
                    <a:pt x="1128" y="104"/>
                  </a:lnTo>
                  <a:lnTo>
                    <a:pt x="1128" y="104"/>
                  </a:lnTo>
                  <a:lnTo>
                    <a:pt x="1128" y="104"/>
                  </a:lnTo>
                  <a:lnTo>
                    <a:pt x="1126" y="104"/>
                  </a:lnTo>
                  <a:lnTo>
                    <a:pt x="1126" y="104"/>
                  </a:lnTo>
                  <a:lnTo>
                    <a:pt x="1124" y="104"/>
                  </a:lnTo>
                  <a:lnTo>
                    <a:pt x="1124" y="104"/>
                  </a:lnTo>
                  <a:lnTo>
                    <a:pt x="1124" y="104"/>
                  </a:lnTo>
                  <a:lnTo>
                    <a:pt x="1124" y="104"/>
                  </a:lnTo>
                  <a:lnTo>
                    <a:pt x="1124" y="104"/>
                  </a:lnTo>
                  <a:lnTo>
                    <a:pt x="1121" y="106"/>
                  </a:lnTo>
                  <a:lnTo>
                    <a:pt x="1121" y="106"/>
                  </a:lnTo>
                  <a:lnTo>
                    <a:pt x="1121" y="106"/>
                  </a:lnTo>
                  <a:lnTo>
                    <a:pt x="1124" y="106"/>
                  </a:lnTo>
                  <a:close/>
                  <a:moveTo>
                    <a:pt x="785" y="131"/>
                  </a:moveTo>
                  <a:lnTo>
                    <a:pt x="782" y="131"/>
                  </a:lnTo>
                  <a:lnTo>
                    <a:pt x="780" y="131"/>
                  </a:lnTo>
                  <a:lnTo>
                    <a:pt x="778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80" y="131"/>
                  </a:lnTo>
                  <a:lnTo>
                    <a:pt x="780" y="131"/>
                  </a:lnTo>
                  <a:lnTo>
                    <a:pt x="780" y="131"/>
                  </a:lnTo>
                  <a:lnTo>
                    <a:pt x="778" y="131"/>
                  </a:lnTo>
                  <a:lnTo>
                    <a:pt x="780" y="131"/>
                  </a:lnTo>
                  <a:lnTo>
                    <a:pt x="780" y="131"/>
                  </a:lnTo>
                  <a:lnTo>
                    <a:pt x="780" y="131"/>
                  </a:lnTo>
                  <a:lnTo>
                    <a:pt x="780" y="131"/>
                  </a:lnTo>
                  <a:lnTo>
                    <a:pt x="780" y="129"/>
                  </a:lnTo>
                  <a:lnTo>
                    <a:pt x="780" y="129"/>
                  </a:lnTo>
                  <a:lnTo>
                    <a:pt x="780" y="129"/>
                  </a:lnTo>
                  <a:lnTo>
                    <a:pt x="778" y="129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8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6" y="131"/>
                  </a:lnTo>
                  <a:lnTo>
                    <a:pt x="776" y="129"/>
                  </a:lnTo>
                  <a:lnTo>
                    <a:pt x="778" y="129"/>
                  </a:lnTo>
                  <a:lnTo>
                    <a:pt x="778" y="129"/>
                  </a:lnTo>
                  <a:lnTo>
                    <a:pt x="776" y="129"/>
                  </a:lnTo>
                  <a:lnTo>
                    <a:pt x="776" y="129"/>
                  </a:lnTo>
                  <a:lnTo>
                    <a:pt x="776" y="129"/>
                  </a:lnTo>
                  <a:lnTo>
                    <a:pt x="776" y="129"/>
                  </a:lnTo>
                  <a:lnTo>
                    <a:pt x="776" y="129"/>
                  </a:lnTo>
                  <a:lnTo>
                    <a:pt x="776" y="129"/>
                  </a:lnTo>
                  <a:lnTo>
                    <a:pt x="776" y="129"/>
                  </a:lnTo>
                  <a:lnTo>
                    <a:pt x="776" y="131"/>
                  </a:lnTo>
                  <a:lnTo>
                    <a:pt x="773" y="131"/>
                  </a:lnTo>
                  <a:lnTo>
                    <a:pt x="773" y="131"/>
                  </a:lnTo>
                  <a:lnTo>
                    <a:pt x="773" y="131"/>
                  </a:lnTo>
                  <a:lnTo>
                    <a:pt x="773" y="131"/>
                  </a:lnTo>
                  <a:lnTo>
                    <a:pt x="773" y="131"/>
                  </a:lnTo>
                  <a:lnTo>
                    <a:pt x="773" y="131"/>
                  </a:lnTo>
                  <a:lnTo>
                    <a:pt x="773" y="131"/>
                  </a:lnTo>
                  <a:lnTo>
                    <a:pt x="769" y="131"/>
                  </a:lnTo>
                  <a:lnTo>
                    <a:pt x="767" y="133"/>
                  </a:lnTo>
                  <a:lnTo>
                    <a:pt x="767" y="133"/>
                  </a:lnTo>
                  <a:lnTo>
                    <a:pt x="767" y="133"/>
                  </a:lnTo>
                  <a:lnTo>
                    <a:pt x="767" y="131"/>
                  </a:lnTo>
                  <a:lnTo>
                    <a:pt x="767" y="131"/>
                  </a:lnTo>
                  <a:lnTo>
                    <a:pt x="767" y="131"/>
                  </a:lnTo>
                  <a:lnTo>
                    <a:pt x="764" y="133"/>
                  </a:lnTo>
                  <a:lnTo>
                    <a:pt x="764" y="133"/>
                  </a:lnTo>
                  <a:lnTo>
                    <a:pt x="762" y="133"/>
                  </a:lnTo>
                  <a:lnTo>
                    <a:pt x="762" y="133"/>
                  </a:lnTo>
                  <a:lnTo>
                    <a:pt x="758" y="133"/>
                  </a:lnTo>
                  <a:lnTo>
                    <a:pt x="758" y="133"/>
                  </a:lnTo>
                  <a:lnTo>
                    <a:pt x="758" y="133"/>
                  </a:lnTo>
                  <a:lnTo>
                    <a:pt x="758" y="133"/>
                  </a:lnTo>
                  <a:lnTo>
                    <a:pt x="758" y="133"/>
                  </a:lnTo>
                  <a:lnTo>
                    <a:pt x="753" y="133"/>
                  </a:lnTo>
                  <a:lnTo>
                    <a:pt x="753" y="133"/>
                  </a:lnTo>
                  <a:lnTo>
                    <a:pt x="755" y="131"/>
                  </a:lnTo>
                  <a:lnTo>
                    <a:pt x="755" y="131"/>
                  </a:lnTo>
                  <a:lnTo>
                    <a:pt x="755" y="131"/>
                  </a:lnTo>
                  <a:lnTo>
                    <a:pt x="755" y="131"/>
                  </a:lnTo>
                  <a:lnTo>
                    <a:pt x="760" y="131"/>
                  </a:lnTo>
                  <a:lnTo>
                    <a:pt x="760" y="131"/>
                  </a:lnTo>
                  <a:lnTo>
                    <a:pt x="760" y="131"/>
                  </a:lnTo>
                  <a:lnTo>
                    <a:pt x="758" y="131"/>
                  </a:lnTo>
                  <a:lnTo>
                    <a:pt x="755" y="131"/>
                  </a:lnTo>
                  <a:lnTo>
                    <a:pt x="755" y="131"/>
                  </a:lnTo>
                  <a:lnTo>
                    <a:pt x="760" y="129"/>
                  </a:lnTo>
                  <a:lnTo>
                    <a:pt x="760" y="129"/>
                  </a:lnTo>
                  <a:lnTo>
                    <a:pt x="762" y="129"/>
                  </a:lnTo>
                  <a:lnTo>
                    <a:pt x="762" y="129"/>
                  </a:lnTo>
                  <a:lnTo>
                    <a:pt x="764" y="126"/>
                  </a:lnTo>
                  <a:lnTo>
                    <a:pt x="764" y="126"/>
                  </a:lnTo>
                  <a:lnTo>
                    <a:pt x="767" y="126"/>
                  </a:lnTo>
                  <a:lnTo>
                    <a:pt x="769" y="126"/>
                  </a:lnTo>
                  <a:lnTo>
                    <a:pt x="771" y="126"/>
                  </a:lnTo>
                  <a:lnTo>
                    <a:pt x="771" y="126"/>
                  </a:lnTo>
                  <a:lnTo>
                    <a:pt x="771" y="126"/>
                  </a:lnTo>
                  <a:lnTo>
                    <a:pt x="769" y="126"/>
                  </a:lnTo>
                  <a:lnTo>
                    <a:pt x="769" y="126"/>
                  </a:lnTo>
                  <a:lnTo>
                    <a:pt x="769" y="126"/>
                  </a:lnTo>
                  <a:lnTo>
                    <a:pt x="769" y="126"/>
                  </a:lnTo>
                  <a:lnTo>
                    <a:pt x="769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2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60" y="126"/>
                  </a:lnTo>
                  <a:lnTo>
                    <a:pt x="758" y="129"/>
                  </a:lnTo>
                  <a:lnTo>
                    <a:pt x="758" y="129"/>
                  </a:lnTo>
                  <a:lnTo>
                    <a:pt x="755" y="129"/>
                  </a:lnTo>
                  <a:lnTo>
                    <a:pt x="755" y="129"/>
                  </a:lnTo>
                  <a:lnTo>
                    <a:pt x="755" y="129"/>
                  </a:lnTo>
                  <a:lnTo>
                    <a:pt x="753" y="131"/>
                  </a:lnTo>
                  <a:lnTo>
                    <a:pt x="753" y="131"/>
                  </a:lnTo>
                  <a:lnTo>
                    <a:pt x="753" y="129"/>
                  </a:lnTo>
                  <a:lnTo>
                    <a:pt x="753" y="129"/>
                  </a:lnTo>
                  <a:lnTo>
                    <a:pt x="753" y="129"/>
                  </a:lnTo>
                  <a:lnTo>
                    <a:pt x="753" y="129"/>
                  </a:lnTo>
                  <a:lnTo>
                    <a:pt x="753" y="129"/>
                  </a:lnTo>
                  <a:lnTo>
                    <a:pt x="753" y="129"/>
                  </a:lnTo>
                  <a:lnTo>
                    <a:pt x="751" y="129"/>
                  </a:lnTo>
                  <a:lnTo>
                    <a:pt x="751" y="129"/>
                  </a:lnTo>
                  <a:lnTo>
                    <a:pt x="751" y="129"/>
                  </a:lnTo>
                  <a:lnTo>
                    <a:pt x="751" y="129"/>
                  </a:lnTo>
                  <a:lnTo>
                    <a:pt x="749" y="129"/>
                  </a:lnTo>
                  <a:lnTo>
                    <a:pt x="749" y="129"/>
                  </a:lnTo>
                  <a:lnTo>
                    <a:pt x="749" y="129"/>
                  </a:lnTo>
                  <a:lnTo>
                    <a:pt x="749" y="129"/>
                  </a:lnTo>
                  <a:lnTo>
                    <a:pt x="751" y="129"/>
                  </a:lnTo>
                  <a:lnTo>
                    <a:pt x="751" y="129"/>
                  </a:lnTo>
                  <a:lnTo>
                    <a:pt x="751" y="129"/>
                  </a:lnTo>
                  <a:lnTo>
                    <a:pt x="751" y="129"/>
                  </a:lnTo>
                  <a:lnTo>
                    <a:pt x="751" y="131"/>
                  </a:lnTo>
                  <a:lnTo>
                    <a:pt x="751" y="131"/>
                  </a:lnTo>
                  <a:lnTo>
                    <a:pt x="751" y="131"/>
                  </a:lnTo>
                  <a:lnTo>
                    <a:pt x="751" y="131"/>
                  </a:lnTo>
                  <a:lnTo>
                    <a:pt x="751" y="131"/>
                  </a:lnTo>
                  <a:lnTo>
                    <a:pt x="751" y="131"/>
                  </a:lnTo>
                  <a:lnTo>
                    <a:pt x="749" y="133"/>
                  </a:lnTo>
                  <a:lnTo>
                    <a:pt x="749" y="133"/>
                  </a:lnTo>
                  <a:lnTo>
                    <a:pt x="746" y="133"/>
                  </a:lnTo>
                  <a:lnTo>
                    <a:pt x="737" y="135"/>
                  </a:lnTo>
                  <a:lnTo>
                    <a:pt x="735" y="135"/>
                  </a:lnTo>
                  <a:lnTo>
                    <a:pt x="735" y="135"/>
                  </a:lnTo>
                  <a:lnTo>
                    <a:pt x="735" y="133"/>
                  </a:lnTo>
                  <a:lnTo>
                    <a:pt x="735" y="133"/>
                  </a:lnTo>
                  <a:lnTo>
                    <a:pt x="735" y="133"/>
                  </a:lnTo>
                  <a:lnTo>
                    <a:pt x="735" y="133"/>
                  </a:lnTo>
                  <a:lnTo>
                    <a:pt x="735" y="133"/>
                  </a:lnTo>
                  <a:lnTo>
                    <a:pt x="735" y="133"/>
                  </a:lnTo>
                  <a:lnTo>
                    <a:pt x="735" y="133"/>
                  </a:lnTo>
                  <a:lnTo>
                    <a:pt x="737" y="133"/>
                  </a:lnTo>
                  <a:lnTo>
                    <a:pt x="737" y="133"/>
                  </a:lnTo>
                  <a:lnTo>
                    <a:pt x="737" y="133"/>
                  </a:lnTo>
                  <a:lnTo>
                    <a:pt x="737" y="133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7" y="131"/>
                  </a:lnTo>
                  <a:lnTo>
                    <a:pt x="733" y="133"/>
                  </a:lnTo>
                  <a:lnTo>
                    <a:pt x="733" y="133"/>
                  </a:lnTo>
                  <a:lnTo>
                    <a:pt x="733" y="131"/>
                  </a:lnTo>
                  <a:lnTo>
                    <a:pt x="731" y="131"/>
                  </a:lnTo>
                  <a:lnTo>
                    <a:pt x="731" y="131"/>
                  </a:lnTo>
                  <a:lnTo>
                    <a:pt x="731" y="131"/>
                  </a:lnTo>
                  <a:lnTo>
                    <a:pt x="731" y="131"/>
                  </a:lnTo>
                  <a:lnTo>
                    <a:pt x="731" y="131"/>
                  </a:lnTo>
                  <a:lnTo>
                    <a:pt x="731" y="131"/>
                  </a:lnTo>
                  <a:lnTo>
                    <a:pt x="731" y="131"/>
                  </a:lnTo>
                  <a:lnTo>
                    <a:pt x="731" y="133"/>
                  </a:lnTo>
                  <a:lnTo>
                    <a:pt x="731" y="133"/>
                  </a:lnTo>
                  <a:lnTo>
                    <a:pt x="731" y="133"/>
                  </a:lnTo>
                  <a:lnTo>
                    <a:pt x="731" y="133"/>
                  </a:lnTo>
                  <a:lnTo>
                    <a:pt x="731" y="133"/>
                  </a:lnTo>
                  <a:lnTo>
                    <a:pt x="731" y="133"/>
                  </a:lnTo>
                  <a:lnTo>
                    <a:pt x="728" y="133"/>
                  </a:lnTo>
                  <a:lnTo>
                    <a:pt x="728" y="135"/>
                  </a:lnTo>
                  <a:lnTo>
                    <a:pt x="726" y="135"/>
                  </a:lnTo>
                  <a:lnTo>
                    <a:pt x="726" y="135"/>
                  </a:lnTo>
                  <a:lnTo>
                    <a:pt x="724" y="133"/>
                  </a:lnTo>
                  <a:lnTo>
                    <a:pt x="724" y="133"/>
                  </a:lnTo>
                  <a:lnTo>
                    <a:pt x="722" y="133"/>
                  </a:lnTo>
                  <a:lnTo>
                    <a:pt x="722" y="133"/>
                  </a:lnTo>
                  <a:lnTo>
                    <a:pt x="722" y="133"/>
                  </a:lnTo>
                  <a:lnTo>
                    <a:pt x="724" y="133"/>
                  </a:lnTo>
                  <a:lnTo>
                    <a:pt x="724" y="133"/>
                  </a:lnTo>
                  <a:lnTo>
                    <a:pt x="726" y="131"/>
                  </a:lnTo>
                  <a:lnTo>
                    <a:pt x="724" y="131"/>
                  </a:lnTo>
                  <a:lnTo>
                    <a:pt x="722" y="133"/>
                  </a:lnTo>
                  <a:lnTo>
                    <a:pt x="722" y="133"/>
                  </a:lnTo>
                  <a:lnTo>
                    <a:pt x="722" y="131"/>
                  </a:lnTo>
                  <a:lnTo>
                    <a:pt x="722" y="131"/>
                  </a:lnTo>
                  <a:lnTo>
                    <a:pt x="724" y="131"/>
                  </a:lnTo>
                  <a:lnTo>
                    <a:pt x="724" y="131"/>
                  </a:lnTo>
                  <a:lnTo>
                    <a:pt x="724" y="131"/>
                  </a:lnTo>
                  <a:lnTo>
                    <a:pt x="724" y="131"/>
                  </a:lnTo>
                  <a:lnTo>
                    <a:pt x="724" y="131"/>
                  </a:lnTo>
                  <a:lnTo>
                    <a:pt x="724" y="131"/>
                  </a:lnTo>
                  <a:lnTo>
                    <a:pt x="722" y="131"/>
                  </a:lnTo>
                  <a:lnTo>
                    <a:pt x="719" y="131"/>
                  </a:lnTo>
                  <a:lnTo>
                    <a:pt x="719" y="131"/>
                  </a:lnTo>
                  <a:lnTo>
                    <a:pt x="719" y="131"/>
                  </a:lnTo>
                  <a:lnTo>
                    <a:pt x="717" y="131"/>
                  </a:lnTo>
                  <a:lnTo>
                    <a:pt x="717" y="131"/>
                  </a:lnTo>
                  <a:lnTo>
                    <a:pt x="717" y="131"/>
                  </a:lnTo>
                  <a:lnTo>
                    <a:pt x="715" y="131"/>
                  </a:lnTo>
                  <a:lnTo>
                    <a:pt x="713" y="131"/>
                  </a:lnTo>
                  <a:lnTo>
                    <a:pt x="713" y="131"/>
                  </a:lnTo>
                  <a:lnTo>
                    <a:pt x="713" y="131"/>
                  </a:lnTo>
                  <a:lnTo>
                    <a:pt x="713" y="131"/>
                  </a:lnTo>
                  <a:lnTo>
                    <a:pt x="713" y="131"/>
                  </a:lnTo>
                  <a:lnTo>
                    <a:pt x="706" y="131"/>
                  </a:lnTo>
                  <a:lnTo>
                    <a:pt x="706" y="131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6" y="129"/>
                  </a:lnTo>
                  <a:lnTo>
                    <a:pt x="708" y="129"/>
                  </a:lnTo>
                  <a:lnTo>
                    <a:pt x="708" y="129"/>
                  </a:lnTo>
                  <a:lnTo>
                    <a:pt x="708" y="129"/>
                  </a:lnTo>
                  <a:lnTo>
                    <a:pt x="710" y="126"/>
                  </a:lnTo>
                  <a:lnTo>
                    <a:pt x="715" y="126"/>
                  </a:lnTo>
                  <a:lnTo>
                    <a:pt x="717" y="124"/>
                  </a:lnTo>
                  <a:lnTo>
                    <a:pt x="728" y="124"/>
                  </a:lnTo>
                  <a:lnTo>
                    <a:pt x="728" y="124"/>
                  </a:lnTo>
                  <a:lnTo>
                    <a:pt x="733" y="124"/>
                  </a:lnTo>
                  <a:lnTo>
                    <a:pt x="733" y="124"/>
                  </a:lnTo>
                  <a:lnTo>
                    <a:pt x="742" y="124"/>
                  </a:lnTo>
                  <a:lnTo>
                    <a:pt x="749" y="122"/>
                  </a:lnTo>
                  <a:lnTo>
                    <a:pt x="749" y="122"/>
                  </a:lnTo>
                  <a:lnTo>
                    <a:pt x="749" y="122"/>
                  </a:lnTo>
                  <a:lnTo>
                    <a:pt x="749" y="122"/>
                  </a:lnTo>
                  <a:lnTo>
                    <a:pt x="749" y="122"/>
                  </a:lnTo>
                  <a:lnTo>
                    <a:pt x="751" y="122"/>
                  </a:lnTo>
                  <a:lnTo>
                    <a:pt x="753" y="122"/>
                  </a:lnTo>
                  <a:lnTo>
                    <a:pt x="753" y="122"/>
                  </a:lnTo>
                  <a:lnTo>
                    <a:pt x="753" y="122"/>
                  </a:lnTo>
                  <a:lnTo>
                    <a:pt x="746" y="122"/>
                  </a:lnTo>
                  <a:lnTo>
                    <a:pt x="742" y="122"/>
                  </a:lnTo>
                  <a:lnTo>
                    <a:pt x="742" y="122"/>
                  </a:lnTo>
                  <a:lnTo>
                    <a:pt x="737" y="122"/>
                  </a:lnTo>
                  <a:lnTo>
                    <a:pt x="735" y="124"/>
                  </a:lnTo>
                  <a:lnTo>
                    <a:pt x="735" y="124"/>
                  </a:lnTo>
                  <a:lnTo>
                    <a:pt x="719" y="124"/>
                  </a:lnTo>
                  <a:lnTo>
                    <a:pt x="719" y="124"/>
                  </a:lnTo>
                  <a:lnTo>
                    <a:pt x="719" y="122"/>
                  </a:lnTo>
                  <a:lnTo>
                    <a:pt x="722" y="122"/>
                  </a:lnTo>
                  <a:lnTo>
                    <a:pt x="728" y="120"/>
                  </a:lnTo>
                  <a:lnTo>
                    <a:pt x="728" y="120"/>
                  </a:lnTo>
                  <a:lnTo>
                    <a:pt x="746" y="120"/>
                  </a:lnTo>
                  <a:lnTo>
                    <a:pt x="746" y="120"/>
                  </a:lnTo>
                  <a:lnTo>
                    <a:pt x="746" y="117"/>
                  </a:lnTo>
                  <a:lnTo>
                    <a:pt x="746" y="117"/>
                  </a:lnTo>
                  <a:lnTo>
                    <a:pt x="746" y="117"/>
                  </a:lnTo>
                  <a:lnTo>
                    <a:pt x="746" y="117"/>
                  </a:lnTo>
                  <a:lnTo>
                    <a:pt x="749" y="120"/>
                  </a:lnTo>
                  <a:lnTo>
                    <a:pt x="760" y="117"/>
                  </a:lnTo>
                  <a:lnTo>
                    <a:pt x="760" y="117"/>
                  </a:lnTo>
                  <a:lnTo>
                    <a:pt x="762" y="117"/>
                  </a:lnTo>
                  <a:lnTo>
                    <a:pt x="762" y="117"/>
                  </a:lnTo>
                  <a:lnTo>
                    <a:pt x="762" y="117"/>
                  </a:lnTo>
                  <a:lnTo>
                    <a:pt x="760" y="117"/>
                  </a:lnTo>
                  <a:lnTo>
                    <a:pt x="749" y="117"/>
                  </a:lnTo>
                  <a:lnTo>
                    <a:pt x="749" y="117"/>
                  </a:lnTo>
                  <a:lnTo>
                    <a:pt x="742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0" y="117"/>
                  </a:lnTo>
                  <a:lnTo>
                    <a:pt x="735" y="117"/>
                  </a:lnTo>
                  <a:lnTo>
                    <a:pt x="735" y="117"/>
                  </a:lnTo>
                  <a:lnTo>
                    <a:pt x="735" y="117"/>
                  </a:lnTo>
                  <a:lnTo>
                    <a:pt x="735" y="117"/>
                  </a:lnTo>
                  <a:lnTo>
                    <a:pt x="735" y="117"/>
                  </a:lnTo>
                  <a:lnTo>
                    <a:pt x="735" y="117"/>
                  </a:lnTo>
                  <a:lnTo>
                    <a:pt x="737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37" y="115"/>
                  </a:lnTo>
                  <a:lnTo>
                    <a:pt x="737" y="115"/>
                  </a:lnTo>
                  <a:lnTo>
                    <a:pt x="737" y="115"/>
                  </a:lnTo>
                  <a:lnTo>
                    <a:pt x="740" y="115"/>
                  </a:lnTo>
                  <a:lnTo>
                    <a:pt x="740" y="115"/>
                  </a:lnTo>
                  <a:lnTo>
                    <a:pt x="740" y="113"/>
                  </a:lnTo>
                  <a:lnTo>
                    <a:pt x="740" y="113"/>
                  </a:lnTo>
                  <a:lnTo>
                    <a:pt x="742" y="113"/>
                  </a:lnTo>
                  <a:lnTo>
                    <a:pt x="742" y="113"/>
                  </a:lnTo>
                  <a:lnTo>
                    <a:pt x="742" y="113"/>
                  </a:lnTo>
                  <a:lnTo>
                    <a:pt x="742" y="113"/>
                  </a:lnTo>
                  <a:lnTo>
                    <a:pt x="742" y="113"/>
                  </a:lnTo>
                  <a:lnTo>
                    <a:pt x="744" y="113"/>
                  </a:lnTo>
                  <a:lnTo>
                    <a:pt x="744" y="113"/>
                  </a:lnTo>
                  <a:lnTo>
                    <a:pt x="749" y="113"/>
                  </a:lnTo>
                  <a:lnTo>
                    <a:pt x="753" y="113"/>
                  </a:lnTo>
                  <a:lnTo>
                    <a:pt x="753" y="113"/>
                  </a:lnTo>
                  <a:lnTo>
                    <a:pt x="755" y="113"/>
                  </a:lnTo>
                  <a:lnTo>
                    <a:pt x="760" y="113"/>
                  </a:lnTo>
                  <a:lnTo>
                    <a:pt x="762" y="113"/>
                  </a:lnTo>
                  <a:lnTo>
                    <a:pt x="764" y="113"/>
                  </a:lnTo>
                  <a:lnTo>
                    <a:pt x="764" y="113"/>
                  </a:lnTo>
                  <a:lnTo>
                    <a:pt x="767" y="113"/>
                  </a:lnTo>
                  <a:lnTo>
                    <a:pt x="767" y="113"/>
                  </a:lnTo>
                  <a:lnTo>
                    <a:pt x="769" y="113"/>
                  </a:lnTo>
                  <a:lnTo>
                    <a:pt x="769" y="113"/>
                  </a:lnTo>
                  <a:lnTo>
                    <a:pt x="769" y="113"/>
                  </a:lnTo>
                  <a:lnTo>
                    <a:pt x="769" y="113"/>
                  </a:lnTo>
                  <a:lnTo>
                    <a:pt x="767" y="113"/>
                  </a:lnTo>
                  <a:lnTo>
                    <a:pt x="767" y="113"/>
                  </a:lnTo>
                  <a:lnTo>
                    <a:pt x="764" y="113"/>
                  </a:lnTo>
                  <a:lnTo>
                    <a:pt x="762" y="111"/>
                  </a:lnTo>
                  <a:lnTo>
                    <a:pt x="755" y="111"/>
                  </a:lnTo>
                  <a:lnTo>
                    <a:pt x="755" y="111"/>
                  </a:lnTo>
                  <a:lnTo>
                    <a:pt x="755" y="111"/>
                  </a:lnTo>
                  <a:lnTo>
                    <a:pt x="755" y="111"/>
                  </a:lnTo>
                  <a:lnTo>
                    <a:pt x="755" y="111"/>
                  </a:lnTo>
                  <a:lnTo>
                    <a:pt x="755" y="111"/>
                  </a:lnTo>
                  <a:lnTo>
                    <a:pt x="758" y="111"/>
                  </a:lnTo>
                  <a:lnTo>
                    <a:pt x="758" y="111"/>
                  </a:lnTo>
                  <a:lnTo>
                    <a:pt x="758" y="111"/>
                  </a:lnTo>
                  <a:lnTo>
                    <a:pt x="758" y="108"/>
                  </a:lnTo>
                  <a:lnTo>
                    <a:pt x="758" y="108"/>
                  </a:lnTo>
                  <a:lnTo>
                    <a:pt x="764" y="108"/>
                  </a:lnTo>
                  <a:lnTo>
                    <a:pt x="773" y="106"/>
                  </a:lnTo>
                  <a:lnTo>
                    <a:pt x="773" y="106"/>
                  </a:lnTo>
                  <a:lnTo>
                    <a:pt x="776" y="106"/>
                  </a:lnTo>
                  <a:lnTo>
                    <a:pt x="776" y="106"/>
                  </a:lnTo>
                  <a:lnTo>
                    <a:pt x="778" y="106"/>
                  </a:lnTo>
                  <a:lnTo>
                    <a:pt x="778" y="106"/>
                  </a:lnTo>
                  <a:lnTo>
                    <a:pt x="776" y="106"/>
                  </a:lnTo>
                  <a:lnTo>
                    <a:pt x="776" y="106"/>
                  </a:lnTo>
                  <a:lnTo>
                    <a:pt x="780" y="106"/>
                  </a:lnTo>
                  <a:lnTo>
                    <a:pt x="782" y="106"/>
                  </a:lnTo>
                  <a:lnTo>
                    <a:pt x="785" y="108"/>
                  </a:lnTo>
                  <a:lnTo>
                    <a:pt x="785" y="108"/>
                  </a:lnTo>
                  <a:lnTo>
                    <a:pt x="785" y="108"/>
                  </a:lnTo>
                  <a:lnTo>
                    <a:pt x="782" y="108"/>
                  </a:lnTo>
                  <a:lnTo>
                    <a:pt x="782" y="108"/>
                  </a:lnTo>
                  <a:lnTo>
                    <a:pt x="782" y="108"/>
                  </a:lnTo>
                  <a:lnTo>
                    <a:pt x="782" y="108"/>
                  </a:lnTo>
                  <a:lnTo>
                    <a:pt x="782" y="108"/>
                  </a:lnTo>
                  <a:lnTo>
                    <a:pt x="780" y="108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2" y="111"/>
                  </a:lnTo>
                  <a:lnTo>
                    <a:pt x="782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2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0" y="111"/>
                  </a:lnTo>
                  <a:lnTo>
                    <a:pt x="780" y="113"/>
                  </a:lnTo>
                  <a:lnTo>
                    <a:pt x="780" y="113"/>
                  </a:lnTo>
                  <a:lnTo>
                    <a:pt x="780" y="113"/>
                  </a:lnTo>
                  <a:lnTo>
                    <a:pt x="780" y="113"/>
                  </a:lnTo>
                  <a:lnTo>
                    <a:pt x="782" y="113"/>
                  </a:lnTo>
                  <a:lnTo>
                    <a:pt x="785" y="113"/>
                  </a:lnTo>
                  <a:lnTo>
                    <a:pt x="787" y="111"/>
                  </a:lnTo>
                  <a:lnTo>
                    <a:pt x="787" y="111"/>
                  </a:lnTo>
                  <a:lnTo>
                    <a:pt x="787" y="111"/>
                  </a:lnTo>
                  <a:lnTo>
                    <a:pt x="789" y="111"/>
                  </a:lnTo>
                  <a:lnTo>
                    <a:pt x="789" y="111"/>
                  </a:lnTo>
                  <a:lnTo>
                    <a:pt x="789" y="111"/>
                  </a:lnTo>
                  <a:lnTo>
                    <a:pt x="791" y="111"/>
                  </a:lnTo>
                  <a:lnTo>
                    <a:pt x="791" y="111"/>
                  </a:lnTo>
                  <a:lnTo>
                    <a:pt x="793" y="111"/>
                  </a:lnTo>
                  <a:lnTo>
                    <a:pt x="796" y="111"/>
                  </a:lnTo>
                  <a:lnTo>
                    <a:pt x="796" y="111"/>
                  </a:lnTo>
                  <a:lnTo>
                    <a:pt x="796" y="111"/>
                  </a:lnTo>
                  <a:lnTo>
                    <a:pt x="796" y="111"/>
                  </a:lnTo>
                  <a:lnTo>
                    <a:pt x="796" y="111"/>
                  </a:lnTo>
                  <a:lnTo>
                    <a:pt x="798" y="111"/>
                  </a:lnTo>
                  <a:lnTo>
                    <a:pt x="798" y="113"/>
                  </a:lnTo>
                  <a:lnTo>
                    <a:pt x="798" y="113"/>
                  </a:lnTo>
                  <a:lnTo>
                    <a:pt x="798" y="113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800" y="113"/>
                  </a:lnTo>
                  <a:lnTo>
                    <a:pt x="798" y="113"/>
                  </a:lnTo>
                  <a:lnTo>
                    <a:pt x="798" y="113"/>
                  </a:lnTo>
                  <a:lnTo>
                    <a:pt x="798" y="113"/>
                  </a:lnTo>
                  <a:lnTo>
                    <a:pt x="798" y="113"/>
                  </a:lnTo>
                  <a:lnTo>
                    <a:pt x="798" y="115"/>
                  </a:lnTo>
                  <a:lnTo>
                    <a:pt x="798" y="115"/>
                  </a:lnTo>
                  <a:lnTo>
                    <a:pt x="798" y="115"/>
                  </a:lnTo>
                  <a:lnTo>
                    <a:pt x="798" y="115"/>
                  </a:lnTo>
                  <a:lnTo>
                    <a:pt x="798" y="115"/>
                  </a:lnTo>
                  <a:lnTo>
                    <a:pt x="800" y="115"/>
                  </a:lnTo>
                  <a:lnTo>
                    <a:pt x="802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5" y="117"/>
                  </a:lnTo>
                  <a:lnTo>
                    <a:pt x="802" y="117"/>
                  </a:lnTo>
                  <a:lnTo>
                    <a:pt x="798" y="117"/>
                  </a:lnTo>
                  <a:lnTo>
                    <a:pt x="796" y="117"/>
                  </a:lnTo>
                  <a:lnTo>
                    <a:pt x="796" y="120"/>
                  </a:lnTo>
                  <a:lnTo>
                    <a:pt x="796" y="120"/>
                  </a:lnTo>
                  <a:lnTo>
                    <a:pt x="796" y="120"/>
                  </a:lnTo>
                  <a:lnTo>
                    <a:pt x="796" y="120"/>
                  </a:lnTo>
                  <a:lnTo>
                    <a:pt x="796" y="120"/>
                  </a:lnTo>
                  <a:lnTo>
                    <a:pt x="796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798" y="120"/>
                  </a:lnTo>
                  <a:lnTo>
                    <a:pt x="800" y="120"/>
                  </a:lnTo>
                  <a:lnTo>
                    <a:pt x="800" y="120"/>
                  </a:lnTo>
                  <a:lnTo>
                    <a:pt x="800" y="120"/>
                  </a:lnTo>
                  <a:lnTo>
                    <a:pt x="807" y="120"/>
                  </a:lnTo>
                  <a:lnTo>
                    <a:pt x="807" y="120"/>
                  </a:lnTo>
                  <a:lnTo>
                    <a:pt x="807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0"/>
                  </a:lnTo>
                  <a:lnTo>
                    <a:pt x="805" y="122"/>
                  </a:lnTo>
                  <a:lnTo>
                    <a:pt x="805" y="122"/>
                  </a:lnTo>
                  <a:lnTo>
                    <a:pt x="805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2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2" y="124"/>
                  </a:lnTo>
                  <a:lnTo>
                    <a:pt x="805" y="124"/>
                  </a:lnTo>
                  <a:lnTo>
                    <a:pt x="809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6" y="124"/>
                  </a:lnTo>
                  <a:lnTo>
                    <a:pt x="818" y="124"/>
                  </a:lnTo>
                  <a:lnTo>
                    <a:pt x="818" y="124"/>
                  </a:lnTo>
                  <a:lnTo>
                    <a:pt x="818" y="124"/>
                  </a:lnTo>
                  <a:lnTo>
                    <a:pt x="832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4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6" y="124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41" y="122"/>
                  </a:lnTo>
                  <a:lnTo>
                    <a:pt x="841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8" y="122"/>
                  </a:lnTo>
                  <a:lnTo>
                    <a:pt x="836" y="122"/>
                  </a:lnTo>
                  <a:lnTo>
                    <a:pt x="836" y="122"/>
                  </a:lnTo>
                  <a:lnTo>
                    <a:pt x="838" y="120"/>
                  </a:lnTo>
                  <a:lnTo>
                    <a:pt x="838" y="120"/>
                  </a:lnTo>
                  <a:lnTo>
                    <a:pt x="838" y="120"/>
                  </a:lnTo>
                  <a:lnTo>
                    <a:pt x="834" y="120"/>
                  </a:lnTo>
                  <a:lnTo>
                    <a:pt x="834" y="120"/>
                  </a:lnTo>
                  <a:lnTo>
                    <a:pt x="834" y="120"/>
                  </a:lnTo>
                  <a:lnTo>
                    <a:pt x="834" y="120"/>
                  </a:lnTo>
                  <a:lnTo>
                    <a:pt x="829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17"/>
                  </a:lnTo>
                  <a:lnTo>
                    <a:pt x="832" y="117"/>
                  </a:lnTo>
                  <a:lnTo>
                    <a:pt x="832" y="117"/>
                  </a:lnTo>
                  <a:lnTo>
                    <a:pt x="832" y="117"/>
                  </a:lnTo>
                  <a:lnTo>
                    <a:pt x="832" y="117"/>
                  </a:lnTo>
                  <a:lnTo>
                    <a:pt x="832" y="117"/>
                  </a:lnTo>
                  <a:lnTo>
                    <a:pt x="829" y="117"/>
                  </a:lnTo>
                  <a:lnTo>
                    <a:pt x="829" y="117"/>
                  </a:lnTo>
                  <a:lnTo>
                    <a:pt x="829" y="117"/>
                  </a:lnTo>
                  <a:lnTo>
                    <a:pt x="829" y="117"/>
                  </a:lnTo>
                  <a:lnTo>
                    <a:pt x="827" y="117"/>
                  </a:lnTo>
                  <a:lnTo>
                    <a:pt x="827" y="117"/>
                  </a:lnTo>
                  <a:lnTo>
                    <a:pt x="829" y="117"/>
                  </a:lnTo>
                  <a:lnTo>
                    <a:pt x="834" y="117"/>
                  </a:lnTo>
                  <a:lnTo>
                    <a:pt x="834" y="117"/>
                  </a:lnTo>
                  <a:lnTo>
                    <a:pt x="836" y="115"/>
                  </a:lnTo>
                  <a:lnTo>
                    <a:pt x="836" y="115"/>
                  </a:lnTo>
                  <a:lnTo>
                    <a:pt x="838" y="115"/>
                  </a:lnTo>
                  <a:lnTo>
                    <a:pt x="838" y="115"/>
                  </a:lnTo>
                  <a:lnTo>
                    <a:pt x="838" y="115"/>
                  </a:lnTo>
                  <a:lnTo>
                    <a:pt x="838" y="115"/>
                  </a:lnTo>
                  <a:lnTo>
                    <a:pt x="841" y="115"/>
                  </a:lnTo>
                  <a:lnTo>
                    <a:pt x="841" y="115"/>
                  </a:lnTo>
                  <a:lnTo>
                    <a:pt x="843" y="115"/>
                  </a:lnTo>
                  <a:lnTo>
                    <a:pt x="841" y="115"/>
                  </a:lnTo>
                  <a:lnTo>
                    <a:pt x="841" y="115"/>
                  </a:lnTo>
                  <a:lnTo>
                    <a:pt x="841" y="115"/>
                  </a:lnTo>
                  <a:lnTo>
                    <a:pt x="841" y="115"/>
                  </a:lnTo>
                  <a:lnTo>
                    <a:pt x="841" y="115"/>
                  </a:lnTo>
                  <a:lnTo>
                    <a:pt x="841" y="115"/>
                  </a:lnTo>
                  <a:lnTo>
                    <a:pt x="843" y="113"/>
                  </a:lnTo>
                  <a:lnTo>
                    <a:pt x="843" y="113"/>
                  </a:lnTo>
                  <a:lnTo>
                    <a:pt x="843" y="113"/>
                  </a:lnTo>
                  <a:lnTo>
                    <a:pt x="843" y="113"/>
                  </a:lnTo>
                  <a:lnTo>
                    <a:pt x="843" y="113"/>
                  </a:lnTo>
                  <a:lnTo>
                    <a:pt x="843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38" y="113"/>
                  </a:lnTo>
                  <a:lnTo>
                    <a:pt x="838" y="113"/>
                  </a:lnTo>
                  <a:lnTo>
                    <a:pt x="838" y="113"/>
                  </a:lnTo>
                  <a:lnTo>
                    <a:pt x="838" y="113"/>
                  </a:lnTo>
                  <a:lnTo>
                    <a:pt x="841" y="113"/>
                  </a:lnTo>
                  <a:lnTo>
                    <a:pt x="841" y="113"/>
                  </a:lnTo>
                  <a:lnTo>
                    <a:pt x="841" y="111"/>
                  </a:lnTo>
                  <a:lnTo>
                    <a:pt x="838" y="111"/>
                  </a:lnTo>
                  <a:lnTo>
                    <a:pt x="838" y="111"/>
                  </a:lnTo>
                  <a:lnTo>
                    <a:pt x="836" y="111"/>
                  </a:lnTo>
                  <a:lnTo>
                    <a:pt x="836" y="111"/>
                  </a:lnTo>
                  <a:lnTo>
                    <a:pt x="836" y="113"/>
                  </a:lnTo>
                  <a:lnTo>
                    <a:pt x="836" y="113"/>
                  </a:lnTo>
                  <a:lnTo>
                    <a:pt x="836" y="113"/>
                  </a:lnTo>
                  <a:lnTo>
                    <a:pt x="836" y="113"/>
                  </a:lnTo>
                  <a:lnTo>
                    <a:pt x="836" y="113"/>
                  </a:lnTo>
                  <a:lnTo>
                    <a:pt x="834" y="111"/>
                  </a:lnTo>
                  <a:lnTo>
                    <a:pt x="832" y="111"/>
                  </a:lnTo>
                  <a:lnTo>
                    <a:pt x="832" y="111"/>
                  </a:lnTo>
                  <a:lnTo>
                    <a:pt x="834" y="111"/>
                  </a:lnTo>
                  <a:lnTo>
                    <a:pt x="834" y="111"/>
                  </a:lnTo>
                  <a:lnTo>
                    <a:pt x="834" y="111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36" y="108"/>
                  </a:lnTo>
                  <a:lnTo>
                    <a:pt x="836" y="108"/>
                  </a:lnTo>
                  <a:lnTo>
                    <a:pt x="836" y="108"/>
                  </a:lnTo>
                  <a:lnTo>
                    <a:pt x="836" y="108"/>
                  </a:lnTo>
                  <a:lnTo>
                    <a:pt x="836" y="108"/>
                  </a:lnTo>
                  <a:lnTo>
                    <a:pt x="838" y="108"/>
                  </a:lnTo>
                  <a:lnTo>
                    <a:pt x="841" y="106"/>
                  </a:lnTo>
                  <a:lnTo>
                    <a:pt x="841" y="106"/>
                  </a:lnTo>
                  <a:lnTo>
                    <a:pt x="843" y="106"/>
                  </a:lnTo>
                  <a:lnTo>
                    <a:pt x="843" y="106"/>
                  </a:lnTo>
                  <a:lnTo>
                    <a:pt x="843" y="106"/>
                  </a:lnTo>
                  <a:lnTo>
                    <a:pt x="845" y="106"/>
                  </a:lnTo>
                  <a:lnTo>
                    <a:pt x="845" y="106"/>
                  </a:lnTo>
                  <a:lnTo>
                    <a:pt x="847" y="106"/>
                  </a:lnTo>
                  <a:lnTo>
                    <a:pt x="847" y="106"/>
                  </a:lnTo>
                  <a:lnTo>
                    <a:pt x="845" y="106"/>
                  </a:lnTo>
                  <a:lnTo>
                    <a:pt x="845" y="106"/>
                  </a:lnTo>
                  <a:lnTo>
                    <a:pt x="845" y="106"/>
                  </a:lnTo>
                  <a:lnTo>
                    <a:pt x="845" y="106"/>
                  </a:lnTo>
                  <a:lnTo>
                    <a:pt x="847" y="106"/>
                  </a:lnTo>
                  <a:lnTo>
                    <a:pt x="847" y="106"/>
                  </a:lnTo>
                  <a:lnTo>
                    <a:pt x="847" y="106"/>
                  </a:lnTo>
                  <a:lnTo>
                    <a:pt x="847" y="106"/>
                  </a:lnTo>
                  <a:lnTo>
                    <a:pt x="847" y="106"/>
                  </a:lnTo>
                  <a:lnTo>
                    <a:pt x="850" y="106"/>
                  </a:lnTo>
                  <a:lnTo>
                    <a:pt x="850" y="106"/>
                  </a:lnTo>
                  <a:lnTo>
                    <a:pt x="850" y="104"/>
                  </a:lnTo>
                  <a:lnTo>
                    <a:pt x="850" y="104"/>
                  </a:lnTo>
                  <a:lnTo>
                    <a:pt x="852" y="104"/>
                  </a:lnTo>
                  <a:lnTo>
                    <a:pt x="852" y="104"/>
                  </a:lnTo>
                  <a:lnTo>
                    <a:pt x="852" y="104"/>
                  </a:lnTo>
                  <a:lnTo>
                    <a:pt x="852" y="104"/>
                  </a:lnTo>
                  <a:lnTo>
                    <a:pt x="854" y="104"/>
                  </a:lnTo>
                  <a:lnTo>
                    <a:pt x="854" y="104"/>
                  </a:lnTo>
                  <a:lnTo>
                    <a:pt x="854" y="102"/>
                  </a:lnTo>
                  <a:lnTo>
                    <a:pt x="856" y="102"/>
                  </a:lnTo>
                  <a:lnTo>
                    <a:pt x="856" y="102"/>
                  </a:lnTo>
                  <a:lnTo>
                    <a:pt x="856" y="102"/>
                  </a:lnTo>
                  <a:lnTo>
                    <a:pt x="859" y="102"/>
                  </a:lnTo>
                  <a:lnTo>
                    <a:pt x="859" y="102"/>
                  </a:lnTo>
                  <a:lnTo>
                    <a:pt x="859" y="102"/>
                  </a:lnTo>
                  <a:lnTo>
                    <a:pt x="859" y="102"/>
                  </a:lnTo>
                  <a:lnTo>
                    <a:pt x="859" y="102"/>
                  </a:lnTo>
                  <a:lnTo>
                    <a:pt x="861" y="102"/>
                  </a:lnTo>
                  <a:lnTo>
                    <a:pt x="861" y="102"/>
                  </a:lnTo>
                  <a:lnTo>
                    <a:pt x="861" y="102"/>
                  </a:lnTo>
                  <a:lnTo>
                    <a:pt x="863" y="102"/>
                  </a:lnTo>
                  <a:lnTo>
                    <a:pt x="865" y="102"/>
                  </a:lnTo>
                  <a:lnTo>
                    <a:pt x="865" y="102"/>
                  </a:lnTo>
                  <a:lnTo>
                    <a:pt x="865" y="102"/>
                  </a:lnTo>
                  <a:lnTo>
                    <a:pt x="865" y="102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99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68" y="102"/>
                  </a:lnTo>
                  <a:lnTo>
                    <a:pt x="870" y="102"/>
                  </a:lnTo>
                  <a:lnTo>
                    <a:pt x="870" y="102"/>
                  </a:lnTo>
                  <a:lnTo>
                    <a:pt x="868" y="104"/>
                  </a:lnTo>
                  <a:lnTo>
                    <a:pt x="868" y="104"/>
                  </a:lnTo>
                  <a:lnTo>
                    <a:pt x="865" y="104"/>
                  </a:lnTo>
                  <a:lnTo>
                    <a:pt x="865" y="104"/>
                  </a:lnTo>
                  <a:lnTo>
                    <a:pt x="865" y="104"/>
                  </a:lnTo>
                  <a:lnTo>
                    <a:pt x="865" y="104"/>
                  </a:lnTo>
                  <a:lnTo>
                    <a:pt x="863" y="104"/>
                  </a:lnTo>
                  <a:lnTo>
                    <a:pt x="863" y="104"/>
                  </a:lnTo>
                  <a:lnTo>
                    <a:pt x="863" y="104"/>
                  </a:lnTo>
                  <a:lnTo>
                    <a:pt x="863" y="104"/>
                  </a:lnTo>
                  <a:lnTo>
                    <a:pt x="863" y="104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1" y="106"/>
                  </a:lnTo>
                  <a:lnTo>
                    <a:pt x="861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3" y="106"/>
                  </a:lnTo>
                  <a:lnTo>
                    <a:pt x="861" y="106"/>
                  </a:lnTo>
                  <a:lnTo>
                    <a:pt x="861" y="106"/>
                  </a:lnTo>
                  <a:lnTo>
                    <a:pt x="861" y="106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1" y="108"/>
                  </a:lnTo>
                  <a:lnTo>
                    <a:pt x="861" y="108"/>
                  </a:lnTo>
                  <a:lnTo>
                    <a:pt x="859" y="108"/>
                  </a:lnTo>
                  <a:lnTo>
                    <a:pt x="859" y="108"/>
                  </a:lnTo>
                  <a:lnTo>
                    <a:pt x="861" y="108"/>
                  </a:lnTo>
                  <a:lnTo>
                    <a:pt x="861" y="108"/>
                  </a:lnTo>
                  <a:lnTo>
                    <a:pt x="861" y="108"/>
                  </a:lnTo>
                  <a:lnTo>
                    <a:pt x="861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08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3" y="111"/>
                  </a:lnTo>
                  <a:lnTo>
                    <a:pt x="861" y="111"/>
                  </a:lnTo>
                  <a:lnTo>
                    <a:pt x="861" y="111"/>
                  </a:lnTo>
                  <a:lnTo>
                    <a:pt x="861" y="111"/>
                  </a:lnTo>
                  <a:lnTo>
                    <a:pt x="863" y="111"/>
                  </a:lnTo>
                  <a:lnTo>
                    <a:pt x="861" y="113"/>
                  </a:lnTo>
                  <a:lnTo>
                    <a:pt x="859" y="113"/>
                  </a:lnTo>
                  <a:lnTo>
                    <a:pt x="856" y="113"/>
                  </a:lnTo>
                  <a:lnTo>
                    <a:pt x="856" y="113"/>
                  </a:lnTo>
                  <a:lnTo>
                    <a:pt x="856" y="113"/>
                  </a:lnTo>
                  <a:lnTo>
                    <a:pt x="856" y="113"/>
                  </a:lnTo>
                  <a:lnTo>
                    <a:pt x="854" y="113"/>
                  </a:lnTo>
                  <a:lnTo>
                    <a:pt x="854" y="113"/>
                  </a:lnTo>
                  <a:lnTo>
                    <a:pt x="854" y="115"/>
                  </a:lnTo>
                  <a:lnTo>
                    <a:pt x="854" y="115"/>
                  </a:lnTo>
                  <a:lnTo>
                    <a:pt x="854" y="115"/>
                  </a:lnTo>
                  <a:lnTo>
                    <a:pt x="854" y="115"/>
                  </a:lnTo>
                  <a:lnTo>
                    <a:pt x="854" y="115"/>
                  </a:lnTo>
                  <a:lnTo>
                    <a:pt x="852" y="115"/>
                  </a:lnTo>
                  <a:lnTo>
                    <a:pt x="852" y="115"/>
                  </a:lnTo>
                  <a:lnTo>
                    <a:pt x="854" y="115"/>
                  </a:lnTo>
                  <a:lnTo>
                    <a:pt x="856" y="115"/>
                  </a:lnTo>
                  <a:lnTo>
                    <a:pt x="859" y="115"/>
                  </a:lnTo>
                  <a:lnTo>
                    <a:pt x="861" y="115"/>
                  </a:lnTo>
                  <a:lnTo>
                    <a:pt x="861" y="115"/>
                  </a:lnTo>
                  <a:lnTo>
                    <a:pt x="863" y="115"/>
                  </a:lnTo>
                  <a:lnTo>
                    <a:pt x="863" y="115"/>
                  </a:lnTo>
                  <a:lnTo>
                    <a:pt x="863" y="115"/>
                  </a:lnTo>
                  <a:lnTo>
                    <a:pt x="863" y="115"/>
                  </a:lnTo>
                  <a:lnTo>
                    <a:pt x="863" y="115"/>
                  </a:lnTo>
                  <a:lnTo>
                    <a:pt x="863" y="115"/>
                  </a:lnTo>
                  <a:lnTo>
                    <a:pt x="863" y="117"/>
                  </a:lnTo>
                  <a:lnTo>
                    <a:pt x="863" y="117"/>
                  </a:lnTo>
                  <a:lnTo>
                    <a:pt x="861" y="117"/>
                  </a:lnTo>
                  <a:lnTo>
                    <a:pt x="859" y="117"/>
                  </a:lnTo>
                  <a:lnTo>
                    <a:pt x="861" y="117"/>
                  </a:lnTo>
                  <a:lnTo>
                    <a:pt x="861" y="117"/>
                  </a:lnTo>
                  <a:lnTo>
                    <a:pt x="861" y="117"/>
                  </a:lnTo>
                  <a:lnTo>
                    <a:pt x="859" y="117"/>
                  </a:lnTo>
                  <a:lnTo>
                    <a:pt x="859" y="117"/>
                  </a:lnTo>
                  <a:lnTo>
                    <a:pt x="856" y="117"/>
                  </a:lnTo>
                  <a:lnTo>
                    <a:pt x="856" y="117"/>
                  </a:lnTo>
                  <a:lnTo>
                    <a:pt x="856" y="117"/>
                  </a:lnTo>
                  <a:lnTo>
                    <a:pt x="856" y="117"/>
                  </a:lnTo>
                  <a:lnTo>
                    <a:pt x="856" y="117"/>
                  </a:lnTo>
                  <a:lnTo>
                    <a:pt x="856" y="117"/>
                  </a:lnTo>
                  <a:lnTo>
                    <a:pt x="854" y="120"/>
                  </a:lnTo>
                  <a:lnTo>
                    <a:pt x="854" y="120"/>
                  </a:lnTo>
                  <a:lnTo>
                    <a:pt x="854" y="120"/>
                  </a:lnTo>
                  <a:lnTo>
                    <a:pt x="854" y="120"/>
                  </a:lnTo>
                  <a:lnTo>
                    <a:pt x="854" y="120"/>
                  </a:lnTo>
                  <a:lnTo>
                    <a:pt x="854" y="120"/>
                  </a:lnTo>
                  <a:lnTo>
                    <a:pt x="854" y="120"/>
                  </a:lnTo>
                  <a:lnTo>
                    <a:pt x="856" y="120"/>
                  </a:lnTo>
                  <a:lnTo>
                    <a:pt x="856" y="120"/>
                  </a:lnTo>
                  <a:lnTo>
                    <a:pt x="859" y="117"/>
                  </a:lnTo>
                  <a:lnTo>
                    <a:pt x="859" y="117"/>
                  </a:lnTo>
                  <a:lnTo>
                    <a:pt x="859" y="117"/>
                  </a:lnTo>
                  <a:lnTo>
                    <a:pt x="865" y="117"/>
                  </a:lnTo>
                  <a:lnTo>
                    <a:pt x="865" y="117"/>
                  </a:lnTo>
                  <a:lnTo>
                    <a:pt x="868" y="117"/>
                  </a:lnTo>
                  <a:lnTo>
                    <a:pt x="868" y="117"/>
                  </a:lnTo>
                  <a:lnTo>
                    <a:pt x="870" y="117"/>
                  </a:lnTo>
                  <a:lnTo>
                    <a:pt x="870" y="117"/>
                  </a:lnTo>
                  <a:lnTo>
                    <a:pt x="868" y="117"/>
                  </a:lnTo>
                  <a:lnTo>
                    <a:pt x="868" y="117"/>
                  </a:lnTo>
                  <a:lnTo>
                    <a:pt x="868" y="117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65" y="122"/>
                  </a:lnTo>
                  <a:lnTo>
                    <a:pt x="865" y="122"/>
                  </a:lnTo>
                  <a:lnTo>
                    <a:pt x="865" y="122"/>
                  </a:lnTo>
                  <a:lnTo>
                    <a:pt x="865" y="122"/>
                  </a:lnTo>
                  <a:lnTo>
                    <a:pt x="865" y="122"/>
                  </a:lnTo>
                  <a:lnTo>
                    <a:pt x="865" y="122"/>
                  </a:lnTo>
                  <a:lnTo>
                    <a:pt x="868" y="122"/>
                  </a:lnTo>
                  <a:lnTo>
                    <a:pt x="868" y="122"/>
                  </a:lnTo>
                  <a:lnTo>
                    <a:pt x="868" y="122"/>
                  </a:lnTo>
                  <a:lnTo>
                    <a:pt x="868" y="122"/>
                  </a:lnTo>
                  <a:lnTo>
                    <a:pt x="868" y="122"/>
                  </a:lnTo>
                  <a:lnTo>
                    <a:pt x="868" y="122"/>
                  </a:lnTo>
                  <a:lnTo>
                    <a:pt x="868" y="122"/>
                  </a:lnTo>
                  <a:lnTo>
                    <a:pt x="868" y="120"/>
                  </a:lnTo>
                  <a:lnTo>
                    <a:pt x="868" y="120"/>
                  </a:lnTo>
                  <a:lnTo>
                    <a:pt x="870" y="120"/>
                  </a:lnTo>
                  <a:lnTo>
                    <a:pt x="870" y="120"/>
                  </a:lnTo>
                  <a:lnTo>
                    <a:pt x="870" y="120"/>
                  </a:lnTo>
                  <a:lnTo>
                    <a:pt x="872" y="120"/>
                  </a:lnTo>
                  <a:lnTo>
                    <a:pt x="874" y="120"/>
                  </a:lnTo>
                  <a:lnTo>
                    <a:pt x="872" y="120"/>
                  </a:lnTo>
                  <a:lnTo>
                    <a:pt x="870" y="120"/>
                  </a:lnTo>
                  <a:lnTo>
                    <a:pt x="870" y="120"/>
                  </a:lnTo>
                  <a:lnTo>
                    <a:pt x="870" y="117"/>
                  </a:lnTo>
                  <a:lnTo>
                    <a:pt x="872" y="117"/>
                  </a:lnTo>
                  <a:lnTo>
                    <a:pt x="872" y="117"/>
                  </a:lnTo>
                  <a:lnTo>
                    <a:pt x="872" y="117"/>
                  </a:lnTo>
                  <a:lnTo>
                    <a:pt x="872" y="117"/>
                  </a:lnTo>
                  <a:lnTo>
                    <a:pt x="874" y="117"/>
                  </a:lnTo>
                  <a:lnTo>
                    <a:pt x="874" y="115"/>
                  </a:lnTo>
                  <a:lnTo>
                    <a:pt x="877" y="115"/>
                  </a:lnTo>
                  <a:lnTo>
                    <a:pt x="877" y="115"/>
                  </a:lnTo>
                  <a:lnTo>
                    <a:pt x="879" y="115"/>
                  </a:lnTo>
                  <a:lnTo>
                    <a:pt x="879" y="115"/>
                  </a:lnTo>
                  <a:lnTo>
                    <a:pt x="879" y="115"/>
                  </a:lnTo>
                  <a:lnTo>
                    <a:pt x="883" y="115"/>
                  </a:lnTo>
                  <a:lnTo>
                    <a:pt x="890" y="115"/>
                  </a:lnTo>
                  <a:lnTo>
                    <a:pt x="890" y="117"/>
                  </a:lnTo>
                  <a:lnTo>
                    <a:pt x="890" y="117"/>
                  </a:lnTo>
                  <a:lnTo>
                    <a:pt x="890" y="117"/>
                  </a:lnTo>
                  <a:lnTo>
                    <a:pt x="890" y="120"/>
                  </a:lnTo>
                  <a:lnTo>
                    <a:pt x="890" y="120"/>
                  </a:lnTo>
                  <a:lnTo>
                    <a:pt x="890" y="120"/>
                  </a:lnTo>
                  <a:lnTo>
                    <a:pt x="888" y="120"/>
                  </a:lnTo>
                  <a:lnTo>
                    <a:pt x="888" y="120"/>
                  </a:lnTo>
                  <a:lnTo>
                    <a:pt x="888" y="120"/>
                  </a:lnTo>
                  <a:lnTo>
                    <a:pt x="888" y="122"/>
                  </a:lnTo>
                  <a:lnTo>
                    <a:pt x="888" y="122"/>
                  </a:lnTo>
                  <a:lnTo>
                    <a:pt x="888" y="122"/>
                  </a:lnTo>
                  <a:lnTo>
                    <a:pt x="888" y="122"/>
                  </a:lnTo>
                  <a:lnTo>
                    <a:pt x="888" y="122"/>
                  </a:lnTo>
                  <a:lnTo>
                    <a:pt x="888" y="122"/>
                  </a:lnTo>
                  <a:lnTo>
                    <a:pt x="888" y="122"/>
                  </a:lnTo>
                  <a:lnTo>
                    <a:pt x="886" y="122"/>
                  </a:lnTo>
                  <a:lnTo>
                    <a:pt x="886" y="122"/>
                  </a:lnTo>
                  <a:lnTo>
                    <a:pt x="886" y="122"/>
                  </a:lnTo>
                  <a:lnTo>
                    <a:pt x="886" y="124"/>
                  </a:lnTo>
                  <a:lnTo>
                    <a:pt x="883" y="124"/>
                  </a:lnTo>
                  <a:lnTo>
                    <a:pt x="883" y="124"/>
                  </a:lnTo>
                  <a:lnTo>
                    <a:pt x="883" y="124"/>
                  </a:lnTo>
                  <a:lnTo>
                    <a:pt x="883" y="124"/>
                  </a:lnTo>
                  <a:lnTo>
                    <a:pt x="881" y="124"/>
                  </a:lnTo>
                  <a:lnTo>
                    <a:pt x="881" y="124"/>
                  </a:lnTo>
                  <a:lnTo>
                    <a:pt x="881" y="124"/>
                  </a:lnTo>
                  <a:lnTo>
                    <a:pt x="881" y="124"/>
                  </a:lnTo>
                  <a:lnTo>
                    <a:pt x="881" y="124"/>
                  </a:lnTo>
                  <a:lnTo>
                    <a:pt x="881" y="124"/>
                  </a:lnTo>
                  <a:lnTo>
                    <a:pt x="879" y="124"/>
                  </a:lnTo>
                  <a:lnTo>
                    <a:pt x="879" y="124"/>
                  </a:lnTo>
                  <a:lnTo>
                    <a:pt x="879" y="124"/>
                  </a:lnTo>
                  <a:lnTo>
                    <a:pt x="879" y="124"/>
                  </a:lnTo>
                  <a:lnTo>
                    <a:pt x="881" y="124"/>
                  </a:lnTo>
                  <a:lnTo>
                    <a:pt x="881" y="126"/>
                  </a:lnTo>
                  <a:lnTo>
                    <a:pt x="879" y="126"/>
                  </a:lnTo>
                  <a:lnTo>
                    <a:pt x="879" y="126"/>
                  </a:lnTo>
                  <a:lnTo>
                    <a:pt x="879" y="126"/>
                  </a:lnTo>
                  <a:lnTo>
                    <a:pt x="877" y="126"/>
                  </a:lnTo>
                  <a:lnTo>
                    <a:pt x="877" y="126"/>
                  </a:lnTo>
                  <a:lnTo>
                    <a:pt x="877" y="126"/>
                  </a:lnTo>
                  <a:lnTo>
                    <a:pt x="877" y="126"/>
                  </a:lnTo>
                  <a:lnTo>
                    <a:pt x="877" y="126"/>
                  </a:lnTo>
                  <a:lnTo>
                    <a:pt x="877" y="126"/>
                  </a:lnTo>
                  <a:lnTo>
                    <a:pt x="877" y="126"/>
                  </a:lnTo>
                  <a:lnTo>
                    <a:pt x="877" y="129"/>
                  </a:lnTo>
                  <a:lnTo>
                    <a:pt x="877" y="129"/>
                  </a:lnTo>
                  <a:lnTo>
                    <a:pt x="877" y="129"/>
                  </a:lnTo>
                  <a:lnTo>
                    <a:pt x="874" y="129"/>
                  </a:lnTo>
                  <a:lnTo>
                    <a:pt x="874" y="129"/>
                  </a:lnTo>
                  <a:lnTo>
                    <a:pt x="874" y="129"/>
                  </a:lnTo>
                  <a:lnTo>
                    <a:pt x="872" y="129"/>
                  </a:lnTo>
                  <a:lnTo>
                    <a:pt x="872" y="129"/>
                  </a:lnTo>
                  <a:lnTo>
                    <a:pt x="872" y="129"/>
                  </a:lnTo>
                  <a:lnTo>
                    <a:pt x="870" y="131"/>
                  </a:lnTo>
                  <a:lnTo>
                    <a:pt x="870" y="131"/>
                  </a:lnTo>
                  <a:lnTo>
                    <a:pt x="870" y="131"/>
                  </a:lnTo>
                  <a:lnTo>
                    <a:pt x="870" y="131"/>
                  </a:lnTo>
                  <a:lnTo>
                    <a:pt x="870" y="131"/>
                  </a:lnTo>
                  <a:lnTo>
                    <a:pt x="870" y="131"/>
                  </a:lnTo>
                  <a:lnTo>
                    <a:pt x="870" y="131"/>
                  </a:lnTo>
                  <a:lnTo>
                    <a:pt x="868" y="131"/>
                  </a:lnTo>
                  <a:lnTo>
                    <a:pt x="865" y="131"/>
                  </a:lnTo>
                  <a:lnTo>
                    <a:pt x="865" y="131"/>
                  </a:lnTo>
                  <a:lnTo>
                    <a:pt x="865" y="133"/>
                  </a:lnTo>
                  <a:lnTo>
                    <a:pt x="865" y="133"/>
                  </a:lnTo>
                  <a:lnTo>
                    <a:pt x="865" y="133"/>
                  </a:lnTo>
                  <a:lnTo>
                    <a:pt x="865" y="133"/>
                  </a:lnTo>
                  <a:lnTo>
                    <a:pt x="865" y="133"/>
                  </a:lnTo>
                  <a:lnTo>
                    <a:pt x="865" y="133"/>
                  </a:lnTo>
                  <a:lnTo>
                    <a:pt x="865" y="133"/>
                  </a:lnTo>
                  <a:lnTo>
                    <a:pt x="854" y="133"/>
                  </a:lnTo>
                  <a:lnTo>
                    <a:pt x="854" y="133"/>
                  </a:lnTo>
                  <a:lnTo>
                    <a:pt x="854" y="133"/>
                  </a:lnTo>
                  <a:lnTo>
                    <a:pt x="854" y="133"/>
                  </a:lnTo>
                  <a:lnTo>
                    <a:pt x="852" y="133"/>
                  </a:lnTo>
                  <a:lnTo>
                    <a:pt x="852" y="135"/>
                  </a:lnTo>
                  <a:lnTo>
                    <a:pt x="847" y="135"/>
                  </a:lnTo>
                  <a:lnTo>
                    <a:pt x="845" y="135"/>
                  </a:lnTo>
                  <a:lnTo>
                    <a:pt x="845" y="135"/>
                  </a:lnTo>
                  <a:lnTo>
                    <a:pt x="841" y="135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3" y="133"/>
                  </a:lnTo>
                  <a:lnTo>
                    <a:pt x="843" y="133"/>
                  </a:lnTo>
                  <a:lnTo>
                    <a:pt x="843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41" y="133"/>
                  </a:lnTo>
                  <a:lnTo>
                    <a:pt x="838" y="133"/>
                  </a:lnTo>
                  <a:lnTo>
                    <a:pt x="836" y="133"/>
                  </a:lnTo>
                  <a:lnTo>
                    <a:pt x="836" y="133"/>
                  </a:lnTo>
                  <a:lnTo>
                    <a:pt x="838" y="133"/>
                  </a:lnTo>
                  <a:lnTo>
                    <a:pt x="838" y="133"/>
                  </a:lnTo>
                  <a:lnTo>
                    <a:pt x="838" y="133"/>
                  </a:lnTo>
                  <a:lnTo>
                    <a:pt x="836" y="133"/>
                  </a:lnTo>
                  <a:lnTo>
                    <a:pt x="836" y="133"/>
                  </a:lnTo>
                  <a:lnTo>
                    <a:pt x="836" y="133"/>
                  </a:lnTo>
                  <a:lnTo>
                    <a:pt x="836" y="133"/>
                  </a:lnTo>
                  <a:lnTo>
                    <a:pt x="836" y="133"/>
                  </a:lnTo>
                  <a:lnTo>
                    <a:pt x="836" y="133"/>
                  </a:lnTo>
                  <a:lnTo>
                    <a:pt x="836" y="135"/>
                  </a:lnTo>
                  <a:lnTo>
                    <a:pt x="836" y="135"/>
                  </a:lnTo>
                  <a:lnTo>
                    <a:pt x="834" y="135"/>
                  </a:lnTo>
                  <a:lnTo>
                    <a:pt x="834" y="135"/>
                  </a:lnTo>
                  <a:lnTo>
                    <a:pt x="836" y="135"/>
                  </a:lnTo>
                  <a:lnTo>
                    <a:pt x="836" y="135"/>
                  </a:lnTo>
                  <a:lnTo>
                    <a:pt x="834" y="135"/>
                  </a:lnTo>
                  <a:lnTo>
                    <a:pt x="834" y="135"/>
                  </a:lnTo>
                  <a:lnTo>
                    <a:pt x="829" y="135"/>
                  </a:lnTo>
                  <a:lnTo>
                    <a:pt x="827" y="135"/>
                  </a:lnTo>
                  <a:lnTo>
                    <a:pt x="827" y="135"/>
                  </a:lnTo>
                  <a:lnTo>
                    <a:pt x="827" y="135"/>
                  </a:lnTo>
                  <a:lnTo>
                    <a:pt x="827" y="135"/>
                  </a:lnTo>
                  <a:lnTo>
                    <a:pt x="825" y="135"/>
                  </a:lnTo>
                  <a:lnTo>
                    <a:pt x="825" y="133"/>
                  </a:lnTo>
                  <a:lnTo>
                    <a:pt x="827" y="135"/>
                  </a:lnTo>
                  <a:lnTo>
                    <a:pt x="829" y="133"/>
                  </a:lnTo>
                  <a:lnTo>
                    <a:pt x="829" y="133"/>
                  </a:lnTo>
                  <a:lnTo>
                    <a:pt x="827" y="133"/>
                  </a:lnTo>
                  <a:lnTo>
                    <a:pt x="825" y="133"/>
                  </a:lnTo>
                  <a:lnTo>
                    <a:pt x="825" y="133"/>
                  </a:lnTo>
                  <a:lnTo>
                    <a:pt x="823" y="133"/>
                  </a:lnTo>
                  <a:lnTo>
                    <a:pt x="823" y="133"/>
                  </a:lnTo>
                  <a:lnTo>
                    <a:pt x="823" y="133"/>
                  </a:lnTo>
                  <a:lnTo>
                    <a:pt x="823" y="133"/>
                  </a:lnTo>
                  <a:lnTo>
                    <a:pt x="823" y="133"/>
                  </a:lnTo>
                  <a:lnTo>
                    <a:pt x="823" y="133"/>
                  </a:lnTo>
                  <a:lnTo>
                    <a:pt x="823" y="133"/>
                  </a:lnTo>
                  <a:lnTo>
                    <a:pt x="820" y="133"/>
                  </a:lnTo>
                  <a:lnTo>
                    <a:pt x="823" y="133"/>
                  </a:lnTo>
                  <a:lnTo>
                    <a:pt x="820" y="133"/>
                  </a:lnTo>
                  <a:lnTo>
                    <a:pt x="816" y="135"/>
                  </a:lnTo>
                  <a:lnTo>
                    <a:pt x="816" y="135"/>
                  </a:lnTo>
                  <a:lnTo>
                    <a:pt x="814" y="135"/>
                  </a:lnTo>
                  <a:lnTo>
                    <a:pt x="814" y="135"/>
                  </a:lnTo>
                  <a:lnTo>
                    <a:pt x="814" y="135"/>
                  </a:lnTo>
                  <a:lnTo>
                    <a:pt x="814" y="135"/>
                  </a:lnTo>
                  <a:lnTo>
                    <a:pt x="814" y="135"/>
                  </a:lnTo>
                  <a:lnTo>
                    <a:pt x="811" y="138"/>
                  </a:lnTo>
                  <a:lnTo>
                    <a:pt x="811" y="138"/>
                  </a:lnTo>
                  <a:lnTo>
                    <a:pt x="807" y="135"/>
                  </a:lnTo>
                  <a:lnTo>
                    <a:pt x="805" y="138"/>
                  </a:lnTo>
                  <a:lnTo>
                    <a:pt x="805" y="138"/>
                  </a:lnTo>
                  <a:lnTo>
                    <a:pt x="802" y="138"/>
                  </a:lnTo>
                  <a:lnTo>
                    <a:pt x="802" y="138"/>
                  </a:lnTo>
                  <a:lnTo>
                    <a:pt x="802" y="138"/>
                  </a:lnTo>
                  <a:lnTo>
                    <a:pt x="802" y="138"/>
                  </a:lnTo>
                  <a:lnTo>
                    <a:pt x="802" y="138"/>
                  </a:lnTo>
                  <a:lnTo>
                    <a:pt x="802" y="138"/>
                  </a:lnTo>
                  <a:lnTo>
                    <a:pt x="800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8" y="138"/>
                  </a:lnTo>
                  <a:lnTo>
                    <a:pt x="793" y="138"/>
                  </a:lnTo>
                  <a:lnTo>
                    <a:pt x="793" y="138"/>
                  </a:lnTo>
                  <a:lnTo>
                    <a:pt x="793" y="138"/>
                  </a:lnTo>
                  <a:lnTo>
                    <a:pt x="793" y="138"/>
                  </a:lnTo>
                  <a:lnTo>
                    <a:pt x="793" y="138"/>
                  </a:lnTo>
                  <a:lnTo>
                    <a:pt x="793" y="140"/>
                  </a:lnTo>
                  <a:lnTo>
                    <a:pt x="793" y="140"/>
                  </a:lnTo>
                  <a:lnTo>
                    <a:pt x="793" y="140"/>
                  </a:lnTo>
                  <a:lnTo>
                    <a:pt x="789" y="140"/>
                  </a:lnTo>
                  <a:lnTo>
                    <a:pt x="789" y="140"/>
                  </a:lnTo>
                  <a:lnTo>
                    <a:pt x="787" y="140"/>
                  </a:lnTo>
                  <a:lnTo>
                    <a:pt x="787" y="140"/>
                  </a:lnTo>
                  <a:lnTo>
                    <a:pt x="787" y="140"/>
                  </a:lnTo>
                  <a:lnTo>
                    <a:pt x="787" y="140"/>
                  </a:lnTo>
                  <a:lnTo>
                    <a:pt x="785" y="142"/>
                  </a:lnTo>
                  <a:lnTo>
                    <a:pt x="785" y="142"/>
                  </a:lnTo>
                  <a:lnTo>
                    <a:pt x="785" y="142"/>
                  </a:lnTo>
                  <a:lnTo>
                    <a:pt x="782" y="142"/>
                  </a:lnTo>
                  <a:lnTo>
                    <a:pt x="782" y="142"/>
                  </a:lnTo>
                  <a:lnTo>
                    <a:pt x="780" y="142"/>
                  </a:lnTo>
                  <a:lnTo>
                    <a:pt x="780" y="142"/>
                  </a:lnTo>
                  <a:lnTo>
                    <a:pt x="780" y="142"/>
                  </a:lnTo>
                  <a:lnTo>
                    <a:pt x="778" y="142"/>
                  </a:lnTo>
                  <a:lnTo>
                    <a:pt x="776" y="142"/>
                  </a:lnTo>
                  <a:lnTo>
                    <a:pt x="773" y="144"/>
                  </a:lnTo>
                  <a:lnTo>
                    <a:pt x="764" y="144"/>
                  </a:lnTo>
                  <a:lnTo>
                    <a:pt x="762" y="144"/>
                  </a:lnTo>
                  <a:lnTo>
                    <a:pt x="762" y="144"/>
                  </a:lnTo>
                  <a:lnTo>
                    <a:pt x="760" y="144"/>
                  </a:lnTo>
                  <a:lnTo>
                    <a:pt x="758" y="144"/>
                  </a:lnTo>
                  <a:lnTo>
                    <a:pt x="751" y="144"/>
                  </a:lnTo>
                  <a:lnTo>
                    <a:pt x="749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42" y="144"/>
                  </a:lnTo>
                  <a:lnTo>
                    <a:pt x="740" y="142"/>
                  </a:lnTo>
                  <a:lnTo>
                    <a:pt x="740" y="142"/>
                  </a:lnTo>
                  <a:lnTo>
                    <a:pt x="740" y="142"/>
                  </a:lnTo>
                  <a:lnTo>
                    <a:pt x="740" y="142"/>
                  </a:lnTo>
                  <a:lnTo>
                    <a:pt x="740" y="142"/>
                  </a:lnTo>
                  <a:lnTo>
                    <a:pt x="740" y="142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40" y="140"/>
                  </a:lnTo>
                  <a:lnTo>
                    <a:pt x="740" y="140"/>
                  </a:lnTo>
                  <a:lnTo>
                    <a:pt x="742" y="138"/>
                  </a:lnTo>
                  <a:lnTo>
                    <a:pt x="746" y="138"/>
                  </a:lnTo>
                  <a:lnTo>
                    <a:pt x="749" y="138"/>
                  </a:lnTo>
                  <a:lnTo>
                    <a:pt x="751" y="138"/>
                  </a:lnTo>
                  <a:lnTo>
                    <a:pt x="753" y="138"/>
                  </a:lnTo>
                  <a:lnTo>
                    <a:pt x="755" y="138"/>
                  </a:lnTo>
                  <a:lnTo>
                    <a:pt x="755" y="138"/>
                  </a:lnTo>
                  <a:lnTo>
                    <a:pt x="758" y="138"/>
                  </a:lnTo>
                  <a:lnTo>
                    <a:pt x="758" y="138"/>
                  </a:lnTo>
                  <a:lnTo>
                    <a:pt x="758" y="138"/>
                  </a:lnTo>
                  <a:lnTo>
                    <a:pt x="760" y="138"/>
                  </a:lnTo>
                  <a:lnTo>
                    <a:pt x="760" y="135"/>
                  </a:lnTo>
                  <a:lnTo>
                    <a:pt x="758" y="135"/>
                  </a:lnTo>
                  <a:lnTo>
                    <a:pt x="758" y="135"/>
                  </a:lnTo>
                  <a:lnTo>
                    <a:pt x="758" y="135"/>
                  </a:lnTo>
                  <a:lnTo>
                    <a:pt x="760" y="135"/>
                  </a:lnTo>
                  <a:lnTo>
                    <a:pt x="760" y="135"/>
                  </a:lnTo>
                  <a:lnTo>
                    <a:pt x="760" y="135"/>
                  </a:lnTo>
                  <a:lnTo>
                    <a:pt x="760" y="135"/>
                  </a:lnTo>
                  <a:lnTo>
                    <a:pt x="762" y="135"/>
                  </a:lnTo>
                  <a:lnTo>
                    <a:pt x="762" y="135"/>
                  </a:lnTo>
                  <a:lnTo>
                    <a:pt x="764" y="135"/>
                  </a:lnTo>
                  <a:lnTo>
                    <a:pt x="764" y="135"/>
                  </a:lnTo>
                  <a:lnTo>
                    <a:pt x="769" y="135"/>
                  </a:lnTo>
                  <a:lnTo>
                    <a:pt x="769" y="135"/>
                  </a:lnTo>
                  <a:lnTo>
                    <a:pt x="771" y="133"/>
                  </a:lnTo>
                  <a:lnTo>
                    <a:pt x="776" y="133"/>
                  </a:lnTo>
                  <a:lnTo>
                    <a:pt x="778" y="133"/>
                  </a:lnTo>
                  <a:lnTo>
                    <a:pt x="780" y="133"/>
                  </a:lnTo>
                  <a:lnTo>
                    <a:pt x="782" y="135"/>
                  </a:lnTo>
                  <a:lnTo>
                    <a:pt x="785" y="133"/>
                  </a:lnTo>
                  <a:lnTo>
                    <a:pt x="785" y="133"/>
                  </a:lnTo>
                  <a:lnTo>
                    <a:pt x="787" y="133"/>
                  </a:lnTo>
                  <a:lnTo>
                    <a:pt x="787" y="133"/>
                  </a:lnTo>
                  <a:lnTo>
                    <a:pt x="787" y="133"/>
                  </a:lnTo>
                  <a:lnTo>
                    <a:pt x="787" y="133"/>
                  </a:lnTo>
                  <a:lnTo>
                    <a:pt x="787" y="133"/>
                  </a:lnTo>
                  <a:lnTo>
                    <a:pt x="787" y="133"/>
                  </a:lnTo>
                  <a:lnTo>
                    <a:pt x="787" y="133"/>
                  </a:lnTo>
                  <a:lnTo>
                    <a:pt x="789" y="133"/>
                  </a:lnTo>
                  <a:lnTo>
                    <a:pt x="789" y="133"/>
                  </a:lnTo>
                  <a:lnTo>
                    <a:pt x="789" y="133"/>
                  </a:lnTo>
                  <a:lnTo>
                    <a:pt x="791" y="133"/>
                  </a:lnTo>
                  <a:lnTo>
                    <a:pt x="791" y="133"/>
                  </a:lnTo>
                  <a:lnTo>
                    <a:pt x="791" y="133"/>
                  </a:lnTo>
                  <a:lnTo>
                    <a:pt x="791" y="133"/>
                  </a:lnTo>
                  <a:lnTo>
                    <a:pt x="791" y="133"/>
                  </a:lnTo>
                  <a:lnTo>
                    <a:pt x="791" y="131"/>
                  </a:lnTo>
                  <a:lnTo>
                    <a:pt x="791" y="133"/>
                  </a:lnTo>
                  <a:lnTo>
                    <a:pt x="791" y="133"/>
                  </a:lnTo>
                  <a:lnTo>
                    <a:pt x="791" y="131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6" y="131"/>
                  </a:lnTo>
                  <a:lnTo>
                    <a:pt x="796" y="131"/>
                  </a:lnTo>
                  <a:lnTo>
                    <a:pt x="798" y="131"/>
                  </a:lnTo>
                  <a:lnTo>
                    <a:pt x="798" y="131"/>
                  </a:lnTo>
                  <a:lnTo>
                    <a:pt x="798" y="131"/>
                  </a:lnTo>
                  <a:lnTo>
                    <a:pt x="798" y="131"/>
                  </a:lnTo>
                  <a:lnTo>
                    <a:pt x="798" y="131"/>
                  </a:lnTo>
                  <a:lnTo>
                    <a:pt x="798" y="131"/>
                  </a:lnTo>
                  <a:lnTo>
                    <a:pt x="798" y="131"/>
                  </a:lnTo>
                  <a:lnTo>
                    <a:pt x="800" y="131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800" y="129"/>
                  </a:lnTo>
                  <a:lnTo>
                    <a:pt x="798" y="129"/>
                  </a:lnTo>
                  <a:lnTo>
                    <a:pt x="796" y="129"/>
                  </a:lnTo>
                  <a:lnTo>
                    <a:pt x="796" y="129"/>
                  </a:lnTo>
                  <a:lnTo>
                    <a:pt x="796" y="129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3" y="131"/>
                  </a:lnTo>
                  <a:lnTo>
                    <a:pt x="791" y="131"/>
                  </a:lnTo>
                  <a:lnTo>
                    <a:pt x="791" y="131"/>
                  </a:lnTo>
                  <a:lnTo>
                    <a:pt x="789" y="131"/>
                  </a:lnTo>
                  <a:lnTo>
                    <a:pt x="789" y="131"/>
                  </a:lnTo>
                  <a:lnTo>
                    <a:pt x="789" y="131"/>
                  </a:lnTo>
                  <a:lnTo>
                    <a:pt x="789" y="131"/>
                  </a:lnTo>
                  <a:lnTo>
                    <a:pt x="789" y="131"/>
                  </a:lnTo>
                  <a:lnTo>
                    <a:pt x="789" y="131"/>
                  </a:lnTo>
                  <a:lnTo>
                    <a:pt x="787" y="131"/>
                  </a:lnTo>
                  <a:lnTo>
                    <a:pt x="787" y="131"/>
                  </a:lnTo>
                  <a:lnTo>
                    <a:pt x="787" y="131"/>
                  </a:lnTo>
                  <a:lnTo>
                    <a:pt x="787" y="131"/>
                  </a:lnTo>
                  <a:lnTo>
                    <a:pt x="787" y="131"/>
                  </a:lnTo>
                  <a:lnTo>
                    <a:pt x="787" y="131"/>
                  </a:lnTo>
                  <a:lnTo>
                    <a:pt x="787" y="131"/>
                  </a:lnTo>
                  <a:lnTo>
                    <a:pt x="785" y="131"/>
                  </a:lnTo>
                  <a:lnTo>
                    <a:pt x="785" y="131"/>
                  </a:lnTo>
                  <a:close/>
                  <a:moveTo>
                    <a:pt x="800" y="99"/>
                  </a:moveTo>
                  <a:lnTo>
                    <a:pt x="800" y="102"/>
                  </a:lnTo>
                  <a:lnTo>
                    <a:pt x="802" y="102"/>
                  </a:lnTo>
                  <a:lnTo>
                    <a:pt x="802" y="102"/>
                  </a:lnTo>
                  <a:lnTo>
                    <a:pt x="802" y="102"/>
                  </a:lnTo>
                  <a:lnTo>
                    <a:pt x="802" y="102"/>
                  </a:lnTo>
                  <a:lnTo>
                    <a:pt x="800" y="102"/>
                  </a:lnTo>
                  <a:lnTo>
                    <a:pt x="800" y="102"/>
                  </a:lnTo>
                  <a:lnTo>
                    <a:pt x="798" y="102"/>
                  </a:lnTo>
                  <a:lnTo>
                    <a:pt x="798" y="102"/>
                  </a:lnTo>
                  <a:lnTo>
                    <a:pt x="798" y="104"/>
                  </a:lnTo>
                  <a:lnTo>
                    <a:pt x="796" y="104"/>
                  </a:lnTo>
                  <a:lnTo>
                    <a:pt x="796" y="104"/>
                  </a:lnTo>
                  <a:lnTo>
                    <a:pt x="796" y="102"/>
                  </a:lnTo>
                  <a:lnTo>
                    <a:pt x="787" y="102"/>
                  </a:lnTo>
                  <a:lnTo>
                    <a:pt x="787" y="102"/>
                  </a:lnTo>
                  <a:lnTo>
                    <a:pt x="782" y="102"/>
                  </a:lnTo>
                  <a:lnTo>
                    <a:pt x="782" y="102"/>
                  </a:lnTo>
                  <a:lnTo>
                    <a:pt x="782" y="102"/>
                  </a:lnTo>
                  <a:lnTo>
                    <a:pt x="782" y="102"/>
                  </a:lnTo>
                  <a:lnTo>
                    <a:pt x="782" y="102"/>
                  </a:lnTo>
                  <a:lnTo>
                    <a:pt x="782" y="102"/>
                  </a:lnTo>
                  <a:lnTo>
                    <a:pt x="782" y="102"/>
                  </a:lnTo>
                  <a:lnTo>
                    <a:pt x="787" y="99"/>
                  </a:lnTo>
                  <a:lnTo>
                    <a:pt x="791" y="99"/>
                  </a:lnTo>
                  <a:lnTo>
                    <a:pt x="793" y="99"/>
                  </a:lnTo>
                  <a:lnTo>
                    <a:pt x="793" y="99"/>
                  </a:lnTo>
                  <a:lnTo>
                    <a:pt x="798" y="99"/>
                  </a:lnTo>
                  <a:lnTo>
                    <a:pt x="800" y="99"/>
                  </a:lnTo>
                  <a:close/>
                  <a:moveTo>
                    <a:pt x="1133" y="124"/>
                  </a:moveTo>
                  <a:lnTo>
                    <a:pt x="1135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5" y="126"/>
                  </a:lnTo>
                  <a:lnTo>
                    <a:pt x="1133" y="126"/>
                  </a:lnTo>
                  <a:lnTo>
                    <a:pt x="1133" y="126"/>
                  </a:lnTo>
                  <a:lnTo>
                    <a:pt x="1133" y="126"/>
                  </a:lnTo>
                  <a:lnTo>
                    <a:pt x="1133" y="126"/>
                  </a:lnTo>
                  <a:lnTo>
                    <a:pt x="1135" y="126"/>
                  </a:lnTo>
                  <a:lnTo>
                    <a:pt x="1135" y="126"/>
                  </a:lnTo>
                  <a:lnTo>
                    <a:pt x="1135" y="126"/>
                  </a:lnTo>
                  <a:lnTo>
                    <a:pt x="1137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5" y="124"/>
                  </a:lnTo>
                  <a:lnTo>
                    <a:pt x="1137" y="124"/>
                  </a:lnTo>
                  <a:lnTo>
                    <a:pt x="1137" y="124"/>
                  </a:lnTo>
                  <a:lnTo>
                    <a:pt x="1137" y="124"/>
                  </a:lnTo>
                  <a:lnTo>
                    <a:pt x="1137" y="124"/>
                  </a:lnTo>
                  <a:lnTo>
                    <a:pt x="1137" y="124"/>
                  </a:lnTo>
                  <a:lnTo>
                    <a:pt x="1137" y="124"/>
                  </a:lnTo>
                  <a:lnTo>
                    <a:pt x="1139" y="122"/>
                  </a:lnTo>
                  <a:lnTo>
                    <a:pt x="1139" y="122"/>
                  </a:lnTo>
                  <a:lnTo>
                    <a:pt x="1139" y="122"/>
                  </a:lnTo>
                  <a:lnTo>
                    <a:pt x="1139" y="122"/>
                  </a:lnTo>
                  <a:lnTo>
                    <a:pt x="1142" y="124"/>
                  </a:lnTo>
                  <a:lnTo>
                    <a:pt x="1142" y="124"/>
                  </a:lnTo>
                  <a:lnTo>
                    <a:pt x="1142" y="124"/>
                  </a:lnTo>
                  <a:lnTo>
                    <a:pt x="1142" y="124"/>
                  </a:lnTo>
                  <a:lnTo>
                    <a:pt x="1142" y="124"/>
                  </a:lnTo>
                  <a:lnTo>
                    <a:pt x="1142" y="124"/>
                  </a:lnTo>
                  <a:lnTo>
                    <a:pt x="1144" y="126"/>
                  </a:lnTo>
                  <a:lnTo>
                    <a:pt x="1148" y="126"/>
                  </a:lnTo>
                  <a:lnTo>
                    <a:pt x="1148" y="126"/>
                  </a:lnTo>
                  <a:lnTo>
                    <a:pt x="1148" y="126"/>
                  </a:lnTo>
                  <a:lnTo>
                    <a:pt x="1151" y="126"/>
                  </a:lnTo>
                  <a:lnTo>
                    <a:pt x="1148" y="126"/>
                  </a:lnTo>
                  <a:lnTo>
                    <a:pt x="1148" y="126"/>
                  </a:lnTo>
                  <a:lnTo>
                    <a:pt x="1146" y="126"/>
                  </a:lnTo>
                  <a:lnTo>
                    <a:pt x="1148" y="126"/>
                  </a:lnTo>
                  <a:lnTo>
                    <a:pt x="1153" y="126"/>
                  </a:lnTo>
                  <a:lnTo>
                    <a:pt x="1155" y="126"/>
                  </a:lnTo>
                  <a:lnTo>
                    <a:pt x="1157" y="126"/>
                  </a:lnTo>
                  <a:lnTo>
                    <a:pt x="1162" y="126"/>
                  </a:lnTo>
                  <a:lnTo>
                    <a:pt x="1162" y="126"/>
                  </a:lnTo>
                  <a:lnTo>
                    <a:pt x="1162" y="126"/>
                  </a:lnTo>
                  <a:lnTo>
                    <a:pt x="1162" y="126"/>
                  </a:lnTo>
                  <a:lnTo>
                    <a:pt x="1160" y="126"/>
                  </a:lnTo>
                  <a:lnTo>
                    <a:pt x="1160" y="126"/>
                  </a:lnTo>
                  <a:lnTo>
                    <a:pt x="1157" y="126"/>
                  </a:lnTo>
                  <a:lnTo>
                    <a:pt x="1157" y="126"/>
                  </a:lnTo>
                  <a:lnTo>
                    <a:pt x="1157" y="126"/>
                  </a:lnTo>
                  <a:lnTo>
                    <a:pt x="1155" y="124"/>
                  </a:lnTo>
                  <a:lnTo>
                    <a:pt x="1155" y="124"/>
                  </a:lnTo>
                  <a:lnTo>
                    <a:pt x="1155" y="124"/>
                  </a:lnTo>
                  <a:lnTo>
                    <a:pt x="1155" y="124"/>
                  </a:lnTo>
                  <a:lnTo>
                    <a:pt x="1155" y="124"/>
                  </a:lnTo>
                  <a:lnTo>
                    <a:pt x="1155" y="124"/>
                  </a:lnTo>
                  <a:lnTo>
                    <a:pt x="1157" y="124"/>
                  </a:lnTo>
                  <a:lnTo>
                    <a:pt x="1162" y="124"/>
                  </a:lnTo>
                  <a:lnTo>
                    <a:pt x="1164" y="124"/>
                  </a:lnTo>
                  <a:lnTo>
                    <a:pt x="1164" y="122"/>
                  </a:lnTo>
                  <a:lnTo>
                    <a:pt x="1164" y="124"/>
                  </a:lnTo>
                  <a:lnTo>
                    <a:pt x="1164" y="124"/>
                  </a:lnTo>
                  <a:lnTo>
                    <a:pt x="1164" y="124"/>
                  </a:lnTo>
                  <a:lnTo>
                    <a:pt x="1164" y="124"/>
                  </a:lnTo>
                  <a:lnTo>
                    <a:pt x="1166" y="124"/>
                  </a:lnTo>
                  <a:lnTo>
                    <a:pt x="1169" y="124"/>
                  </a:lnTo>
                  <a:lnTo>
                    <a:pt x="1169" y="124"/>
                  </a:lnTo>
                  <a:lnTo>
                    <a:pt x="1166" y="124"/>
                  </a:lnTo>
                  <a:lnTo>
                    <a:pt x="1166" y="124"/>
                  </a:lnTo>
                  <a:lnTo>
                    <a:pt x="1166" y="124"/>
                  </a:lnTo>
                  <a:lnTo>
                    <a:pt x="1166" y="124"/>
                  </a:lnTo>
                  <a:lnTo>
                    <a:pt x="1166" y="124"/>
                  </a:lnTo>
                  <a:lnTo>
                    <a:pt x="1169" y="124"/>
                  </a:lnTo>
                  <a:lnTo>
                    <a:pt x="1169" y="124"/>
                  </a:lnTo>
                  <a:lnTo>
                    <a:pt x="1169" y="124"/>
                  </a:lnTo>
                  <a:lnTo>
                    <a:pt x="1169" y="124"/>
                  </a:lnTo>
                  <a:lnTo>
                    <a:pt x="1169" y="124"/>
                  </a:lnTo>
                  <a:lnTo>
                    <a:pt x="1169" y="124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1171" y="122"/>
                  </a:lnTo>
                  <a:lnTo>
                    <a:pt x="1171" y="122"/>
                  </a:lnTo>
                  <a:lnTo>
                    <a:pt x="1171" y="122"/>
                  </a:lnTo>
                  <a:lnTo>
                    <a:pt x="1171" y="122"/>
                  </a:lnTo>
                  <a:lnTo>
                    <a:pt x="1173" y="122"/>
                  </a:lnTo>
                  <a:lnTo>
                    <a:pt x="1173" y="122"/>
                  </a:lnTo>
                  <a:lnTo>
                    <a:pt x="1173" y="122"/>
                  </a:lnTo>
                  <a:lnTo>
                    <a:pt x="1173" y="122"/>
                  </a:lnTo>
                  <a:lnTo>
                    <a:pt x="1173" y="122"/>
                  </a:lnTo>
                  <a:lnTo>
                    <a:pt x="1175" y="122"/>
                  </a:lnTo>
                  <a:lnTo>
                    <a:pt x="1178" y="122"/>
                  </a:lnTo>
                  <a:lnTo>
                    <a:pt x="1180" y="122"/>
                  </a:lnTo>
                  <a:lnTo>
                    <a:pt x="1180" y="122"/>
                  </a:lnTo>
                  <a:lnTo>
                    <a:pt x="1178" y="122"/>
                  </a:lnTo>
                  <a:lnTo>
                    <a:pt x="1178" y="122"/>
                  </a:lnTo>
                  <a:lnTo>
                    <a:pt x="1178" y="122"/>
                  </a:lnTo>
                  <a:lnTo>
                    <a:pt x="1178" y="122"/>
                  </a:lnTo>
                  <a:lnTo>
                    <a:pt x="1178" y="122"/>
                  </a:lnTo>
                  <a:lnTo>
                    <a:pt x="1184" y="122"/>
                  </a:lnTo>
                  <a:lnTo>
                    <a:pt x="1187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91" y="120"/>
                  </a:lnTo>
                  <a:lnTo>
                    <a:pt x="1191" y="120"/>
                  </a:lnTo>
                  <a:lnTo>
                    <a:pt x="1191" y="120"/>
                  </a:lnTo>
                  <a:lnTo>
                    <a:pt x="1189" y="120"/>
                  </a:lnTo>
                  <a:lnTo>
                    <a:pt x="1191" y="120"/>
                  </a:lnTo>
                  <a:lnTo>
                    <a:pt x="1193" y="120"/>
                  </a:lnTo>
                  <a:lnTo>
                    <a:pt x="1193" y="120"/>
                  </a:lnTo>
                  <a:lnTo>
                    <a:pt x="1193" y="120"/>
                  </a:lnTo>
                  <a:lnTo>
                    <a:pt x="1193" y="120"/>
                  </a:lnTo>
                  <a:lnTo>
                    <a:pt x="1193" y="120"/>
                  </a:lnTo>
                  <a:lnTo>
                    <a:pt x="1196" y="120"/>
                  </a:lnTo>
                  <a:lnTo>
                    <a:pt x="1196" y="120"/>
                  </a:lnTo>
                  <a:lnTo>
                    <a:pt x="1198" y="120"/>
                  </a:lnTo>
                  <a:lnTo>
                    <a:pt x="1198" y="120"/>
                  </a:lnTo>
                  <a:lnTo>
                    <a:pt x="1200" y="120"/>
                  </a:lnTo>
                  <a:lnTo>
                    <a:pt x="1200" y="120"/>
                  </a:lnTo>
                  <a:lnTo>
                    <a:pt x="1200" y="120"/>
                  </a:lnTo>
                  <a:lnTo>
                    <a:pt x="1200" y="120"/>
                  </a:lnTo>
                  <a:lnTo>
                    <a:pt x="1209" y="120"/>
                  </a:lnTo>
                  <a:lnTo>
                    <a:pt x="1209" y="120"/>
                  </a:lnTo>
                  <a:lnTo>
                    <a:pt x="1211" y="120"/>
                  </a:lnTo>
                  <a:lnTo>
                    <a:pt x="1211" y="120"/>
                  </a:lnTo>
                  <a:lnTo>
                    <a:pt x="1214" y="120"/>
                  </a:lnTo>
                  <a:lnTo>
                    <a:pt x="1229" y="120"/>
                  </a:lnTo>
                  <a:lnTo>
                    <a:pt x="1229" y="120"/>
                  </a:lnTo>
                  <a:lnTo>
                    <a:pt x="1229" y="120"/>
                  </a:lnTo>
                  <a:lnTo>
                    <a:pt x="1229" y="120"/>
                  </a:lnTo>
                  <a:lnTo>
                    <a:pt x="1229" y="120"/>
                  </a:lnTo>
                  <a:lnTo>
                    <a:pt x="1229" y="120"/>
                  </a:lnTo>
                  <a:lnTo>
                    <a:pt x="1229" y="120"/>
                  </a:lnTo>
                  <a:lnTo>
                    <a:pt x="1227" y="120"/>
                  </a:lnTo>
                  <a:lnTo>
                    <a:pt x="1227" y="122"/>
                  </a:lnTo>
                  <a:lnTo>
                    <a:pt x="1225" y="122"/>
                  </a:lnTo>
                  <a:lnTo>
                    <a:pt x="1225" y="122"/>
                  </a:lnTo>
                  <a:lnTo>
                    <a:pt x="1227" y="122"/>
                  </a:lnTo>
                  <a:lnTo>
                    <a:pt x="1227" y="122"/>
                  </a:lnTo>
                  <a:lnTo>
                    <a:pt x="1227" y="122"/>
                  </a:lnTo>
                  <a:lnTo>
                    <a:pt x="1229" y="122"/>
                  </a:lnTo>
                  <a:lnTo>
                    <a:pt x="1236" y="122"/>
                  </a:lnTo>
                  <a:lnTo>
                    <a:pt x="1236" y="122"/>
                  </a:lnTo>
                  <a:lnTo>
                    <a:pt x="1236" y="122"/>
                  </a:lnTo>
                  <a:lnTo>
                    <a:pt x="1236" y="122"/>
                  </a:lnTo>
                  <a:lnTo>
                    <a:pt x="1236" y="122"/>
                  </a:lnTo>
                  <a:lnTo>
                    <a:pt x="1236" y="122"/>
                  </a:lnTo>
                  <a:lnTo>
                    <a:pt x="1238" y="122"/>
                  </a:lnTo>
                  <a:lnTo>
                    <a:pt x="1238" y="122"/>
                  </a:lnTo>
                  <a:lnTo>
                    <a:pt x="1241" y="122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1" y="124"/>
                  </a:lnTo>
                  <a:lnTo>
                    <a:pt x="1243" y="124"/>
                  </a:lnTo>
                  <a:lnTo>
                    <a:pt x="1241" y="124"/>
                  </a:lnTo>
                  <a:lnTo>
                    <a:pt x="1236" y="124"/>
                  </a:lnTo>
                  <a:lnTo>
                    <a:pt x="1234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3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6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3" y="129"/>
                  </a:lnTo>
                  <a:lnTo>
                    <a:pt x="1243" y="129"/>
                  </a:lnTo>
                  <a:lnTo>
                    <a:pt x="1243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5" y="129"/>
                  </a:lnTo>
                  <a:lnTo>
                    <a:pt x="1243" y="129"/>
                  </a:lnTo>
                  <a:lnTo>
                    <a:pt x="1243" y="129"/>
                  </a:lnTo>
                  <a:lnTo>
                    <a:pt x="1243" y="131"/>
                  </a:lnTo>
                  <a:lnTo>
                    <a:pt x="1241" y="131"/>
                  </a:lnTo>
                  <a:lnTo>
                    <a:pt x="1241" y="131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38" y="131"/>
                  </a:lnTo>
                  <a:lnTo>
                    <a:pt x="1236" y="131"/>
                  </a:lnTo>
                  <a:lnTo>
                    <a:pt x="1236" y="131"/>
                  </a:lnTo>
                  <a:lnTo>
                    <a:pt x="1236" y="131"/>
                  </a:lnTo>
                  <a:lnTo>
                    <a:pt x="1236" y="131"/>
                  </a:lnTo>
                  <a:lnTo>
                    <a:pt x="1236" y="131"/>
                  </a:lnTo>
                  <a:lnTo>
                    <a:pt x="1236" y="131"/>
                  </a:lnTo>
                  <a:lnTo>
                    <a:pt x="1236" y="131"/>
                  </a:lnTo>
                  <a:lnTo>
                    <a:pt x="1234" y="131"/>
                  </a:lnTo>
                  <a:lnTo>
                    <a:pt x="1234" y="131"/>
                  </a:lnTo>
                  <a:lnTo>
                    <a:pt x="1234" y="133"/>
                  </a:lnTo>
                  <a:lnTo>
                    <a:pt x="1234" y="133"/>
                  </a:lnTo>
                  <a:lnTo>
                    <a:pt x="1229" y="133"/>
                  </a:lnTo>
                  <a:lnTo>
                    <a:pt x="1229" y="133"/>
                  </a:lnTo>
                  <a:lnTo>
                    <a:pt x="1227" y="133"/>
                  </a:lnTo>
                  <a:lnTo>
                    <a:pt x="1227" y="133"/>
                  </a:lnTo>
                  <a:lnTo>
                    <a:pt x="1227" y="133"/>
                  </a:lnTo>
                  <a:lnTo>
                    <a:pt x="1227" y="133"/>
                  </a:lnTo>
                  <a:lnTo>
                    <a:pt x="1227" y="133"/>
                  </a:lnTo>
                  <a:lnTo>
                    <a:pt x="1229" y="133"/>
                  </a:lnTo>
                  <a:lnTo>
                    <a:pt x="1229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9" y="135"/>
                  </a:lnTo>
                  <a:lnTo>
                    <a:pt x="1229" y="135"/>
                  </a:lnTo>
                  <a:lnTo>
                    <a:pt x="1229" y="135"/>
                  </a:lnTo>
                  <a:lnTo>
                    <a:pt x="1232" y="135"/>
                  </a:lnTo>
                  <a:lnTo>
                    <a:pt x="1232" y="135"/>
                  </a:lnTo>
                  <a:lnTo>
                    <a:pt x="1232" y="135"/>
                  </a:lnTo>
                  <a:lnTo>
                    <a:pt x="1232" y="135"/>
                  </a:lnTo>
                  <a:lnTo>
                    <a:pt x="1232" y="135"/>
                  </a:lnTo>
                  <a:lnTo>
                    <a:pt x="1232" y="135"/>
                  </a:lnTo>
                  <a:lnTo>
                    <a:pt x="1236" y="133"/>
                  </a:lnTo>
                  <a:lnTo>
                    <a:pt x="1236" y="133"/>
                  </a:lnTo>
                  <a:lnTo>
                    <a:pt x="1238" y="133"/>
                  </a:lnTo>
                  <a:lnTo>
                    <a:pt x="1238" y="133"/>
                  </a:lnTo>
                  <a:lnTo>
                    <a:pt x="1238" y="133"/>
                  </a:lnTo>
                  <a:lnTo>
                    <a:pt x="1238" y="133"/>
                  </a:lnTo>
                  <a:lnTo>
                    <a:pt x="1238" y="133"/>
                  </a:lnTo>
                  <a:lnTo>
                    <a:pt x="1238" y="133"/>
                  </a:lnTo>
                  <a:lnTo>
                    <a:pt x="1238" y="135"/>
                  </a:lnTo>
                  <a:lnTo>
                    <a:pt x="1238" y="135"/>
                  </a:lnTo>
                  <a:lnTo>
                    <a:pt x="1238" y="135"/>
                  </a:lnTo>
                  <a:lnTo>
                    <a:pt x="1241" y="135"/>
                  </a:lnTo>
                  <a:lnTo>
                    <a:pt x="1241" y="135"/>
                  </a:lnTo>
                  <a:lnTo>
                    <a:pt x="1238" y="135"/>
                  </a:lnTo>
                  <a:lnTo>
                    <a:pt x="1232" y="138"/>
                  </a:lnTo>
                  <a:lnTo>
                    <a:pt x="1232" y="138"/>
                  </a:lnTo>
                  <a:lnTo>
                    <a:pt x="1232" y="138"/>
                  </a:lnTo>
                  <a:lnTo>
                    <a:pt x="1229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9" y="135"/>
                  </a:lnTo>
                  <a:lnTo>
                    <a:pt x="1229" y="135"/>
                  </a:lnTo>
                  <a:lnTo>
                    <a:pt x="1229" y="135"/>
                  </a:lnTo>
                  <a:lnTo>
                    <a:pt x="1229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7" y="135"/>
                  </a:lnTo>
                  <a:lnTo>
                    <a:pt x="1225" y="135"/>
                  </a:lnTo>
                  <a:lnTo>
                    <a:pt x="1225" y="135"/>
                  </a:lnTo>
                  <a:lnTo>
                    <a:pt x="1225" y="135"/>
                  </a:lnTo>
                  <a:lnTo>
                    <a:pt x="1225" y="135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7" y="138"/>
                  </a:lnTo>
                  <a:lnTo>
                    <a:pt x="1225" y="138"/>
                  </a:lnTo>
                  <a:lnTo>
                    <a:pt x="1225" y="138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5" y="140"/>
                  </a:lnTo>
                  <a:lnTo>
                    <a:pt x="1223" y="140"/>
                  </a:lnTo>
                  <a:lnTo>
                    <a:pt x="1225" y="140"/>
                  </a:lnTo>
                  <a:lnTo>
                    <a:pt x="1225" y="142"/>
                  </a:lnTo>
                  <a:lnTo>
                    <a:pt x="1223" y="142"/>
                  </a:lnTo>
                  <a:lnTo>
                    <a:pt x="1223" y="142"/>
                  </a:lnTo>
                  <a:lnTo>
                    <a:pt x="1223" y="142"/>
                  </a:lnTo>
                  <a:lnTo>
                    <a:pt x="1223" y="142"/>
                  </a:lnTo>
                  <a:lnTo>
                    <a:pt x="1220" y="142"/>
                  </a:lnTo>
                  <a:lnTo>
                    <a:pt x="1218" y="142"/>
                  </a:lnTo>
                  <a:lnTo>
                    <a:pt x="1218" y="142"/>
                  </a:lnTo>
                  <a:lnTo>
                    <a:pt x="1218" y="142"/>
                  </a:lnTo>
                  <a:lnTo>
                    <a:pt x="1218" y="142"/>
                  </a:lnTo>
                  <a:lnTo>
                    <a:pt x="1209" y="142"/>
                  </a:lnTo>
                  <a:lnTo>
                    <a:pt x="1207" y="142"/>
                  </a:lnTo>
                  <a:lnTo>
                    <a:pt x="1205" y="142"/>
                  </a:lnTo>
                  <a:lnTo>
                    <a:pt x="1202" y="142"/>
                  </a:lnTo>
                  <a:lnTo>
                    <a:pt x="1202" y="144"/>
                  </a:lnTo>
                  <a:lnTo>
                    <a:pt x="1200" y="144"/>
                  </a:lnTo>
                  <a:lnTo>
                    <a:pt x="1198" y="144"/>
                  </a:lnTo>
                  <a:lnTo>
                    <a:pt x="1198" y="144"/>
                  </a:lnTo>
                  <a:lnTo>
                    <a:pt x="1198" y="144"/>
                  </a:lnTo>
                  <a:lnTo>
                    <a:pt x="1196" y="144"/>
                  </a:lnTo>
                  <a:lnTo>
                    <a:pt x="1196" y="144"/>
                  </a:lnTo>
                  <a:lnTo>
                    <a:pt x="1193" y="144"/>
                  </a:lnTo>
                  <a:lnTo>
                    <a:pt x="1193" y="144"/>
                  </a:lnTo>
                  <a:lnTo>
                    <a:pt x="1193" y="142"/>
                  </a:lnTo>
                  <a:lnTo>
                    <a:pt x="1189" y="142"/>
                  </a:lnTo>
                  <a:lnTo>
                    <a:pt x="1191" y="142"/>
                  </a:lnTo>
                  <a:lnTo>
                    <a:pt x="1191" y="142"/>
                  </a:lnTo>
                  <a:lnTo>
                    <a:pt x="1191" y="142"/>
                  </a:lnTo>
                  <a:lnTo>
                    <a:pt x="1191" y="142"/>
                  </a:lnTo>
                  <a:lnTo>
                    <a:pt x="1191" y="142"/>
                  </a:lnTo>
                  <a:lnTo>
                    <a:pt x="1191" y="142"/>
                  </a:lnTo>
                  <a:lnTo>
                    <a:pt x="1191" y="142"/>
                  </a:lnTo>
                  <a:lnTo>
                    <a:pt x="1189" y="142"/>
                  </a:lnTo>
                  <a:lnTo>
                    <a:pt x="1189" y="142"/>
                  </a:lnTo>
                  <a:lnTo>
                    <a:pt x="1191" y="142"/>
                  </a:lnTo>
                  <a:lnTo>
                    <a:pt x="1189" y="142"/>
                  </a:lnTo>
                  <a:lnTo>
                    <a:pt x="1189" y="142"/>
                  </a:lnTo>
                  <a:lnTo>
                    <a:pt x="1189" y="142"/>
                  </a:lnTo>
                  <a:lnTo>
                    <a:pt x="1189" y="142"/>
                  </a:lnTo>
                  <a:lnTo>
                    <a:pt x="1189" y="142"/>
                  </a:lnTo>
                  <a:lnTo>
                    <a:pt x="1187" y="142"/>
                  </a:lnTo>
                  <a:lnTo>
                    <a:pt x="1187" y="142"/>
                  </a:lnTo>
                  <a:lnTo>
                    <a:pt x="1187" y="142"/>
                  </a:lnTo>
                  <a:lnTo>
                    <a:pt x="1187" y="142"/>
                  </a:lnTo>
                  <a:lnTo>
                    <a:pt x="1187" y="142"/>
                  </a:lnTo>
                  <a:lnTo>
                    <a:pt x="1184" y="142"/>
                  </a:lnTo>
                  <a:lnTo>
                    <a:pt x="1184" y="142"/>
                  </a:lnTo>
                  <a:lnTo>
                    <a:pt x="1182" y="142"/>
                  </a:lnTo>
                  <a:lnTo>
                    <a:pt x="1182" y="140"/>
                  </a:lnTo>
                  <a:lnTo>
                    <a:pt x="1182" y="140"/>
                  </a:lnTo>
                  <a:lnTo>
                    <a:pt x="1182" y="140"/>
                  </a:lnTo>
                  <a:lnTo>
                    <a:pt x="1184" y="140"/>
                  </a:lnTo>
                  <a:lnTo>
                    <a:pt x="1184" y="140"/>
                  </a:lnTo>
                  <a:lnTo>
                    <a:pt x="1184" y="138"/>
                  </a:lnTo>
                  <a:lnTo>
                    <a:pt x="1184" y="138"/>
                  </a:lnTo>
                  <a:lnTo>
                    <a:pt x="1184" y="138"/>
                  </a:lnTo>
                  <a:lnTo>
                    <a:pt x="1184" y="138"/>
                  </a:lnTo>
                  <a:lnTo>
                    <a:pt x="1187" y="138"/>
                  </a:lnTo>
                  <a:lnTo>
                    <a:pt x="1184" y="138"/>
                  </a:lnTo>
                  <a:lnTo>
                    <a:pt x="1187" y="138"/>
                  </a:lnTo>
                  <a:lnTo>
                    <a:pt x="1184" y="138"/>
                  </a:lnTo>
                  <a:lnTo>
                    <a:pt x="1184" y="138"/>
                  </a:lnTo>
                  <a:lnTo>
                    <a:pt x="1184" y="138"/>
                  </a:lnTo>
                  <a:lnTo>
                    <a:pt x="1182" y="138"/>
                  </a:lnTo>
                  <a:lnTo>
                    <a:pt x="1182" y="135"/>
                  </a:lnTo>
                  <a:lnTo>
                    <a:pt x="1182" y="135"/>
                  </a:lnTo>
                  <a:lnTo>
                    <a:pt x="1180" y="135"/>
                  </a:lnTo>
                  <a:lnTo>
                    <a:pt x="1180" y="135"/>
                  </a:lnTo>
                  <a:lnTo>
                    <a:pt x="1180" y="135"/>
                  </a:lnTo>
                  <a:lnTo>
                    <a:pt x="1180" y="135"/>
                  </a:lnTo>
                  <a:lnTo>
                    <a:pt x="1180" y="138"/>
                  </a:lnTo>
                  <a:lnTo>
                    <a:pt x="1180" y="138"/>
                  </a:lnTo>
                  <a:lnTo>
                    <a:pt x="1180" y="138"/>
                  </a:lnTo>
                  <a:lnTo>
                    <a:pt x="1180" y="138"/>
                  </a:lnTo>
                  <a:lnTo>
                    <a:pt x="1182" y="138"/>
                  </a:lnTo>
                  <a:lnTo>
                    <a:pt x="1182" y="138"/>
                  </a:lnTo>
                  <a:lnTo>
                    <a:pt x="1182" y="138"/>
                  </a:lnTo>
                  <a:lnTo>
                    <a:pt x="1180" y="138"/>
                  </a:lnTo>
                  <a:lnTo>
                    <a:pt x="1180" y="140"/>
                  </a:lnTo>
                  <a:lnTo>
                    <a:pt x="1180" y="140"/>
                  </a:lnTo>
                  <a:lnTo>
                    <a:pt x="1180" y="140"/>
                  </a:lnTo>
                  <a:lnTo>
                    <a:pt x="1178" y="140"/>
                  </a:lnTo>
                  <a:lnTo>
                    <a:pt x="1178" y="140"/>
                  </a:lnTo>
                  <a:lnTo>
                    <a:pt x="1178" y="140"/>
                  </a:lnTo>
                  <a:lnTo>
                    <a:pt x="1178" y="140"/>
                  </a:lnTo>
                  <a:lnTo>
                    <a:pt x="1178" y="142"/>
                  </a:lnTo>
                  <a:lnTo>
                    <a:pt x="1175" y="142"/>
                  </a:lnTo>
                  <a:lnTo>
                    <a:pt x="1175" y="142"/>
                  </a:lnTo>
                  <a:lnTo>
                    <a:pt x="1175" y="142"/>
                  </a:lnTo>
                  <a:lnTo>
                    <a:pt x="1175" y="142"/>
                  </a:lnTo>
                  <a:lnTo>
                    <a:pt x="1173" y="142"/>
                  </a:lnTo>
                  <a:lnTo>
                    <a:pt x="1173" y="142"/>
                  </a:lnTo>
                  <a:lnTo>
                    <a:pt x="1173" y="142"/>
                  </a:lnTo>
                  <a:lnTo>
                    <a:pt x="1173" y="142"/>
                  </a:lnTo>
                  <a:lnTo>
                    <a:pt x="1166" y="142"/>
                  </a:lnTo>
                  <a:lnTo>
                    <a:pt x="1166" y="142"/>
                  </a:lnTo>
                  <a:lnTo>
                    <a:pt x="1164" y="142"/>
                  </a:lnTo>
                  <a:lnTo>
                    <a:pt x="1160" y="142"/>
                  </a:lnTo>
                  <a:lnTo>
                    <a:pt x="1157" y="144"/>
                  </a:lnTo>
                  <a:lnTo>
                    <a:pt x="1157" y="142"/>
                  </a:lnTo>
                  <a:lnTo>
                    <a:pt x="1157" y="142"/>
                  </a:lnTo>
                  <a:lnTo>
                    <a:pt x="1157" y="142"/>
                  </a:lnTo>
                  <a:lnTo>
                    <a:pt x="1157" y="142"/>
                  </a:lnTo>
                  <a:lnTo>
                    <a:pt x="1157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2"/>
                  </a:lnTo>
                  <a:lnTo>
                    <a:pt x="1155" y="140"/>
                  </a:lnTo>
                  <a:lnTo>
                    <a:pt x="1155" y="140"/>
                  </a:lnTo>
                  <a:lnTo>
                    <a:pt x="1157" y="140"/>
                  </a:lnTo>
                  <a:lnTo>
                    <a:pt x="1157" y="140"/>
                  </a:lnTo>
                  <a:lnTo>
                    <a:pt x="1155" y="140"/>
                  </a:lnTo>
                  <a:lnTo>
                    <a:pt x="1155" y="140"/>
                  </a:lnTo>
                  <a:lnTo>
                    <a:pt x="1155" y="140"/>
                  </a:lnTo>
                  <a:lnTo>
                    <a:pt x="1155" y="140"/>
                  </a:lnTo>
                  <a:lnTo>
                    <a:pt x="1155" y="140"/>
                  </a:lnTo>
                  <a:lnTo>
                    <a:pt x="1155" y="140"/>
                  </a:lnTo>
                  <a:lnTo>
                    <a:pt x="1155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3" y="142"/>
                  </a:lnTo>
                  <a:lnTo>
                    <a:pt x="1151" y="144"/>
                  </a:lnTo>
                  <a:lnTo>
                    <a:pt x="1151" y="144"/>
                  </a:lnTo>
                  <a:lnTo>
                    <a:pt x="1148" y="144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2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0"/>
                  </a:lnTo>
                  <a:lnTo>
                    <a:pt x="1148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6" y="142"/>
                  </a:lnTo>
                  <a:lnTo>
                    <a:pt x="1144" y="144"/>
                  </a:lnTo>
                  <a:lnTo>
                    <a:pt x="1137" y="144"/>
                  </a:lnTo>
                  <a:lnTo>
                    <a:pt x="1137" y="142"/>
                  </a:lnTo>
                  <a:lnTo>
                    <a:pt x="1139" y="142"/>
                  </a:lnTo>
                  <a:lnTo>
                    <a:pt x="1139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9" y="142"/>
                  </a:lnTo>
                  <a:lnTo>
                    <a:pt x="1139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7" y="142"/>
                  </a:lnTo>
                  <a:lnTo>
                    <a:pt x="1135" y="142"/>
                  </a:lnTo>
                  <a:lnTo>
                    <a:pt x="1135" y="142"/>
                  </a:lnTo>
                  <a:lnTo>
                    <a:pt x="1135" y="144"/>
                  </a:lnTo>
                  <a:lnTo>
                    <a:pt x="1133" y="144"/>
                  </a:lnTo>
                  <a:lnTo>
                    <a:pt x="1133" y="144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30" y="142"/>
                  </a:lnTo>
                  <a:lnTo>
                    <a:pt x="1128" y="142"/>
                  </a:lnTo>
                  <a:lnTo>
                    <a:pt x="1128" y="142"/>
                  </a:lnTo>
                  <a:lnTo>
                    <a:pt x="1128" y="142"/>
                  </a:lnTo>
                  <a:lnTo>
                    <a:pt x="1128" y="142"/>
                  </a:lnTo>
                  <a:lnTo>
                    <a:pt x="1128" y="142"/>
                  </a:lnTo>
                  <a:lnTo>
                    <a:pt x="1128" y="142"/>
                  </a:lnTo>
                  <a:lnTo>
                    <a:pt x="1128" y="144"/>
                  </a:lnTo>
                  <a:lnTo>
                    <a:pt x="1130" y="144"/>
                  </a:lnTo>
                  <a:lnTo>
                    <a:pt x="1130" y="144"/>
                  </a:lnTo>
                  <a:lnTo>
                    <a:pt x="1126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2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4" y="144"/>
                  </a:lnTo>
                  <a:lnTo>
                    <a:pt x="1121" y="144"/>
                  </a:lnTo>
                  <a:lnTo>
                    <a:pt x="1121" y="144"/>
                  </a:lnTo>
                  <a:lnTo>
                    <a:pt x="1119" y="144"/>
                  </a:lnTo>
                  <a:lnTo>
                    <a:pt x="1119" y="144"/>
                  </a:lnTo>
                  <a:lnTo>
                    <a:pt x="1119" y="142"/>
                  </a:lnTo>
                  <a:lnTo>
                    <a:pt x="1119" y="142"/>
                  </a:lnTo>
                  <a:lnTo>
                    <a:pt x="1121" y="142"/>
                  </a:lnTo>
                  <a:lnTo>
                    <a:pt x="1121" y="142"/>
                  </a:lnTo>
                  <a:lnTo>
                    <a:pt x="1119" y="142"/>
                  </a:lnTo>
                  <a:lnTo>
                    <a:pt x="1119" y="142"/>
                  </a:lnTo>
                  <a:lnTo>
                    <a:pt x="1119" y="142"/>
                  </a:lnTo>
                  <a:lnTo>
                    <a:pt x="1119" y="142"/>
                  </a:lnTo>
                  <a:lnTo>
                    <a:pt x="1117" y="144"/>
                  </a:lnTo>
                  <a:lnTo>
                    <a:pt x="1117" y="144"/>
                  </a:lnTo>
                  <a:lnTo>
                    <a:pt x="1117" y="144"/>
                  </a:lnTo>
                  <a:lnTo>
                    <a:pt x="1117" y="144"/>
                  </a:lnTo>
                  <a:lnTo>
                    <a:pt x="1117" y="144"/>
                  </a:lnTo>
                  <a:lnTo>
                    <a:pt x="1115" y="144"/>
                  </a:lnTo>
                  <a:lnTo>
                    <a:pt x="1115" y="144"/>
                  </a:lnTo>
                  <a:lnTo>
                    <a:pt x="1113" y="144"/>
                  </a:lnTo>
                  <a:lnTo>
                    <a:pt x="1113" y="144"/>
                  </a:lnTo>
                  <a:lnTo>
                    <a:pt x="1113" y="144"/>
                  </a:lnTo>
                  <a:lnTo>
                    <a:pt x="1115" y="142"/>
                  </a:lnTo>
                  <a:lnTo>
                    <a:pt x="1115" y="142"/>
                  </a:lnTo>
                  <a:lnTo>
                    <a:pt x="1115" y="142"/>
                  </a:lnTo>
                  <a:lnTo>
                    <a:pt x="1113" y="144"/>
                  </a:lnTo>
                  <a:lnTo>
                    <a:pt x="1113" y="144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08" y="142"/>
                  </a:lnTo>
                  <a:lnTo>
                    <a:pt x="1108" y="142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06" y="144"/>
                  </a:lnTo>
                  <a:lnTo>
                    <a:pt x="1104" y="144"/>
                  </a:lnTo>
                  <a:lnTo>
                    <a:pt x="1104" y="142"/>
                  </a:lnTo>
                  <a:lnTo>
                    <a:pt x="1104" y="142"/>
                  </a:lnTo>
                  <a:lnTo>
                    <a:pt x="1104" y="142"/>
                  </a:lnTo>
                  <a:lnTo>
                    <a:pt x="1104" y="142"/>
                  </a:lnTo>
                  <a:lnTo>
                    <a:pt x="1104" y="142"/>
                  </a:lnTo>
                  <a:lnTo>
                    <a:pt x="1104" y="142"/>
                  </a:lnTo>
                  <a:lnTo>
                    <a:pt x="1104" y="142"/>
                  </a:lnTo>
                  <a:lnTo>
                    <a:pt x="1106" y="140"/>
                  </a:lnTo>
                  <a:lnTo>
                    <a:pt x="1106" y="140"/>
                  </a:lnTo>
                  <a:lnTo>
                    <a:pt x="1106" y="140"/>
                  </a:lnTo>
                  <a:lnTo>
                    <a:pt x="1106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40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10" y="138"/>
                  </a:lnTo>
                  <a:lnTo>
                    <a:pt x="1110" y="138"/>
                  </a:lnTo>
                  <a:lnTo>
                    <a:pt x="1110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10" y="138"/>
                  </a:lnTo>
                  <a:lnTo>
                    <a:pt x="1110" y="138"/>
                  </a:lnTo>
                  <a:lnTo>
                    <a:pt x="1110" y="138"/>
                  </a:lnTo>
                  <a:lnTo>
                    <a:pt x="1110" y="135"/>
                  </a:lnTo>
                  <a:lnTo>
                    <a:pt x="1110" y="135"/>
                  </a:lnTo>
                  <a:lnTo>
                    <a:pt x="1110" y="135"/>
                  </a:lnTo>
                  <a:lnTo>
                    <a:pt x="1108" y="135"/>
                  </a:lnTo>
                  <a:lnTo>
                    <a:pt x="1108" y="135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8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6" y="138"/>
                  </a:lnTo>
                  <a:lnTo>
                    <a:pt x="1104" y="138"/>
                  </a:lnTo>
                  <a:lnTo>
                    <a:pt x="1104" y="138"/>
                  </a:lnTo>
                  <a:lnTo>
                    <a:pt x="1104" y="138"/>
                  </a:lnTo>
                  <a:lnTo>
                    <a:pt x="1104" y="140"/>
                  </a:lnTo>
                  <a:lnTo>
                    <a:pt x="1104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40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101" y="138"/>
                  </a:lnTo>
                  <a:lnTo>
                    <a:pt x="1099" y="140"/>
                  </a:lnTo>
                  <a:lnTo>
                    <a:pt x="1099" y="140"/>
                  </a:lnTo>
                  <a:lnTo>
                    <a:pt x="1099" y="140"/>
                  </a:lnTo>
                  <a:lnTo>
                    <a:pt x="1099" y="140"/>
                  </a:lnTo>
                  <a:lnTo>
                    <a:pt x="1097" y="140"/>
                  </a:lnTo>
                  <a:lnTo>
                    <a:pt x="1097" y="138"/>
                  </a:lnTo>
                  <a:lnTo>
                    <a:pt x="1097" y="138"/>
                  </a:lnTo>
                  <a:lnTo>
                    <a:pt x="1097" y="138"/>
                  </a:lnTo>
                  <a:lnTo>
                    <a:pt x="1097" y="140"/>
                  </a:lnTo>
                  <a:lnTo>
                    <a:pt x="1097" y="140"/>
                  </a:lnTo>
                  <a:lnTo>
                    <a:pt x="1097" y="140"/>
                  </a:lnTo>
                  <a:lnTo>
                    <a:pt x="1097" y="140"/>
                  </a:lnTo>
                  <a:lnTo>
                    <a:pt x="1097" y="140"/>
                  </a:lnTo>
                  <a:lnTo>
                    <a:pt x="1097" y="142"/>
                  </a:lnTo>
                  <a:lnTo>
                    <a:pt x="1097" y="142"/>
                  </a:lnTo>
                  <a:lnTo>
                    <a:pt x="1095" y="142"/>
                  </a:lnTo>
                  <a:lnTo>
                    <a:pt x="1095" y="142"/>
                  </a:lnTo>
                  <a:lnTo>
                    <a:pt x="1092" y="142"/>
                  </a:lnTo>
                  <a:lnTo>
                    <a:pt x="1092" y="142"/>
                  </a:lnTo>
                  <a:lnTo>
                    <a:pt x="1092" y="142"/>
                  </a:lnTo>
                  <a:lnTo>
                    <a:pt x="1090" y="142"/>
                  </a:lnTo>
                  <a:lnTo>
                    <a:pt x="1090" y="142"/>
                  </a:lnTo>
                  <a:lnTo>
                    <a:pt x="1090" y="142"/>
                  </a:lnTo>
                  <a:lnTo>
                    <a:pt x="1088" y="142"/>
                  </a:lnTo>
                  <a:lnTo>
                    <a:pt x="1088" y="142"/>
                  </a:lnTo>
                  <a:lnTo>
                    <a:pt x="1088" y="142"/>
                  </a:lnTo>
                  <a:lnTo>
                    <a:pt x="1088" y="142"/>
                  </a:lnTo>
                  <a:lnTo>
                    <a:pt x="1088" y="142"/>
                  </a:lnTo>
                  <a:lnTo>
                    <a:pt x="1086" y="142"/>
                  </a:lnTo>
                  <a:lnTo>
                    <a:pt x="1086" y="142"/>
                  </a:lnTo>
                  <a:lnTo>
                    <a:pt x="1083" y="142"/>
                  </a:lnTo>
                  <a:lnTo>
                    <a:pt x="1083" y="142"/>
                  </a:lnTo>
                  <a:lnTo>
                    <a:pt x="1083" y="142"/>
                  </a:lnTo>
                  <a:lnTo>
                    <a:pt x="1083" y="142"/>
                  </a:lnTo>
                  <a:lnTo>
                    <a:pt x="1083" y="142"/>
                  </a:lnTo>
                  <a:lnTo>
                    <a:pt x="1083" y="142"/>
                  </a:lnTo>
                  <a:lnTo>
                    <a:pt x="1083" y="142"/>
                  </a:lnTo>
                  <a:lnTo>
                    <a:pt x="1081" y="142"/>
                  </a:lnTo>
                  <a:lnTo>
                    <a:pt x="1081" y="142"/>
                  </a:lnTo>
                  <a:lnTo>
                    <a:pt x="1081" y="142"/>
                  </a:lnTo>
                  <a:lnTo>
                    <a:pt x="1079" y="142"/>
                  </a:lnTo>
                  <a:lnTo>
                    <a:pt x="1079" y="142"/>
                  </a:lnTo>
                  <a:lnTo>
                    <a:pt x="1079" y="140"/>
                  </a:lnTo>
                  <a:lnTo>
                    <a:pt x="1077" y="142"/>
                  </a:lnTo>
                  <a:lnTo>
                    <a:pt x="1077" y="142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7" y="140"/>
                  </a:lnTo>
                  <a:lnTo>
                    <a:pt x="1077" y="140"/>
                  </a:lnTo>
                  <a:lnTo>
                    <a:pt x="1077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4" y="140"/>
                  </a:lnTo>
                  <a:lnTo>
                    <a:pt x="1072" y="140"/>
                  </a:lnTo>
                  <a:lnTo>
                    <a:pt x="1072" y="140"/>
                  </a:lnTo>
                  <a:lnTo>
                    <a:pt x="1072" y="140"/>
                  </a:lnTo>
                  <a:lnTo>
                    <a:pt x="1072" y="140"/>
                  </a:lnTo>
                  <a:lnTo>
                    <a:pt x="1070" y="140"/>
                  </a:lnTo>
                  <a:lnTo>
                    <a:pt x="1072" y="140"/>
                  </a:lnTo>
                  <a:lnTo>
                    <a:pt x="1074" y="138"/>
                  </a:lnTo>
                  <a:lnTo>
                    <a:pt x="1074" y="138"/>
                  </a:lnTo>
                  <a:lnTo>
                    <a:pt x="1077" y="138"/>
                  </a:lnTo>
                  <a:lnTo>
                    <a:pt x="1077" y="138"/>
                  </a:lnTo>
                  <a:lnTo>
                    <a:pt x="1077" y="138"/>
                  </a:lnTo>
                  <a:lnTo>
                    <a:pt x="1077" y="138"/>
                  </a:lnTo>
                  <a:lnTo>
                    <a:pt x="1077" y="138"/>
                  </a:lnTo>
                  <a:lnTo>
                    <a:pt x="1077" y="138"/>
                  </a:lnTo>
                  <a:lnTo>
                    <a:pt x="1077" y="135"/>
                  </a:lnTo>
                  <a:lnTo>
                    <a:pt x="1079" y="135"/>
                  </a:lnTo>
                  <a:lnTo>
                    <a:pt x="1079" y="135"/>
                  </a:lnTo>
                  <a:lnTo>
                    <a:pt x="1077" y="135"/>
                  </a:lnTo>
                  <a:lnTo>
                    <a:pt x="1077" y="135"/>
                  </a:lnTo>
                  <a:lnTo>
                    <a:pt x="1077" y="135"/>
                  </a:lnTo>
                  <a:lnTo>
                    <a:pt x="1077" y="135"/>
                  </a:lnTo>
                  <a:lnTo>
                    <a:pt x="1077" y="135"/>
                  </a:lnTo>
                  <a:lnTo>
                    <a:pt x="1074" y="138"/>
                  </a:lnTo>
                  <a:lnTo>
                    <a:pt x="1070" y="138"/>
                  </a:lnTo>
                  <a:lnTo>
                    <a:pt x="1070" y="138"/>
                  </a:lnTo>
                  <a:lnTo>
                    <a:pt x="1070" y="138"/>
                  </a:lnTo>
                  <a:lnTo>
                    <a:pt x="1070" y="138"/>
                  </a:lnTo>
                  <a:lnTo>
                    <a:pt x="1070" y="138"/>
                  </a:lnTo>
                  <a:lnTo>
                    <a:pt x="1070" y="138"/>
                  </a:lnTo>
                  <a:lnTo>
                    <a:pt x="1070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8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5" y="140"/>
                  </a:lnTo>
                  <a:lnTo>
                    <a:pt x="1063" y="140"/>
                  </a:lnTo>
                  <a:lnTo>
                    <a:pt x="1061" y="140"/>
                  </a:lnTo>
                  <a:lnTo>
                    <a:pt x="1061" y="140"/>
                  </a:lnTo>
                  <a:lnTo>
                    <a:pt x="1061" y="140"/>
                  </a:lnTo>
                  <a:lnTo>
                    <a:pt x="1063" y="140"/>
                  </a:lnTo>
                  <a:lnTo>
                    <a:pt x="1063" y="140"/>
                  </a:lnTo>
                  <a:lnTo>
                    <a:pt x="1063" y="140"/>
                  </a:lnTo>
                  <a:lnTo>
                    <a:pt x="1061" y="140"/>
                  </a:lnTo>
                  <a:lnTo>
                    <a:pt x="1061" y="140"/>
                  </a:lnTo>
                  <a:lnTo>
                    <a:pt x="1061" y="140"/>
                  </a:lnTo>
                  <a:lnTo>
                    <a:pt x="1059" y="140"/>
                  </a:lnTo>
                  <a:lnTo>
                    <a:pt x="1059" y="140"/>
                  </a:lnTo>
                  <a:lnTo>
                    <a:pt x="1059" y="140"/>
                  </a:lnTo>
                  <a:lnTo>
                    <a:pt x="1059" y="140"/>
                  </a:lnTo>
                  <a:lnTo>
                    <a:pt x="1061" y="140"/>
                  </a:lnTo>
                  <a:lnTo>
                    <a:pt x="1061" y="138"/>
                  </a:lnTo>
                  <a:lnTo>
                    <a:pt x="1059" y="140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59" y="138"/>
                  </a:lnTo>
                  <a:lnTo>
                    <a:pt x="1061" y="138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5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1" y="133"/>
                  </a:lnTo>
                  <a:lnTo>
                    <a:pt x="1063" y="133"/>
                  </a:lnTo>
                  <a:lnTo>
                    <a:pt x="1063" y="133"/>
                  </a:lnTo>
                  <a:lnTo>
                    <a:pt x="1063" y="133"/>
                  </a:lnTo>
                  <a:lnTo>
                    <a:pt x="1063" y="131"/>
                  </a:lnTo>
                  <a:lnTo>
                    <a:pt x="1063" y="131"/>
                  </a:lnTo>
                  <a:lnTo>
                    <a:pt x="1065" y="131"/>
                  </a:lnTo>
                  <a:lnTo>
                    <a:pt x="1065" y="131"/>
                  </a:lnTo>
                  <a:lnTo>
                    <a:pt x="1065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61" y="131"/>
                  </a:lnTo>
                  <a:lnTo>
                    <a:pt x="1059" y="131"/>
                  </a:lnTo>
                  <a:lnTo>
                    <a:pt x="1061" y="131"/>
                  </a:lnTo>
                  <a:lnTo>
                    <a:pt x="1061" y="129"/>
                  </a:lnTo>
                  <a:lnTo>
                    <a:pt x="1061" y="129"/>
                  </a:lnTo>
                  <a:lnTo>
                    <a:pt x="1061" y="129"/>
                  </a:lnTo>
                  <a:lnTo>
                    <a:pt x="1061" y="129"/>
                  </a:lnTo>
                  <a:lnTo>
                    <a:pt x="1061" y="129"/>
                  </a:lnTo>
                  <a:lnTo>
                    <a:pt x="1063" y="129"/>
                  </a:lnTo>
                  <a:lnTo>
                    <a:pt x="1063" y="129"/>
                  </a:lnTo>
                  <a:lnTo>
                    <a:pt x="1063" y="129"/>
                  </a:lnTo>
                  <a:lnTo>
                    <a:pt x="1065" y="126"/>
                  </a:lnTo>
                  <a:lnTo>
                    <a:pt x="1065" y="126"/>
                  </a:lnTo>
                  <a:lnTo>
                    <a:pt x="1065" y="126"/>
                  </a:lnTo>
                  <a:lnTo>
                    <a:pt x="1063" y="126"/>
                  </a:lnTo>
                  <a:lnTo>
                    <a:pt x="1063" y="126"/>
                  </a:lnTo>
                  <a:lnTo>
                    <a:pt x="1065" y="126"/>
                  </a:lnTo>
                  <a:lnTo>
                    <a:pt x="1068" y="124"/>
                  </a:lnTo>
                  <a:lnTo>
                    <a:pt x="1070" y="124"/>
                  </a:lnTo>
                  <a:lnTo>
                    <a:pt x="1070" y="124"/>
                  </a:lnTo>
                  <a:lnTo>
                    <a:pt x="1070" y="124"/>
                  </a:lnTo>
                  <a:lnTo>
                    <a:pt x="1070" y="124"/>
                  </a:lnTo>
                  <a:lnTo>
                    <a:pt x="1072" y="124"/>
                  </a:lnTo>
                  <a:lnTo>
                    <a:pt x="1072" y="124"/>
                  </a:lnTo>
                  <a:lnTo>
                    <a:pt x="1074" y="124"/>
                  </a:lnTo>
                  <a:lnTo>
                    <a:pt x="1074" y="122"/>
                  </a:lnTo>
                  <a:lnTo>
                    <a:pt x="1072" y="122"/>
                  </a:lnTo>
                  <a:lnTo>
                    <a:pt x="1074" y="122"/>
                  </a:lnTo>
                  <a:lnTo>
                    <a:pt x="1074" y="122"/>
                  </a:lnTo>
                  <a:lnTo>
                    <a:pt x="1074" y="122"/>
                  </a:lnTo>
                  <a:lnTo>
                    <a:pt x="1074" y="122"/>
                  </a:lnTo>
                  <a:lnTo>
                    <a:pt x="1074" y="122"/>
                  </a:lnTo>
                  <a:lnTo>
                    <a:pt x="1074" y="122"/>
                  </a:lnTo>
                  <a:lnTo>
                    <a:pt x="1074" y="120"/>
                  </a:lnTo>
                  <a:lnTo>
                    <a:pt x="1074" y="120"/>
                  </a:lnTo>
                  <a:lnTo>
                    <a:pt x="1074" y="120"/>
                  </a:lnTo>
                  <a:lnTo>
                    <a:pt x="1077" y="120"/>
                  </a:lnTo>
                  <a:lnTo>
                    <a:pt x="1077" y="120"/>
                  </a:lnTo>
                  <a:lnTo>
                    <a:pt x="1077" y="120"/>
                  </a:lnTo>
                  <a:lnTo>
                    <a:pt x="1077" y="120"/>
                  </a:lnTo>
                  <a:lnTo>
                    <a:pt x="1077" y="117"/>
                  </a:lnTo>
                  <a:lnTo>
                    <a:pt x="1077" y="117"/>
                  </a:lnTo>
                  <a:lnTo>
                    <a:pt x="1077" y="117"/>
                  </a:lnTo>
                  <a:lnTo>
                    <a:pt x="1077" y="117"/>
                  </a:lnTo>
                  <a:lnTo>
                    <a:pt x="1077" y="117"/>
                  </a:lnTo>
                  <a:lnTo>
                    <a:pt x="1074" y="117"/>
                  </a:lnTo>
                  <a:lnTo>
                    <a:pt x="1074" y="117"/>
                  </a:lnTo>
                  <a:lnTo>
                    <a:pt x="1074" y="117"/>
                  </a:lnTo>
                  <a:lnTo>
                    <a:pt x="1074" y="117"/>
                  </a:lnTo>
                  <a:lnTo>
                    <a:pt x="1074" y="117"/>
                  </a:lnTo>
                  <a:lnTo>
                    <a:pt x="1074" y="117"/>
                  </a:lnTo>
                  <a:lnTo>
                    <a:pt x="1074" y="117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2" y="115"/>
                  </a:lnTo>
                  <a:lnTo>
                    <a:pt x="1072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5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4" y="113"/>
                  </a:lnTo>
                  <a:lnTo>
                    <a:pt x="1072" y="111"/>
                  </a:lnTo>
                  <a:lnTo>
                    <a:pt x="1072" y="111"/>
                  </a:lnTo>
                  <a:lnTo>
                    <a:pt x="1072" y="111"/>
                  </a:lnTo>
                  <a:lnTo>
                    <a:pt x="1072" y="111"/>
                  </a:lnTo>
                  <a:lnTo>
                    <a:pt x="1072" y="111"/>
                  </a:lnTo>
                  <a:lnTo>
                    <a:pt x="1072" y="111"/>
                  </a:lnTo>
                  <a:lnTo>
                    <a:pt x="1074" y="111"/>
                  </a:lnTo>
                  <a:lnTo>
                    <a:pt x="1074" y="111"/>
                  </a:lnTo>
                  <a:lnTo>
                    <a:pt x="1074" y="111"/>
                  </a:lnTo>
                  <a:lnTo>
                    <a:pt x="1074" y="111"/>
                  </a:lnTo>
                  <a:lnTo>
                    <a:pt x="1074" y="111"/>
                  </a:lnTo>
                  <a:lnTo>
                    <a:pt x="1074" y="111"/>
                  </a:lnTo>
                  <a:lnTo>
                    <a:pt x="1072" y="108"/>
                  </a:lnTo>
                  <a:lnTo>
                    <a:pt x="1072" y="108"/>
                  </a:lnTo>
                  <a:lnTo>
                    <a:pt x="1070" y="108"/>
                  </a:lnTo>
                  <a:lnTo>
                    <a:pt x="1065" y="111"/>
                  </a:lnTo>
                  <a:lnTo>
                    <a:pt x="1063" y="111"/>
                  </a:lnTo>
                  <a:lnTo>
                    <a:pt x="1065" y="111"/>
                  </a:lnTo>
                  <a:lnTo>
                    <a:pt x="1065" y="111"/>
                  </a:lnTo>
                  <a:lnTo>
                    <a:pt x="1065" y="111"/>
                  </a:lnTo>
                  <a:lnTo>
                    <a:pt x="1065" y="111"/>
                  </a:lnTo>
                  <a:lnTo>
                    <a:pt x="1065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3" y="111"/>
                  </a:lnTo>
                  <a:lnTo>
                    <a:pt x="1061" y="111"/>
                  </a:lnTo>
                  <a:lnTo>
                    <a:pt x="1059" y="111"/>
                  </a:lnTo>
                  <a:lnTo>
                    <a:pt x="1059" y="111"/>
                  </a:lnTo>
                  <a:lnTo>
                    <a:pt x="1059" y="111"/>
                  </a:lnTo>
                  <a:lnTo>
                    <a:pt x="1056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45" y="111"/>
                  </a:lnTo>
                  <a:lnTo>
                    <a:pt x="1045" y="111"/>
                  </a:lnTo>
                  <a:lnTo>
                    <a:pt x="1043" y="111"/>
                  </a:lnTo>
                  <a:lnTo>
                    <a:pt x="1043" y="113"/>
                  </a:lnTo>
                  <a:lnTo>
                    <a:pt x="1043" y="111"/>
                  </a:lnTo>
                  <a:lnTo>
                    <a:pt x="1043" y="111"/>
                  </a:lnTo>
                  <a:lnTo>
                    <a:pt x="1038" y="111"/>
                  </a:lnTo>
                  <a:lnTo>
                    <a:pt x="1038" y="111"/>
                  </a:lnTo>
                  <a:lnTo>
                    <a:pt x="1038" y="111"/>
                  </a:lnTo>
                  <a:lnTo>
                    <a:pt x="1038" y="111"/>
                  </a:lnTo>
                  <a:lnTo>
                    <a:pt x="1041" y="111"/>
                  </a:lnTo>
                  <a:lnTo>
                    <a:pt x="1041" y="111"/>
                  </a:lnTo>
                  <a:lnTo>
                    <a:pt x="1041" y="111"/>
                  </a:lnTo>
                  <a:lnTo>
                    <a:pt x="1041" y="111"/>
                  </a:lnTo>
                  <a:lnTo>
                    <a:pt x="1041" y="111"/>
                  </a:lnTo>
                  <a:lnTo>
                    <a:pt x="1045" y="111"/>
                  </a:lnTo>
                  <a:lnTo>
                    <a:pt x="1045" y="111"/>
                  </a:lnTo>
                  <a:lnTo>
                    <a:pt x="1045" y="111"/>
                  </a:lnTo>
                  <a:lnTo>
                    <a:pt x="1045" y="111"/>
                  </a:lnTo>
                  <a:lnTo>
                    <a:pt x="1045" y="111"/>
                  </a:lnTo>
                  <a:lnTo>
                    <a:pt x="1045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47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50" y="111"/>
                  </a:lnTo>
                  <a:lnTo>
                    <a:pt x="1045" y="108"/>
                  </a:lnTo>
                  <a:lnTo>
                    <a:pt x="1045" y="108"/>
                  </a:lnTo>
                  <a:lnTo>
                    <a:pt x="1045" y="111"/>
                  </a:lnTo>
                  <a:lnTo>
                    <a:pt x="1045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1" y="108"/>
                  </a:lnTo>
                  <a:lnTo>
                    <a:pt x="1041" y="108"/>
                  </a:lnTo>
                  <a:lnTo>
                    <a:pt x="1041" y="108"/>
                  </a:lnTo>
                  <a:lnTo>
                    <a:pt x="1041" y="108"/>
                  </a:lnTo>
                  <a:lnTo>
                    <a:pt x="1041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3" y="108"/>
                  </a:lnTo>
                  <a:lnTo>
                    <a:pt x="1041" y="108"/>
                  </a:lnTo>
                  <a:lnTo>
                    <a:pt x="1036" y="108"/>
                  </a:lnTo>
                  <a:lnTo>
                    <a:pt x="1036" y="108"/>
                  </a:lnTo>
                  <a:lnTo>
                    <a:pt x="1036" y="108"/>
                  </a:lnTo>
                  <a:lnTo>
                    <a:pt x="1034" y="108"/>
                  </a:lnTo>
                  <a:lnTo>
                    <a:pt x="1034" y="108"/>
                  </a:lnTo>
                  <a:lnTo>
                    <a:pt x="1034" y="106"/>
                  </a:lnTo>
                  <a:lnTo>
                    <a:pt x="1036" y="106"/>
                  </a:lnTo>
                  <a:lnTo>
                    <a:pt x="1036" y="106"/>
                  </a:lnTo>
                  <a:lnTo>
                    <a:pt x="1038" y="106"/>
                  </a:lnTo>
                  <a:lnTo>
                    <a:pt x="1041" y="106"/>
                  </a:lnTo>
                  <a:lnTo>
                    <a:pt x="1041" y="106"/>
                  </a:lnTo>
                  <a:lnTo>
                    <a:pt x="1043" y="106"/>
                  </a:lnTo>
                  <a:lnTo>
                    <a:pt x="1043" y="104"/>
                  </a:lnTo>
                  <a:lnTo>
                    <a:pt x="1043" y="104"/>
                  </a:lnTo>
                  <a:lnTo>
                    <a:pt x="1043" y="104"/>
                  </a:lnTo>
                  <a:lnTo>
                    <a:pt x="1041" y="106"/>
                  </a:lnTo>
                  <a:lnTo>
                    <a:pt x="1041" y="106"/>
                  </a:lnTo>
                  <a:lnTo>
                    <a:pt x="1041" y="106"/>
                  </a:lnTo>
                  <a:lnTo>
                    <a:pt x="1041" y="106"/>
                  </a:lnTo>
                  <a:lnTo>
                    <a:pt x="1041" y="106"/>
                  </a:lnTo>
                  <a:lnTo>
                    <a:pt x="1038" y="106"/>
                  </a:lnTo>
                  <a:lnTo>
                    <a:pt x="1036" y="106"/>
                  </a:lnTo>
                  <a:lnTo>
                    <a:pt x="1036" y="106"/>
                  </a:lnTo>
                  <a:lnTo>
                    <a:pt x="1036" y="106"/>
                  </a:lnTo>
                  <a:lnTo>
                    <a:pt x="1038" y="106"/>
                  </a:lnTo>
                  <a:lnTo>
                    <a:pt x="1038" y="106"/>
                  </a:lnTo>
                  <a:lnTo>
                    <a:pt x="1038" y="106"/>
                  </a:lnTo>
                  <a:lnTo>
                    <a:pt x="1036" y="106"/>
                  </a:lnTo>
                  <a:lnTo>
                    <a:pt x="1036" y="106"/>
                  </a:lnTo>
                  <a:lnTo>
                    <a:pt x="1036" y="106"/>
                  </a:lnTo>
                  <a:lnTo>
                    <a:pt x="1036" y="106"/>
                  </a:lnTo>
                  <a:lnTo>
                    <a:pt x="1036" y="104"/>
                  </a:lnTo>
                  <a:lnTo>
                    <a:pt x="1036" y="104"/>
                  </a:lnTo>
                  <a:lnTo>
                    <a:pt x="1034" y="104"/>
                  </a:lnTo>
                  <a:lnTo>
                    <a:pt x="1036" y="104"/>
                  </a:lnTo>
                  <a:lnTo>
                    <a:pt x="1036" y="104"/>
                  </a:lnTo>
                  <a:lnTo>
                    <a:pt x="1034" y="104"/>
                  </a:lnTo>
                  <a:lnTo>
                    <a:pt x="1034" y="104"/>
                  </a:lnTo>
                  <a:lnTo>
                    <a:pt x="1034" y="104"/>
                  </a:lnTo>
                  <a:lnTo>
                    <a:pt x="1034" y="104"/>
                  </a:lnTo>
                  <a:lnTo>
                    <a:pt x="1034" y="104"/>
                  </a:lnTo>
                  <a:lnTo>
                    <a:pt x="1034" y="104"/>
                  </a:lnTo>
                  <a:lnTo>
                    <a:pt x="1034" y="104"/>
                  </a:lnTo>
                  <a:lnTo>
                    <a:pt x="1032" y="104"/>
                  </a:lnTo>
                  <a:lnTo>
                    <a:pt x="1029" y="104"/>
                  </a:lnTo>
                  <a:lnTo>
                    <a:pt x="1027" y="104"/>
                  </a:lnTo>
                  <a:lnTo>
                    <a:pt x="1027" y="104"/>
                  </a:lnTo>
                  <a:lnTo>
                    <a:pt x="1027" y="102"/>
                  </a:lnTo>
                  <a:lnTo>
                    <a:pt x="1027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29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2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6" y="102"/>
                  </a:lnTo>
                  <a:lnTo>
                    <a:pt x="1038" y="102"/>
                  </a:lnTo>
                  <a:lnTo>
                    <a:pt x="1038" y="102"/>
                  </a:lnTo>
                  <a:lnTo>
                    <a:pt x="1034" y="102"/>
                  </a:lnTo>
                  <a:lnTo>
                    <a:pt x="1034" y="102"/>
                  </a:lnTo>
                  <a:lnTo>
                    <a:pt x="1034" y="99"/>
                  </a:lnTo>
                  <a:lnTo>
                    <a:pt x="1034" y="99"/>
                  </a:lnTo>
                  <a:lnTo>
                    <a:pt x="1032" y="99"/>
                  </a:lnTo>
                  <a:lnTo>
                    <a:pt x="1032" y="99"/>
                  </a:lnTo>
                  <a:lnTo>
                    <a:pt x="1032" y="99"/>
                  </a:lnTo>
                  <a:lnTo>
                    <a:pt x="1032" y="99"/>
                  </a:lnTo>
                  <a:lnTo>
                    <a:pt x="1034" y="99"/>
                  </a:lnTo>
                  <a:lnTo>
                    <a:pt x="1034" y="99"/>
                  </a:lnTo>
                  <a:lnTo>
                    <a:pt x="1036" y="99"/>
                  </a:lnTo>
                  <a:lnTo>
                    <a:pt x="1036" y="99"/>
                  </a:lnTo>
                  <a:lnTo>
                    <a:pt x="1036" y="99"/>
                  </a:lnTo>
                  <a:lnTo>
                    <a:pt x="1036" y="99"/>
                  </a:lnTo>
                  <a:lnTo>
                    <a:pt x="1034" y="99"/>
                  </a:lnTo>
                  <a:lnTo>
                    <a:pt x="1034" y="97"/>
                  </a:lnTo>
                  <a:lnTo>
                    <a:pt x="1034" y="97"/>
                  </a:lnTo>
                  <a:lnTo>
                    <a:pt x="1036" y="97"/>
                  </a:lnTo>
                  <a:lnTo>
                    <a:pt x="1036" y="97"/>
                  </a:lnTo>
                  <a:lnTo>
                    <a:pt x="1038" y="99"/>
                  </a:lnTo>
                  <a:lnTo>
                    <a:pt x="1038" y="99"/>
                  </a:lnTo>
                  <a:lnTo>
                    <a:pt x="1038" y="99"/>
                  </a:lnTo>
                  <a:lnTo>
                    <a:pt x="1038" y="99"/>
                  </a:lnTo>
                  <a:lnTo>
                    <a:pt x="1038" y="99"/>
                  </a:lnTo>
                  <a:lnTo>
                    <a:pt x="1038" y="99"/>
                  </a:lnTo>
                  <a:lnTo>
                    <a:pt x="1041" y="97"/>
                  </a:lnTo>
                  <a:lnTo>
                    <a:pt x="1041" y="97"/>
                  </a:lnTo>
                  <a:lnTo>
                    <a:pt x="1041" y="97"/>
                  </a:lnTo>
                  <a:lnTo>
                    <a:pt x="1041" y="97"/>
                  </a:lnTo>
                  <a:lnTo>
                    <a:pt x="1043" y="97"/>
                  </a:lnTo>
                  <a:lnTo>
                    <a:pt x="1043" y="97"/>
                  </a:lnTo>
                  <a:lnTo>
                    <a:pt x="1043" y="97"/>
                  </a:lnTo>
                  <a:lnTo>
                    <a:pt x="1043" y="97"/>
                  </a:lnTo>
                  <a:lnTo>
                    <a:pt x="1043" y="97"/>
                  </a:lnTo>
                  <a:lnTo>
                    <a:pt x="1043" y="97"/>
                  </a:lnTo>
                  <a:lnTo>
                    <a:pt x="1041" y="97"/>
                  </a:lnTo>
                  <a:lnTo>
                    <a:pt x="1041" y="97"/>
                  </a:lnTo>
                  <a:lnTo>
                    <a:pt x="1047" y="97"/>
                  </a:lnTo>
                  <a:lnTo>
                    <a:pt x="1050" y="97"/>
                  </a:lnTo>
                  <a:lnTo>
                    <a:pt x="1052" y="97"/>
                  </a:lnTo>
                  <a:lnTo>
                    <a:pt x="1052" y="97"/>
                  </a:lnTo>
                  <a:lnTo>
                    <a:pt x="1056" y="97"/>
                  </a:lnTo>
                  <a:lnTo>
                    <a:pt x="1056" y="97"/>
                  </a:lnTo>
                  <a:lnTo>
                    <a:pt x="1056" y="97"/>
                  </a:lnTo>
                  <a:lnTo>
                    <a:pt x="1056" y="97"/>
                  </a:lnTo>
                  <a:lnTo>
                    <a:pt x="1056" y="97"/>
                  </a:lnTo>
                  <a:lnTo>
                    <a:pt x="1056" y="97"/>
                  </a:lnTo>
                  <a:lnTo>
                    <a:pt x="1061" y="97"/>
                  </a:lnTo>
                  <a:lnTo>
                    <a:pt x="1061" y="97"/>
                  </a:lnTo>
                  <a:lnTo>
                    <a:pt x="1061" y="97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5" y="99"/>
                  </a:lnTo>
                  <a:lnTo>
                    <a:pt x="1068" y="99"/>
                  </a:lnTo>
                  <a:lnTo>
                    <a:pt x="1068" y="99"/>
                  </a:lnTo>
                  <a:lnTo>
                    <a:pt x="1068" y="99"/>
                  </a:lnTo>
                  <a:lnTo>
                    <a:pt x="1068" y="99"/>
                  </a:lnTo>
                  <a:lnTo>
                    <a:pt x="1068" y="99"/>
                  </a:lnTo>
                  <a:lnTo>
                    <a:pt x="1068" y="99"/>
                  </a:lnTo>
                  <a:lnTo>
                    <a:pt x="1068" y="99"/>
                  </a:lnTo>
                  <a:lnTo>
                    <a:pt x="1070" y="99"/>
                  </a:lnTo>
                  <a:lnTo>
                    <a:pt x="1072" y="99"/>
                  </a:lnTo>
                  <a:lnTo>
                    <a:pt x="1072" y="99"/>
                  </a:lnTo>
                  <a:lnTo>
                    <a:pt x="1072" y="99"/>
                  </a:lnTo>
                  <a:lnTo>
                    <a:pt x="1072" y="99"/>
                  </a:lnTo>
                  <a:lnTo>
                    <a:pt x="1074" y="99"/>
                  </a:lnTo>
                  <a:lnTo>
                    <a:pt x="1074" y="99"/>
                  </a:lnTo>
                  <a:lnTo>
                    <a:pt x="1077" y="99"/>
                  </a:lnTo>
                  <a:lnTo>
                    <a:pt x="1077" y="99"/>
                  </a:lnTo>
                  <a:lnTo>
                    <a:pt x="1077" y="99"/>
                  </a:lnTo>
                  <a:lnTo>
                    <a:pt x="1077" y="99"/>
                  </a:lnTo>
                  <a:lnTo>
                    <a:pt x="1077" y="99"/>
                  </a:lnTo>
                  <a:lnTo>
                    <a:pt x="1077" y="102"/>
                  </a:lnTo>
                  <a:lnTo>
                    <a:pt x="1077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2"/>
                  </a:lnTo>
                  <a:lnTo>
                    <a:pt x="1079" y="104"/>
                  </a:lnTo>
                  <a:lnTo>
                    <a:pt x="1079" y="104"/>
                  </a:lnTo>
                  <a:lnTo>
                    <a:pt x="1079" y="104"/>
                  </a:lnTo>
                  <a:lnTo>
                    <a:pt x="1077" y="104"/>
                  </a:lnTo>
                  <a:lnTo>
                    <a:pt x="1077" y="104"/>
                  </a:lnTo>
                  <a:lnTo>
                    <a:pt x="1077" y="104"/>
                  </a:lnTo>
                  <a:lnTo>
                    <a:pt x="1077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2" y="106"/>
                  </a:lnTo>
                  <a:lnTo>
                    <a:pt x="1070" y="106"/>
                  </a:lnTo>
                  <a:lnTo>
                    <a:pt x="1070" y="106"/>
                  </a:lnTo>
                  <a:lnTo>
                    <a:pt x="1070" y="106"/>
                  </a:lnTo>
                  <a:lnTo>
                    <a:pt x="1070" y="106"/>
                  </a:lnTo>
                  <a:lnTo>
                    <a:pt x="1068" y="108"/>
                  </a:lnTo>
                  <a:lnTo>
                    <a:pt x="1068" y="108"/>
                  </a:lnTo>
                  <a:lnTo>
                    <a:pt x="1068" y="108"/>
                  </a:lnTo>
                  <a:lnTo>
                    <a:pt x="1068" y="108"/>
                  </a:lnTo>
                  <a:lnTo>
                    <a:pt x="1068" y="108"/>
                  </a:lnTo>
                  <a:lnTo>
                    <a:pt x="1070" y="108"/>
                  </a:lnTo>
                  <a:lnTo>
                    <a:pt x="1068" y="108"/>
                  </a:lnTo>
                  <a:lnTo>
                    <a:pt x="1068" y="108"/>
                  </a:lnTo>
                  <a:lnTo>
                    <a:pt x="1068" y="108"/>
                  </a:lnTo>
                  <a:lnTo>
                    <a:pt x="1070" y="108"/>
                  </a:lnTo>
                  <a:lnTo>
                    <a:pt x="1072" y="108"/>
                  </a:lnTo>
                  <a:lnTo>
                    <a:pt x="1072" y="108"/>
                  </a:lnTo>
                  <a:lnTo>
                    <a:pt x="1072" y="106"/>
                  </a:lnTo>
                  <a:lnTo>
                    <a:pt x="1072" y="106"/>
                  </a:lnTo>
                  <a:lnTo>
                    <a:pt x="1072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4" y="106"/>
                  </a:lnTo>
                  <a:lnTo>
                    <a:pt x="1077" y="106"/>
                  </a:lnTo>
                  <a:lnTo>
                    <a:pt x="1077" y="106"/>
                  </a:lnTo>
                  <a:lnTo>
                    <a:pt x="1079" y="106"/>
                  </a:lnTo>
                  <a:lnTo>
                    <a:pt x="1079" y="106"/>
                  </a:lnTo>
                  <a:lnTo>
                    <a:pt x="1079" y="104"/>
                  </a:lnTo>
                  <a:lnTo>
                    <a:pt x="1079" y="104"/>
                  </a:lnTo>
                  <a:lnTo>
                    <a:pt x="1081" y="104"/>
                  </a:lnTo>
                  <a:lnTo>
                    <a:pt x="1081" y="104"/>
                  </a:lnTo>
                  <a:lnTo>
                    <a:pt x="1083" y="104"/>
                  </a:lnTo>
                  <a:lnTo>
                    <a:pt x="1083" y="106"/>
                  </a:lnTo>
                  <a:lnTo>
                    <a:pt x="1083" y="106"/>
                  </a:lnTo>
                  <a:lnTo>
                    <a:pt x="1086" y="104"/>
                  </a:lnTo>
                  <a:lnTo>
                    <a:pt x="1088" y="104"/>
                  </a:lnTo>
                  <a:lnTo>
                    <a:pt x="1088" y="104"/>
                  </a:lnTo>
                  <a:lnTo>
                    <a:pt x="1088" y="106"/>
                  </a:lnTo>
                  <a:lnTo>
                    <a:pt x="1088" y="104"/>
                  </a:lnTo>
                  <a:lnTo>
                    <a:pt x="1090" y="104"/>
                  </a:lnTo>
                  <a:lnTo>
                    <a:pt x="1092" y="104"/>
                  </a:lnTo>
                  <a:lnTo>
                    <a:pt x="1095" y="104"/>
                  </a:lnTo>
                  <a:lnTo>
                    <a:pt x="1095" y="104"/>
                  </a:lnTo>
                  <a:lnTo>
                    <a:pt x="1104" y="104"/>
                  </a:lnTo>
                  <a:lnTo>
                    <a:pt x="1106" y="104"/>
                  </a:lnTo>
                  <a:lnTo>
                    <a:pt x="1106" y="104"/>
                  </a:lnTo>
                  <a:lnTo>
                    <a:pt x="1108" y="104"/>
                  </a:lnTo>
                  <a:lnTo>
                    <a:pt x="1108" y="104"/>
                  </a:lnTo>
                  <a:lnTo>
                    <a:pt x="1110" y="104"/>
                  </a:lnTo>
                  <a:lnTo>
                    <a:pt x="1110" y="104"/>
                  </a:lnTo>
                  <a:lnTo>
                    <a:pt x="1110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6"/>
                  </a:lnTo>
                  <a:lnTo>
                    <a:pt x="1113" y="108"/>
                  </a:lnTo>
                  <a:lnTo>
                    <a:pt x="1108" y="108"/>
                  </a:lnTo>
                  <a:lnTo>
                    <a:pt x="1106" y="106"/>
                  </a:lnTo>
                  <a:lnTo>
                    <a:pt x="1106" y="106"/>
                  </a:lnTo>
                  <a:lnTo>
                    <a:pt x="1106" y="106"/>
                  </a:lnTo>
                  <a:lnTo>
                    <a:pt x="1106" y="106"/>
                  </a:lnTo>
                  <a:lnTo>
                    <a:pt x="1106" y="106"/>
                  </a:lnTo>
                  <a:lnTo>
                    <a:pt x="1106" y="106"/>
                  </a:lnTo>
                  <a:lnTo>
                    <a:pt x="1106" y="106"/>
                  </a:lnTo>
                  <a:lnTo>
                    <a:pt x="1104" y="106"/>
                  </a:lnTo>
                  <a:lnTo>
                    <a:pt x="1104" y="106"/>
                  </a:lnTo>
                  <a:lnTo>
                    <a:pt x="1101" y="106"/>
                  </a:lnTo>
                  <a:lnTo>
                    <a:pt x="1097" y="106"/>
                  </a:lnTo>
                  <a:lnTo>
                    <a:pt x="1097" y="106"/>
                  </a:lnTo>
                  <a:lnTo>
                    <a:pt x="1097" y="106"/>
                  </a:lnTo>
                  <a:lnTo>
                    <a:pt x="1099" y="106"/>
                  </a:lnTo>
                  <a:lnTo>
                    <a:pt x="1099" y="106"/>
                  </a:lnTo>
                  <a:lnTo>
                    <a:pt x="1099" y="108"/>
                  </a:lnTo>
                  <a:lnTo>
                    <a:pt x="1099" y="108"/>
                  </a:lnTo>
                  <a:lnTo>
                    <a:pt x="1104" y="108"/>
                  </a:lnTo>
                  <a:lnTo>
                    <a:pt x="1104" y="108"/>
                  </a:lnTo>
                  <a:lnTo>
                    <a:pt x="1104" y="108"/>
                  </a:lnTo>
                  <a:lnTo>
                    <a:pt x="1106" y="108"/>
                  </a:lnTo>
                  <a:lnTo>
                    <a:pt x="1108" y="108"/>
                  </a:lnTo>
                  <a:lnTo>
                    <a:pt x="1108" y="108"/>
                  </a:lnTo>
                  <a:lnTo>
                    <a:pt x="1108" y="108"/>
                  </a:lnTo>
                  <a:lnTo>
                    <a:pt x="1108" y="108"/>
                  </a:lnTo>
                  <a:lnTo>
                    <a:pt x="1110" y="108"/>
                  </a:lnTo>
                  <a:lnTo>
                    <a:pt x="1110" y="108"/>
                  </a:lnTo>
                  <a:lnTo>
                    <a:pt x="1124" y="111"/>
                  </a:lnTo>
                  <a:lnTo>
                    <a:pt x="1124" y="111"/>
                  </a:lnTo>
                  <a:lnTo>
                    <a:pt x="1124" y="111"/>
                  </a:lnTo>
                  <a:lnTo>
                    <a:pt x="1124" y="111"/>
                  </a:lnTo>
                  <a:lnTo>
                    <a:pt x="1126" y="111"/>
                  </a:lnTo>
                  <a:lnTo>
                    <a:pt x="1126" y="111"/>
                  </a:lnTo>
                  <a:lnTo>
                    <a:pt x="1124" y="111"/>
                  </a:lnTo>
                  <a:lnTo>
                    <a:pt x="1124" y="111"/>
                  </a:lnTo>
                  <a:lnTo>
                    <a:pt x="1124" y="111"/>
                  </a:lnTo>
                  <a:lnTo>
                    <a:pt x="1124" y="111"/>
                  </a:lnTo>
                  <a:lnTo>
                    <a:pt x="1124" y="113"/>
                  </a:lnTo>
                  <a:lnTo>
                    <a:pt x="1124" y="113"/>
                  </a:lnTo>
                  <a:lnTo>
                    <a:pt x="1124" y="113"/>
                  </a:lnTo>
                  <a:lnTo>
                    <a:pt x="1121" y="113"/>
                  </a:lnTo>
                  <a:lnTo>
                    <a:pt x="1121" y="113"/>
                  </a:lnTo>
                  <a:lnTo>
                    <a:pt x="1106" y="113"/>
                  </a:lnTo>
                  <a:lnTo>
                    <a:pt x="1106" y="113"/>
                  </a:lnTo>
                  <a:lnTo>
                    <a:pt x="1110" y="113"/>
                  </a:lnTo>
                  <a:lnTo>
                    <a:pt x="1110" y="113"/>
                  </a:lnTo>
                  <a:lnTo>
                    <a:pt x="1110" y="113"/>
                  </a:lnTo>
                  <a:lnTo>
                    <a:pt x="1110" y="113"/>
                  </a:lnTo>
                  <a:lnTo>
                    <a:pt x="1108" y="113"/>
                  </a:lnTo>
                  <a:lnTo>
                    <a:pt x="1097" y="113"/>
                  </a:lnTo>
                  <a:lnTo>
                    <a:pt x="1097" y="111"/>
                  </a:lnTo>
                  <a:lnTo>
                    <a:pt x="1092" y="111"/>
                  </a:lnTo>
                  <a:lnTo>
                    <a:pt x="1092" y="111"/>
                  </a:lnTo>
                  <a:lnTo>
                    <a:pt x="1092" y="111"/>
                  </a:lnTo>
                  <a:lnTo>
                    <a:pt x="1092" y="111"/>
                  </a:lnTo>
                  <a:lnTo>
                    <a:pt x="1095" y="111"/>
                  </a:lnTo>
                  <a:lnTo>
                    <a:pt x="1095" y="113"/>
                  </a:lnTo>
                  <a:lnTo>
                    <a:pt x="1097" y="113"/>
                  </a:lnTo>
                  <a:lnTo>
                    <a:pt x="1095" y="113"/>
                  </a:lnTo>
                  <a:lnTo>
                    <a:pt x="1095" y="113"/>
                  </a:lnTo>
                  <a:lnTo>
                    <a:pt x="1095" y="113"/>
                  </a:lnTo>
                  <a:lnTo>
                    <a:pt x="1092" y="113"/>
                  </a:lnTo>
                  <a:lnTo>
                    <a:pt x="1092" y="113"/>
                  </a:lnTo>
                  <a:lnTo>
                    <a:pt x="1092" y="113"/>
                  </a:lnTo>
                  <a:lnTo>
                    <a:pt x="1095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3"/>
                  </a:lnTo>
                  <a:lnTo>
                    <a:pt x="1101" y="115"/>
                  </a:lnTo>
                  <a:lnTo>
                    <a:pt x="1101" y="115"/>
                  </a:lnTo>
                  <a:lnTo>
                    <a:pt x="1101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101" y="115"/>
                  </a:lnTo>
                  <a:lnTo>
                    <a:pt x="1101" y="115"/>
                  </a:lnTo>
                  <a:lnTo>
                    <a:pt x="1101" y="115"/>
                  </a:lnTo>
                  <a:lnTo>
                    <a:pt x="1101" y="115"/>
                  </a:lnTo>
                  <a:lnTo>
                    <a:pt x="1104" y="115"/>
                  </a:lnTo>
                  <a:lnTo>
                    <a:pt x="1108" y="115"/>
                  </a:lnTo>
                  <a:lnTo>
                    <a:pt x="1108" y="115"/>
                  </a:lnTo>
                  <a:lnTo>
                    <a:pt x="1106" y="115"/>
                  </a:lnTo>
                  <a:lnTo>
                    <a:pt x="1095" y="115"/>
                  </a:lnTo>
                  <a:lnTo>
                    <a:pt x="1095" y="115"/>
                  </a:lnTo>
                  <a:lnTo>
                    <a:pt x="1095" y="115"/>
                  </a:lnTo>
                  <a:lnTo>
                    <a:pt x="1097" y="115"/>
                  </a:lnTo>
                  <a:lnTo>
                    <a:pt x="1097" y="115"/>
                  </a:lnTo>
                  <a:lnTo>
                    <a:pt x="1097" y="115"/>
                  </a:lnTo>
                  <a:lnTo>
                    <a:pt x="1095" y="115"/>
                  </a:lnTo>
                  <a:lnTo>
                    <a:pt x="1095" y="115"/>
                  </a:lnTo>
                  <a:lnTo>
                    <a:pt x="1095" y="115"/>
                  </a:lnTo>
                  <a:lnTo>
                    <a:pt x="1095" y="115"/>
                  </a:lnTo>
                  <a:lnTo>
                    <a:pt x="1095" y="115"/>
                  </a:lnTo>
                  <a:lnTo>
                    <a:pt x="1095" y="117"/>
                  </a:lnTo>
                  <a:lnTo>
                    <a:pt x="1095" y="117"/>
                  </a:lnTo>
                  <a:lnTo>
                    <a:pt x="1095" y="117"/>
                  </a:lnTo>
                  <a:lnTo>
                    <a:pt x="1095" y="117"/>
                  </a:lnTo>
                  <a:lnTo>
                    <a:pt x="1095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0" y="120"/>
                  </a:lnTo>
                  <a:lnTo>
                    <a:pt x="1090" y="120"/>
                  </a:lnTo>
                  <a:lnTo>
                    <a:pt x="1090" y="117"/>
                  </a:lnTo>
                  <a:lnTo>
                    <a:pt x="1090" y="120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2" y="117"/>
                  </a:lnTo>
                  <a:lnTo>
                    <a:pt x="1095" y="117"/>
                  </a:lnTo>
                  <a:lnTo>
                    <a:pt x="1097" y="117"/>
                  </a:lnTo>
                  <a:lnTo>
                    <a:pt x="1097" y="117"/>
                  </a:lnTo>
                  <a:lnTo>
                    <a:pt x="1097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5"/>
                  </a:lnTo>
                  <a:lnTo>
                    <a:pt x="1099" y="117"/>
                  </a:lnTo>
                  <a:lnTo>
                    <a:pt x="1099" y="117"/>
                  </a:lnTo>
                  <a:lnTo>
                    <a:pt x="1099" y="117"/>
                  </a:lnTo>
                  <a:lnTo>
                    <a:pt x="1101" y="115"/>
                  </a:lnTo>
                  <a:lnTo>
                    <a:pt x="1101" y="115"/>
                  </a:lnTo>
                  <a:lnTo>
                    <a:pt x="1104" y="115"/>
                  </a:lnTo>
                  <a:lnTo>
                    <a:pt x="1104" y="117"/>
                  </a:lnTo>
                  <a:lnTo>
                    <a:pt x="1101" y="117"/>
                  </a:lnTo>
                  <a:lnTo>
                    <a:pt x="1101" y="117"/>
                  </a:lnTo>
                  <a:lnTo>
                    <a:pt x="1101" y="117"/>
                  </a:lnTo>
                  <a:lnTo>
                    <a:pt x="1101" y="117"/>
                  </a:lnTo>
                  <a:lnTo>
                    <a:pt x="1101" y="117"/>
                  </a:lnTo>
                  <a:lnTo>
                    <a:pt x="1101" y="117"/>
                  </a:lnTo>
                  <a:lnTo>
                    <a:pt x="1101" y="117"/>
                  </a:lnTo>
                  <a:lnTo>
                    <a:pt x="1104" y="117"/>
                  </a:lnTo>
                  <a:lnTo>
                    <a:pt x="1104" y="117"/>
                  </a:lnTo>
                  <a:lnTo>
                    <a:pt x="1104" y="117"/>
                  </a:lnTo>
                  <a:lnTo>
                    <a:pt x="1104" y="115"/>
                  </a:lnTo>
                  <a:lnTo>
                    <a:pt x="1106" y="117"/>
                  </a:lnTo>
                  <a:lnTo>
                    <a:pt x="1106" y="117"/>
                  </a:lnTo>
                  <a:lnTo>
                    <a:pt x="1106" y="117"/>
                  </a:lnTo>
                  <a:lnTo>
                    <a:pt x="1106" y="117"/>
                  </a:lnTo>
                  <a:lnTo>
                    <a:pt x="1106" y="117"/>
                  </a:lnTo>
                  <a:lnTo>
                    <a:pt x="1108" y="117"/>
                  </a:lnTo>
                  <a:lnTo>
                    <a:pt x="1108" y="115"/>
                  </a:lnTo>
                  <a:lnTo>
                    <a:pt x="1108" y="115"/>
                  </a:lnTo>
                  <a:lnTo>
                    <a:pt x="1108" y="115"/>
                  </a:lnTo>
                  <a:lnTo>
                    <a:pt x="1110" y="115"/>
                  </a:lnTo>
                  <a:lnTo>
                    <a:pt x="1110" y="115"/>
                  </a:lnTo>
                  <a:lnTo>
                    <a:pt x="1110" y="115"/>
                  </a:lnTo>
                  <a:lnTo>
                    <a:pt x="1110" y="115"/>
                  </a:lnTo>
                  <a:lnTo>
                    <a:pt x="1110" y="115"/>
                  </a:lnTo>
                  <a:lnTo>
                    <a:pt x="1110" y="115"/>
                  </a:lnTo>
                  <a:lnTo>
                    <a:pt x="1110" y="115"/>
                  </a:lnTo>
                  <a:lnTo>
                    <a:pt x="1110" y="117"/>
                  </a:lnTo>
                  <a:lnTo>
                    <a:pt x="1110" y="117"/>
                  </a:lnTo>
                  <a:lnTo>
                    <a:pt x="1110" y="117"/>
                  </a:lnTo>
                  <a:lnTo>
                    <a:pt x="1110" y="117"/>
                  </a:lnTo>
                  <a:lnTo>
                    <a:pt x="1110" y="117"/>
                  </a:lnTo>
                  <a:lnTo>
                    <a:pt x="1110" y="117"/>
                  </a:lnTo>
                  <a:lnTo>
                    <a:pt x="1113" y="117"/>
                  </a:lnTo>
                  <a:lnTo>
                    <a:pt x="1110" y="117"/>
                  </a:lnTo>
                  <a:lnTo>
                    <a:pt x="1110" y="120"/>
                  </a:lnTo>
                  <a:lnTo>
                    <a:pt x="1108" y="120"/>
                  </a:lnTo>
                  <a:lnTo>
                    <a:pt x="1108" y="120"/>
                  </a:lnTo>
                  <a:lnTo>
                    <a:pt x="1108" y="120"/>
                  </a:lnTo>
                  <a:lnTo>
                    <a:pt x="1108" y="120"/>
                  </a:lnTo>
                  <a:lnTo>
                    <a:pt x="1108" y="120"/>
                  </a:lnTo>
                  <a:lnTo>
                    <a:pt x="1108" y="120"/>
                  </a:lnTo>
                  <a:lnTo>
                    <a:pt x="1108" y="120"/>
                  </a:lnTo>
                  <a:lnTo>
                    <a:pt x="1110" y="120"/>
                  </a:lnTo>
                  <a:lnTo>
                    <a:pt x="1110" y="120"/>
                  </a:lnTo>
                  <a:lnTo>
                    <a:pt x="1110" y="120"/>
                  </a:lnTo>
                  <a:lnTo>
                    <a:pt x="1110" y="120"/>
                  </a:lnTo>
                  <a:lnTo>
                    <a:pt x="1110" y="120"/>
                  </a:lnTo>
                  <a:lnTo>
                    <a:pt x="1113" y="120"/>
                  </a:lnTo>
                  <a:lnTo>
                    <a:pt x="1113" y="120"/>
                  </a:lnTo>
                  <a:lnTo>
                    <a:pt x="1113" y="120"/>
                  </a:lnTo>
                  <a:lnTo>
                    <a:pt x="1113" y="120"/>
                  </a:lnTo>
                  <a:lnTo>
                    <a:pt x="1113" y="117"/>
                  </a:lnTo>
                  <a:lnTo>
                    <a:pt x="1113" y="117"/>
                  </a:lnTo>
                  <a:lnTo>
                    <a:pt x="1113" y="117"/>
                  </a:lnTo>
                  <a:lnTo>
                    <a:pt x="1113" y="117"/>
                  </a:lnTo>
                  <a:lnTo>
                    <a:pt x="1113" y="117"/>
                  </a:lnTo>
                  <a:lnTo>
                    <a:pt x="1113" y="117"/>
                  </a:lnTo>
                  <a:lnTo>
                    <a:pt x="1113" y="117"/>
                  </a:lnTo>
                  <a:lnTo>
                    <a:pt x="1115" y="117"/>
                  </a:lnTo>
                  <a:lnTo>
                    <a:pt x="1115" y="120"/>
                  </a:lnTo>
                  <a:lnTo>
                    <a:pt x="1117" y="120"/>
                  </a:lnTo>
                  <a:lnTo>
                    <a:pt x="1117" y="120"/>
                  </a:lnTo>
                  <a:lnTo>
                    <a:pt x="1117" y="120"/>
                  </a:lnTo>
                  <a:lnTo>
                    <a:pt x="1117" y="120"/>
                  </a:lnTo>
                  <a:lnTo>
                    <a:pt x="1115" y="120"/>
                  </a:lnTo>
                  <a:lnTo>
                    <a:pt x="1115" y="122"/>
                  </a:lnTo>
                  <a:lnTo>
                    <a:pt x="1115" y="122"/>
                  </a:lnTo>
                  <a:lnTo>
                    <a:pt x="1113" y="122"/>
                  </a:lnTo>
                  <a:lnTo>
                    <a:pt x="1113" y="122"/>
                  </a:lnTo>
                  <a:lnTo>
                    <a:pt x="1113" y="122"/>
                  </a:lnTo>
                  <a:lnTo>
                    <a:pt x="1113" y="122"/>
                  </a:lnTo>
                  <a:lnTo>
                    <a:pt x="1110" y="122"/>
                  </a:lnTo>
                  <a:lnTo>
                    <a:pt x="1108" y="122"/>
                  </a:lnTo>
                  <a:lnTo>
                    <a:pt x="1106" y="122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6" y="124"/>
                  </a:lnTo>
                  <a:lnTo>
                    <a:pt x="1108" y="124"/>
                  </a:lnTo>
                  <a:lnTo>
                    <a:pt x="1108" y="124"/>
                  </a:lnTo>
                  <a:lnTo>
                    <a:pt x="1110" y="124"/>
                  </a:lnTo>
                  <a:lnTo>
                    <a:pt x="1110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4"/>
                  </a:lnTo>
                  <a:lnTo>
                    <a:pt x="1113" y="126"/>
                  </a:lnTo>
                  <a:lnTo>
                    <a:pt x="1115" y="126"/>
                  </a:lnTo>
                  <a:lnTo>
                    <a:pt x="1113" y="126"/>
                  </a:lnTo>
                  <a:lnTo>
                    <a:pt x="1113" y="126"/>
                  </a:lnTo>
                  <a:lnTo>
                    <a:pt x="1113" y="126"/>
                  </a:lnTo>
                  <a:lnTo>
                    <a:pt x="1115" y="126"/>
                  </a:lnTo>
                  <a:lnTo>
                    <a:pt x="1117" y="126"/>
                  </a:lnTo>
                  <a:lnTo>
                    <a:pt x="1117" y="126"/>
                  </a:lnTo>
                  <a:lnTo>
                    <a:pt x="1117" y="126"/>
                  </a:lnTo>
                  <a:lnTo>
                    <a:pt x="1117" y="124"/>
                  </a:lnTo>
                  <a:lnTo>
                    <a:pt x="1117" y="124"/>
                  </a:lnTo>
                  <a:lnTo>
                    <a:pt x="1117" y="124"/>
                  </a:lnTo>
                  <a:lnTo>
                    <a:pt x="1117" y="122"/>
                  </a:lnTo>
                  <a:lnTo>
                    <a:pt x="1119" y="122"/>
                  </a:lnTo>
                  <a:lnTo>
                    <a:pt x="1119" y="122"/>
                  </a:lnTo>
                  <a:lnTo>
                    <a:pt x="1121" y="122"/>
                  </a:lnTo>
                  <a:lnTo>
                    <a:pt x="1121" y="122"/>
                  </a:lnTo>
                  <a:lnTo>
                    <a:pt x="1121" y="122"/>
                  </a:lnTo>
                  <a:lnTo>
                    <a:pt x="1121" y="122"/>
                  </a:lnTo>
                  <a:lnTo>
                    <a:pt x="1121" y="122"/>
                  </a:lnTo>
                  <a:lnTo>
                    <a:pt x="1121" y="122"/>
                  </a:lnTo>
                  <a:lnTo>
                    <a:pt x="1121" y="122"/>
                  </a:lnTo>
                  <a:lnTo>
                    <a:pt x="1124" y="122"/>
                  </a:lnTo>
                  <a:lnTo>
                    <a:pt x="1124" y="122"/>
                  </a:lnTo>
                  <a:lnTo>
                    <a:pt x="1124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24" y="124"/>
                  </a:lnTo>
                  <a:lnTo>
                    <a:pt x="1124" y="124"/>
                  </a:lnTo>
                  <a:lnTo>
                    <a:pt x="1124" y="124"/>
                  </a:lnTo>
                  <a:lnTo>
                    <a:pt x="1124" y="126"/>
                  </a:lnTo>
                  <a:lnTo>
                    <a:pt x="1124" y="126"/>
                  </a:lnTo>
                  <a:lnTo>
                    <a:pt x="1124" y="126"/>
                  </a:lnTo>
                  <a:lnTo>
                    <a:pt x="1124" y="126"/>
                  </a:lnTo>
                  <a:lnTo>
                    <a:pt x="1124" y="126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28" y="124"/>
                  </a:lnTo>
                  <a:lnTo>
                    <a:pt x="1128" y="124"/>
                  </a:lnTo>
                  <a:lnTo>
                    <a:pt x="1128" y="124"/>
                  </a:lnTo>
                  <a:lnTo>
                    <a:pt x="1128" y="124"/>
                  </a:lnTo>
                  <a:lnTo>
                    <a:pt x="1128" y="124"/>
                  </a:lnTo>
                  <a:lnTo>
                    <a:pt x="1130" y="124"/>
                  </a:lnTo>
                  <a:lnTo>
                    <a:pt x="1130" y="124"/>
                  </a:lnTo>
                  <a:lnTo>
                    <a:pt x="1133" y="124"/>
                  </a:lnTo>
                  <a:close/>
                  <a:moveTo>
                    <a:pt x="782" y="90"/>
                  </a:moveTo>
                  <a:lnTo>
                    <a:pt x="782" y="90"/>
                  </a:lnTo>
                  <a:lnTo>
                    <a:pt x="785" y="90"/>
                  </a:lnTo>
                  <a:lnTo>
                    <a:pt x="785" y="90"/>
                  </a:lnTo>
                  <a:lnTo>
                    <a:pt x="785" y="90"/>
                  </a:lnTo>
                  <a:lnTo>
                    <a:pt x="785" y="90"/>
                  </a:lnTo>
                  <a:lnTo>
                    <a:pt x="787" y="90"/>
                  </a:lnTo>
                  <a:lnTo>
                    <a:pt x="787" y="90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7" y="93"/>
                  </a:lnTo>
                  <a:lnTo>
                    <a:pt x="785" y="93"/>
                  </a:lnTo>
                  <a:lnTo>
                    <a:pt x="785" y="93"/>
                  </a:lnTo>
                  <a:lnTo>
                    <a:pt x="785" y="93"/>
                  </a:lnTo>
                  <a:lnTo>
                    <a:pt x="785" y="93"/>
                  </a:lnTo>
                  <a:lnTo>
                    <a:pt x="782" y="93"/>
                  </a:lnTo>
                  <a:lnTo>
                    <a:pt x="782" y="93"/>
                  </a:lnTo>
                  <a:lnTo>
                    <a:pt x="780" y="93"/>
                  </a:lnTo>
                  <a:lnTo>
                    <a:pt x="780" y="93"/>
                  </a:lnTo>
                  <a:lnTo>
                    <a:pt x="780" y="93"/>
                  </a:lnTo>
                  <a:lnTo>
                    <a:pt x="778" y="95"/>
                  </a:lnTo>
                  <a:lnTo>
                    <a:pt x="778" y="95"/>
                  </a:lnTo>
                  <a:lnTo>
                    <a:pt x="773" y="95"/>
                  </a:lnTo>
                  <a:lnTo>
                    <a:pt x="773" y="95"/>
                  </a:lnTo>
                  <a:lnTo>
                    <a:pt x="773" y="95"/>
                  </a:lnTo>
                  <a:lnTo>
                    <a:pt x="771" y="95"/>
                  </a:lnTo>
                  <a:lnTo>
                    <a:pt x="771" y="95"/>
                  </a:lnTo>
                  <a:lnTo>
                    <a:pt x="771" y="95"/>
                  </a:lnTo>
                  <a:lnTo>
                    <a:pt x="771" y="95"/>
                  </a:lnTo>
                  <a:lnTo>
                    <a:pt x="769" y="95"/>
                  </a:lnTo>
                  <a:lnTo>
                    <a:pt x="769" y="95"/>
                  </a:lnTo>
                  <a:lnTo>
                    <a:pt x="771" y="95"/>
                  </a:lnTo>
                  <a:lnTo>
                    <a:pt x="771" y="95"/>
                  </a:lnTo>
                  <a:lnTo>
                    <a:pt x="771" y="95"/>
                  </a:lnTo>
                  <a:lnTo>
                    <a:pt x="771" y="97"/>
                  </a:lnTo>
                  <a:lnTo>
                    <a:pt x="769" y="97"/>
                  </a:lnTo>
                  <a:lnTo>
                    <a:pt x="769" y="97"/>
                  </a:lnTo>
                  <a:lnTo>
                    <a:pt x="769" y="97"/>
                  </a:lnTo>
                  <a:lnTo>
                    <a:pt x="773" y="99"/>
                  </a:lnTo>
                  <a:lnTo>
                    <a:pt x="773" y="99"/>
                  </a:lnTo>
                  <a:lnTo>
                    <a:pt x="773" y="99"/>
                  </a:lnTo>
                  <a:lnTo>
                    <a:pt x="773" y="99"/>
                  </a:lnTo>
                  <a:lnTo>
                    <a:pt x="773" y="99"/>
                  </a:lnTo>
                  <a:lnTo>
                    <a:pt x="771" y="99"/>
                  </a:lnTo>
                  <a:lnTo>
                    <a:pt x="769" y="99"/>
                  </a:lnTo>
                  <a:lnTo>
                    <a:pt x="767" y="99"/>
                  </a:lnTo>
                  <a:lnTo>
                    <a:pt x="767" y="99"/>
                  </a:lnTo>
                  <a:lnTo>
                    <a:pt x="764" y="99"/>
                  </a:lnTo>
                  <a:lnTo>
                    <a:pt x="764" y="99"/>
                  </a:lnTo>
                  <a:lnTo>
                    <a:pt x="764" y="99"/>
                  </a:lnTo>
                  <a:lnTo>
                    <a:pt x="764" y="99"/>
                  </a:lnTo>
                  <a:lnTo>
                    <a:pt x="764" y="102"/>
                  </a:lnTo>
                  <a:lnTo>
                    <a:pt x="767" y="102"/>
                  </a:lnTo>
                  <a:lnTo>
                    <a:pt x="767" y="102"/>
                  </a:lnTo>
                  <a:lnTo>
                    <a:pt x="767" y="102"/>
                  </a:lnTo>
                  <a:lnTo>
                    <a:pt x="767" y="102"/>
                  </a:lnTo>
                  <a:lnTo>
                    <a:pt x="767" y="102"/>
                  </a:lnTo>
                  <a:lnTo>
                    <a:pt x="767" y="102"/>
                  </a:lnTo>
                  <a:lnTo>
                    <a:pt x="767" y="104"/>
                  </a:lnTo>
                  <a:lnTo>
                    <a:pt x="767" y="104"/>
                  </a:lnTo>
                  <a:lnTo>
                    <a:pt x="764" y="104"/>
                  </a:lnTo>
                  <a:lnTo>
                    <a:pt x="764" y="104"/>
                  </a:lnTo>
                  <a:lnTo>
                    <a:pt x="764" y="104"/>
                  </a:lnTo>
                  <a:lnTo>
                    <a:pt x="764" y="104"/>
                  </a:lnTo>
                  <a:lnTo>
                    <a:pt x="764" y="104"/>
                  </a:lnTo>
                  <a:lnTo>
                    <a:pt x="762" y="104"/>
                  </a:lnTo>
                  <a:lnTo>
                    <a:pt x="762" y="104"/>
                  </a:lnTo>
                  <a:lnTo>
                    <a:pt x="762" y="104"/>
                  </a:lnTo>
                  <a:lnTo>
                    <a:pt x="762" y="104"/>
                  </a:lnTo>
                  <a:lnTo>
                    <a:pt x="758" y="106"/>
                  </a:lnTo>
                  <a:lnTo>
                    <a:pt x="755" y="106"/>
                  </a:lnTo>
                  <a:lnTo>
                    <a:pt x="753" y="106"/>
                  </a:lnTo>
                  <a:lnTo>
                    <a:pt x="753" y="106"/>
                  </a:lnTo>
                  <a:lnTo>
                    <a:pt x="751" y="106"/>
                  </a:lnTo>
                  <a:lnTo>
                    <a:pt x="751" y="106"/>
                  </a:lnTo>
                  <a:lnTo>
                    <a:pt x="749" y="106"/>
                  </a:lnTo>
                  <a:lnTo>
                    <a:pt x="749" y="106"/>
                  </a:lnTo>
                  <a:lnTo>
                    <a:pt x="749" y="106"/>
                  </a:lnTo>
                  <a:lnTo>
                    <a:pt x="746" y="106"/>
                  </a:lnTo>
                  <a:lnTo>
                    <a:pt x="746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6"/>
                  </a:lnTo>
                  <a:lnTo>
                    <a:pt x="744" y="108"/>
                  </a:lnTo>
                  <a:lnTo>
                    <a:pt x="744" y="108"/>
                  </a:lnTo>
                  <a:lnTo>
                    <a:pt x="744" y="108"/>
                  </a:lnTo>
                  <a:lnTo>
                    <a:pt x="744" y="108"/>
                  </a:lnTo>
                  <a:lnTo>
                    <a:pt x="744" y="108"/>
                  </a:lnTo>
                  <a:lnTo>
                    <a:pt x="744" y="108"/>
                  </a:lnTo>
                  <a:lnTo>
                    <a:pt x="744" y="108"/>
                  </a:lnTo>
                  <a:lnTo>
                    <a:pt x="742" y="108"/>
                  </a:lnTo>
                  <a:lnTo>
                    <a:pt x="742" y="108"/>
                  </a:lnTo>
                  <a:lnTo>
                    <a:pt x="742" y="108"/>
                  </a:lnTo>
                  <a:lnTo>
                    <a:pt x="742" y="108"/>
                  </a:lnTo>
                  <a:lnTo>
                    <a:pt x="742" y="111"/>
                  </a:lnTo>
                  <a:lnTo>
                    <a:pt x="742" y="111"/>
                  </a:lnTo>
                  <a:lnTo>
                    <a:pt x="742" y="111"/>
                  </a:lnTo>
                  <a:lnTo>
                    <a:pt x="742" y="111"/>
                  </a:lnTo>
                  <a:lnTo>
                    <a:pt x="737" y="111"/>
                  </a:lnTo>
                  <a:lnTo>
                    <a:pt x="735" y="111"/>
                  </a:lnTo>
                  <a:lnTo>
                    <a:pt x="735" y="111"/>
                  </a:lnTo>
                  <a:lnTo>
                    <a:pt x="735" y="111"/>
                  </a:lnTo>
                  <a:lnTo>
                    <a:pt x="731" y="111"/>
                  </a:lnTo>
                  <a:lnTo>
                    <a:pt x="731" y="111"/>
                  </a:lnTo>
                  <a:lnTo>
                    <a:pt x="731" y="111"/>
                  </a:lnTo>
                  <a:lnTo>
                    <a:pt x="733" y="111"/>
                  </a:lnTo>
                  <a:lnTo>
                    <a:pt x="731" y="111"/>
                  </a:lnTo>
                  <a:lnTo>
                    <a:pt x="731" y="111"/>
                  </a:lnTo>
                  <a:lnTo>
                    <a:pt x="728" y="111"/>
                  </a:lnTo>
                  <a:lnTo>
                    <a:pt x="728" y="108"/>
                  </a:lnTo>
                  <a:lnTo>
                    <a:pt x="731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28" y="108"/>
                  </a:lnTo>
                  <a:lnTo>
                    <a:pt x="731" y="108"/>
                  </a:lnTo>
                  <a:lnTo>
                    <a:pt x="731" y="106"/>
                  </a:lnTo>
                  <a:lnTo>
                    <a:pt x="731" y="106"/>
                  </a:lnTo>
                  <a:lnTo>
                    <a:pt x="731" y="106"/>
                  </a:lnTo>
                  <a:lnTo>
                    <a:pt x="731" y="106"/>
                  </a:lnTo>
                  <a:lnTo>
                    <a:pt x="733" y="106"/>
                  </a:lnTo>
                  <a:lnTo>
                    <a:pt x="733" y="106"/>
                  </a:lnTo>
                  <a:lnTo>
                    <a:pt x="733" y="106"/>
                  </a:lnTo>
                  <a:lnTo>
                    <a:pt x="735" y="106"/>
                  </a:lnTo>
                  <a:lnTo>
                    <a:pt x="735" y="106"/>
                  </a:lnTo>
                  <a:lnTo>
                    <a:pt x="735" y="106"/>
                  </a:lnTo>
                  <a:lnTo>
                    <a:pt x="735" y="106"/>
                  </a:lnTo>
                  <a:lnTo>
                    <a:pt x="735" y="104"/>
                  </a:lnTo>
                  <a:lnTo>
                    <a:pt x="735" y="104"/>
                  </a:lnTo>
                  <a:lnTo>
                    <a:pt x="737" y="104"/>
                  </a:lnTo>
                  <a:lnTo>
                    <a:pt x="737" y="104"/>
                  </a:lnTo>
                  <a:lnTo>
                    <a:pt x="737" y="104"/>
                  </a:lnTo>
                  <a:lnTo>
                    <a:pt x="737" y="104"/>
                  </a:lnTo>
                  <a:lnTo>
                    <a:pt x="737" y="104"/>
                  </a:lnTo>
                  <a:lnTo>
                    <a:pt x="737" y="104"/>
                  </a:lnTo>
                  <a:lnTo>
                    <a:pt x="737" y="104"/>
                  </a:lnTo>
                  <a:lnTo>
                    <a:pt x="740" y="104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2" y="102"/>
                  </a:lnTo>
                  <a:lnTo>
                    <a:pt x="740" y="102"/>
                  </a:lnTo>
                  <a:lnTo>
                    <a:pt x="740" y="102"/>
                  </a:lnTo>
                  <a:lnTo>
                    <a:pt x="740" y="102"/>
                  </a:lnTo>
                  <a:lnTo>
                    <a:pt x="737" y="102"/>
                  </a:lnTo>
                  <a:lnTo>
                    <a:pt x="737" y="102"/>
                  </a:lnTo>
                  <a:lnTo>
                    <a:pt x="733" y="102"/>
                  </a:lnTo>
                  <a:lnTo>
                    <a:pt x="733" y="102"/>
                  </a:lnTo>
                  <a:lnTo>
                    <a:pt x="733" y="102"/>
                  </a:lnTo>
                  <a:lnTo>
                    <a:pt x="733" y="102"/>
                  </a:lnTo>
                  <a:lnTo>
                    <a:pt x="733" y="102"/>
                  </a:lnTo>
                  <a:lnTo>
                    <a:pt x="733" y="104"/>
                  </a:lnTo>
                  <a:lnTo>
                    <a:pt x="733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31" y="104"/>
                  </a:lnTo>
                  <a:lnTo>
                    <a:pt x="728" y="106"/>
                  </a:lnTo>
                  <a:lnTo>
                    <a:pt x="728" y="106"/>
                  </a:lnTo>
                  <a:lnTo>
                    <a:pt x="728" y="106"/>
                  </a:lnTo>
                  <a:lnTo>
                    <a:pt x="728" y="106"/>
                  </a:lnTo>
                  <a:lnTo>
                    <a:pt x="726" y="106"/>
                  </a:lnTo>
                  <a:lnTo>
                    <a:pt x="726" y="106"/>
                  </a:lnTo>
                  <a:lnTo>
                    <a:pt x="726" y="106"/>
                  </a:lnTo>
                  <a:lnTo>
                    <a:pt x="726" y="106"/>
                  </a:lnTo>
                  <a:lnTo>
                    <a:pt x="726" y="106"/>
                  </a:lnTo>
                  <a:lnTo>
                    <a:pt x="726" y="106"/>
                  </a:lnTo>
                  <a:lnTo>
                    <a:pt x="724" y="106"/>
                  </a:lnTo>
                  <a:lnTo>
                    <a:pt x="724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22" y="106"/>
                  </a:lnTo>
                  <a:lnTo>
                    <a:pt x="719" y="106"/>
                  </a:lnTo>
                  <a:lnTo>
                    <a:pt x="719" y="106"/>
                  </a:lnTo>
                  <a:lnTo>
                    <a:pt x="717" y="106"/>
                  </a:lnTo>
                  <a:lnTo>
                    <a:pt x="717" y="106"/>
                  </a:lnTo>
                  <a:lnTo>
                    <a:pt x="719" y="106"/>
                  </a:lnTo>
                  <a:lnTo>
                    <a:pt x="719" y="106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22" y="108"/>
                  </a:lnTo>
                  <a:lnTo>
                    <a:pt x="722" y="108"/>
                  </a:lnTo>
                  <a:lnTo>
                    <a:pt x="722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08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9" y="111"/>
                  </a:lnTo>
                  <a:lnTo>
                    <a:pt x="717" y="111"/>
                  </a:lnTo>
                  <a:lnTo>
                    <a:pt x="717" y="111"/>
                  </a:lnTo>
                  <a:lnTo>
                    <a:pt x="717" y="111"/>
                  </a:lnTo>
                  <a:lnTo>
                    <a:pt x="715" y="111"/>
                  </a:lnTo>
                  <a:lnTo>
                    <a:pt x="713" y="111"/>
                  </a:lnTo>
                  <a:lnTo>
                    <a:pt x="713" y="111"/>
                  </a:lnTo>
                  <a:lnTo>
                    <a:pt x="713" y="111"/>
                  </a:lnTo>
                  <a:lnTo>
                    <a:pt x="710" y="113"/>
                  </a:lnTo>
                  <a:lnTo>
                    <a:pt x="710" y="113"/>
                  </a:lnTo>
                  <a:lnTo>
                    <a:pt x="710" y="113"/>
                  </a:lnTo>
                  <a:lnTo>
                    <a:pt x="710" y="113"/>
                  </a:lnTo>
                  <a:lnTo>
                    <a:pt x="710" y="113"/>
                  </a:lnTo>
                  <a:lnTo>
                    <a:pt x="710" y="113"/>
                  </a:lnTo>
                  <a:lnTo>
                    <a:pt x="710" y="113"/>
                  </a:lnTo>
                  <a:lnTo>
                    <a:pt x="708" y="113"/>
                  </a:lnTo>
                  <a:lnTo>
                    <a:pt x="708" y="113"/>
                  </a:lnTo>
                  <a:lnTo>
                    <a:pt x="708" y="113"/>
                  </a:lnTo>
                  <a:lnTo>
                    <a:pt x="708" y="113"/>
                  </a:lnTo>
                  <a:lnTo>
                    <a:pt x="708" y="113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6" y="115"/>
                  </a:lnTo>
                  <a:lnTo>
                    <a:pt x="706" y="115"/>
                  </a:lnTo>
                  <a:lnTo>
                    <a:pt x="706" y="115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4" y="113"/>
                  </a:lnTo>
                  <a:lnTo>
                    <a:pt x="704" y="113"/>
                  </a:lnTo>
                  <a:lnTo>
                    <a:pt x="704" y="113"/>
                  </a:lnTo>
                  <a:lnTo>
                    <a:pt x="704" y="113"/>
                  </a:lnTo>
                  <a:lnTo>
                    <a:pt x="704" y="113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6" y="113"/>
                  </a:lnTo>
                  <a:lnTo>
                    <a:pt x="706" y="111"/>
                  </a:lnTo>
                  <a:lnTo>
                    <a:pt x="706" y="111"/>
                  </a:lnTo>
                  <a:lnTo>
                    <a:pt x="706" y="111"/>
                  </a:lnTo>
                  <a:lnTo>
                    <a:pt x="706" y="111"/>
                  </a:lnTo>
                  <a:lnTo>
                    <a:pt x="706" y="111"/>
                  </a:lnTo>
                  <a:lnTo>
                    <a:pt x="708" y="108"/>
                  </a:lnTo>
                  <a:lnTo>
                    <a:pt x="708" y="108"/>
                  </a:lnTo>
                  <a:lnTo>
                    <a:pt x="708" y="108"/>
                  </a:lnTo>
                  <a:lnTo>
                    <a:pt x="706" y="108"/>
                  </a:lnTo>
                  <a:lnTo>
                    <a:pt x="706" y="108"/>
                  </a:lnTo>
                  <a:lnTo>
                    <a:pt x="706" y="108"/>
                  </a:lnTo>
                  <a:lnTo>
                    <a:pt x="706" y="111"/>
                  </a:lnTo>
                  <a:lnTo>
                    <a:pt x="706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4" y="111"/>
                  </a:lnTo>
                  <a:lnTo>
                    <a:pt x="701" y="111"/>
                  </a:lnTo>
                  <a:lnTo>
                    <a:pt x="701" y="111"/>
                  </a:lnTo>
                  <a:lnTo>
                    <a:pt x="701" y="111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701" y="113"/>
                  </a:lnTo>
                  <a:lnTo>
                    <a:pt x="699" y="113"/>
                  </a:lnTo>
                  <a:lnTo>
                    <a:pt x="699" y="113"/>
                  </a:lnTo>
                  <a:lnTo>
                    <a:pt x="699" y="113"/>
                  </a:lnTo>
                  <a:lnTo>
                    <a:pt x="699" y="113"/>
                  </a:lnTo>
                  <a:lnTo>
                    <a:pt x="699" y="113"/>
                  </a:lnTo>
                  <a:lnTo>
                    <a:pt x="701" y="113"/>
                  </a:lnTo>
                  <a:lnTo>
                    <a:pt x="699" y="113"/>
                  </a:lnTo>
                  <a:lnTo>
                    <a:pt x="697" y="113"/>
                  </a:lnTo>
                  <a:lnTo>
                    <a:pt x="697" y="113"/>
                  </a:lnTo>
                  <a:lnTo>
                    <a:pt x="697" y="113"/>
                  </a:lnTo>
                  <a:lnTo>
                    <a:pt x="697" y="113"/>
                  </a:lnTo>
                  <a:lnTo>
                    <a:pt x="699" y="115"/>
                  </a:lnTo>
                  <a:lnTo>
                    <a:pt x="699" y="115"/>
                  </a:lnTo>
                  <a:lnTo>
                    <a:pt x="699" y="115"/>
                  </a:lnTo>
                  <a:lnTo>
                    <a:pt x="697" y="115"/>
                  </a:lnTo>
                  <a:lnTo>
                    <a:pt x="697" y="117"/>
                  </a:lnTo>
                  <a:lnTo>
                    <a:pt x="697" y="115"/>
                  </a:lnTo>
                  <a:lnTo>
                    <a:pt x="697" y="115"/>
                  </a:lnTo>
                  <a:lnTo>
                    <a:pt x="697" y="115"/>
                  </a:lnTo>
                  <a:lnTo>
                    <a:pt x="697" y="115"/>
                  </a:lnTo>
                  <a:lnTo>
                    <a:pt x="695" y="115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695" y="117"/>
                  </a:lnTo>
                  <a:lnTo>
                    <a:pt x="692" y="117"/>
                  </a:lnTo>
                  <a:lnTo>
                    <a:pt x="692" y="117"/>
                  </a:lnTo>
                  <a:lnTo>
                    <a:pt x="692" y="117"/>
                  </a:lnTo>
                  <a:lnTo>
                    <a:pt x="692" y="117"/>
                  </a:lnTo>
                  <a:lnTo>
                    <a:pt x="690" y="117"/>
                  </a:lnTo>
                  <a:lnTo>
                    <a:pt x="686" y="120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8" y="117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6" y="117"/>
                  </a:lnTo>
                  <a:lnTo>
                    <a:pt x="683" y="117"/>
                  </a:lnTo>
                  <a:lnTo>
                    <a:pt x="683" y="120"/>
                  </a:lnTo>
                  <a:lnTo>
                    <a:pt x="683" y="120"/>
                  </a:lnTo>
                  <a:lnTo>
                    <a:pt x="681" y="120"/>
                  </a:lnTo>
                  <a:lnTo>
                    <a:pt x="681" y="120"/>
                  </a:lnTo>
                  <a:lnTo>
                    <a:pt x="681" y="120"/>
                  </a:lnTo>
                  <a:lnTo>
                    <a:pt x="681" y="120"/>
                  </a:lnTo>
                  <a:lnTo>
                    <a:pt x="681" y="117"/>
                  </a:lnTo>
                  <a:lnTo>
                    <a:pt x="681" y="117"/>
                  </a:lnTo>
                  <a:lnTo>
                    <a:pt x="681" y="117"/>
                  </a:lnTo>
                  <a:lnTo>
                    <a:pt x="683" y="117"/>
                  </a:lnTo>
                  <a:lnTo>
                    <a:pt x="683" y="117"/>
                  </a:lnTo>
                  <a:lnTo>
                    <a:pt x="683" y="117"/>
                  </a:lnTo>
                  <a:lnTo>
                    <a:pt x="683" y="117"/>
                  </a:lnTo>
                  <a:lnTo>
                    <a:pt x="683" y="117"/>
                  </a:lnTo>
                  <a:lnTo>
                    <a:pt x="686" y="117"/>
                  </a:lnTo>
                  <a:lnTo>
                    <a:pt x="686" y="115"/>
                  </a:lnTo>
                  <a:lnTo>
                    <a:pt x="683" y="115"/>
                  </a:lnTo>
                  <a:lnTo>
                    <a:pt x="683" y="115"/>
                  </a:lnTo>
                  <a:lnTo>
                    <a:pt x="686" y="115"/>
                  </a:lnTo>
                  <a:lnTo>
                    <a:pt x="686" y="115"/>
                  </a:lnTo>
                  <a:lnTo>
                    <a:pt x="686" y="115"/>
                  </a:lnTo>
                  <a:lnTo>
                    <a:pt x="686" y="115"/>
                  </a:lnTo>
                  <a:lnTo>
                    <a:pt x="683" y="115"/>
                  </a:lnTo>
                  <a:lnTo>
                    <a:pt x="683" y="115"/>
                  </a:lnTo>
                  <a:lnTo>
                    <a:pt x="683" y="115"/>
                  </a:lnTo>
                  <a:lnTo>
                    <a:pt x="683" y="115"/>
                  </a:lnTo>
                  <a:lnTo>
                    <a:pt x="683" y="115"/>
                  </a:lnTo>
                  <a:lnTo>
                    <a:pt x="681" y="115"/>
                  </a:lnTo>
                  <a:lnTo>
                    <a:pt x="681" y="115"/>
                  </a:lnTo>
                  <a:lnTo>
                    <a:pt x="681" y="115"/>
                  </a:lnTo>
                  <a:lnTo>
                    <a:pt x="683" y="115"/>
                  </a:lnTo>
                  <a:lnTo>
                    <a:pt x="683" y="115"/>
                  </a:lnTo>
                  <a:lnTo>
                    <a:pt x="686" y="113"/>
                  </a:lnTo>
                  <a:lnTo>
                    <a:pt x="683" y="113"/>
                  </a:lnTo>
                  <a:lnTo>
                    <a:pt x="683" y="113"/>
                  </a:lnTo>
                  <a:lnTo>
                    <a:pt x="683" y="113"/>
                  </a:lnTo>
                  <a:lnTo>
                    <a:pt x="683" y="113"/>
                  </a:lnTo>
                  <a:lnTo>
                    <a:pt x="686" y="113"/>
                  </a:lnTo>
                  <a:lnTo>
                    <a:pt x="686" y="113"/>
                  </a:lnTo>
                  <a:lnTo>
                    <a:pt x="686" y="113"/>
                  </a:lnTo>
                  <a:lnTo>
                    <a:pt x="686" y="113"/>
                  </a:lnTo>
                  <a:lnTo>
                    <a:pt x="686" y="113"/>
                  </a:lnTo>
                  <a:lnTo>
                    <a:pt x="683" y="113"/>
                  </a:lnTo>
                  <a:lnTo>
                    <a:pt x="683" y="113"/>
                  </a:lnTo>
                  <a:lnTo>
                    <a:pt x="683" y="113"/>
                  </a:lnTo>
                  <a:lnTo>
                    <a:pt x="683" y="113"/>
                  </a:lnTo>
                  <a:lnTo>
                    <a:pt x="681" y="113"/>
                  </a:lnTo>
                  <a:lnTo>
                    <a:pt x="681" y="113"/>
                  </a:lnTo>
                  <a:lnTo>
                    <a:pt x="679" y="113"/>
                  </a:lnTo>
                  <a:lnTo>
                    <a:pt x="679" y="113"/>
                  </a:lnTo>
                  <a:lnTo>
                    <a:pt x="679" y="115"/>
                  </a:lnTo>
                  <a:lnTo>
                    <a:pt x="679" y="115"/>
                  </a:lnTo>
                  <a:lnTo>
                    <a:pt x="679" y="115"/>
                  </a:lnTo>
                  <a:lnTo>
                    <a:pt x="679" y="115"/>
                  </a:lnTo>
                  <a:lnTo>
                    <a:pt x="679" y="115"/>
                  </a:lnTo>
                  <a:lnTo>
                    <a:pt x="679" y="115"/>
                  </a:lnTo>
                  <a:lnTo>
                    <a:pt x="677" y="115"/>
                  </a:lnTo>
                  <a:lnTo>
                    <a:pt x="677" y="115"/>
                  </a:lnTo>
                  <a:lnTo>
                    <a:pt x="677" y="115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7"/>
                  </a:lnTo>
                  <a:lnTo>
                    <a:pt x="677" y="115"/>
                  </a:lnTo>
                  <a:lnTo>
                    <a:pt x="677" y="115"/>
                  </a:lnTo>
                  <a:lnTo>
                    <a:pt x="677" y="115"/>
                  </a:lnTo>
                  <a:lnTo>
                    <a:pt x="677" y="115"/>
                  </a:lnTo>
                  <a:lnTo>
                    <a:pt x="674" y="115"/>
                  </a:lnTo>
                  <a:lnTo>
                    <a:pt x="672" y="117"/>
                  </a:lnTo>
                  <a:lnTo>
                    <a:pt x="672" y="117"/>
                  </a:lnTo>
                  <a:lnTo>
                    <a:pt x="672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7"/>
                  </a:lnTo>
                  <a:lnTo>
                    <a:pt x="670" y="115"/>
                  </a:lnTo>
                  <a:lnTo>
                    <a:pt x="670" y="115"/>
                  </a:lnTo>
                  <a:lnTo>
                    <a:pt x="670" y="115"/>
                  </a:lnTo>
                  <a:lnTo>
                    <a:pt x="670" y="115"/>
                  </a:lnTo>
                  <a:lnTo>
                    <a:pt x="668" y="115"/>
                  </a:lnTo>
                  <a:lnTo>
                    <a:pt x="665" y="115"/>
                  </a:lnTo>
                  <a:lnTo>
                    <a:pt x="665" y="115"/>
                  </a:lnTo>
                  <a:lnTo>
                    <a:pt x="663" y="115"/>
                  </a:lnTo>
                  <a:lnTo>
                    <a:pt x="663" y="115"/>
                  </a:lnTo>
                  <a:lnTo>
                    <a:pt x="663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3" y="115"/>
                  </a:lnTo>
                  <a:lnTo>
                    <a:pt x="663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61" y="115"/>
                  </a:lnTo>
                  <a:lnTo>
                    <a:pt x="656" y="117"/>
                  </a:lnTo>
                  <a:lnTo>
                    <a:pt x="656" y="117"/>
                  </a:lnTo>
                  <a:lnTo>
                    <a:pt x="654" y="117"/>
                  </a:lnTo>
                  <a:lnTo>
                    <a:pt x="652" y="115"/>
                  </a:lnTo>
                  <a:lnTo>
                    <a:pt x="654" y="115"/>
                  </a:lnTo>
                  <a:lnTo>
                    <a:pt x="654" y="115"/>
                  </a:lnTo>
                  <a:lnTo>
                    <a:pt x="654" y="115"/>
                  </a:lnTo>
                  <a:lnTo>
                    <a:pt x="656" y="115"/>
                  </a:lnTo>
                  <a:lnTo>
                    <a:pt x="656" y="115"/>
                  </a:lnTo>
                  <a:lnTo>
                    <a:pt x="654" y="115"/>
                  </a:lnTo>
                  <a:lnTo>
                    <a:pt x="654" y="115"/>
                  </a:lnTo>
                  <a:lnTo>
                    <a:pt x="654" y="115"/>
                  </a:lnTo>
                  <a:lnTo>
                    <a:pt x="654" y="115"/>
                  </a:lnTo>
                  <a:lnTo>
                    <a:pt x="656" y="115"/>
                  </a:lnTo>
                  <a:lnTo>
                    <a:pt x="656" y="115"/>
                  </a:lnTo>
                  <a:lnTo>
                    <a:pt x="656" y="115"/>
                  </a:lnTo>
                  <a:lnTo>
                    <a:pt x="659" y="115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56" y="113"/>
                  </a:lnTo>
                  <a:lnTo>
                    <a:pt x="656" y="113"/>
                  </a:lnTo>
                  <a:lnTo>
                    <a:pt x="661" y="113"/>
                  </a:lnTo>
                  <a:lnTo>
                    <a:pt x="661" y="113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56" y="113"/>
                  </a:lnTo>
                  <a:lnTo>
                    <a:pt x="656" y="113"/>
                  </a:lnTo>
                  <a:lnTo>
                    <a:pt x="656" y="113"/>
                  </a:lnTo>
                  <a:lnTo>
                    <a:pt x="656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2" y="113"/>
                  </a:lnTo>
                  <a:lnTo>
                    <a:pt x="652" y="113"/>
                  </a:lnTo>
                  <a:lnTo>
                    <a:pt x="652" y="115"/>
                  </a:lnTo>
                  <a:lnTo>
                    <a:pt x="652" y="113"/>
                  </a:lnTo>
                  <a:lnTo>
                    <a:pt x="652" y="113"/>
                  </a:lnTo>
                  <a:lnTo>
                    <a:pt x="652" y="113"/>
                  </a:lnTo>
                  <a:lnTo>
                    <a:pt x="652" y="113"/>
                  </a:lnTo>
                  <a:lnTo>
                    <a:pt x="652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4" y="113"/>
                  </a:lnTo>
                  <a:lnTo>
                    <a:pt x="656" y="113"/>
                  </a:lnTo>
                  <a:lnTo>
                    <a:pt x="656" y="113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61" y="111"/>
                  </a:lnTo>
                  <a:lnTo>
                    <a:pt x="661" y="111"/>
                  </a:lnTo>
                  <a:lnTo>
                    <a:pt x="661" y="111"/>
                  </a:lnTo>
                  <a:lnTo>
                    <a:pt x="661" y="111"/>
                  </a:lnTo>
                  <a:lnTo>
                    <a:pt x="661" y="111"/>
                  </a:lnTo>
                  <a:lnTo>
                    <a:pt x="661" y="111"/>
                  </a:lnTo>
                  <a:lnTo>
                    <a:pt x="663" y="111"/>
                  </a:lnTo>
                  <a:lnTo>
                    <a:pt x="663" y="108"/>
                  </a:lnTo>
                  <a:lnTo>
                    <a:pt x="663" y="108"/>
                  </a:lnTo>
                  <a:lnTo>
                    <a:pt x="668" y="108"/>
                  </a:lnTo>
                  <a:lnTo>
                    <a:pt x="668" y="108"/>
                  </a:lnTo>
                  <a:lnTo>
                    <a:pt x="668" y="108"/>
                  </a:lnTo>
                  <a:lnTo>
                    <a:pt x="674" y="108"/>
                  </a:lnTo>
                  <a:lnTo>
                    <a:pt x="677" y="108"/>
                  </a:lnTo>
                  <a:lnTo>
                    <a:pt x="681" y="108"/>
                  </a:lnTo>
                  <a:lnTo>
                    <a:pt x="681" y="108"/>
                  </a:lnTo>
                  <a:lnTo>
                    <a:pt x="681" y="108"/>
                  </a:lnTo>
                  <a:lnTo>
                    <a:pt x="681" y="108"/>
                  </a:lnTo>
                  <a:lnTo>
                    <a:pt x="681" y="108"/>
                  </a:lnTo>
                  <a:lnTo>
                    <a:pt x="681" y="108"/>
                  </a:lnTo>
                  <a:lnTo>
                    <a:pt x="681" y="106"/>
                  </a:lnTo>
                  <a:lnTo>
                    <a:pt x="683" y="106"/>
                  </a:lnTo>
                  <a:lnTo>
                    <a:pt x="686" y="106"/>
                  </a:lnTo>
                  <a:lnTo>
                    <a:pt x="686" y="106"/>
                  </a:lnTo>
                  <a:lnTo>
                    <a:pt x="686" y="106"/>
                  </a:lnTo>
                  <a:lnTo>
                    <a:pt x="688" y="106"/>
                  </a:lnTo>
                  <a:lnTo>
                    <a:pt x="688" y="104"/>
                  </a:lnTo>
                  <a:lnTo>
                    <a:pt x="690" y="104"/>
                  </a:lnTo>
                  <a:lnTo>
                    <a:pt x="690" y="104"/>
                  </a:lnTo>
                  <a:lnTo>
                    <a:pt x="690" y="104"/>
                  </a:lnTo>
                  <a:lnTo>
                    <a:pt x="690" y="104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92" y="104"/>
                  </a:lnTo>
                  <a:lnTo>
                    <a:pt x="695" y="104"/>
                  </a:lnTo>
                  <a:lnTo>
                    <a:pt x="697" y="104"/>
                  </a:lnTo>
                  <a:lnTo>
                    <a:pt x="699" y="102"/>
                  </a:lnTo>
                  <a:lnTo>
                    <a:pt x="704" y="102"/>
                  </a:lnTo>
                  <a:lnTo>
                    <a:pt x="704" y="102"/>
                  </a:lnTo>
                  <a:lnTo>
                    <a:pt x="704" y="102"/>
                  </a:lnTo>
                  <a:lnTo>
                    <a:pt x="706" y="102"/>
                  </a:lnTo>
                  <a:lnTo>
                    <a:pt x="706" y="102"/>
                  </a:lnTo>
                  <a:lnTo>
                    <a:pt x="706" y="102"/>
                  </a:lnTo>
                  <a:lnTo>
                    <a:pt x="706" y="102"/>
                  </a:lnTo>
                  <a:lnTo>
                    <a:pt x="708" y="102"/>
                  </a:lnTo>
                  <a:lnTo>
                    <a:pt x="708" y="102"/>
                  </a:lnTo>
                  <a:lnTo>
                    <a:pt x="708" y="102"/>
                  </a:lnTo>
                  <a:lnTo>
                    <a:pt x="708" y="99"/>
                  </a:lnTo>
                  <a:lnTo>
                    <a:pt x="708" y="99"/>
                  </a:lnTo>
                  <a:lnTo>
                    <a:pt x="708" y="99"/>
                  </a:lnTo>
                  <a:lnTo>
                    <a:pt x="708" y="99"/>
                  </a:lnTo>
                  <a:lnTo>
                    <a:pt x="708" y="99"/>
                  </a:lnTo>
                  <a:lnTo>
                    <a:pt x="710" y="99"/>
                  </a:lnTo>
                  <a:lnTo>
                    <a:pt x="713" y="99"/>
                  </a:lnTo>
                  <a:lnTo>
                    <a:pt x="713" y="99"/>
                  </a:lnTo>
                  <a:lnTo>
                    <a:pt x="713" y="99"/>
                  </a:lnTo>
                  <a:lnTo>
                    <a:pt x="713" y="99"/>
                  </a:lnTo>
                  <a:lnTo>
                    <a:pt x="713" y="99"/>
                  </a:lnTo>
                  <a:lnTo>
                    <a:pt x="715" y="99"/>
                  </a:lnTo>
                  <a:lnTo>
                    <a:pt x="715" y="99"/>
                  </a:lnTo>
                  <a:lnTo>
                    <a:pt x="715" y="97"/>
                  </a:lnTo>
                  <a:lnTo>
                    <a:pt x="715" y="97"/>
                  </a:lnTo>
                  <a:lnTo>
                    <a:pt x="717" y="97"/>
                  </a:lnTo>
                  <a:lnTo>
                    <a:pt x="717" y="97"/>
                  </a:lnTo>
                  <a:lnTo>
                    <a:pt x="717" y="97"/>
                  </a:lnTo>
                  <a:lnTo>
                    <a:pt x="717" y="97"/>
                  </a:lnTo>
                  <a:lnTo>
                    <a:pt x="719" y="97"/>
                  </a:lnTo>
                  <a:lnTo>
                    <a:pt x="719" y="97"/>
                  </a:lnTo>
                  <a:lnTo>
                    <a:pt x="719" y="97"/>
                  </a:lnTo>
                  <a:lnTo>
                    <a:pt x="719" y="97"/>
                  </a:lnTo>
                  <a:lnTo>
                    <a:pt x="722" y="97"/>
                  </a:lnTo>
                  <a:lnTo>
                    <a:pt x="722" y="97"/>
                  </a:lnTo>
                  <a:lnTo>
                    <a:pt x="722" y="97"/>
                  </a:lnTo>
                  <a:lnTo>
                    <a:pt x="722" y="95"/>
                  </a:lnTo>
                  <a:lnTo>
                    <a:pt x="724" y="95"/>
                  </a:lnTo>
                  <a:lnTo>
                    <a:pt x="724" y="95"/>
                  </a:lnTo>
                  <a:lnTo>
                    <a:pt x="724" y="95"/>
                  </a:lnTo>
                  <a:lnTo>
                    <a:pt x="726" y="95"/>
                  </a:lnTo>
                  <a:lnTo>
                    <a:pt x="726" y="95"/>
                  </a:lnTo>
                  <a:lnTo>
                    <a:pt x="728" y="95"/>
                  </a:lnTo>
                  <a:lnTo>
                    <a:pt x="731" y="95"/>
                  </a:lnTo>
                  <a:lnTo>
                    <a:pt x="731" y="95"/>
                  </a:lnTo>
                  <a:lnTo>
                    <a:pt x="733" y="93"/>
                  </a:lnTo>
                  <a:lnTo>
                    <a:pt x="733" y="93"/>
                  </a:lnTo>
                  <a:lnTo>
                    <a:pt x="733" y="93"/>
                  </a:lnTo>
                  <a:lnTo>
                    <a:pt x="733" y="93"/>
                  </a:lnTo>
                  <a:lnTo>
                    <a:pt x="735" y="93"/>
                  </a:lnTo>
                  <a:lnTo>
                    <a:pt x="735" y="93"/>
                  </a:lnTo>
                  <a:lnTo>
                    <a:pt x="735" y="93"/>
                  </a:lnTo>
                  <a:lnTo>
                    <a:pt x="737" y="93"/>
                  </a:lnTo>
                  <a:lnTo>
                    <a:pt x="737" y="93"/>
                  </a:lnTo>
                  <a:lnTo>
                    <a:pt x="740" y="93"/>
                  </a:lnTo>
                  <a:lnTo>
                    <a:pt x="742" y="93"/>
                  </a:lnTo>
                  <a:lnTo>
                    <a:pt x="742" y="93"/>
                  </a:lnTo>
                  <a:lnTo>
                    <a:pt x="742" y="90"/>
                  </a:lnTo>
                  <a:lnTo>
                    <a:pt x="742" y="90"/>
                  </a:lnTo>
                  <a:lnTo>
                    <a:pt x="742" y="90"/>
                  </a:lnTo>
                  <a:lnTo>
                    <a:pt x="742" y="90"/>
                  </a:lnTo>
                  <a:lnTo>
                    <a:pt x="744" y="90"/>
                  </a:lnTo>
                  <a:lnTo>
                    <a:pt x="751" y="90"/>
                  </a:lnTo>
                  <a:lnTo>
                    <a:pt x="753" y="90"/>
                  </a:lnTo>
                  <a:lnTo>
                    <a:pt x="755" y="90"/>
                  </a:lnTo>
                  <a:lnTo>
                    <a:pt x="755" y="90"/>
                  </a:lnTo>
                  <a:lnTo>
                    <a:pt x="755" y="90"/>
                  </a:lnTo>
                  <a:lnTo>
                    <a:pt x="755" y="90"/>
                  </a:lnTo>
                  <a:lnTo>
                    <a:pt x="753" y="90"/>
                  </a:lnTo>
                  <a:lnTo>
                    <a:pt x="755" y="90"/>
                  </a:lnTo>
                  <a:lnTo>
                    <a:pt x="755" y="90"/>
                  </a:lnTo>
                  <a:lnTo>
                    <a:pt x="758" y="90"/>
                  </a:lnTo>
                  <a:lnTo>
                    <a:pt x="758" y="90"/>
                  </a:lnTo>
                  <a:lnTo>
                    <a:pt x="755" y="93"/>
                  </a:lnTo>
                  <a:lnTo>
                    <a:pt x="755" y="93"/>
                  </a:lnTo>
                  <a:lnTo>
                    <a:pt x="758" y="93"/>
                  </a:lnTo>
                  <a:lnTo>
                    <a:pt x="758" y="93"/>
                  </a:lnTo>
                  <a:lnTo>
                    <a:pt x="758" y="93"/>
                  </a:lnTo>
                  <a:lnTo>
                    <a:pt x="758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0" y="93"/>
                  </a:lnTo>
                  <a:lnTo>
                    <a:pt x="762" y="93"/>
                  </a:lnTo>
                  <a:lnTo>
                    <a:pt x="762" y="93"/>
                  </a:lnTo>
                  <a:lnTo>
                    <a:pt x="762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3"/>
                  </a:lnTo>
                  <a:lnTo>
                    <a:pt x="764" y="90"/>
                  </a:lnTo>
                  <a:lnTo>
                    <a:pt x="764" y="90"/>
                  </a:lnTo>
                  <a:lnTo>
                    <a:pt x="767" y="90"/>
                  </a:lnTo>
                  <a:lnTo>
                    <a:pt x="769" y="93"/>
                  </a:lnTo>
                  <a:lnTo>
                    <a:pt x="769" y="93"/>
                  </a:lnTo>
                  <a:lnTo>
                    <a:pt x="769" y="93"/>
                  </a:lnTo>
                  <a:lnTo>
                    <a:pt x="769" y="93"/>
                  </a:lnTo>
                  <a:lnTo>
                    <a:pt x="769" y="93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3" y="90"/>
                  </a:lnTo>
                  <a:lnTo>
                    <a:pt x="773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71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67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69" y="88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69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1" y="90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73" y="88"/>
                  </a:lnTo>
                  <a:lnTo>
                    <a:pt x="780" y="88"/>
                  </a:lnTo>
                  <a:lnTo>
                    <a:pt x="780" y="88"/>
                  </a:lnTo>
                  <a:lnTo>
                    <a:pt x="780" y="88"/>
                  </a:lnTo>
                  <a:lnTo>
                    <a:pt x="780" y="88"/>
                  </a:lnTo>
                  <a:lnTo>
                    <a:pt x="780" y="88"/>
                  </a:lnTo>
                  <a:lnTo>
                    <a:pt x="780" y="88"/>
                  </a:lnTo>
                  <a:lnTo>
                    <a:pt x="782" y="88"/>
                  </a:lnTo>
                  <a:lnTo>
                    <a:pt x="782" y="88"/>
                  </a:lnTo>
                  <a:lnTo>
                    <a:pt x="782" y="88"/>
                  </a:lnTo>
                  <a:lnTo>
                    <a:pt x="782" y="88"/>
                  </a:lnTo>
                  <a:lnTo>
                    <a:pt x="782" y="88"/>
                  </a:lnTo>
                  <a:lnTo>
                    <a:pt x="782" y="90"/>
                  </a:lnTo>
                  <a:close/>
                  <a:moveTo>
                    <a:pt x="1205" y="90"/>
                  </a:moveTo>
                  <a:lnTo>
                    <a:pt x="1202" y="90"/>
                  </a:lnTo>
                  <a:lnTo>
                    <a:pt x="1202" y="90"/>
                  </a:lnTo>
                  <a:lnTo>
                    <a:pt x="1205" y="90"/>
                  </a:lnTo>
                  <a:lnTo>
                    <a:pt x="1205" y="88"/>
                  </a:lnTo>
                  <a:lnTo>
                    <a:pt x="1205" y="88"/>
                  </a:lnTo>
                  <a:lnTo>
                    <a:pt x="1205" y="88"/>
                  </a:lnTo>
                  <a:lnTo>
                    <a:pt x="1205" y="88"/>
                  </a:lnTo>
                  <a:lnTo>
                    <a:pt x="1205" y="88"/>
                  </a:lnTo>
                  <a:lnTo>
                    <a:pt x="1200" y="88"/>
                  </a:lnTo>
                  <a:lnTo>
                    <a:pt x="1200" y="88"/>
                  </a:lnTo>
                  <a:lnTo>
                    <a:pt x="1200" y="88"/>
                  </a:lnTo>
                  <a:lnTo>
                    <a:pt x="1202" y="88"/>
                  </a:lnTo>
                  <a:lnTo>
                    <a:pt x="1202" y="88"/>
                  </a:lnTo>
                  <a:lnTo>
                    <a:pt x="1202" y="88"/>
                  </a:lnTo>
                  <a:lnTo>
                    <a:pt x="1202" y="88"/>
                  </a:lnTo>
                  <a:lnTo>
                    <a:pt x="1205" y="88"/>
                  </a:lnTo>
                  <a:lnTo>
                    <a:pt x="1207" y="88"/>
                  </a:lnTo>
                  <a:lnTo>
                    <a:pt x="1207" y="88"/>
                  </a:lnTo>
                  <a:lnTo>
                    <a:pt x="1207" y="88"/>
                  </a:lnTo>
                  <a:lnTo>
                    <a:pt x="1207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7" y="90"/>
                  </a:lnTo>
                  <a:lnTo>
                    <a:pt x="1205" y="90"/>
                  </a:lnTo>
                  <a:close/>
                  <a:moveTo>
                    <a:pt x="1137" y="86"/>
                  </a:moveTo>
                  <a:lnTo>
                    <a:pt x="1137" y="88"/>
                  </a:lnTo>
                  <a:lnTo>
                    <a:pt x="1137" y="88"/>
                  </a:lnTo>
                  <a:lnTo>
                    <a:pt x="1137" y="88"/>
                  </a:lnTo>
                  <a:lnTo>
                    <a:pt x="1137" y="88"/>
                  </a:lnTo>
                  <a:lnTo>
                    <a:pt x="1137" y="88"/>
                  </a:lnTo>
                  <a:lnTo>
                    <a:pt x="1137" y="88"/>
                  </a:lnTo>
                  <a:lnTo>
                    <a:pt x="1137" y="88"/>
                  </a:lnTo>
                  <a:lnTo>
                    <a:pt x="1142" y="88"/>
                  </a:lnTo>
                  <a:lnTo>
                    <a:pt x="1142" y="90"/>
                  </a:lnTo>
                  <a:lnTo>
                    <a:pt x="1142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0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9" y="93"/>
                  </a:lnTo>
                  <a:lnTo>
                    <a:pt x="1137" y="93"/>
                  </a:lnTo>
                  <a:lnTo>
                    <a:pt x="1130" y="95"/>
                  </a:lnTo>
                  <a:lnTo>
                    <a:pt x="1130" y="95"/>
                  </a:lnTo>
                  <a:lnTo>
                    <a:pt x="1130" y="95"/>
                  </a:lnTo>
                  <a:lnTo>
                    <a:pt x="1128" y="95"/>
                  </a:lnTo>
                  <a:lnTo>
                    <a:pt x="1128" y="95"/>
                  </a:lnTo>
                  <a:lnTo>
                    <a:pt x="1126" y="95"/>
                  </a:lnTo>
                  <a:lnTo>
                    <a:pt x="1126" y="95"/>
                  </a:lnTo>
                  <a:lnTo>
                    <a:pt x="1126" y="95"/>
                  </a:lnTo>
                  <a:lnTo>
                    <a:pt x="1128" y="95"/>
                  </a:lnTo>
                  <a:lnTo>
                    <a:pt x="1128" y="93"/>
                  </a:lnTo>
                  <a:lnTo>
                    <a:pt x="1121" y="93"/>
                  </a:lnTo>
                  <a:lnTo>
                    <a:pt x="1121" y="93"/>
                  </a:lnTo>
                  <a:lnTo>
                    <a:pt x="1121" y="90"/>
                  </a:lnTo>
                  <a:lnTo>
                    <a:pt x="1121" y="90"/>
                  </a:lnTo>
                  <a:lnTo>
                    <a:pt x="1121" y="90"/>
                  </a:lnTo>
                  <a:lnTo>
                    <a:pt x="1119" y="90"/>
                  </a:lnTo>
                  <a:lnTo>
                    <a:pt x="1119" y="90"/>
                  </a:lnTo>
                  <a:lnTo>
                    <a:pt x="1119" y="90"/>
                  </a:lnTo>
                  <a:lnTo>
                    <a:pt x="1121" y="90"/>
                  </a:lnTo>
                  <a:lnTo>
                    <a:pt x="1121" y="90"/>
                  </a:lnTo>
                  <a:lnTo>
                    <a:pt x="1121" y="90"/>
                  </a:lnTo>
                  <a:lnTo>
                    <a:pt x="1121" y="88"/>
                  </a:lnTo>
                  <a:lnTo>
                    <a:pt x="1121" y="88"/>
                  </a:lnTo>
                  <a:lnTo>
                    <a:pt x="1121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8"/>
                  </a:lnTo>
                  <a:lnTo>
                    <a:pt x="1124" y="86"/>
                  </a:lnTo>
                  <a:lnTo>
                    <a:pt x="1126" y="86"/>
                  </a:lnTo>
                  <a:lnTo>
                    <a:pt x="1126" y="86"/>
                  </a:lnTo>
                  <a:lnTo>
                    <a:pt x="1126" y="86"/>
                  </a:lnTo>
                  <a:lnTo>
                    <a:pt x="1128" y="86"/>
                  </a:lnTo>
                  <a:lnTo>
                    <a:pt x="1128" y="86"/>
                  </a:lnTo>
                  <a:lnTo>
                    <a:pt x="1137" y="86"/>
                  </a:lnTo>
                  <a:close/>
                  <a:moveTo>
                    <a:pt x="933" y="90"/>
                  </a:moveTo>
                  <a:lnTo>
                    <a:pt x="933" y="90"/>
                  </a:lnTo>
                  <a:lnTo>
                    <a:pt x="935" y="90"/>
                  </a:lnTo>
                  <a:lnTo>
                    <a:pt x="935" y="90"/>
                  </a:lnTo>
                  <a:lnTo>
                    <a:pt x="935" y="90"/>
                  </a:lnTo>
                  <a:lnTo>
                    <a:pt x="935" y="90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7" y="93"/>
                  </a:lnTo>
                  <a:lnTo>
                    <a:pt x="935" y="95"/>
                  </a:lnTo>
                  <a:lnTo>
                    <a:pt x="933" y="95"/>
                  </a:lnTo>
                  <a:lnTo>
                    <a:pt x="933" y="95"/>
                  </a:lnTo>
                  <a:lnTo>
                    <a:pt x="931" y="95"/>
                  </a:lnTo>
                  <a:lnTo>
                    <a:pt x="928" y="95"/>
                  </a:lnTo>
                  <a:lnTo>
                    <a:pt x="928" y="95"/>
                  </a:lnTo>
                  <a:lnTo>
                    <a:pt x="928" y="95"/>
                  </a:lnTo>
                  <a:lnTo>
                    <a:pt x="928" y="95"/>
                  </a:lnTo>
                  <a:lnTo>
                    <a:pt x="928" y="95"/>
                  </a:lnTo>
                  <a:lnTo>
                    <a:pt x="926" y="95"/>
                  </a:lnTo>
                  <a:lnTo>
                    <a:pt x="926" y="95"/>
                  </a:lnTo>
                  <a:lnTo>
                    <a:pt x="926" y="95"/>
                  </a:lnTo>
                  <a:lnTo>
                    <a:pt x="924" y="95"/>
                  </a:lnTo>
                  <a:lnTo>
                    <a:pt x="924" y="95"/>
                  </a:lnTo>
                  <a:lnTo>
                    <a:pt x="924" y="95"/>
                  </a:lnTo>
                  <a:lnTo>
                    <a:pt x="924" y="95"/>
                  </a:lnTo>
                  <a:lnTo>
                    <a:pt x="924" y="95"/>
                  </a:lnTo>
                  <a:lnTo>
                    <a:pt x="924" y="95"/>
                  </a:lnTo>
                  <a:lnTo>
                    <a:pt x="922" y="95"/>
                  </a:lnTo>
                  <a:lnTo>
                    <a:pt x="922" y="95"/>
                  </a:lnTo>
                  <a:lnTo>
                    <a:pt x="922" y="95"/>
                  </a:lnTo>
                  <a:lnTo>
                    <a:pt x="922" y="95"/>
                  </a:lnTo>
                  <a:lnTo>
                    <a:pt x="922" y="95"/>
                  </a:lnTo>
                  <a:lnTo>
                    <a:pt x="924" y="95"/>
                  </a:lnTo>
                  <a:lnTo>
                    <a:pt x="924" y="95"/>
                  </a:lnTo>
                  <a:lnTo>
                    <a:pt x="924" y="93"/>
                  </a:lnTo>
                  <a:lnTo>
                    <a:pt x="924" y="93"/>
                  </a:lnTo>
                  <a:lnTo>
                    <a:pt x="922" y="93"/>
                  </a:lnTo>
                  <a:lnTo>
                    <a:pt x="922" y="93"/>
                  </a:lnTo>
                  <a:lnTo>
                    <a:pt x="924" y="93"/>
                  </a:lnTo>
                  <a:lnTo>
                    <a:pt x="924" y="93"/>
                  </a:lnTo>
                  <a:lnTo>
                    <a:pt x="924" y="93"/>
                  </a:lnTo>
                  <a:lnTo>
                    <a:pt x="922" y="93"/>
                  </a:lnTo>
                  <a:lnTo>
                    <a:pt x="922" y="93"/>
                  </a:lnTo>
                  <a:lnTo>
                    <a:pt x="922" y="93"/>
                  </a:lnTo>
                  <a:lnTo>
                    <a:pt x="922" y="93"/>
                  </a:lnTo>
                  <a:lnTo>
                    <a:pt x="922" y="93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2" y="90"/>
                  </a:lnTo>
                  <a:lnTo>
                    <a:pt x="922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90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6" y="88"/>
                  </a:lnTo>
                  <a:lnTo>
                    <a:pt x="926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4" y="88"/>
                  </a:lnTo>
                  <a:lnTo>
                    <a:pt x="926" y="86"/>
                  </a:lnTo>
                  <a:lnTo>
                    <a:pt x="926" y="86"/>
                  </a:lnTo>
                  <a:lnTo>
                    <a:pt x="926" y="86"/>
                  </a:lnTo>
                  <a:lnTo>
                    <a:pt x="924" y="86"/>
                  </a:lnTo>
                  <a:lnTo>
                    <a:pt x="924" y="86"/>
                  </a:lnTo>
                  <a:lnTo>
                    <a:pt x="924" y="86"/>
                  </a:lnTo>
                  <a:lnTo>
                    <a:pt x="924" y="84"/>
                  </a:lnTo>
                  <a:lnTo>
                    <a:pt x="928" y="84"/>
                  </a:lnTo>
                  <a:lnTo>
                    <a:pt x="931" y="84"/>
                  </a:lnTo>
                  <a:lnTo>
                    <a:pt x="931" y="84"/>
                  </a:lnTo>
                  <a:lnTo>
                    <a:pt x="933" y="86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5" y="88"/>
                  </a:lnTo>
                  <a:lnTo>
                    <a:pt x="933" y="90"/>
                  </a:lnTo>
                  <a:lnTo>
                    <a:pt x="933" y="90"/>
                  </a:lnTo>
                  <a:lnTo>
                    <a:pt x="933" y="90"/>
                  </a:lnTo>
                  <a:lnTo>
                    <a:pt x="933" y="90"/>
                  </a:lnTo>
                  <a:lnTo>
                    <a:pt x="933" y="90"/>
                  </a:lnTo>
                  <a:lnTo>
                    <a:pt x="933" y="90"/>
                  </a:lnTo>
                  <a:close/>
                  <a:moveTo>
                    <a:pt x="1070" y="84"/>
                  </a:moveTo>
                  <a:lnTo>
                    <a:pt x="1070" y="84"/>
                  </a:lnTo>
                  <a:lnTo>
                    <a:pt x="1070" y="84"/>
                  </a:lnTo>
                  <a:lnTo>
                    <a:pt x="1070" y="84"/>
                  </a:lnTo>
                  <a:lnTo>
                    <a:pt x="1070" y="86"/>
                  </a:lnTo>
                  <a:lnTo>
                    <a:pt x="1070" y="84"/>
                  </a:lnTo>
                  <a:lnTo>
                    <a:pt x="1072" y="84"/>
                  </a:lnTo>
                  <a:lnTo>
                    <a:pt x="1072" y="84"/>
                  </a:lnTo>
                  <a:lnTo>
                    <a:pt x="1072" y="84"/>
                  </a:lnTo>
                  <a:lnTo>
                    <a:pt x="1072" y="84"/>
                  </a:lnTo>
                  <a:lnTo>
                    <a:pt x="1074" y="84"/>
                  </a:lnTo>
                  <a:lnTo>
                    <a:pt x="1077" y="84"/>
                  </a:lnTo>
                  <a:lnTo>
                    <a:pt x="1077" y="84"/>
                  </a:lnTo>
                  <a:lnTo>
                    <a:pt x="1086" y="84"/>
                  </a:lnTo>
                  <a:lnTo>
                    <a:pt x="1083" y="84"/>
                  </a:lnTo>
                  <a:lnTo>
                    <a:pt x="1086" y="84"/>
                  </a:lnTo>
                  <a:lnTo>
                    <a:pt x="1086" y="84"/>
                  </a:lnTo>
                  <a:lnTo>
                    <a:pt x="1086" y="84"/>
                  </a:lnTo>
                  <a:lnTo>
                    <a:pt x="1088" y="84"/>
                  </a:lnTo>
                  <a:lnTo>
                    <a:pt x="1088" y="84"/>
                  </a:lnTo>
                  <a:lnTo>
                    <a:pt x="1088" y="84"/>
                  </a:lnTo>
                  <a:lnTo>
                    <a:pt x="1088" y="84"/>
                  </a:lnTo>
                  <a:lnTo>
                    <a:pt x="1088" y="84"/>
                  </a:lnTo>
                  <a:lnTo>
                    <a:pt x="1090" y="84"/>
                  </a:lnTo>
                  <a:lnTo>
                    <a:pt x="1090" y="86"/>
                  </a:lnTo>
                  <a:lnTo>
                    <a:pt x="1090" y="86"/>
                  </a:lnTo>
                  <a:lnTo>
                    <a:pt x="1090" y="84"/>
                  </a:lnTo>
                  <a:lnTo>
                    <a:pt x="1090" y="84"/>
                  </a:lnTo>
                  <a:lnTo>
                    <a:pt x="1090" y="86"/>
                  </a:lnTo>
                  <a:lnTo>
                    <a:pt x="1090" y="86"/>
                  </a:lnTo>
                  <a:lnTo>
                    <a:pt x="1092" y="84"/>
                  </a:lnTo>
                  <a:lnTo>
                    <a:pt x="1092" y="84"/>
                  </a:lnTo>
                  <a:lnTo>
                    <a:pt x="1092" y="84"/>
                  </a:lnTo>
                  <a:lnTo>
                    <a:pt x="1092" y="84"/>
                  </a:lnTo>
                  <a:lnTo>
                    <a:pt x="1095" y="84"/>
                  </a:lnTo>
                  <a:lnTo>
                    <a:pt x="1095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7" y="84"/>
                  </a:lnTo>
                  <a:lnTo>
                    <a:pt x="1097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9" y="86"/>
                  </a:lnTo>
                  <a:lnTo>
                    <a:pt x="1097" y="86"/>
                  </a:lnTo>
                  <a:lnTo>
                    <a:pt x="1097" y="86"/>
                  </a:lnTo>
                  <a:lnTo>
                    <a:pt x="1097" y="86"/>
                  </a:lnTo>
                  <a:lnTo>
                    <a:pt x="1095" y="86"/>
                  </a:lnTo>
                  <a:lnTo>
                    <a:pt x="1095" y="88"/>
                  </a:lnTo>
                  <a:lnTo>
                    <a:pt x="1095" y="88"/>
                  </a:lnTo>
                  <a:lnTo>
                    <a:pt x="1095" y="88"/>
                  </a:lnTo>
                  <a:lnTo>
                    <a:pt x="1095" y="88"/>
                  </a:lnTo>
                  <a:lnTo>
                    <a:pt x="1095" y="88"/>
                  </a:lnTo>
                  <a:lnTo>
                    <a:pt x="1092" y="88"/>
                  </a:lnTo>
                  <a:lnTo>
                    <a:pt x="1092" y="88"/>
                  </a:lnTo>
                  <a:lnTo>
                    <a:pt x="1092" y="88"/>
                  </a:lnTo>
                  <a:lnTo>
                    <a:pt x="1092" y="88"/>
                  </a:lnTo>
                  <a:lnTo>
                    <a:pt x="1092" y="88"/>
                  </a:lnTo>
                  <a:lnTo>
                    <a:pt x="1090" y="88"/>
                  </a:lnTo>
                  <a:lnTo>
                    <a:pt x="1090" y="88"/>
                  </a:lnTo>
                  <a:lnTo>
                    <a:pt x="1090" y="88"/>
                  </a:lnTo>
                  <a:lnTo>
                    <a:pt x="1090" y="88"/>
                  </a:lnTo>
                  <a:lnTo>
                    <a:pt x="1090" y="90"/>
                  </a:lnTo>
                  <a:lnTo>
                    <a:pt x="1088" y="90"/>
                  </a:lnTo>
                  <a:lnTo>
                    <a:pt x="1088" y="90"/>
                  </a:lnTo>
                  <a:lnTo>
                    <a:pt x="1088" y="90"/>
                  </a:lnTo>
                  <a:lnTo>
                    <a:pt x="1088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6" y="90"/>
                  </a:lnTo>
                  <a:lnTo>
                    <a:pt x="1083" y="90"/>
                  </a:lnTo>
                  <a:lnTo>
                    <a:pt x="1083" y="90"/>
                  </a:lnTo>
                  <a:lnTo>
                    <a:pt x="1083" y="90"/>
                  </a:lnTo>
                  <a:lnTo>
                    <a:pt x="1083" y="90"/>
                  </a:lnTo>
                  <a:lnTo>
                    <a:pt x="1083" y="90"/>
                  </a:lnTo>
                  <a:lnTo>
                    <a:pt x="1083" y="90"/>
                  </a:lnTo>
                  <a:lnTo>
                    <a:pt x="1083" y="90"/>
                  </a:lnTo>
                  <a:lnTo>
                    <a:pt x="1081" y="90"/>
                  </a:lnTo>
                  <a:lnTo>
                    <a:pt x="1079" y="90"/>
                  </a:lnTo>
                  <a:lnTo>
                    <a:pt x="1079" y="90"/>
                  </a:lnTo>
                  <a:lnTo>
                    <a:pt x="1056" y="90"/>
                  </a:lnTo>
                  <a:lnTo>
                    <a:pt x="1056" y="88"/>
                  </a:lnTo>
                  <a:lnTo>
                    <a:pt x="1056" y="88"/>
                  </a:lnTo>
                  <a:lnTo>
                    <a:pt x="1056" y="88"/>
                  </a:lnTo>
                  <a:lnTo>
                    <a:pt x="1054" y="88"/>
                  </a:lnTo>
                  <a:lnTo>
                    <a:pt x="1054" y="88"/>
                  </a:lnTo>
                  <a:lnTo>
                    <a:pt x="1054" y="88"/>
                  </a:lnTo>
                  <a:lnTo>
                    <a:pt x="1054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6" y="86"/>
                  </a:lnTo>
                  <a:lnTo>
                    <a:pt x="1059" y="86"/>
                  </a:lnTo>
                  <a:lnTo>
                    <a:pt x="1059" y="86"/>
                  </a:lnTo>
                  <a:lnTo>
                    <a:pt x="1061" y="86"/>
                  </a:lnTo>
                  <a:lnTo>
                    <a:pt x="1061" y="86"/>
                  </a:lnTo>
                  <a:lnTo>
                    <a:pt x="1063" y="84"/>
                  </a:lnTo>
                  <a:lnTo>
                    <a:pt x="1065" y="84"/>
                  </a:lnTo>
                  <a:lnTo>
                    <a:pt x="1068" y="84"/>
                  </a:lnTo>
                  <a:lnTo>
                    <a:pt x="1068" y="84"/>
                  </a:lnTo>
                  <a:lnTo>
                    <a:pt x="1068" y="84"/>
                  </a:lnTo>
                  <a:lnTo>
                    <a:pt x="1068" y="84"/>
                  </a:lnTo>
                  <a:lnTo>
                    <a:pt x="1070" y="84"/>
                  </a:lnTo>
                  <a:lnTo>
                    <a:pt x="1070" y="84"/>
                  </a:lnTo>
                  <a:lnTo>
                    <a:pt x="1070" y="84"/>
                  </a:lnTo>
                  <a:close/>
                  <a:moveTo>
                    <a:pt x="1310" y="84"/>
                  </a:moveTo>
                  <a:lnTo>
                    <a:pt x="1308" y="84"/>
                  </a:lnTo>
                  <a:lnTo>
                    <a:pt x="1308" y="84"/>
                  </a:lnTo>
                  <a:lnTo>
                    <a:pt x="1308" y="84"/>
                  </a:lnTo>
                  <a:lnTo>
                    <a:pt x="1308" y="84"/>
                  </a:lnTo>
                  <a:lnTo>
                    <a:pt x="1310" y="84"/>
                  </a:lnTo>
                  <a:lnTo>
                    <a:pt x="1312" y="81"/>
                  </a:lnTo>
                  <a:lnTo>
                    <a:pt x="1312" y="84"/>
                  </a:lnTo>
                  <a:lnTo>
                    <a:pt x="1312" y="84"/>
                  </a:lnTo>
                  <a:lnTo>
                    <a:pt x="1312" y="84"/>
                  </a:lnTo>
                  <a:lnTo>
                    <a:pt x="1312" y="84"/>
                  </a:lnTo>
                  <a:lnTo>
                    <a:pt x="1312" y="84"/>
                  </a:lnTo>
                  <a:lnTo>
                    <a:pt x="1312" y="84"/>
                  </a:lnTo>
                  <a:lnTo>
                    <a:pt x="1312" y="84"/>
                  </a:lnTo>
                  <a:lnTo>
                    <a:pt x="1310" y="84"/>
                  </a:lnTo>
                  <a:lnTo>
                    <a:pt x="1310" y="84"/>
                  </a:lnTo>
                  <a:close/>
                  <a:moveTo>
                    <a:pt x="996" y="84"/>
                  </a:moveTo>
                  <a:lnTo>
                    <a:pt x="993" y="86"/>
                  </a:lnTo>
                  <a:lnTo>
                    <a:pt x="993" y="86"/>
                  </a:lnTo>
                  <a:lnTo>
                    <a:pt x="993" y="86"/>
                  </a:lnTo>
                  <a:lnTo>
                    <a:pt x="991" y="86"/>
                  </a:lnTo>
                  <a:lnTo>
                    <a:pt x="989" y="86"/>
                  </a:lnTo>
                  <a:lnTo>
                    <a:pt x="989" y="86"/>
                  </a:lnTo>
                  <a:lnTo>
                    <a:pt x="987" y="86"/>
                  </a:lnTo>
                  <a:lnTo>
                    <a:pt x="987" y="86"/>
                  </a:lnTo>
                  <a:lnTo>
                    <a:pt x="987" y="86"/>
                  </a:lnTo>
                  <a:lnTo>
                    <a:pt x="984" y="86"/>
                  </a:lnTo>
                  <a:lnTo>
                    <a:pt x="982" y="86"/>
                  </a:lnTo>
                  <a:lnTo>
                    <a:pt x="978" y="86"/>
                  </a:lnTo>
                  <a:lnTo>
                    <a:pt x="975" y="86"/>
                  </a:lnTo>
                  <a:lnTo>
                    <a:pt x="973" y="86"/>
                  </a:lnTo>
                  <a:lnTo>
                    <a:pt x="973" y="86"/>
                  </a:lnTo>
                  <a:lnTo>
                    <a:pt x="973" y="86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3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5" y="84"/>
                  </a:lnTo>
                  <a:lnTo>
                    <a:pt x="978" y="81"/>
                  </a:lnTo>
                  <a:lnTo>
                    <a:pt x="978" y="81"/>
                  </a:lnTo>
                  <a:lnTo>
                    <a:pt x="987" y="81"/>
                  </a:lnTo>
                  <a:lnTo>
                    <a:pt x="987" y="81"/>
                  </a:lnTo>
                  <a:lnTo>
                    <a:pt x="989" y="81"/>
                  </a:lnTo>
                  <a:lnTo>
                    <a:pt x="989" y="81"/>
                  </a:lnTo>
                  <a:lnTo>
                    <a:pt x="993" y="84"/>
                  </a:lnTo>
                  <a:lnTo>
                    <a:pt x="996" y="84"/>
                  </a:lnTo>
                  <a:lnTo>
                    <a:pt x="996" y="84"/>
                  </a:lnTo>
                  <a:close/>
                  <a:moveTo>
                    <a:pt x="820" y="79"/>
                  </a:moveTo>
                  <a:lnTo>
                    <a:pt x="820" y="81"/>
                  </a:lnTo>
                  <a:lnTo>
                    <a:pt x="823" y="79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3" y="81"/>
                  </a:lnTo>
                  <a:lnTo>
                    <a:pt x="825" y="81"/>
                  </a:lnTo>
                  <a:lnTo>
                    <a:pt x="825" y="81"/>
                  </a:lnTo>
                  <a:lnTo>
                    <a:pt x="825" y="84"/>
                  </a:lnTo>
                  <a:lnTo>
                    <a:pt x="825" y="84"/>
                  </a:lnTo>
                  <a:lnTo>
                    <a:pt x="825" y="84"/>
                  </a:lnTo>
                  <a:lnTo>
                    <a:pt x="825" y="84"/>
                  </a:lnTo>
                  <a:lnTo>
                    <a:pt x="825" y="84"/>
                  </a:lnTo>
                  <a:lnTo>
                    <a:pt x="823" y="84"/>
                  </a:lnTo>
                  <a:lnTo>
                    <a:pt x="814" y="86"/>
                  </a:lnTo>
                  <a:lnTo>
                    <a:pt x="814" y="86"/>
                  </a:lnTo>
                  <a:lnTo>
                    <a:pt x="811" y="84"/>
                  </a:lnTo>
                  <a:lnTo>
                    <a:pt x="809" y="84"/>
                  </a:lnTo>
                  <a:lnTo>
                    <a:pt x="809" y="84"/>
                  </a:lnTo>
                  <a:lnTo>
                    <a:pt x="809" y="84"/>
                  </a:lnTo>
                  <a:lnTo>
                    <a:pt x="811" y="84"/>
                  </a:lnTo>
                  <a:lnTo>
                    <a:pt x="811" y="84"/>
                  </a:lnTo>
                  <a:lnTo>
                    <a:pt x="811" y="84"/>
                  </a:lnTo>
                  <a:lnTo>
                    <a:pt x="809" y="84"/>
                  </a:lnTo>
                  <a:lnTo>
                    <a:pt x="809" y="84"/>
                  </a:lnTo>
                  <a:lnTo>
                    <a:pt x="809" y="84"/>
                  </a:lnTo>
                  <a:lnTo>
                    <a:pt x="807" y="81"/>
                  </a:lnTo>
                  <a:lnTo>
                    <a:pt x="809" y="81"/>
                  </a:lnTo>
                  <a:lnTo>
                    <a:pt x="809" y="81"/>
                  </a:lnTo>
                  <a:lnTo>
                    <a:pt x="809" y="81"/>
                  </a:lnTo>
                  <a:lnTo>
                    <a:pt x="809" y="81"/>
                  </a:lnTo>
                  <a:lnTo>
                    <a:pt x="809" y="81"/>
                  </a:lnTo>
                  <a:lnTo>
                    <a:pt x="809" y="81"/>
                  </a:lnTo>
                  <a:lnTo>
                    <a:pt x="811" y="81"/>
                  </a:lnTo>
                  <a:lnTo>
                    <a:pt x="814" y="81"/>
                  </a:lnTo>
                  <a:lnTo>
                    <a:pt x="814" y="81"/>
                  </a:lnTo>
                  <a:lnTo>
                    <a:pt x="814" y="79"/>
                  </a:lnTo>
                  <a:lnTo>
                    <a:pt x="816" y="79"/>
                  </a:lnTo>
                  <a:lnTo>
                    <a:pt x="818" y="79"/>
                  </a:lnTo>
                  <a:lnTo>
                    <a:pt x="820" y="79"/>
                  </a:lnTo>
                  <a:lnTo>
                    <a:pt x="820" y="79"/>
                  </a:lnTo>
                  <a:lnTo>
                    <a:pt x="823" y="79"/>
                  </a:lnTo>
                  <a:lnTo>
                    <a:pt x="820" y="79"/>
                  </a:lnTo>
                  <a:lnTo>
                    <a:pt x="820" y="79"/>
                  </a:lnTo>
                  <a:lnTo>
                    <a:pt x="820" y="79"/>
                  </a:lnTo>
                  <a:lnTo>
                    <a:pt x="820" y="79"/>
                  </a:lnTo>
                  <a:lnTo>
                    <a:pt x="820" y="79"/>
                  </a:lnTo>
                  <a:lnTo>
                    <a:pt x="820" y="79"/>
                  </a:lnTo>
                  <a:close/>
                  <a:moveTo>
                    <a:pt x="886" y="79"/>
                  </a:moveTo>
                  <a:lnTo>
                    <a:pt x="886" y="79"/>
                  </a:lnTo>
                  <a:lnTo>
                    <a:pt x="883" y="79"/>
                  </a:lnTo>
                  <a:lnTo>
                    <a:pt x="883" y="81"/>
                  </a:lnTo>
                  <a:lnTo>
                    <a:pt x="881" y="81"/>
                  </a:lnTo>
                  <a:lnTo>
                    <a:pt x="881" y="81"/>
                  </a:lnTo>
                  <a:lnTo>
                    <a:pt x="879" y="81"/>
                  </a:lnTo>
                  <a:lnTo>
                    <a:pt x="874" y="81"/>
                  </a:lnTo>
                  <a:lnTo>
                    <a:pt x="872" y="81"/>
                  </a:lnTo>
                  <a:lnTo>
                    <a:pt x="863" y="81"/>
                  </a:lnTo>
                  <a:lnTo>
                    <a:pt x="863" y="84"/>
                  </a:lnTo>
                  <a:lnTo>
                    <a:pt x="861" y="84"/>
                  </a:lnTo>
                  <a:lnTo>
                    <a:pt x="863" y="84"/>
                  </a:lnTo>
                  <a:lnTo>
                    <a:pt x="863" y="84"/>
                  </a:lnTo>
                  <a:lnTo>
                    <a:pt x="863" y="84"/>
                  </a:lnTo>
                  <a:lnTo>
                    <a:pt x="868" y="84"/>
                  </a:lnTo>
                  <a:lnTo>
                    <a:pt x="868" y="84"/>
                  </a:lnTo>
                  <a:lnTo>
                    <a:pt x="870" y="84"/>
                  </a:lnTo>
                  <a:lnTo>
                    <a:pt x="872" y="84"/>
                  </a:lnTo>
                  <a:lnTo>
                    <a:pt x="872" y="84"/>
                  </a:lnTo>
                  <a:lnTo>
                    <a:pt x="870" y="84"/>
                  </a:lnTo>
                  <a:lnTo>
                    <a:pt x="870" y="84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70" y="86"/>
                  </a:lnTo>
                  <a:lnTo>
                    <a:pt x="868" y="86"/>
                  </a:lnTo>
                  <a:lnTo>
                    <a:pt x="868" y="86"/>
                  </a:lnTo>
                  <a:lnTo>
                    <a:pt x="868" y="86"/>
                  </a:lnTo>
                  <a:lnTo>
                    <a:pt x="868" y="86"/>
                  </a:lnTo>
                  <a:lnTo>
                    <a:pt x="868" y="86"/>
                  </a:lnTo>
                  <a:lnTo>
                    <a:pt x="870" y="86"/>
                  </a:lnTo>
                  <a:lnTo>
                    <a:pt x="868" y="86"/>
                  </a:lnTo>
                  <a:lnTo>
                    <a:pt x="868" y="86"/>
                  </a:lnTo>
                  <a:lnTo>
                    <a:pt x="868" y="86"/>
                  </a:lnTo>
                  <a:lnTo>
                    <a:pt x="865" y="88"/>
                  </a:lnTo>
                  <a:lnTo>
                    <a:pt x="865" y="88"/>
                  </a:lnTo>
                  <a:lnTo>
                    <a:pt x="865" y="88"/>
                  </a:lnTo>
                  <a:lnTo>
                    <a:pt x="865" y="88"/>
                  </a:lnTo>
                  <a:lnTo>
                    <a:pt x="868" y="88"/>
                  </a:lnTo>
                  <a:lnTo>
                    <a:pt x="865" y="88"/>
                  </a:lnTo>
                  <a:lnTo>
                    <a:pt x="865" y="88"/>
                  </a:lnTo>
                  <a:lnTo>
                    <a:pt x="865" y="88"/>
                  </a:lnTo>
                  <a:lnTo>
                    <a:pt x="865" y="88"/>
                  </a:lnTo>
                  <a:lnTo>
                    <a:pt x="863" y="88"/>
                  </a:lnTo>
                  <a:lnTo>
                    <a:pt x="856" y="90"/>
                  </a:lnTo>
                  <a:lnTo>
                    <a:pt x="854" y="90"/>
                  </a:lnTo>
                  <a:lnTo>
                    <a:pt x="854" y="90"/>
                  </a:lnTo>
                  <a:lnTo>
                    <a:pt x="854" y="90"/>
                  </a:lnTo>
                  <a:lnTo>
                    <a:pt x="854" y="90"/>
                  </a:lnTo>
                  <a:lnTo>
                    <a:pt x="852" y="90"/>
                  </a:lnTo>
                  <a:lnTo>
                    <a:pt x="852" y="90"/>
                  </a:lnTo>
                  <a:lnTo>
                    <a:pt x="847" y="90"/>
                  </a:lnTo>
                  <a:lnTo>
                    <a:pt x="847" y="90"/>
                  </a:lnTo>
                  <a:lnTo>
                    <a:pt x="847" y="90"/>
                  </a:lnTo>
                  <a:lnTo>
                    <a:pt x="845" y="90"/>
                  </a:lnTo>
                  <a:lnTo>
                    <a:pt x="836" y="93"/>
                  </a:lnTo>
                  <a:lnTo>
                    <a:pt x="834" y="93"/>
                  </a:lnTo>
                  <a:lnTo>
                    <a:pt x="834" y="93"/>
                  </a:lnTo>
                  <a:lnTo>
                    <a:pt x="829" y="90"/>
                  </a:lnTo>
                  <a:lnTo>
                    <a:pt x="829" y="90"/>
                  </a:lnTo>
                  <a:lnTo>
                    <a:pt x="829" y="90"/>
                  </a:lnTo>
                  <a:lnTo>
                    <a:pt x="829" y="90"/>
                  </a:lnTo>
                  <a:lnTo>
                    <a:pt x="829" y="90"/>
                  </a:lnTo>
                  <a:lnTo>
                    <a:pt x="829" y="90"/>
                  </a:lnTo>
                  <a:lnTo>
                    <a:pt x="829" y="90"/>
                  </a:lnTo>
                  <a:lnTo>
                    <a:pt x="827" y="90"/>
                  </a:lnTo>
                  <a:lnTo>
                    <a:pt x="827" y="90"/>
                  </a:lnTo>
                  <a:lnTo>
                    <a:pt x="825" y="90"/>
                  </a:lnTo>
                  <a:lnTo>
                    <a:pt x="825" y="90"/>
                  </a:lnTo>
                  <a:lnTo>
                    <a:pt x="825" y="90"/>
                  </a:lnTo>
                  <a:lnTo>
                    <a:pt x="825" y="88"/>
                  </a:lnTo>
                  <a:lnTo>
                    <a:pt x="825" y="88"/>
                  </a:lnTo>
                  <a:lnTo>
                    <a:pt x="825" y="88"/>
                  </a:lnTo>
                  <a:lnTo>
                    <a:pt x="823" y="88"/>
                  </a:lnTo>
                  <a:lnTo>
                    <a:pt x="823" y="88"/>
                  </a:lnTo>
                  <a:lnTo>
                    <a:pt x="823" y="88"/>
                  </a:lnTo>
                  <a:lnTo>
                    <a:pt x="823" y="88"/>
                  </a:lnTo>
                  <a:lnTo>
                    <a:pt x="825" y="88"/>
                  </a:lnTo>
                  <a:lnTo>
                    <a:pt x="823" y="88"/>
                  </a:lnTo>
                  <a:lnTo>
                    <a:pt x="825" y="88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5" y="86"/>
                  </a:lnTo>
                  <a:lnTo>
                    <a:pt x="825" y="86"/>
                  </a:lnTo>
                  <a:lnTo>
                    <a:pt x="825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7" y="86"/>
                  </a:lnTo>
                  <a:lnTo>
                    <a:pt x="829" y="86"/>
                  </a:lnTo>
                  <a:lnTo>
                    <a:pt x="827" y="84"/>
                  </a:lnTo>
                  <a:lnTo>
                    <a:pt x="827" y="84"/>
                  </a:lnTo>
                  <a:lnTo>
                    <a:pt x="827" y="84"/>
                  </a:lnTo>
                  <a:lnTo>
                    <a:pt x="829" y="84"/>
                  </a:lnTo>
                  <a:lnTo>
                    <a:pt x="829" y="84"/>
                  </a:lnTo>
                  <a:lnTo>
                    <a:pt x="832" y="81"/>
                  </a:lnTo>
                  <a:lnTo>
                    <a:pt x="832" y="81"/>
                  </a:lnTo>
                  <a:lnTo>
                    <a:pt x="834" y="81"/>
                  </a:lnTo>
                  <a:lnTo>
                    <a:pt x="834" y="81"/>
                  </a:lnTo>
                  <a:lnTo>
                    <a:pt x="834" y="81"/>
                  </a:lnTo>
                  <a:lnTo>
                    <a:pt x="834" y="81"/>
                  </a:lnTo>
                  <a:lnTo>
                    <a:pt x="834" y="81"/>
                  </a:lnTo>
                  <a:lnTo>
                    <a:pt x="836" y="81"/>
                  </a:lnTo>
                  <a:lnTo>
                    <a:pt x="836" y="81"/>
                  </a:lnTo>
                  <a:lnTo>
                    <a:pt x="836" y="81"/>
                  </a:lnTo>
                  <a:lnTo>
                    <a:pt x="836" y="81"/>
                  </a:lnTo>
                  <a:lnTo>
                    <a:pt x="836" y="81"/>
                  </a:lnTo>
                  <a:lnTo>
                    <a:pt x="836" y="81"/>
                  </a:lnTo>
                  <a:lnTo>
                    <a:pt x="836" y="81"/>
                  </a:lnTo>
                  <a:lnTo>
                    <a:pt x="847" y="79"/>
                  </a:lnTo>
                  <a:lnTo>
                    <a:pt x="847" y="79"/>
                  </a:lnTo>
                  <a:lnTo>
                    <a:pt x="850" y="79"/>
                  </a:lnTo>
                  <a:lnTo>
                    <a:pt x="850" y="79"/>
                  </a:lnTo>
                  <a:lnTo>
                    <a:pt x="852" y="79"/>
                  </a:lnTo>
                  <a:lnTo>
                    <a:pt x="854" y="79"/>
                  </a:lnTo>
                  <a:lnTo>
                    <a:pt x="854" y="79"/>
                  </a:lnTo>
                  <a:lnTo>
                    <a:pt x="854" y="79"/>
                  </a:lnTo>
                  <a:lnTo>
                    <a:pt x="854" y="79"/>
                  </a:lnTo>
                  <a:lnTo>
                    <a:pt x="854" y="79"/>
                  </a:lnTo>
                  <a:lnTo>
                    <a:pt x="856" y="79"/>
                  </a:lnTo>
                  <a:lnTo>
                    <a:pt x="856" y="79"/>
                  </a:lnTo>
                  <a:lnTo>
                    <a:pt x="856" y="79"/>
                  </a:lnTo>
                  <a:lnTo>
                    <a:pt x="859" y="79"/>
                  </a:lnTo>
                  <a:lnTo>
                    <a:pt x="861" y="79"/>
                  </a:lnTo>
                  <a:lnTo>
                    <a:pt x="863" y="79"/>
                  </a:lnTo>
                  <a:lnTo>
                    <a:pt x="863" y="79"/>
                  </a:lnTo>
                  <a:lnTo>
                    <a:pt x="868" y="79"/>
                  </a:lnTo>
                  <a:lnTo>
                    <a:pt x="868" y="79"/>
                  </a:lnTo>
                  <a:lnTo>
                    <a:pt x="868" y="79"/>
                  </a:lnTo>
                  <a:lnTo>
                    <a:pt x="865" y="79"/>
                  </a:lnTo>
                  <a:lnTo>
                    <a:pt x="865" y="79"/>
                  </a:lnTo>
                  <a:lnTo>
                    <a:pt x="865" y="79"/>
                  </a:lnTo>
                  <a:lnTo>
                    <a:pt x="868" y="79"/>
                  </a:lnTo>
                  <a:lnTo>
                    <a:pt x="868" y="79"/>
                  </a:lnTo>
                  <a:lnTo>
                    <a:pt x="870" y="79"/>
                  </a:lnTo>
                  <a:lnTo>
                    <a:pt x="883" y="79"/>
                  </a:lnTo>
                  <a:lnTo>
                    <a:pt x="886" y="79"/>
                  </a:lnTo>
                  <a:close/>
                  <a:moveTo>
                    <a:pt x="975" y="79"/>
                  </a:moveTo>
                  <a:lnTo>
                    <a:pt x="973" y="79"/>
                  </a:lnTo>
                  <a:lnTo>
                    <a:pt x="973" y="77"/>
                  </a:lnTo>
                  <a:lnTo>
                    <a:pt x="971" y="77"/>
                  </a:lnTo>
                  <a:lnTo>
                    <a:pt x="973" y="77"/>
                  </a:lnTo>
                  <a:lnTo>
                    <a:pt x="973" y="77"/>
                  </a:lnTo>
                  <a:lnTo>
                    <a:pt x="973" y="77"/>
                  </a:lnTo>
                  <a:lnTo>
                    <a:pt x="978" y="75"/>
                  </a:lnTo>
                  <a:lnTo>
                    <a:pt x="978" y="75"/>
                  </a:lnTo>
                  <a:lnTo>
                    <a:pt x="980" y="75"/>
                  </a:lnTo>
                  <a:lnTo>
                    <a:pt x="980" y="75"/>
                  </a:lnTo>
                  <a:lnTo>
                    <a:pt x="980" y="77"/>
                  </a:lnTo>
                  <a:lnTo>
                    <a:pt x="980" y="77"/>
                  </a:lnTo>
                  <a:lnTo>
                    <a:pt x="980" y="77"/>
                  </a:lnTo>
                  <a:lnTo>
                    <a:pt x="980" y="77"/>
                  </a:lnTo>
                  <a:lnTo>
                    <a:pt x="980" y="77"/>
                  </a:lnTo>
                  <a:lnTo>
                    <a:pt x="980" y="77"/>
                  </a:lnTo>
                  <a:lnTo>
                    <a:pt x="980" y="77"/>
                  </a:lnTo>
                  <a:lnTo>
                    <a:pt x="978" y="77"/>
                  </a:lnTo>
                  <a:lnTo>
                    <a:pt x="975" y="79"/>
                  </a:lnTo>
                  <a:close/>
                  <a:moveTo>
                    <a:pt x="1182" y="72"/>
                  </a:moveTo>
                  <a:lnTo>
                    <a:pt x="1182" y="72"/>
                  </a:lnTo>
                  <a:lnTo>
                    <a:pt x="1182" y="72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78" y="75"/>
                  </a:lnTo>
                  <a:lnTo>
                    <a:pt x="1178" y="75"/>
                  </a:lnTo>
                  <a:lnTo>
                    <a:pt x="1178" y="75"/>
                  </a:lnTo>
                  <a:lnTo>
                    <a:pt x="1175" y="77"/>
                  </a:lnTo>
                  <a:lnTo>
                    <a:pt x="1175" y="77"/>
                  </a:lnTo>
                  <a:lnTo>
                    <a:pt x="1175" y="77"/>
                  </a:lnTo>
                  <a:lnTo>
                    <a:pt x="1175" y="75"/>
                  </a:lnTo>
                  <a:lnTo>
                    <a:pt x="1175" y="75"/>
                  </a:lnTo>
                  <a:lnTo>
                    <a:pt x="1175" y="75"/>
                  </a:lnTo>
                  <a:lnTo>
                    <a:pt x="1175" y="75"/>
                  </a:lnTo>
                  <a:lnTo>
                    <a:pt x="1178" y="75"/>
                  </a:lnTo>
                  <a:lnTo>
                    <a:pt x="1178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5"/>
                  </a:lnTo>
                  <a:lnTo>
                    <a:pt x="1180" y="72"/>
                  </a:lnTo>
                  <a:lnTo>
                    <a:pt x="1180" y="72"/>
                  </a:lnTo>
                  <a:lnTo>
                    <a:pt x="1180" y="72"/>
                  </a:lnTo>
                  <a:lnTo>
                    <a:pt x="1180" y="72"/>
                  </a:lnTo>
                  <a:lnTo>
                    <a:pt x="1180" y="72"/>
                  </a:lnTo>
                  <a:lnTo>
                    <a:pt x="1180" y="72"/>
                  </a:lnTo>
                  <a:lnTo>
                    <a:pt x="1182" y="72"/>
                  </a:lnTo>
                  <a:lnTo>
                    <a:pt x="1182" y="72"/>
                  </a:lnTo>
                  <a:lnTo>
                    <a:pt x="1182" y="72"/>
                  </a:lnTo>
                  <a:lnTo>
                    <a:pt x="1182" y="72"/>
                  </a:lnTo>
                  <a:lnTo>
                    <a:pt x="1182" y="72"/>
                  </a:lnTo>
                  <a:lnTo>
                    <a:pt x="1182" y="72"/>
                  </a:lnTo>
                  <a:lnTo>
                    <a:pt x="1182" y="72"/>
                  </a:lnTo>
                  <a:close/>
                  <a:moveTo>
                    <a:pt x="890" y="68"/>
                  </a:moveTo>
                  <a:lnTo>
                    <a:pt x="892" y="68"/>
                  </a:lnTo>
                  <a:lnTo>
                    <a:pt x="892" y="68"/>
                  </a:lnTo>
                  <a:lnTo>
                    <a:pt x="892" y="68"/>
                  </a:lnTo>
                  <a:lnTo>
                    <a:pt x="895" y="68"/>
                  </a:lnTo>
                  <a:lnTo>
                    <a:pt x="895" y="68"/>
                  </a:lnTo>
                  <a:lnTo>
                    <a:pt x="897" y="68"/>
                  </a:lnTo>
                  <a:lnTo>
                    <a:pt x="897" y="68"/>
                  </a:lnTo>
                  <a:lnTo>
                    <a:pt x="895" y="70"/>
                  </a:lnTo>
                  <a:lnTo>
                    <a:pt x="895" y="70"/>
                  </a:lnTo>
                  <a:lnTo>
                    <a:pt x="897" y="70"/>
                  </a:lnTo>
                  <a:lnTo>
                    <a:pt x="897" y="70"/>
                  </a:lnTo>
                  <a:lnTo>
                    <a:pt x="897" y="70"/>
                  </a:lnTo>
                  <a:lnTo>
                    <a:pt x="897" y="70"/>
                  </a:lnTo>
                  <a:lnTo>
                    <a:pt x="897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0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9" y="72"/>
                  </a:lnTo>
                  <a:lnTo>
                    <a:pt x="897" y="72"/>
                  </a:lnTo>
                  <a:lnTo>
                    <a:pt x="897" y="72"/>
                  </a:lnTo>
                  <a:lnTo>
                    <a:pt x="897" y="72"/>
                  </a:lnTo>
                  <a:lnTo>
                    <a:pt x="897" y="72"/>
                  </a:lnTo>
                  <a:lnTo>
                    <a:pt x="897" y="72"/>
                  </a:lnTo>
                  <a:lnTo>
                    <a:pt x="897" y="75"/>
                  </a:lnTo>
                  <a:lnTo>
                    <a:pt x="895" y="75"/>
                  </a:lnTo>
                  <a:lnTo>
                    <a:pt x="895" y="75"/>
                  </a:lnTo>
                  <a:lnTo>
                    <a:pt x="895" y="75"/>
                  </a:lnTo>
                  <a:lnTo>
                    <a:pt x="895" y="75"/>
                  </a:lnTo>
                  <a:lnTo>
                    <a:pt x="892" y="75"/>
                  </a:lnTo>
                  <a:lnTo>
                    <a:pt x="892" y="75"/>
                  </a:lnTo>
                  <a:lnTo>
                    <a:pt x="892" y="75"/>
                  </a:lnTo>
                  <a:lnTo>
                    <a:pt x="888" y="75"/>
                  </a:lnTo>
                  <a:lnTo>
                    <a:pt x="888" y="75"/>
                  </a:lnTo>
                  <a:lnTo>
                    <a:pt x="886" y="75"/>
                  </a:lnTo>
                  <a:lnTo>
                    <a:pt x="886" y="75"/>
                  </a:lnTo>
                  <a:lnTo>
                    <a:pt x="881" y="75"/>
                  </a:lnTo>
                  <a:lnTo>
                    <a:pt x="874" y="75"/>
                  </a:lnTo>
                  <a:lnTo>
                    <a:pt x="874" y="75"/>
                  </a:lnTo>
                  <a:lnTo>
                    <a:pt x="874" y="75"/>
                  </a:lnTo>
                  <a:lnTo>
                    <a:pt x="874" y="75"/>
                  </a:lnTo>
                  <a:lnTo>
                    <a:pt x="874" y="75"/>
                  </a:lnTo>
                  <a:lnTo>
                    <a:pt x="874" y="75"/>
                  </a:lnTo>
                  <a:lnTo>
                    <a:pt x="872" y="72"/>
                  </a:lnTo>
                  <a:lnTo>
                    <a:pt x="870" y="75"/>
                  </a:lnTo>
                  <a:lnTo>
                    <a:pt x="870" y="75"/>
                  </a:lnTo>
                  <a:lnTo>
                    <a:pt x="870" y="75"/>
                  </a:lnTo>
                  <a:lnTo>
                    <a:pt x="870" y="75"/>
                  </a:lnTo>
                  <a:lnTo>
                    <a:pt x="870" y="75"/>
                  </a:lnTo>
                  <a:lnTo>
                    <a:pt x="870" y="75"/>
                  </a:lnTo>
                  <a:lnTo>
                    <a:pt x="870" y="75"/>
                  </a:lnTo>
                  <a:lnTo>
                    <a:pt x="868" y="75"/>
                  </a:lnTo>
                  <a:lnTo>
                    <a:pt x="868" y="75"/>
                  </a:lnTo>
                  <a:lnTo>
                    <a:pt x="865" y="75"/>
                  </a:lnTo>
                  <a:lnTo>
                    <a:pt x="865" y="75"/>
                  </a:lnTo>
                  <a:lnTo>
                    <a:pt x="865" y="75"/>
                  </a:lnTo>
                  <a:lnTo>
                    <a:pt x="865" y="75"/>
                  </a:lnTo>
                  <a:lnTo>
                    <a:pt x="865" y="75"/>
                  </a:lnTo>
                  <a:lnTo>
                    <a:pt x="865" y="75"/>
                  </a:lnTo>
                  <a:lnTo>
                    <a:pt x="865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61" y="75"/>
                  </a:lnTo>
                  <a:lnTo>
                    <a:pt x="859" y="75"/>
                  </a:lnTo>
                  <a:lnTo>
                    <a:pt x="859" y="75"/>
                  </a:lnTo>
                  <a:lnTo>
                    <a:pt x="850" y="75"/>
                  </a:lnTo>
                  <a:lnTo>
                    <a:pt x="847" y="75"/>
                  </a:lnTo>
                  <a:lnTo>
                    <a:pt x="847" y="75"/>
                  </a:lnTo>
                  <a:lnTo>
                    <a:pt x="847" y="75"/>
                  </a:lnTo>
                  <a:lnTo>
                    <a:pt x="847" y="75"/>
                  </a:lnTo>
                  <a:lnTo>
                    <a:pt x="847" y="75"/>
                  </a:lnTo>
                  <a:lnTo>
                    <a:pt x="843" y="75"/>
                  </a:lnTo>
                  <a:lnTo>
                    <a:pt x="841" y="75"/>
                  </a:lnTo>
                  <a:lnTo>
                    <a:pt x="841" y="75"/>
                  </a:lnTo>
                  <a:lnTo>
                    <a:pt x="841" y="75"/>
                  </a:lnTo>
                  <a:lnTo>
                    <a:pt x="841" y="75"/>
                  </a:lnTo>
                  <a:lnTo>
                    <a:pt x="841" y="75"/>
                  </a:lnTo>
                  <a:lnTo>
                    <a:pt x="843" y="75"/>
                  </a:lnTo>
                  <a:lnTo>
                    <a:pt x="843" y="75"/>
                  </a:lnTo>
                  <a:lnTo>
                    <a:pt x="843" y="75"/>
                  </a:lnTo>
                  <a:lnTo>
                    <a:pt x="845" y="72"/>
                  </a:lnTo>
                  <a:lnTo>
                    <a:pt x="845" y="72"/>
                  </a:lnTo>
                  <a:lnTo>
                    <a:pt x="845" y="72"/>
                  </a:lnTo>
                  <a:lnTo>
                    <a:pt x="845" y="72"/>
                  </a:lnTo>
                  <a:lnTo>
                    <a:pt x="845" y="72"/>
                  </a:lnTo>
                  <a:lnTo>
                    <a:pt x="847" y="72"/>
                  </a:lnTo>
                  <a:lnTo>
                    <a:pt x="852" y="72"/>
                  </a:lnTo>
                  <a:lnTo>
                    <a:pt x="854" y="72"/>
                  </a:lnTo>
                  <a:lnTo>
                    <a:pt x="856" y="72"/>
                  </a:lnTo>
                  <a:lnTo>
                    <a:pt x="859" y="70"/>
                  </a:lnTo>
                  <a:lnTo>
                    <a:pt x="863" y="70"/>
                  </a:lnTo>
                  <a:lnTo>
                    <a:pt x="863" y="70"/>
                  </a:lnTo>
                  <a:lnTo>
                    <a:pt x="865" y="70"/>
                  </a:lnTo>
                  <a:lnTo>
                    <a:pt x="868" y="70"/>
                  </a:lnTo>
                  <a:lnTo>
                    <a:pt x="874" y="70"/>
                  </a:lnTo>
                  <a:lnTo>
                    <a:pt x="874" y="70"/>
                  </a:lnTo>
                  <a:lnTo>
                    <a:pt x="874" y="70"/>
                  </a:lnTo>
                  <a:lnTo>
                    <a:pt x="877" y="68"/>
                  </a:lnTo>
                  <a:lnTo>
                    <a:pt x="877" y="68"/>
                  </a:lnTo>
                  <a:lnTo>
                    <a:pt x="877" y="68"/>
                  </a:lnTo>
                  <a:lnTo>
                    <a:pt x="879" y="68"/>
                  </a:lnTo>
                  <a:lnTo>
                    <a:pt x="879" y="68"/>
                  </a:lnTo>
                  <a:lnTo>
                    <a:pt x="883" y="68"/>
                  </a:lnTo>
                  <a:lnTo>
                    <a:pt x="886" y="68"/>
                  </a:lnTo>
                  <a:lnTo>
                    <a:pt x="886" y="68"/>
                  </a:lnTo>
                  <a:lnTo>
                    <a:pt x="886" y="68"/>
                  </a:lnTo>
                  <a:lnTo>
                    <a:pt x="886" y="68"/>
                  </a:lnTo>
                  <a:lnTo>
                    <a:pt x="886" y="68"/>
                  </a:lnTo>
                  <a:lnTo>
                    <a:pt x="888" y="68"/>
                  </a:lnTo>
                  <a:lnTo>
                    <a:pt x="888" y="68"/>
                  </a:lnTo>
                  <a:lnTo>
                    <a:pt x="890" y="68"/>
                  </a:lnTo>
                  <a:lnTo>
                    <a:pt x="890" y="68"/>
                  </a:lnTo>
                  <a:close/>
                  <a:moveTo>
                    <a:pt x="1373" y="68"/>
                  </a:moveTo>
                  <a:lnTo>
                    <a:pt x="1371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9" y="68"/>
                  </a:lnTo>
                  <a:lnTo>
                    <a:pt x="1369" y="68"/>
                  </a:lnTo>
                  <a:lnTo>
                    <a:pt x="1369" y="68"/>
                  </a:lnTo>
                  <a:lnTo>
                    <a:pt x="1369" y="68"/>
                  </a:lnTo>
                  <a:lnTo>
                    <a:pt x="1369" y="66"/>
                  </a:lnTo>
                  <a:lnTo>
                    <a:pt x="1369" y="66"/>
                  </a:lnTo>
                  <a:lnTo>
                    <a:pt x="1369" y="66"/>
                  </a:lnTo>
                  <a:lnTo>
                    <a:pt x="1371" y="68"/>
                  </a:lnTo>
                  <a:lnTo>
                    <a:pt x="1373" y="68"/>
                  </a:lnTo>
                  <a:lnTo>
                    <a:pt x="1373" y="68"/>
                  </a:lnTo>
                  <a:lnTo>
                    <a:pt x="1373" y="68"/>
                  </a:lnTo>
                  <a:lnTo>
                    <a:pt x="1373" y="68"/>
                  </a:lnTo>
                  <a:close/>
                  <a:moveTo>
                    <a:pt x="1070" y="68"/>
                  </a:moveTo>
                  <a:lnTo>
                    <a:pt x="1072" y="68"/>
                  </a:lnTo>
                  <a:lnTo>
                    <a:pt x="1074" y="68"/>
                  </a:lnTo>
                  <a:lnTo>
                    <a:pt x="1074" y="68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9" y="70"/>
                  </a:lnTo>
                  <a:lnTo>
                    <a:pt x="1079" y="70"/>
                  </a:lnTo>
                  <a:lnTo>
                    <a:pt x="1079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7" y="70"/>
                  </a:lnTo>
                  <a:lnTo>
                    <a:pt x="1074" y="70"/>
                  </a:lnTo>
                  <a:lnTo>
                    <a:pt x="1074" y="70"/>
                  </a:lnTo>
                  <a:lnTo>
                    <a:pt x="1079" y="72"/>
                  </a:lnTo>
                  <a:lnTo>
                    <a:pt x="1079" y="72"/>
                  </a:lnTo>
                  <a:lnTo>
                    <a:pt x="1081" y="70"/>
                  </a:lnTo>
                  <a:lnTo>
                    <a:pt x="1083" y="70"/>
                  </a:lnTo>
                  <a:lnTo>
                    <a:pt x="1086" y="72"/>
                  </a:lnTo>
                  <a:lnTo>
                    <a:pt x="1088" y="72"/>
                  </a:lnTo>
                  <a:lnTo>
                    <a:pt x="1088" y="72"/>
                  </a:lnTo>
                  <a:lnTo>
                    <a:pt x="1090" y="72"/>
                  </a:lnTo>
                  <a:lnTo>
                    <a:pt x="1090" y="72"/>
                  </a:lnTo>
                  <a:lnTo>
                    <a:pt x="1090" y="75"/>
                  </a:lnTo>
                  <a:lnTo>
                    <a:pt x="1090" y="75"/>
                  </a:lnTo>
                  <a:lnTo>
                    <a:pt x="1090" y="75"/>
                  </a:lnTo>
                  <a:lnTo>
                    <a:pt x="1090" y="75"/>
                  </a:lnTo>
                  <a:lnTo>
                    <a:pt x="1081" y="77"/>
                  </a:lnTo>
                  <a:lnTo>
                    <a:pt x="1081" y="77"/>
                  </a:lnTo>
                  <a:lnTo>
                    <a:pt x="1081" y="77"/>
                  </a:lnTo>
                  <a:lnTo>
                    <a:pt x="1083" y="77"/>
                  </a:lnTo>
                  <a:lnTo>
                    <a:pt x="1083" y="77"/>
                  </a:lnTo>
                  <a:lnTo>
                    <a:pt x="1083" y="77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3" y="79"/>
                  </a:lnTo>
                  <a:lnTo>
                    <a:pt x="1081" y="79"/>
                  </a:lnTo>
                  <a:lnTo>
                    <a:pt x="1083" y="79"/>
                  </a:lnTo>
                  <a:lnTo>
                    <a:pt x="1081" y="79"/>
                  </a:lnTo>
                  <a:lnTo>
                    <a:pt x="1081" y="81"/>
                  </a:lnTo>
                  <a:lnTo>
                    <a:pt x="1079" y="81"/>
                  </a:lnTo>
                  <a:lnTo>
                    <a:pt x="1079" y="81"/>
                  </a:lnTo>
                  <a:lnTo>
                    <a:pt x="1079" y="81"/>
                  </a:lnTo>
                  <a:lnTo>
                    <a:pt x="1077" y="81"/>
                  </a:lnTo>
                  <a:lnTo>
                    <a:pt x="1077" y="81"/>
                  </a:lnTo>
                  <a:lnTo>
                    <a:pt x="1074" y="81"/>
                  </a:lnTo>
                  <a:lnTo>
                    <a:pt x="1074" y="81"/>
                  </a:lnTo>
                  <a:lnTo>
                    <a:pt x="1074" y="81"/>
                  </a:lnTo>
                  <a:lnTo>
                    <a:pt x="1072" y="81"/>
                  </a:lnTo>
                  <a:lnTo>
                    <a:pt x="1072" y="81"/>
                  </a:lnTo>
                  <a:lnTo>
                    <a:pt x="1072" y="81"/>
                  </a:lnTo>
                  <a:lnTo>
                    <a:pt x="1070" y="81"/>
                  </a:lnTo>
                  <a:lnTo>
                    <a:pt x="1068" y="81"/>
                  </a:lnTo>
                  <a:lnTo>
                    <a:pt x="1059" y="84"/>
                  </a:lnTo>
                  <a:lnTo>
                    <a:pt x="1059" y="84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6" y="81"/>
                  </a:lnTo>
                  <a:lnTo>
                    <a:pt x="1056" y="81"/>
                  </a:lnTo>
                  <a:lnTo>
                    <a:pt x="1054" y="81"/>
                  </a:lnTo>
                  <a:lnTo>
                    <a:pt x="1054" y="81"/>
                  </a:lnTo>
                  <a:lnTo>
                    <a:pt x="1054" y="84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9" y="81"/>
                  </a:lnTo>
                  <a:lnTo>
                    <a:pt x="1059" y="81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6" y="84"/>
                  </a:lnTo>
                  <a:lnTo>
                    <a:pt x="1054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47" y="84"/>
                  </a:lnTo>
                  <a:lnTo>
                    <a:pt x="1047" y="84"/>
                  </a:lnTo>
                  <a:lnTo>
                    <a:pt x="1047" y="84"/>
                  </a:lnTo>
                  <a:lnTo>
                    <a:pt x="1047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1"/>
                  </a:lnTo>
                  <a:lnTo>
                    <a:pt x="1050" y="81"/>
                  </a:lnTo>
                  <a:lnTo>
                    <a:pt x="1050" y="81"/>
                  </a:lnTo>
                  <a:lnTo>
                    <a:pt x="1052" y="81"/>
                  </a:lnTo>
                  <a:lnTo>
                    <a:pt x="1052" y="81"/>
                  </a:lnTo>
                  <a:lnTo>
                    <a:pt x="1047" y="81"/>
                  </a:lnTo>
                  <a:lnTo>
                    <a:pt x="1047" y="81"/>
                  </a:lnTo>
                  <a:lnTo>
                    <a:pt x="1045" y="79"/>
                  </a:lnTo>
                  <a:lnTo>
                    <a:pt x="1045" y="79"/>
                  </a:lnTo>
                  <a:lnTo>
                    <a:pt x="1043" y="79"/>
                  </a:lnTo>
                  <a:lnTo>
                    <a:pt x="1043" y="79"/>
                  </a:lnTo>
                  <a:lnTo>
                    <a:pt x="1045" y="79"/>
                  </a:lnTo>
                  <a:lnTo>
                    <a:pt x="1045" y="79"/>
                  </a:lnTo>
                  <a:lnTo>
                    <a:pt x="1045" y="79"/>
                  </a:lnTo>
                  <a:lnTo>
                    <a:pt x="1045" y="79"/>
                  </a:lnTo>
                  <a:lnTo>
                    <a:pt x="1045" y="79"/>
                  </a:lnTo>
                  <a:lnTo>
                    <a:pt x="1045" y="79"/>
                  </a:lnTo>
                  <a:lnTo>
                    <a:pt x="1047" y="79"/>
                  </a:lnTo>
                  <a:lnTo>
                    <a:pt x="1056" y="79"/>
                  </a:lnTo>
                  <a:lnTo>
                    <a:pt x="1056" y="79"/>
                  </a:lnTo>
                  <a:lnTo>
                    <a:pt x="1059" y="79"/>
                  </a:lnTo>
                  <a:lnTo>
                    <a:pt x="1059" y="79"/>
                  </a:lnTo>
                  <a:lnTo>
                    <a:pt x="1056" y="79"/>
                  </a:lnTo>
                  <a:lnTo>
                    <a:pt x="1056" y="79"/>
                  </a:lnTo>
                  <a:lnTo>
                    <a:pt x="1056" y="79"/>
                  </a:lnTo>
                  <a:lnTo>
                    <a:pt x="1059" y="79"/>
                  </a:lnTo>
                  <a:lnTo>
                    <a:pt x="1059" y="79"/>
                  </a:lnTo>
                  <a:lnTo>
                    <a:pt x="1059" y="77"/>
                  </a:lnTo>
                  <a:lnTo>
                    <a:pt x="1059" y="77"/>
                  </a:lnTo>
                  <a:lnTo>
                    <a:pt x="1059" y="77"/>
                  </a:lnTo>
                  <a:lnTo>
                    <a:pt x="1056" y="77"/>
                  </a:lnTo>
                  <a:lnTo>
                    <a:pt x="1056" y="77"/>
                  </a:lnTo>
                  <a:lnTo>
                    <a:pt x="1054" y="77"/>
                  </a:lnTo>
                  <a:lnTo>
                    <a:pt x="1054" y="77"/>
                  </a:lnTo>
                  <a:lnTo>
                    <a:pt x="1052" y="77"/>
                  </a:lnTo>
                  <a:lnTo>
                    <a:pt x="1052" y="77"/>
                  </a:lnTo>
                  <a:lnTo>
                    <a:pt x="1047" y="77"/>
                  </a:lnTo>
                  <a:lnTo>
                    <a:pt x="1045" y="77"/>
                  </a:lnTo>
                  <a:lnTo>
                    <a:pt x="1045" y="77"/>
                  </a:lnTo>
                  <a:lnTo>
                    <a:pt x="1045" y="77"/>
                  </a:lnTo>
                  <a:lnTo>
                    <a:pt x="1047" y="77"/>
                  </a:lnTo>
                  <a:lnTo>
                    <a:pt x="1047" y="77"/>
                  </a:lnTo>
                  <a:lnTo>
                    <a:pt x="1047" y="77"/>
                  </a:lnTo>
                  <a:lnTo>
                    <a:pt x="1047" y="77"/>
                  </a:lnTo>
                  <a:lnTo>
                    <a:pt x="1047" y="77"/>
                  </a:lnTo>
                  <a:lnTo>
                    <a:pt x="1047" y="77"/>
                  </a:lnTo>
                  <a:lnTo>
                    <a:pt x="1047" y="77"/>
                  </a:lnTo>
                  <a:lnTo>
                    <a:pt x="1050" y="77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5" y="75"/>
                  </a:lnTo>
                  <a:lnTo>
                    <a:pt x="1045" y="75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7" y="75"/>
                  </a:lnTo>
                  <a:lnTo>
                    <a:pt x="1047" y="72"/>
                  </a:lnTo>
                  <a:lnTo>
                    <a:pt x="1047" y="72"/>
                  </a:lnTo>
                  <a:lnTo>
                    <a:pt x="1047" y="72"/>
                  </a:lnTo>
                  <a:lnTo>
                    <a:pt x="1047" y="72"/>
                  </a:lnTo>
                  <a:lnTo>
                    <a:pt x="1045" y="72"/>
                  </a:lnTo>
                  <a:lnTo>
                    <a:pt x="1045" y="72"/>
                  </a:lnTo>
                  <a:lnTo>
                    <a:pt x="1045" y="72"/>
                  </a:lnTo>
                  <a:lnTo>
                    <a:pt x="1045" y="72"/>
                  </a:lnTo>
                  <a:lnTo>
                    <a:pt x="1045" y="72"/>
                  </a:lnTo>
                  <a:lnTo>
                    <a:pt x="1045" y="72"/>
                  </a:lnTo>
                  <a:lnTo>
                    <a:pt x="1045" y="72"/>
                  </a:lnTo>
                  <a:lnTo>
                    <a:pt x="1047" y="70"/>
                  </a:lnTo>
                  <a:lnTo>
                    <a:pt x="1047" y="70"/>
                  </a:lnTo>
                  <a:lnTo>
                    <a:pt x="1047" y="70"/>
                  </a:lnTo>
                  <a:lnTo>
                    <a:pt x="1047" y="70"/>
                  </a:lnTo>
                  <a:lnTo>
                    <a:pt x="1047" y="70"/>
                  </a:lnTo>
                  <a:lnTo>
                    <a:pt x="1047" y="70"/>
                  </a:lnTo>
                  <a:lnTo>
                    <a:pt x="1050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2" y="70"/>
                  </a:lnTo>
                  <a:lnTo>
                    <a:pt x="1050" y="70"/>
                  </a:lnTo>
                  <a:lnTo>
                    <a:pt x="1050" y="70"/>
                  </a:lnTo>
                  <a:lnTo>
                    <a:pt x="1050" y="70"/>
                  </a:lnTo>
                  <a:lnTo>
                    <a:pt x="1050" y="70"/>
                  </a:lnTo>
                  <a:lnTo>
                    <a:pt x="1050" y="70"/>
                  </a:lnTo>
                  <a:lnTo>
                    <a:pt x="1050" y="68"/>
                  </a:lnTo>
                  <a:lnTo>
                    <a:pt x="1050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2" y="68"/>
                  </a:lnTo>
                  <a:lnTo>
                    <a:pt x="1056" y="66"/>
                  </a:lnTo>
                  <a:lnTo>
                    <a:pt x="1065" y="66"/>
                  </a:lnTo>
                  <a:lnTo>
                    <a:pt x="1065" y="68"/>
                  </a:lnTo>
                  <a:lnTo>
                    <a:pt x="1070" y="68"/>
                  </a:lnTo>
                  <a:lnTo>
                    <a:pt x="1070" y="68"/>
                  </a:lnTo>
                  <a:close/>
                  <a:moveTo>
                    <a:pt x="996" y="57"/>
                  </a:moveTo>
                  <a:lnTo>
                    <a:pt x="998" y="59"/>
                  </a:lnTo>
                  <a:lnTo>
                    <a:pt x="998" y="57"/>
                  </a:lnTo>
                  <a:lnTo>
                    <a:pt x="1000" y="59"/>
                  </a:lnTo>
                  <a:lnTo>
                    <a:pt x="1000" y="59"/>
                  </a:lnTo>
                  <a:lnTo>
                    <a:pt x="1000" y="59"/>
                  </a:lnTo>
                  <a:lnTo>
                    <a:pt x="1000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2" y="59"/>
                  </a:lnTo>
                  <a:lnTo>
                    <a:pt x="1000" y="59"/>
                  </a:lnTo>
                  <a:lnTo>
                    <a:pt x="1000" y="61"/>
                  </a:lnTo>
                  <a:lnTo>
                    <a:pt x="1000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2" y="61"/>
                  </a:lnTo>
                  <a:lnTo>
                    <a:pt x="1000" y="61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998" y="63"/>
                  </a:lnTo>
                  <a:lnTo>
                    <a:pt x="998" y="63"/>
                  </a:lnTo>
                  <a:lnTo>
                    <a:pt x="998" y="63"/>
                  </a:lnTo>
                  <a:lnTo>
                    <a:pt x="998" y="63"/>
                  </a:lnTo>
                  <a:lnTo>
                    <a:pt x="998" y="63"/>
                  </a:lnTo>
                  <a:lnTo>
                    <a:pt x="998" y="63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1000" y="63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998" y="66"/>
                  </a:lnTo>
                  <a:lnTo>
                    <a:pt x="1000" y="66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2" y="63"/>
                  </a:lnTo>
                  <a:lnTo>
                    <a:pt x="1005" y="63"/>
                  </a:lnTo>
                  <a:lnTo>
                    <a:pt x="1002" y="63"/>
                  </a:lnTo>
                  <a:lnTo>
                    <a:pt x="1005" y="63"/>
                  </a:lnTo>
                  <a:lnTo>
                    <a:pt x="1005" y="63"/>
                  </a:lnTo>
                  <a:lnTo>
                    <a:pt x="1007" y="63"/>
                  </a:lnTo>
                  <a:lnTo>
                    <a:pt x="1009" y="61"/>
                  </a:lnTo>
                  <a:lnTo>
                    <a:pt x="1011" y="61"/>
                  </a:lnTo>
                  <a:lnTo>
                    <a:pt x="1011" y="61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6" y="63"/>
                  </a:lnTo>
                  <a:lnTo>
                    <a:pt x="1018" y="63"/>
                  </a:lnTo>
                  <a:lnTo>
                    <a:pt x="1018" y="63"/>
                  </a:lnTo>
                  <a:lnTo>
                    <a:pt x="1018" y="63"/>
                  </a:lnTo>
                  <a:lnTo>
                    <a:pt x="1018" y="63"/>
                  </a:lnTo>
                  <a:lnTo>
                    <a:pt x="1018" y="63"/>
                  </a:lnTo>
                  <a:lnTo>
                    <a:pt x="1020" y="63"/>
                  </a:lnTo>
                  <a:lnTo>
                    <a:pt x="1020" y="63"/>
                  </a:lnTo>
                  <a:lnTo>
                    <a:pt x="1020" y="63"/>
                  </a:lnTo>
                  <a:lnTo>
                    <a:pt x="1020" y="63"/>
                  </a:lnTo>
                  <a:lnTo>
                    <a:pt x="1020" y="63"/>
                  </a:lnTo>
                  <a:lnTo>
                    <a:pt x="1020" y="63"/>
                  </a:lnTo>
                  <a:lnTo>
                    <a:pt x="1020" y="63"/>
                  </a:lnTo>
                  <a:lnTo>
                    <a:pt x="1018" y="66"/>
                  </a:lnTo>
                  <a:lnTo>
                    <a:pt x="1016" y="66"/>
                  </a:lnTo>
                  <a:lnTo>
                    <a:pt x="1016" y="66"/>
                  </a:lnTo>
                  <a:lnTo>
                    <a:pt x="1016" y="66"/>
                  </a:lnTo>
                  <a:lnTo>
                    <a:pt x="1016" y="66"/>
                  </a:lnTo>
                  <a:lnTo>
                    <a:pt x="1018" y="66"/>
                  </a:lnTo>
                  <a:lnTo>
                    <a:pt x="1018" y="66"/>
                  </a:lnTo>
                  <a:lnTo>
                    <a:pt x="1018" y="66"/>
                  </a:lnTo>
                  <a:lnTo>
                    <a:pt x="1018" y="68"/>
                  </a:lnTo>
                  <a:lnTo>
                    <a:pt x="1020" y="66"/>
                  </a:lnTo>
                  <a:lnTo>
                    <a:pt x="1020" y="66"/>
                  </a:lnTo>
                  <a:lnTo>
                    <a:pt x="1023" y="66"/>
                  </a:lnTo>
                  <a:lnTo>
                    <a:pt x="1025" y="66"/>
                  </a:lnTo>
                  <a:lnTo>
                    <a:pt x="1027" y="66"/>
                  </a:lnTo>
                  <a:lnTo>
                    <a:pt x="1027" y="66"/>
                  </a:lnTo>
                  <a:lnTo>
                    <a:pt x="1027" y="66"/>
                  </a:lnTo>
                  <a:lnTo>
                    <a:pt x="1027" y="66"/>
                  </a:lnTo>
                  <a:lnTo>
                    <a:pt x="1027" y="66"/>
                  </a:lnTo>
                  <a:lnTo>
                    <a:pt x="1027" y="68"/>
                  </a:lnTo>
                  <a:lnTo>
                    <a:pt x="1029" y="68"/>
                  </a:lnTo>
                  <a:lnTo>
                    <a:pt x="1029" y="68"/>
                  </a:lnTo>
                  <a:lnTo>
                    <a:pt x="1029" y="68"/>
                  </a:lnTo>
                  <a:lnTo>
                    <a:pt x="1027" y="68"/>
                  </a:lnTo>
                  <a:lnTo>
                    <a:pt x="1027" y="70"/>
                  </a:lnTo>
                  <a:lnTo>
                    <a:pt x="1027" y="70"/>
                  </a:lnTo>
                  <a:lnTo>
                    <a:pt x="1027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32" y="70"/>
                  </a:lnTo>
                  <a:lnTo>
                    <a:pt x="1032" y="70"/>
                  </a:lnTo>
                  <a:lnTo>
                    <a:pt x="1032" y="70"/>
                  </a:lnTo>
                  <a:lnTo>
                    <a:pt x="1032" y="70"/>
                  </a:lnTo>
                  <a:lnTo>
                    <a:pt x="1032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0"/>
                  </a:lnTo>
                  <a:lnTo>
                    <a:pt x="1029" y="72"/>
                  </a:lnTo>
                  <a:lnTo>
                    <a:pt x="1029" y="72"/>
                  </a:lnTo>
                  <a:lnTo>
                    <a:pt x="1029" y="72"/>
                  </a:lnTo>
                  <a:lnTo>
                    <a:pt x="1029" y="72"/>
                  </a:lnTo>
                  <a:lnTo>
                    <a:pt x="1027" y="72"/>
                  </a:lnTo>
                  <a:lnTo>
                    <a:pt x="1027" y="72"/>
                  </a:lnTo>
                  <a:lnTo>
                    <a:pt x="1025" y="72"/>
                  </a:lnTo>
                  <a:lnTo>
                    <a:pt x="1025" y="72"/>
                  </a:lnTo>
                  <a:lnTo>
                    <a:pt x="1025" y="72"/>
                  </a:lnTo>
                  <a:lnTo>
                    <a:pt x="1025" y="72"/>
                  </a:lnTo>
                  <a:lnTo>
                    <a:pt x="1025" y="75"/>
                  </a:lnTo>
                  <a:lnTo>
                    <a:pt x="1025" y="75"/>
                  </a:lnTo>
                  <a:lnTo>
                    <a:pt x="1023" y="75"/>
                  </a:lnTo>
                  <a:lnTo>
                    <a:pt x="1023" y="75"/>
                  </a:lnTo>
                  <a:lnTo>
                    <a:pt x="1023" y="75"/>
                  </a:lnTo>
                  <a:lnTo>
                    <a:pt x="1025" y="75"/>
                  </a:lnTo>
                  <a:lnTo>
                    <a:pt x="1025" y="75"/>
                  </a:lnTo>
                  <a:lnTo>
                    <a:pt x="1025" y="75"/>
                  </a:lnTo>
                  <a:lnTo>
                    <a:pt x="1025" y="77"/>
                  </a:lnTo>
                  <a:lnTo>
                    <a:pt x="1025" y="77"/>
                  </a:lnTo>
                  <a:lnTo>
                    <a:pt x="1025" y="77"/>
                  </a:lnTo>
                  <a:lnTo>
                    <a:pt x="1027" y="77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9" y="79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7" y="79"/>
                  </a:lnTo>
                  <a:lnTo>
                    <a:pt x="1027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5" y="81"/>
                  </a:lnTo>
                  <a:lnTo>
                    <a:pt x="1023" y="81"/>
                  </a:lnTo>
                  <a:lnTo>
                    <a:pt x="1023" y="81"/>
                  </a:lnTo>
                  <a:lnTo>
                    <a:pt x="1023" y="84"/>
                  </a:lnTo>
                  <a:lnTo>
                    <a:pt x="1020" y="84"/>
                  </a:lnTo>
                  <a:lnTo>
                    <a:pt x="1020" y="84"/>
                  </a:lnTo>
                  <a:lnTo>
                    <a:pt x="1011" y="84"/>
                  </a:lnTo>
                  <a:lnTo>
                    <a:pt x="1011" y="84"/>
                  </a:lnTo>
                  <a:lnTo>
                    <a:pt x="1011" y="84"/>
                  </a:lnTo>
                  <a:lnTo>
                    <a:pt x="1009" y="84"/>
                  </a:lnTo>
                  <a:lnTo>
                    <a:pt x="1009" y="84"/>
                  </a:lnTo>
                  <a:lnTo>
                    <a:pt x="1009" y="84"/>
                  </a:lnTo>
                  <a:lnTo>
                    <a:pt x="1007" y="84"/>
                  </a:lnTo>
                  <a:lnTo>
                    <a:pt x="1005" y="84"/>
                  </a:lnTo>
                  <a:lnTo>
                    <a:pt x="1005" y="84"/>
                  </a:lnTo>
                  <a:lnTo>
                    <a:pt x="1002" y="84"/>
                  </a:lnTo>
                  <a:lnTo>
                    <a:pt x="1002" y="81"/>
                  </a:lnTo>
                  <a:lnTo>
                    <a:pt x="1002" y="81"/>
                  </a:lnTo>
                  <a:lnTo>
                    <a:pt x="1002" y="81"/>
                  </a:lnTo>
                  <a:lnTo>
                    <a:pt x="1002" y="81"/>
                  </a:lnTo>
                  <a:lnTo>
                    <a:pt x="1002" y="81"/>
                  </a:lnTo>
                  <a:lnTo>
                    <a:pt x="1002" y="81"/>
                  </a:lnTo>
                  <a:lnTo>
                    <a:pt x="1002" y="79"/>
                  </a:lnTo>
                  <a:lnTo>
                    <a:pt x="1002" y="79"/>
                  </a:lnTo>
                  <a:lnTo>
                    <a:pt x="1002" y="79"/>
                  </a:lnTo>
                  <a:lnTo>
                    <a:pt x="1002" y="79"/>
                  </a:lnTo>
                  <a:lnTo>
                    <a:pt x="1002" y="79"/>
                  </a:lnTo>
                  <a:lnTo>
                    <a:pt x="1005" y="79"/>
                  </a:lnTo>
                  <a:lnTo>
                    <a:pt x="1005" y="79"/>
                  </a:lnTo>
                  <a:lnTo>
                    <a:pt x="1005" y="79"/>
                  </a:lnTo>
                  <a:lnTo>
                    <a:pt x="1005" y="79"/>
                  </a:lnTo>
                  <a:lnTo>
                    <a:pt x="1002" y="79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2" y="77"/>
                  </a:lnTo>
                  <a:lnTo>
                    <a:pt x="1000" y="77"/>
                  </a:lnTo>
                  <a:lnTo>
                    <a:pt x="1000" y="77"/>
                  </a:lnTo>
                  <a:lnTo>
                    <a:pt x="998" y="77"/>
                  </a:lnTo>
                  <a:lnTo>
                    <a:pt x="991" y="75"/>
                  </a:lnTo>
                  <a:lnTo>
                    <a:pt x="984" y="77"/>
                  </a:lnTo>
                  <a:lnTo>
                    <a:pt x="984" y="77"/>
                  </a:lnTo>
                  <a:lnTo>
                    <a:pt x="982" y="75"/>
                  </a:lnTo>
                  <a:lnTo>
                    <a:pt x="982" y="75"/>
                  </a:lnTo>
                  <a:lnTo>
                    <a:pt x="982" y="75"/>
                  </a:lnTo>
                  <a:lnTo>
                    <a:pt x="982" y="75"/>
                  </a:lnTo>
                  <a:lnTo>
                    <a:pt x="984" y="75"/>
                  </a:lnTo>
                  <a:lnTo>
                    <a:pt x="984" y="75"/>
                  </a:lnTo>
                  <a:lnTo>
                    <a:pt x="975" y="75"/>
                  </a:lnTo>
                  <a:lnTo>
                    <a:pt x="975" y="75"/>
                  </a:lnTo>
                  <a:lnTo>
                    <a:pt x="973" y="75"/>
                  </a:lnTo>
                  <a:lnTo>
                    <a:pt x="973" y="75"/>
                  </a:lnTo>
                  <a:lnTo>
                    <a:pt x="971" y="75"/>
                  </a:lnTo>
                  <a:lnTo>
                    <a:pt x="969" y="75"/>
                  </a:lnTo>
                  <a:lnTo>
                    <a:pt x="966" y="75"/>
                  </a:lnTo>
                  <a:lnTo>
                    <a:pt x="966" y="75"/>
                  </a:lnTo>
                  <a:lnTo>
                    <a:pt x="966" y="77"/>
                  </a:lnTo>
                  <a:lnTo>
                    <a:pt x="964" y="77"/>
                  </a:lnTo>
                  <a:lnTo>
                    <a:pt x="960" y="75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5" y="75"/>
                  </a:lnTo>
                  <a:lnTo>
                    <a:pt x="957" y="72"/>
                  </a:lnTo>
                  <a:lnTo>
                    <a:pt x="955" y="72"/>
                  </a:lnTo>
                  <a:lnTo>
                    <a:pt x="955" y="72"/>
                  </a:lnTo>
                  <a:lnTo>
                    <a:pt x="957" y="72"/>
                  </a:lnTo>
                  <a:lnTo>
                    <a:pt x="957" y="72"/>
                  </a:lnTo>
                  <a:lnTo>
                    <a:pt x="957" y="72"/>
                  </a:lnTo>
                  <a:lnTo>
                    <a:pt x="957" y="70"/>
                  </a:lnTo>
                  <a:lnTo>
                    <a:pt x="957" y="70"/>
                  </a:lnTo>
                  <a:lnTo>
                    <a:pt x="960" y="70"/>
                  </a:lnTo>
                  <a:lnTo>
                    <a:pt x="962" y="70"/>
                  </a:lnTo>
                  <a:lnTo>
                    <a:pt x="964" y="70"/>
                  </a:lnTo>
                  <a:lnTo>
                    <a:pt x="971" y="70"/>
                  </a:lnTo>
                  <a:lnTo>
                    <a:pt x="975" y="70"/>
                  </a:lnTo>
                  <a:lnTo>
                    <a:pt x="975" y="72"/>
                  </a:lnTo>
                  <a:lnTo>
                    <a:pt x="978" y="72"/>
                  </a:lnTo>
                  <a:lnTo>
                    <a:pt x="978" y="72"/>
                  </a:lnTo>
                  <a:lnTo>
                    <a:pt x="978" y="70"/>
                  </a:lnTo>
                  <a:lnTo>
                    <a:pt x="978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78" y="70"/>
                  </a:lnTo>
                  <a:lnTo>
                    <a:pt x="978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0" y="70"/>
                  </a:lnTo>
                  <a:lnTo>
                    <a:pt x="982" y="70"/>
                  </a:lnTo>
                  <a:lnTo>
                    <a:pt x="980" y="70"/>
                  </a:lnTo>
                  <a:lnTo>
                    <a:pt x="973" y="70"/>
                  </a:lnTo>
                  <a:lnTo>
                    <a:pt x="973" y="70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4" y="68"/>
                  </a:lnTo>
                  <a:lnTo>
                    <a:pt x="984" y="68"/>
                  </a:lnTo>
                  <a:lnTo>
                    <a:pt x="984" y="68"/>
                  </a:lnTo>
                  <a:lnTo>
                    <a:pt x="984" y="68"/>
                  </a:lnTo>
                  <a:lnTo>
                    <a:pt x="984" y="68"/>
                  </a:lnTo>
                  <a:lnTo>
                    <a:pt x="984" y="68"/>
                  </a:lnTo>
                  <a:lnTo>
                    <a:pt x="984" y="66"/>
                  </a:lnTo>
                  <a:lnTo>
                    <a:pt x="984" y="66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2" y="68"/>
                  </a:lnTo>
                  <a:lnTo>
                    <a:pt x="980" y="68"/>
                  </a:lnTo>
                  <a:lnTo>
                    <a:pt x="978" y="68"/>
                  </a:lnTo>
                  <a:lnTo>
                    <a:pt x="980" y="68"/>
                  </a:lnTo>
                  <a:lnTo>
                    <a:pt x="980" y="68"/>
                  </a:lnTo>
                  <a:lnTo>
                    <a:pt x="982" y="66"/>
                  </a:lnTo>
                  <a:lnTo>
                    <a:pt x="982" y="66"/>
                  </a:lnTo>
                  <a:lnTo>
                    <a:pt x="980" y="66"/>
                  </a:lnTo>
                  <a:lnTo>
                    <a:pt x="980" y="66"/>
                  </a:lnTo>
                  <a:lnTo>
                    <a:pt x="980" y="66"/>
                  </a:lnTo>
                  <a:lnTo>
                    <a:pt x="980" y="66"/>
                  </a:lnTo>
                  <a:lnTo>
                    <a:pt x="980" y="66"/>
                  </a:lnTo>
                  <a:lnTo>
                    <a:pt x="978" y="66"/>
                  </a:lnTo>
                  <a:lnTo>
                    <a:pt x="978" y="66"/>
                  </a:lnTo>
                  <a:lnTo>
                    <a:pt x="978" y="66"/>
                  </a:lnTo>
                  <a:lnTo>
                    <a:pt x="978" y="66"/>
                  </a:lnTo>
                  <a:lnTo>
                    <a:pt x="978" y="68"/>
                  </a:lnTo>
                  <a:lnTo>
                    <a:pt x="978" y="68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75" y="68"/>
                  </a:lnTo>
                  <a:lnTo>
                    <a:pt x="973" y="66"/>
                  </a:lnTo>
                  <a:lnTo>
                    <a:pt x="975" y="66"/>
                  </a:lnTo>
                  <a:lnTo>
                    <a:pt x="982" y="66"/>
                  </a:lnTo>
                  <a:lnTo>
                    <a:pt x="982" y="66"/>
                  </a:lnTo>
                  <a:lnTo>
                    <a:pt x="982" y="66"/>
                  </a:lnTo>
                  <a:lnTo>
                    <a:pt x="982" y="63"/>
                  </a:lnTo>
                  <a:lnTo>
                    <a:pt x="980" y="63"/>
                  </a:lnTo>
                  <a:lnTo>
                    <a:pt x="980" y="63"/>
                  </a:lnTo>
                  <a:lnTo>
                    <a:pt x="980" y="63"/>
                  </a:lnTo>
                  <a:lnTo>
                    <a:pt x="980" y="63"/>
                  </a:lnTo>
                  <a:lnTo>
                    <a:pt x="980" y="63"/>
                  </a:lnTo>
                  <a:lnTo>
                    <a:pt x="980" y="63"/>
                  </a:lnTo>
                  <a:lnTo>
                    <a:pt x="980" y="63"/>
                  </a:lnTo>
                  <a:lnTo>
                    <a:pt x="978" y="63"/>
                  </a:lnTo>
                  <a:lnTo>
                    <a:pt x="978" y="63"/>
                  </a:lnTo>
                  <a:lnTo>
                    <a:pt x="978" y="63"/>
                  </a:lnTo>
                  <a:lnTo>
                    <a:pt x="978" y="63"/>
                  </a:lnTo>
                  <a:lnTo>
                    <a:pt x="975" y="63"/>
                  </a:lnTo>
                  <a:lnTo>
                    <a:pt x="975" y="63"/>
                  </a:lnTo>
                  <a:lnTo>
                    <a:pt x="975" y="63"/>
                  </a:lnTo>
                  <a:lnTo>
                    <a:pt x="973" y="63"/>
                  </a:lnTo>
                  <a:lnTo>
                    <a:pt x="973" y="66"/>
                  </a:lnTo>
                  <a:lnTo>
                    <a:pt x="971" y="66"/>
                  </a:lnTo>
                  <a:lnTo>
                    <a:pt x="971" y="66"/>
                  </a:lnTo>
                  <a:lnTo>
                    <a:pt x="969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4" y="66"/>
                  </a:lnTo>
                  <a:lnTo>
                    <a:pt x="964" y="66"/>
                  </a:lnTo>
                  <a:lnTo>
                    <a:pt x="964" y="66"/>
                  </a:lnTo>
                  <a:lnTo>
                    <a:pt x="964" y="66"/>
                  </a:lnTo>
                  <a:lnTo>
                    <a:pt x="969" y="66"/>
                  </a:lnTo>
                  <a:lnTo>
                    <a:pt x="969" y="66"/>
                  </a:lnTo>
                  <a:lnTo>
                    <a:pt x="969" y="66"/>
                  </a:lnTo>
                  <a:lnTo>
                    <a:pt x="969" y="63"/>
                  </a:lnTo>
                  <a:lnTo>
                    <a:pt x="969" y="63"/>
                  </a:lnTo>
                  <a:lnTo>
                    <a:pt x="971" y="63"/>
                  </a:lnTo>
                  <a:lnTo>
                    <a:pt x="971" y="63"/>
                  </a:lnTo>
                  <a:lnTo>
                    <a:pt x="973" y="63"/>
                  </a:lnTo>
                  <a:lnTo>
                    <a:pt x="973" y="63"/>
                  </a:lnTo>
                  <a:lnTo>
                    <a:pt x="973" y="63"/>
                  </a:lnTo>
                  <a:lnTo>
                    <a:pt x="971" y="61"/>
                  </a:lnTo>
                  <a:lnTo>
                    <a:pt x="964" y="63"/>
                  </a:lnTo>
                  <a:lnTo>
                    <a:pt x="962" y="63"/>
                  </a:lnTo>
                  <a:lnTo>
                    <a:pt x="962" y="63"/>
                  </a:lnTo>
                  <a:lnTo>
                    <a:pt x="962" y="61"/>
                  </a:lnTo>
                  <a:lnTo>
                    <a:pt x="962" y="61"/>
                  </a:lnTo>
                  <a:lnTo>
                    <a:pt x="962" y="61"/>
                  </a:lnTo>
                  <a:lnTo>
                    <a:pt x="964" y="61"/>
                  </a:lnTo>
                  <a:lnTo>
                    <a:pt x="964" y="61"/>
                  </a:lnTo>
                  <a:lnTo>
                    <a:pt x="964" y="61"/>
                  </a:lnTo>
                  <a:lnTo>
                    <a:pt x="964" y="61"/>
                  </a:lnTo>
                  <a:lnTo>
                    <a:pt x="964" y="61"/>
                  </a:lnTo>
                  <a:lnTo>
                    <a:pt x="964" y="61"/>
                  </a:lnTo>
                  <a:lnTo>
                    <a:pt x="964" y="61"/>
                  </a:lnTo>
                  <a:lnTo>
                    <a:pt x="964" y="59"/>
                  </a:lnTo>
                  <a:lnTo>
                    <a:pt x="966" y="59"/>
                  </a:lnTo>
                  <a:lnTo>
                    <a:pt x="966" y="59"/>
                  </a:lnTo>
                  <a:lnTo>
                    <a:pt x="969" y="59"/>
                  </a:lnTo>
                  <a:lnTo>
                    <a:pt x="969" y="59"/>
                  </a:lnTo>
                  <a:lnTo>
                    <a:pt x="969" y="59"/>
                  </a:lnTo>
                  <a:lnTo>
                    <a:pt x="971" y="59"/>
                  </a:lnTo>
                  <a:lnTo>
                    <a:pt x="971" y="59"/>
                  </a:lnTo>
                  <a:lnTo>
                    <a:pt x="971" y="59"/>
                  </a:lnTo>
                  <a:lnTo>
                    <a:pt x="969" y="59"/>
                  </a:lnTo>
                  <a:lnTo>
                    <a:pt x="971" y="57"/>
                  </a:lnTo>
                  <a:lnTo>
                    <a:pt x="971" y="57"/>
                  </a:lnTo>
                  <a:lnTo>
                    <a:pt x="973" y="59"/>
                  </a:lnTo>
                  <a:lnTo>
                    <a:pt x="993" y="57"/>
                  </a:lnTo>
                  <a:lnTo>
                    <a:pt x="996" y="57"/>
                  </a:lnTo>
                  <a:close/>
                  <a:moveTo>
                    <a:pt x="1068" y="43"/>
                  </a:moveTo>
                  <a:lnTo>
                    <a:pt x="1068" y="45"/>
                  </a:lnTo>
                  <a:lnTo>
                    <a:pt x="1072" y="43"/>
                  </a:lnTo>
                  <a:lnTo>
                    <a:pt x="1072" y="43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5"/>
                  </a:lnTo>
                  <a:lnTo>
                    <a:pt x="1074" y="48"/>
                  </a:lnTo>
                  <a:lnTo>
                    <a:pt x="1074" y="48"/>
                  </a:lnTo>
                  <a:lnTo>
                    <a:pt x="1074" y="48"/>
                  </a:lnTo>
                  <a:lnTo>
                    <a:pt x="1072" y="48"/>
                  </a:lnTo>
                  <a:lnTo>
                    <a:pt x="1072" y="48"/>
                  </a:lnTo>
                  <a:lnTo>
                    <a:pt x="1072" y="48"/>
                  </a:lnTo>
                  <a:lnTo>
                    <a:pt x="1072" y="48"/>
                  </a:lnTo>
                  <a:lnTo>
                    <a:pt x="1072" y="48"/>
                  </a:lnTo>
                  <a:lnTo>
                    <a:pt x="1072" y="48"/>
                  </a:lnTo>
                  <a:lnTo>
                    <a:pt x="1072" y="48"/>
                  </a:lnTo>
                  <a:lnTo>
                    <a:pt x="1072" y="50"/>
                  </a:lnTo>
                  <a:lnTo>
                    <a:pt x="1072" y="50"/>
                  </a:lnTo>
                  <a:lnTo>
                    <a:pt x="1070" y="50"/>
                  </a:lnTo>
                  <a:lnTo>
                    <a:pt x="1070" y="50"/>
                  </a:lnTo>
                  <a:lnTo>
                    <a:pt x="1070" y="50"/>
                  </a:lnTo>
                  <a:lnTo>
                    <a:pt x="1070" y="50"/>
                  </a:lnTo>
                  <a:lnTo>
                    <a:pt x="1070" y="50"/>
                  </a:lnTo>
                  <a:lnTo>
                    <a:pt x="1068" y="50"/>
                  </a:lnTo>
                  <a:lnTo>
                    <a:pt x="1068" y="50"/>
                  </a:lnTo>
                  <a:lnTo>
                    <a:pt x="1068" y="50"/>
                  </a:lnTo>
                  <a:lnTo>
                    <a:pt x="1068" y="50"/>
                  </a:lnTo>
                  <a:lnTo>
                    <a:pt x="1068" y="52"/>
                  </a:lnTo>
                  <a:lnTo>
                    <a:pt x="1068" y="52"/>
                  </a:lnTo>
                  <a:lnTo>
                    <a:pt x="1065" y="52"/>
                  </a:lnTo>
                  <a:lnTo>
                    <a:pt x="1065" y="52"/>
                  </a:lnTo>
                  <a:lnTo>
                    <a:pt x="1065" y="52"/>
                  </a:lnTo>
                  <a:lnTo>
                    <a:pt x="1065" y="52"/>
                  </a:lnTo>
                  <a:lnTo>
                    <a:pt x="1065" y="50"/>
                  </a:lnTo>
                  <a:lnTo>
                    <a:pt x="1065" y="50"/>
                  </a:lnTo>
                  <a:lnTo>
                    <a:pt x="1061" y="50"/>
                  </a:lnTo>
                  <a:lnTo>
                    <a:pt x="1061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50"/>
                  </a:lnTo>
                  <a:lnTo>
                    <a:pt x="1063" y="48"/>
                  </a:lnTo>
                  <a:lnTo>
                    <a:pt x="1063" y="48"/>
                  </a:lnTo>
                  <a:lnTo>
                    <a:pt x="1061" y="48"/>
                  </a:lnTo>
                  <a:lnTo>
                    <a:pt x="1061" y="48"/>
                  </a:lnTo>
                  <a:lnTo>
                    <a:pt x="1059" y="48"/>
                  </a:lnTo>
                  <a:lnTo>
                    <a:pt x="1054" y="48"/>
                  </a:lnTo>
                  <a:lnTo>
                    <a:pt x="1054" y="48"/>
                  </a:lnTo>
                  <a:lnTo>
                    <a:pt x="1054" y="48"/>
                  </a:lnTo>
                  <a:lnTo>
                    <a:pt x="1054" y="48"/>
                  </a:lnTo>
                  <a:lnTo>
                    <a:pt x="1054" y="48"/>
                  </a:lnTo>
                  <a:lnTo>
                    <a:pt x="1054" y="48"/>
                  </a:lnTo>
                  <a:lnTo>
                    <a:pt x="1056" y="48"/>
                  </a:lnTo>
                  <a:lnTo>
                    <a:pt x="1056" y="48"/>
                  </a:lnTo>
                  <a:lnTo>
                    <a:pt x="1056" y="48"/>
                  </a:lnTo>
                  <a:lnTo>
                    <a:pt x="1056" y="48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6" y="45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59" y="45"/>
                  </a:lnTo>
                  <a:lnTo>
                    <a:pt x="1065" y="43"/>
                  </a:lnTo>
                  <a:lnTo>
                    <a:pt x="1068" y="43"/>
                  </a:lnTo>
                  <a:lnTo>
                    <a:pt x="1068" y="43"/>
                  </a:lnTo>
                  <a:close/>
                  <a:moveTo>
                    <a:pt x="1133" y="34"/>
                  </a:moveTo>
                  <a:lnTo>
                    <a:pt x="1133" y="34"/>
                  </a:lnTo>
                  <a:lnTo>
                    <a:pt x="1135" y="34"/>
                  </a:lnTo>
                  <a:lnTo>
                    <a:pt x="1137" y="36"/>
                  </a:lnTo>
                  <a:lnTo>
                    <a:pt x="1137" y="36"/>
                  </a:lnTo>
                  <a:lnTo>
                    <a:pt x="1137" y="36"/>
                  </a:lnTo>
                  <a:lnTo>
                    <a:pt x="1137" y="36"/>
                  </a:lnTo>
                  <a:lnTo>
                    <a:pt x="1137" y="36"/>
                  </a:lnTo>
                  <a:lnTo>
                    <a:pt x="1137" y="36"/>
                  </a:lnTo>
                  <a:lnTo>
                    <a:pt x="1137" y="36"/>
                  </a:lnTo>
                  <a:lnTo>
                    <a:pt x="1133" y="36"/>
                  </a:lnTo>
                  <a:lnTo>
                    <a:pt x="1130" y="36"/>
                  </a:lnTo>
                  <a:lnTo>
                    <a:pt x="1128" y="36"/>
                  </a:lnTo>
                  <a:lnTo>
                    <a:pt x="1126" y="36"/>
                  </a:lnTo>
                  <a:lnTo>
                    <a:pt x="1121" y="36"/>
                  </a:lnTo>
                  <a:lnTo>
                    <a:pt x="1124" y="36"/>
                  </a:lnTo>
                  <a:lnTo>
                    <a:pt x="1124" y="34"/>
                  </a:lnTo>
                  <a:lnTo>
                    <a:pt x="1128" y="34"/>
                  </a:lnTo>
                  <a:lnTo>
                    <a:pt x="1128" y="34"/>
                  </a:lnTo>
                  <a:lnTo>
                    <a:pt x="1130" y="34"/>
                  </a:lnTo>
                  <a:lnTo>
                    <a:pt x="1133" y="34"/>
                  </a:lnTo>
                  <a:close/>
                  <a:moveTo>
                    <a:pt x="1178" y="25"/>
                  </a:moveTo>
                  <a:lnTo>
                    <a:pt x="1180" y="25"/>
                  </a:lnTo>
                  <a:lnTo>
                    <a:pt x="1182" y="25"/>
                  </a:lnTo>
                  <a:lnTo>
                    <a:pt x="1182" y="27"/>
                  </a:lnTo>
                  <a:lnTo>
                    <a:pt x="1184" y="27"/>
                  </a:lnTo>
                  <a:lnTo>
                    <a:pt x="1187" y="27"/>
                  </a:lnTo>
                  <a:lnTo>
                    <a:pt x="1189" y="27"/>
                  </a:lnTo>
                  <a:lnTo>
                    <a:pt x="1187" y="27"/>
                  </a:lnTo>
                  <a:lnTo>
                    <a:pt x="1187" y="27"/>
                  </a:lnTo>
                  <a:lnTo>
                    <a:pt x="1187" y="30"/>
                  </a:lnTo>
                  <a:lnTo>
                    <a:pt x="1187" y="30"/>
                  </a:lnTo>
                  <a:lnTo>
                    <a:pt x="1187" y="30"/>
                  </a:lnTo>
                  <a:lnTo>
                    <a:pt x="1187" y="30"/>
                  </a:lnTo>
                  <a:lnTo>
                    <a:pt x="1187" y="30"/>
                  </a:lnTo>
                  <a:lnTo>
                    <a:pt x="1184" y="30"/>
                  </a:lnTo>
                  <a:lnTo>
                    <a:pt x="1184" y="30"/>
                  </a:lnTo>
                  <a:lnTo>
                    <a:pt x="1187" y="30"/>
                  </a:lnTo>
                  <a:lnTo>
                    <a:pt x="1189" y="32"/>
                  </a:lnTo>
                  <a:lnTo>
                    <a:pt x="1187" y="32"/>
                  </a:lnTo>
                  <a:lnTo>
                    <a:pt x="1187" y="32"/>
                  </a:lnTo>
                  <a:lnTo>
                    <a:pt x="1187" y="32"/>
                  </a:lnTo>
                  <a:lnTo>
                    <a:pt x="1187" y="32"/>
                  </a:lnTo>
                  <a:lnTo>
                    <a:pt x="1187" y="32"/>
                  </a:lnTo>
                  <a:lnTo>
                    <a:pt x="1187" y="32"/>
                  </a:lnTo>
                  <a:lnTo>
                    <a:pt x="1189" y="32"/>
                  </a:lnTo>
                  <a:lnTo>
                    <a:pt x="1189" y="32"/>
                  </a:lnTo>
                  <a:lnTo>
                    <a:pt x="1189" y="32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89" y="34"/>
                  </a:lnTo>
                  <a:lnTo>
                    <a:pt x="1193" y="34"/>
                  </a:lnTo>
                  <a:lnTo>
                    <a:pt x="1193" y="36"/>
                  </a:lnTo>
                  <a:lnTo>
                    <a:pt x="1193" y="36"/>
                  </a:lnTo>
                  <a:lnTo>
                    <a:pt x="1193" y="36"/>
                  </a:lnTo>
                  <a:lnTo>
                    <a:pt x="1193" y="36"/>
                  </a:lnTo>
                  <a:lnTo>
                    <a:pt x="1191" y="36"/>
                  </a:lnTo>
                  <a:lnTo>
                    <a:pt x="1189" y="36"/>
                  </a:lnTo>
                  <a:lnTo>
                    <a:pt x="1191" y="36"/>
                  </a:lnTo>
                  <a:lnTo>
                    <a:pt x="1191" y="36"/>
                  </a:lnTo>
                  <a:lnTo>
                    <a:pt x="1191" y="36"/>
                  </a:lnTo>
                  <a:lnTo>
                    <a:pt x="1191" y="36"/>
                  </a:lnTo>
                  <a:lnTo>
                    <a:pt x="1193" y="36"/>
                  </a:lnTo>
                  <a:lnTo>
                    <a:pt x="1193" y="36"/>
                  </a:lnTo>
                  <a:lnTo>
                    <a:pt x="1193" y="36"/>
                  </a:lnTo>
                  <a:lnTo>
                    <a:pt x="1200" y="39"/>
                  </a:lnTo>
                  <a:lnTo>
                    <a:pt x="1200" y="39"/>
                  </a:lnTo>
                  <a:lnTo>
                    <a:pt x="1200" y="39"/>
                  </a:lnTo>
                  <a:lnTo>
                    <a:pt x="1200" y="39"/>
                  </a:lnTo>
                  <a:lnTo>
                    <a:pt x="1200" y="39"/>
                  </a:lnTo>
                  <a:lnTo>
                    <a:pt x="1200" y="39"/>
                  </a:lnTo>
                  <a:lnTo>
                    <a:pt x="1202" y="39"/>
                  </a:lnTo>
                  <a:lnTo>
                    <a:pt x="1200" y="39"/>
                  </a:lnTo>
                  <a:lnTo>
                    <a:pt x="1200" y="39"/>
                  </a:lnTo>
                  <a:lnTo>
                    <a:pt x="1202" y="39"/>
                  </a:lnTo>
                  <a:lnTo>
                    <a:pt x="1202" y="39"/>
                  </a:lnTo>
                  <a:lnTo>
                    <a:pt x="1205" y="39"/>
                  </a:lnTo>
                  <a:lnTo>
                    <a:pt x="1205" y="36"/>
                  </a:lnTo>
                  <a:lnTo>
                    <a:pt x="1207" y="39"/>
                  </a:lnTo>
                  <a:lnTo>
                    <a:pt x="1209" y="39"/>
                  </a:lnTo>
                  <a:lnTo>
                    <a:pt x="1209" y="39"/>
                  </a:lnTo>
                  <a:lnTo>
                    <a:pt x="1209" y="39"/>
                  </a:lnTo>
                  <a:lnTo>
                    <a:pt x="1207" y="39"/>
                  </a:lnTo>
                  <a:lnTo>
                    <a:pt x="1207" y="39"/>
                  </a:lnTo>
                  <a:lnTo>
                    <a:pt x="1207" y="41"/>
                  </a:lnTo>
                  <a:lnTo>
                    <a:pt x="1209" y="39"/>
                  </a:lnTo>
                  <a:lnTo>
                    <a:pt x="1209" y="39"/>
                  </a:lnTo>
                  <a:lnTo>
                    <a:pt x="1207" y="41"/>
                  </a:lnTo>
                  <a:lnTo>
                    <a:pt x="1207" y="41"/>
                  </a:lnTo>
                  <a:lnTo>
                    <a:pt x="1207" y="41"/>
                  </a:lnTo>
                  <a:lnTo>
                    <a:pt x="1207" y="41"/>
                  </a:lnTo>
                  <a:lnTo>
                    <a:pt x="1205" y="41"/>
                  </a:lnTo>
                  <a:lnTo>
                    <a:pt x="1205" y="41"/>
                  </a:lnTo>
                  <a:lnTo>
                    <a:pt x="1205" y="41"/>
                  </a:lnTo>
                  <a:lnTo>
                    <a:pt x="1205" y="41"/>
                  </a:lnTo>
                  <a:lnTo>
                    <a:pt x="1205" y="43"/>
                  </a:lnTo>
                  <a:lnTo>
                    <a:pt x="1205" y="43"/>
                  </a:lnTo>
                  <a:lnTo>
                    <a:pt x="1209" y="43"/>
                  </a:lnTo>
                  <a:lnTo>
                    <a:pt x="1209" y="45"/>
                  </a:lnTo>
                  <a:lnTo>
                    <a:pt x="1209" y="45"/>
                  </a:lnTo>
                  <a:lnTo>
                    <a:pt x="1211" y="45"/>
                  </a:lnTo>
                  <a:lnTo>
                    <a:pt x="1211" y="45"/>
                  </a:lnTo>
                  <a:lnTo>
                    <a:pt x="1211" y="43"/>
                  </a:lnTo>
                  <a:lnTo>
                    <a:pt x="1211" y="43"/>
                  </a:lnTo>
                  <a:lnTo>
                    <a:pt x="1211" y="43"/>
                  </a:lnTo>
                  <a:lnTo>
                    <a:pt x="1211" y="43"/>
                  </a:lnTo>
                  <a:lnTo>
                    <a:pt x="1214" y="43"/>
                  </a:lnTo>
                  <a:lnTo>
                    <a:pt x="1214" y="45"/>
                  </a:lnTo>
                  <a:lnTo>
                    <a:pt x="1216" y="45"/>
                  </a:lnTo>
                  <a:lnTo>
                    <a:pt x="1216" y="45"/>
                  </a:lnTo>
                  <a:lnTo>
                    <a:pt x="1214" y="45"/>
                  </a:lnTo>
                  <a:lnTo>
                    <a:pt x="1214" y="43"/>
                  </a:lnTo>
                  <a:lnTo>
                    <a:pt x="1214" y="43"/>
                  </a:lnTo>
                  <a:lnTo>
                    <a:pt x="1214" y="43"/>
                  </a:lnTo>
                  <a:lnTo>
                    <a:pt x="1214" y="43"/>
                  </a:lnTo>
                  <a:lnTo>
                    <a:pt x="1214" y="43"/>
                  </a:lnTo>
                  <a:lnTo>
                    <a:pt x="1214" y="43"/>
                  </a:lnTo>
                  <a:lnTo>
                    <a:pt x="1214" y="43"/>
                  </a:lnTo>
                  <a:lnTo>
                    <a:pt x="1216" y="43"/>
                  </a:lnTo>
                  <a:lnTo>
                    <a:pt x="1216" y="43"/>
                  </a:lnTo>
                  <a:lnTo>
                    <a:pt x="1211" y="43"/>
                  </a:lnTo>
                  <a:lnTo>
                    <a:pt x="1211" y="43"/>
                  </a:lnTo>
                  <a:lnTo>
                    <a:pt x="1211" y="43"/>
                  </a:lnTo>
                  <a:lnTo>
                    <a:pt x="1211" y="41"/>
                  </a:lnTo>
                  <a:lnTo>
                    <a:pt x="1211" y="41"/>
                  </a:lnTo>
                  <a:lnTo>
                    <a:pt x="1211" y="41"/>
                  </a:lnTo>
                  <a:lnTo>
                    <a:pt x="1211" y="41"/>
                  </a:lnTo>
                  <a:lnTo>
                    <a:pt x="1211" y="41"/>
                  </a:lnTo>
                  <a:lnTo>
                    <a:pt x="1211" y="41"/>
                  </a:lnTo>
                  <a:lnTo>
                    <a:pt x="1214" y="41"/>
                  </a:lnTo>
                  <a:lnTo>
                    <a:pt x="1214" y="41"/>
                  </a:lnTo>
                  <a:lnTo>
                    <a:pt x="1214" y="41"/>
                  </a:lnTo>
                  <a:lnTo>
                    <a:pt x="1214" y="41"/>
                  </a:lnTo>
                  <a:lnTo>
                    <a:pt x="1216" y="39"/>
                  </a:lnTo>
                  <a:lnTo>
                    <a:pt x="1216" y="39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27" y="39"/>
                  </a:lnTo>
                  <a:lnTo>
                    <a:pt x="1227" y="39"/>
                  </a:lnTo>
                  <a:lnTo>
                    <a:pt x="1227" y="41"/>
                  </a:lnTo>
                  <a:lnTo>
                    <a:pt x="1227" y="41"/>
                  </a:lnTo>
                  <a:lnTo>
                    <a:pt x="1227" y="41"/>
                  </a:lnTo>
                  <a:lnTo>
                    <a:pt x="1225" y="41"/>
                  </a:lnTo>
                  <a:lnTo>
                    <a:pt x="1225" y="41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5" y="43"/>
                  </a:lnTo>
                  <a:lnTo>
                    <a:pt x="1223" y="43"/>
                  </a:lnTo>
                  <a:lnTo>
                    <a:pt x="1223" y="43"/>
                  </a:lnTo>
                  <a:lnTo>
                    <a:pt x="1223" y="43"/>
                  </a:lnTo>
                  <a:lnTo>
                    <a:pt x="1223" y="43"/>
                  </a:lnTo>
                  <a:lnTo>
                    <a:pt x="1218" y="43"/>
                  </a:lnTo>
                  <a:lnTo>
                    <a:pt x="1216" y="43"/>
                  </a:lnTo>
                  <a:lnTo>
                    <a:pt x="1216" y="43"/>
                  </a:lnTo>
                  <a:lnTo>
                    <a:pt x="1218" y="43"/>
                  </a:lnTo>
                  <a:lnTo>
                    <a:pt x="1218" y="43"/>
                  </a:lnTo>
                  <a:lnTo>
                    <a:pt x="1216" y="45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18" y="45"/>
                  </a:lnTo>
                  <a:lnTo>
                    <a:pt x="1220" y="45"/>
                  </a:lnTo>
                  <a:lnTo>
                    <a:pt x="1227" y="45"/>
                  </a:lnTo>
                  <a:lnTo>
                    <a:pt x="1227" y="45"/>
                  </a:lnTo>
                  <a:lnTo>
                    <a:pt x="1225" y="45"/>
                  </a:lnTo>
                  <a:lnTo>
                    <a:pt x="1225" y="45"/>
                  </a:lnTo>
                  <a:lnTo>
                    <a:pt x="1227" y="45"/>
                  </a:lnTo>
                  <a:lnTo>
                    <a:pt x="1227" y="48"/>
                  </a:lnTo>
                  <a:lnTo>
                    <a:pt x="1227" y="48"/>
                  </a:lnTo>
                  <a:lnTo>
                    <a:pt x="1227" y="48"/>
                  </a:lnTo>
                  <a:lnTo>
                    <a:pt x="1225" y="48"/>
                  </a:lnTo>
                  <a:lnTo>
                    <a:pt x="1225" y="48"/>
                  </a:lnTo>
                  <a:lnTo>
                    <a:pt x="1225" y="48"/>
                  </a:lnTo>
                  <a:lnTo>
                    <a:pt x="1223" y="48"/>
                  </a:lnTo>
                  <a:lnTo>
                    <a:pt x="1223" y="48"/>
                  </a:lnTo>
                  <a:lnTo>
                    <a:pt x="1220" y="48"/>
                  </a:lnTo>
                  <a:lnTo>
                    <a:pt x="1220" y="48"/>
                  </a:lnTo>
                  <a:lnTo>
                    <a:pt x="1218" y="48"/>
                  </a:lnTo>
                  <a:lnTo>
                    <a:pt x="1218" y="48"/>
                  </a:lnTo>
                  <a:lnTo>
                    <a:pt x="1218" y="48"/>
                  </a:lnTo>
                  <a:lnTo>
                    <a:pt x="1220" y="48"/>
                  </a:lnTo>
                  <a:lnTo>
                    <a:pt x="1225" y="48"/>
                  </a:lnTo>
                  <a:lnTo>
                    <a:pt x="1227" y="48"/>
                  </a:lnTo>
                  <a:lnTo>
                    <a:pt x="1227" y="48"/>
                  </a:lnTo>
                  <a:lnTo>
                    <a:pt x="1227" y="48"/>
                  </a:lnTo>
                  <a:lnTo>
                    <a:pt x="1223" y="50"/>
                  </a:lnTo>
                  <a:lnTo>
                    <a:pt x="1223" y="50"/>
                  </a:lnTo>
                  <a:lnTo>
                    <a:pt x="1223" y="50"/>
                  </a:lnTo>
                  <a:lnTo>
                    <a:pt x="1223" y="50"/>
                  </a:lnTo>
                  <a:lnTo>
                    <a:pt x="1223" y="50"/>
                  </a:lnTo>
                  <a:lnTo>
                    <a:pt x="1223" y="50"/>
                  </a:lnTo>
                  <a:lnTo>
                    <a:pt x="1220" y="52"/>
                  </a:lnTo>
                  <a:lnTo>
                    <a:pt x="1220" y="52"/>
                  </a:lnTo>
                  <a:lnTo>
                    <a:pt x="1220" y="52"/>
                  </a:lnTo>
                  <a:lnTo>
                    <a:pt x="1218" y="52"/>
                  </a:lnTo>
                  <a:lnTo>
                    <a:pt x="1218" y="52"/>
                  </a:lnTo>
                  <a:lnTo>
                    <a:pt x="1218" y="52"/>
                  </a:lnTo>
                  <a:lnTo>
                    <a:pt x="1214" y="52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4" y="54"/>
                  </a:lnTo>
                  <a:lnTo>
                    <a:pt x="1216" y="54"/>
                  </a:lnTo>
                  <a:lnTo>
                    <a:pt x="1216" y="54"/>
                  </a:lnTo>
                  <a:lnTo>
                    <a:pt x="1218" y="54"/>
                  </a:lnTo>
                  <a:lnTo>
                    <a:pt x="1218" y="52"/>
                  </a:lnTo>
                  <a:lnTo>
                    <a:pt x="1218" y="52"/>
                  </a:lnTo>
                  <a:lnTo>
                    <a:pt x="1220" y="52"/>
                  </a:lnTo>
                  <a:lnTo>
                    <a:pt x="1223" y="52"/>
                  </a:lnTo>
                  <a:lnTo>
                    <a:pt x="1223" y="52"/>
                  </a:lnTo>
                  <a:lnTo>
                    <a:pt x="1223" y="54"/>
                  </a:lnTo>
                  <a:lnTo>
                    <a:pt x="1220" y="54"/>
                  </a:lnTo>
                  <a:lnTo>
                    <a:pt x="1220" y="54"/>
                  </a:lnTo>
                  <a:lnTo>
                    <a:pt x="1223" y="54"/>
                  </a:lnTo>
                  <a:lnTo>
                    <a:pt x="1223" y="54"/>
                  </a:lnTo>
                  <a:lnTo>
                    <a:pt x="1223" y="54"/>
                  </a:lnTo>
                  <a:lnTo>
                    <a:pt x="1223" y="54"/>
                  </a:lnTo>
                  <a:lnTo>
                    <a:pt x="1223" y="54"/>
                  </a:lnTo>
                  <a:lnTo>
                    <a:pt x="1223" y="52"/>
                  </a:lnTo>
                  <a:lnTo>
                    <a:pt x="1223" y="54"/>
                  </a:lnTo>
                  <a:lnTo>
                    <a:pt x="1223" y="52"/>
                  </a:lnTo>
                  <a:lnTo>
                    <a:pt x="1223" y="52"/>
                  </a:lnTo>
                  <a:lnTo>
                    <a:pt x="1223" y="52"/>
                  </a:lnTo>
                  <a:lnTo>
                    <a:pt x="1225" y="52"/>
                  </a:lnTo>
                  <a:lnTo>
                    <a:pt x="1227" y="52"/>
                  </a:lnTo>
                  <a:lnTo>
                    <a:pt x="1229" y="52"/>
                  </a:lnTo>
                  <a:lnTo>
                    <a:pt x="1232" y="52"/>
                  </a:lnTo>
                  <a:lnTo>
                    <a:pt x="1232" y="52"/>
                  </a:lnTo>
                  <a:lnTo>
                    <a:pt x="1232" y="52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9" y="54"/>
                  </a:lnTo>
                  <a:lnTo>
                    <a:pt x="1227" y="54"/>
                  </a:lnTo>
                  <a:lnTo>
                    <a:pt x="1229" y="54"/>
                  </a:lnTo>
                  <a:lnTo>
                    <a:pt x="1229" y="57"/>
                  </a:lnTo>
                  <a:lnTo>
                    <a:pt x="1229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2" y="54"/>
                  </a:lnTo>
                  <a:lnTo>
                    <a:pt x="1234" y="54"/>
                  </a:lnTo>
                  <a:lnTo>
                    <a:pt x="1234" y="54"/>
                  </a:lnTo>
                  <a:lnTo>
                    <a:pt x="1234" y="52"/>
                  </a:lnTo>
                  <a:lnTo>
                    <a:pt x="1236" y="52"/>
                  </a:lnTo>
                  <a:lnTo>
                    <a:pt x="1238" y="52"/>
                  </a:lnTo>
                  <a:lnTo>
                    <a:pt x="1238" y="52"/>
                  </a:lnTo>
                  <a:lnTo>
                    <a:pt x="1238" y="52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4"/>
                  </a:lnTo>
                  <a:lnTo>
                    <a:pt x="1238" y="57"/>
                  </a:lnTo>
                  <a:lnTo>
                    <a:pt x="1238" y="57"/>
                  </a:lnTo>
                  <a:lnTo>
                    <a:pt x="1238" y="57"/>
                  </a:lnTo>
                  <a:lnTo>
                    <a:pt x="1238" y="57"/>
                  </a:lnTo>
                  <a:lnTo>
                    <a:pt x="1241" y="57"/>
                  </a:lnTo>
                  <a:lnTo>
                    <a:pt x="1241" y="57"/>
                  </a:lnTo>
                  <a:lnTo>
                    <a:pt x="1241" y="57"/>
                  </a:lnTo>
                  <a:lnTo>
                    <a:pt x="1241" y="57"/>
                  </a:lnTo>
                  <a:lnTo>
                    <a:pt x="1241" y="59"/>
                  </a:lnTo>
                  <a:lnTo>
                    <a:pt x="1241" y="59"/>
                  </a:lnTo>
                  <a:lnTo>
                    <a:pt x="1241" y="59"/>
                  </a:lnTo>
                  <a:lnTo>
                    <a:pt x="1236" y="59"/>
                  </a:lnTo>
                  <a:lnTo>
                    <a:pt x="1236" y="59"/>
                  </a:lnTo>
                  <a:lnTo>
                    <a:pt x="1234" y="59"/>
                  </a:lnTo>
                  <a:lnTo>
                    <a:pt x="1234" y="59"/>
                  </a:lnTo>
                  <a:lnTo>
                    <a:pt x="1234" y="59"/>
                  </a:lnTo>
                  <a:lnTo>
                    <a:pt x="1232" y="59"/>
                  </a:lnTo>
                  <a:lnTo>
                    <a:pt x="1232" y="61"/>
                  </a:lnTo>
                  <a:lnTo>
                    <a:pt x="1229" y="61"/>
                  </a:lnTo>
                  <a:lnTo>
                    <a:pt x="1229" y="61"/>
                  </a:lnTo>
                  <a:lnTo>
                    <a:pt x="1216" y="61"/>
                  </a:lnTo>
                  <a:lnTo>
                    <a:pt x="1216" y="61"/>
                  </a:lnTo>
                  <a:lnTo>
                    <a:pt x="1216" y="63"/>
                  </a:lnTo>
                  <a:lnTo>
                    <a:pt x="1214" y="63"/>
                  </a:lnTo>
                  <a:lnTo>
                    <a:pt x="1214" y="63"/>
                  </a:lnTo>
                  <a:lnTo>
                    <a:pt x="1214" y="63"/>
                  </a:lnTo>
                  <a:lnTo>
                    <a:pt x="1214" y="63"/>
                  </a:lnTo>
                  <a:lnTo>
                    <a:pt x="1214" y="63"/>
                  </a:lnTo>
                  <a:lnTo>
                    <a:pt x="1214" y="63"/>
                  </a:lnTo>
                  <a:lnTo>
                    <a:pt x="1211" y="63"/>
                  </a:lnTo>
                  <a:lnTo>
                    <a:pt x="1211" y="63"/>
                  </a:lnTo>
                  <a:lnTo>
                    <a:pt x="1209" y="63"/>
                  </a:lnTo>
                  <a:lnTo>
                    <a:pt x="1209" y="63"/>
                  </a:lnTo>
                  <a:lnTo>
                    <a:pt x="1209" y="63"/>
                  </a:lnTo>
                  <a:lnTo>
                    <a:pt x="1209" y="61"/>
                  </a:lnTo>
                  <a:lnTo>
                    <a:pt x="1209" y="61"/>
                  </a:lnTo>
                  <a:lnTo>
                    <a:pt x="1209" y="61"/>
                  </a:lnTo>
                  <a:lnTo>
                    <a:pt x="1209" y="61"/>
                  </a:lnTo>
                  <a:lnTo>
                    <a:pt x="1209" y="61"/>
                  </a:lnTo>
                  <a:lnTo>
                    <a:pt x="1209" y="63"/>
                  </a:lnTo>
                  <a:lnTo>
                    <a:pt x="1209" y="63"/>
                  </a:lnTo>
                  <a:lnTo>
                    <a:pt x="1209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7" y="63"/>
                  </a:lnTo>
                  <a:lnTo>
                    <a:pt x="1205" y="66"/>
                  </a:lnTo>
                  <a:lnTo>
                    <a:pt x="1202" y="66"/>
                  </a:lnTo>
                  <a:lnTo>
                    <a:pt x="1200" y="66"/>
                  </a:lnTo>
                  <a:lnTo>
                    <a:pt x="1200" y="66"/>
                  </a:lnTo>
                  <a:lnTo>
                    <a:pt x="1198" y="68"/>
                  </a:lnTo>
                  <a:lnTo>
                    <a:pt x="1196" y="68"/>
                  </a:lnTo>
                  <a:lnTo>
                    <a:pt x="1196" y="68"/>
                  </a:lnTo>
                  <a:lnTo>
                    <a:pt x="1196" y="68"/>
                  </a:lnTo>
                  <a:lnTo>
                    <a:pt x="1196" y="68"/>
                  </a:lnTo>
                  <a:lnTo>
                    <a:pt x="1196" y="68"/>
                  </a:lnTo>
                  <a:lnTo>
                    <a:pt x="1193" y="68"/>
                  </a:lnTo>
                  <a:lnTo>
                    <a:pt x="1193" y="68"/>
                  </a:lnTo>
                  <a:lnTo>
                    <a:pt x="1193" y="70"/>
                  </a:lnTo>
                  <a:lnTo>
                    <a:pt x="1193" y="70"/>
                  </a:lnTo>
                  <a:lnTo>
                    <a:pt x="1191" y="70"/>
                  </a:lnTo>
                  <a:lnTo>
                    <a:pt x="1191" y="68"/>
                  </a:lnTo>
                  <a:lnTo>
                    <a:pt x="1191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91" y="66"/>
                  </a:lnTo>
                  <a:lnTo>
                    <a:pt x="1191" y="66"/>
                  </a:lnTo>
                  <a:lnTo>
                    <a:pt x="1191" y="66"/>
                  </a:lnTo>
                  <a:lnTo>
                    <a:pt x="1193" y="66"/>
                  </a:lnTo>
                  <a:lnTo>
                    <a:pt x="1193" y="63"/>
                  </a:lnTo>
                  <a:lnTo>
                    <a:pt x="1193" y="63"/>
                  </a:lnTo>
                  <a:lnTo>
                    <a:pt x="1193" y="63"/>
                  </a:lnTo>
                  <a:lnTo>
                    <a:pt x="1193" y="63"/>
                  </a:lnTo>
                  <a:lnTo>
                    <a:pt x="1193" y="63"/>
                  </a:lnTo>
                  <a:lnTo>
                    <a:pt x="1196" y="63"/>
                  </a:lnTo>
                  <a:lnTo>
                    <a:pt x="1196" y="63"/>
                  </a:lnTo>
                  <a:lnTo>
                    <a:pt x="1198" y="63"/>
                  </a:lnTo>
                  <a:lnTo>
                    <a:pt x="1198" y="63"/>
                  </a:lnTo>
                  <a:lnTo>
                    <a:pt x="1198" y="63"/>
                  </a:lnTo>
                  <a:lnTo>
                    <a:pt x="1198" y="63"/>
                  </a:lnTo>
                  <a:lnTo>
                    <a:pt x="1198" y="63"/>
                  </a:lnTo>
                  <a:lnTo>
                    <a:pt x="1198" y="63"/>
                  </a:lnTo>
                  <a:lnTo>
                    <a:pt x="1198" y="61"/>
                  </a:lnTo>
                  <a:lnTo>
                    <a:pt x="1200" y="61"/>
                  </a:lnTo>
                  <a:lnTo>
                    <a:pt x="1200" y="61"/>
                  </a:lnTo>
                  <a:lnTo>
                    <a:pt x="1200" y="61"/>
                  </a:lnTo>
                  <a:lnTo>
                    <a:pt x="1198" y="61"/>
                  </a:lnTo>
                  <a:lnTo>
                    <a:pt x="1198" y="61"/>
                  </a:lnTo>
                  <a:lnTo>
                    <a:pt x="1198" y="63"/>
                  </a:lnTo>
                  <a:lnTo>
                    <a:pt x="1196" y="63"/>
                  </a:lnTo>
                  <a:lnTo>
                    <a:pt x="1196" y="63"/>
                  </a:lnTo>
                  <a:lnTo>
                    <a:pt x="1196" y="63"/>
                  </a:lnTo>
                  <a:lnTo>
                    <a:pt x="1193" y="63"/>
                  </a:lnTo>
                  <a:lnTo>
                    <a:pt x="1193" y="63"/>
                  </a:lnTo>
                  <a:lnTo>
                    <a:pt x="1191" y="63"/>
                  </a:lnTo>
                  <a:lnTo>
                    <a:pt x="1191" y="63"/>
                  </a:lnTo>
                  <a:lnTo>
                    <a:pt x="1191" y="63"/>
                  </a:lnTo>
                  <a:lnTo>
                    <a:pt x="1191" y="63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6"/>
                  </a:lnTo>
                  <a:lnTo>
                    <a:pt x="1189" y="66"/>
                  </a:lnTo>
                  <a:lnTo>
                    <a:pt x="1189" y="66"/>
                  </a:lnTo>
                  <a:lnTo>
                    <a:pt x="1187" y="66"/>
                  </a:lnTo>
                  <a:lnTo>
                    <a:pt x="1187" y="68"/>
                  </a:lnTo>
                  <a:lnTo>
                    <a:pt x="1187" y="68"/>
                  </a:lnTo>
                  <a:lnTo>
                    <a:pt x="1187" y="68"/>
                  </a:lnTo>
                  <a:lnTo>
                    <a:pt x="1187" y="68"/>
                  </a:lnTo>
                  <a:lnTo>
                    <a:pt x="1184" y="68"/>
                  </a:lnTo>
                  <a:lnTo>
                    <a:pt x="1182" y="68"/>
                  </a:lnTo>
                  <a:lnTo>
                    <a:pt x="1184" y="68"/>
                  </a:lnTo>
                  <a:lnTo>
                    <a:pt x="1184" y="68"/>
                  </a:lnTo>
                  <a:lnTo>
                    <a:pt x="1184" y="68"/>
                  </a:lnTo>
                  <a:lnTo>
                    <a:pt x="1184" y="68"/>
                  </a:lnTo>
                  <a:lnTo>
                    <a:pt x="1184" y="68"/>
                  </a:lnTo>
                  <a:lnTo>
                    <a:pt x="1187" y="68"/>
                  </a:lnTo>
                  <a:lnTo>
                    <a:pt x="1187" y="68"/>
                  </a:lnTo>
                  <a:lnTo>
                    <a:pt x="1189" y="70"/>
                  </a:lnTo>
                  <a:lnTo>
                    <a:pt x="1189" y="70"/>
                  </a:lnTo>
                  <a:lnTo>
                    <a:pt x="1189" y="70"/>
                  </a:lnTo>
                  <a:lnTo>
                    <a:pt x="1187" y="70"/>
                  </a:lnTo>
                  <a:lnTo>
                    <a:pt x="1187" y="70"/>
                  </a:lnTo>
                  <a:lnTo>
                    <a:pt x="1184" y="72"/>
                  </a:lnTo>
                  <a:lnTo>
                    <a:pt x="1184" y="72"/>
                  </a:lnTo>
                  <a:lnTo>
                    <a:pt x="1182" y="72"/>
                  </a:lnTo>
                  <a:lnTo>
                    <a:pt x="1180" y="72"/>
                  </a:lnTo>
                  <a:lnTo>
                    <a:pt x="1180" y="70"/>
                  </a:lnTo>
                  <a:lnTo>
                    <a:pt x="1180" y="70"/>
                  </a:lnTo>
                  <a:lnTo>
                    <a:pt x="1180" y="70"/>
                  </a:lnTo>
                  <a:lnTo>
                    <a:pt x="1180" y="70"/>
                  </a:lnTo>
                  <a:lnTo>
                    <a:pt x="1180" y="70"/>
                  </a:lnTo>
                  <a:lnTo>
                    <a:pt x="1180" y="70"/>
                  </a:lnTo>
                  <a:lnTo>
                    <a:pt x="1178" y="70"/>
                  </a:lnTo>
                  <a:lnTo>
                    <a:pt x="1178" y="70"/>
                  </a:lnTo>
                  <a:lnTo>
                    <a:pt x="1175" y="70"/>
                  </a:lnTo>
                  <a:lnTo>
                    <a:pt x="1178" y="70"/>
                  </a:lnTo>
                  <a:lnTo>
                    <a:pt x="1175" y="70"/>
                  </a:lnTo>
                  <a:lnTo>
                    <a:pt x="1175" y="70"/>
                  </a:lnTo>
                  <a:lnTo>
                    <a:pt x="1175" y="70"/>
                  </a:lnTo>
                  <a:lnTo>
                    <a:pt x="1175" y="70"/>
                  </a:lnTo>
                  <a:lnTo>
                    <a:pt x="1175" y="70"/>
                  </a:lnTo>
                  <a:lnTo>
                    <a:pt x="1175" y="70"/>
                  </a:lnTo>
                  <a:lnTo>
                    <a:pt x="1175" y="72"/>
                  </a:lnTo>
                  <a:lnTo>
                    <a:pt x="1175" y="72"/>
                  </a:lnTo>
                  <a:lnTo>
                    <a:pt x="1175" y="72"/>
                  </a:lnTo>
                  <a:lnTo>
                    <a:pt x="1175" y="72"/>
                  </a:lnTo>
                  <a:lnTo>
                    <a:pt x="1175" y="72"/>
                  </a:lnTo>
                  <a:lnTo>
                    <a:pt x="1175" y="75"/>
                  </a:lnTo>
                  <a:lnTo>
                    <a:pt x="1173" y="75"/>
                  </a:lnTo>
                  <a:lnTo>
                    <a:pt x="1173" y="75"/>
                  </a:lnTo>
                  <a:lnTo>
                    <a:pt x="1171" y="75"/>
                  </a:lnTo>
                  <a:lnTo>
                    <a:pt x="1171" y="75"/>
                  </a:lnTo>
                  <a:lnTo>
                    <a:pt x="1171" y="75"/>
                  </a:lnTo>
                  <a:lnTo>
                    <a:pt x="1171" y="75"/>
                  </a:lnTo>
                  <a:lnTo>
                    <a:pt x="1171" y="75"/>
                  </a:lnTo>
                  <a:lnTo>
                    <a:pt x="1171" y="77"/>
                  </a:lnTo>
                  <a:lnTo>
                    <a:pt x="1169" y="77"/>
                  </a:lnTo>
                  <a:lnTo>
                    <a:pt x="1169" y="77"/>
                  </a:lnTo>
                  <a:lnTo>
                    <a:pt x="1166" y="77"/>
                  </a:lnTo>
                  <a:lnTo>
                    <a:pt x="1166" y="77"/>
                  </a:lnTo>
                  <a:lnTo>
                    <a:pt x="1164" y="77"/>
                  </a:lnTo>
                  <a:lnTo>
                    <a:pt x="1164" y="77"/>
                  </a:lnTo>
                  <a:lnTo>
                    <a:pt x="1164" y="75"/>
                  </a:lnTo>
                  <a:lnTo>
                    <a:pt x="1164" y="75"/>
                  </a:lnTo>
                  <a:lnTo>
                    <a:pt x="1164" y="75"/>
                  </a:lnTo>
                  <a:lnTo>
                    <a:pt x="1164" y="75"/>
                  </a:lnTo>
                  <a:lnTo>
                    <a:pt x="1164" y="75"/>
                  </a:lnTo>
                  <a:lnTo>
                    <a:pt x="1164" y="75"/>
                  </a:lnTo>
                  <a:lnTo>
                    <a:pt x="1164" y="75"/>
                  </a:lnTo>
                  <a:lnTo>
                    <a:pt x="1162" y="75"/>
                  </a:lnTo>
                  <a:lnTo>
                    <a:pt x="1162" y="75"/>
                  </a:lnTo>
                  <a:lnTo>
                    <a:pt x="1162" y="72"/>
                  </a:lnTo>
                  <a:lnTo>
                    <a:pt x="1162" y="72"/>
                  </a:lnTo>
                  <a:lnTo>
                    <a:pt x="1162" y="72"/>
                  </a:lnTo>
                  <a:lnTo>
                    <a:pt x="1162" y="72"/>
                  </a:lnTo>
                  <a:lnTo>
                    <a:pt x="1162" y="72"/>
                  </a:lnTo>
                  <a:lnTo>
                    <a:pt x="1160" y="72"/>
                  </a:lnTo>
                  <a:lnTo>
                    <a:pt x="1160" y="72"/>
                  </a:lnTo>
                  <a:lnTo>
                    <a:pt x="1162" y="70"/>
                  </a:lnTo>
                  <a:lnTo>
                    <a:pt x="1162" y="70"/>
                  </a:lnTo>
                  <a:lnTo>
                    <a:pt x="1160" y="70"/>
                  </a:lnTo>
                  <a:lnTo>
                    <a:pt x="1160" y="70"/>
                  </a:lnTo>
                  <a:lnTo>
                    <a:pt x="1162" y="70"/>
                  </a:lnTo>
                  <a:lnTo>
                    <a:pt x="1160" y="70"/>
                  </a:lnTo>
                  <a:lnTo>
                    <a:pt x="1160" y="70"/>
                  </a:lnTo>
                  <a:lnTo>
                    <a:pt x="1160" y="70"/>
                  </a:lnTo>
                  <a:lnTo>
                    <a:pt x="1160" y="70"/>
                  </a:lnTo>
                  <a:lnTo>
                    <a:pt x="1160" y="70"/>
                  </a:lnTo>
                  <a:lnTo>
                    <a:pt x="1157" y="70"/>
                  </a:lnTo>
                  <a:lnTo>
                    <a:pt x="1157" y="70"/>
                  </a:lnTo>
                  <a:lnTo>
                    <a:pt x="1157" y="70"/>
                  </a:lnTo>
                  <a:lnTo>
                    <a:pt x="1157" y="70"/>
                  </a:lnTo>
                  <a:lnTo>
                    <a:pt x="1157" y="70"/>
                  </a:lnTo>
                  <a:lnTo>
                    <a:pt x="1157" y="70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57" y="72"/>
                  </a:lnTo>
                  <a:lnTo>
                    <a:pt x="1160" y="72"/>
                  </a:lnTo>
                  <a:lnTo>
                    <a:pt x="1160" y="75"/>
                  </a:lnTo>
                  <a:lnTo>
                    <a:pt x="1160" y="75"/>
                  </a:lnTo>
                  <a:lnTo>
                    <a:pt x="1160" y="77"/>
                  </a:lnTo>
                  <a:lnTo>
                    <a:pt x="1160" y="77"/>
                  </a:lnTo>
                  <a:lnTo>
                    <a:pt x="1160" y="77"/>
                  </a:lnTo>
                  <a:lnTo>
                    <a:pt x="1160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7" y="77"/>
                  </a:lnTo>
                  <a:lnTo>
                    <a:pt x="1153" y="77"/>
                  </a:lnTo>
                  <a:lnTo>
                    <a:pt x="1153" y="77"/>
                  </a:lnTo>
                  <a:lnTo>
                    <a:pt x="1153" y="77"/>
                  </a:lnTo>
                  <a:lnTo>
                    <a:pt x="1153" y="75"/>
                  </a:lnTo>
                  <a:lnTo>
                    <a:pt x="1153" y="75"/>
                  </a:lnTo>
                  <a:lnTo>
                    <a:pt x="1153" y="75"/>
                  </a:lnTo>
                  <a:lnTo>
                    <a:pt x="1151" y="75"/>
                  </a:lnTo>
                  <a:lnTo>
                    <a:pt x="1146" y="75"/>
                  </a:lnTo>
                  <a:lnTo>
                    <a:pt x="1146" y="75"/>
                  </a:lnTo>
                  <a:lnTo>
                    <a:pt x="1144" y="75"/>
                  </a:lnTo>
                  <a:lnTo>
                    <a:pt x="1144" y="75"/>
                  </a:lnTo>
                  <a:lnTo>
                    <a:pt x="1146" y="75"/>
                  </a:lnTo>
                  <a:lnTo>
                    <a:pt x="1148" y="75"/>
                  </a:lnTo>
                  <a:lnTo>
                    <a:pt x="1148" y="75"/>
                  </a:lnTo>
                  <a:lnTo>
                    <a:pt x="1148" y="75"/>
                  </a:lnTo>
                  <a:lnTo>
                    <a:pt x="1148" y="75"/>
                  </a:lnTo>
                  <a:lnTo>
                    <a:pt x="1148" y="77"/>
                  </a:lnTo>
                  <a:lnTo>
                    <a:pt x="1148" y="77"/>
                  </a:lnTo>
                  <a:lnTo>
                    <a:pt x="1148" y="77"/>
                  </a:lnTo>
                  <a:lnTo>
                    <a:pt x="1148" y="77"/>
                  </a:lnTo>
                  <a:lnTo>
                    <a:pt x="1148" y="77"/>
                  </a:lnTo>
                  <a:lnTo>
                    <a:pt x="1148" y="77"/>
                  </a:lnTo>
                  <a:lnTo>
                    <a:pt x="1146" y="77"/>
                  </a:lnTo>
                  <a:lnTo>
                    <a:pt x="1146" y="77"/>
                  </a:lnTo>
                  <a:lnTo>
                    <a:pt x="1144" y="77"/>
                  </a:lnTo>
                  <a:lnTo>
                    <a:pt x="1139" y="77"/>
                  </a:lnTo>
                  <a:lnTo>
                    <a:pt x="1135" y="77"/>
                  </a:lnTo>
                  <a:lnTo>
                    <a:pt x="1130" y="77"/>
                  </a:lnTo>
                  <a:lnTo>
                    <a:pt x="1128" y="77"/>
                  </a:lnTo>
                  <a:lnTo>
                    <a:pt x="1128" y="77"/>
                  </a:lnTo>
                  <a:lnTo>
                    <a:pt x="1128" y="77"/>
                  </a:lnTo>
                  <a:lnTo>
                    <a:pt x="1126" y="77"/>
                  </a:lnTo>
                  <a:lnTo>
                    <a:pt x="1126" y="77"/>
                  </a:lnTo>
                  <a:lnTo>
                    <a:pt x="1126" y="77"/>
                  </a:lnTo>
                  <a:lnTo>
                    <a:pt x="1126" y="77"/>
                  </a:lnTo>
                  <a:lnTo>
                    <a:pt x="1124" y="77"/>
                  </a:lnTo>
                  <a:lnTo>
                    <a:pt x="1124" y="77"/>
                  </a:lnTo>
                  <a:lnTo>
                    <a:pt x="1124" y="75"/>
                  </a:lnTo>
                  <a:lnTo>
                    <a:pt x="1124" y="75"/>
                  </a:lnTo>
                  <a:lnTo>
                    <a:pt x="1124" y="75"/>
                  </a:lnTo>
                  <a:lnTo>
                    <a:pt x="1124" y="75"/>
                  </a:lnTo>
                  <a:lnTo>
                    <a:pt x="1121" y="75"/>
                  </a:lnTo>
                  <a:lnTo>
                    <a:pt x="1124" y="75"/>
                  </a:lnTo>
                  <a:lnTo>
                    <a:pt x="1124" y="75"/>
                  </a:lnTo>
                  <a:lnTo>
                    <a:pt x="1126" y="75"/>
                  </a:lnTo>
                  <a:lnTo>
                    <a:pt x="1126" y="75"/>
                  </a:lnTo>
                  <a:lnTo>
                    <a:pt x="1124" y="75"/>
                  </a:lnTo>
                  <a:lnTo>
                    <a:pt x="1121" y="75"/>
                  </a:lnTo>
                  <a:lnTo>
                    <a:pt x="1121" y="75"/>
                  </a:lnTo>
                  <a:lnTo>
                    <a:pt x="1119" y="75"/>
                  </a:lnTo>
                  <a:lnTo>
                    <a:pt x="1119" y="75"/>
                  </a:lnTo>
                  <a:lnTo>
                    <a:pt x="1119" y="75"/>
                  </a:lnTo>
                  <a:lnTo>
                    <a:pt x="1119" y="75"/>
                  </a:lnTo>
                  <a:lnTo>
                    <a:pt x="1119" y="75"/>
                  </a:lnTo>
                  <a:lnTo>
                    <a:pt x="1119" y="72"/>
                  </a:lnTo>
                  <a:lnTo>
                    <a:pt x="1117" y="72"/>
                  </a:lnTo>
                  <a:lnTo>
                    <a:pt x="1117" y="72"/>
                  </a:lnTo>
                  <a:lnTo>
                    <a:pt x="1117" y="72"/>
                  </a:lnTo>
                  <a:lnTo>
                    <a:pt x="1117" y="72"/>
                  </a:lnTo>
                  <a:lnTo>
                    <a:pt x="1119" y="72"/>
                  </a:lnTo>
                  <a:lnTo>
                    <a:pt x="1119" y="72"/>
                  </a:lnTo>
                  <a:lnTo>
                    <a:pt x="1119" y="72"/>
                  </a:lnTo>
                  <a:lnTo>
                    <a:pt x="1119" y="72"/>
                  </a:lnTo>
                  <a:lnTo>
                    <a:pt x="1124" y="72"/>
                  </a:lnTo>
                  <a:lnTo>
                    <a:pt x="1124" y="72"/>
                  </a:lnTo>
                  <a:lnTo>
                    <a:pt x="1124" y="72"/>
                  </a:lnTo>
                  <a:lnTo>
                    <a:pt x="1124" y="72"/>
                  </a:lnTo>
                  <a:lnTo>
                    <a:pt x="1126" y="72"/>
                  </a:lnTo>
                  <a:lnTo>
                    <a:pt x="1124" y="70"/>
                  </a:lnTo>
                  <a:lnTo>
                    <a:pt x="1124" y="70"/>
                  </a:lnTo>
                  <a:lnTo>
                    <a:pt x="1126" y="70"/>
                  </a:lnTo>
                  <a:lnTo>
                    <a:pt x="1126" y="70"/>
                  </a:lnTo>
                  <a:lnTo>
                    <a:pt x="1135" y="70"/>
                  </a:lnTo>
                  <a:lnTo>
                    <a:pt x="1135" y="70"/>
                  </a:lnTo>
                  <a:lnTo>
                    <a:pt x="1135" y="70"/>
                  </a:lnTo>
                  <a:lnTo>
                    <a:pt x="1137" y="70"/>
                  </a:lnTo>
                  <a:lnTo>
                    <a:pt x="1137" y="70"/>
                  </a:lnTo>
                  <a:lnTo>
                    <a:pt x="1137" y="70"/>
                  </a:lnTo>
                  <a:lnTo>
                    <a:pt x="1137" y="70"/>
                  </a:lnTo>
                  <a:lnTo>
                    <a:pt x="1135" y="70"/>
                  </a:lnTo>
                  <a:lnTo>
                    <a:pt x="1124" y="70"/>
                  </a:lnTo>
                  <a:lnTo>
                    <a:pt x="1124" y="70"/>
                  </a:lnTo>
                  <a:lnTo>
                    <a:pt x="1124" y="70"/>
                  </a:lnTo>
                  <a:lnTo>
                    <a:pt x="1124" y="70"/>
                  </a:lnTo>
                  <a:lnTo>
                    <a:pt x="1121" y="70"/>
                  </a:lnTo>
                  <a:lnTo>
                    <a:pt x="1121" y="70"/>
                  </a:lnTo>
                  <a:lnTo>
                    <a:pt x="1121" y="70"/>
                  </a:lnTo>
                  <a:lnTo>
                    <a:pt x="1121" y="70"/>
                  </a:lnTo>
                  <a:lnTo>
                    <a:pt x="1121" y="70"/>
                  </a:lnTo>
                  <a:lnTo>
                    <a:pt x="1121" y="70"/>
                  </a:lnTo>
                  <a:lnTo>
                    <a:pt x="1119" y="70"/>
                  </a:lnTo>
                  <a:lnTo>
                    <a:pt x="1117" y="70"/>
                  </a:lnTo>
                  <a:lnTo>
                    <a:pt x="1117" y="70"/>
                  </a:lnTo>
                  <a:lnTo>
                    <a:pt x="1115" y="70"/>
                  </a:lnTo>
                  <a:lnTo>
                    <a:pt x="1115" y="68"/>
                  </a:lnTo>
                  <a:lnTo>
                    <a:pt x="1115" y="68"/>
                  </a:lnTo>
                  <a:lnTo>
                    <a:pt x="1115" y="68"/>
                  </a:lnTo>
                  <a:lnTo>
                    <a:pt x="1117" y="68"/>
                  </a:lnTo>
                  <a:lnTo>
                    <a:pt x="1117" y="68"/>
                  </a:lnTo>
                  <a:lnTo>
                    <a:pt x="1117" y="68"/>
                  </a:lnTo>
                  <a:lnTo>
                    <a:pt x="1115" y="68"/>
                  </a:lnTo>
                  <a:lnTo>
                    <a:pt x="1115" y="68"/>
                  </a:lnTo>
                  <a:lnTo>
                    <a:pt x="1115" y="68"/>
                  </a:lnTo>
                  <a:lnTo>
                    <a:pt x="1115" y="68"/>
                  </a:lnTo>
                  <a:lnTo>
                    <a:pt x="1113" y="68"/>
                  </a:lnTo>
                  <a:lnTo>
                    <a:pt x="1113" y="68"/>
                  </a:lnTo>
                  <a:lnTo>
                    <a:pt x="1113" y="68"/>
                  </a:lnTo>
                  <a:lnTo>
                    <a:pt x="1113" y="66"/>
                  </a:lnTo>
                  <a:lnTo>
                    <a:pt x="1117" y="66"/>
                  </a:lnTo>
                  <a:lnTo>
                    <a:pt x="1121" y="68"/>
                  </a:lnTo>
                  <a:lnTo>
                    <a:pt x="1121" y="68"/>
                  </a:lnTo>
                  <a:lnTo>
                    <a:pt x="1121" y="68"/>
                  </a:lnTo>
                  <a:lnTo>
                    <a:pt x="1121" y="68"/>
                  </a:lnTo>
                  <a:lnTo>
                    <a:pt x="1124" y="68"/>
                  </a:lnTo>
                  <a:lnTo>
                    <a:pt x="1124" y="68"/>
                  </a:lnTo>
                  <a:lnTo>
                    <a:pt x="1121" y="66"/>
                  </a:lnTo>
                  <a:lnTo>
                    <a:pt x="1119" y="66"/>
                  </a:lnTo>
                  <a:lnTo>
                    <a:pt x="1119" y="66"/>
                  </a:lnTo>
                  <a:lnTo>
                    <a:pt x="1117" y="66"/>
                  </a:lnTo>
                  <a:lnTo>
                    <a:pt x="1115" y="66"/>
                  </a:lnTo>
                  <a:lnTo>
                    <a:pt x="1113" y="66"/>
                  </a:lnTo>
                  <a:lnTo>
                    <a:pt x="1113" y="66"/>
                  </a:lnTo>
                  <a:lnTo>
                    <a:pt x="1113" y="66"/>
                  </a:lnTo>
                  <a:lnTo>
                    <a:pt x="1113" y="66"/>
                  </a:lnTo>
                  <a:lnTo>
                    <a:pt x="1113" y="66"/>
                  </a:lnTo>
                  <a:lnTo>
                    <a:pt x="1113" y="66"/>
                  </a:lnTo>
                  <a:lnTo>
                    <a:pt x="1110" y="63"/>
                  </a:lnTo>
                  <a:lnTo>
                    <a:pt x="1110" y="63"/>
                  </a:lnTo>
                  <a:lnTo>
                    <a:pt x="1113" y="63"/>
                  </a:lnTo>
                  <a:lnTo>
                    <a:pt x="1115" y="63"/>
                  </a:lnTo>
                  <a:lnTo>
                    <a:pt x="1117" y="61"/>
                  </a:lnTo>
                  <a:lnTo>
                    <a:pt x="1119" y="61"/>
                  </a:lnTo>
                  <a:lnTo>
                    <a:pt x="1121" y="61"/>
                  </a:lnTo>
                  <a:lnTo>
                    <a:pt x="1121" y="61"/>
                  </a:lnTo>
                  <a:lnTo>
                    <a:pt x="1121" y="61"/>
                  </a:lnTo>
                  <a:lnTo>
                    <a:pt x="1121" y="61"/>
                  </a:lnTo>
                  <a:lnTo>
                    <a:pt x="1121" y="61"/>
                  </a:lnTo>
                  <a:lnTo>
                    <a:pt x="1121" y="61"/>
                  </a:lnTo>
                  <a:lnTo>
                    <a:pt x="1124" y="61"/>
                  </a:lnTo>
                  <a:lnTo>
                    <a:pt x="1126" y="61"/>
                  </a:lnTo>
                  <a:lnTo>
                    <a:pt x="1126" y="61"/>
                  </a:lnTo>
                  <a:lnTo>
                    <a:pt x="1126" y="61"/>
                  </a:lnTo>
                  <a:lnTo>
                    <a:pt x="1128" y="61"/>
                  </a:lnTo>
                  <a:lnTo>
                    <a:pt x="1128" y="61"/>
                  </a:lnTo>
                  <a:lnTo>
                    <a:pt x="1130" y="61"/>
                  </a:lnTo>
                  <a:lnTo>
                    <a:pt x="1133" y="61"/>
                  </a:lnTo>
                  <a:lnTo>
                    <a:pt x="1133" y="61"/>
                  </a:lnTo>
                  <a:lnTo>
                    <a:pt x="1135" y="61"/>
                  </a:lnTo>
                  <a:lnTo>
                    <a:pt x="1135" y="61"/>
                  </a:lnTo>
                  <a:lnTo>
                    <a:pt x="1135" y="61"/>
                  </a:lnTo>
                  <a:lnTo>
                    <a:pt x="1137" y="61"/>
                  </a:lnTo>
                  <a:lnTo>
                    <a:pt x="1142" y="61"/>
                  </a:lnTo>
                  <a:lnTo>
                    <a:pt x="1146" y="61"/>
                  </a:lnTo>
                  <a:lnTo>
                    <a:pt x="1151" y="59"/>
                  </a:lnTo>
                  <a:lnTo>
                    <a:pt x="1153" y="59"/>
                  </a:lnTo>
                  <a:lnTo>
                    <a:pt x="1155" y="59"/>
                  </a:lnTo>
                  <a:lnTo>
                    <a:pt x="1164" y="59"/>
                  </a:lnTo>
                  <a:lnTo>
                    <a:pt x="1166" y="59"/>
                  </a:lnTo>
                  <a:lnTo>
                    <a:pt x="1169" y="59"/>
                  </a:lnTo>
                  <a:lnTo>
                    <a:pt x="1169" y="59"/>
                  </a:lnTo>
                  <a:lnTo>
                    <a:pt x="1169" y="59"/>
                  </a:lnTo>
                  <a:lnTo>
                    <a:pt x="1169" y="59"/>
                  </a:lnTo>
                  <a:lnTo>
                    <a:pt x="1164" y="59"/>
                  </a:lnTo>
                  <a:lnTo>
                    <a:pt x="1160" y="59"/>
                  </a:lnTo>
                  <a:lnTo>
                    <a:pt x="1155" y="59"/>
                  </a:lnTo>
                  <a:lnTo>
                    <a:pt x="1148" y="59"/>
                  </a:lnTo>
                  <a:lnTo>
                    <a:pt x="1148" y="59"/>
                  </a:lnTo>
                  <a:lnTo>
                    <a:pt x="1144" y="59"/>
                  </a:lnTo>
                  <a:lnTo>
                    <a:pt x="1139" y="59"/>
                  </a:lnTo>
                  <a:lnTo>
                    <a:pt x="1137" y="59"/>
                  </a:lnTo>
                  <a:lnTo>
                    <a:pt x="1137" y="59"/>
                  </a:lnTo>
                  <a:lnTo>
                    <a:pt x="1139" y="59"/>
                  </a:lnTo>
                  <a:lnTo>
                    <a:pt x="1139" y="59"/>
                  </a:lnTo>
                  <a:lnTo>
                    <a:pt x="1142" y="57"/>
                  </a:lnTo>
                  <a:lnTo>
                    <a:pt x="1146" y="59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9"/>
                  </a:lnTo>
                  <a:lnTo>
                    <a:pt x="1146" y="59"/>
                  </a:lnTo>
                  <a:lnTo>
                    <a:pt x="1148" y="59"/>
                  </a:lnTo>
                  <a:lnTo>
                    <a:pt x="1151" y="57"/>
                  </a:lnTo>
                  <a:lnTo>
                    <a:pt x="1151" y="57"/>
                  </a:lnTo>
                  <a:lnTo>
                    <a:pt x="1151" y="57"/>
                  </a:lnTo>
                  <a:lnTo>
                    <a:pt x="1153" y="57"/>
                  </a:lnTo>
                  <a:lnTo>
                    <a:pt x="1155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0" y="57"/>
                  </a:lnTo>
                  <a:lnTo>
                    <a:pt x="1162" y="57"/>
                  </a:lnTo>
                  <a:lnTo>
                    <a:pt x="1162" y="57"/>
                  </a:lnTo>
                  <a:lnTo>
                    <a:pt x="1162" y="57"/>
                  </a:lnTo>
                  <a:lnTo>
                    <a:pt x="1157" y="57"/>
                  </a:lnTo>
                  <a:lnTo>
                    <a:pt x="1157" y="57"/>
                  </a:lnTo>
                  <a:lnTo>
                    <a:pt x="1153" y="57"/>
                  </a:lnTo>
                  <a:lnTo>
                    <a:pt x="1151" y="57"/>
                  </a:lnTo>
                  <a:lnTo>
                    <a:pt x="1151" y="57"/>
                  </a:lnTo>
                  <a:lnTo>
                    <a:pt x="1148" y="57"/>
                  </a:lnTo>
                  <a:lnTo>
                    <a:pt x="1146" y="57"/>
                  </a:lnTo>
                  <a:lnTo>
                    <a:pt x="1144" y="57"/>
                  </a:lnTo>
                  <a:lnTo>
                    <a:pt x="1142" y="57"/>
                  </a:lnTo>
                  <a:lnTo>
                    <a:pt x="1142" y="57"/>
                  </a:lnTo>
                  <a:lnTo>
                    <a:pt x="1142" y="57"/>
                  </a:lnTo>
                  <a:lnTo>
                    <a:pt x="1142" y="57"/>
                  </a:lnTo>
                  <a:lnTo>
                    <a:pt x="1144" y="57"/>
                  </a:lnTo>
                  <a:lnTo>
                    <a:pt x="1144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6" y="57"/>
                  </a:lnTo>
                  <a:lnTo>
                    <a:pt x="1148" y="57"/>
                  </a:lnTo>
                  <a:lnTo>
                    <a:pt x="1148" y="54"/>
                  </a:lnTo>
                  <a:lnTo>
                    <a:pt x="1148" y="54"/>
                  </a:lnTo>
                  <a:lnTo>
                    <a:pt x="1144" y="54"/>
                  </a:lnTo>
                  <a:lnTo>
                    <a:pt x="1139" y="57"/>
                  </a:lnTo>
                  <a:lnTo>
                    <a:pt x="1137" y="57"/>
                  </a:lnTo>
                  <a:lnTo>
                    <a:pt x="1137" y="57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4"/>
                  </a:lnTo>
                  <a:lnTo>
                    <a:pt x="1137" y="57"/>
                  </a:lnTo>
                  <a:lnTo>
                    <a:pt x="1137" y="57"/>
                  </a:lnTo>
                  <a:lnTo>
                    <a:pt x="1137" y="57"/>
                  </a:lnTo>
                  <a:lnTo>
                    <a:pt x="1135" y="57"/>
                  </a:lnTo>
                  <a:lnTo>
                    <a:pt x="1130" y="57"/>
                  </a:lnTo>
                  <a:lnTo>
                    <a:pt x="1130" y="57"/>
                  </a:lnTo>
                  <a:lnTo>
                    <a:pt x="1133" y="57"/>
                  </a:lnTo>
                  <a:lnTo>
                    <a:pt x="1133" y="57"/>
                  </a:lnTo>
                  <a:lnTo>
                    <a:pt x="1135" y="57"/>
                  </a:lnTo>
                  <a:lnTo>
                    <a:pt x="1135" y="57"/>
                  </a:lnTo>
                  <a:lnTo>
                    <a:pt x="1135" y="54"/>
                  </a:lnTo>
                  <a:lnTo>
                    <a:pt x="1135" y="54"/>
                  </a:lnTo>
                  <a:lnTo>
                    <a:pt x="1135" y="54"/>
                  </a:lnTo>
                  <a:lnTo>
                    <a:pt x="1133" y="54"/>
                  </a:lnTo>
                  <a:lnTo>
                    <a:pt x="1133" y="54"/>
                  </a:lnTo>
                  <a:lnTo>
                    <a:pt x="1133" y="57"/>
                  </a:lnTo>
                  <a:lnTo>
                    <a:pt x="1133" y="57"/>
                  </a:lnTo>
                  <a:lnTo>
                    <a:pt x="1130" y="57"/>
                  </a:lnTo>
                  <a:lnTo>
                    <a:pt x="1130" y="57"/>
                  </a:lnTo>
                  <a:lnTo>
                    <a:pt x="1130" y="57"/>
                  </a:lnTo>
                  <a:lnTo>
                    <a:pt x="1130" y="57"/>
                  </a:lnTo>
                  <a:lnTo>
                    <a:pt x="1128" y="57"/>
                  </a:lnTo>
                  <a:lnTo>
                    <a:pt x="1128" y="57"/>
                  </a:lnTo>
                  <a:lnTo>
                    <a:pt x="1128" y="57"/>
                  </a:lnTo>
                  <a:lnTo>
                    <a:pt x="1128" y="57"/>
                  </a:lnTo>
                  <a:lnTo>
                    <a:pt x="1128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9"/>
                  </a:lnTo>
                  <a:lnTo>
                    <a:pt x="1124" y="59"/>
                  </a:lnTo>
                  <a:lnTo>
                    <a:pt x="1121" y="59"/>
                  </a:lnTo>
                  <a:lnTo>
                    <a:pt x="1119" y="59"/>
                  </a:lnTo>
                  <a:lnTo>
                    <a:pt x="1119" y="59"/>
                  </a:lnTo>
                  <a:lnTo>
                    <a:pt x="1119" y="59"/>
                  </a:lnTo>
                  <a:lnTo>
                    <a:pt x="1119" y="59"/>
                  </a:lnTo>
                  <a:lnTo>
                    <a:pt x="1119" y="59"/>
                  </a:lnTo>
                  <a:lnTo>
                    <a:pt x="1119" y="59"/>
                  </a:lnTo>
                  <a:lnTo>
                    <a:pt x="1119" y="59"/>
                  </a:lnTo>
                  <a:lnTo>
                    <a:pt x="1119" y="57"/>
                  </a:lnTo>
                  <a:lnTo>
                    <a:pt x="1119" y="57"/>
                  </a:lnTo>
                  <a:lnTo>
                    <a:pt x="1121" y="57"/>
                  </a:lnTo>
                  <a:lnTo>
                    <a:pt x="1124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6" y="57"/>
                  </a:lnTo>
                  <a:lnTo>
                    <a:pt x="1121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7" y="57"/>
                  </a:lnTo>
                  <a:lnTo>
                    <a:pt x="1115" y="57"/>
                  </a:lnTo>
                  <a:lnTo>
                    <a:pt x="1108" y="59"/>
                  </a:lnTo>
                  <a:lnTo>
                    <a:pt x="1108" y="59"/>
                  </a:lnTo>
                  <a:lnTo>
                    <a:pt x="1108" y="59"/>
                  </a:lnTo>
                  <a:lnTo>
                    <a:pt x="1106" y="59"/>
                  </a:lnTo>
                  <a:lnTo>
                    <a:pt x="1106" y="59"/>
                  </a:lnTo>
                  <a:lnTo>
                    <a:pt x="1106" y="59"/>
                  </a:lnTo>
                  <a:lnTo>
                    <a:pt x="1106" y="59"/>
                  </a:lnTo>
                  <a:lnTo>
                    <a:pt x="1106" y="59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8" y="57"/>
                  </a:lnTo>
                  <a:lnTo>
                    <a:pt x="1108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6" y="57"/>
                  </a:lnTo>
                  <a:lnTo>
                    <a:pt x="1104" y="57"/>
                  </a:lnTo>
                  <a:lnTo>
                    <a:pt x="1104" y="57"/>
                  </a:lnTo>
                  <a:lnTo>
                    <a:pt x="1104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7"/>
                  </a:lnTo>
                  <a:lnTo>
                    <a:pt x="1101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1" y="54"/>
                  </a:lnTo>
                  <a:lnTo>
                    <a:pt x="1101" y="54"/>
                  </a:lnTo>
                  <a:lnTo>
                    <a:pt x="1101" y="54"/>
                  </a:lnTo>
                  <a:lnTo>
                    <a:pt x="1101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4" y="54"/>
                  </a:lnTo>
                  <a:lnTo>
                    <a:pt x="1106" y="54"/>
                  </a:lnTo>
                  <a:lnTo>
                    <a:pt x="1119" y="52"/>
                  </a:lnTo>
                  <a:lnTo>
                    <a:pt x="1119" y="52"/>
                  </a:lnTo>
                  <a:lnTo>
                    <a:pt x="1126" y="52"/>
                  </a:lnTo>
                  <a:lnTo>
                    <a:pt x="1126" y="52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8" y="50"/>
                  </a:lnTo>
                  <a:lnTo>
                    <a:pt x="1128" y="50"/>
                  </a:lnTo>
                  <a:lnTo>
                    <a:pt x="1128" y="50"/>
                  </a:lnTo>
                  <a:lnTo>
                    <a:pt x="1128" y="50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6" y="50"/>
                  </a:lnTo>
                  <a:lnTo>
                    <a:pt x="1124" y="50"/>
                  </a:lnTo>
                  <a:lnTo>
                    <a:pt x="1124" y="50"/>
                  </a:lnTo>
                  <a:lnTo>
                    <a:pt x="1121" y="50"/>
                  </a:lnTo>
                  <a:lnTo>
                    <a:pt x="1121" y="50"/>
                  </a:lnTo>
                  <a:lnTo>
                    <a:pt x="1121" y="50"/>
                  </a:lnTo>
                  <a:lnTo>
                    <a:pt x="1121" y="52"/>
                  </a:lnTo>
                  <a:lnTo>
                    <a:pt x="1119" y="52"/>
                  </a:lnTo>
                  <a:lnTo>
                    <a:pt x="1115" y="52"/>
                  </a:lnTo>
                  <a:lnTo>
                    <a:pt x="1113" y="52"/>
                  </a:lnTo>
                  <a:lnTo>
                    <a:pt x="1106" y="52"/>
                  </a:lnTo>
                  <a:lnTo>
                    <a:pt x="1104" y="50"/>
                  </a:lnTo>
                  <a:lnTo>
                    <a:pt x="1104" y="50"/>
                  </a:lnTo>
                  <a:lnTo>
                    <a:pt x="1101" y="50"/>
                  </a:lnTo>
                  <a:lnTo>
                    <a:pt x="1101" y="50"/>
                  </a:lnTo>
                  <a:lnTo>
                    <a:pt x="1101" y="50"/>
                  </a:lnTo>
                  <a:lnTo>
                    <a:pt x="1101" y="50"/>
                  </a:lnTo>
                  <a:lnTo>
                    <a:pt x="1101" y="50"/>
                  </a:lnTo>
                  <a:lnTo>
                    <a:pt x="1104" y="50"/>
                  </a:lnTo>
                  <a:lnTo>
                    <a:pt x="1104" y="50"/>
                  </a:lnTo>
                  <a:lnTo>
                    <a:pt x="1104" y="50"/>
                  </a:lnTo>
                  <a:lnTo>
                    <a:pt x="1101" y="50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099" y="48"/>
                  </a:lnTo>
                  <a:lnTo>
                    <a:pt x="1099" y="48"/>
                  </a:lnTo>
                  <a:lnTo>
                    <a:pt x="1099" y="48"/>
                  </a:lnTo>
                  <a:lnTo>
                    <a:pt x="1099" y="48"/>
                  </a:lnTo>
                  <a:lnTo>
                    <a:pt x="1099" y="48"/>
                  </a:lnTo>
                  <a:lnTo>
                    <a:pt x="1099" y="48"/>
                  </a:lnTo>
                  <a:lnTo>
                    <a:pt x="1099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4" y="48"/>
                  </a:lnTo>
                  <a:lnTo>
                    <a:pt x="1104" y="48"/>
                  </a:lnTo>
                  <a:lnTo>
                    <a:pt x="1104" y="48"/>
                  </a:lnTo>
                  <a:lnTo>
                    <a:pt x="1104" y="48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6" y="48"/>
                  </a:lnTo>
                  <a:lnTo>
                    <a:pt x="1106" y="48"/>
                  </a:lnTo>
                  <a:lnTo>
                    <a:pt x="1106" y="48"/>
                  </a:lnTo>
                  <a:lnTo>
                    <a:pt x="1101" y="48"/>
                  </a:lnTo>
                  <a:lnTo>
                    <a:pt x="1101" y="48"/>
                  </a:lnTo>
                  <a:lnTo>
                    <a:pt x="1101" y="45"/>
                  </a:lnTo>
                  <a:lnTo>
                    <a:pt x="1101" y="45"/>
                  </a:lnTo>
                  <a:lnTo>
                    <a:pt x="1101" y="45"/>
                  </a:lnTo>
                  <a:lnTo>
                    <a:pt x="1104" y="45"/>
                  </a:lnTo>
                  <a:lnTo>
                    <a:pt x="1106" y="45"/>
                  </a:lnTo>
                  <a:lnTo>
                    <a:pt x="1104" y="45"/>
                  </a:lnTo>
                  <a:lnTo>
                    <a:pt x="1104" y="45"/>
                  </a:lnTo>
                  <a:lnTo>
                    <a:pt x="1104" y="45"/>
                  </a:lnTo>
                  <a:lnTo>
                    <a:pt x="1101" y="45"/>
                  </a:lnTo>
                  <a:lnTo>
                    <a:pt x="1101" y="45"/>
                  </a:lnTo>
                  <a:lnTo>
                    <a:pt x="1101" y="45"/>
                  </a:lnTo>
                  <a:lnTo>
                    <a:pt x="1101" y="45"/>
                  </a:lnTo>
                  <a:lnTo>
                    <a:pt x="1104" y="43"/>
                  </a:lnTo>
                  <a:lnTo>
                    <a:pt x="1104" y="43"/>
                  </a:lnTo>
                  <a:lnTo>
                    <a:pt x="1104" y="43"/>
                  </a:lnTo>
                  <a:lnTo>
                    <a:pt x="1104" y="43"/>
                  </a:lnTo>
                  <a:lnTo>
                    <a:pt x="1108" y="43"/>
                  </a:lnTo>
                  <a:lnTo>
                    <a:pt x="1113" y="45"/>
                  </a:lnTo>
                  <a:lnTo>
                    <a:pt x="1115" y="45"/>
                  </a:lnTo>
                  <a:lnTo>
                    <a:pt x="1115" y="45"/>
                  </a:lnTo>
                  <a:lnTo>
                    <a:pt x="1115" y="45"/>
                  </a:lnTo>
                  <a:lnTo>
                    <a:pt x="1119" y="45"/>
                  </a:lnTo>
                  <a:lnTo>
                    <a:pt x="1121" y="45"/>
                  </a:lnTo>
                  <a:lnTo>
                    <a:pt x="1126" y="45"/>
                  </a:lnTo>
                  <a:lnTo>
                    <a:pt x="1126" y="45"/>
                  </a:lnTo>
                  <a:lnTo>
                    <a:pt x="1130" y="45"/>
                  </a:lnTo>
                  <a:lnTo>
                    <a:pt x="1130" y="45"/>
                  </a:lnTo>
                  <a:lnTo>
                    <a:pt x="1130" y="45"/>
                  </a:lnTo>
                  <a:lnTo>
                    <a:pt x="1130" y="45"/>
                  </a:lnTo>
                  <a:lnTo>
                    <a:pt x="1130" y="45"/>
                  </a:lnTo>
                  <a:lnTo>
                    <a:pt x="1130" y="45"/>
                  </a:lnTo>
                  <a:lnTo>
                    <a:pt x="1128" y="45"/>
                  </a:lnTo>
                  <a:lnTo>
                    <a:pt x="1128" y="45"/>
                  </a:lnTo>
                  <a:lnTo>
                    <a:pt x="1128" y="45"/>
                  </a:lnTo>
                  <a:lnTo>
                    <a:pt x="1128" y="45"/>
                  </a:lnTo>
                  <a:lnTo>
                    <a:pt x="1133" y="43"/>
                  </a:lnTo>
                  <a:lnTo>
                    <a:pt x="1139" y="43"/>
                  </a:lnTo>
                  <a:lnTo>
                    <a:pt x="1139" y="43"/>
                  </a:lnTo>
                  <a:lnTo>
                    <a:pt x="1135" y="43"/>
                  </a:lnTo>
                  <a:lnTo>
                    <a:pt x="1135" y="43"/>
                  </a:lnTo>
                  <a:lnTo>
                    <a:pt x="1135" y="43"/>
                  </a:lnTo>
                  <a:lnTo>
                    <a:pt x="1133" y="43"/>
                  </a:lnTo>
                  <a:lnTo>
                    <a:pt x="1133" y="43"/>
                  </a:lnTo>
                  <a:lnTo>
                    <a:pt x="1130" y="43"/>
                  </a:lnTo>
                  <a:lnTo>
                    <a:pt x="1126" y="43"/>
                  </a:lnTo>
                  <a:lnTo>
                    <a:pt x="1121" y="43"/>
                  </a:lnTo>
                  <a:lnTo>
                    <a:pt x="1119" y="43"/>
                  </a:lnTo>
                  <a:lnTo>
                    <a:pt x="1117" y="43"/>
                  </a:lnTo>
                  <a:lnTo>
                    <a:pt x="1119" y="43"/>
                  </a:lnTo>
                  <a:lnTo>
                    <a:pt x="1121" y="43"/>
                  </a:lnTo>
                  <a:lnTo>
                    <a:pt x="1124" y="43"/>
                  </a:lnTo>
                  <a:lnTo>
                    <a:pt x="1124" y="43"/>
                  </a:lnTo>
                  <a:lnTo>
                    <a:pt x="1126" y="43"/>
                  </a:lnTo>
                  <a:lnTo>
                    <a:pt x="1126" y="43"/>
                  </a:lnTo>
                  <a:lnTo>
                    <a:pt x="1124" y="43"/>
                  </a:lnTo>
                  <a:lnTo>
                    <a:pt x="1124" y="43"/>
                  </a:lnTo>
                  <a:lnTo>
                    <a:pt x="1121" y="43"/>
                  </a:lnTo>
                  <a:lnTo>
                    <a:pt x="1121" y="43"/>
                  </a:lnTo>
                  <a:lnTo>
                    <a:pt x="1121" y="43"/>
                  </a:lnTo>
                  <a:lnTo>
                    <a:pt x="1121" y="43"/>
                  </a:lnTo>
                  <a:lnTo>
                    <a:pt x="1117" y="43"/>
                  </a:lnTo>
                  <a:lnTo>
                    <a:pt x="1115" y="43"/>
                  </a:lnTo>
                  <a:lnTo>
                    <a:pt x="1113" y="41"/>
                  </a:lnTo>
                  <a:lnTo>
                    <a:pt x="1108" y="41"/>
                  </a:lnTo>
                  <a:lnTo>
                    <a:pt x="1108" y="41"/>
                  </a:lnTo>
                  <a:lnTo>
                    <a:pt x="1110" y="41"/>
                  </a:lnTo>
                  <a:lnTo>
                    <a:pt x="1110" y="41"/>
                  </a:lnTo>
                  <a:lnTo>
                    <a:pt x="1110" y="41"/>
                  </a:lnTo>
                  <a:lnTo>
                    <a:pt x="1110" y="41"/>
                  </a:lnTo>
                  <a:lnTo>
                    <a:pt x="1108" y="41"/>
                  </a:lnTo>
                  <a:lnTo>
                    <a:pt x="1110" y="41"/>
                  </a:lnTo>
                  <a:lnTo>
                    <a:pt x="1110" y="41"/>
                  </a:lnTo>
                  <a:lnTo>
                    <a:pt x="1110" y="41"/>
                  </a:lnTo>
                  <a:lnTo>
                    <a:pt x="1113" y="41"/>
                  </a:lnTo>
                  <a:lnTo>
                    <a:pt x="1113" y="41"/>
                  </a:lnTo>
                  <a:lnTo>
                    <a:pt x="1113" y="41"/>
                  </a:lnTo>
                  <a:lnTo>
                    <a:pt x="1113" y="41"/>
                  </a:lnTo>
                  <a:lnTo>
                    <a:pt x="1115" y="41"/>
                  </a:lnTo>
                  <a:lnTo>
                    <a:pt x="1115" y="41"/>
                  </a:lnTo>
                  <a:lnTo>
                    <a:pt x="1115" y="41"/>
                  </a:lnTo>
                  <a:lnTo>
                    <a:pt x="1115" y="41"/>
                  </a:lnTo>
                  <a:lnTo>
                    <a:pt x="1115" y="41"/>
                  </a:lnTo>
                  <a:lnTo>
                    <a:pt x="1117" y="41"/>
                  </a:lnTo>
                  <a:lnTo>
                    <a:pt x="1117" y="41"/>
                  </a:lnTo>
                  <a:lnTo>
                    <a:pt x="1117" y="41"/>
                  </a:lnTo>
                  <a:lnTo>
                    <a:pt x="1119" y="41"/>
                  </a:lnTo>
                  <a:lnTo>
                    <a:pt x="1121" y="41"/>
                  </a:lnTo>
                  <a:lnTo>
                    <a:pt x="1121" y="41"/>
                  </a:lnTo>
                  <a:lnTo>
                    <a:pt x="1124" y="41"/>
                  </a:lnTo>
                  <a:lnTo>
                    <a:pt x="1124" y="41"/>
                  </a:lnTo>
                  <a:lnTo>
                    <a:pt x="1124" y="41"/>
                  </a:lnTo>
                  <a:lnTo>
                    <a:pt x="1124" y="41"/>
                  </a:lnTo>
                  <a:lnTo>
                    <a:pt x="1126" y="41"/>
                  </a:lnTo>
                  <a:lnTo>
                    <a:pt x="1126" y="41"/>
                  </a:lnTo>
                  <a:lnTo>
                    <a:pt x="1126" y="41"/>
                  </a:lnTo>
                  <a:lnTo>
                    <a:pt x="1126" y="41"/>
                  </a:lnTo>
                  <a:lnTo>
                    <a:pt x="1124" y="41"/>
                  </a:lnTo>
                  <a:lnTo>
                    <a:pt x="1124" y="39"/>
                  </a:lnTo>
                  <a:lnTo>
                    <a:pt x="1121" y="39"/>
                  </a:lnTo>
                  <a:lnTo>
                    <a:pt x="1121" y="39"/>
                  </a:lnTo>
                  <a:lnTo>
                    <a:pt x="1119" y="39"/>
                  </a:lnTo>
                  <a:lnTo>
                    <a:pt x="1119" y="39"/>
                  </a:lnTo>
                  <a:lnTo>
                    <a:pt x="1121" y="39"/>
                  </a:lnTo>
                  <a:lnTo>
                    <a:pt x="1121" y="39"/>
                  </a:lnTo>
                  <a:lnTo>
                    <a:pt x="1121" y="39"/>
                  </a:lnTo>
                  <a:lnTo>
                    <a:pt x="1121" y="39"/>
                  </a:lnTo>
                  <a:lnTo>
                    <a:pt x="1121" y="39"/>
                  </a:lnTo>
                  <a:lnTo>
                    <a:pt x="1124" y="39"/>
                  </a:lnTo>
                  <a:lnTo>
                    <a:pt x="1121" y="36"/>
                  </a:lnTo>
                  <a:lnTo>
                    <a:pt x="1121" y="36"/>
                  </a:lnTo>
                  <a:lnTo>
                    <a:pt x="1121" y="36"/>
                  </a:lnTo>
                  <a:lnTo>
                    <a:pt x="1128" y="36"/>
                  </a:lnTo>
                  <a:lnTo>
                    <a:pt x="1130" y="36"/>
                  </a:lnTo>
                  <a:lnTo>
                    <a:pt x="1135" y="36"/>
                  </a:lnTo>
                  <a:lnTo>
                    <a:pt x="1135" y="36"/>
                  </a:lnTo>
                  <a:lnTo>
                    <a:pt x="1137" y="36"/>
                  </a:lnTo>
                  <a:lnTo>
                    <a:pt x="1139" y="36"/>
                  </a:lnTo>
                  <a:lnTo>
                    <a:pt x="1144" y="36"/>
                  </a:lnTo>
                  <a:lnTo>
                    <a:pt x="1146" y="36"/>
                  </a:lnTo>
                  <a:lnTo>
                    <a:pt x="1148" y="36"/>
                  </a:lnTo>
                  <a:lnTo>
                    <a:pt x="1148" y="36"/>
                  </a:lnTo>
                  <a:lnTo>
                    <a:pt x="1148" y="36"/>
                  </a:lnTo>
                  <a:lnTo>
                    <a:pt x="1148" y="36"/>
                  </a:lnTo>
                  <a:lnTo>
                    <a:pt x="1148" y="36"/>
                  </a:lnTo>
                  <a:lnTo>
                    <a:pt x="1148" y="39"/>
                  </a:lnTo>
                  <a:lnTo>
                    <a:pt x="1148" y="39"/>
                  </a:lnTo>
                  <a:lnTo>
                    <a:pt x="1148" y="39"/>
                  </a:lnTo>
                  <a:lnTo>
                    <a:pt x="1151" y="39"/>
                  </a:lnTo>
                  <a:lnTo>
                    <a:pt x="1151" y="39"/>
                  </a:lnTo>
                  <a:lnTo>
                    <a:pt x="1148" y="36"/>
                  </a:lnTo>
                  <a:lnTo>
                    <a:pt x="1144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6"/>
                  </a:lnTo>
                  <a:lnTo>
                    <a:pt x="1142" y="34"/>
                  </a:lnTo>
                  <a:lnTo>
                    <a:pt x="1151" y="34"/>
                  </a:lnTo>
                  <a:lnTo>
                    <a:pt x="1148" y="34"/>
                  </a:lnTo>
                  <a:lnTo>
                    <a:pt x="1148" y="34"/>
                  </a:lnTo>
                  <a:lnTo>
                    <a:pt x="1146" y="34"/>
                  </a:lnTo>
                  <a:lnTo>
                    <a:pt x="1146" y="34"/>
                  </a:lnTo>
                  <a:lnTo>
                    <a:pt x="1148" y="34"/>
                  </a:lnTo>
                  <a:lnTo>
                    <a:pt x="1146" y="34"/>
                  </a:lnTo>
                  <a:lnTo>
                    <a:pt x="1146" y="34"/>
                  </a:lnTo>
                  <a:lnTo>
                    <a:pt x="1144" y="34"/>
                  </a:lnTo>
                  <a:lnTo>
                    <a:pt x="1144" y="34"/>
                  </a:lnTo>
                  <a:lnTo>
                    <a:pt x="1144" y="34"/>
                  </a:lnTo>
                  <a:lnTo>
                    <a:pt x="1142" y="34"/>
                  </a:lnTo>
                  <a:lnTo>
                    <a:pt x="1139" y="34"/>
                  </a:lnTo>
                  <a:lnTo>
                    <a:pt x="1139" y="34"/>
                  </a:lnTo>
                  <a:lnTo>
                    <a:pt x="1142" y="34"/>
                  </a:lnTo>
                  <a:lnTo>
                    <a:pt x="1142" y="34"/>
                  </a:lnTo>
                  <a:lnTo>
                    <a:pt x="1142" y="34"/>
                  </a:lnTo>
                  <a:lnTo>
                    <a:pt x="1142" y="34"/>
                  </a:lnTo>
                  <a:lnTo>
                    <a:pt x="1137" y="34"/>
                  </a:lnTo>
                  <a:lnTo>
                    <a:pt x="1133" y="34"/>
                  </a:lnTo>
                  <a:lnTo>
                    <a:pt x="1133" y="34"/>
                  </a:lnTo>
                  <a:lnTo>
                    <a:pt x="1133" y="34"/>
                  </a:lnTo>
                  <a:lnTo>
                    <a:pt x="1133" y="34"/>
                  </a:lnTo>
                  <a:lnTo>
                    <a:pt x="1135" y="32"/>
                  </a:lnTo>
                  <a:lnTo>
                    <a:pt x="1139" y="32"/>
                  </a:lnTo>
                  <a:lnTo>
                    <a:pt x="1139" y="32"/>
                  </a:lnTo>
                  <a:lnTo>
                    <a:pt x="1135" y="32"/>
                  </a:lnTo>
                  <a:lnTo>
                    <a:pt x="1135" y="32"/>
                  </a:lnTo>
                  <a:lnTo>
                    <a:pt x="1139" y="32"/>
                  </a:lnTo>
                  <a:lnTo>
                    <a:pt x="1139" y="32"/>
                  </a:lnTo>
                  <a:lnTo>
                    <a:pt x="1142" y="30"/>
                  </a:lnTo>
                  <a:lnTo>
                    <a:pt x="1142" y="30"/>
                  </a:lnTo>
                  <a:lnTo>
                    <a:pt x="1144" y="30"/>
                  </a:lnTo>
                  <a:lnTo>
                    <a:pt x="1146" y="30"/>
                  </a:lnTo>
                  <a:lnTo>
                    <a:pt x="1146" y="30"/>
                  </a:lnTo>
                  <a:lnTo>
                    <a:pt x="1151" y="30"/>
                  </a:lnTo>
                  <a:lnTo>
                    <a:pt x="1151" y="30"/>
                  </a:lnTo>
                  <a:lnTo>
                    <a:pt x="1151" y="30"/>
                  </a:lnTo>
                  <a:lnTo>
                    <a:pt x="1151" y="30"/>
                  </a:lnTo>
                  <a:lnTo>
                    <a:pt x="1151" y="30"/>
                  </a:lnTo>
                  <a:lnTo>
                    <a:pt x="1151" y="30"/>
                  </a:lnTo>
                  <a:lnTo>
                    <a:pt x="1148" y="30"/>
                  </a:lnTo>
                  <a:lnTo>
                    <a:pt x="1148" y="32"/>
                  </a:lnTo>
                  <a:lnTo>
                    <a:pt x="1151" y="32"/>
                  </a:lnTo>
                  <a:lnTo>
                    <a:pt x="1151" y="32"/>
                  </a:lnTo>
                  <a:lnTo>
                    <a:pt x="1151" y="32"/>
                  </a:lnTo>
                  <a:lnTo>
                    <a:pt x="1151" y="32"/>
                  </a:lnTo>
                  <a:lnTo>
                    <a:pt x="1151" y="32"/>
                  </a:lnTo>
                  <a:lnTo>
                    <a:pt x="1153" y="30"/>
                  </a:lnTo>
                  <a:lnTo>
                    <a:pt x="1153" y="30"/>
                  </a:lnTo>
                  <a:lnTo>
                    <a:pt x="1153" y="30"/>
                  </a:lnTo>
                  <a:lnTo>
                    <a:pt x="1153" y="30"/>
                  </a:lnTo>
                  <a:lnTo>
                    <a:pt x="1153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7" y="30"/>
                  </a:lnTo>
                  <a:lnTo>
                    <a:pt x="1157" y="30"/>
                  </a:lnTo>
                  <a:lnTo>
                    <a:pt x="1155" y="30"/>
                  </a:lnTo>
                  <a:lnTo>
                    <a:pt x="1157" y="30"/>
                  </a:lnTo>
                  <a:lnTo>
                    <a:pt x="1157" y="30"/>
                  </a:lnTo>
                  <a:lnTo>
                    <a:pt x="1157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3" y="30"/>
                  </a:lnTo>
                  <a:lnTo>
                    <a:pt x="1153" y="30"/>
                  </a:lnTo>
                  <a:lnTo>
                    <a:pt x="1155" y="30"/>
                  </a:lnTo>
                  <a:lnTo>
                    <a:pt x="1155" y="30"/>
                  </a:lnTo>
                  <a:lnTo>
                    <a:pt x="1157" y="30"/>
                  </a:lnTo>
                  <a:lnTo>
                    <a:pt x="1160" y="30"/>
                  </a:lnTo>
                  <a:lnTo>
                    <a:pt x="1164" y="30"/>
                  </a:lnTo>
                  <a:lnTo>
                    <a:pt x="1164" y="30"/>
                  </a:lnTo>
                  <a:lnTo>
                    <a:pt x="1164" y="30"/>
                  </a:lnTo>
                  <a:lnTo>
                    <a:pt x="1164" y="30"/>
                  </a:lnTo>
                  <a:lnTo>
                    <a:pt x="1164" y="30"/>
                  </a:lnTo>
                  <a:lnTo>
                    <a:pt x="1166" y="30"/>
                  </a:lnTo>
                  <a:lnTo>
                    <a:pt x="1169" y="30"/>
                  </a:lnTo>
                  <a:lnTo>
                    <a:pt x="1169" y="30"/>
                  </a:lnTo>
                  <a:lnTo>
                    <a:pt x="1169" y="30"/>
                  </a:lnTo>
                  <a:lnTo>
                    <a:pt x="1169" y="30"/>
                  </a:lnTo>
                  <a:lnTo>
                    <a:pt x="1169" y="30"/>
                  </a:lnTo>
                  <a:lnTo>
                    <a:pt x="1169" y="30"/>
                  </a:lnTo>
                  <a:lnTo>
                    <a:pt x="1171" y="30"/>
                  </a:lnTo>
                  <a:lnTo>
                    <a:pt x="1171" y="30"/>
                  </a:lnTo>
                  <a:lnTo>
                    <a:pt x="1171" y="30"/>
                  </a:lnTo>
                  <a:lnTo>
                    <a:pt x="1169" y="30"/>
                  </a:lnTo>
                  <a:lnTo>
                    <a:pt x="1169" y="30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71" y="27"/>
                  </a:lnTo>
                  <a:lnTo>
                    <a:pt x="1166" y="27"/>
                  </a:lnTo>
                  <a:lnTo>
                    <a:pt x="1164" y="27"/>
                  </a:lnTo>
                  <a:lnTo>
                    <a:pt x="1162" y="27"/>
                  </a:lnTo>
                  <a:lnTo>
                    <a:pt x="1160" y="27"/>
                  </a:lnTo>
                  <a:lnTo>
                    <a:pt x="1157" y="27"/>
                  </a:lnTo>
                  <a:lnTo>
                    <a:pt x="1157" y="27"/>
                  </a:lnTo>
                  <a:lnTo>
                    <a:pt x="1157" y="27"/>
                  </a:lnTo>
                  <a:lnTo>
                    <a:pt x="1157" y="25"/>
                  </a:lnTo>
                  <a:lnTo>
                    <a:pt x="1160" y="25"/>
                  </a:lnTo>
                  <a:lnTo>
                    <a:pt x="1160" y="25"/>
                  </a:lnTo>
                  <a:lnTo>
                    <a:pt x="1160" y="25"/>
                  </a:lnTo>
                  <a:lnTo>
                    <a:pt x="1160" y="25"/>
                  </a:lnTo>
                  <a:lnTo>
                    <a:pt x="1160" y="25"/>
                  </a:lnTo>
                  <a:lnTo>
                    <a:pt x="1160" y="25"/>
                  </a:lnTo>
                  <a:lnTo>
                    <a:pt x="1162" y="25"/>
                  </a:lnTo>
                  <a:lnTo>
                    <a:pt x="1164" y="25"/>
                  </a:lnTo>
                  <a:lnTo>
                    <a:pt x="1166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69" y="25"/>
                  </a:lnTo>
                  <a:lnTo>
                    <a:pt x="1171" y="25"/>
                  </a:lnTo>
                  <a:lnTo>
                    <a:pt x="1173" y="25"/>
                  </a:lnTo>
                  <a:lnTo>
                    <a:pt x="1175" y="25"/>
                  </a:lnTo>
                  <a:lnTo>
                    <a:pt x="1178" y="25"/>
                  </a:lnTo>
                  <a:close/>
                  <a:moveTo>
                    <a:pt x="1211" y="108"/>
                  </a:moveTo>
                  <a:lnTo>
                    <a:pt x="1211" y="108"/>
                  </a:lnTo>
                  <a:lnTo>
                    <a:pt x="1211" y="108"/>
                  </a:lnTo>
                  <a:lnTo>
                    <a:pt x="1211" y="108"/>
                  </a:lnTo>
                  <a:lnTo>
                    <a:pt x="1209" y="108"/>
                  </a:lnTo>
                  <a:lnTo>
                    <a:pt x="1205" y="108"/>
                  </a:lnTo>
                  <a:lnTo>
                    <a:pt x="1205" y="108"/>
                  </a:lnTo>
                  <a:lnTo>
                    <a:pt x="1205" y="108"/>
                  </a:lnTo>
                  <a:lnTo>
                    <a:pt x="1205" y="108"/>
                  </a:lnTo>
                  <a:lnTo>
                    <a:pt x="1205" y="108"/>
                  </a:lnTo>
                  <a:lnTo>
                    <a:pt x="1205" y="108"/>
                  </a:lnTo>
                  <a:lnTo>
                    <a:pt x="1205" y="108"/>
                  </a:lnTo>
                  <a:lnTo>
                    <a:pt x="1205" y="106"/>
                  </a:lnTo>
                  <a:lnTo>
                    <a:pt x="1202" y="106"/>
                  </a:lnTo>
                  <a:lnTo>
                    <a:pt x="1202" y="106"/>
                  </a:lnTo>
                  <a:lnTo>
                    <a:pt x="1202" y="106"/>
                  </a:lnTo>
                  <a:lnTo>
                    <a:pt x="1202" y="106"/>
                  </a:lnTo>
                  <a:lnTo>
                    <a:pt x="1202" y="106"/>
                  </a:lnTo>
                  <a:lnTo>
                    <a:pt x="1202" y="104"/>
                  </a:lnTo>
                  <a:lnTo>
                    <a:pt x="1202" y="104"/>
                  </a:lnTo>
                  <a:lnTo>
                    <a:pt x="1202" y="104"/>
                  </a:lnTo>
                  <a:lnTo>
                    <a:pt x="1200" y="104"/>
                  </a:lnTo>
                  <a:lnTo>
                    <a:pt x="1200" y="104"/>
                  </a:lnTo>
                  <a:lnTo>
                    <a:pt x="1200" y="104"/>
                  </a:lnTo>
                  <a:lnTo>
                    <a:pt x="1200" y="104"/>
                  </a:lnTo>
                  <a:lnTo>
                    <a:pt x="1200" y="104"/>
                  </a:lnTo>
                  <a:lnTo>
                    <a:pt x="1200" y="104"/>
                  </a:lnTo>
                  <a:lnTo>
                    <a:pt x="1200" y="104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200" y="106"/>
                  </a:lnTo>
                  <a:lnTo>
                    <a:pt x="1198" y="106"/>
                  </a:lnTo>
                  <a:lnTo>
                    <a:pt x="1198" y="106"/>
                  </a:lnTo>
                  <a:lnTo>
                    <a:pt x="1198" y="108"/>
                  </a:lnTo>
                  <a:lnTo>
                    <a:pt x="1198" y="108"/>
                  </a:lnTo>
                  <a:lnTo>
                    <a:pt x="1198" y="108"/>
                  </a:lnTo>
                  <a:lnTo>
                    <a:pt x="1198" y="108"/>
                  </a:lnTo>
                  <a:lnTo>
                    <a:pt x="1193" y="108"/>
                  </a:lnTo>
                  <a:lnTo>
                    <a:pt x="1191" y="108"/>
                  </a:lnTo>
                  <a:lnTo>
                    <a:pt x="1191" y="108"/>
                  </a:lnTo>
                  <a:lnTo>
                    <a:pt x="1191" y="106"/>
                  </a:lnTo>
                  <a:lnTo>
                    <a:pt x="1191" y="106"/>
                  </a:lnTo>
                  <a:lnTo>
                    <a:pt x="1191" y="106"/>
                  </a:lnTo>
                  <a:lnTo>
                    <a:pt x="1191" y="106"/>
                  </a:lnTo>
                  <a:lnTo>
                    <a:pt x="1189" y="106"/>
                  </a:lnTo>
                  <a:lnTo>
                    <a:pt x="1189" y="106"/>
                  </a:lnTo>
                  <a:lnTo>
                    <a:pt x="1189" y="106"/>
                  </a:lnTo>
                  <a:lnTo>
                    <a:pt x="1189" y="106"/>
                  </a:lnTo>
                  <a:lnTo>
                    <a:pt x="1189" y="106"/>
                  </a:lnTo>
                  <a:lnTo>
                    <a:pt x="1187" y="106"/>
                  </a:lnTo>
                  <a:lnTo>
                    <a:pt x="1187" y="106"/>
                  </a:lnTo>
                  <a:lnTo>
                    <a:pt x="1187" y="106"/>
                  </a:lnTo>
                  <a:lnTo>
                    <a:pt x="1187" y="106"/>
                  </a:lnTo>
                  <a:lnTo>
                    <a:pt x="1187" y="106"/>
                  </a:lnTo>
                  <a:lnTo>
                    <a:pt x="1187" y="108"/>
                  </a:lnTo>
                  <a:lnTo>
                    <a:pt x="1187" y="108"/>
                  </a:lnTo>
                  <a:lnTo>
                    <a:pt x="1187" y="108"/>
                  </a:lnTo>
                  <a:lnTo>
                    <a:pt x="1187" y="108"/>
                  </a:lnTo>
                  <a:lnTo>
                    <a:pt x="1187" y="108"/>
                  </a:lnTo>
                  <a:lnTo>
                    <a:pt x="1187" y="108"/>
                  </a:lnTo>
                  <a:lnTo>
                    <a:pt x="1193" y="111"/>
                  </a:lnTo>
                  <a:lnTo>
                    <a:pt x="1193" y="111"/>
                  </a:lnTo>
                  <a:lnTo>
                    <a:pt x="1193" y="111"/>
                  </a:lnTo>
                  <a:lnTo>
                    <a:pt x="1193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82" y="111"/>
                  </a:lnTo>
                  <a:lnTo>
                    <a:pt x="1178" y="111"/>
                  </a:lnTo>
                  <a:lnTo>
                    <a:pt x="1178" y="111"/>
                  </a:lnTo>
                  <a:lnTo>
                    <a:pt x="1178" y="111"/>
                  </a:lnTo>
                  <a:lnTo>
                    <a:pt x="1178" y="111"/>
                  </a:lnTo>
                  <a:lnTo>
                    <a:pt x="1178" y="111"/>
                  </a:lnTo>
                  <a:lnTo>
                    <a:pt x="1175" y="108"/>
                  </a:lnTo>
                  <a:lnTo>
                    <a:pt x="1173" y="108"/>
                  </a:lnTo>
                  <a:lnTo>
                    <a:pt x="1171" y="108"/>
                  </a:lnTo>
                  <a:lnTo>
                    <a:pt x="1171" y="108"/>
                  </a:lnTo>
                  <a:lnTo>
                    <a:pt x="1169" y="108"/>
                  </a:lnTo>
                  <a:lnTo>
                    <a:pt x="1169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6" y="108"/>
                  </a:lnTo>
                  <a:lnTo>
                    <a:pt x="1169" y="108"/>
                  </a:lnTo>
                  <a:lnTo>
                    <a:pt x="1169" y="106"/>
                  </a:lnTo>
                  <a:lnTo>
                    <a:pt x="1169" y="106"/>
                  </a:lnTo>
                  <a:lnTo>
                    <a:pt x="1171" y="106"/>
                  </a:lnTo>
                  <a:lnTo>
                    <a:pt x="1171" y="106"/>
                  </a:lnTo>
                  <a:lnTo>
                    <a:pt x="1171" y="106"/>
                  </a:lnTo>
                  <a:lnTo>
                    <a:pt x="1171" y="106"/>
                  </a:lnTo>
                  <a:lnTo>
                    <a:pt x="1169" y="104"/>
                  </a:lnTo>
                  <a:lnTo>
                    <a:pt x="1169" y="104"/>
                  </a:lnTo>
                  <a:lnTo>
                    <a:pt x="1169" y="104"/>
                  </a:lnTo>
                  <a:lnTo>
                    <a:pt x="1171" y="106"/>
                  </a:lnTo>
                  <a:lnTo>
                    <a:pt x="1171" y="106"/>
                  </a:lnTo>
                  <a:lnTo>
                    <a:pt x="1171" y="106"/>
                  </a:lnTo>
                  <a:lnTo>
                    <a:pt x="1166" y="106"/>
                  </a:lnTo>
                  <a:lnTo>
                    <a:pt x="1164" y="106"/>
                  </a:lnTo>
                  <a:lnTo>
                    <a:pt x="1164" y="106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4" y="108"/>
                  </a:lnTo>
                  <a:lnTo>
                    <a:pt x="1162" y="108"/>
                  </a:lnTo>
                  <a:lnTo>
                    <a:pt x="1162" y="108"/>
                  </a:lnTo>
                  <a:lnTo>
                    <a:pt x="1162" y="108"/>
                  </a:lnTo>
                  <a:lnTo>
                    <a:pt x="1162" y="108"/>
                  </a:lnTo>
                  <a:lnTo>
                    <a:pt x="1162" y="108"/>
                  </a:lnTo>
                  <a:lnTo>
                    <a:pt x="1160" y="108"/>
                  </a:lnTo>
                  <a:lnTo>
                    <a:pt x="1160" y="108"/>
                  </a:lnTo>
                  <a:lnTo>
                    <a:pt x="1157" y="108"/>
                  </a:lnTo>
                  <a:lnTo>
                    <a:pt x="1157" y="108"/>
                  </a:lnTo>
                  <a:lnTo>
                    <a:pt x="1157" y="108"/>
                  </a:lnTo>
                  <a:lnTo>
                    <a:pt x="1157" y="108"/>
                  </a:lnTo>
                  <a:lnTo>
                    <a:pt x="1157" y="108"/>
                  </a:lnTo>
                  <a:lnTo>
                    <a:pt x="1157" y="108"/>
                  </a:lnTo>
                  <a:lnTo>
                    <a:pt x="1157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4"/>
                  </a:lnTo>
                  <a:lnTo>
                    <a:pt x="1155" y="106"/>
                  </a:lnTo>
                  <a:lnTo>
                    <a:pt x="1155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6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3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3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51" y="108"/>
                  </a:lnTo>
                  <a:lnTo>
                    <a:pt x="1148" y="111"/>
                  </a:lnTo>
                  <a:lnTo>
                    <a:pt x="1148" y="111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8" y="108"/>
                  </a:lnTo>
                  <a:lnTo>
                    <a:pt x="1148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46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39" y="108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6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4" y="104"/>
                  </a:lnTo>
                  <a:lnTo>
                    <a:pt x="1144" y="104"/>
                  </a:lnTo>
                  <a:lnTo>
                    <a:pt x="1144" y="104"/>
                  </a:lnTo>
                  <a:lnTo>
                    <a:pt x="1144" y="104"/>
                  </a:lnTo>
                  <a:lnTo>
                    <a:pt x="1144" y="102"/>
                  </a:lnTo>
                  <a:lnTo>
                    <a:pt x="1144" y="102"/>
                  </a:lnTo>
                  <a:lnTo>
                    <a:pt x="1144" y="102"/>
                  </a:lnTo>
                  <a:lnTo>
                    <a:pt x="1146" y="102"/>
                  </a:lnTo>
                  <a:lnTo>
                    <a:pt x="1146" y="102"/>
                  </a:lnTo>
                  <a:lnTo>
                    <a:pt x="1146" y="102"/>
                  </a:lnTo>
                  <a:lnTo>
                    <a:pt x="1144" y="102"/>
                  </a:lnTo>
                  <a:lnTo>
                    <a:pt x="1144" y="102"/>
                  </a:lnTo>
                  <a:lnTo>
                    <a:pt x="1144" y="102"/>
                  </a:lnTo>
                  <a:lnTo>
                    <a:pt x="1144" y="102"/>
                  </a:lnTo>
                  <a:lnTo>
                    <a:pt x="1142" y="102"/>
                  </a:lnTo>
                  <a:lnTo>
                    <a:pt x="1142" y="102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42" y="104"/>
                  </a:lnTo>
                  <a:lnTo>
                    <a:pt x="1139" y="104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42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7" y="108"/>
                  </a:lnTo>
                  <a:lnTo>
                    <a:pt x="1137" y="108"/>
                  </a:lnTo>
                  <a:lnTo>
                    <a:pt x="1137" y="108"/>
                  </a:lnTo>
                  <a:lnTo>
                    <a:pt x="1137" y="108"/>
                  </a:lnTo>
                  <a:lnTo>
                    <a:pt x="1135" y="108"/>
                  </a:lnTo>
                  <a:lnTo>
                    <a:pt x="1135" y="108"/>
                  </a:lnTo>
                  <a:lnTo>
                    <a:pt x="1135" y="108"/>
                  </a:lnTo>
                  <a:lnTo>
                    <a:pt x="1135" y="108"/>
                  </a:lnTo>
                  <a:lnTo>
                    <a:pt x="1135" y="108"/>
                  </a:lnTo>
                  <a:lnTo>
                    <a:pt x="1135" y="108"/>
                  </a:lnTo>
                  <a:lnTo>
                    <a:pt x="1137" y="108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9" y="106"/>
                  </a:lnTo>
                  <a:lnTo>
                    <a:pt x="1139" y="104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7" y="106"/>
                  </a:lnTo>
                  <a:lnTo>
                    <a:pt x="1135" y="106"/>
                  </a:lnTo>
                  <a:lnTo>
                    <a:pt x="1135" y="106"/>
                  </a:lnTo>
                  <a:lnTo>
                    <a:pt x="1135" y="106"/>
                  </a:lnTo>
                  <a:lnTo>
                    <a:pt x="1135" y="106"/>
                  </a:lnTo>
                  <a:lnTo>
                    <a:pt x="1135" y="108"/>
                  </a:lnTo>
                  <a:lnTo>
                    <a:pt x="1135" y="108"/>
                  </a:lnTo>
                  <a:lnTo>
                    <a:pt x="1133" y="108"/>
                  </a:lnTo>
                  <a:lnTo>
                    <a:pt x="1133" y="108"/>
                  </a:lnTo>
                  <a:lnTo>
                    <a:pt x="1133" y="108"/>
                  </a:lnTo>
                  <a:lnTo>
                    <a:pt x="1133" y="108"/>
                  </a:lnTo>
                  <a:lnTo>
                    <a:pt x="1133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30" y="108"/>
                  </a:lnTo>
                  <a:lnTo>
                    <a:pt x="1128" y="108"/>
                  </a:lnTo>
                  <a:lnTo>
                    <a:pt x="1128" y="108"/>
                  </a:lnTo>
                  <a:lnTo>
                    <a:pt x="1128" y="108"/>
                  </a:lnTo>
                  <a:lnTo>
                    <a:pt x="1128" y="108"/>
                  </a:lnTo>
                  <a:lnTo>
                    <a:pt x="1128" y="108"/>
                  </a:lnTo>
                  <a:lnTo>
                    <a:pt x="1126" y="106"/>
                  </a:lnTo>
                  <a:lnTo>
                    <a:pt x="1126" y="106"/>
                  </a:lnTo>
                  <a:lnTo>
                    <a:pt x="1126" y="106"/>
                  </a:lnTo>
                  <a:lnTo>
                    <a:pt x="1128" y="106"/>
                  </a:lnTo>
                  <a:lnTo>
                    <a:pt x="1128" y="106"/>
                  </a:lnTo>
                  <a:lnTo>
                    <a:pt x="1128" y="106"/>
                  </a:lnTo>
                  <a:lnTo>
                    <a:pt x="1128" y="106"/>
                  </a:lnTo>
                  <a:lnTo>
                    <a:pt x="1128" y="106"/>
                  </a:lnTo>
                  <a:lnTo>
                    <a:pt x="1128" y="106"/>
                  </a:lnTo>
                  <a:lnTo>
                    <a:pt x="1128" y="106"/>
                  </a:lnTo>
                  <a:lnTo>
                    <a:pt x="1126" y="106"/>
                  </a:lnTo>
                  <a:lnTo>
                    <a:pt x="1126" y="106"/>
                  </a:lnTo>
                  <a:lnTo>
                    <a:pt x="1126" y="106"/>
                  </a:lnTo>
                  <a:lnTo>
                    <a:pt x="1124" y="106"/>
                  </a:lnTo>
                  <a:lnTo>
                    <a:pt x="1124" y="106"/>
                  </a:lnTo>
                  <a:lnTo>
                    <a:pt x="1126" y="106"/>
                  </a:lnTo>
                  <a:lnTo>
                    <a:pt x="1126" y="106"/>
                  </a:lnTo>
                  <a:lnTo>
                    <a:pt x="1126" y="106"/>
                  </a:lnTo>
                  <a:lnTo>
                    <a:pt x="1126" y="104"/>
                  </a:lnTo>
                  <a:lnTo>
                    <a:pt x="1126" y="104"/>
                  </a:lnTo>
                  <a:lnTo>
                    <a:pt x="1126" y="104"/>
                  </a:lnTo>
                  <a:lnTo>
                    <a:pt x="1126" y="104"/>
                  </a:lnTo>
                  <a:lnTo>
                    <a:pt x="1126" y="104"/>
                  </a:lnTo>
                  <a:lnTo>
                    <a:pt x="1130" y="104"/>
                  </a:lnTo>
                  <a:lnTo>
                    <a:pt x="1130" y="104"/>
                  </a:lnTo>
                  <a:lnTo>
                    <a:pt x="1130" y="104"/>
                  </a:lnTo>
                  <a:lnTo>
                    <a:pt x="1130" y="104"/>
                  </a:lnTo>
                  <a:lnTo>
                    <a:pt x="1130" y="104"/>
                  </a:lnTo>
                  <a:lnTo>
                    <a:pt x="1130" y="102"/>
                  </a:lnTo>
                  <a:lnTo>
                    <a:pt x="1130" y="102"/>
                  </a:lnTo>
                  <a:lnTo>
                    <a:pt x="1130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0" y="102"/>
                  </a:lnTo>
                  <a:lnTo>
                    <a:pt x="1130" y="102"/>
                  </a:lnTo>
                  <a:lnTo>
                    <a:pt x="1130" y="102"/>
                  </a:lnTo>
                  <a:lnTo>
                    <a:pt x="1130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102"/>
                  </a:lnTo>
                  <a:lnTo>
                    <a:pt x="1133" y="99"/>
                  </a:lnTo>
                  <a:lnTo>
                    <a:pt x="1133" y="99"/>
                  </a:lnTo>
                  <a:lnTo>
                    <a:pt x="1142" y="99"/>
                  </a:lnTo>
                  <a:lnTo>
                    <a:pt x="1142" y="99"/>
                  </a:lnTo>
                  <a:lnTo>
                    <a:pt x="1142" y="97"/>
                  </a:lnTo>
                  <a:lnTo>
                    <a:pt x="1142" y="97"/>
                  </a:lnTo>
                  <a:lnTo>
                    <a:pt x="1146" y="97"/>
                  </a:lnTo>
                  <a:lnTo>
                    <a:pt x="1148" y="97"/>
                  </a:lnTo>
                  <a:lnTo>
                    <a:pt x="1151" y="97"/>
                  </a:lnTo>
                  <a:lnTo>
                    <a:pt x="1151" y="97"/>
                  </a:lnTo>
                  <a:lnTo>
                    <a:pt x="1151" y="97"/>
                  </a:lnTo>
                  <a:lnTo>
                    <a:pt x="1151" y="97"/>
                  </a:lnTo>
                  <a:lnTo>
                    <a:pt x="1153" y="95"/>
                  </a:lnTo>
                  <a:lnTo>
                    <a:pt x="1153" y="97"/>
                  </a:lnTo>
                  <a:lnTo>
                    <a:pt x="1151" y="95"/>
                  </a:lnTo>
                  <a:lnTo>
                    <a:pt x="1151" y="95"/>
                  </a:lnTo>
                  <a:lnTo>
                    <a:pt x="1153" y="95"/>
                  </a:lnTo>
                  <a:lnTo>
                    <a:pt x="1155" y="95"/>
                  </a:lnTo>
                  <a:lnTo>
                    <a:pt x="1157" y="95"/>
                  </a:lnTo>
                  <a:lnTo>
                    <a:pt x="1157" y="95"/>
                  </a:lnTo>
                  <a:lnTo>
                    <a:pt x="1157" y="95"/>
                  </a:lnTo>
                  <a:lnTo>
                    <a:pt x="1155" y="95"/>
                  </a:lnTo>
                  <a:lnTo>
                    <a:pt x="1155" y="95"/>
                  </a:lnTo>
                  <a:lnTo>
                    <a:pt x="1155" y="95"/>
                  </a:lnTo>
                  <a:lnTo>
                    <a:pt x="1160" y="95"/>
                  </a:lnTo>
                  <a:lnTo>
                    <a:pt x="1162" y="95"/>
                  </a:lnTo>
                  <a:lnTo>
                    <a:pt x="1162" y="95"/>
                  </a:lnTo>
                  <a:lnTo>
                    <a:pt x="1164" y="95"/>
                  </a:lnTo>
                  <a:lnTo>
                    <a:pt x="1164" y="95"/>
                  </a:lnTo>
                  <a:lnTo>
                    <a:pt x="1164" y="95"/>
                  </a:lnTo>
                  <a:lnTo>
                    <a:pt x="1164" y="97"/>
                  </a:lnTo>
                  <a:lnTo>
                    <a:pt x="1164" y="95"/>
                  </a:lnTo>
                  <a:lnTo>
                    <a:pt x="1166" y="95"/>
                  </a:lnTo>
                  <a:lnTo>
                    <a:pt x="1166" y="95"/>
                  </a:lnTo>
                  <a:lnTo>
                    <a:pt x="1166" y="95"/>
                  </a:lnTo>
                  <a:lnTo>
                    <a:pt x="1166" y="95"/>
                  </a:lnTo>
                  <a:lnTo>
                    <a:pt x="1166" y="95"/>
                  </a:lnTo>
                  <a:lnTo>
                    <a:pt x="1169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3" y="95"/>
                  </a:lnTo>
                  <a:lnTo>
                    <a:pt x="1175" y="95"/>
                  </a:lnTo>
                  <a:lnTo>
                    <a:pt x="1175" y="95"/>
                  </a:lnTo>
                  <a:lnTo>
                    <a:pt x="1175" y="95"/>
                  </a:lnTo>
                  <a:lnTo>
                    <a:pt x="1173" y="95"/>
                  </a:lnTo>
                  <a:lnTo>
                    <a:pt x="1175" y="95"/>
                  </a:lnTo>
                  <a:lnTo>
                    <a:pt x="1178" y="95"/>
                  </a:lnTo>
                  <a:lnTo>
                    <a:pt x="1178" y="95"/>
                  </a:lnTo>
                  <a:lnTo>
                    <a:pt x="1175" y="95"/>
                  </a:lnTo>
                  <a:lnTo>
                    <a:pt x="1175" y="95"/>
                  </a:lnTo>
                  <a:lnTo>
                    <a:pt x="1175" y="95"/>
                  </a:lnTo>
                  <a:lnTo>
                    <a:pt x="1171" y="95"/>
                  </a:lnTo>
                  <a:lnTo>
                    <a:pt x="1171" y="95"/>
                  </a:lnTo>
                  <a:lnTo>
                    <a:pt x="1171" y="95"/>
                  </a:lnTo>
                  <a:lnTo>
                    <a:pt x="1171" y="95"/>
                  </a:lnTo>
                  <a:lnTo>
                    <a:pt x="1171" y="95"/>
                  </a:lnTo>
                  <a:lnTo>
                    <a:pt x="1171" y="95"/>
                  </a:lnTo>
                  <a:lnTo>
                    <a:pt x="1171" y="95"/>
                  </a:lnTo>
                  <a:lnTo>
                    <a:pt x="1173" y="93"/>
                  </a:lnTo>
                  <a:lnTo>
                    <a:pt x="1173" y="93"/>
                  </a:lnTo>
                  <a:lnTo>
                    <a:pt x="1175" y="93"/>
                  </a:lnTo>
                  <a:lnTo>
                    <a:pt x="1175" y="93"/>
                  </a:lnTo>
                  <a:lnTo>
                    <a:pt x="1175" y="93"/>
                  </a:lnTo>
                  <a:lnTo>
                    <a:pt x="1175" y="93"/>
                  </a:lnTo>
                  <a:lnTo>
                    <a:pt x="1175" y="93"/>
                  </a:lnTo>
                  <a:lnTo>
                    <a:pt x="1173" y="93"/>
                  </a:lnTo>
                  <a:lnTo>
                    <a:pt x="1171" y="93"/>
                  </a:lnTo>
                  <a:lnTo>
                    <a:pt x="1173" y="93"/>
                  </a:lnTo>
                  <a:lnTo>
                    <a:pt x="1173" y="93"/>
                  </a:lnTo>
                  <a:lnTo>
                    <a:pt x="1175" y="93"/>
                  </a:lnTo>
                  <a:lnTo>
                    <a:pt x="1175" y="93"/>
                  </a:lnTo>
                  <a:lnTo>
                    <a:pt x="1178" y="93"/>
                  </a:lnTo>
                  <a:lnTo>
                    <a:pt x="1178" y="90"/>
                  </a:lnTo>
                  <a:lnTo>
                    <a:pt x="1178" y="90"/>
                  </a:lnTo>
                  <a:lnTo>
                    <a:pt x="1175" y="90"/>
                  </a:lnTo>
                  <a:lnTo>
                    <a:pt x="1171" y="93"/>
                  </a:lnTo>
                  <a:lnTo>
                    <a:pt x="1166" y="93"/>
                  </a:lnTo>
                  <a:lnTo>
                    <a:pt x="1166" y="90"/>
                  </a:lnTo>
                  <a:lnTo>
                    <a:pt x="1169" y="90"/>
                  </a:lnTo>
                  <a:lnTo>
                    <a:pt x="1166" y="90"/>
                  </a:lnTo>
                  <a:lnTo>
                    <a:pt x="1166" y="90"/>
                  </a:lnTo>
                  <a:lnTo>
                    <a:pt x="1166" y="90"/>
                  </a:lnTo>
                  <a:lnTo>
                    <a:pt x="1166" y="90"/>
                  </a:lnTo>
                  <a:lnTo>
                    <a:pt x="1169" y="90"/>
                  </a:lnTo>
                  <a:lnTo>
                    <a:pt x="1169" y="90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71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9" y="88"/>
                  </a:lnTo>
                  <a:lnTo>
                    <a:pt x="1166" y="86"/>
                  </a:lnTo>
                  <a:lnTo>
                    <a:pt x="1166" y="86"/>
                  </a:lnTo>
                  <a:lnTo>
                    <a:pt x="1166" y="86"/>
                  </a:lnTo>
                  <a:lnTo>
                    <a:pt x="1166" y="86"/>
                  </a:lnTo>
                  <a:lnTo>
                    <a:pt x="1166" y="86"/>
                  </a:lnTo>
                  <a:lnTo>
                    <a:pt x="1166" y="86"/>
                  </a:lnTo>
                  <a:lnTo>
                    <a:pt x="1169" y="86"/>
                  </a:lnTo>
                  <a:lnTo>
                    <a:pt x="1169" y="86"/>
                  </a:lnTo>
                  <a:lnTo>
                    <a:pt x="1169" y="86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6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69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71" y="84"/>
                  </a:lnTo>
                  <a:lnTo>
                    <a:pt x="1184" y="81"/>
                  </a:lnTo>
                  <a:lnTo>
                    <a:pt x="1189" y="81"/>
                  </a:lnTo>
                  <a:lnTo>
                    <a:pt x="1191" y="84"/>
                  </a:lnTo>
                  <a:lnTo>
                    <a:pt x="1193" y="84"/>
                  </a:lnTo>
                  <a:lnTo>
                    <a:pt x="1196" y="84"/>
                  </a:lnTo>
                  <a:lnTo>
                    <a:pt x="1196" y="86"/>
                  </a:lnTo>
                  <a:lnTo>
                    <a:pt x="1198" y="86"/>
                  </a:lnTo>
                  <a:lnTo>
                    <a:pt x="1198" y="86"/>
                  </a:lnTo>
                  <a:lnTo>
                    <a:pt x="1198" y="86"/>
                  </a:lnTo>
                  <a:lnTo>
                    <a:pt x="1198" y="86"/>
                  </a:lnTo>
                  <a:lnTo>
                    <a:pt x="1198" y="86"/>
                  </a:lnTo>
                  <a:lnTo>
                    <a:pt x="1196" y="86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88"/>
                  </a:lnTo>
                  <a:lnTo>
                    <a:pt x="1196" y="90"/>
                  </a:lnTo>
                  <a:lnTo>
                    <a:pt x="1196" y="90"/>
                  </a:lnTo>
                  <a:lnTo>
                    <a:pt x="1193" y="90"/>
                  </a:lnTo>
                  <a:lnTo>
                    <a:pt x="1196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200" y="90"/>
                  </a:lnTo>
                  <a:lnTo>
                    <a:pt x="1200" y="90"/>
                  </a:lnTo>
                  <a:lnTo>
                    <a:pt x="1200" y="90"/>
                  </a:lnTo>
                  <a:lnTo>
                    <a:pt x="1200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198" y="90"/>
                  </a:lnTo>
                  <a:lnTo>
                    <a:pt x="1200" y="90"/>
                  </a:lnTo>
                  <a:lnTo>
                    <a:pt x="1205" y="90"/>
                  </a:lnTo>
                  <a:lnTo>
                    <a:pt x="1205" y="90"/>
                  </a:lnTo>
                  <a:lnTo>
                    <a:pt x="1207" y="93"/>
                  </a:lnTo>
                  <a:lnTo>
                    <a:pt x="1209" y="93"/>
                  </a:lnTo>
                  <a:lnTo>
                    <a:pt x="1209" y="93"/>
                  </a:lnTo>
                  <a:lnTo>
                    <a:pt x="1209" y="93"/>
                  </a:lnTo>
                  <a:lnTo>
                    <a:pt x="1209" y="93"/>
                  </a:lnTo>
                  <a:lnTo>
                    <a:pt x="1209" y="90"/>
                  </a:lnTo>
                  <a:lnTo>
                    <a:pt x="1209" y="90"/>
                  </a:lnTo>
                  <a:lnTo>
                    <a:pt x="1209" y="90"/>
                  </a:lnTo>
                  <a:lnTo>
                    <a:pt x="1209" y="90"/>
                  </a:lnTo>
                  <a:lnTo>
                    <a:pt x="1211" y="90"/>
                  </a:lnTo>
                  <a:lnTo>
                    <a:pt x="1211" y="90"/>
                  </a:lnTo>
                  <a:lnTo>
                    <a:pt x="1214" y="90"/>
                  </a:lnTo>
                  <a:lnTo>
                    <a:pt x="1218" y="90"/>
                  </a:lnTo>
                  <a:lnTo>
                    <a:pt x="1225" y="93"/>
                  </a:lnTo>
                  <a:lnTo>
                    <a:pt x="1225" y="90"/>
                  </a:lnTo>
                  <a:lnTo>
                    <a:pt x="1225" y="90"/>
                  </a:lnTo>
                  <a:lnTo>
                    <a:pt x="1225" y="90"/>
                  </a:lnTo>
                  <a:lnTo>
                    <a:pt x="1220" y="90"/>
                  </a:lnTo>
                  <a:lnTo>
                    <a:pt x="1220" y="90"/>
                  </a:lnTo>
                  <a:lnTo>
                    <a:pt x="1223" y="90"/>
                  </a:lnTo>
                  <a:lnTo>
                    <a:pt x="1225" y="90"/>
                  </a:lnTo>
                  <a:lnTo>
                    <a:pt x="1225" y="90"/>
                  </a:lnTo>
                  <a:lnTo>
                    <a:pt x="1227" y="88"/>
                  </a:lnTo>
                  <a:lnTo>
                    <a:pt x="1227" y="88"/>
                  </a:lnTo>
                  <a:lnTo>
                    <a:pt x="1229" y="88"/>
                  </a:lnTo>
                  <a:lnTo>
                    <a:pt x="1229" y="88"/>
                  </a:lnTo>
                  <a:lnTo>
                    <a:pt x="1229" y="88"/>
                  </a:lnTo>
                  <a:lnTo>
                    <a:pt x="1229" y="88"/>
                  </a:lnTo>
                  <a:lnTo>
                    <a:pt x="1232" y="88"/>
                  </a:lnTo>
                  <a:lnTo>
                    <a:pt x="1232" y="88"/>
                  </a:lnTo>
                  <a:lnTo>
                    <a:pt x="1236" y="86"/>
                  </a:lnTo>
                  <a:lnTo>
                    <a:pt x="1236" y="86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38" y="86"/>
                  </a:lnTo>
                  <a:lnTo>
                    <a:pt x="1243" y="84"/>
                  </a:lnTo>
                  <a:lnTo>
                    <a:pt x="1243" y="84"/>
                  </a:lnTo>
                  <a:lnTo>
                    <a:pt x="1243" y="84"/>
                  </a:lnTo>
                  <a:lnTo>
                    <a:pt x="1243" y="84"/>
                  </a:lnTo>
                  <a:lnTo>
                    <a:pt x="1245" y="84"/>
                  </a:lnTo>
                  <a:lnTo>
                    <a:pt x="1245" y="84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7" y="81"/>
                  </a:lnTo>
                  <a:lnTo>
                    <a:pt x="1247" y="81"/>
                  </a:lnTo>
                  <a:lnTo>
                    <a:pt x="1247" y="81"/>
                  </a:lnTo>
                  <a:lnTo>
                    <a:pt x="1247" y="81"/>
                  </a:lnTo>
                  <a:lnTo>
                    <a:pt x="1250" y="81"/>
                  </a:lnTo>
                  <a:lnTo>
                    <a:pt x="1250" y="81"/>
                  </a:lnTo>
                  <a:lnTo>
                    <a:pt x="1247" y="81"/>
                  </a:lnTo>
                  <a:lnTo>
                    <a:pt x="1247" y="81"/>
                  </a:lnTo>
                  <a:lnTo>
                    <a:pt x="1250" y="81"/>
                  </a:lnTo>
                  <a:lnTo>
                    <a:pt x="1250" y="81"/>
                  </a:lnTo>
                  <a:lnTo>
                    <a:pt x="1250" y="81"/>
                  </a:lnTo>
                  <a:lnTo>
                    <a:pt x="1250" y="79"/>
                  </a:lnTo>
                  <a:lnTo>
                    <a:pt x="1250" y="79"/>
                  </a:lnTo>
                  <a:lnTo>
                    <a:pt x="1250" y="79"/>
                  </a:lnTo>
                  <a:lnTo>
                    <a:pt x="1250" y="79"/>
                  </a:lnTo>
                  <a:lnTo>
                    <a:pt x="1252" y="79"/>
                  </a:lnTo>
                  <a:lnTo>
                    <a:pt x="1252" y="79"/>
                  </a:lnTo>
                  <a:lnTo>
                    <a:pt x="1252" y="79"/>
                  </a:lnTo>
                  <a:lnTo>
                    <a:pt x="1254" y="79"/>
                  </a:lnTo>
                  <a:lnTo>
                    <a:pt x="1254" y="79"/>
                  </a:lnTo>
                  <a:lnTo>
                    <a:pt x="1252" y="79"/>
                  </a:lnTo>
                  <a:lnTo>
                    <a:pt x="1250" y="79"/>
                  </a:lnTo>
                  <a:lnTo>
                    <a:pt x="1247" y="79"/>
                  </a:lnTo>
                  <a:lnTo>
                    <a:pt x="1245" y="79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5" y="81"/>
                  </a:lnTo>
                  <a:lnTo>
                    <a:pt x="1241" y="81"/>
                  </a:lnTo>
                  <a:lnTo>
                    <a:pt x="1241" y="81"/>
                  </a:lnTo>
                  <a:lnTo>
                    <a:pt x="1241" y="84"/>
                  </a:lnTo>
                  <a:lnTo>
                    <a:pt x="1241" y="84"/>
                  </a:lnTo>
                  <a:lnTo>
                    <a:pt x="1241" y="84"/>
                  </a:lnTo>
                  <a:lnTo>
                    <a:pt x="1241" y="84"/>
                  </a:lnTo>
                  <a:lnTo>
                    <a:pt x="1241" y="84"/>
                  </a:lnTo>
                  <a:lnTo>
                    <a:pt x="1241" y="84"/>
                  </a:lnTo>
                  <a:lnTo>
                    <a:pt x="1238" y="84"/>
                  </a:lnTo>
                  <a:lnTo>
                    <a:pt x="1238" y="84"/>
                  </a:lnTo>
                  <a:lnTo>
                    <a:pt x="1236" y="84"/>
                  </a:lnTo>
                  <a:lnTo>
                    <a:pt x="1236" y="86"/>
                  </a:lnTo>
                  <a:lnTo>
                    <a:pt x="1234" y="86"/>
                  </a:lnTo>
                  <a:lnTo>
                    <a:pt x="1234" y="86"/>
                  </a:lnTo>
                  <a:lnTo>
                    <a:pt x="1232" y="86"/>
                  </a:lnTo>
                  <a:lnTo>
                    <a:pt x="1232" y="86"/>
                  </a:lnTo>
                  <a:lnTo>
                    <a:pt x="1229" y="88"/>
                  </a:lnTo>
                  <a:lnTo>
                    <a:pt x="1225" y="88"/>
                  </a:lnTo>
                  <a:lnTo>
                    <a:pt x="1220" y="88"/>
                  </a:lnTo>
                  <a:lnTo>
                    <a:pt x="1220" y="88"/>
                  </a:lnTo>
                  <a:lnTo>
                    <a:pt x="1220" y="88"/>
                  </a:lnTo>
                  <a:lnTo>
                    <a:pt x="1220" y="88"/>
                  </a:lnTo>
                  <a:lnTo>
                    <a:pt x="1223" y="88"/>
                  </a:lnTo>
                  <a:lnTo>
                    <a:pt x="1218" y="88"/>
                  </a:lnTo>
                  <a:lnTo>
                    <a:pt x="1216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11" y="88"/>
                  </a:lnTo>
                  <a:lnTo>
                    <a:pt x="1214" y="86"/>
                  </a:lnTo>
                  <a:lnTo>
                    <a:pt x="1214" y="86"/>
                  </a:lnTo>
                  <a:lnTo>
                    <a:pt x="1216" y="86"/>
                  </a:lnTo>
                  <a:lnTo>
                    <a:pt x="1216" y="86"/>
                  </a:lnTo>
                  <a:lnTo>
                    <a:pt x="1218" y="86"/>
                  </a:lnTo>
                  <a:lnTo>
                    <a:pt x="1218" y="86"/>
                  </a:lnTo>
                  <a:lnTo>
                    <a:pt x="1218" y="86"/>
                  </a:lnTo>
                  <a:lnTo>
                    <a:pt x="1218" y="86"/>
                  </a:lnTo>
                  <a:lnTo>
                    <a:pt x="1218" y="84"/>
                  </a:lnTo>
                  <a:lnTo>
                    <a:pt x="1218" y="84"/>
                  </a:lnTo>
                  <a:lnTo>
                    <a:pt x="1218" y="84"/>
                  </a:lnTo>
                  <a:lnTo>
                    <a:pt x="1218" y="84"/>
                  </a:lnTo>
                  <a:lnTo>
                    <a:pt x="1218" y="84"/>
                  </a:lnTo>
                  <a:lnTo>
                    <a:pt x="1218" y="86"/>
                  </a:lnTo>
                  <a:lnTo>
                    <a:pt x="1218" y="86"/>
                  </a:lnTo>
                  <a:lnTo>
                    <a:pt x="1218" y="86"/>
                  </a:lnTo>
                  <a:lnTo>
                    <a:pt x="1216" y="86"/>
                  </a:lnTo>
                  <a:lnTo>
                    <a:pt x="1216" y="86"/>
                  </a:lnTo>
                  <a:lnTo>
                    <a:pt x="1216" y="86"/>
                  </a:lnTo>
                  <a:lnTo>
                    <a:pt x="1214" y="86"/>
                  </a:lnTo>
                  <a:lnTo>
                    <a:pt x="1214" y="86"/>
                  </a:lnTo>
                  <a:lnTo>
                    <a:pt x="1209" y="88"/>
                  </a:lnTo>
                  <a:lnTo>
                    <a:pt x="1209" y="88"/>
                  </a:lnTo>
                  <a:lnTo>
                    <a:pt x="1209" y="86"/>
                  </a:lnTo>
                  <a:lnTo>
                    <a:pt x="1205" y="86"/>
                  </a:lnTo>
                  <a:lnTo>
                    <a:pt x="1205" y="86"/>
                  </a:lnTo>
                  <a:lnTo>
                    <a:pt x="1205" y="86"/>
                  </a:lnTo>
                  <a:lnTo>
                    <a:pt x="1207" y="86"/>
                  </a:lnTo>
                  <a:lnTo>
                    <a:pt x="1207" y="86"/>
                  </a:lnTo>
                  <a:lnTo>
                    <a:pt x="1207" y="86"/>
                  </a:lnTo>
                  <a:lnTo>
                    <a:pt x="1207" y="86"/>
                  </a:lnTo>
                  <a:lnTo>
                    <a:pt x="1209" y="84"/>
                  </a:lnTo>
                  <a:lnTo>
                    <a:pt x="1209" y="84"/>
                  </a:lnTo>
                  <a:lnTo>
                    <a:pt x="1209" y="84"/>
                  </a:lnTo>
                  <a:lnTo>
                    <a:pt x="1209" y="84"/>
                  </a:lnTo>
                  <a:lnTo>
                    <a:pt x="1209" y="84"/>
                  </a:lnTo>
                  <a:lnTo>
                    <a:pt x="1211" y="84"/>
                  </a:lnTo>
                  <a:lnTo>
                    <a:pt x="1214" y="84"/>
                  </a:lnTo>
                  <a:lnTo>
                    <a:pt x="1214" y="84"/>
                  </a:lnTo>
                  <a:lnTo>
                    <a:pt x="1214" y="84"/>
                  </a:lnTo>
                  <a:lnTo>
                    <a:pt x="1214" y="84"/>
                  </a:lnTo>
                  <a:lnTo>
                    <a:pt x="1211" y="84"/>
                  </a:lnTo>
                  <a:lnTo>
                    <a:pt x="1211" y="84"/>
                  </a:lnTo>
                  <a:lnTo>
                    <a:pt x="1211" y="84"/>
                  </a:lnTo>
                  <a:lnTo>
                    <a:pt x="1209" y="84"/>
                  </a:lnTo>
                  <a:lnTo>
                    <a:pt x="1207" y="84"/>
                  </a:lnTo>
                  <a:lnTo>
                    <a:pt x="1207" y="84"/>
                  </a:lnTo>
                  <a:lnTo>
                    <a:pt x="1207" y="84"/>
                  </a:lnTo>
                  <a:lnTo>
                    <a:pt x="1207" y="84"/>
                  </a:lnTo>
                  <a:lnTo>
                    <a:pt x="1207" y="84"/>
                  </a:lnTo>
                  <a:lnTo>
                    <a:pt x="1209" y="81"/>
                  </a:lnTo>
                  <a:lnTo>
                    <a:pt x="1209" y="81"/>
                  </a:lnTo>
                  <a:lnTo>
                    <a:pt x="1211" y="81"/>
                  </a:lnTo>
                  <a:lnTo>
                    <a:pt x="1214" y="81"/>
                  </a:lnTo>
                  <a:lnTo>
                    <a:pt x="1214" y="81"/>
                  </a:lnTo>
                  <a:lnTo>
                    <a:pt x="1216" y="81"/>
                  </a:lnTo>
                  <a:lnTo>
                    <a:pt x="1216" y="81"/>
                  </a:lnTo>
                  <a:lnTo>
                    <a:pt x="1216" y="81"/>
                  </a:lnTo>
                  <a:lnTo>
                    <a:pt x="1216" y="81"/>
                  </a:lnTo>
                  <a:lnTo>
                    <a:pt x="1214" y="84"/>
                  </a:lnTo>
                  <a:lnTo>
                    <a:pt x="1214" y="84"/>
                  </a:lnTo>
                  <a:lnTo>
                    <a:pt x="1214" y="84"/>
                  </a:lnTo>
                  <a:lnTo>
                    <a:pt x="1218" y="81"/>
                  </a:lnTo>
                  <a:lnTo>
                    <a:pt x="1223" y="81"/>
                  </a:lnTo>
                  <a:lnTo>
                    <a:pt x="1223" y="81"/>
                  </a:lnTo>
                  <a:lnTo>
                    <a:pt x="1220" y="81"/>
                  </a:lnTo>
                  <a:lnTo>
                    <a:pt x="1211" y="81"/>
                  </a:lnTo>
                  <a:lnTo>
                    <a:pt x="1209" y="81"/>
                  </a:lnTo>
                  <a:lnTo>
                    <a:pt x="1207" y="81"/>
                  </a:lnTo>
                  <a:lnTo>
                    <a:pt x="1207" y="81"/>
                  </a:lnTo>
                  <a:lnTo>
                    <a:pt x="1207" y="81"/>
                  </a:lnTo>
                  <a:lnTo>
                    <a:pt x="1207" y="81"/>
                  </a:lnTo>
                  <a:lnTo>
                    <a:pt x="1207" y="81"/>
                  </a:lnTo>
                  <a:lnTo>
                    <a:pt x="1207" y="81"/>
                  </a:lnTo>
                  <a:lnTo>
                    <a:pt x="1207" y="81"/>
                  </a:lnTo>
                  <a:lnTo>
                    <a:pt x="1205" y="81"/>
                  </a:lnTo>
                  <a:lnTo>
                    <a:pt x="1205" y="81"/>
                  </a:lnTo>
                  <a:lnTo>
                    <a:pt x="1207" y="81"/>
                  </a:lnTo>
                  <a:lnTo>
                    <a:pt x="1216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20" y="79"/>
                  </a:lnTo>
                  <a:lnTo>
                    <a:pt x="1220" y="79"/>
                  </a:lnTo>
                  <a:lnTo>
                    <a:pt x="1223" y="79"/>
                  </a:lnTo>
                  <a:lnTo>
                    <a:pt x="1223" y="79"/>
                  </a:lnTo>
                  <a:lnTo>
                    <a:pt x="1227" y="79"/>
                  </a:lnTo>
                  <a:lnTo>
                    <a:pt x="1227" y="79"/>
                  </a:lnTo>
                  <a:lnTo>
                    <a:pt x="1223" y="79"/>
                  </a:lnTo>
                  <a:lnTo>
                    <a:pt x="1220" y="79"/>
                  </a:lnTo>
                  <a:lnTo>
                    <a:pt x="1218" y="79"/>
                  </a:lnTo>
                  <a:lnTo>
                    <a:pt x="1216" y="79"/>
                  </a:lnTo>
                  <a:lnTo>
                    <a:pt x="1218" y="77"/>
                  </a:lnTo>
                  <a:lnTo>
                    <a:pt x="1218" y="77"/>
                  </a:lnTo>
                  <a:lnTo>
                    <a:pt x="1218" y="77"/>
                  </a:lnTo>
                  <a:lnTo>
                    <a:pt x="1218" y="77"/>
                  </a:lnTo>
                  <a:lnTo>
                    <a:pt x="1218" y="77"/>
                  </a:lnTo>
                  <a:lnTo>
                    <a:pt x="1218" y="77"/>
                  </a:lnTo>
                  <a:lnTo>
                    <a:pt x="1218" y="77"/>
                  </a:lnTo>
                  <a:lnTo>
                    <a:pt x="1220" y="77"/>
                  </a:lnTo>
                  <a:lnTo>
                    <a:pt x="1225" y="77"/>
                  </a:lnTo>
                  <a:lnTo>
                    <a:pt x="1227" y="77"/>
                  </a:lnTo>
                  <a:lnTo>
                    <a:pt x="1229" y="77"/>
                  </a:lnTo>
                  <a:lnTo>
                    <a:pt x="1232" y="77"/>
                  </a:lnTo>
                  <a:lnTo>
                    <a:pt x="1232" y="77"/>
                  </a:lnTo>
                  <a:lnTo>
                    <a:pt x="1229" y="77"/>
                  </a:lnTo>
                  <a:lnTo>
                    <a:pt x="1227" y="77"/>
                  </a:lnTo>
                  <a:lnTo>
                    <a:pt x="1223" y="77"/>
                  </a:lnTo>
                  <a:lnTo>
                    <a:pt x="1220" y="77"/>
                  </a:lnTo>
                  <a:lnTo>
                    <a:pt x="1220" y="77"/>
                  </a:lnTo>
                  <a:lnTo>
                    <a:pt x="1220" y="77"/>
                  </a:lnTo>
                  <a:lnTo>
                    <a:pt x="1220" y="77"/>
                  </a:lnTo>
                  <a:lnTo>
                    <a:pt x="1220" y="77"/>
                  </a:lnTo>
                  <a:lnTo>
                    <a:pt x="1223" y="75"/>
                  </a:lnTo>
                  <a:lnTo>
                    <a:pt x="1223" y="75"/>
                  </a:lnTo>
                  <a:lnTo>
                    <a:pt x="1223" y="75"/>
                  </a:lnTo>
                  <a:lnTo>
                    <a:pt x="1225" y="75"/>
                  </a:lnTo>
                  <a:lnTo>
                    <a:pt x="1227" y="75"/>
                  </a:lnTo>
                  <a:lnTo>
                    <a:pt x="1227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5"/>
                  </a:lnTo>
                  <a:lnTo>
                    <a:pt x="1227" y="75"/>
                  </a:lnTo>
                  <a:lnTo>
                    <a:pt x="1227" y="75"/>
                  </a:lnTo>
                  <a:lnTo>
                    <a:pt x="1227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5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9" y="70"/>
                  </a:lnTo>
                  <a:lnTo>
                    <a:pt x="1232" y="70"/>
                  </a:lnTo>
                  <a:lnTo>
                    <a:pt x="1232" y="70"/>
                  </a:lnTo>
                  <a:lnTo>
                    <a:pt x="1232" y="70"/>
                  </a:lnTo>
                  <a:lnTo>
                    <a:pt x="1232" y="70"/>
                  </a:lnTo>
                  <a:lnTo>
                    <a:pt x="1232" y="70"/>
                  </a:lnTo>
                  <a:lnTo>
                    <a:pt x="1229" y="70"/>
                  </a:lnTo>
                  <a:lnTo>
                    <a:pt x="1227" y="70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7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5"/>
                  </a:lnTo>
                  <a:lnTo>
                    <a:pt x="1223" y="75"/>
                  </a:lnTo>
                  <a:lnTo>
                    <a:pt x="1223" y="75"/>
                  </a:lnTo>
                  <a:lnTo>
                    <a:pt x="1223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20" y="75"/>
                  </a:lnTo>
                  <a:lnTo>
                    <a:pt x="1218" y="77"/>
                  </a:lnTo>
                  <a:lnTo>
                    <a:pt x="1216" y="77"/>
                  </a:lnTo>
                  <a:lnTo>
                    <a:pt x="1214" y="77"/>
                  </a:lnTo>
                  <a:lnTo>
                    <a:pt x="1214" y="77"/>
                  </a:lnTo>
                  <a:lnTo>
                    <a:pt x="1214" y="77"/>
                  </a:lnTo>
                  <a:lnTo>
                    <a:pt x="1211" y="79"/>
                  </a:lnTo>
                  <a:lnTo>
                    <a:pt x="1211" y="79"/>
                  </a:lnTo>
                  <a:lnTo>
                    <a:pt x="1211" y="79"/>
                  </a:lnTo>
                  <a:lnTo>
                    <a:pt x="1211" y="79"/>
                  </a:lnTo>
                  <a:lnTo>
                    <a:pt x="1211" y="79"/>
                  </a:lnTo>
                  <a:lnTo>
                    <a:pt x="1211" y="79"/>
                  </a:lnTo>
                  <a:lnTo>
                    <a:pt x="1200" y="79"/>
                  </a:lnTo>
                  <a:lnTo>
                    <a:pt x="1200" y="79"/>
                  </a:lnTo>
                  <a:lnTo>
                    <a:pt x="1200" y="79"/>
                  </a:lnTo>
                  <a:lnTo>
                    <a:pt x="1200" y="79"/>
                  </a:lnTo>
                  <a:lnTo>
                    <a:pt x="1200" y="79"/>
                  </a:lnTo>
                  <a:lnTo>
                    <a:pt x="1200" y="79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5" y="77"/>
                  </a:lnTo>
                  <a:lnTo>
                    <a:pt x="1205" y="77"/>
                  </a:lnTo>
                  <a:lnTo>
                    <a:pt x="1207" y="77"/>
                  </a:lnTo>
                  <a:lnTo>
                    <a:pt x="1207" y="77"/>
                  </a:lnTo>
                  <a:lnTo>
                    <a:pt x="1209" y="77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2"/>
                  </a:lnTo>
                  <a:lnTo>
                    <a:pt x="1211" y="72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11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9" y="75"/>
                  </a:lnTo>
                  <a:lnTo>
                    <a:pt x="1207" y="75"/>
                  </a:lnTo>
                  <a:lnTo>
                    <a:pt x="1207" y="75"/>
                  </a:lnTo>
                  <a:lnTo>
                    <a:pt x="1207" y="75"/>
                  </a:lnTo>
                  <a:lnTo>
                    <a:pt x="1207" y="75"/>
                  </a:lnTo>
                  <a:lnTo>
                    <a:pt x="1207" y="75"/>
                  </a:lnTo>
                  <a:lnTo>
                    <a:pt x="1207" y="77"/>
                  </a:lnTo>
                  <a:lnTo>
                    <a:pt x="1205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2" y="77"/>
                  </a:lnTo>
                  <a:lnTo>
                    <a:pt x="1200" y="77"/>
                  </a:lnTo>
                  <a:lnTo>
                    <a:pt x="1200" y="77"/>
                  </a:lnTo>
                  <a:lnTo>
                    <a:pt x="1200" y="77"/>
                  </a:lnTo>
                  <a:lnTo>
                    <a:pt x="1200" y="77"/>
                  </a:lnTo>
                  <a:lnTo>
                    <a:pt x="1198" y="77"/>
                  </a:lnTo>
                  <a:lnTo>
                    <a:pt x="1196" y="77"/>
                  </a:lnTo>
                  <a:lnTo>
                    <a:pt x="1193" y="79"/>
                  </a:lnTo>
                  <a:lnTo>
                    <a:pt x="1184" y="77"/>
                  </a:lnTo>
                  <a:lnTo>
                    <a:pt x="1184" y="77"/>
                  </a:lnTo>
                  <a:lnTo>
                    <a:pt x="1184" y="77"/>
                  </a:lnTo>
                  <a:lnTo>
                    <a:pt x="1184" y="77"/>
                  </a:lnTo>
                  <a:lnTo>
                    <a:pt x="1187" y="77"/>
                  </a:lnTo>
                  <a:lnTo>
                    <a:pt x="1191" y="77"/>
                  </a:lnTo>
                  <a:lnTo>
                    <a:pt x="1191" y="77"/>
                  </a:lnTo>
                  <a:lnTo>
                    <a:pt x="1191" y="77"/>
                  </a:lnTo>
                  <a:lnTo>
                    <a:pt x="1189" y="77"/>
                  </a:lnTo>
                  <a:lnTo>
                    <a:pt x="1189" y="77"/>
                  </a:lnTo>
                  <a:lnTo>
                    <a:pt x="1187" y="77"/>
                  </a:lnTo>
                  <a:lnTo>
                    <a:pt x="1187" y="77"/>
                  </a:lnTo>
                  <a:lnTo>
                    <a:pt x="1187" y="77"/>
                  </a:lnTo>
                  <a:lnTo>
                    <a:pt x="1187" y="77"/>
                  </a:lnTo>
                  <a:lnTo>
                    <a:pt x="1187" y="75"/>
                  </a:lnTo>
                  <a:lnTo>
                    <a:pt x="1187" y="75"/>
                  </a:lnTo>
                  <a:lnTo>
                    <a:pt x="1187" y="75"/>
                  </a:lnTo>
                  <a:lnTo>
                    <a:pt x="1189" y="75"/>
                  </a:lnTo>
                  <a:lnTo>
                    <a:pt x="1189" y="75"/>
                  </a:lnTo>
                  <a:lnTo>
                    <a:pt x="1189" y="75"/>
                  </a:lnTo>
                  <a:lnTo>
                    <a:pt x="1189" y="75"/>
                  </a:lnTo>
                  <a:lnTo>
                    <a:pt x="1189" y="72"/>
                  </a:lnTo>
                  <a:lnTo>
                    <a:pt x="1189" y="72"/>
                  </a:lnTo>
                  <a:lnTo>
                    <a:pt x="1191" y="72"/>
                  </a:lnTo>
                  <a:lnTo>
                    <a:pt x="1191" y="72"/>
                  </a:lnTo>
                  <a:lnTo>
                    <a:pt x="1198" y="70"/>
                  </a:lnTo>
                  <a:lnTo>
                    <a:pt x="1202" y="70"/>
                  </a:lnTo>
                  <a:lnTo>
                    <a:pt x="1202" y="70"/>
                  </a:lnTo>
                  <a:lnTo>
                    <a:pt x="1202" y="70"/>
                  </a:lnTo>
                  <a:lnTo>
                    <a:pt x="1202" y="70"/>
                  </a:lnTo>
                  <a:lnTo>
                    <a:pt x="1202" y="70"/>
                  </a:lnTo>
                  <a:lnTo>
                    <a:pt x="1200" y="70"/>
                  </a:lnTo>
                  <a:lnTo>
                    <a:pt x="1198" y="70"/>
                  </a:lnTo>
                  <a:lnTo>
                    <a:pt x="1198" y="70"/>
                  </a:lnTo>
                  <a:lnTo>
                    <a:pt x="1198" y="70"/>
                  </a:lnTo>
                  <a:lnTo>
                    <a:pt x="1202" y="68"/>
                  </a:lnTo>
                  <a:lnTo>
                    <a:pt x="1202" y="68"/>
                  </a:lnTo>
                  <a:lnTo>
                    <a:pt x="1202" y="68"/>
                  </a:lnTo>
                  <a:lnTo>
                    <a:pt x="1202" y="68"/>
                  </a:lnTo>
                  <a:lnTo>
                    <a:pt x="1209" y="66"/>
                  </a:lnTo>
                  <a:lnTo>
                    <a:pt x="1209" y="66"/>
                  </a:lnTo>
                  <a:lnTo>
                    <a:pt x="1211" y="66"/>
                  </a:lnTo>
                  <a:lnTo>
                    <a:pt x="1211" y="66"/>
                  </a:lnTo>
                  <a:lnTo>
                    <a:pt x="1218" y="66"/>
                  </a:lnTo>
                  <a:lnTo>
                    <a:pt x="1220" y="66"/>
                  </a:lnTo>
                  <a:lnTo>
                    <a:pt x="1225" y="66"/>
                  </a:lnTo>
                  <a:lnTo>
                    <a:pt x="1227" y="66"/>
                  </a:lnTo>
                  <a:lnTo>
                    <a:pt x="1229" y="63"/>
                  </a:lnTo>
                  <a:lnTo>
                    <a:pt x="1229" y="63"/>
                  </a:lnTo>
                  <a:lnTo>
                    <a:pt x="1232" y="63"/>
                  </a:lnTo>
                  <a:lnTo>
                    <a:pt x="1234" y="63"/>
                  </a:lnTo>
                  <a:lnTo>
                    <a:pt x="1236" y="66"/>
                  </a:lnTo>
                  <a:lnTo>
                    <a:pt x="1247" y="66"/>
                  </a:lnTo>
                  <a:lnTo>
                    <a:pt x="1250" y="66"/>
                  </a:lnTo>
                  <a:lnTo>
                    <a:pt x="1252" y="68"/>
                  </a:lnTo>
                  <a:lnTo>
                    <a:pt x="1254" y="68"/>
                  </a:lnTo>
                  <a:lnTo>
                    <a:pt x="1254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70"/>
                  </a:lnTo>
                  <a:lnTo>
                    <a:pt x="1259" y="70"/>
                  </a:lnTo>
                  <a:lnTo>
                    <a:pt x="1259" y="70"/>
                  </a:lnTo>
                  <a:lnTo>
                    <a:pt x="1259" y="70"/>
                  </a:lnTo>
                  <a:lnTo>
                    <a:pt x="1259" y="70"/>
                  </a:lnTo>
                  <a:lnTo>
                    <a:pt x="1259" y="70"/>
                  </a:lnTo>
                  <a:lnTo>
                    <a:pt x="1261" y="70"/>
                  </a:lnTo>
                  <a:lnTo>
                    <a:pt x="1261" y="70"/>
                  </a:lnTo>
                  <a:lnTo>
                    <a:pt x="1261" y="70"/>
                  </a:lnTo>
                  <a:lnTo>
                    <a:pt x="1263" y="70"/>
                  </a:lnTo>
                  <a:lnTo>
                    <a:pt x="1263" y="70"/>
                  </a:lnTo>
                  <a:lnTo>
                    <a:pt x="1263" y="70"/>
                  </a:lnTo>
                  <a:lnTo>
                    <a:pt x="1263" y="70"/>
                  </a:lnTo>
                  <a:lnTo>
                    <a:pt x="1263" y="70"/>
                  </a:lnTo>
                  <a:lnTo>
                    <a:pt x="1263" y="70"/>
                  </a:lnTo>
                  <a:lnTo>
                    <a:pt x="1261" y="68"/>
                  </a:lnTo>
                  <a:lnTo>
                    <a:pt x="1261" y="68"/>
                  </a:lnTo>
                  <a:lnTo>
                    <a:pt x="1263" y="68"/>
                  </a:lnTo>
                  <a:lnTo>
                    <a:pt x="1263" y="68"/>
                  </a:lnTo>
                  <a:lnTo>
                    <a:pt x="1263" y="68"/>
                  </a:lnTo>
                  <a:lnTo>
                    <a:pt x="1265" y="68"/>
                  </a:lnTo>
                  <a:lnTo>
                    <a:pt x="1268" y="68"/>
                  </a:lnTo>
                  <a:lnTo>
                    <a:pt x="1268" y="68"/>
                  </a:lnTo>
                  <a:lnTo>
                    <a:pt x="1265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9" y="68"/>
                  </a:lnTo>
                  <a:lnTo>
                    <a:pt x="1256" y="68"/>
                  </a:lnTo>
                  <a:lnTo>
                    <a:pt x="1256" y="66"/>
                  </a:lnTo>
                  <a:lnTo>
                    <a:pt x="1256" y="66"/>
                  </a:lnTo>
                  <a:lnTo>
                    <a:pt x="1256" y="66"/>
                  </a:lnTo>
                  <a:lnTo>
                    <a:pt x="1254" y="66"/>
                  </a:lnTo>
                  <a:lnTo>
                    <a:pt x="1254" y="66"/>
                  </a:lnTo>
                  <a:lnTo>
                    <a:pt x="1254" y="66"/>
                  </a:lnTo>
                  <a:lnTo>
                    <a:pt x="1254" y="66"/>
                  </a:lnTo>
                  <a:lnTo>
                    <a:pt x="1254" y="66"/>
                  </a:lnTo>
                  <a:lnTo>
                    <a:pt x="1256" y="66"/>
                  </a:lnTo>
                  <a:lnTo>
                    <a:pt x="1259" y="66"/>
                  </a:lnTo>
                  <a:lnTo>
                    <a:pt x="1263" y="66"/>
                  </a:lnTo>
                  <a:lnTo>
                    <a:pt x="1265" y="66"/>
                  </a:lnTo>
                  <a:lnTo>
                    <a:pt x="1268" y="66"/>
                  </a:lnTo>
                  <a:lnTo>
                    <a:pt x="1268" y="66"/>
                  </a:lnTo>
                  <a:lnTo>
                    <a:pt x="1272" y="66"/>
                  </a:lnTo>
                  <a:lnTo>
                    <a:pt x="1274" y="66"/>
                  </a:lnTo>
                  <a:lnTo>
                    <a:pt x="1274" y="66"/>
                  </a:lnTo>
                  <a:lnTo>
                    <a:pt x="1274" y="66"/>
                  </a:lnTo>
                  <a:lnTo>
                    <a:pt x="1274" y="66"/>
                  </a:lnTo>
                  <a:lnTo>
                    <a:pt x="1277" y="66"/>
                  </a:lnTo>
                  <a:lnTo>
                    <a:pt x="1277" y="66"/>
                  </a:lnTo>
                  <a:lnTo>
                    <a:pt x="1277" y="66"/>
                  </a:lnTo>
                  <a:lnTo>
                    <a:pt x="1277" y="66"/>
                  </a:lnTo>
                  <a:lnTo>
                    <a:pt x="1277" y="66"/>
                  </a:lnTo>
                  <a:lnTo>
                    <a:pt x="1277" y="66"/>
                  </a:lnTo>
                  <a:lnTo>
                    <a:pt x="1277" y="63"/>
                  </a:lnTo>
                  <a:lnTo>
                    <a:pt x="1277" y="63"/>
                  </a:lnTo>
                  <a:lnTo>
                    <a:pt x="1277" y="63"/>
                  </a:lnTo>
                  <a:lnTo>
                    <a:pt x="1279" y="63"/>
                  </a:lnTo>
                  <a:lnTo>
                    <a:pt x="1279" y="63"/>
                  </a:lnTo>
                  <a:lnTo>
                    <a:pt x="1279" y="63"/>
                  </a:lnTo>
                  <a:lnTo>
                    <a:pt x="1279" y="63"/>
                  </a:lnTo>
                  <a:lnTo>
                    <a:pt x="1279" y="63"/>
                  </a:lnTo>
                  <a:lnTo>
                    <a:pt x="1283" y="61"/>
                  </a:lnTo>
                  <a:lnTo>
                    <a:pt x="1283" y="61"/>
                  </a:lnTo>
                  <a:lnTo>
                    <a:pt x="1281" y="61"/>
                  </a:lnTo>
                  <a:lnTo>
                    <a:pt x="1281" y="61"/>
                  </a:lnTo>
                  <a:lnTo>
                    <a:pt x="1281" y="61"/>
                  </a:lnTo>
                  <a:lnTo>
                    <a:pt x="1277" y="63"/>
                  </a:lnTo>
                  <a:lnTo>
                    <a:pt x="1274" y="63"/>
                  </a:lnTo>
                  <a:lnTo>
                    <a:pt x="1274" y="63"/>
                  </a:lnTo>
                  <a:lnTo>
                    <a:pt x="1274" y="63"/>
                  </a:lnTo>
                  <a:lnTo>
                    <a:pt x="1274" y="63"/>
                  </a:lnTo>
                  <a:lnTo>
                    <a:pt x="1274" y="63"/>
                  </a:lnTo>
                  <a:lnTo>
                    <a:pt x="1272" y="63"/>
                  </a:lnTo>
                  <a:lnTo>
                    <a:pt x="1272" y="63"/>
                  </a:lnTo>
                  <a:lnTo>
                    <a:pt x="1265" y="66"/>
                  </a:lnTo>
                  <a:lnTo>
                    <a:pt x="1265" y="66"/>
                  </a:lnTo>
                  <a:lnTo>
                    <a:pt x="1265" y="66"/>
                  </a:lnTo>
                  <a:lnTo>
                    <a:pt x="1261" y="63"/>
                  </a:lnTo>
                  <a:lnTo>
                    <a:pt x="1256" y="63"/>
                  </a:lnTo>
                  <a:lnTo>
                    <a:pt x="1252" y="63"/>
                  </a:lnTo>
                  <a:lnTo>
                    <a:pt x="1247" y="63"/>
                  </a:lnTo>
                  <a:lnTo>
                    <a:pt x="1243" y="63"/>
                  </a:lnTo>
                  <a:lnTo>
                    <a:pt x="1241" y="63"/>
                  </a:lnTo>
                  <a:lnTo>
                    <a:pt x="1238" y="63"/>
                  </a:lnTo>
                  <a:lnTo>
                    <a:pt x="1238" y="61"/>
                  </a:lnTo>
                  <a:lnTo>
                    <a:pt x="1238" y="61"/>
                  </a:lnTo>
                  <a:lnTo>
                    <a:pt x="1238" y="61"/>
                  </a:lnTo>
                  <a:lnTo>
                    <a:pt x="1241" y="61"/>
                  </a:lnTo>
                  <a:lnTo>
                    <a:pt x="1241" y="61"/>
                  </a:lnTo>
                  <a:lnTo>
                    <a:pt x="1245" y="61"/>
                  </a:lnTo>
                  <a:lnTo>
                    <a:pt x="1245" y="61"/>
                  </a:lnTo>
                  <a:lnTo>
                    <a:pt x="1245" y="61"/>
                  </a:lnTo>
                  <a:lnTo>
                    <a:pt x="1247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6" y="63"/>
                  </a:lnTo>
                  <a:lnTo>
                    <a:pt x="1256" y="63"/>
                  </a:lnTo>
                  <a:lnTo>
                    <a:pt x="1259" y="61"/>
                  </a:lnTo>
                  <a:lnTo>
                    <a:pt x="1256" y="61"/>
                  </a:lnTo>
                  <a:lnTo>
                    <a:pt x="1256" y="61"/>
                  </a:lnTo>
                  <a:lnTo>
                    <a:pt x="1254" y="61"/>
                  </a:lnTo>
                  <a:lnTo>
                    <a:pt x="1254" y="61"/>
                  </a:lnTo>
                  <a:lnTo>
                    <a:pt x="1254" y="61"/>
                  </a:lnTo>
                  <a:lnTo>
                    <a:pt x="1254" y="61"/>
                  </a:lnTo>
                  <a:lnTo>
                    <a:pt x="1254" y="61"/>
                  </a:lnTo>
                  <a:lnTo>
                    <a:pt x="1254" y="61"/>
                  </a:lnTo>
                  <a:lnTo>
                    <a:pt x="1252" y="61"/>
                  </a:lnTo>
                  <a:lnTo>
                    <a:pt x="1252" y="61"/>
                  </a:lnTo>
                  <a:lnTo>
                    <a:pt x="1250" y="61"/>
                  </a:lnTo>
                  <a:lnTo>
                    <a:pt x="1252" y="61"/>
                  </a:lnTo>
                  <a:lnTo>
                    <a:pt x="1252" y="61"/>
                  </a:lnTo>
                  <a:lnTo>
                    <a:pt x="1252" y="61"/>
                  </a:lnTo>
                  <a:lnTo>
                    <a:pt x="1252" y="61"/>
                  </a:lnTo>
                  <a:lnTo>
                    <a:pt x="1252" y="61"/>
                  </a:lnTo>
                  <a:lnTo>
                    <a:pt x="1252" y="61"/>
                  </a:lnTo>
                  <a:lnTo>
                    <a:pt x="1250" y="61"/>
                  </a:lnTo>
                  <a:lnTo>
                    <a:pt x="1250" y="61"/>
                  </a:lnTo>
                  <a:lnTo>
                    <a:pt x="1252" y="61"/>
                  </a:lnTo>
                  <a:lnTo>
                    <a:pt x="1252" y="59"/>
                  </a:lnTo>
                  <a:lnTo>
                    <a:pt x="1252" y="59"/>
                  </a:lnTo>
                  <a:lnTo>
                    <a:pt x="1252" y="59"/>
                  </a:lnTo>
                  <a:lnTo>
                    <a:pt x="1252" y="59"/>
                  </a:lnTo>
                  <a:lnTo>
                    <a:pt x="1250" y="59"/>
                  </a:lnTo>
                  <a:lnTo>
                    <a:pt x="1250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9"/>
                  </a:lnTo>
                  <a:lnTo>
                    <a:pt x="1247" y="57"/>
                  </a:lnTo>
                  <a:lnTo>
                    <a:pt x="1247" y="57"/>
                  </a:lnTo>
                  <a:lnTo>
                    <a:pt x="1247" y="57"/>
                  </a:lnTo>
                  <a:lnTo>
                    <a:pt x="1247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7"/>
                  </a:lnTo>
                  <a:lnTo>
                    <a:pt x="1250" y="54"/>
                  </a:lnTo>
                  <a:lnTo>
                    <a:pt x="1247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4"/>
                  </a:lnTo>
                  <a:lnTo>
                    <a:pt x="1245" y="52"/>
                  </a:lnTo>
                  <a:lnTo>
                    <a:pt x="1245" y="52"/>
                  </a:lnTo>
                  <a:lnTo>
                    <a:pt x="1245" y="52"/>
                  </a:lnTo>
                  <a:lnTo>
                    <a:pt x="1247" y="52"/>
                  </a:lnTo>
                  <a:lnTo>
                    <a:pt x="1245" y="52"/>
                  </a:lnTo>
                  <a:lnTo>
                    <a:pt x="1243" y="52"/>
                  </a:lnTo>
                  <a:lnTo>
                    <a:pt x="1241" y="50"/>
                  </a:lnTo>
                  <a:lnTo>
                    <a:pt x="1236" y="52"/>
                  </a:lnTo>
                  <a:lnTo>
                    <a:pt x="1234" y="50"/>
                  </a:lnTo>
                  <a:lnTo>
                    <a:pt x="1229" y="50"/>
                  </a:lnTo>
                  <a:lnTo>
                    <a:pt x="1229" y="50"/>
                  </a:lnTo>
                  <a:lnTo>
                    <a:pt x="1229" y="50"/>
                  </a:lnTo>
                  <a:lnTo>
                    <a:pt x="1229" y="50"/>
                  </a:lnTo>
                  <a:lnTo>
                    <a:pt x="1229" y="50"/>
                  </a:lnTo>
                  <a:lnTo>
                    <a:pt x="1232" y="50"/>
                  </a:lnTo>
                  <a:lnTo>
                    <a:pt x="1232" y="50"/>
                  </a:lnTo>
                  <a:lnTo>
                    <a:pt x="1232" y="50"/>
                  </a:lnTo>
                  <a:lnTo>
                    <a:pt x="1232" y="50"/>
                  </a:lnTo>
                  <a:lnTo>
                    <a:pt x="1232" y="50"/>
                  </a:lnTo>
                  <a:lnTo>
                    <a:pt x="1232" y="48"/>
                  </a:lnTo>
                  <a:lnTo>
                    <a:pt x="1232" y="48"/>
                  </a:lnTo>
                  <a:lnTo>
                    <a:pt x="1232" y="48"/>
                  </a:lnTo>
                  <a:lnTo>
                    <a:pt x="1232" y="48"/>
                  </a:lnTo>
                  <a:lnTo>
                    <a:pt x="1234" y="48"/>
                  </a:lnTo>
                  <a:lnTo>
                    <a:pt x="1234" y="48"/>
                  </a:lnTo>
                  <a:lnTo>
                    <a:pt x="1234" y="48"/>
                  </a:lnTo>
                  <a:lnTo>
                    <a:pt x="1234" y="48"/>
                  </a:lnTo>
                  <a:lnTo>
                    <a:pt x="1234" y="48"/>
                  </a:lnTo>
                  <a:lnTo>
                    <a:pt x="1236" y="48"/>
                  </a:lnTo>
                  <a:lnTo>
                    <a:pt x="1236" y="45"/>
                  </a:lnTo>
                  <a:lnTo>
                    <a:pt x="1241" y="48"/>
                  </a:lnTo>
                  <a:lnTo>
                    <a:pt x="1241" y="48"/>
                  </a:lnTo>
                  <a:lnTo>
                    <a:pt x="1245" y="48"/>
                  </a:lnTo>
                  <a:lnTo>
                    <a:pt x="1247" y="48"/>
                  </a:lnTo>
                  <a:lnTo>
                    <a:pt x="1247" y="48"/>
                  </a:lnTo>
                  <a:lnTo>
                    <a:pt x="1250" y="48"/>
                  </a:lnTo>
                  <a:lnTo>
                    <a:pt x="1250" y="48"/>
                  </a:lnTo>
                  <a:lnTo>
                    <a:pt x="1247" y="48"/>
                  </a:lnTo>
                  <a:lnTo>
                    <a:pt x="1247" y="48"/>
                  </a:lnTo>
                  <a:lnTo>
                    <a:pt x="1243" y="45"/>
                  </a:lnTo>
                  <a:lnTo>
                    <a:pt x="1241" y="45"/>
                  </a:lnTo>
                  <a:lnTo>
                    <a:pt x="1236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5"/>
                  </a:lnTo>
                  <a:lnTo>
                    <a:pt x="1234" y="43"/>
                  </a:lnTo>
                  <a:lnTo>
                    <a:pt x="1236" y="43"/>
                  </a:lnTo>
                  <a:lnTo>
                    <a:pt x="1236" y="43"/>
                  </a:lnTo>
                  <a:lnTo>
                    <a:pt x="1236" y="43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1"/>
                  </a:lnTo>
                  <a:lnTo>
                    <a:pt x="1238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41" y="41"/>
                  </a:lnTo>
                  <a:lnTo>
                    <a:pt x="1250" y="41"/>
                  </a:lnTo>
                  <a:lnTo>
                    <a:pt x="1250" y="41"/>
                  </a:lnTo>
                  <a:lnTo>
                    <a:pt x="1254" y="41"/>
                  </a:lnTo>
                  <a:lnTo>
                    <a:pt x="1263" y="41"/>
                  </a:lnTo>
                  <a:lnTo>
                    <a:pt x="1272" y="41"/>
                  </a:lnTo>
                  <a:lnTo>
                    <a:pt x="1274" y="43"/>
                  </a:lnTo>
                  <a:lnTo>
                    <a:pt x="1279" y="43"/>
                  </a:lnTo>
                  <a:lnTo>
                    <a:pt x="1281" y="45"/>
                  </a:lnTo>
                  <a:lnTo>
                    <a:pt x="1283" y="45"/>
                  </a:lnTo>
                  <a:lnTo>
                    <a:pt x="1288" y="48"/>
                  </a:lnTo>
                  <a:lnTo>
                    <a:pt x="1290" y="48"/>
                  </a:lnTo>
                  <a:lnTo>
                    <a:pt x="1290" y="50"/>
                  </a:lnTo>
                  <a:lnTo>
                    <a:pt x="1288" y="50"/>
                  </a:lnTo>
                  <a:lnTo>
                    <a:pt x="1290" y="50"/>
                  </a:lnTo>
                  <a:lnTo>
                    <a:pt x="1290" y="50"/>
                  </a:lnTo>
                  <a:lnTo>
                    <a:pt x="1288" y="50"/>
                  </a:lnTo>
                  <a:lnTo>
                    <a:pt x="1288" y="50"/>
                  </a:lnTo>
                  <a:lnTo>
                    <a:pt x="1288" y="50"/>
                  </a:lnTo>
                  <a:lnTo>
                    <a:pt x="1288" y="50"/>
                  </a:lnTo>
                  <a:lnTo>
                    <a:pt x="1290" y="52"/>
                  </a:lnTo>
                  <a:lnTo>
                    <a:pt x="1292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92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90" y="52"/>
                  </a:lnTo>
                  <a:lnTo>
                    <a:pt x="1288" y="52"/>
                  </a:lnTo>
                  <a:lnTo>
                    <a:pt x="1290" y="52"/>
                  </a:lnTo>
                  <a:lnTo>
                    <a:pt x="1292" y="52"/>
                  </a:lnTo>
                  <a:lnTo>
                    <a:pt x="1294" y="52"/>
                  </a:lnTo>
                  <a:lnTo>
                    <a:pt x="1294" y="52"/>
                  </a:lnTo>
                  <a:lnTo>
                    <a:pt x="1303" y="52"/>
                  </a:lnTo>
                  <a:lnTo>
                    <a:pt x="1303" y="52"/>
                  </a:lnTo>
                  <a:lnTo>
                    <a:pt x="1303" y="52"/>
                  </a:lnTo>
                  <a:lnTo>
                    <a:pt x="1303" y="52"/>
                  </a:lnTo>
                  <a:lnTo>
                    <a:pt x="1303" y="52"/>
                  </a:lnTo>
                  <a:lnTo>
                    <a:pt x="1303" y="52"/>
                  </a:lnTo>
                  <a:lnTo>
                    <a:pt x="1312" y="52"/>
                  </a:lnTo>
                  <a:lnTo>
                    <a:pt x="1312" y="52"/>
                  </a:lnTo>
                  <a:lnTo>
                    <a:pt x="1315" y="52"/>
                  </a:lnTo>
                  <a:lnTo>
                    <a:pt x="1317" y="50"/>
                  </a:lnTo>
                  <a:lnTo>
                    <a:pt x="1308" y="52"/>
                  </a:lnTo>
                  <a:lnTo>
                    <a:pt x="1308" y="52"/>
                  </a:lnTo>
                  <a:lnTo>
                    <a:pt x="1301" y="52"/>
                  </a:lnTo>
                  <a:lnTo>
                    <a:pt x="1297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4" y="50"/>
                  </a:lnTo>
                  <a:lnTo>
                    <a:pt x="1297" y="48"/>
                  </a:lnTo>
                  <a:lnTo>
                    <a:pt x="1297" y="48"/>
                  </a:lnTo>
                  <a:lnTo>
                    <a:pt x="1297" y="48"/>
                  </a:lnTo>
                  <a:lnTo>
                    <a:pt x="1297" y="48"/>
                  </a:lnTo>
                  <a:lnTo>
                    <a:pt x="1297" y="48"/>
                  </a:lnTo>
                  <a:lnTo>
                    <a:pt x="1297" y="48"/>
                  </a:lnTo>
                  <a:lnTo>
                    <a:pt x="1297" y="48"/>
                  </a:lnTo>
                  <a:lnTo>
                    <a:pt x="1299" y="48"/>
                  </a:lnTo>
                  <a:lnTo>
                    <a:pt x="1299" y="48"/>
                  </a:lnTo>
                  <a:lnTo>
                    <a:pt x="1299" y="48"/>
                  </a:lnTo>
                  <a:lnTo>
                    <a:pt x="1292" y="45"/>
                  </a:lnTo>
                  <a:lnTo>
                    <a:pt x="1292" y="45"/>
                  </a:lnTo>
                  <a:lnTo>
                    <a:pt x="1292" y="45"/>
                  </a:lnTo>
                  <a:lnTo>
                    <a:pt x="1288" y="43"/>
                  </a:lnTo>
                  <a:lnTo>
                    <a:pt x="1285" y="43"/>
                  </a:lnTo>
                  <a:lnTo>
                    <a:pt x="1285" y="41"/>
                  </a:lnTo>
                  <a:lnTo>
                    <a:pt x="1283" y="41"/>
                  </a:lnTo>
                  <a:lnTo>
                    <a:pt x="1283" y="41"/>
                  </a:lnTo>
                  <a:lnTo>
                    <a:pt x="1283" y="41"/>
                  </a:lnTo>
                  <a:lnTo>
                    <a:pt x="1292" y="41"/>
                  </a:lnTo>
                  <a:lnTo>
                    <a:pt x="1301" y="39"/>
                  </a:lnTo>
                  <a:lnTo>
                    <a:pt x="1306" y="39"/>
                  </a:lnTo>
                  <a:lnTo>
                    <a:pt x="1324" y="39"/>
                  </a:lnTo>
                  <a:lnTo>
                    <a:pt x="1324" y="39"/>
                  </a:lnTo>
                  <a:lnTo>
                    <a:pt x="1324" y="39"/>
                  </a:lnTo>
                  <a:lnTo>
                    <a:pt x="1324" y="39"/>
                  </a:lnTo>
                  <a:lnTo>
                    <a:pt x="1324" y="39"/>
                  </a:lnTo>
                  <a:lnTo>
                    <a:pt x="1328" y="39"/>
                  </a:lnTo>
                  <a:lnTo>
                    <a:pt x="1335" y="39"/>
                  </a:lnTo>
                  <a:lnTo>
                    <a:pt x="1337" y="36"/>
                  </a:lnTo>
                  <a:lnTo>
                    <a:pt x="1342" y="36"/>
                  </a:lnTo>
                  <a:lnTo>
                    <a:pt x="1344" y="36"/>
                  </a:lnTo>
                  <a:lnTo>
                    <a:pt x="1344" y="36"/>
                  </a:lnTo>
                  <a:lnTo>
                    <a:pt x="1346" y="36"/>
                  </a:lnTo>
                  <a:lnTo>
                    <a:pt x="1353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55" y="36"/>
                  </a:lnTo>
                  <a:lnTo>
                    <a:pt x="1346" y="36"/>
                  </a:lnTo>
                  <a:lnTo>
                    <a:pt x="1339" y="36"/>
                  </a:lnTo>
                  <a:lnTo>
                    <a:pt x="1330" y="36"/>
                  </a:lnTo>
                  <a:lnTo>
                    <a:pt x="1330" y="36"/>
                  </a:lnTo>
                  <a:lnTo>
                    <a:pt x="1330" y="36"/>
                  </a:lnTo>
                  <a:lnTo>
                    <a:pt x="1337" y="36"/>
                  </a:lnTo>
                  <a:lnTo>
                    <a:pt x="1339" y="34"/>
                  </a:lnTo>
                  <a:lnTo>
                    <a:pt x="1344" y="34"/>
                  </a:lnTo>
                  <a:lnTo>
                    <a:pt x="1346" y="34"/>
                  </a:lnTo>
                  <a:lnTo>
                    <a:pt x="1351" y="34"/>
                  </a:lnTo>
                  <a:lnTo>
                    <a:pt x="1351" y="34"/>
                  </a:lnTo>
                  <a:lnTo>
                    <a:pt x="1355" y="34"/>
                  </a:lnTo>
                  <a:lnTo>
                    <a:pt x="1355" y="34"/>
                  </a:lnTo>
                  <a:lnTo>
                    <a:pt x="1357" y="34"/>
                  </a:lnTo>
                  <a:lnTo>
                    <a:pt x="1362" y="34"/>
                  </a:lnTo>
                  <a:lnTo>
                    <a:pt x="1366" y="34"/>
                  </a:lnTo>
                  <a:lnTo>
                    <a:pt x="1371" y="34"/>
                  </a:lnTo>
                  <a:lnTo>
                    <a:pt x="1378" y="32"/>
                  </a:lnTo>
                  <a:lnTo>
                    <a:pt x="1378" y="32"/>
                  </a:lnTo>
                  <a:lnTo>
                    <a:pt x="1380" y="32"/>
                  </a:lnTo>
                  <a:lnTo>
                    <a:pt x="1378" y="32"/>
                  </a:lnTo>
                  <a:lnTo>
                    <a:pt x="1375" y="32"/>
                  </a:lnTo>
                  <a:lnTo>
                    <a:pt x="1373" y="32"/>
                  </a:lnTo>
                  <a:lnTo>
                    <a:pt x="1369" y="32"/>
                  </a:lnTo>
                  <a:lnTo>
                    <a:pt x="1360" y="32"/>
                  </a:lnTo>
                  <a:lnTo>
                    <a:pt x="1360" y="32"/>
                  </a:lnTo>
                  <a:lnTo>
                    <a:pt x="1348" y="32"/>
                  </a:lnTo>
                  <a:lnTo>
                    <a:pt x="1348" y="32"/>
                  </a:lnTo>
                  <a:lnTo>
                    <a:pt x="1348" y="32"/>
                  </a:lnTo>
                  <a:lnTo>
                    <a:pt x="1348" y="32"/>
                  </a:lnTo>
                  <a:lnTo>
                    <a:pt x="1348" y="32"/>
                  </a:lnTo>
                  <a:lnTo>
                    <a:pt x="1348" y="32"/>
                  </a:lnTo>
                  <a:lnTo>
                    <a:pt x="1351" y="32"/>
                  </a:lnTo>
                  <a:lnTo>
                    <a:pt x="1351" y="32"/>
                  </a:lnTo>
                  <a:lnTo>
                    <a:pt x="1351" y="32"/>
                  </a:lnTo>
                  <a:lnTo>
                    <a:pt x="1351" y="32"/>
                  </a:lnTo>
                  <a:lnTo>
                    <a:pt x="1351" y="32"/>
                  </a:lnTo>
                  <a:lnTo>
                    <a:pt x="1351" y="30"/>
                  </a:lnTo>
                  <a:lnTo>
                    <a:pt x="1351" y="30"/>
                  </a:lnTo>
                  <a:lnTo>
                    <a:pt x="1357" y="30"/>
                  </a:lnTo>
                  <a:lnTo>
                    <a:pt x="1357" y="30"/>
                  </a:lnTo>
                  <a:lnTo>
                    <a:pt x="1360" y="27"/>
                  </a:lnTo>
                  <a:lnTo>
                    <a:pt x="1357" y="27"/>
                  </a:lnTo>
                  <a:lnTo>
                    <a:pt x="1360" y="27"/>
                  </a:lnTo>
                  <a:lnTo>
                    <a:pt x="1360" y="27"/>
                  </a:lnTo>
                  <a:lnTo>
                    <a:pt x="1362" y="27"/>
                  </a:lnTo>
                  <a:lnTo>
                    <a:pt x="1364" y="27"/>
                  </a:lnTo>
                  <a:lnTo>
                    <a:pt x="1364" y="27"/>
                  </a:lnTo>
                  <a:lnTo>
                    <a:pt x="1366" y="27"/>
                  </a:lnTo>
                  <a:lnTo>
                    <a:pt x="1369" y="25"/>
                  </a:lnTo>
                  <a:lnTo>
                    <a:pt x="1371" y="25"/>
                  </a:lnTo>
                  <a:lnTo>
                    <a:pt x="1373" y="25"/>
                  </a:lnTo>
                  <a:lnTo>
                    <a:pt x="1375" y="25"/>
                  </a:lnTo>
                  <a:lnTo>
                    <a:pt x="1378" y="25"/>
                  </a:lnTo>
                  <a:lnTo>
                    <a:pt x="1380" y="25"/>
                  </a:lnTo>
                  <a:lnTo>
                    <a:pt x="1382" y="25"/>
                  </a:lnTo>
                  <a:lnTo>
                    <a:pt x="1384" y="25"/>
                  </a:lnTo>
                  <a:lnTo>
                    <a:pt x="1384" y="23"/>
                  </a:lnTo>
                  <a:lnTo>
                    <a:pt x="1384" y="23"/>
                  </a:lnTo>
                  <a:lnTo>
                    <a:pt x="1384" y="23"/>
                  </a:lnTo>
                  <a:lnTo>
                    <a:pt x="1371" y="25"/>
                  </a:lnTo>
                  <a:lnTo>
                    <a:pt x="1369" y="25"/>
                  </a:lnTo>
                  <a:lnTo>
                    <a:pt x="1364" y="25"/>
                  </a:lnTo>
                  <a:lnTo>
                    <a:pt x="1360" y="27"/>
                  </a:lnTo>
                  <a:lnTo>
                    <a:pt x="1357" y="27"/>
                  </a:lnTo>
                  <a:lnTo>
                    <a:pt x="1357" y="27"/>
                  </a:lnTo>
                  <a:lnTo>
                    <a:pt x="1355" y="27"/>
                  </a:lnTo>
                  <a:lnTo>
                    <a:pt x="1355" y="27"/>
                  </a:lnTo>
                  <a:lnTo>
                    <a:pt x="1355" y="27"/>
                  </a:lnTo>
                  <a:lnTo>
                    <a:pt x="1355" y="30"/>
                  </a:lnTo>
                  <a:lnTo>
                    <a:pt x="1355" y="30"/>
                  </a:lnTo>
                  <a:lnTo>
                    <a:pt x="1355" y="30"/>
                  </a:lnTo>
                  <a:lnTo>
                    <a:pt x="1355" y="30"/>
                  </a:lnTo>
                  <a:lnTo>
                    <a:pt x="1351" y="30"/>
                  </a:lnTo>
                  <a:lnTo>
                    <a:pt x="1346" y="27"/>
                  </a:lnTo>
                  <a:lnTo>
                    <a:pt x="1346" y="27"/>
                  </a:lnTo>
                  <a:lnTo>
                    <a:pt x="1348" y="30"/>
                  </a:lnTo>
                  <a:lnTo>
                    <a:pt x="1351" y="30"/>
                  </a:lnTo>
                  <a:lnTo>
                    <a:pt x="1351" y="30"/>
                  </a:lnTo>
                  <a:lnTo>
                    <a:pt x="1348" y="30"/>
                  </a:lnTo>
                  <a:lnTo>
                    <a:pt x="1348" y="30"/>
                  </a:lnTo>
                  <a:lnTo>
                    <a:pt x="1346" y="30"/>
                  </a:lnTo>
                  <a:lnTo>
                    <a:pt x="1346" y="30"/>
                  </a:lnTo>
                  <a:lnTo>
                    <a:pt x="1346" y="30"/>
                  </a:lnTo>
                  <a:lnTo>
                    <a:pt x="1344" y="30"/>
                  </a:lnTo>
                  <a:lnTo>
                    <a:pt x="1344" y="30"/>
                  </a:lnTo>
                  <a:lnTo>
                    <a:pt x="1346" y="30"/>
                  </a:lnTo>
                  <a:lnTo>
                    <a:pt x="1346" y="30"/>
                  </a:lnTo>
                  <a:lnTo>
                    <a:pt x="1346" y="30"/>
                  </a:lnTo>
                  <a:lnTo>
                    <a:pt x="1346" y="30"/>
                  </a:lnTo>
                  <a:lnTo>
                    <a:pt x="1346" y="32"/>
                  </a:lnTo>
                  <a:lnTo>
                    <a:pt x="1346" y="32"/>
                  </a:lnTo>
                  <a:lnTo>
                    <a:pt x="1344" y="32"/>
                  </a:lnTo>
                  <a:lnTo>
                    <a:pt x="1344" y="32"/>
                  </a:lnTo>
                  <a:lnTo>
                    <a:pt x="1344" y="32"/>
                  </a:lnTo>
                  <a:lnTo>
                    <a:pt x="1342" y="32"/>
                  </a:lnTo>
                  <a:lnTo>
                    <a:pt x="1342" y="32"/>
                  </a:lnTo>
                  <a:lnTo>
                    <a:pt x="1342" y="32"/>
                  </a:lnTo>
                  <a:lnTo>
                    <a:pt x="1342" y="32"/>
                  </a:lnTo>
                  <a:lnTo>
                    <a:pt x="1339" y="34"/>
                  </a:lnTo>
                  <a:lnTo>
                    <a:pt x="1335" y="34"/>
                  </a:lnTo>
                  <a:lnTo>
                    <a:pt x="1333" y="34"/>
                  </a:lnTo>
                  <a:lnTo>
                    <a:pt x="1330" y="34"/>
                  </a:lnTo>
                  <a:lnTo>
                    <a:pt x="1328" y="34"/>
                  </a:lnTo>
                  <a:lnTo>
                    <a:pt x="1324" y="34"/>
                  </a:lnTo>
                  <a:lnTo>
                    <a:pt x="1319" y="36"/>
                  </a:lnTo>
                  <a:lnTo>
                    <a:pt x="1315" y="36"/>
                  </a:lnTo>
                  <a:lnTo>
                    <a:pt x="1310" y="36"/>
                  </a:lnTo>
                  <a:lnTo>
                    <a:pt x="1306" y="36"/>
                  </a:lnTo>
                  <a:lnTo>
                    <a:pt x="1299" y="36"/>
                  </a:lnTo>
                  <a:lnTo>
                    <a:pt x="1299" y="36"/>
                  </a:lnTo>
                  <a:lnTo>
                    <a:pt x="1299" y="36"/>
                  </a:lnTo>
                  <a:lnTo>
                    <a:pt x="1294" y="36"/>
                  </a:lnTo>
                  <a:lnTo>
                    <a:pt x="1290" y="39"/>
                  </a:lnTo>
                  <a:lnTo>
                    <a:pt x="1288" y="36"/>
                  </a:lnTo>
                  <a:lnTo>
                    <a:pt x="1288" y="36"/>
                  </a:lnTo>
                  <a:lnTo>
                    <a:pt x="1288" y="36"/>
                  </a:lnTo>
                  <a:lnTo>
                    <a:pt x="1290" y="36"/>
                  </a:lnTo>
                  <a:lnTo>
                    <a:pt x="1290" y="36"/>
                  </a:lnTo>
                  <a:lnTo>
                    <a:pt x="1290" y="36"/>
                  </a:lnTo>
                  <a:lnTo>
                    <a:pt x="1290" y="36"/>
                  </a:lnTo>
                  <a:lnTo>
                    <a:pt x="1292" y="36"/>
                  </a:lnTo>
                  <a:lnTo>
                    <a:pt x="1292" y="36"/>
                  </a:lnTo>
                  <a:lnTo>
                    <a:pt x="1294" y="36"/>
                  </a:lnTo>
                  <a:lnTo>
                    <a:pt x="1303" y="34"/>
                  </a:lnTo>
                  <a:lnTo>
                    <a:pt x="1306" y="34"/>
                  </a:lnTo>
                  <a:lnTo>
                    <a:pt x="1308" y="34"/>
                  </a:lnTo>
                  <a:lnTo>
                    <a:pt x="1310" y="34"/>
                  </a:lnTo>
                  <a:lnTo>
                    <a:pt x="1310" y="34"/>
                  </a:lnTo>
                  <a:lnTo>
                    <a:pt x="1310" y="34"/>
                  </a:lnTo>
                  <a:lnTo>
                    <a:pt x="1308" y="32"/>
                  </a:lnTo>
                  <a:lnTo>
                    <a:pt x="1308" y="34"/>
                  </a:lnTo>
                  <a:lnTo>
                    <a:pt x="1306" y="34"/>
                  </a:lnTo>
                  <a:lnTo>
                    <a:pt x="1301" y="34"/>
                  </a:lnTo>
                  <a:lnTo>
                    <a:pt x="1301" y="34"/>
                  </a:lnTo>
                  <a:lnTo>
                    <a:pt x="1301" y="34"/>
                  </a:lnTo>
                  <a:lnTo>
                    <a:pt x="1299" y="34"/>
                  </a:lnTo>
                  <a:lnTo>
                    <a:pt x="1299" y="34"/>
                  </a:lnTo>
                  <a:lnTo>
                    <a:pt x="1299" y="34"/>
                  </a:lnTo>
                  <a:lnTo>
                    <a:pt x="1299" y="34"/>
                  </a:lnTo>
                  <a:lnTo>
                    <a:pt x="1299" y="34"/>
                  </a:lnTo>
                  <a:lnTo>
                    <a:pt x="1292" y="34"/>
                  </a:lnTo>
                  <a:lnTo>
                    <a:pt x="1288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8" y="34"/>
                  </a:lnTo>
                  <a:lnTo>
                    <a:pt x="1290" y="34"/>
                  </a:lnTo>
                  <a:lnTo>
                    <a:pt x="1292" y="34"/>
                  </a:lnTo>
                  <a:lnTo>
                    <a:pt x="1292" y="34"/>
                  </a:lnTo>
                  <a:lnTo>
                    <a:pt x="1292" y="32"/>
                  </a:lnTo>
                  <a:lnTo>
                    <a:pt x="1290" y="34"/>
                  </a:lnTo>
                  <a:lnTo>
                    <a:pt x="1290" y="34"/>
                  </a:lnTo>
                  <a:lnTo>
                    <a:pt x="1290" y="34"/>
                  </a:lnTo>
                  <a:lnTo>
                    <a:pt x="1288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5" y="34"/>
                  </a:lnTo>
                  <a:lnTo>
                    <a:pt x="1283" y="34"/>
                  </a:lnTo>
                  <a:lnTo>
                    <a:pt x="1283" y="34"/>
                  </a:lnTo>
                  <a:lnTo>
                    <a:pt x="1283" y="34"/>
                  </a:lnTo>
                  <a:lnTo>
                    <a:pt x="1283" y="34"/>
                  </a:lnTo>
                  <a:lnTo>
                    <a:pt x="1283" y="34"/>
                  </a:lnTo>
                  <a:lnTo>
                    <a:pt x="1283" y="34"/>
                  </a:lnTo>
                  <a:lnTo>
                    <a:pt x="1281" y="34"/>
                  </a:lnTo>
                  <a:lnTo>
                    <a:pt x="1281" y="34"/>
                  </a:lnTo>
                  <a:lnTo>
                    <a:pt x="1283" y="36"/>
                  </a:lnTo>
                  <a:lnTo>
                    <a:pt x="1283" y="36"/>
                  </a:lnTo>
                  <a:lnTo>
                    <a:pt x="1283" y="36"/>
                  </a:lnTo>
                  <a:lnTo>
                    <a:pt x="1281" y="36"/>
                  </a:lnTo>
                  <a:lnTo>
                    <a:pt x="1281" y="36"/>
                  </a:lnTo>
                  <a:lnTo>
                    <a:pt x="1281" y="36"/>
                  </a:lnTo>
                  <a:lnTo>
                    <a:pt x="1279" y="36"/>
                  </a:lnTo>
                  <a:lnTo>
                    <a:pt x="1279" y="36"/>
                  </a:lnTo>
                  <a:lnTo>
                    <a:pt x="1279" y="39"/>
                  </a:lnTo>
                  <a:lnTo>
                    <a:pt x="1277" y="39"/>
                  </a:lnTo>
                  <a:lnTo>
                    <a:pt x="1272" y="39"/>
                  </a:lnTo>
                  <a:lnTo>
                    <a:pt x="1268" y="39"/>
                  </a:lnTo>
                  <a:lnTo>
                    <a:pt x="1265" y="39"/>
                  </a:lnTo>
                  <a:lnTo>
                    <a:pt x="1261" y="39"/>
                  </a:lnTo>
                  <a:lnTo>
                    <a:pt x="1256" y="39"/>
                  </a:lnTo>
                  <a:lnTo>
                    <a:pt x="1256" y="39"/>
                  </a:lnTo>
                  <a:lnTo>
                    <a:pt x="1254" y="39"/>
                  </a:lnTo>
                  <a:lnTo>
                    <a:pt x="1252" y="39"/>
                  </a:lnTo>
                  <a:lnTo>
                    <a:pt x="1254" y="36"/>
                  </a:lnTo>
                  <a:lnTo>
                    <a:pt x="1256" y="36"/>
                  </a:lnTo>
                  <a:lnTo>
                    <a:pt x="1259" y="36"/>
                  </a:lnTo>
                  <a:lnTo>
                    <a:pt x="1254" y="36"/>
                  </a:lnTo>
                  <a:lnTo>
                    <a:pt x="1250" y="39"/>
                  </a:lnTo>
                  <a:lnTo>
                    <a:pt x="1250" y="39"/>
                  </a:lnTo>
                  <a:lnTo>
                    <a:pt x="1243" y="36"/>
                  </a:lnTo>
                  <a:lnTo>
                    <a:pt x="1245" y="36"/>
                  </a:lnTo>
                  <a:lnTo>
                    <a:pt x="1247" y="34"/>
                  </a:lnTo>
                  <a:lnTo>
                    <a:pt x="1261" y="32"/>
                  </a:lnTo>
                  <a:lnTo>
                    <a:pt x="1263" y="32"/>
                  </a:lnTo>
                  <a:lnTo>
                    <a:pt x="1265" y="30"/>
                  </a:lnTo>
                  <a:lnTo>
                    <a:pt x="1265" y="30"/>
                  </a:lnTo>
                  <a:lnTo>
                    <a:pt x="1268" y="30"/>
                  </a:lnTo>
                  <a:lnTo>
                    <a:pt x="1270" y="30"/>
                  </a:lnTo>
                  <a:lnTo>
                    <a:pt x="1270" y="30"/>
                  </a:lnTo>
                  <a:lnTo>
                    <a:pt x="1270" y="30"/>
                  </a:lnTo>
                  <a:lnTo>
                    <a:pt x="1272" y="30"/>
                  </a:lnTo>
                  <a:lnTo>
                    <a:pt x="1272" y="30"/>
                  </a:lnTo>
                  <a:lnTo>
                    <a:pt x="1272" y="30"/>
                  </a:lnTo>
                  <a:lnTo>
                    <a:pt x="1272" y="30"/>
                  </a:lnTo>
                  <a:lnTo>
                    <a:pt x="1274" y="30"/>
                  </a:lnTo>
                  <a:lnTo>
                    <a:pt x="1274" y="30"/>
                  </a:lnTo>
                  <a:lnTo>
                    <a:pt x="1274" y="30"/>
                  </a:lnTo>
                  <a:lnTo>
                    <a:pt x="1283" y="30"/>
                  </a:lnTo>
                  <a:lnTo>
                    <a:pt x="1283" y="30"/>
                  </a:lnTo>
                  <a:lnTo>
                    <a:pt x="1303" y="27"/>
                  </a:lnTo>
                  <a:lnTo>
                    <a:pt x="1303" y="27"/>
                  </a:lnTo>
                  <a:lnTo>
                    <a:pt x="1308" y="27"/>
                  </a:lnTo>
                  <a:lnTo>
                    <a:pt x="1308" y="27"/>
                  </a:lnTo>
                  <a:lnTo>
                    <a:pt x="1308" y="27"/>
                  </a:lnTo>
                  <a:lnTo>
                    <a:pt x="1283" y="30"/>
                  </a:lnTo>
                  <a:lnTo>
                    <a:pt x="1283" y="30"/>
                  </a:lnTo>
                  <a:lnTo>
                    <a:pt x="1272" y="30"/>
                  </a:lnTo>
                  <a:lnTo>
                    <a:pt x="1270" y="30"/>
                  </a:lnTo>
                  <a:lnTo>
                    <a:pt x="1268" y="30"/>
                  </a:lnTo>
                  <a:lnTo>
                    <a:pt x="1268" y="30"/>
                  </a:lnTo>
                  <a:lnTo>
                    <a:pt x="1263" y="30"/>
                  </a:lnTo>
                  <a:lnTo>
                    <a:pt x="1259" y="30"/>
                  </a:lnTo>
                  <a:lnTo>
                    <a:pt x="1254" y="32"/>
                  </a:lnTo>
                  <a:lnTo>
                    <a:pt x="1252" y="32"/>
                  </a:lnTo>
                  <a:lnTo>
                    <a:pt x="1252" y="32"/>
                  </a:lnTo>
                  <a:lnTo>
                    <a:pt x="1250" y="32"/>
                  </a:lnTo>
                  <a:lnTo>
                    <a:pt x="1247" y="32"/>
                  </a:lnTo>
                  <a:lnTo>
                    <a:pt x="1247" y="32"/>
                  </a:lnTo>
                  <a:lnTo>
                    <a:pt x="1241" y="34"/>
                  </a:lnTo>
                  <a:lnTo>
                    <a:pt x="1241" y="34"/>
                  </a:lnTo>
                  <a:lnTo>
                    <a:pt x="1238" y="34"/>
                  </a:lnTo>
                  <a:lnTo>
                    <a:pt x="1238" y="36"/>
                  </a:lnTo>
                  <a:lnTo>
                    <a:pt x="1236" y="36"/>
                  </a:lnTo>
                  <a:lnTo>
                    <a:pt x="1234" y="36"/>
                  </a:lnTo>
                  <a:lnTo>
                    <a:pt x="1232" y="36"/>
                  </a:lnTo>
                  <a:lnTo>
                    <a:pt x="1229" y="36"/>
                  </a:lnTo>
                  <a:lnTo>
                    <a:pt x="1227" y="36"/>
                  </a:lnTo>
                  <a:lnTo>
                    <a:pt x="1223" y="34"/>
                  </a:lnTo>
                  <a:lnTo>
                    <a:pt x="1220" y="34"/>
                  </a:lnTo>
                  <a:lnTo>
                    <a:pt x="1218" y="34"/>
                  </a:lnTo>
                  <a:lnTo>
                    <a:pt x="1216" y="32"/>
                  </a:lnTo>
                  <a:lnTo>
                    <a:pt x="1214" y="32"/>
                  </a:lnTo>
                  <a:lnTo>
                    <a:pt x="1214" y="32"/>
                  </a:lnTo>
                  <a:lnTo>
                    <a:pt x="1214" y="32"/>
                  </a:lnTo>
                  <a:lnTo>
                    <a:pt x="1214" y="32"/>
                  </a:lnTo>
                  <a:lnTo>
                    <a:pt x="1214" y="32"/>
                  </a:lnTo>
                  <a:lnTo>
                    <a:pt x="1216" y="32"/>
                  </a:lnTo>
                  <a:lnTo>
                    <a:pt x="1216" y="32"/>
                  </a:lnTo>
                  <a:lnTo>
                    <a:pt x="1220" y="32"/>
                  </a:lnTo>
                  <a:lnTo>
                    <a:pt x="1223" y="32"/>
                  </a:lnTo>
                  <a:lnTo>
                    <a:pt x="1227" y="30"/>
                  </a:lnTo>
                  <a:lnTo>
                    <a:pt x="1232" y="30"/>
                  </a:lnTo>
                  <a:lnTo>
                    <a:pt x="1236" y="30"/>
                  </a:lnTo>
                  <a:lnTo>
                    <a:pt x="1238" y="32"/>
                  </a:lnTo>
                  <a:lnTo>
                    <a:pt x="1245" y="30"/>
                  </a:lnTo>
                  <a:lnTo>
                    <a:pt x="1245" y="30"/>
                  </a:lnTo>
                  <a:lnTo>
                    <a:pt x="1250" y="30"/>
                  </a:lnTo>
                  <a:lnTo>
                    <a:pt x="1254" y="30"/>
                  </a:lnTo>
                  <a:lnTo>
                    <a:pt x="1256" y="30"/>
                  </a:lnTo>
                  <a:lnTo>
                    <a:pt x="1261" y="30"/>
                  </a:lnTo>
                  <a:lnTo>
                    <a:pt x="1263" y="30"/>
                  </a:lnTo>
                  <a:lnTo>
                    <a:pt x="1263" y="30"/>
                  </a:lnTo>
                  <a:lnTo>
                    <a:pt x="1263" y="30"/>
                  </a:lnTo>
                  <a:lnTo>
                    <a:pt x="1263" y="30"/>
                  </a:lnTo>
                  <a:lnTo>
                    <a:pt x="1263" y="30"/>
                  </a:lnTo>
                  <a:lnTo>
                    <a:pt x="1263" y="30"/>
                  </a:lnTo>
                  <a:lnTo>
                    <a:pt x="1263" y="30"/>
                  </a:lnTo>
                  <a:lnTo>
                    <a:pt x="1265" y="27"/>
                  </a:lnTo>
                  <a:lnTo>
                    <a:pt x="1265" y="27"/>
                  </a:lnTo>
                  <a:lnTo>
                    <a:pt x="1268" y="27"/>
                  </a:lnTo>
                  <a:lnTo>
                    <a:pt x="1268" y="27"/>
                  </a:lnTo>
                  <a:lnTo>
                    <a:pt x="1274" y="27"/>
                  </a:lnTo>
                  <a:lnTo>
                    <a:pt x="1279" y="27"/>
                  </a:lnTo>
                  <a:lnTo>
                    <a:pt x="1281" y="27"/>
                  </a:lnTo>
                  <a:lnTo>
                    <a:pt x="1281" y="27"/>
                  </a:lnTo>
                  <a:lnTo>
                    <a:pt x="1281" y="25"/>
                  </a:lnTo>
                  <a:lnTo>
                    <a:pt x="1281" y="25"/>
                  </a:lnTo>
                  <a:lnTo>
                    <a:pt x="1281" y="25"/>
                  </a:lnTo>
                  <a:lnTo>
                    <a:pt x="1279" y="25"/>
                  </a:lnTo>
                  <a:lnTo>
                    <a:pt x="1279" y="25"/>
                  </a:lnTo>
                  <a:lnTo>
                    <a:pt x="1279" y="25"/>
                  </a:lnTo>
                  <a:lnTo>
                    <a:pt x="1277" y="25"/>
                  </a:lnTo>
                  <a:lnTo>
                    <a:pt x="1274" y="25"/>
                  </a:lnTo>
                  <a:lnTo>
                    <a:pt x="1265" y="27"/>
                  </a:lnTo>
                  <a:lnTo>
                    <a:pt x="1261" y="27"/>
                  </a:lnTo>
                  <a:lnTo>
                    <a:pt x="1259" y="27"/>
                  </a:lnTo>
                  <a:lnTo>
                    <a:pt x="1254" y="30"/>
                  </a:lnTo>
                  <a:lnTo>
                    <a:pt x="1254" y="30"/>
                  </a:lnTo>
                  <a:lnTo>
                    <a:pt x="1250" y="30"/>
                  </a:lnTo>
                  <a:lnTo>
                    <a:pt x="1243" y="30"/>
                  </a:lnTo>
                  <a:lnTo>
                    <a:pt x="1236" y="30"/>
                  </a:lnTo>
                  <a:lnTo>
                    <a:pt x="1211" y="30"/>
                  </a:lnTo>
                  <a:lnTo>
                    <a:pt x="1209" y="30"/>
                  </a:lnTo>
                  <a:lnTo>
                    <a:pt x="1209" y="30"/>
                  </a:lnTo>
                  <a:lnTo>
                    <a:pt x="1207" y="30"/>
                  </a:lnTo>
                  <a:lnTo>
                    <a:pt x="1207" y="30"/>
                  </a:lnTo>
                  <a:lnTo>
                    <a:pt x="1207" y="30"/>
                  </a:lnTo>
                  <a:lnTo>
                    <a:pt x="1207" y="30"/>
                  </a:lnTo>
                  <a:lnTo>
                    <a:pt x="1207" y="27"/>
                  </a:lnTo>
                  <a:lnTo>
                    <a:pt x="1207" y="27"/>
                  </a:lnTo>
                  <a:lnTo>
                    <a:pt x="1207" y="27"/>
                  </a:lnTo>
                  <a:lnTo>
                    <a:pt x="1207" y="27"/>
                  </a:lnTo>
                  <a:lnTo>
                    <a:pt x="1207" y="27"/>
                  </a:lnTo>
                  <a:lnTo>
                    <a:pt x="1214" y="27"/>
                  </a:lnTo>
                  <a:lnTo>
                    <a:pt x="1214" y="27"/>
                  </a:lnTo>
                  <a:lnTo>
                    <a:pt x="1214" y="27"/>
                  </a:lnTo>
                  <a:lnTo>
                    <a:pt x="1214" y="27"/>
                  </a:lnTo>
                  <a:lnTo>
                    <a:pt x="1216" y="27"/>
                  </a:lnTo>
                  <a:lnTo>
                    <a:pt x="1216" y="27"/>
                  </a:lnTo>
                  <a:lnTo>
                    <a:pt x="1218" y="27"/>
                  </a:lnTo>
                  <a:lnTo>
                    <a:pt x="1227" y="27"/>
                  </a:lnTo>
                  <a:lnTo>
                    <a:pt x="1225" y="27"/>
                  </a:lnTo>
                  <a:lnTo>
                    <a:pt x="1220" y="27"/>
                  </a:lnTo>
                  <a:lnTo>
                    <a:pt x="1218" y="25"/>
                  </a:lnTo>
                  <a:lnTo>
                    <a:pt x="1216" y="25"/>
                  </a:lnTo>
                  <a:lnTo>
                    <a:pt x="1214" y="25"/>
                  </a:lnTo>
                  <a:lnTo>
                    <a:pt x="1216" y="25"/>
                  </a:lnTo>
                  <a:lnTo>
                    <a:pt x="1220" y="25"/>
                  </a:lnTo>
                  <a:lnTo>
                    <a:pt x="1223" y="25"/>
                  </a:lnTo>
                  <a:lnTo>
                    <a:pt x="1225" y="25"/>
                  </a:lnTo>
                  <a:lnTo>
                    <a:pt x="1229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2" y="23"/>
                  </a:lnTo>
                  <a:lnTo>
                    <a:pt x="1236" y="23"/>
                  </a:lnTo>
                  <a:lnTo>
                    <a:pt x="1238" y="23"/>
                  </a:lnTo>
                  <a:lnTo>
                    <a:pt x="1245" y="23"/>
                  </a:lnTo>
                  <a:lnTo>
                    <a:pt x="1245" y="23"/>
                  </a:lnTo>
                  <a:lnTo>
                    <a:pt x="1243" y="23"/>
                  </a:lnTo>
                  <a:lnTo>
                    <a:pt x="1243" y="23"/>
                  </a:lnTo>
                  <a:lnTo>
                    <a:pt x="1243" y="23"/>
                  </a:lnTo>
                  <a:lnTo>
                    <a:pt x="1243" y="23"/>
                  </a:lnTo>
                  <a:lnTo>
                    <a:pt x="1243" y="23"/>
                  </a:lnTo>
                  <a:lnTo>
                    <a:pt x="1245" y="23"/>
                  </a:lnTo>
                  <a:lnTo>
                    <a:pt x="1245" y="23"/>
                  </a:lnTo>
                  <a:lnTo>
                    <a:pt x="1247" y="23"/>
                  </a:lnTo>
                  <a:lnTo>
                    <a:pt x="1250" y="23"/>
                  </a:lnTo>
                  <a:lnTo>
                    <a:pt x="1252" y="23"/>
                  </a:lnTo>
                  <a:lnTo>
                    <a:pt x="1252" y="23"/>
                  </a:lnTo>
                  <a:lnTo>
                    <a:pt x="1252" y="23"/>
                  </a:lnTo>
                  <a:lnTo>
                    <a:pt x="1252" y="23"/>
                  </a:lnTo>
                  <a:lnTo>
                    <a:pt x="1252" y="23"/>
                  </a:lnTo>
                  <a:lnTo>
                    <a:pt x="1252" y="23"/>
                  </a:lnTo>
                  <a:lnTo>
                    <a:pt x="1252" y="23"/>
                  </a:lnTo>
                  <a:lnTo>
                    <a:pt x="1243" y="23"/>
                  </a:lnTo>
                  <a:lnTo>
                    <a:pt x="1243" y="23"/>
                  </a:lnTo>
                  <a:lnTo>
                    <a:pt x="1241" y="23"/>
                  </a:lnTo>
                  <a:lnTo>
                    <a:pt x="1241" y="23"/>
                  </a:lnTo>
                  <a:lnTo>
                    <a:pt x="1241" y="21"/>
                  </a:lnTo>
                  <a:lnTo>
                    <a:pt x="1241" y="21"/>
                  </a:lnTo>
                  <a:lnTo>
                    <a:pt x="1238" y="21"/>
                  </a:lnTo>
                  <a:lnTo>
                    <a:pt x="1238" y="23"/>
                  </a:lnTo>
                  <a:lnTo>
                    <a:pt x="1236" y="23"/>
                  </a:lnTo>
                  <a:lnTo>
                    <a:pt x="1232" y="23"/>
                  </a:lnTo>
                  <a:lnTo>
                    <a:pt x="1227" y="23"/>
                  </a:lnTo>
                  <a:lnTo>
                    <a:pt x="1223" y="23"/>
                  </a:lnTo>
                  <a:lnTo>
                    <a:pt x="1218" y="23"/>
                  </a:lnTo>
                  <a:lnTo>
                    <a:pt x="1211" y="25"/>
                  </a:lnTo>
                  <a:lnTo>
                    <a:pt x="1211" y="25"/>
                  </a:lnTo>
                  <a:lnTo>
                    <a:pt x="1209" y="25"/>
                  </a:lnTo>
                  <a:lnTo>
                    <a:pt x="1209" y="25"/>
                  </a:lnTo>
                  <a:lnTo>
                    <a:pt x="1209" y="25"/>
                  </a:lnTo>
                  <a:lnTo>
                    <a:pt x="1209" y="25"/>
                  </a:lnTo>
                  <a:lnTo>
                    <a:pt x="1205" y="23"/>
                  </a:lnTo>
                  <a:lnTo>
                    <a:pt x="1207" y="23"/>
                  </a:lnTo>
                  <a:lnTo>
                    <a:pt x="1218" y="23"/>
                  </a:lnTo>
                  <a:lnTo>
                    <a:pt x="1218" y="23"/>
                  </a:lnTo>
                  <a:lnTo>
                    <a:pt x="1218" y="23"/>
                  </a:lnTo>
                  <a:lnTo>
                    <a:pt x="1220" y="23"/>
                  </a:lnTo>
                  <a:lnTo>
                    <a:pt x="1220" y="21"/>
                  </a:lnTo>
                  <a:lnTo>
                    <a:pt x="1220" y="21"/>
                  </a:lnTo>
                  <a:lnTo>
                    <a:pt x="1225" y="21"/>
                  </a:lnTo>
                  <a:lnTo>
                    <a:pt x="1225" y="21"/>
                  </a:lnTo>
                  <a:lnTo>
                    <a:pt x="1223" y="21"/>
                  </a:lnTo>
                  <a:lnTo>
                    <a:pt x="1218" y="21"/>
                  </a:lnTo>
                  <a:lnTo>
                    <a:pt x="1218" y="21"/>
                  </a:lnTo>
                  <a:lnTo>
                    <a:pt x="1218" y="21"/>
                  </a:lnTo>
                  <a:lnTo>
                    <a:pt x="1220" y="21"/>
                  </a:lnTo>
                  <a:lnTo>
                    <a:pt x="1220" y="21"/>
                  </a:lnTo>
                  <a:lnTo>
                    <a:pt x="1220" y="21"/>
                  </a:lnTo>
                  <a:lnTo>
                    <a:pt x="1218" y="21"/>
                  </a:lnTo>
                  <a:lnTo>
                    <a:pt x="1218" y="21"/>
                  </a:lnTo>
                  <a:lnTo>
                    <a:pt x="1218" y="21"/>
                  </a:lnTo>
                  <a:lnTo>
                    <a:pt x="1218" y="21"/>
                  </a:lnTo>
                  <a:lnTo>
                    <a:pt x="1216" y="21"/>
                  </a:lnTo>
                  <a:lnTo>
                    <a:pt x="1216" y="21"/>
                  </a:lnTo>
                  <a:lnTo>
                    <a:pt x="1216" y="21"/>
                  </a:lnTo>
                  <a:lnTo>
                    <a:pt x="1216" y="21"/>
                  </a:lnTo>
                  <a:lnTo>
                    <a:pt x="1216" y="21"/>
                  </a:lnTo>
                  <a:lnTo>
                    <a:pt x="1216" y="21"/>
                  </a:lnTo>
                  <a:lnTo>
                    <a:pt x="1216" y="21"/>
                  </a:lnTo>
                  <a:lnTo>
                    <a:pt x="1214" y="21"/>
                  </a:lnTo>
                  <a:lnTo>
                    <a:pt x="1211" y="21"/>
                  </a:lnTo>
                  <a:lnTo>
                    <a:pt x="1211" y="21"/>
                  </a:lnTo>
                  <a:lnTo>
                    <a:pt x="1209" y="21"/>
                  </a:lnTo>
                  <a:lnTo>
                    <a:pt x="1209" y="21"/>
                  </a:lnTo>
                  <a:lnTo>
                    <a:pt x="1207" y="21"/>
                  </a:lnTo>
                  <a:lnTo>
                    <a:pt x="1207" y="21"/>
                  </a:lnTo>
                  <a:lnTo>
                    <a:pt x="1207" y="21"/>
                  </a:lnTo>
                  <a:lnTo>
                    <a:pt x="1207" y="21"/>
                  </a:lnTo>
                  <a:lnTo>
                    <a:pt x="1207" y="21"/>
                  </a:lnTo>
                  <a:lnTo>
                    <a:pt x="1207" y="23"/>
                  </a:lnTo>
                  <a:lnTo>
                    <a:pt x="1207" y="23"/>
                  </a:lnTo>
                  <a:lnTo>
                    <a:pt x="1205" y="23"/>
                  </a:lnTo>
                  <a:lnTo>
                    <a:pt x="1205" y="23"/>
                  </a:lnTo>
                  <a:lnTo>
                    <a:pt x="1205" y="23"/>
                  </a:lnTo>
                  <a:lnTo>
                    <a:pt x="1205" y="23"/>
                  </a:lnTo>
                  <a:lnTo>
                    <a:pt x="1205" y="23"/>
                  </a:lnTo>
                  <a:lnTo>
                    <a:pt x="1205" y="23"/>
                  </a:lnTo>
                  <a:lnTo>
                    <a:pt x="1205" y="23"/>
                  </a:lnTo>
                  <a:lnTo>
                    <a:pt x="1200" y="23"/>
                  </a:lnTo>
                  <a:lnTo>
                    <a:pt x="1200" y="23"/>
                  </a:lnTo>
                  <a:lnTo>
                    <a:pt x="1200" y="23"/>
                  </a:lnTo>
                  <a:lnTo>
                    <a:pt x="1200" y="23"/>
                  </a:lnTo>
                  <a:lnTo>
                    <a:pt x="1200" y="23"/>
                  </a:lnTo>
                  <a:lnTo>
                    <a:pt x="1200" y="21"/>
                  </a:lnTo>
                  <a:lnTo>
                    <a:pt x="1198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6" y="21"/>
                  </a:lnTo>
                  <a:lnTo>
                    <a:pt x="1198" y="21"/>
                  </a:lnTo>
                  <a:lnTo>
                    <a:pt x="1198" y="21"/>
                  </a:lnTo>
                  <a:lnTo>
                    <a:pt x="1198" y="21"/>
                  </a:lnTo>
                  <a:lnTo>
                    <a:pt x="1198" y="21"/>
                  </a:lnTo>
                  <a:lnTo>
                    <a:pt x="1198" y="21"/>
                  </a:lnTo>
                  <a:lnTo>
                    <a:pt x="1198" y="21"/>
                  </a:lnTo>
                  <a:lnTo>
                    <a:pt x="1198" y="21"/>
                  </a:lnTo>
                  <a:lnTo>
                    <a:pt x="1200" y="21"/>
                  </a:lnTo>
                  <a:lnTo>
                    <a:pt x="1200" y="21"/>
                  </a:lnTo>
                  <a:lnTo>
                    <a:pt x="1200" y="21"/>
                  </a:lnTo>
                  <a:lnTo>
                    <a:pt x="1200" y="21"/>
                  </a:lnTo>
                  <a:lnTo>
                    <a:pt x="1200" y="21"/>
                  </a:lnTo>
                  <a:lnTo>
                    <a:pt x="1202" y="18"/>
                  </a:lnTo>
                  <a:lnTo>
                    <a:pt x="1205" y="18"/>
                  </a:lnTo>
                  <a:lnTo>
                    <a:pt x="1205" y="18"/>
                  </a:lnTo>
                  <a:lnTo>
                    <a:pt x="1207" y="18"/>
                  </a:lnTo>
                  <a:lnTo>
                    <a:pt x="1209" y="18"/>
                  </a:lnTo>
                  <a:lnTo>
                    <a:pt x="1209" y="18"/>
                  </a:lnTo>
                  <a:lnTo>
                    <a:pt x="1209" y="18"/>
                  </a:lnTo>
                  <a:lnTo>
                    <a:pt x="1209" y="18"/>
                  </a:lnTo>
                  <a:lnTo>
                    <a:pt x="1209" y="18"/>
                  </a:lnTo>
                  <a:lnTo>
                    <a:pt x="1209" y="18"/>
                  </a:lnTo>
                  <a:lnTo>
                    <a:pt x="1211" y="18"/>
                  </a:lnTo>
                  <a:lnTo>
                    <a:pt x="1214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16" y="18"/>
                  </a:lnTo>
                  <a:lnTo>
                    <a:pt x="1223" y="16"/>
                  </a:lnTo>
                  <a:lnTo>
                    <a:pt x="1225" y="18"/>
                  </a:lnTo>
                  <a:lnTo>
                    <a:pt x="1225" y="16"/>
                  </a:lnTo>
                  <a:lnTo>
                    <a:pt x="1225" y="16"/>
                  </a:lnTo>
                  <a:lnTo>
                    <a:pt x="1227" y="16"/>
                  </a:lnTo>
                  <a:lnTo>
                    <a:pt x="1227" y="16"/>
                  </a:lnTo>
                  <a:lnTo>
                    <a:pt x="1229" y="16"/>
                  </a:lnTo>
                  <a:lnTo>
                    <a:pt x="1229" y="16"/>
                  </a:lnTo>
                  <a:lnTo>
                    <a:pt x="1229" y="16"/>
                  </a:lnTo>
                  <a:lnTo>
                    <a:pt x="1229" y="16"/>
                  </a:lnTo>
                  <a:lnTo>
                    <a:pt x="1227" y="16"/>
                  </a:lnTo>
                  <a:lnTo>
                    <a:pt x="1229" y="18"/>
                  </a:lnTo>
                  <a:lnTo>
                    <a:pt x="1229" y="18"/>
                  </a:lnTo>
                  <a:lnTo>
                    <a:pt x="1229" y="18"/>
                  </a:lnTo>
                  <a:lnTo>
                    <a:pt x="1229" y="18"/>
                  </a:lnTo>
                  <a:lnTo>
                    <a:pt x="1229" y="18"/>
                  </a:lnTo>
                  <a:lnTo>
                    <a:pt x="1232" y="18"/>
                  </a:lnTo>
                  <a:lnTo>
                    <a:pt x="1229" y="18"/>
                  </a:lnTo>
                  <a:lnTo>
                    <a:pt x="1229" y="18"/>
                  </a:lnTo>
                  <a:lnTo>
                    <a:pt x="1229" y="18"/>
                  </a:lnTo>
                  <a:lnTo>
                    <a:pt x="1232" y="18"/>
                  </a:lnTo>
                  <a:lnTo>
                    <a:pt x="1232" y="18"/>
                  </a:lnTo>
                  <a:lnTo>
                    <a:pt x="1232" y="18"/>
                  </a:lnTo>
                  <a:lnTo>
                    <a:pt x="1232" y="18"/>
                  </a:lnTo>
                  <a:lnTo>
                    <a:pt x="1232" y="18"/>
                  </a:lnTo>
                  <a:lnTo>
                    <a:pt x="1234" y="18"/>
                  </a:lnTo>
                  <a:lnTo>
                    <a:pt x="1234" y="18"/>
                  </a:lnTo>
                  <a:lnTo>
                    <a:pt x="1236" y="18"/>
                  </a:lnTo>
                  <a:lnTo>
                    <a:pt x="1236" y="16"/>
                  </a:lnTo>
                  <a:lnTo>
                    <a:pt x="1234" y="16"/>
                  </a:lnTo>
                  <a:lnTo>
                    <a:pt x="1232" y="16"/>
                  </a:lnTo>
                  <a:lnTo>
                    <a:pt x="1232" y="16"/>
                  </a:lnTo>
                  <a:lnTo>
                    <a:pt x="1234" y="16"/>
                  </a:lnTo>
                  <a:lnTo>
                    <a:pt x="1234" y="16"/>
                  </a:lnTo>
                  <a:lnTo>
                    <a:pt x="1234" y="16"/>
                  </a:lnTo>
                  <a:lnTo>
                    <a:pt x="1236" y="16"/>
                  </a:lnTo>
                  <a:lnTo>
                    <a:pt x="1236" y="16"/>
                  </a:lnTo>
                  <a:lnTo>
                    <a:pt x="1238" y="16"/>
                  </a:lnTo>
                  <a:lnTo>
                    <a:pt x="1238" y="16"/>
                  </a:lnTo>
                  <a:lnTo>
                    <a:pt x="1238" y="16"/>
                  </a:lnTo>
                  <a:lnTo>
                    <a:pt x="1238" y="16"/>
                  </a:lnTo>
                  <a:lnTo>
                    <a:pt x="1238" y="16"/>
                  </a:lnTo>
                  <a:lnTo>
                    <a:pt x="1238" y="16"/>
                  </a:lnTo>
                  <a:lnTo>
                    <a:pt x="1245" y="14"/>
                  </a:lnTo>
                  <a:lnTo>
                    <a:pt x="1250" y="14"/>
                  </a:lnTo>
                  <a:lnTo>
                    <a:pt x="1252" y="14"/>
                  </a:lnTo>
                  <a:lnTo>
                    <a:pt x="1252" y="14"/>
                  </a:lnTo>
                  <a:lnTo>
                    <a:pt x="1252" y="14"/>
                  </a:lnTo>
                  <a:lnTo>
                    <a:pt x="1252" y="14"/>
                  </a:lnTo>
                  <a:lnTo>
                    <a:pt x="1252" y="14"/>
                  </a:lnTo>
                  <a:lnTo>
                    <a:pt x="1254" y="14"/>
                  </a:lnTo>
                  <a:lnTo>
                    <a:pt x="1254" y="14"/>
                  </a:lnTo>
                  <a:lnTo>
                    <a:pt x="1256" y="14"/>
                  </a:lnTo>
                  <a:lnTo>
                    <a:pt x="1259" y="14"/>
                  </a:lnTo>
                  <a:lnTo>
                    <a:pt x="1261" y="14"/>
                  </a:lnTo>
                  <a:lnTo>
                    <a:pt x="1263" y="16"/>
                  </a:lnTo>
                  <a:lnTo>
                    <a:pt x="1263" y="16"/>
                  </a:lnTo>
                  <a:lnTo>
                    <a:pt x="1261" y="16"/>
                  </a:lnTo>
                  <a:lnTo>
                    <a:pt x="1261" y="16"/>
                  </a:lnTo>
                  <a:lnTo>
                    <a:pt x="1265" y="16"/>
                  </a:lnTo>
                  <a:lnTo>
                    <a:pt x="1265" y="16"/>
                  </a:lnTo>
                  <a:lnTo>
                    <a:pt x="1265" y="16"/>
                  </a:lnTo>
                  <a:lnTo>
                    <a:pt x="1263" y="16"/>
                  </a:lnTo>
                  <a:lnTo>
                    <a:pt x="1263" y="16"/>
                  </a:lnTo>
                  <a:lnTo>
                    <a:pt x="1265" y="16"/>
                  </a:lnTo>
                  <a:lnTo>
                    <a:pt x="1268" y="16"/>
                  </a:lnTo>
                  <a:lnTo>
                    <a:pt x="1265" y="16"/>
                  </a:lnTo>
                  <a:lnTo>
                    <a:pt x="1265" y="16"/>
                  </a:lnTo>
                  <a:lnTo>
                    <a:pt x="1265" y="16"/>
                  </a:lnTo>
                  <a:lnTo>
                    <a:pt x="1265" y="16"/>
                  </a:lnTo>
                  <a:lnTo>
                    <a:pt x="1265" y="14"/>
                  </a:lnTo>
                  <a:lnTo>
                    <a:pt x="1270" y="14"/>
                  </a:lnTo>
                  <a:lnTo>
                    <a:pt x="1274" y="16"/>
                  </a:lnTo>
                  <a:lnTo>
                    <a:pt x="1277" y="16"/>
                  </a:lnTo>
                  <a:lnTo>
                    <a:pt x="1277" y="16"/>
                  </a:lnTo>
                  <a:lnTo>
                    <a:pt x="1279" y="16"/>
                  </a:lnTo>
                  <a:lnTo>
                    <a:pt x="1281" y="18"/>
                  </a:lnTo>
                  <a:lnTo>
                    <a:pt x="1283" y="18"/>
                  </a:lnTo>
                  <a:lnTo>
                    <a:pt x="1283" y="18"/>
                  </a:lnTo>
                  <a:lnTo>
                    <a:pt x="1283" y="18"/>
                  </a:lnTo>
                  <a:lnTo>
                    <a:pt x="1281" y="16"/>
                  </a:lnTo>
                  <a:lnTo>
                    <a:pt x="1281" y="16"/>
                  </a:lnTo>
                  <a:lnTo>
                    <a:pt x="1281" y="16"/>
                  </a:lnTo>
                  <a:lnTo>
                    <a:pt x="1285" y="16"/>
                  </a:lnTo>
                  <a:lnTo>
                    <a:pt x="1288" y="16"/>
                  </a:lnTo>
                  <a:lnTo>
                    <a:pt x="1288" y="16"/>
                  </a:lnTo>
                  <a:lnTo>
                    <a:pt x="1290" y="16"/>
                  </a:lnTo>
                  <a:lnTo>
                    <a:pt x="1290" y="18"/>
                  </a:lnTo>
                  <a:lnTo>
                    <a:pt x="1290" y="16"/>
                  </a:lnTo>
                  <a:lnTo>
                    <a:pt x="1288" y="16"/>
                  </a:lnTo>
                  <a:lnTo>
                    <a:pt x="1290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0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2" y="18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92" y="16"/>
                  </a:lnTo>
                  <a:lnTo>
                    <a:pt x="1270" y="14"/>
                  </a:lnTo>
                  <a:lnTo>
                    <a:pt x="1270" y="14"/>
                  </a:lnTo>
                  <a:lnTo>
                    <a:pt x="1270" y="12"/>
                  </a:lnTo>
                  <a:lnTo>
                    <a:pt x="1270" y="12"/>
                  </a:lnTo>
                  <a:lnTo>
                    <a:pt x="1274" y="12"/>
                  </a:lnTo>
                  <a:lnTo>
                    <a:pt x="1277" y="12"/>
                  </a:lnTo>
                  <a:lnTo>
                    <a:pt x="1285" y="12"/>
                  </a:lnTo>
                  <a:lnTo>
                    <a:pt x="1288" y="12"/>
                  </a:lnTo>
                  <a:lnTo>
                    <a:pt x="1288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12"/>
                  </a:lnTo>
                  <a:lnTo>
                    <a:pt x="1290" y="9"/>
                  </a:lnTo>
                  <a:lnTo>
                    <a:pt x="1290" y="9"/>
                  </a:lnTo>
                  <a:lnTo>
                    <a:pt x="1290" y="9"/>
                  </a:lnTo>
                  <a:lnTo>
                    <a:pt x="1288" y="9"/>
                  </a:lnTo>
                  <a:lnTo>
                    <a:pt x="1288" y="9"/>
                  </a:lnTo>
                  <a:lnTo>
                    <a:pt x="1285" y="9"/>
                  </a:lnTo>
                  <a:lnTo>
                    <a:pt x="1285" y="9"/>
                  </a:lnTo>
                  <a:lnTo>
                    <a:pt x="1285" y="9"/>
                  </a:lnTo>
                  <a:lnTo>
                    <a:pt x="1288" y="9"/>
                  </a:lnTo>
                  <a:lnTo>
                    <a:pt x="1288" y="9"/>
                  </a:lnTo>
                  <a:lnTo>
                    <a:pt x="1288" y="9"/>
                  </a:lnTo>
                  <a:lnTo>
                    <a:pt x="1301" y="9"/>
                  </a:lnTo>
                  <a:lnTo>
                    <a:pt x="1303" y="9"/>
                  </a:lnTo>
                  <a:lnTo>
                    <a:pt x="1303" y="9"/>
                  </a:lnTo>
                  <a:lnTo>
                    <a:pt x="1301" y="9"/>
                  </a:lnTo>
                  <a:lnTo>
                    <a:pt x="1299" y="9"/>
                  </a:lnTo>
                  <a:lnTo>
                    <a:pt x="1299" y="9"/>
                  </a:lnTo>
                  <a:lnTo>
                    <a:pt x="1303" y="9"/>
                  </a:lnTo>
                  <a:lnTo>
                    <a:pt x="1303" y="9"/>
                  </a:lnTo>
                  <a:lnTo>
                    <a:pt x="1303" y="9"/>
                  </a:lnTo>
                  <a:lnTo>
                    <a:pt x="1303" y="12"/>
                  </a:lnTo>
                  <a:lnTo>
                    <a:pt x="1306" y="9"/>
                  </a:lnTo>
                  <a:lnTo>
                    <a:pt x="1312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5" y="12"/>
                  </a:lnTo>
                  <a:lnTo>
                    <a:pt x="1317" y="14"/>
                  </a:lnTo>
                  <a:lnTo>
                    <a:pt x="1317" y="14"/>
                  </a:lnTo>
                  <a:lnTo>
                    <a:pt x="1317" y="14"/>
                  </a:lnTo>
                  <a:lnTo>
                    <a:pt x="1317" y="14"/>
                  </a:lnTo>
                  <a:lnTo>
                    <a:pt x="1317" y="14"/>
                  </a:lnTo>
                  <a:lnTo>
                    <a:pt x="1317" y="14"/>
                  </a:lnTo>
                  <a:lnTo>
                    <a:pt x="1315" y="14"/>
                  </a:lnTo>
                  <a:lnTo>
                    <a:pt x="1315" y="14"/>
                  </a:lnTo>
                  <a:lnTo>
                    <a:pt x="1328" y="14"/>
                  </a:lnTo>
                  <a:lnTo>
                    <a:pt x="1328" y="16"/>
                  </a:lnTo>
                  <a:lnTo>
                    <a:pt x="1330" y="16"/>
                  </a:lnTo>
                  <a:lnTo>
                    <a:pt x="1330" y="16"/>
                  </a:lnTo>
                  <a:lnTo>
                    <a:pt x="1330" y="16"/>
                  </a:lnTo>
                  <a:lnTo>
                    <a:pt x="1330" y="14"/>
                  </a:lnTo>
                  <a:lnTo>
                    <a:pt x="1328" y="14"/>
                  </a:lnTo>
                  <a:lnTo>
                    <a:pt x="1321" y="14"/>
                  </a:lnTo>
                  <a:lnTo>
                    <a:pt x="1321" y="14"/>
                  </a:lnTo>
                  <a:lnTo>
                    <a:pt x="1321" y="14"/>
                  </a:lnTo>
                  <a:lnTo>
                    <a:pt x="1319" y="12"/>
                  </a:lnTo>
                  <a:lnTo>
                    <a:pt x="1319" y="12"/>
                  </a:lnTo>
                  <a:lnTo>
                    <a:pt x="1319" y="12"/>
                  </a:lnTo>
                  <a:lnTo>
                    <a:pt x="1319" y="12"/>
                  </a:lnTo>
                  <a:lnTo>
                    <a:pt x="1319" y="12"/>
                  </a:lnTo>
                  <a:lnTo>
                    <a:pt x="1319" y="12"/>
                  </a:lnTo>
                  <a:lnTo>
                    <a:pt x="1319" y="12"/>
                  </a:lnTo>
                  <a:lnTo>
                    <a:pt x="1321" y="12"/>
                  </a:lnTo>
                  <a:lnTo>
                    <a:pt x="1324" y="12"/>
                  </a:lnTo>
                  <a:lnTo>
                    <a:pt x="1326" y="12"/>
                  </a:lnTo>
                  <a:lnTo>
                    <a:pt x="1330" y="14"/>
                  </a:lnTo>
                  <a:lnTo>
                    <a:pt x="1335" y="14"/>
                  </a:lnTo>
                  <a:lnTo>
                    <a:pt x="1335" y="14"/>
                  </a:lnTo>
                  <a:lnTo>
                    <a:pt x="1346" y="16"/>
                  </a:lnTo>
                  <a:lnTo>
                    <a:pt x="1346" y="16"/>
                  </a:lnTo>
                  <a:lnTo>
                    <a:pt x="1346" y="16"/>
                  </a:lnTo>
                  <a:lnTo>
                    <a:pt x="1346" y="16"/>
                  </a:lnTo>
                  <a:lnTo>
                    <a:pt x="1348" y="16"/>
                  </a:lnTo>
                  <a:lnTo>
                    <a:pt x="1353" y="16"/>
                  </a:lnTo>
                  <a:lnTo>
                    <a:pt x="1355" y="18"/>
                  </a:lnTo>
                  <a:lnTo>
                    <a:pt x="1355" y="18"/>
                  </a:lnTo>
                  <a:lnTo>
                    <a:pt x="1355" y="18"/>
                  </a:lnTo>
                  <a:lnTo>
                    <a:pt x="1360" y="18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53" y="16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55" y="16"/>
                  </a:lnTo>
                  <a:lnTo>
                    <a:pt x="1344" y="14"/>
                  </a:lnTo>
                  <a:lnTo>
                    <a:pt x="1344" y="14"/>
                  </a:lnTo>
                  <a:lnTo>
                    <a:pt x="1344" y="14"/>
                  </a:lnTo>
                  <a:lnTo>
                    <a:pt x="1344" y="14"/>
                  </a:lnTo>
                  <a:lnTo>
                    <a:pt x="1344" y="14"/>
                  </a:lnTo>
                  <a:lnTo>
                    <a:pt x="1344" y="14"/>
                  </a:lnTo>
                  <a:lnTo>
                    <a:pt x="1344" y="14"/>
                  </a:lnTo>
                  <a:lnTo>
                    <a:pt x="1339" y="14"/>
                  </a:lnTo>
                  <a:lnTo>
                    <a:pt x="1326" y="9"/>
                  </a:lnTo>
                  <a:lnTo>
                    <a:pt x="1326" y="9"/>
                  </a:lnTo>
                  <a:lnTo>
                    <a:pt x="1326" y="9"/>
                  </a:lnTo>
                  <a:lnTo>
                    <a:pt x="1326" y="9"/>
                  </a:lnTo>
                  <a:lnTo>
                    <a:pt x="1326" y="9"/>
                  </a:lnTo>
                  <a:lnTo>
                    <a:pt x="1330" y="9"/>
                  </a:lnTo>
                  <a:lnTo>
                    <a:pt x="1342" y="9"/>
                  </a:lnTo>
                  <a:lnTo>
                    <a:pt x="1344" y="9"/>
                  </a:lnTo>
                  <a:lnTo>
                    <a:pt x="1342" y="9"/>
                  </a:lnTo>
                  <a:lnTo>
                    <a:pt x="1342" y="9"/>
                  </a:lnTo>
                  <a:lnTo>
                    <a:pt x="1337" y="7"/>
                  </a:lnTo>
                  <a:lnTo>
                    <a:pt x="1337" y="7"/>
                  </a:lnTo>
                  <a:lnTo>
                    <a:pt x="1335" y="7"/>
                  </a:lnTo>
                  <a:lnTo>
                    <a:pt x="1333" y="7"/>
                  </a:lnTo>
                  <a:lnTo>
                    <a:pt x="1335" y="7"/>
                  </a:lnTo>
                  <a:lnTo>
                    <a:pt x="1335" y="7"/>
                  </a:lnTo>
                  <a:lnTo>
                    <a:pt x="1337" y="7"/>
                  </a:lnTo>
                  <a:lnTo>
                    <a:pt x="1346" y="7"/>
                  </a:lnTo>
                  <a:lnTo>
                    <a:pt x="1351" y="7"/>
                  </a:lnTo>
                  <a:lnTo>
                    <a:pt x="1355" y="7"/>
                  </a:lnTo>
                  <a:lnTo>
                    <a:pt x="1355" y="7"/>
                  </a:lnTo>
                  <a:lnTo>
                    <a:pt x="1351" y="7"/>
                  </a:lnTo>
                  <a:lnTo>
                    <a:pt x="1351" y="5"/>
                  </a:lnTo>
                  <a:lnTo>
                    <a:pt x="1351" y="5"/>
                  </a:lnTo>
                  <a:lnTo>
                    <a:pt x="1351" y="5"/>
                  </a:lnTo>
                  <a:lnTo>
                    <a:pt x="1348" y="5"/>
                  </a:lnTo>
                  <a:lnTo>
                    <a:pt x="1348" y="5"/>
                  </a:lnTo>
                  <a:lnTo>
                    <a:pt x="1346" y="5"/>
                  </a:lnTo>
                  <a:lnTo>
                    <a:pt x="1346" y="5"/>
                  </a:lnTo>
                  <a:lnTo>
                    <a:pt x="1346" y="5"/>
                  </a:lnTo>
                  <a:lnTo>
                    <a:pt x="1346" y="5"/>
                  </a:lnTo>
                  <a:lnTo>
                    <a:pt x="1348" y="5"/>
                  </a:lnTo>
                  <a:lnTo>
                    <a:pt x="1348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4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2" y="5"/>
                  </a:lnTo>
                  <a:lnTo>
                    <a:pt x="1362" y="7"/>
                  </a:lnTo>
                  <a:lnTo>
                    <a:pt x="1362" y="7"/>
                  </a:lnTo>
                  <a:lnTo>
                    <a:pt x="1364" y="7"/>
                  </a:lnTo>
                  <a:lnTo>
                    <a:pt x="1366" y="7"/>
                  </a:lnTo>
                  <a:lnTo>
                    <a:pt x="1366" y="7"/>
                  </a:lnTo>
                  <a:lnTo>
                    <a:pt x="1366" y="7"/>
                  </a:lnTo>
                  <a:lnTo>
                    <a:pt x="1366" y="7"/>
                  </a:lnTo>
                  <a:lnTo>
                    <a:pt x="1364" y="7"/>
                  </a:lnTo>
                  <a:lnTo>
                    <a:pt x="1364" y="5"/>
                  </a:lnTo>
                  <a:lnTo>
                    <a:pt x="1366" y="5"/>
                  </a:lnTo>
                  <a:lnTo>
                    <a:pt x="1366" y="5"/>
                  </a:lnTo>
                  <a:lnTo>
                    <a:pt x="1375" y="7"/>
                  </a:lnTo>
                  <a:lnTo>
                    <a:pt x="1375" y="7"/>
                  </a:lnTo>
                  <a:lnTo>
                    <a:pt x="1378" y="7"/>
                  </a:lnTo>
                  <a:lnTo>
                    <a:pt x="1382" y="7"/>
                  </a:lnTo>
                  <a:lnTo>
                    <a:pt x="1382" y="5"/>
                  </a:lnTo>
                  <a:lnTo>
                    <a:pt x="1366" y="5"/>
                  </a:lnTo>
                  <a:lnTo>
                    <a:pt x="1366" y="5"/>
                  </a:lnTo>
                  <a:lnTo>
                    <a:pt x="1366" y="5"/>
                  </a:lnTo>
                  <a:lnTo>
                    <a:pt x="1366" y="5"/>
                  </a:lnTo>
                  <a:lnTo>
                    <a:pt x="1369" y="5"/>
                  </a:lnTo>
                  <a:lnTo>
                    <a:pt x="1371" y="5"/>
                  </a:lnTo>
                  <a:lnTo>
                    <a:pt x="1371" y="5"/>
                  </a:lnTo>
                  <a:lnTo>
                    <a:pt x="1362" y="3"/>
                  </a:lnTo>
                  <a:lnTo>
                    <a:pt x="1362" y="3"/>
                  </a:lnTo>
                  <a:lnTo>
                    <a:pt x="1362" y="3"/>
                  </a:lnTo>
                  <a:lnTo>
                    <a:pt x="1364" y="3"/>
                  </a:lnTo>
                  <a:lnTo>
                    <a:pt x="1364" y="3"/>
                  </a:lnTo>
                  <a:lnTo>
                    <a:pt x="1364" y="3"/>
                  </a:lnTo>
                  <a:lnTo>
                    <a:pt x="1366" y="3"/>
                  </a:lnTo>
                  <a:lnTo>
                    <a:pt x="1366" y="3"/>
                  </a:lnTo>
                  <a:lnTo>
                    <a:pt x="1366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80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78" y="3"/>
                  </a:lnTo>
                  <a:lnTo>
                    <a:pt x="1380" y="3"/>
                  </a:lnTo>
                  <a:lnTo>
                    <a:pt x="1380" y="3"/>
                  </a:lnTo>
                  <a:lnTo>
                    <a:pt x="1380" y="3"/>
                  </a:lnTo>
                  <a:lnTo>
                    <a:pt x="1380" y="3"/>
                  </a:lnTo>
                  <a:lnTo>
                    <a:pt x="1380" y="3"/>
                  </a:lnTo>
                  <a:lnTo>
                    <a:pt x="1384" y="3"/>
                  </a:lnTo>
                  <a:lnTo>
                    <a:pt x="1384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4" y="3"/>
                  </a:lnTo>
                  <a:lnTo>
                    <a:pt x="1384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7" y="3"/>
                  </a:lnTo>
                  <a:lnTo>
                    <a:pt x="1389" y="3"/>
                  </a:lnTo>
                  <a:lnTo>
                    <a:pt x="1389" y="3"/>
                  </a:lnTo>
                  <a:lnTo>
                    <a:pt x="1389" y="5"/>
                  </a:lnTo>
                  <a:lnTo>
                    <a:pt x="1391" y="5"/>
                  </a:lnTo>
                  <a:lnTo>
                    <a:pt x="1391" y="5"/>
                  </a:lnTo>
                  <a:lnTo>
                    <a:pt x="1391" y="5"/>
                  </a:lnTo>
                  <a:lnTo>
                    <a:pt x="1389" y="5"/>
                  </a:lnTo>
                  <a:lnTo>
                    <a:pt x="1389" y="3"/>
                  </a:lnTo>
                  <a:lnTo>
                    <a:pt x="1389" y="3"/>
                  </a:lnTo>
                  <a:lnTo>
                    <a:pt x="1389" y="3"/>
                  </a:lnTo>
                  <a:lnTo>
                    <a:pt x="1391" y="3"/>
                  </a:lnTo>
                  <a:lnTo>
                    <a:pt x="1391" y="3"/>
                  </a:lnTo>
                  <a:lnTo>
                    <a:pt x="1391" y="3"/>
                  </a:lnTo>
                  <a:lnTo>
                    <a:pt x="1391" y="3"/>
                  </a:lnTo>
                  <a:lnTo>
                    <a:pt x="1391" y="3"/>
                  </a:lnTo>
                  <a:lnTo>
                    <a:pt x="1391" y="3"/>
                  </a:lnTo>
                  <a:lnTo>
                    <a:pt x="1391" y="3"/>
                  </a:lnTo>
                  <a:lnTo>
                    <a:pt x="1396" y="3"/>
                  </a:lnTo>
                  <a:lnTo>
                    <a:pt x="1402" y="3"/>
                  </a:lnTo>
                  <a:lnTo>
                    <a:pt x="1405" y="5"/>
                  </a:lnTo>
                  <a:lnTo>
                    <a:pt x="1405" y="5"/>
                  </a:lnTo>
                  <a:lnTo>
                    <a:pt x="1405" y="5"/>
                  </a:lnTo>
                  <a:lnTo>
                    <a:pt x="1405" y="5"/>
                  </a:lnTo>
                  <a:lnTo>
                    <a:pt x="1405" y="5"/>
                  </a:lnTo>
                  <a:lnTo>
                    <a:pt x="1405" y="5"/>
                  </a:lnTo>
                  <a:lnTo>
                    <a:pt x="1407" y="5"/>
                  </a:lnTo>
                  <a:lnTo>
                    <a:pt x="1407" y="7"/>
                  </a:lnTo>
                  <a:lnTo>
                    <a:pt x="1409" y="7"/>
                  </a:lnTo>
                  <a:lnTo>
                    <a:pt x="1409" y="7"/>
                  </a:lnTo>
                  <a:lnTo>
                    <a:pt x="1409" y="7"/>
                  </a:lnTo>
                  <a:lnTo>
                    <a:pt x="1409" y="7"/>
                  </a:lnTo>
                  <a:lnTo>
                    <a:pt x="1409" y="7"/>
                  </a:lnTo>
                  <a:lnTo>
                    <a:pt x="1409" y="7"/>
                  </a:lnTo>
                  <a:lnTo>
                    <a:pt x="1411" y="7"/>
                  </a:lnTo>
                  <a:lnTo>
                    <a:pt x="1414" y="7"/>
                  </a:lnTo>
                  <a:lnTo>
                    <a:pt x="1414" y="7"/>
                  </a:lnTo>
                  <a:lnTo>
                    <a:pt x="1414" y="7"/>
                  </a:lnTo>
                  <a:lnTo>
                    <a:pt x="1414" y="7"/>
                  </a:lnTo>
                  <a:lnTo>
                    <a:pt x="1414" y="7"/>
                  </a:lnTo>
                  <a:lnTo>
                    <a:pt x="1411" y="7"/>
                  </a:lnTo>
                  <a:lnTo>
                    <a:pt x="1409" y="7"/>
                  </a:lnTo>
                  <a:lnTo>
                    <a:pt x="1409" y="9"/>
                  </a:lnTo>
                  <a:lnTo>
                    <a:pt x="1409" y="9"/>
                  </a:lnTo>
                  <a:lnTo>
                    <a:pt x="1407" y="9"/>
                  </a:lnTo>
                  <a:lnTo>
                    <a:pt x="1407" y="9"/>
                  </a:lnTo>
                  <a:lnTo>
                    <a:pt x="1407" y="9"/>
                  </a:lnTo>
                  <a:lnTo>
                    <a:pt x="1409" y="9"/>
                  </a:lnTo>
                  <a:lnTo>
                    <a:pt x="1418" y="7"/>
                  </a:lnTo>
                  <a:lnTo>
                    <a:pt x="1420" y="7"/>
                  </a:lnTo>
                  <a:lnTo>
                    <a:pt x="1420" y="7"/>
                  </a:lnTo>
                  <a:lnTo>
                    <a:pt x="1420" y="7"/>
                  </a:lnTo>
                  <a:lnTo>
                    <a:pt x="1414" y="5"/>
                  </a:lnTo>
                  <a:lnTo>
                    <a:pt x="1414" y="5"/>
                  </a:lnTo>
                  <a:lnTo>
                    <a:pt x="1414" y="5"/>
                  </a:lnTo>
                  <a:lnTo>
                    <a:pt x="1414" y="5"/>
                  </a:lnTo>
                  <a:lnTo>
                    <a:pt x="1414" y="5"/>
                  </a:lnTo>
                  <a:lnTo>
                    <a:pt x="1411" y="5"/>
                  </a:lnTo>
                  <a:lnTo>
                    <a:pt x="1411" y="5"/>
                  </a:lnTo>
                  <a:lnTo>
                    <a:pt x="1411" y="5"/>
                  </a:lnTo>
                  <a:lnTo>
                    <a:pt x="1414" y="5"/>
                  </a:lnTo>
                  <a:lnTo>
                    <a:pt x="1416" y="5"/>
                  </a:lnTo>
                  <a:lnTo>
                    <a:pt x="1416" y="5"/>
                  </a:lnTo>
                  <a:lnTo>
                    <a:pt x="1411" y="5"/>
                  </a:lnTo>
                  <a:lnTo>
                    <a:pt x="1409" y="5"/>
                  </a:lnTo>
                  <a:lnTo>
                    <a:pt x="1409" y="3"/>
                  </a:lnTo>
                  <a:lnTo>
                    <a:pt x="1402" y="3"/>
                  </a:lnTo>
                  <a:lnTo>
                    <a:pt x="1402" y="3"/>
                  </a:lnTo>
                  <a:lnTo>
                    <a:pt x="1402" y="0"/>
                  </a:lnTo>
                  <a:lnTo>
                    <a:pt x="1407" y="0"/>
                  </a:lnTo>
                  <a:lnTo>
                    <a:pt x="1405" y="0"/>
                  </a:lnTo>
                  <a:lnTo>
                    <a:pt x="1405" y="0"/>
                  </a:lnTo>
                  <a:lnTo>
                    <a:pt x="1405" y="0"/>
                  </a:lnTo>
                  <a:lnTo>
                    <a:pt x="1405" y="0"/>
                  </a:lnTo>
                  <a:lnTo>
                    <a:pt x="1405" y="0"/>
                  </a:lnTo>
                  <a:lnTo>
                    <a:pt x="1416" y="0"/>
                  </a:lnTo>
                  <a:lnTo>
                    <a:pt x="1418" y="0"/>
                  </a:lnTo>
                  <a:lnTo>
                    <a:pt x="1427" y="0"/>
                  </a:lnTo>
                  <a:lnTo>
                    <a:pt x="1427" y="0"/>
                  </a:lnTo>
                  <a:lnTo>
                    <a:pt x="1429" y="0"/>
                  </a:lnTo>
                  <a:lnTo>
                    <a:pt x="1429" y="0"/>
                  </a:lnTo>
                  <a:lnTo>
                    <a:pt x="1429" y="0"/>
                  </a:lnTo>
                  <a:lnTo>
                    <a:pt x="1429" y="0"/>
                  </a:lnTo>
                  <a:lnTo>
                    <a:pt x="1429" y="0"/>
                  </a:lnTo>
                  <a:lnTo>
                    <a:pt x="1429" y="0"/>
                  </a:lnTo>
                  <a:lnTo>
                    <a:pt x="1432" y="0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3" y="3"/>
                  </a:lnTo>
                  <a:lnTo>
                    <a:pt x="1445" y="3"/>
                  </a:lnTo>
                  <a:lnTo>
                    <a:pt x="1445" y="3"/>
                  </a:lnTo>
                  <a:lnTo>
                    <a:pt x="1445" y="3"/>
                  </a:lnTo>
                  <a:lnTo>
                    <a:pt x="1445" y="3"/>
                  </a:lnTo>
                  <a:lnTo>
                    <a:pt x="1456" y="5"/>
                  </a:lnTo>
                  <a:lnTo>
                    <a:pt x="1456" y="5"/>
                  </a:lnTo>
                  <a:lnTo>
                    <a:pt x="1456" y="5"/>
                  </a:lnTo>
                  <a:lnTo>
                    <a:pt x="1456" y="5"/>
                  </a:lnTo>
                  <a:lnTo>
                    <a:pt x="1458" y="5"/>
                  </a:lnTo>
                  <a:lnTo>
                    <a:pt x="1458" y="5"/>
                  </a:lnTo>
                  <a:lnTo>
                    <a:pt x="1452" y="5"/>
                  </a:lnTo>
                  <a:lnTo>
                    <a:pt x="1449" y="5"/>
                  </a:lnTo>
                  <a:lnTo>
                    <a:pt x="1449" y="3"/>
                  </a:lnTo>
                  <a:lnTo>
                    <a:pt x="1449" y="3"/>
                  </a:lnTo>
                  <a:lnTo>
                    <a:pt x="1449" y="3"/>
                  </a:lnTo>
                  <a:lnTo>
                    <a:pt x="1449" y="3"/>
                  </a:lnTo>
                  <a:lnTo>
                    <a:pt x="1447" y="3"/>
                  </a:lnTo>
                  <a:lnTo>
                    <a:pt x="1447" y="3"/>
                  </a:lnTo>
                  <a:lnTo>
                    <a:pt x="1447" y="3"/>
                  </a:lnTo>
                  <a:lnTo>
                    <a:pt x="1449" y="3"/>
                  </a:lnTo>
                  <a:lnTo>
                    <a:pt x="1452" y="3"/>
                  </a:lnTo>
                  <a:lnTo>
                    <a:pt x="1454" y="0"/>
                  </a:lnTo>
                  <a:lnTo>
                    <a:pt x="1458" y="0"/>
                  </a:lnTo>
                  <a:lnTo>
                    <a:pt x="1458" y="0"/>
                  </a:lnTo>
                  <a:lnTo>
                    <a:pt x="1456" y="0"/>
                  </a:lnTo>
                  <a:lnTo>
                    <a:pt x="1458" y="0"/>
                  </a:lnTo>
                  <a:lnTo>
                    <a:pt x="1461" y="0"/>
                  </a:lnTo>
                  <a:lnTo>
                    <a:pt x="1461" y="0"/>
                  </a:lnTo>
                  <a:lnTo>
                    <a:pt x="1463" y="0"/>
                  </a:lnTo>
                  <a:lnTo>
                    <a:pt x="1463" y="0"/>
                  </a:lnTo>
                  <a:lnTo>
                    <a:pt x="1463" y="0"/>
                  </a:lnTo>
                  <a:lnTo>
                    <a:pt x="1463" y="0"/>
                  </a:lnTo>
                  <a:lnTo>
                    <a:pt x="1467" y="0"/>
                  </a:lnTo>
                  <a:lnTo>
                    <a:pt x="1474" y="0"/>
                  </a:lnTo>
                  <a:lnTo>
                    <a:pt x="1476" y="0"/>
                  </a:lnTo>
                  <a:lnTo>
                    <a:pt x="1474" y="0"/>
                  </a:lnTo>
                  <a:lnTo>
                    <a:pt x="1472" y="0"/>
                  </a:lnTo>
                  <a:lnTo>
                    <a:pt x="1472" y="0"/>
                  </a:lnTo>
                  <a:lnTo>
                    <a:pt x="1472" y="3"/>
                  </a:lnTo>
                  <a:lnTo>
                    <a:pt x="1474" y="3"/>
                  </a:lnTo>
                  <a:lnTo>
                    <a:pt x="1474" y="3"/>
                  </a:lnTo>
                  <a:lnTo>
                    <a:pt x="1474" y="3"/>
                  </a:lnTo>
                  <a:lnTo>
                    <a:pt x="1474" y="3"/>
                  </a:lnTo>
                  <a:lnTo>
                    <a:pt x="1474" y="3"/>
                  </a:lnTo>
                  <a:lnTo>
                    <a:pt x="1481" y="3"/>
                  </a:lnTo>
                  <a:lnTo>
                    <a:pt x="1481" y="3"/>
                  </a:lnTo>
                  <a:lnTo>
                    <a:pt x="1476" y="3"/>
                  </a:lnTo>
                  <a:lnTo>
                    <a:pt x="1476" y="3"/>
                  </a:lnTo>
                  <a:lnTo>
                    <a:pt x="1474" y="0"/>
                  </a:lnTo>
                  <a:lnTo>
                    <a:pt x="1476" y="0"/>
                  </a:lnTo>
                  <a:lnTo>
                    <a:pt x="1479" y="0"/>
                  </a:lnTo>
                  <a:lnTo>
                    <a:pt x="1481" y="0"/>
                  </a:lnTo>
                  <a:lnTo>
                    <a:pt x="1481" y="0"/>
                  </a:lnTo>
                  <a:lnTo>
                    <a:pt x="1481" y="0"/>
                  </a:lnTo>
                  <a:lnTo>
                    <a:pt x="1481" y="0"/>
                  </a:lnTo>
                  <a:lnTo>
                    <a:pt x="1481" y="0"/>
                  </a:lnTo>
                  <a:lnTo>
                    <a:pt x="1481" y="0"/>
                  </a:lnTo>
                  <a:lnTo>
                    <a:pt x="1483" y="0"/>
                  </a:lnTo>
                  <a:lnTo>
                    <a:pt x="1483" y="0"/>
                  </a:lnTo>
                  <a:lnTo>
                    <a:pt x="1483" y="0"/>
                  </a:lnTo>
                  <a:lnTo>
                    <a:pt x="1483" y="0"/>
                  </a:lnTo>
                  <a:lnTo>
                    <a:pt x="1485" y="0"/>
                  </a:lnTo>
                  <a:lnTo>
                    <a:pt x="1485" y="0"/>
                  </a:lnTo>
                  <a:lnTo>
                    <a:pt x="1485" y="0"/>
                  </a:lnTo>
                  <a:lnTo>
                    <a:pt x="1483" y="0"/>
                  </a:lnTo>
                  <a:lnTo>
                    <a:pt x="1485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7" y="0"/>
                  </a:lnTo>
                  <a:lnTo>
                    <a:pt x="1497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499" y="0"/>
                  </a:lnTo>
                  <a:lnTo>
                    <a:pt x="1501" y="0"/>
                  </a:lnTo>
                  <a:lnTo>
                    <a:pt x="1501" y="0"/>
                  </a:lnTo>
                  <a:lnTo>
                    <a:pt x="1501" y="0"/>
                  </a:lnTo>
                  <a:lnTo>
                    <a:pt x="1499" y="3"/>
                  </a:lnTo>
                  <a:lnTo>
                    <a:pt x="1499" y="3"/>
                  </a:lnTo>
                  <a:lnTo>
                    <a:pt x="1499" y="3"/>
                  </a:lnTo>
                  <a:lnTo>
                    <a:pt x="1503" y="0"/>
                  </a:lnTo>
                  <a:lnTo>
                    <a:pt x="1506" y="0"/>
                  </a:lnTo>
                  <a:lnTo>
                    <a:pt x="1508" y="0"/>
                  </a:lnTo>
                  <a:lnTo>
                    <a:pt x="1508" y="0"/>
                  </a:lnTo>
                  <a:lnTo>
                    <a:pt x="1506" y="3"/>
                  </a:lnTo>
                  <a:lnTo>
                    <a:pt x="1506" y="3"/>
                  </a:lnTo>
                  <a:lnTo>
                    <a:pt x="1510" y="3"/>
                  </a:lnTo>
                  <a:lnTo>
                    <a:pt x="1510" y="3"/>
                  </a:lnTo>
                  <a:lnTo>
                    <a:pt x="1510" y="3"/>
                  </a:lnTo>
                  <a:lnTo>
                    <a:pt x="1512" y="0"/>
                  </a:lnTo>
                  <a:lnTo>
                    <a:pt x="1517" y="3"/>
                  </a:lnTo>
                  <a:lnTo>
                    <a:pt x="1517" y="3"/>
                  </a:lnTo>
                  <a:lnTo>
                    <a:pt x="1517" y="3"/>
                  </a:lnTo>
                  <a:lnTo>
                    <a:pt x="1515" y="3"/>
                  </a:lnTo>
                  <a:lnTo>
                    <a:pt x="1517" y="3"/>
                  </a:lnTo>
                  <a:lnTo>
                    <a:pt x="1517" y="3"/>
                  </a:lnTo>
                  <a:lnTo>
                    <a:pt x="1519" y="3"/>
                  </a:lnTo>
                  <a:lnTo>
                    <a:pt x="1524" y="3"/>
                  </a:lnTo>
                  <a:lnTo>
                    <a:pt x="1528" y="3"/>
                  </a:lnTo>
                  <a:lnTo>
                    <a:pt x="1528" y="3"/>
                  </a:lnTo>
                  <a:lnTo>
                    <a:pt x="1528" y="3"/>
                  </a:lnTo>
                  <a:lnTo>
                    <a:pt x="1530" y="3"/>
                  </a:lnTo>
                  <a:lnTo>
                    <a:pt x="1530" y="3"/>
                  </a:lnTo>
                  <a:lnTo>
                    <a:pt x="1530" y="3"/>
                  </a:lnTo>
                  <a:lnTo>
                    <a:pt x="1530" y="3"/>
                  </a:lnTo>
                  <a:lnTo>
                    <a:pt x="1530" y="3"/>
                  </a:lnTo>
                  <a:lnTo>
                    <a:pt x="1533" y="3"/>
                  </a:lnTo>
                  <a:lnTo>
                    <a:pt x="1533" y="3"/>
                  </a:lnTo>
                  <a:lnTo>
                    <a:pt x="1535" y="3"/>
                  </a:lnTo>
                  <a:lnTo>
                    <a:pt x="1535" y="3"/>
                  </a:lnTo>
                  <a:lnTo>
                    <a:pt x="1537" y="3"/>
                  </a:lnTo>
                  <a:lnTo>
                    <a:pt x="1537" y="3"/>
                  </a:lnTo>
                  <a:lnTo>
                    <a:pt x="1539" y="3"/>
                  </a:lnTo>
                  <a:lnTo>
                    <a:pt x="1539" y="3"/>
                  </a:lnTo>
                  <a:lnTo>
                    <a:pt x="1539" y="3"/>
                  </a:lnTo>
                  <a:lnTo>
                    <a:pt x="1537" y="3"/>
                  </a:lnTo>
                  <a:lnTo>
                    <a:pt x="1537" y="3"/>
                  </a:lnTo>
                  <a:lnTo>
                    <a:pt x="1537" y="3"/>
                  </a:lnTo>
                  <a:lnTo>
                    <a:pt x="1537" y="3"/>
                  </a:lnTo>
                  <a:lnTo>
                    <a:pt x="1537" y="3"/>
                  </a:lnTo>
                  <a:lnTo>
                    <a:pt x="1530" y="5"/>
                  </a:lnTo>
                  <a:lnTo>
                    <a:pt x="1530" y="5"/>
                  </a:lnTo>
                  <a:lnTo>
                    <a:pt x="1530" y="5"/>
                  </a:lnTo>
                  <a:lnTo>
                    <a:pt x="1526" y="5"/>
                  </a:lnTo>
                  <a:lnTo>
                    <a:pt x="1526" y="5"/>
                  </a:lnTo>
                  <a:lnTo>
                    <a:pt x="1521" y="5"/>
                  </a:lnTo>
                  <a:lnTo>
                    <a:pt x="1521" y="5"/>
                  </a:lnTo>
                  <a:lnTo>
                    <a:pt x="1519" y="5"/>
                  </a:lnTo>
                  <a:lnTo>
                    <a:pt x="1519" y="5"/>
                  </a:lnTo>
                  <a:lnTo>
                    <a:pt x="1517" y="5"/>
                  </a:lnTo>
                  <a:lnTo>
                    <a:pt x="1517" y="5"/>
                  </a:lnTo>
                  <a:lnTo>
                    <a:pt x="1508" y="5"/>
                  </a:lnTo>
                  <a:lnTo>
                    <a:pt x="1508" y="7"/>
                  </a:lnTo>
                  <a:lnTo>
                    <a:pt x="1506" y="7"/>
                  </a:lnTo>
                  <a:lnTo>
                    <a:pt x="1506" y="7"/>
                  </a:lnTo>
                  <a:lnTo>
                    <a:pt x="1506" y="7"/>
                  </a:lnTo>
                  <a:lnTo>
                    <a:pt x="1521" y="7"/>
                  </a:lnTo>
                  <a:lnTo>
                    <a:pt x="1524" y="5"/>
                  </a:lnTo>
                  <a:lnTo>
                    <a:pt x="1526" y="5"/>
                  </a:lnTo>
                  <a:lnTo>
                    <a:pt x="1526" y="5"/>
                  </a:lnTo>
                  <a:lnTo>
                    <a:pt x="1528" y="5"/>
                  </a:lnTo>
                  <a:lnTo>
                    <a:pt x="1530" y="5"/>
                  </a:lnTo>
                  <a:lnTo>
                    <a:pt x="1533" y="5"/>
                  </a:lnTo>
                  <a:lnTo>
                    <a:pt x="1533" y="5"/>
                  </a:lnTo>
                  <a:lnTo>
                    <a:pt x="1533" y="5"/>
                  </a:lnTo>
                  <a:lnTo>
                    <a:pt x="1533" y="5"/>
                  </a:lnTo>
                  <a:lnTo>
                    <a:pt x="1530" y="5"/>
                  </a:lnTo>
                  <a:lnTo>
                    <a:pt x="1533" y="5"/>
                  </a:lnTo>
                  <a:lnTo>
                    <a:pt x="1533" y="5"/>
                  </a:lnTo>
                  <a:lnTo>
                    <a:pt x="1544" y="5"/>
                  </a:lnTo>
                  <a:lnTo>
                    <a:pt x="1548" y="5"/>
                  </a:lnTo>
                  <a:lnTo>
                    <a:pt x="1548" y="5"/>
                  </a:lnTo>
                  <a:lnTo>
                    <a:pt x="1548" y="5"/>
                  </a:lnTo>
                  <a:lnTo>
                    <a:pt x="1546" y="5"/>
                  </a:lnTo>
                  <a:lnTo>
                    <a:pt x="1546" y="5"/>
                  </a:lnTo>
                  <a:lnTo>
                    <a:pt x="1548" y="5"/>
                  </a:lnTo>
                  <a:lnTo>
                    <a:pt x="1551" y="5"/>
                  </a:lnTo>
                  <a:lnTo>
                    <a:pt x="1551" y="5"/>
                  </a:lnTo>
                  <a:lnTo>
                    <a:pt x="1548" y="5"/>
                  </a:lnTo>
                  <a:lnTo>
                    <a:pt x="1548" y="5"/>
                  </a:lnTo>
                  <a:lnTo>
                    <a:pt x="1548" y="5"/>
                  </a:lnTo>
                  <a:lnTo>
                    <a:pt x="1551" y="3"/>
                  </a:lnTo>
                  <a:lnTo>
                    <a:pt x="1553" y="3"/>
                  </a:lnTo>
                  <a:lnTo>
                    <a:pt x="1553" y="3"/>
                  </a:lnTo>
                  <a:lnTo>
                    <a:pt x="1553" y="3"/>
                  </a:lnTo>
                  <a:lnTo>
                    <a:pt x="1551" y="3"/>
                  </a:lnTo>
                  <a:lnTo>
                    <a:pt x="1551" y="3"/>
                  </a:lnTo>
                  <a:lnTo>
                    <a:pt x="1551" y="3"/>
                  </a:lnTo>
                  <a:lnTo>
                    <a:pt x="1553" y="3"/>
                  </a:lnTo>
                  <a:lnTo>
                    <a:pt x="1553" y="3"/>
                  </a:lnTo>
                  <a:lnTo>
                    <a:pt x="1560" y="3"/>
                  </a:lnTo>
                  <a:lnTo>
                    <a:pt x="1560" y="3"/>
                  </a:lnTo>
                  <a:lnTo>
                    <a:pt x="1557" y="3"/>
                  </a:lnTo>
                  <a:lnTo>
                    <a:pt x="1557" y="3"/>
                  </a:lnTo>
                  <a:lnTo>
                    <a:pt x="1555" y="3"/>
                  </a:lnTo>
                  <a:lnTo>
                    <a:pt x="1555" y="3"/>
                  </a:lnTo>
                  <a:lnTo>
                    <a:pt x="1555" y="3"/>
                  </a:lnTo>
                  <a:lnTo>
                    <a:pt x="1557" y="3"/>
                  </a:lnTo>
                  <a:lnTo>
                    <a:pt x="1557" y="3"/>
                  </a:lnTo>
                  <a:lnTo>
                    <a:pt x="1557" y="5"/>
                  </a:lnTo>
                  <a:lnTo>
                    <a:pt x="1557" y="5"/>
                  </a:lnTo>
                  <a:lnTo>
                    <a:pt x="1560" y="5"/>
                  </a:lnTo>
                  <a:lnTo>
                    <a:pt x="1560" y="5"/>
                  </a:lnTo>
                  <a:lnTo>
                    <a:pt x="1560" y="5"/>
                  </a:lnTo>
                  <a:lnTo>
                    <a:pt x="1560" y="5"/>
                  </a:lnTo>
                  <a:lnTo>
                    <a:pt x="1560" y="5"/>
                  </a:lnTo>
                  <a:lnTo>
                    <a:pt x="1560" y="5"/>
                  </a:lnTo>
                  <a:lnTo>
                    <a:pt x="1560" y="5"/>
                  </a:lnTo>
                  <a:lnTo>
                    <a:pt x="1562" y="5"/>
                  </a:lnTo>
                  <a:lnTo>
                    <a:pt x="1562" y="5"/>
                  </a:lnTo>
                  <a:lnTo>
                    <a:pt x="1564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3" y="5"/>
                  </a:lnTo>
                  <a:lnTo>
                    <a:pt x="1571" y="5"/>
                  </a:lnTo>
                  <a:lnTo>
                    <a:pt x="1566" y="5"/>
                  </a:lnTo>
                  <a:lnTo>
                    <a:pt x="1569" y="5"/>
                  </a:lnTo>
                  <a:lnTo>
                    <a:pt x="1571" y="5"/>
                  </a:lnTo>
                  <a:lnTo>
                    <a:pt x="1571" y="5"/>
                  </a:lnTo>
                  <a:lnTo>
                    <a:pt x="1571" y="5"/>
                  </a:lnTo>
                  <a:lnTo>
                    <a:pt x="1571" y="5"/>
                  </a:lnTo>
                  <a:lnTo>
                    <a:pt x="1571" y="7"/>
                  </a:lnTo>
                  <a:lnTo>
                    <a:pt x="1571" y="7"/>
                  </a:lnTo>
                  <a:lnTo>
                    <a:pt x="1571" y="7"/>
                  </a:lnTo>
                  <a:lnTo>
                    <a:pt x="1571" y="7"/>
                  </a:lnTo>
                  <a:lnTo>
                    <a:pt x="1571" y="7"/>
                  </a:lnTo>
                  <a:lnTo>
                    <a:pt x="1573" y="7"/>
                  </a:lnTo>
                  <a:lnTo>
                    <a:pt x="1573" y="7"/>
                  </a:lnTo>
                  <a:lnTo>
                    <a:pt x="1573" y="7"/>
                  </a:lnTo>
                  <a:lnTo>
                    <a:pt x="1573" y="7"/>
                  </a:lnTo>
                  <a:lnTo>
                    <a:pt x="1571" y="7"/>
                  </a:lnTo>
                  <a:lnTo>
                    <a:pt x="1571" y="7"/>
                  </a:lnTo>
                  <a:lnTo>
                    <a:pt x="1575" y="7"/>
                  </a:lnTo>
                  <a:lnTo>
                    <a:pt x="1575" y="7"/>
                  </a:lnTo>
                  <a:lnTo>
                    <a:pt x="1575" y="7"/>
                  </a:lnTo>
                  <a:lnTo>
                    <a:pt x="1575" y="7"/>
                  </a:lnTo>
                  <a:lnTo>
                    <a:pt x="1575" y="7"/>
                  </a:lnTo>
                  <a:lnTo>
                    <a:pt x="1573" y="7"/>
                  </a:lnTo>
                  <a:lnTo>
                    <a:pt x="1573" y="7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1" y="9"/>
                  </a:lnTo>
                  <a:lnTo>
                    <a:pt x="1569" y="9"/>
                  </a:lnTo>
                  <a:lnTo>
                    <a:pt x="1569" y="9"/>
                  </a:lnTo>
                  <a:lnTo>
                    <a:pt x="1573" y="9"/>
                  </a:lnTo>
                  <a:lnTo>
                    <a:pt x="1573" y="9"/>
                  </a:lnTo>
                  <a:lnTo>
                    <a:pt x="1575" y="9"/>
                  </a:lnTo>
                  <a:lnTo>
                    <a:pt x="1575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9"/>
                  </a:lnTo>
                  <a:lnTo>
                    <a:pt x="1578" y="7"/>
                  </a:lnTo>
                  <a:lnTo>
                    <a:pt x="1584" y="7"/>
                  </a:lnTo>
                  <a:lnTo>
                    <a:pt x="1584" y="7"/>
                  </a:lnTo>
                  <a:lnTo>
                    <a:pt x="1584" y="9"/>
                  </a:lnTo>
                  <a:lnTo>
                    <a:pt x="1582" y="9"/>
                  </a:lnTo>
                  <a:lnTo>
                    <a:pt x="1582" y="9"/>
                  </a:lnTo>
                  <a:lnTo>
                    <a:pt x="1582" y="9"/>
                  </a:lnTo>
                  <a:lnTo>
                    <a:pt x="1582" y="9"/>
                  </a:lnTo>
                  <a:lnTo>
                    <a:pt x="1582" y="9"/>
                  </a:lnTo>
                  <a:lnTo>
                    <a:pt x="1584" y="9"/>
                  </a:lnTo>
                  <a:lnTo>
                    <a:pt x="1584" y="9"/>
                  </a:lnTo>
                  <a:lnTo>
                    <a:pt x="1584" y="9"/>
                  </a:lnTo>
                  <a:lnTo>
                    <a:pt x="1584" y="9"/>
                  </a:lnTo>
                  <a:lnTo>
                    <a:pt x="1587" y="9"/>
                  </a:lnTo>
                  <a:lnTo>
                    <a:pt x="1587" y="9"/>
                  </a:lnTo>
                  <a:lnTo>
                    <a:pt x="1587" y="9"/>
                  </a:lnTo>
                  <a:lnTo>
                    <a:pt x="1591" y="9"/>
                  </a:lnTo>
                  <a:lnTo>
                    <a:pt x="1591" y="9"/>
                  </a:lnTo>
                  <a:lnTo>
                    <a:pt x="1596" y="9"/>
                  </a:lnTo>
                  <a:lnTo>
                    <a:pt x="1596" y="9"/>
                  </a:lnTo>
                  <a:lnTo>
                    <a:pt x="1596" y="12"/>
                  </a:lnTo>
                  <a:lnTo>
                    <a:pt x="1596" y="12"/>
                  </a:lnTo>
                  <a:lnTo>
                    <a:pt x="1596" y="12"/>
                  </a:lnTo>
                  <a:lnTo>
                    <a:pt x="1596" y="12"/>
                  </a:lnTo>
                  <a:lnTo>
                    <a:pt x="1596" y="12"/>
                  </a:lnTo>
                  <a:lnTo>
                    <a:pt x="1596" y="12"/>
                  </a:lnTo>
                  <a:lnTo>
                    <a:pt x="1593" y="12"/>
                  </a:lnTo>
                  <a:lnTo>
                    <a:pt x="1591" y="14"/>
                  </a:lnTo>
                  <a:lnTo>
                    <a:pt x="1582" y="14"/>
                  </a:lnTo>
                  <a:lnTo>
                    <a:pt x="1582" y="14"/>
                  </a:lnTo>
                  <a:lnTo>
                    <a:pt x="1584" y="14"/>
                  </a:lnTo>
                  <a:lnTo>
                    <a:pt x="1584" y="14"/>
                  </a:lnTo>
                  <a:lnTo>
                    <a:pt x="1582" y="14"/>
                  </a:lnTo>
                  <a:lnTo>
                    <a:pt x="1582" y="14"/>
                  </a:lnTo>
                  <a:lnTo>
                    <a:pt x="1580" y="14"/>
                  </a:lnTo>
                  <a:lnTo>
                    <a:pt x="1578" y="16"/>
                  </a:lnTo>
                  <a:lnTo>
                    <a:pt x="1575" y="16"/>
                  </a:lnTo>
                  <a:lnTo>
                    <a:pt x="1575" y="16"/>
                  </a:lnTo>
                  <a:lnTo>
                    <a:pt x="1575" y="16"/>
                  </a:lnTo>
                  <a:lnTo>
                    <a:pt x="1573" y="16"/>
                  </a:lnTo>
                  <a:lnTo>
                    <a:pt x="1573" y="16"/>
                  </a:lnTo>
                  <a:lnTo>
                    <a:pt x="1575" y="16"/>
                  </a:lnTo>
                  <a:lnTo>
                    <a:pt x="1573" y="16"/>
                  </a:lnTo>
                  <a:lnTo>
                    <a:pt x="1566" y="16"/>
                  </a:lnTo>
                  <a:lnTo>
                    <a:pt x="1566" y="16"/>
                  </a:lnTo>
                  <a:lnTo>
                    <a:pt x="1564" y="16"/>
                  </a:lnTo>
                  <a:lnTo>
                    <a:pt x="1553" y="18"/>
                  </a:lnTo>
                  <a:lnTo>
                    <a:pt x="1551" y="18"/>
                  </a:lnTo>
                  <a:lnTo>
                    <a:pt x="1548" y="18"/>
                  </a:lnTo>
                  <a:lnTo>
                    <a:pt x="1548" y="18"/>
                  </a:lnTo>
                  <a:lnTo>
                    <a:pt x="1548" y="18"/>
                  </a:lnTo>
                  <a:lnTo>
                    <a:pt x="1551" y="18"/>
                  </a:lnTo>
                  <a:lnTo>
                    <a:pt x="1551" y="18"/>
                  </a:lnTo>
                  <a:lnTo>
                    <a:pt x="1548" y="18"/>
                  </a:lnTo>
                  <a:lnTo>
                    <a:pt x="1548" y="21"/>
                  </a:lnTo>
                  <a:lnTo>
                    <a:pt x="1546" y="21"/>
                  </a:lnTo>
                  <a:lnTo>
                    <a:pt x="1542" y="21"/>
                  </a:lnTo>
                  <a:lnTo>
                    <a:pt x="1542" y="18"/>
                  </a:lnTo>
                  <a:lnTo>
                    <a:pt x="1539" y="18"/>
                  </a:lnTo>
                  <a:lnTo>
                    <a:pt x="1539" y="18"/>
                  </a:lnTo>
                  <a:lnTo>
                    <a:pt x="1535" y="18"/>
                  </a:lnTo>
                  <a:lnTo>
                    <a:pt x="1535" y="18"/>
                  </a:lnTo>
                  <a:lnTo>
                    <a:pt x="1535" y="18"/>
                  </a:lnTo>
                  <a:lnTo>
                    <a:pt x="1535" y="18"/>
                  </a:lnTo>
                  <a:lnTo>
                    <a:pt x="1535" y="18"/>
                  </a:lnTo>
                  <a:lnTo>
                    <a:pt x="1535" y="21"/>
                  </a:lnTo>
                  <a:lnTo>
                    <a:pt x="1526" y="21"/>
                  </a:lnTo>
                  <a:lnTo>
                    <a:pt x="1526" y="21"/>
                  </a:lnTo>
                  <a:lnTo>
                    <a:pt x="1528" y="21"/>
                  </a:lnTo>
                  <a:lnTo>
                    <a:pt x="1528" y="21"/>
                  </a:lnTo>
                  <a:lnTo>
                    <a:pt x="1535" y="21"/>
                  </a:lnTo>
                  <a:lnTo>
                    <a:pt x="1533" y="21"/>
                  </a:lnTo>
                  <a:lnTo>
                    <a:pt x="1526" y="21"/>
                  </a:lnTo>
                  <a:lnTo>
                    <a:pt x="1526" y="21"/>
                  </a:lnTo>
                  <a:lnTo>
                    <a:pt x="1526" y="21"/>
                  </a:lnTo>
                  <a:lnTo>
                    <a:pt x="1526" y="21"/>
                  </a:lnTo>
                  <a:lnTo>
                    <a:pt x="1524" y="21"/>
                  </a:lnTo>
                  <a:lnTo>
                    <a:pt x="1519" y="21"/>
                  </a:lnTo>
                  <a:lnTo>
                    <a:pt x="1517" y="21"/>
                  </a:lnTo>
                  <a:lnTo>
                    <a:pt x="1510" y="21"/>
                  </a:lnTo>
                  <a:lnTo>
                    <a:pt x="1503" y="21"/>
                  </a:lnTo>
                  <a:lnTo>
                    <a:pt x="1497" y="23"/>
                  </a:lnTo>
                  <a:lnTo>
                    <a:pt x="1483" y="21"/>
                  </a:lnTo>
                  <a:lnTo>
                    <a:pt x="1485" y="21"/>
                  </a:lnTo>
                  <a:lnTo>
                    <a:pt x="1494" y="23"/>
                  </a:lnTo>
                  <a:lnTo>
                    <a:pt x="1494" y="23"/>
                  </a:lnTo>
                  <a:lnTo>
                    <a:pt x="1488" y="23"/>
                  </a:lnTo>
                  <a:lnTo>
                    <a:pt x="1488" y="23"/>
                  </a:lnTo>
                  <a:lnTo>
                    <a:pt x="1490" y="23"/>
                  </a:lnTo>
                  <a:lnTo>
                    <a:pt x="1508" y="23"/>
                  </a:lnTo>
                  <a:lnTo>
                    <a:pt x="1515" y="23"/>
                  </a:lnTo>
                  <a:lnTo>
                    <a:pt x="1515" y="23"/>
                  </a:lnTo>
                  <a:lnTo>
                    <a:pt x="1515" y="23"/>
                  </a:lnTo>
                  <a:lnTo>
                    <a:pt x="1510" y="23"/>
                  </a:lnTo>
                  <a:lnTo>
                    <a:pt x="1508" y="23"/>
                  </a:lnTo>
                  <a:lnTo>
                    <a:pt x="1506" y="23"/>
                  </a:lnTo>
                  <a:lnTo>
                    <a:pt x="1494" y="25"/>
                  </a:lnTo>
                  <a:lnTo>
                    <a:pt x="1494" y="25"/>
                  </a:lnTo>
                  <a:lnTo>
                    <a:pt x="1492" y="25"/>
                  </a:lnTo>
                  <a:lnTo>
                    <a:pt x="1490" y="25"/>
                  </a:lnTo>
                  <a:lnTo>
                    <a:pt x="1488" y="25"/>
                  </a:lnTo>
                  <a:lnTo>
                    <a:pt x="1488" y="25"/>
                  </a:lnTo>
                  <a:lnTo>
                    <a:pt x="1488" y="25"/>
                  </a:lnTo>
                  <a:lnTo>
                    <a:pt x="1485" y="25"/>
                  </a:lnTo>
                  <a:lnTo>
                    <a:pt x="1483" y="27"/>
                  </a:lnTo>
                  <a:lnTo>
                    <a:pt x="1483" y="27"/>
                  </a:lnTo>
                  <a:lnTo>
                    <a:pt x="1483" y="27"/>
                  </a:lnTo>
                  <a:lnTo>
                    <a:pt x="1481" y="27"/>
                  </a:lnTo>
                  <a:lnTo>
                    <a:pt x="1476" y="27"/>
                  </a:lnTo>
                  <a:lnTo>
                    <a:pt x="1476" y="27"/>
                  </a:lnTo>
                  <a:lnTo>
                    <a:pt x="1476" y="27"/>
                  </a:lnTo>
                  <a:lnTo>
                    <a:pt x="1476" y="27"/>
                  </a:lnTo>
                  <a:lnTo>
                    <a:pt x="1476" y="27"/>
                  </a:lnTo>
                  <a:lnTo>
                    <a:pt x="1476" y="27"/>
                  </a:lnTo>
                  <a:lnTo>
                    <a:pt x="1474" y="27"/>
                  </a:lnTo>
                  <a:lnTo>
                    <a:pt x="1472" y="27"/>
                  </a:lnTo>
                  <a:lnTo>
                    <a:pt x="1467" y="27"/>
                  </a:lnTo>
                  <a:lnTo>
                    <a:pt x="1465" y="27"/>
                  </a:lnTo>
                  <a:lnTo>
                    <a:pt x="1465" y="27"/>
                  </a:lnTo>
                  <a:lnTo>
                    <a:pt x="1465" y="27"/>
                  </a:lnTo>
                  <a:lnTo>
                    <a:pt x="1472" y="27"/>
                  </a:lnTo>
                  <a:lnTo>
                    <a:pt x="1472" y="27"/>
                  </a:lnTo>
                  <a:lnTo>
                    <a:pt x="1470" y="27"/>
                  </a:lnTo>
                  <a:lnTo>
                    <a:pt x="1470" y="27"/>
                  </a:lnTo>
                  <a:lnTo>
                    <a:pt x="1467" y="30"/>
                  </a:lnTo>
                  <a:lnTo>
                    <a:pt x="1465" y="30"/>
                  </a:lnTo>
                  <a:lnTo>
                    <a:pt x="1472" y="27"/>
                  </a:lnTo>
                  <a:lnTo>
                    <a:pt x="1474" y="27"/>
                  </a:lnTo>
                  <a:lnTo>
                    <a:pt x="1474" y="27"/>
                  </a:lnTo>
                  <a:lnTo>
                    <a:pt x="1497" y="25"/>
                  </a:lnTo>
                  <a:lnTo>
                    <a:pt x="1499" y="25"/>
                  </a:lnTo>
                  <a:lnTo>
                    <a:pt x="1506" y="25"/>
                  </a:lnTo>
                  <a:lnTo>
                    <a:pt x="1510" y="25"/>
                  </a:lnTo>
                  <a:lnTo>
                    <a:pt x="1519" y="23"/>
                  </a:lnTo>
                  <a:lnTo>
                    <a:pt x="1524" y="23"/>
                  </a:lnTo>
                  <a:lnTo>
                    <a:pt x="1526" y="23"/>
                  </a:lnTo>
                  <a:lnTo>
                    <a:pt x="1533" y="23"/>
                  </a:lnTo>
                  <a:lnTo>
                    <a:pt x="1537" y="23"/>
                  </a:lnTo>
                  <a:lnTo>
                    <a:pt x="1542" y="23"/>
                  </a:lnTo>
                  <a:lnTo>
                    <a:pt x="1542" y="23"/>
                  </a:lnTo>
                  <a:lnTo>
                    <a:pt x="1542" y="23"/>
                  </a:lnTo>
                  <a:lnTo>
                    <a:pt x="1542" y="23"/>
                  </a:lnTo>
                  <a:lnTo>
                    <a:pt x="1542" y="23"/>
                  </a:lnTo>
                  <a:lnTo>
                    <a:pt x="1544" y="23"/>
                  </a:lnTo>
                  <a:lnTo>
                    <a:pt x="1544" y="23"/>
                  </a:lnTo>
                  <a:lnTo>
                    <a:pt x="1544" y="23"/>
                  </a:lnTo>
                  <a:lnTo>
                    <a:pt x="1542" y="23"/>
                  </a:lnTo>
                  <a:lnTo>
                    <a:pt x="1542" y="23"/>
                  </a:lnTo>
                  <a:lnTo>
                    <a:pt x="1539" y="25"/>
                  </a:lnTo>
                  <a:lnTo>
                    <a:pt x="1533" y="25"/>
                  </a:lnTo>
                  <a:lnTo>
                    <a:pt x="1528" y="27"/>
                  </a:lnTo>
                  <a:lnTo>
                    <a:pt x="1526" y="27"/>
                  </a:lnTo>
                  <a:lnTo>
                    <a:pt x="1524" y="27"/>
                  </a:lnTo>
                  <a:lnTo>
                    <a:pt x="1521" y="27"/>
                  </a:lnTo>
                  <a:lnTo>
                    <a:pt x="1519" y="27"/>
                  </a:lnTo>
                  <a:lnTo>
                    <a:pt x="1517" y="27"/>
                  </a:lnTo>
                  <a:lnTo>
                    <a:pt x="1515" y="27"/>
                  </a:lnTo>
                  <a:lnTo>
                    <a:pt x="1515" y="27"/>
                  </a:lnTo>
                  <a:lnTo>
                    <a:pt x="1515" y="27"/>
                  </a:lnTo>
                  <a:lnTo>
                    <a:pt x="1512" y="30"/>
                  </a:lnTo>
                  <a:lnTo>
                    <a:pt x="1512" y="30"/>
                  </a:lnTo>
                  <a:lnTo>
                    <a:pt x="1510" y="30"/>
                  </a:lnTo>
                  <a:lnTo>
                    <a:pt x="1510" y="30"/>
                  </a:lnTo>
                  <a:lnTo>
                    <a:pt x="1508" y="30"/>
                  </a:lnTo>
                  <a:lnTo>
                    <a:pt x="1506" y="30"/>
                  </a:lnTo>
                  <a:lnTo>
                    <a:pt x="1499" y="32"/>
                  </a:lnTo>
                  <a:lnTo>
                    <a:pt x="1494" y="32"/>
                  </a:lnTo>
                  <a:lnTo>
                    <a:pt x="1494" y="32"/>
                  </a:lnTo>
                  <a:lnTo>
                    <a:pt x="1494" y="32"/>
                  </a:lnTo>
                  <a:lnTo>
                    <a:pt x="1494" y="32"/>
                  </a:lnTo>
                  <a:lnTo>
                    <a:pt x="1494" y="32"/>
                  </a:lnTo>
                  <a:lnTo>
                    <a:pt x="1494" y="32"/>
                  </a:lnTo>
                  <a:lnTo>
                    <a:pt x="1492" y="32"/>
                  </a:lnTo>
                  <a:lnTo>
                    <a:pt x="1492" y="32"/>
                  </a:lnTo>
                  <a:lnTo>
                    <a:pt x="1490" y="32"/>
                  </a:lnTo>
                  <a:lnTo>
                    <a:pt x="1490" y="32"/>
                  </a:lnTo>
                  <a:lnTo>
                    <a:pt x="1490" y="34"/>
                  </a:lnTo>
                  <a:lnTo>
                    <a:pt x="1490" y="34"/>
                  </a:lnTo>
                  <a:lnTo>
                    <a:pt x="1488" y="34"/>
                  </a:lnTo>
                  <a:lnTo>
                    <a:pt x="1488" y="34"/>
                  </a:lnTo>
                  <a:lnTo>
                    <a:pt x="1483" y="34"/>
                  </a:lnTo>
                  <a:lnTo>
                    <a:pt x="1481" y="34"/>
                  </a:lnTo>
                  <a:lnTo>
                    <a:pt x="1481" y="34"/>
                  </a:lnTo>
                  <a:lnTo>
                    <a:pt x="1479" y="36"/>
                  </a:lnTo>
                  <a:lnTo>
                    <a:pt x="1476" y="36"/>
                  </a:lnTo>
                  <a:lnTo>
                    <a:pt x="1476" y="36"/>
                  </a:lnTo>
                  <a:lnTo>
                    <a:pt x="1472" y="36"/>
                  </a:lnTo>
                  <a:lnTo>
                    <a:pt x="1472" y="36"/>
                  </a:lnTo>
                  <a:lnTo>
                    <a:pt x="1472" y="36"/>
                  </a:lnTo>
                  <a:lnTo>
                    <a:pt x="1474" y="36"/>
                  </a:lnTo>
                  <a:lnTo>
                    <a:pt x="1472" y="36"/>
                  </a:lnTo>
                  <a:lnTo>
                    <a:pt x="1470" y="39"/>
                  </a:lnTo>
                  <a:lnTo>
                    <a:pt x="1467" y="39"/>
                  </a:lnTo>
                  <a:lnTo>
                    <a:pt x="1467" y="39"/>
                  </a:lnTo>
                  <a:lnTo>
                    <a:pt x="1467" y="39"/>
                  </a:lnTo>
                  <a:lnTo>
                    <a:pt x="1465" y="39"/>
                  </a:lnTo>
                  <a:lnTo>
                    <a:pt x="1465" y="39"/>
                  </a:lnTo>
                  <a:lnTo>
                    <a:pt x="1465" y="39"/>
                  </a:lnTo>
                  <a:lnTo>
                    <a:pt x="1465" y="39"/>
                  </a:lnTo>
                  <a:lnTo>
                    <a:pt x="1465" y="39"/>
                  </a:lnTo>
                  <a:lnTo>
                    <a:pt x="1463" y="41"/>
                  </a:lnTo>
                  <a:lnTo>
                    <a:pt x="1461" y="41"/>
                  </a:lnTo>
                  <a:lnTo>
                    <a:pt x="1452" y="41"/>
                  </a:lnTo>
                  <a:lnTo>
                    <a:pt x="1452" y="41"/>
                  </a:lnTo>
                  <a:lnTo>
                    <a:pt x="1454" y="39"/>
                  </a:lnTo>
                  <a:lnTo>
                    <a:pt x="1454" y="39"/>
                  </a:lnTo>
                  <a:lnTo>
                    <a:pt x="1454" y="39"/>
                  </a:lnTo>
                  <a:lnTo>
                    <a:pt x="1452" y="39"/>
                  </a:lnTo>
                  <a:lnTo>
                    <a:pt x="1447" y="36"/>
                  </a:lnTo>
                  <a:lnTo>
                    <a:pt x="1447" y="36"/>
                  </a:lnTo>
                  <a:lnTo>
                    <a:pt x="1447" y="36"/>
                  </a:lnTo>
                  <a:lnTo>
                    <a:pt x="1447" y="36"/>
                  </a:lnTo>
                  <a:lnTo>
                    <a:pt x="1447" y="36"/>
                  </a:lnTo>
                  <a:lnTo>
                    <a:pt x="1447" y="39"/>
                  </a:lnTo>
                  <a:lnTo>
                    <a:pt x="1449" y="39"/>
                  </a:lnTo>
                  <a:lnTo>
                    <a:pt x="1449" y="39"/>
                  </a:lnTo>
                  <a:lnTo>
                    <a:pt x="1449" y="39"/>
                  </a:lnTo>
                  <a:lnTo>
                    <a:pt x="1449" y="39"/>
                  </a:lnTo>
                  <a:lnTo>
                    <a:pt x="1452" y="39"/>
                  </a:lnTo>
                  <a:lnTo>
                    <a:pt x="1449" y="39"/>
                  </a:lnTo>
                  <a:lnTo>
                    <a:pt x="1452" y="39"/>
                  </a:lnTo>
                  <a:lnTo>
                    <a:pt x="1452" y="39"/>
                  </a:lnTo>
                  <a:lnTo>
                    <a:pt x="1452" y="39"/>
                  </a:lnTo>
                  <a:lnTo>
                    <a:pt x="1449" y="41"/>
                  </a:lnTo>
                  <a:lnTo>
                    <a:pt x="1449" y="41"/>
                  </a:lnTo>
                  <a:lnTo>
                    <a:pt x="1449" y="41"/>
                  </a:lnTo>
                  <a:lnTo>
                    <a:pt x="1449" y="41"/>
                  </a:lnTo>
                  <a:lnTo>
                    <a:pt x="1449" y="41"/>
                  </a:lnTo>
                  <a:lnTo>
                    <a:pt x="1449" y="41"/>
                  </a:lnTo>
                  <a:lnTo>
                    <a:pt x="1449" y="41"/>
                  </a:lnTo>
                  <a:lnTo>
                    <a:pt x="1454" y="41"/>
                  </a:lnTo>
                  <a:lnTo>
                    <a:pt x="1454" y="41"/>
                  </a:lnTo>
                  <a:lnTo>
                    <a:pt x="1454" y="43"/>
                  </a:lnTo>
                  <a:lnTo>
                    <a:pt x="1452" y="43"/>
                  </a:lnTo>
                  <a:lnTo>
                    <a:pt x="1452" y="43"/>
                  </a:lnTo>
                  <a:lnTo>
                    <a:pt x="1449" y="43"/>
                  </a:lnTo>
                  <a:lnTo>
                    <a:pt x="1443" y="43"/>
                  </a:lnTo>
                  <a:lnTo>
                    <a:pt x="1438" y="43"/>
                  </a:lnTo>
                  <a:lnTo>
                    <a:pt x="1434" y="43"/>
                  </a:lnTo>
                  <a:lnTo>
                    <a:pt x="1432" y="43"/>
                  </a:lnTo>
                  <a:lnTo>
                    <a:pt x="1429" y="43"/>
                  </a:lnTo>
                  <a:lnTo>
                    <a:pt x="1427" y="43"/>
                  </a:lnTo>
                  <a:lnTo>
                    <a:pt x="1427" y="43"/>
                  </a:lnTo>
                  <a:lnTo>
                    <a:pt x="1427" y="43"/>
                  </a:lnTo>
                  <a:lnTo>
                    <a:pt x="1427" y="43"/>
                  </a:lnTo>
                  <a:lnTo>
                    <a:pt x="1427" y="43"/>
                  </a:lnTo>
                  <a:lnTo>
                    <a:pt x="1425" y="43"/>
                  </a:lnTo>
                  <a:lnTo>
                    <a:pt x="1423" y="43"/>
                  </a:lnTo>
                  <a:lnTo>
                    <a:pt x="1423" y="43"/>
                  </a:lnTo>
                  <a:lnTo>
                    <a:pt x="1423" y="43"/>
                  </a:lnTo>
                  <a:lnTo>
                    <a:pt x="1425" y="43"/>
                  </a:lnTo>
                  <a:lnTo>
                    <a:pt x="1427" y="43"/>
                  </a:lnTo>
                  <a:lnTo>
                    <a:pt x="1427" y="43"/>
                  </a:lnTo>
                  <a:lnTo>
                    <a:pt x="1427" y="45"/>
                  </a:lnTo>
                  <a:lnTo>
                    <a:pt x="1425" y="45"/>
                  </a:lnTo>
                  <a:lnTo>
                    <a:pt x="1420" y="45"/>
                  </a:lnTo>
                  <a:lnTo>
                    <a:pt x="1420" y="45"/>
                  </a:lnTo>
                  <a:lnTo>
                    <a:pt x="1420" y="45"/>
                  </a:lnTo>
                  <a:lnTo>
                    <a:pt x="1420" y="45"/>
                  </a:lnTo>
                  <a:lnTo>
                    <a:pt x="1420" y="45"/>
                  </a:lnTo>
                  <a:lnTo>
                    <a:pt x="1420" y="45"/>
                  </a:lnTo>
                  <a:lnTo>
                    <a:pt x="1420" y="45"/>
                  </a:lnTo>
                  <a:lnTo>
                    <a:pt x="1423" y="45"/>
                  </a:lnTo>
                  <a:lnTo>
                    <a:pt x="1427" y="45"/>
                  </a:lnTo>
                  <a:lnTo>
                    <a:pt x="1429" y="45"/>
                  </a:lnTo>
                  <a:lnTo>
                    <a:pt x="1432" y="45"/>
                  </a:lnTo>
                  <a:lnTo>
                    <a:pt x="1434" y="45"/>
                  </a:lnTo>
                  <a:lnTo>
                    <a:pt x="1438" y="43"/>
                  </a:lnTo>
                  <a:lnTo>
                    <a:pt x="1443" y="43"/>
                  </a:lnTo>
                  <a:lnTo>
                    <a:pt x="1445" y="43"/>
                  </a:lnTo>
                  <a:lnTo>
                    <a:pt x="1445" y="43"/>
                  </a:lnTo>
                  <a:lnTo>
                    <a:pt x="1445" y="45"/>
                  </a:lnTo>
                  <a:lnTo>
                    <a:pt x="1445" y="45"/>
                  </a:lnTo>
                  <a:lnTo>
                    <a:pt x="1445" y="45"/>
                  </a:lnTo>
                  <a:lnTo>
                    <a:pt x="1445" y="45"/>
                  </a:lnTo>
                  <a:lnTo>
                    <a:pt x="1445" y="45"/>
                  </a:lnTo>
                  <a:lnTo>
                    <a:pt x="1445" y="45"/>
                  </a:lnTo>
                  <a:lnTo>
                    <a:pt x="1443" y="45"/>
                  </a:lnTo>
                  <a:lnTo>
                    <a:pt x="1443" y="45"/>
                  </a:lnTo>
                  <a:lnTo>
                    <a:pt x="1441" y="45"/>
                  </a:lnTo>
                  <a:lnTo>
                    <a:pt x="1441" y="45"/>
                  </a:lnTo>
                  <a:lnTo>
                    <a:pt x="1441" y="45"/>
                  </a:lnTo>
                  <a:lnTo>
                    <a:pt x="1432" y="48"/>
                  </a:lnTo>
                  <a:lnTo>
                    <a:pt x="1429" y="48"/>
                  </a:lnTo>
                  <a:lnTo>
                    <a:pt x="1429" y="48"/>
                  </a:lnTo>
                  <a:lnTo>
                    <a:pt x="1429" y="48"/>
                  </a:lnTo>
                  <a:lnTo>
                    <a:pt x="1429" y="48"/>
                  </a:lnTo>
                  <a:lnTo>
                    <a:pt x="1434" y="48"/>
                  </a:lnTo>
                  <a:lnTo>
                    <a:pt x="1436" y="48"/>
                  </a:lnTo>
                  <a:lnTo>
                    <a:pt x="1436" y="48"/>
                  </a:lnTo>
                  <a:lnTo>
                    <a:pt x="1434" y="48"/>
                  </a:lnTo>
                  <a:lnTo>
                    <a:pt x="1434" y="48"/>
                  </a:lnTo>
                  <a:lnTo>
                    <a:pt x="1434" y="50"/>
                  </a:lnTo>
                  <a:lnTo>
                    <a:pt x="1434" y="50"/>
                  </a:lnTo>
                  <a:lnTo>
                    <a:pt x="1432" y="50"/>
                  </a:lnTo>
                  <a:lnTo>
                    <a:pt x="1432" y="50"/>
                  </a:lnTo>
                  <a:lnTo>
                    <a:pt x="1427" y="50"/>
                  </a:lnTo>
                  <a:lnTo>
                    <a:pt x="1427" y="50"/>
                  </a:lnTo>
                  <a:lnTo>
                    <a:pt x="1420" y="52"/>
                  </a:lnTo>
                  <a:lnTo>
                    <a:pt x="1418" y="52"/>
                  </a:lnTo>
                  <a:lnTo>
                    <a:pt x="1416" y="52"/>
                  </a:lnTo>
                  <a:lnTo>
                    <a:pt x="1416" y="52"/>
                  </a:lnTo>
                  <a:lnTo>
                    <a:pt x="1414" y="52"/>
                  </a:lnTo>
                  <a:lnTo>
                    <a:pt x="1411" y="52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7" y="50"/>
                  </a:lnTo>
                  <a:lnTo>
                    <a:pt x="1409" y="50"/>
                  </a:lnTo>
                  <a:lnTo>
                    <a:pt x="1409" y="50"/>
                  </a:lnTo>
                  <a:lnTo>
                    <a:pt x="1409" y="50"/>
                  </a:lnTo>
                  <a:lnTo>
                    <a:pt x="1405" y="50"/>
                  </a:lnTo>
                  <a:lnTo>
                    <a:pt x="1402" y="48"/>
                  </a:lnTo>
                  <a:lnTo>
                    <a:pt x="1398" y="50"/>
                  </a:lnTo>
                  <a:lnTo>
                    <a:pt x="1398" y="48"/>
                  </a:lnTo>
                  <a:lnTo>
                    <a:pt x="1398" y="48"/>
                  </a:lnTo>
                  <a:lnTo>
                    <a:pt x="1398" y="48"/>
                  </a:lnTo>
                  <a:lnTo>
                    <a:pt x="1398" y="48"/>
                  </a:lnTo>
                  <a:lnTo>
                    <a:pt x="1398" y="48"/>
                  </a:lnTo>
                  <a:lnTo>
                    <a:pt x="1393" y="48"/>
                  </a:lnTo>
                  <a:lnTo>
                    <a:pt x="1391" y="48"/>
                  </a:lnTo>
                  <a:lnTo>
                    <a:pt x="1384" y="48"/>
                  </a:lnTo>
                  <a:lnTo>
                    <a:pt x="1384" y="48"/>
                  </a:lnTo>
                  <a:lnTo>
                    <a:pt x="1384" y="48"/>
                  </a:lnTo>
                  <a:lnTo>
                    <a:pt x="1384" y="50"/>
                  </a:lnTo>
                  <a:lnTo>
                    <a:pt x="1384" y="50"/>
                  </a:lnTo>
                  <a:lnTo>
                    <a:pt x="1387" y="50"/>
                  </a:lnTo>
                  <a:lnTo>
                    <a:pt x="1389" y="50"/>
                  </a:lnTo>
                  <a:lnTo>
                    <a:pt x="1400" y="50"/>
                  </a:lnTo>
                  <a:lnTo>
                    <a:pt x="1400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0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2"/>
                  </a:lnTo>
                  <a:lnTo>
                    <a:pt x="1402" y="54"/>
                  </a:lnTo>
                  <a:lnTo>
                    <a:pt x="1402" y="54"/>
                  </a:lnTo>
                  <a:lnTo>
                    <a:pt x="1402" y="54"/>
                  </a:lnTo>
                  <a:lnTo>
                    <a:pt x="1402" y="54"/>
                  </a:lnTo>
                  <a:lnTo>
                    <a:pt x="1400" y="54"/>
                  </a:lnTo>
                  <a:lnTo>
                    <a:pt x="1400" y="54"/>
                  </a:lnTo>
                  <a:lnTo>
                    <a:pt x="1400" y="54"/>
                  </a:lnTo>
                  <a:lnTo>
                    <a:pt x="1398" y="54"/>
                  </a:lnTo>
                  <a:lnTo>
                    <a:pt x="1396" y="54"/>
                  </a:lnTo>
                  <a:lnTo>
                    <a:pt x="1396" y="54"/>
                  </a:lnTo>
                  <a:lnTo>
                    <a:pt x="1393" y="54"/>
                  </a:lnTo>
                  <a:lnTo>
                    <a:pt x="1391" y="54"/>
                  </a:lnTo>
                  <a:lnTo>
                    <a:pt x="1391" y="54"/>
                  </a:lnTo>
                  <a:lnTo>
                    <a:pt x="1391" y="54"/>
                  </a:lnTo>
                  <a:lnTo>
                    <a:pt x="1389" y="54"/>
                  </a:lnTo>
                  <a:lnTo>
                    <a:pt x="1391" y="54"/>
                  </a:lnTo>
                  <a:lnTo>
                    <a:pt x="1391" y="54"/>
                  </a:lnTo>
                  <a:lnTo>
                    <a:pt x="1389" y="54"/>
                  </a:lnTo>
                  <a:lnTo>
                    <a:pt x="1389" y="54"/>
                  </a:lnTo>
                  <a:lnTo>
                    <a:pt x="1389" y="54"/>
                  </a:lnTo>
                  <a:lnTo>
                    <a:pt x="1389" y="54"/>
                  </a:lnTo>
                  <a:lnTo>
                    <a:pt x="1384" y="54"/>
                  </a:lnTo>
                  <a:lnTo>
                    <a:pt x="1384" y="54"/>
                  </a:lnTo>
                  <a:lnTo>
                    <a:pt x="1380" y="54"/>
                  </a:lnTo>
                  <a:lnTo>
                    <a:pt x="1378" y="54"/>
                  </a:lnTo>
                  <a:lnTo>
                    <a:pt x="1378" y="54"/>
                  </a:lnTo>
                  <a:lnTo>
                    <a:pt x="1378" y="54"/>
                  </a:lnTo>
                  <a:lnTo>
                    <a:pt x="1378" y="54"/>
                  </a:lnTo>
                  <a:lnTo>
                    <a:pt x="1378" y="54"/>
                  </a:lnTo>
                  <a:lnTo>
                    <a:pt x="1378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4"/>
                  </a:lnTo>
                  <a:lnTo>
                    <a:pt x="1375" y="57"/>
                  </a:lnTo>
                  <a:lnTo>
                    <a:pt x="1375" y="57"/>
                  </a:lnTo>
                  <a:lnTo>
                    <a:pt x="1375" y="57"/>
                  </a:lnTo>
                  <a:lnTo>
                    <a:pt x="1375" y="57"/>
                  </a:lnTo>
                  <a:lnTo>
                    <a:pt x="1375" y="57"/>
                  </a:lnTo>
                  <a:lnTo>
                    <a:pt x="1375" y="57"/>
                  </a:lnTo>
                  <a:lnTo>
                    <a:pt x="1373" y="57"/>
                  </a:lnTo>
                  <a:lnTo>
                    <a:pt x="1369" y="57"/>
                  </a:lnTo>
                  <a:lnTo>
                    <a:pt x="1366" y="57"/>
                  </a:lnTo>
                  <a:lnTo>
                    <a:pt x="1366" y="57"/>
                  </a:lnTo>
                  <a:lnTo>
                    <a:pt x="1366" y="57"/>
                  </a:lnTo>
                  <a:lnTo>
                    <a:pt x="1366" y="57"/>
                  </a:lnTo>
                  <a:lnTo>
                    <a:pt x="1366" y="57"/>
                  </a:lnTo>
                  <a:lnTo>
                    <a:pt x="1364" y="57"/>
                  </a:lnTo>
                  <a:lnTo>
                    <a:pt x="1364" y="57"/>
                  </a:lnTo>
                  <a:lnTo>
                    <a:pt x="1364" y="57"/>
                  </a:lnTo>
                  <a:lnTo>
                    <a:pt x="1364" y="54"/>
                  </a:lnTo>
                  <a:lnTo>
                    <a:pt x="1364" y="54"/>
                  </a:lnTo>
                  <a:lnTo>
                    <a:pt x="1364" y="54"/>
                  </a:lnTo>
                  <a:lnTo>
                    <a:pt x="1364" y="54"/>
                  </a:lnTo>
                  <a:lnTo>
                    <a:pt x="1364" y="54"/>
                  </a:lnTo>
                  <a:lnTo>
                    <a:pt x="1362" y="57"/>
                  </a:lnTo>
                  <a:lnTo>
                    <a:pt x="1362" y="57"/>
                  </a:lnTo>
                  <a:lnTo>
                    <a:pt x="1362" y="57"/>
                  </a:lnTo>
                  <a:lnTo>
                    <a:pt x="1360" y="54"/>
                  </a:lnTo>
                  <a:lnTo>
                    <a:pt x="1351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51" y="54"/>
                  </a:lnTo>
                  <a:lnTo>
                    <a:pt x="1351" y="54"/>
                  </a:lnTo>
                  <a:lnTo>
                    <a:pt x="1353" y="54"/>
                  </a:lnTo>
                  <a:lnTo>
                    <a:pt x="1355" y="54"/>
                  </a:lnTo>
                  <a:lnTo>
                    <a:pt x="1357" y="54"/>
                  </a:lnTo>
                  <a:lnTo>
                    <a:pt x="1360" y="54"/>
                  </a:lnTo>
                  <a:lnTo>
                    <a:pt x="1360" y="54"/>
                  </a:lnTo>
                  <a:lnTo>
                    <a:pt x="1360" y="57"/>
                  </a:lnTo>
                  <a:lnTo>
                    <a:pt x="1360" y="57"/>
                  </a:lnTo>
                  <a:lnTo>
                    <a:pt x="1360" y="57"/>
                  </a:lnTo>
                  <a:lnTo>
                    <a:pt x="1360" y="57"/>
                  </a:lnTo>
                  <a:lnTo>
                    <a:pt x="1360" y="57"/>
                  </a:lnTo>
                  <a:lnTo>
                    <a:pt x="1360" y="57"/>
                  </a:lnTo>
                  <a:lnTo>
                    <a:pt x="1360" y="57"/>
                  </a:lnTo>
                  <a:lnTo>
                    <a:pt x="1362" y="57"/>
                  </a:lnTo>
                  <a:lnTo>
                    <a:pt x="1362" y="57"/>
                  </a:lnTo>
                  <a:lnTo>
                    <a:pt x="1362" y="57"/>
                  </a:lnTo>
                  <a:lnTo>
                    <a:pt x="1357" y="57"/>
                  </a:lnTo>
                  <a:lnTo>
                    <a:pt x="1357" y="57"/>
                  </a:lnTo>
                  <a:lnTo>
                    <a:pt x="1348" y="57"/>
                  </a:lnTo>
                  <a:lnTo>
                    <a:pt x="1348" y="57"/>
                  </a:lnTo>
                  <a:lnTo>
                    <a:pt x="1348" y="57"/>
                  </a:lnTo>
                  <a:lnTo>
                    <a:pt x="1348" y="57"/>
                  </a:lnTo>
                  <a:lnTo>
                    <a:pt x="1348" y="57"/>
                  </a:lnTo>
                  <a:lnTo>
                    <a:pt x="1348" y="57"/>
                  </a:lnTo>
                  <a:lnTo>
                    <a:pt x="1346" y="57"/>
                  </a:lnTo>
                  <a:lnTo>
                    <a:pt x="1346" y="57"/>
                  </a:lnTo>
                  <a:lnTo>
                    <a:pt x="1346" y="57"/>
                  </a:lnTo>
                  <a:lnTo>
                    <a:pt x="1346" y="57"/>
                  </a:lnTo>
                  <a:lnTo>
                    <a:pt x="1348" y="54"/>
                  </a:lnTo>
                  <a:lnTo>
                    <a:pt x="1348" y="54"/>
                  </a:lnTo>
                  <a:lnTo>
                    <a:pt x="1346" y="54"/>
                  </a:lnTo>
                  <a:lnTo>
                    <a:pt x="1346" y="54"/>
                  </a:lnTo>
                  <a:lnTo>
                    <a:pt x="1346" y="54"/>
                  </a:lnTo>
                  <a:lnTo>
                    <a:pt x="1344" y="54"/>
                  </a:lnTo>
                  <a:lnTo>
                    <a:pt x="1344" y="54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44" y="57"/>
                  </a:lnTo>
                  <a:lnTo>
                    <a:pt x="1337" y="57"/>
                  </a:lnTo>
                  <a:lnTo>
                    <a:pt x="1335" y="57"/>
                  </a:lnTo>
                  <a:lnTo>
                    <a:pt x="1335" y="57"/>
                  </a:lnTo>
                  <a:lnTo>
                    <a:pt x="1335" y="57"/>
                  </a:lnTo>
                  <a:lnTo>
                    <a:pt x="1333" y="57"/>
                  </a:lnTo>
                  <a:lnTo>
                    <a:pt x="1333" y="57"/>
                  </a:lnTo>
                  <a:lnTo>
                    <a:pt x="1335" y="57"/>
                  </a:lnTo>
                  <a:lnTo>
                    <a:pt x="1339" y="57"/>
                  </a:lnTo>
                  <a:lnTo>
                    <a:pt x="1342" y="59"/>
                  </a:lnTo>
                  <a:lnTo>
                    <a:pt x="1342" y="59"/>
                  </a:lnTo>
                  <a:lnTo>
                    <a:pt x="1342" y="59"/>
                  </a:lnTo>
                  <a:lnTo>
                    <a:pt x="1339" y="59"/>
                  </a:lnTo>
                  <a:lnTo>
                    <a:pt x="1339" y="59"/>
                  </a:lnTo>
                  <a:lnTo>
                    <a:pt x="1344" y="59"/>
                  </a:lnTo>
                  <a:lnTo>
                    <a:pt x="1348" y="59"/>
                  </a:lnTo>
                  <a:lnTo>
                    <a:pt x="1353" y="59"/>
                  </a:lnTo>
                  <a:lnTo>
                    <a:pt x="1355" y="59"/>
                  </a:lnTo>
                  <a:lnTo>
                    <a:pt x="1357" y="59"/>
                  </a:lnTo>
                  <a:lnTo>
                    <a:pt x="1357" y="59"/>
                  </a:lnTo>
                  <a:lnTo>
                    <a:pt x="1360" y="59"/>
                  </a:lnTo>
                  <a:lnTo>
                    <a:pt x="1366" y="59"/>
                  </a:lnTo>
                  <a:lnTo>
                    <a:pt x="1371" y="59"/>
                  </a:lnTo>
                  <a:lnTo>
                    <a:pt x="1375" y="59"/>
                  </a:lnTo>
                  <a:lnTo>
                    <a:pt x="1378" y="59"/>
                  </a:lnTo>
                  <a:lnTo>
                    <a:pt x="1378" y="59"/>
                  </a:lnTo>
                  <a:lnTo>
                    <a:pt x="1375" y="59"/>
                  </a:lnTo>
                  <a:lnTo>
                    <a:pt x="1373" y="59"/>
                  </a:lnTo>
                  <a:lnTo>
                    <a:pt x="1373" y="59"/>
                  </a:lnTo>
                  <a:lnTo>
                    <a:pt x="1373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1"/>
                  </a:lnTo>
                  <a:lnTo>
                    <a:pt x="1375" y="63"/>
                  </a:lnTo>
                  <a:lnTo>
                    <a:pt x="1375" y="63"/>
                  </a:lnTo>
                  <a:lnTo>
                    <a:pt x="1371" y="61"/>
                  </a:lnTo>
                  <a:lnTo>
                    <a:pt x="1366" y="63"/>
                  </a:lnTo>
                  <a:lnTo>
                    <a:pt x="1362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57" y="61"/>
                  </a:lnTo>
                  <a:lnTo>
                    <a:pt x="1357" y="61"/>
                  </a:lnTo>
                  <a:lnTo>
                    <a:pt x="1357" y="61"/>
                  </a:lnTo>
                  <a:lnTo>
                    <a:pt x="1357" y="61"/>
                  </a:lnTo>
                  <a:lnTo>
                    <a:pt x="1357" y="61"/>
                  </a:lnTo>
                  <a:lnTo>
                    <a:pt x="1357" y="61"/>
                  </a:lnTo>
                  <a:lnTo>
                    <a:pt x="1357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60" y="61"/>
                  </a:lnTo>
                  <a:lnTo>
                    <a:pt x="1357" y="59"/>
                  </a:lnTo>
                  <a:lnTo>
                    <a:pt x="1351" y="59"/>
                  </a:lnTo>
                  <a:lnTo>
                    <a:pt x="1344" y="59"/>
                  </a:lnTo>
                  <a:lnTo>
                    <a:pt x="1342" y="59"/>
                  </a:lnTo>
                  <a:lnTo>
                    <a:pt x="1328" y="59"/>
                  </a:lnTo>
                  <a:lnTo>
                    <a:pt x="1328" y="59"/>
                  </a:lnTo>
                  <a:lnTo>
                    <a:pt x="1328" y="61"/>
                  </a:lnTo>
                  <a:lnTo>
                    <a:pt x="1328" y="61"/>
                  </a:lnTo>
                  <a:lnTo>
                    <a:pt x="1328" y="61"/>
                  </a:lnTo>
                  <a:lnTo>
                    <a:pt x="1330" y="59"/>
                  </a:lnTo>
                  <a:lnTo>
                    <a:pt x="1344" y="61"/>
                  </a:lnTo>
                  <a:lnTo>
                    <a:pt x="1346" y="61"/>
                  </a:lnTo>
                  <a:lnTo>
                    <a:pt x="1351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5" y="61"/>
                  </a:lnTo>
                  <a:lnTo>
                    <a:pt x="1353" y="61"/>
                  </a:lnTo>
                  <a:lnTo>
                    <a:pt x="1351" y="61"/>
                  </a:lnTo>
                  <a:lnTo>
                    <a:pt x="1346" y="61"/>
                  </a:lnTo>
                  <a:lnTo>
                    <a:pt x="1342" y="61"/>
                  </a:lnTo>
                  <a:lnTo>
                    <a:pt x="1339" y="61"/>
                  </a:lnTo>
                  <a:lnTo>
                    <a:pt x="1335" y="63"/>
                  </a:lnTo>
                  <a:lnTo>
                    <a:pt x="1333" y="63"/>
                  </a:lnTo>
                  <a:lnTo>
                    <a:pt x="1333" y="63"/>
                  </a:lnTo>
                  <a:lnTo>
                    <a:pt x="1333" y="61"/>
                  </a:lnTo>
                  <a:lnTo>
                    <a:pt x="1333" y="61"/>
                  </a:lnTo>
                  <a:lnTo>
                    <a:pt x="1333" y="61"/>
                  </a:lnTo>
                  <a:lnTo>
                    <a:pt x="1328" y="61"/>
                  </a:lnTo>
                  <a:lnTo>
                    <a:pt x="1324" y="61"/>
                  </a:lnTo>
                  <a:lnTo>
                    <a:pt x="1317" y="61"/>
                  </a:lnTo>
                  <a:lnTo>
                    <a:pt x="1317" y="61"/>
                  </a:lnTo>
                  <a:lnTo>
                    <a:pt x="1324" y="61"/>
                  </a:lnTo>
                  <a:lnTo>
                    <a:pt x="1330" y="61"/>
                  </a:lnTo>
                  <a:lnTo>
                    <a:pt x="1330" y="63"/>
                  </a:lnTo>
                  <a:lnTo>
                    <a:pt x="1333" y="63"/>
                  </a:lnTo>
                  <a:lnTo>
                    <a:pt x="1333" y="63"/>
                  </a:lnTo>
                  <a:lnTo>
                    <a:pt x="1330" y="63"/>
                  </a:lnTo>
                  <a:lnTo>
                    <a:pt x="1328" y="63"/>
                  </a:lnTo>
                  <a:lnTo>
                    <a:pt x="1326" y="63"/>
                  </a:lnTo>
                  <a:lnTo>
                    <a:pt x="1324" y="66"/>
                  </a:lnTo>
                  <a:lnTo>
                    <a:pt x="1321" y="66"/>
                  </a:lnTo>
                  <a:lnTo>
                    <a:pt x="1321" y="66"/>
                  </a:lnTo>
                  <a:lnTo>
                    <a:pt x="1319" y="66"/>
                  </a:lnTo>
                  <a:lnTo>
                    <a:pt x="1319" y="68"/>
                  </a:lnTo>
                  <a:lnTo>
                    <a:pt x="1321" y="68"/>
                  </a:lnTo>
                  <a:lnTo>
                    <a:pt x="1321" y="66"/>
                  </a:lnTo>
                  <a:lnTo>
                    <a:pt x="1321" y="66"/>
                  </a:lnTo>
                  <a:lnTo>
                    <a:pt x="1324" y="66"/>
                  </a:lnTo>
                  <a:lnTo>
                    <a:pt x="1324" y="66"/>
                  </a:lnTo>
                  <a:lnTo>
                    <a:pt x="1328" y="63"/>
                  </a:lnTo>
                  <a:lnTo>
                    <a:pt x="1330" y="63"/>
                  </a:lnTo>
                  <a:lnTo>
                    <a:pt x="1346" y="63"/>
                  </a:lnTo>
                  <a:lnTo>
                    <a:pt x="1357" y="63"/>
                  </a:lnTo>
                  <a:lnTo>
                    <a:pt x="1357" y="63"/>
                  </a:lnTo>
                  <a:lnTo>
                    <a:pt x="1357" y="63"/>
                  </a:lnTo>
                  <a:lnTo>
                    <a:pt x="1355" y="63"/>
                  </a:lnTo>
                  <a:lnTo>
                    <a:pt x="1355" y="63"/>
                  </a:lnTo>
                  <a:lnTo>
                    <a:pt x="1348" y="66"/>
                  </a:lnTo>
                  <a:lnTo>
                    <a:pt x="1346" y="66"/>
                  </a:lnTo>
                  <a:lnTo>
                    <a:pt x="1346" y="66"/>
                  </a:lnTo>
                  <a:lnTo>
                    <a:pt x="1346" y="66"/>
                  </a:lnTo>
                  <a:lnTo>
                    <a:pt x="1346" y="66"/>
                  </a:lnTo>
                  <a:lnTo>
                    <a:pt x="1346" y="66"/>
                  </a:lnTo>
                  <a:lnTo>
                    <a:pt x="1348" y="66"/>
                  </a:lnTo>
                  <a:lnTo>
                    <a:pt x="1355" y="66"/>
                  </a:lnTo>
                  <a:lnTo>
                    <a:pt x="1355" y="66"/>
                  </a:lnTo>
                  <a:lnTo>
                    <a:pt x="1357" y="66"/>
                  </a:lnTo>
                  <a:lnTo>
                    <a:pt x="1362" y="66"/>
                  </a:lnTo>
                  <a:lnTo>
                    <a:pt x="1364" y="66"/>
                  </a:lnTo>
                  <a:lnTo>
                    <a:pt x="1366" y="66"/>
                  </a:lnTo>
                  <a:lnTo>
                    <a:pt x="1366" y="66"/>
                  </a:lnTo>
                  <a:lnTo>
                    <a:pt x="1366" y="66"/>
                  </a:lnTo>
                  <a:lnTo>
                    <a:pt x="1366" y="66"/>
                  </a:lnTo>
                  <a:lnTo>
                    <a:pt x="1366" y="66"/>
                  </a:lnTo>
                  <a:lnTo>
                    <a:pt x="1369" y="66"/>
                  </a:lnTo>
                  <a:lnTo>
                    <a:pt x="1369" y="66"/>
                  </a:lnTo>
                  <a:lnTo>
                    <a:pt x="1366" y="66"/>
                  </a:lnTo>
                  <a:lnTo>
                    <a:pt x="1366" y="66"/>
                  </a:lnTo>
                  <a:lnTo>
                    <a:pt x="1364" y="66"/>
                  </a:lnTo>
                  <a:lnTo>
                    <a:pt x="1366" y="66"/>
                  </a:lnTo>
                  <a:lnTo>
                    <a:pt x="1366" y="66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6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68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4" y="70"/>
                  </a:lnTo>
                  <a:lnTo>
                    <a:pt x="1366" y="70"/>
                  </a:lnTo>
                  <a:lnTo>
                    <a:pt x="1364" y="70"/>
                  </a:lnTo>
                  <a:lnTo>
                    <a:pt x="1360" y="70"/>
                  </a:lnTo>
                  <a:lnTo>
                    <a:pt x="1360" y="70"/>
                  </a:lnTo>
                  <a:lnTo>
                    <a:pt x="1357" y="70"/>
                  </a:lnTo>
                  <a:lnTo>
                    <a:pt x="1353" y="72"/>
                  </a:lnTo>
                  <a:lnTo>
                    <a:pt x="1339" y="70"/>
                  </a:lnTo>
                  <a:lnTo>
                    <a:pt x="1339" y="70"/>
                  </a:lnTo>
                  <a:lnTo>
                    <a:pt x="1337" y="70"/>
                  </a:lnTo>
                  <a:lnTo>
                    <a:pt x="1337" y="70"/>
                  </a:lnTo>
                  <a:lnTo>
                    <a:pt x="1337" y="70"/>
                  </a:lnTo>
                  <a:lnTo>
                    <a:pt x="1337" y="72"/>
                  </a:lnTo>
                  <a:lnTo>
                    <a:pt x="1337" y="72"/>
                  </a:lnTo>
                  <a:lnTo>
                    <a:pt x="1342" y="70"/>
                  </a:lnTo>
                  <a:lnTo>
                    <a:pt x="1344" y="72"/>
                  </a:lnTo>
                  <a:lnTo>
                    <a:pt x="1344" y="72"/>
                  </a:lnTo>
                  <a:lnTo>
                    <a:pt x="1344" y="72"/>
                  </a:lnTo>
                  <a:lnTo>
                    <a:pt x="1344" y="72"/>
                  </a:lnTo>
                  <a:lnTo>
                    <a:pt x="1344" y="72"/>
                  </a:lnTo>
                  <a:lnTo>
                    <a:pt x="1344" y="72"/>
                  </a:lnTo>
                  <a:lnTo>
                    <a:pt x="1355" y="75"/>
                  </a:lnTo>
                  <a:lnTo>
                    <a:pt x="1355" y="75"/>
                  </a:lnTo>
                  <a:lnTo>
                    <a:pt x="1355" y="75"/>
                  </a:lnTo>
                  <a:lnTo>
                    <a:pt x="1355" y="75"/>
                  </a:lnTo>
                  <a:lnTo>
                    <a:pt x="1355" y="75"/>
                  </a:lnTo>
                  <a:lnTo>
                    <a:pt x="1355" y="75"/>
                  </a:lnTo>
                  <a:lnTo>
                    <a:pt x="1355" y="75"/>
                  </a:lnTo>
                  <a:lnTo>
                    <a:pt x="1353" y="75"/>
                  </a:lnTo>
                  <a:lnTo>
                    <a:pt x="1351" y="75"/>
                  </a:lnTo>
                  <a:lnTo>
                    <a:pt x="1351" y="75"/>
                  </a:lnTo>
                  <a:lnTo>
                    <a:pt x="1351" y="75"/>
                  </a:lnTo>
                  <a:lnTo>
                    <a:pt x="1348" y="77"/>
                  </a:lnTo>
                  <a:lnTo>
                    <a:pt x="1348" y="77"/>
                  </a:lnTo>
                  <a:lnTo>
                    <a:pt x="1346" y="77"/>
                  </a:lnTo>
                  <a:lnTo>
                    <a:pt x="1346" y="77"/>
                  </a:lnTo>
                  <a:lnTo>
                    <a:pt x="1339" y="77"/>
                  </a:lnTo>
                  <a:lnTo>
                    <a:pt x="1337" y="77"/>
                  </a:lnTo>
                  <a:lnTo>
                    <a:pt x="1333" y="77"/>
                  </a:lnTo>
                  <a:lnTo>
                    <a:pt x="1333" y="77"/>
                  </a:lnTo>
                  <a:lnTo>
                    <a:pt x="1333" y="77"/>
                  </a:lnTo>
                  <a:lnTo>
                    <a:pt x="1328" y="77"/>
                  </a:lnTo>
                  <a:lnTo>
                    <a:pt x="1328" y="77"/>
                  </a:lnTo>
                  <a:lnTo>
                    <a:pt x="1328" y="77"/>
                  </a:lnTo>
                  <a:lnTo>
                    <a:pt x="1328" y="77"/>
                  </a:lnTo>
                  <a:lnTo>
                    <a:pt x="1330" y="77"/>
                  </a:lnTo>
                  <a:lnTo>
                    <a:pt x="1330" y="77"/>
                  </a:lnTo>
                  <a:lnTo>
                    <a:pt x="1330" y="77"/>
                  </a:lnTo>
                  <a:lnTo>
                    <a:pt x="1330" y="77"/>
                  </a:lnTo>
                  <a:lnTo>
                    <a:pt x="1330" y="77"/>
                  </a:lnTo>
                  <a:lnTo>
                    <a:pt x="1333" y="77"/>
                  </a:lnTo>
                  <a:lnTo>
                    <a:pt x="1335" y="77"/>
                  </a:lnTo>
                  <a:lnTo>
                    <a:pt x="1337" y="77"/>
                  </a:lnTo>
                  <a:lnTo>
                    <a:pt x="1344" y="77"/>
                  </a:lnTo>
                  <a:lnTo>
                    <a:pt x="1344" y="77"/>
                  </a:lnTo>
                  <a:lnTo>
                    <a:pt x="1344" y="79"/>
                  </a:lnTo>
                  <a:lnTo>
                    <a:pt x="1344" y="79"/>
                  </a:lnTo>
                  <a:lnTo>
                    <a:pt x="1342" y="79"/>
                  </a:lnTo>
                  <a:lnTo>
                    <a:pt x="1342" y="79"/>
                  </a:lnTo>
                  <a:lnTo>
                    <a:pt x="1339" y="79"/>
                  </a:lnTo>
                  <a:lnTo>
                    <a:pt x="1337" y="81"/>
                  </a:lnTo>
                  <a:lnTo>
                    <a:pt x="1337" y="81"/>
                  </a:lnTo>
                  <a:lnTo>
                    <a:pt x="1337" y="81"/>
                  </a:lnTo>
                  <a:lnTo>
                    <a:pt x="1337" y="81"/>
                  </a:lnTo>
                  <a:lnTo>
                    <a:pt x="1337" y="81"/>
                  </a:lnTo>
                  <a:lnTo>
                    <a:pt x="1335" y="81"/>
                  </a:lnTo>
                  <a:lnTo>
                    <a:pt x="1335" y="79"/>
                  </a:lnTo>
                  <a:lnTo>
                    <a:pt x="1335" y="79"/>
                  </a:lnTo>
                  <a:lnTo>
                    <a:pt x="1335" y="79"/>
                  </a:lnTo>
                  <a:lnTo>
                    <a:pt x="1330" y="81"/>
                  </a:lnTo>
                  <a:lnTo>
                    <a:pt x="1330" y="81"/>
                  </a:lnTo>
                  <a:lnTo>
                    <a:pt x="1330" y="81"/>
                  </a:lnTo>
                  <a:lnTo>
                    <a:pt x="1328" y="81"/>
                  </a:lnTo>
                  <a:lnTo>
                    <a:pt x="1326" y="81"/>
                  </a:lnTo>
                  <a:lnTo>
                    <a:pt x="1324" y="81"/>
                  </a:lnTo>
                  <a:lnTo>
                    <a:pt x="1321" y="81"/>
                  </a:lnTo>
                  <a:lnTo>
                    <a:pt x="1321" y="81"/>
                  </a:lnTo>
                  <a:lnTo>
                    <a:pt x="1310" y="81"/>
                  </a:lnTo>
                  <a:lnTo>
                    <a:pt x="1308" y="79"/>
                  </a:lnTo>
                  <a:lnTo>
                    <a:pt x="1306" y="81"/>
                  </a:lnTo>
                  <a:lnTo>
                    <a:pt x="1306" y="81"/>
                  </a:lnTo>
                  <a:lnTo>
                    <a:pt x="1308" y="81"/>
                  </a:lnTo>
                  <a:lnTo>
                    <a:pt x="1308" y="81"/>
                  </a:lnTo>
                  <a:lnTo>
                    <a:pt x="1308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1"/>
                  </a:lnTo>
                  <a:lnTo>
                    <a:pt x="1303" y="84"/>
                  </a:lnTo>
                  <a:lnTo>
                    <a:pt x="1306" y="84"/>
                  </a:lnTo>
                  <a:lnTo>
                    <a:pt x="1306" y="84"/>
                  </a:lnTo>
                  <a:lnTo>
                    <a:pt x="1306" y="84"/>
                  </a:lnTo>
                  <a:lnTo>
                    <a:pt x="1308" y="84"/>
                  </a:lnTo>
                  <a:lnTo>
                    <a:pt x="1308" y="84"/>
                  </a:lnTo>
                  <a:lnTo>
                    <a:pt x="1308" y="84"/>
                  </a:lnTo>
                  <a:lnTo>
                    <a:pt x="1308" y="84"/>
                  </a:lnTo>
                  <a:lnTo>
                    <a:pt x="1308" y="84"/>
                  </a:lnTo>
                  <a:lnTo>
                    <a:pt x="1306" y="84"/>
                  </a:lnTo>
                  <a:lnTo>
                    <a:pt x="1306" y="84"/>
                  </a:lnTo>
                  <a:lnTo>
                    <a:pt x="1306" y="84"/>
                  </a:lnTo>
                  <a:lnTo>
                    <a:pt x="1306" y="84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3" y="86"/>
                  </a:lnTo>
                  <a:lnTo>
                    <a:pt x="1303" y="86"/>
                  </a:lnTo>
                  <a:lnTo>
                    <a:pt x="1303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6" y="86"/>
                  </a:lnTo>
                  <a:lnTo>
                    <a:pt x="1308" y="86"/>
                  </a:lnTo>
                  <a:lnTo>
                    <a:pt x="1308" y="86"/>
                  </a:lnTo>
                  <a:lnTo>
                    <a:pt x="1308" y="88"/>
                  </a:lnTo>
                  <a:lnTo>
                    <a:pt x="1308" y="88"/>
                  </a:lnTo>
                  <a:lnTo>
                    <a:pt x="1303" y="88"/>
                  </a:lnTo>
                  <a:lnTo>
                    <a:pt x="1303" y="88"/>
                  </a:lnTo>
                  <a:lnTo>
                    <a:pt x="1303" y="88"/>
                  </a:lnTo>
                  <a:lnTo>
                    <a:pt x="1303" y="88"/>
                  </a:lnTo>
                  <a:lnTo>
                    <a:pt x="1303" y="88"/>
                  </a:lnTo>
                  <a:lnTo>
                    <a:pt x="1303" y="88"/>
                  </a:lnTo>
                  <a:lnTo>
                    <a:pt x="1301" y="90"/>
                  </a:lnTo>
                  <a:lnTo>
                    <a:pt x="1299" y="90"/>
                  </a:lnTo>
                  <a:lnTo>
                    <a:pt x="1297" y="90"/>
                  </a:lnTo>
                  <a:lnTo>
                    <a:pt x="1297" y="90"/>
                  </a:lnTo>
                  <a:lnTo>
                    <a:pt x="1297" y="90"/>
                  </a:lnTo>
                  <a:lnTo>
                    <a:pt x="1297" y="90"/>
                  </a:lnTo>
                  <a:lnTo>
                    <a:pt x="1292" y="90"/>
                  </a:lnTo>
                  <a:lnTo>
                    <a:pt x="1290" y="93"/>
                  </a:lnTo>
                  <a:lnTo>
                    <a:pt x="1288" y="93"/>
                  </a:lnTo>
                  <a:lnTo>
                    <a:pt x="1288" y="93"/>
                  </a:lnTo>
                  <a:lnTo>
                    <a:pt x="1290" y="90"/>
                  </a:lnTo>
                  <a:lnTo>
                    <a:pt x="1290" y="90"/>
                  </a:lnTo>
                  <a:lnTo>
                    <a:pt x="1290" y="90"/>
                  </a:lnTo>
                  <a:lnTo>
                    <a:pt x="1290" y="90"/>
                  </a:lnTo>
                  <a:lnTo>
                    <a:pt x="1288" y="90"/>
                  </a:lnTo>
                  <a:lnTo>
                    <a:pt x="1288" y="90"/>
                  </a:lnTo>
                  <a:lnTo>
                    <a:pt x="1288" y="90"/>
                  </a:lnTo>
                  <a:lnTo>
                    <a:pt x="1285" y="93"/>
                  </a:lnTo>
                  <a:lnTo>
                    <a:pt x="1285" y="93"/>
                  </a:lnTo>
                  <a:lnTo>
                    <a:pt x="1285" y="93"/>
                  </a:lnTo>
                  <a:lnTo>
                    <a:pt x="1283" y="93"/>
                  </a:lnTo>
                  <a:lnTo>
                    <a:pt x="1283" y="93"/>
                  </a:lnTo>
                  <a:lnTo>
                    <a:pt x="1277" y="93"/>
                  </a:lnTo>
                  <a:lnTo>
                    <a:pt x="1274" y="93"/>
                  </a:lnTo>
                  <a:lnTo>
                    <a:pt x="1272" y="93"/>
                  </a:lnTo>
                  <a:lnTo>
                    <a:pt x="1272" y="93"/>
                  </a:lnTo>
                  <a:lnTo>
                    <a:pt x="1268" y="93"/>
                  </a:lnTo>
                  <a:lnTo>
                    <a:pt x="1268" y="93"/>
                  </a:lnTo>
                  <a:lnTo>
                    <a:pt x="1265" y="93"/>
                  </a:lnTo>
                  <a:lnTo>
                    <a:pt x="1265" y="93"/>
                  </a:lnTo>
                  <a:lnTo>
                    <a:pt x="1263" y="93"/>
                  </a:lnTo>
                  <a:lnTo>
                    <a:pt x="1263" y="93"/>
                  </a:lnTo>
                  <a:lnTo>
                    <a:pt x="1261" y="93"/>
                  </a:lnTo>
                  <a:lnTo>
                    <a:pt x="1259" y="90"/>
                  </a:lnTo>
                  <a:lnTo>
                    <a:pt x="1259" y="90"/>
                  </a:lnTo>
                  <a:lnTo>
                    <a:pt x="1259" y="90"/>
                  </a:lnTo>
                  <a:lnTo>
                    <a:pt x="1259" y="90"/>
                  </a:lnTo>
                  <a:lnTo>
                    <a:pt x="1259" y="90"/>
                  </a:lnTo>
                  <a:lnTo>
                    <a:pt x="1259" y="90"/>
                  </a:lnTo>
                  <a:lnTo>
                    <a:pt x="1256" y="90"/>
                  </a:lnTo>
                  <a:lnTo>
                    <a:pt x="1256" y="90"/>
                  </a:lnTo>
                  <a:lnTo>
                    <a:pt x="1256" y="90"/>
                  </a:lnTo>
                  <a:lnTo>
                    <a:pt x="1256" y="90"/>
                  </a:lnTo>
                  <a:lnTo>
                    <a:pt x="1256" y="90"/>
                  </a:lnTo>
                  <a:lnTo>
                    <a:pt x="1256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2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4" y="88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2" y="86"/>
                  </a:lnTo>
                  <a:lnTo>
                    <a:pt x="1250" y="86"/>
                  </a:lnTo>
                  <a:lnTo>
                    <a:pt x="1250" y="86"/>
                  </a:lnTo>
                  <a:lnTo>
                    <a:pt x="1250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88"/>
                  </a:lnTo>
                  <a:lnTo>
                    <a:pt x="1252" y="90"/>
                  </a:lnTo>
                  <a:lnTo>
                    <a:pt x="1250" y="90"/>
                  </a:lnTo>
                  <a:lnTo>
                    <a:pt x="1250" y="90"/>
                  </a:lnTo>
                  <a:lnTo>
                    <a:pt x="1250" y="90"/>
                  </a:lnTo>
                  <a:lnTo>
                    <a:pt x="1250" y="90"/>
                  </a:lnTo>
                  <a:lnTo>
                    <a:pt x="1250" y="90"/>
                  </a:lnTo>
                  <a:lnTo>
                    <a:pt x="1250" y="90"/>
                  </a:lnTo>
                  <a:lnTo>
                    <a:pt x="1252" y="90"/>
                  </a:lnTo>
                  <a:lnTo>
                    <a:pt x="1252" y="90"/>
                  </a:lnTo>
                  <a:lnTo>
                    <a:pt x="1256" y="90"/>
                  </a:lnTo>
                  <a:lnTo>
                    <a:pt x="1256" y="90"/>
                  </a:lnTo>
                  <a:lnTo>
                    <a:pt x="1256" y="93"/>
                  </a:lnTo>
                  <a:lnTo>
                    <a:pt x="1254" y="93"/>
                  </a:lnTo>
                  <a:lnTo>
                    <a:pt x="1245" y="93"/>
                  </a:lnTo>
                  <a:lnTo>
                    <a:pt x="1243" y="93"/>
                  </a:lnTo>
                  <a:lnTo>
                    <a:pt x="1241" y="93"/>
                  </a:lnTo>
                  <a:lnTo>
                    <a:pt x="1243" y="93"/>
                  </a:lnTo>
                  <a:lnTo>
                    <a:pt x="1243" y="93"/>
                  </a:lnTo>
                  <a:lnTo>
                    <a:pt x="1243" y="93"/>
                  </a:lnTo>
                  <a:lnTo>
                    <a:pt x="1243" y="93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3" y="95"/>
                  </a:lnTo>
                  <a:lnTo>
                    <a:pt x="1245" y="95"/>
                  </a:lnTo>
                  <a:lnTo>
                    <a:pt x="1247" y="95"/>
                  </a:lnTo>
                  <a:lnTo>
                    <a:pt x="1250" y="95"/>
                  </a:lnTo>
                  <a:lnTo>
                    <a:pt x="1250" y="95"/>
                  </a:lnTo>
                  <a:lnTo>
                    <a:pt x="1256" y="93"/>
                  </a:lnTo>
                  <a:lnTo>
                    <a:pt x="1265" y="95"/>
                  </a:lnTo>
                  <a:lnTo>
                    <a:pt x="1265" y="95"/>
                  </a:lnTo>
                  <a:lnTo>
                    <a:pt x="1265" y="95"/>
                  </a:lnTo>
                  <a:lnTo>
                    <a:pt x="1268" y="95"/>
                  </a:lnTo>
                  <a:lnTo>
                    <a:pt x="1268" y="95"/>
                  </a:lnTo>
                  <a:lnTo>
                    <a:pt x="1268" y="95"/>
                  </a:lnTo>
                  <a:lnTo>
                    <a:pt x="1265" y="95"/>
                  </a:lnTo>
                  <a:lnTo>
                    <a:pt x="1263" y="95"/>
                  </a:lnTo>
                  <a:lnTo>
                    <a:pt x="1263" y="97"/>
                  </a:lnTo>
                  <a:lnTo>
                    <a:pt x="1261" y="97"/>
                  </a:lnTo>
                  <a:lnTo>
                    <a:pt x="1263" y="97"/>
                  </a:lnTo>
                  <a:lnTo>
                    <a:pt x="1263" y="97"/>
                  </a:lnTo>
                  <a:lnTo>
                    <a:pt x="1268" y="95"/>
                  </a:lnTo>
                  <a:lnTo>
                    <a:pt x="1274" y="93"/>
                  </a:lnTo>
                  <a:lnTo>
                    <a:pt x="1277" y="93"/>
                  </a:lnTo>
                  <a:lnTo>
                    <a:pt x="1279" y="95"/>
                  </a:lnTo>
                  <a:lnTo>
                    <a:pt x="1279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5"/>
                  </a:lnTo>
                  <a:lnTo>
                    <a:pt x="1281" y="97"/>
                  </a:lnTo>
                  <a:lnTo>
                    <a:pt x="1281" y="97"/>
                  </a:lnTo>
                  <a:lnTo>
                    <a:pt x="1279" y="97"/>
                  </a:lnTo>
                  <a:lnTo>
                    <a:pt x="1274" y="99"/>
                  </a:lnTo>
                  <a:lnTo>
                    <a:pt x="1274" y="99"/>
                  </a:lnTo>
                  <a:lnTo>
                    <a:pt x="1274" y="99"/>
                  </a:lnTo>
                  <a:lnTo>
                    <a:pt x="1274" y="99"/>
                  </a:lnTo>
                  <a:lnTo>
                    <a:pt x="1272" y="99"/>
                  </a:lnTo>
                  <a:lnTo>
                    <a:pt x="1272" y="99"/>
                  </a:lnTo>
                  <a:lnTo>
                    <a:pt x="1272" y="99"/>
                  </a:lnTo>
                  <a:lnTo>
                    <a:pt x="1277" y="99"/>
                  </a:lnTo>
                  <a:lnTo>
                    <a:pt x="1277" y="99"/>
                  </a:lnTo>
                  <a:lnTo>
                    <a:pt x="1277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81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9" y="99"/>
                  </a:lnTo>
                  <a:lnTo>
                    <a:pt x="1277" y="102"/>
                  </a:lnTo>
                  <a:lnTo>
                    <a:pt x="1281" y="102"/>
                  </a:lnTo>
                  <a:lnTo>
                    <a:pt x="1281" y="102"/>
                  </a:lnTo>
                  <a:lnTo>
                    <a:pt x="1281" y="99"/>
                  </a:lnTo>
                  <a:lnTo>
                    <a:pt x="1281" y="99"/>
                  </a:lnTo>
                  <a:lnTo>
                    <a:pt x="1283" y="99"/>
                  </a:lnTo>
                  <a:lnTo>
                    <a:pt x="1283" y="99"/>
                  </a:lnTo>
                  <a:lnTo>
                    <a:pt x="1283" y="99"/>
                  </a:lnTo>
                  <a:lnTo>
                    <a:pt x="1283" y="99"/>
                  </a:lnTo>
                  <a:lnTo>
                    <a:pt x="1283" y="99"/>
                  </a:lnTo>
                  <a:lnTo>
                    <a:pt x="1283" y="99"/>
                  </a:lnTo>
                  <a:lnTo>
                    <a:pt x="1285" y="99"/>
                  </a:lnTo>
                  <a:lnTo>
                    <a:pt x="1288" y="99"/>
                  </a:lnTo>
                  <a:lnTo>
                    <a:pt x="1288" y="99"/>
                  </a:lnTo>
                  <a:lnTo>
                    <a:pt x="1288" y="99"/>
                  </a:lnTo>
                  <a:lnTo>
                    <a:pt x="1288" y="97"/>
                  </a:lnTo>
                  <a:lnTo>
                    <a:pt x="1288" y="97"/>
                  </a:lnTo>
                  <a:lnTo>
                    <a:pt x="1288" y="97"/>
                  </a:lnTo>
                  <a:lnTo>
                    <a:pt x="1288" y="97"/>
                  </a:lnTo>
                  <a:lnTo>
                    <a:pt x="1288" y="97"/>
                  </a:lnTo>
                  <a:lnTo>
                    <a:pt x="1288" y="97"/>
                  </a:lnTo>
                  <a:lnTo>
                    <a:pt x="1288" y="97"/>
                  </a:lnTo>
                  <a:lnTo>
                    <a:pt x="1292" y="97"/>
                  </a:lnTo>
                  <a:lnTo>
                    <a:pt x="1292" y="97"/>
                  </a:lnTo>
                  <a:lnTo>
                    <a:pt x="1294" y="99"/>
                  </a:lnTo>
                  <a:lnTo>
                    <a:pt x="1294" y="99"/>
                  </a:lnTo>
                  <a:lnTo>
                    <a:pt x="1294" y="99"/>
                  </a:lnTo>
                  <a:lnTo>
                    <a:pt x="1294" y="99"/>
                  </a:lnTo>
                  <a:lnTo>
                    <a:pt x="1292" y="99"/>
                  </a:lnTo>
                  <a:lnTo>
                    <a:pt x="1292" y="99"/>
                  </a:lnTo>
                  <a:lnTo>
                    <a:pt x="1294" y="99"/>
                  </a:lnTo>
                  <a:lnTo>
                    <a:pt x="1294" y="99"/>
                  </a:lnTo>
                  <a:lnTo>
                    <a:pt x="1292" y="99"/>
                  </a:lnTo>
                  <a:lnTo>
                    <a:pt x="1292" y="99"/>
                  </a:lnTo>
                  <a:lnTo>
                    <a:pt x="1294" y="102"/>
                  </a:lnTo>
                  <a:lnTo>
                    <a:pt x="1294" y="102"/>
                  </a:lnTo>
                  <a:lnTo>
                    <a:pt x="1294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2"/>
                  </a:lnTo>
                  <a:lnTo>
                    <a:pt x="1292" y="104"/>
                  </a:lnTo>
                  <a:lnTo>
                    <a:pt x="1292" y="104"/>
                  </a:lnTo>
                  <a:lnTo>
                    <a:pt x="1292" y="104"/>
                  </a:lnTo>
                  <a:lnTo>
                    <a:pt x="1290" y="104"/>
                  </a:lnTo>
                  <a:lnTo>
                    <a:pt x="1290" y="104"/>
                  </a:lnTo>
                  <a:lnTo>
                    <a:pt x="1290" y="104"/>
                  </a:lnTo>
                  <a:lnTo>
                    <a:pt x="1290" y="104"/>
                  </a:lnTo>
                  <a:lnTo>
                    <a:pt x="1290" y="104"/>
                  </a:lnTo>
                  <a:lnTo>
                    <a:pt x="1290" y="104"/>
                  </a:lnTo>
                  <a:lnTo>
                    <a:pt x="1288" y="104"/>
                  </a:lnTo>
                  <a:lnTo>
                    <a:pt x="1288" y="104"/>
                  </a:lnTo>
                  <a:lnTo>
                    <a:pt x="1288" y="104"/>
                  </a:lnTo>
                  <a:lnTo>
                    <a:pt x="1285" y="104"/>
                  </a:lnTo>
                  <a:lnTo>
                    <a:pt x="1285" y="104"/>
                  </a:lnTo>
                  <a:lnTo>
                    <a:pt x="1285" y="106"/>
                  </a:lnTo>
                  <a:lnTo>
                    <a:pt x="1283" y="106"/>
                  </a:lnTo>
                  <a:lnTo>
                    <a:pt x="1283" y="106"/>
                  </a:lnTo>
                  <a:lnTo>
                    <a:pt x="1283" y="106"/>
                  </a:lnTo>
                  <a:lnTo>
                    <a:pt x="1283" y="106"/>
                  </a:lnTo>
                  <a:lnTo>
                    <a:pt x="1283" y="106"/>
                  </a:lnTo>
                  <a:lnTo>
                    <a:pt x="1281" y="106"/>
                  </a:lnTo>
                  <a:lnTo>
                    <a:pt x="1279" y="106"/>
                  </a:lnTo>
                  <a:lnTo>
                    <a:pt x="1279" y="108"/>
                  </a:lnTo>
                  <a:lnTo>
                    <a:pt x="1277" y="108"/>
                  </a:lnTo>
                  <a:lnTo>
                    <a:pt x="1277" y="108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9" y="106"/>
                  </a:lnTo>
                  <a:lnTo>
                    <a:pt x="1279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7" y="106"/>
                  </a:lnTo>
                  <a:lnTo>
                    <a:pt x="1274" y="106"/>
                  </a:lnTo>
                  <a:lnTo>
                    <a:pt x="1274" y="106"/>
                  </a:lnTo>
                  <a:lnTo>
                    <a:pt x="1274" y="106"/>
                  </a:lnTo>
                  <a:lnTo>
                    <a:pt x="1274" y="106"/>
                  </a:lnTo>
                  <a:lnTo>
                    <a:pt x="1272" y="106"/>
                  </a:lnTo>
                  <a:lnTo>
                    <a:pt x="1272" y="108"/>
                  </a:lnTo>
                  <a:lnTo>
                    <a:pt x="1272" y="108"/>
                  </a:lnTo>
                  <a:lnTo>
                    <a:pt x="1270" y="108"/>
                  </a:lnTo>
                  <a:lnTo>
                    <a:pt x="1270" y="108"/>
                  </a:lnTo>
                  <a:lnTo>
                    <a:pt x="1268" y="108"/>
                  </a:lnTo>
                  <a:lnTo>
                    <a:pt x="1268" y="108"/>
                  </a:lnTo>
                  <a:lnTo>
                    <a:pt x="1268" y="108"/>
                  </a:lnTo>
                  <a:lnTo>
                    <a:pt x="1268" y="108"/>
                  </a:lnTo>
                  <a:lnTo>
                    <a:pt x="1268" y="108"/>
                  </a:lnTo>
                  <a:lnTo>
                    <a:pt x="1268" y="108"/>
                  </a:lnTo>
                  <a:lnTo>
                    <a:pt x="1268" y="108"/>
                  </a:lnTo>
                  <a:lnTo>
                    <a:pt x="1265" y="108"/>
                  </a:lnTo>
                  <a:lnTo>
                    <a:pt x="1265" y="108"/>
                  </a:lnTo>
                  <a:lnTo>
                    <a:pt x="1265" y="111"/>
                  </a:lnTo>
                  <a:lnTo>
                    <a:pt x="1265" y="111"/>
                  </a:lnTo>
                  <a:lnTo>
                    <a:pt x="1263" y="111"/>
                  </a:lnTo>
                  <a:lnTo>
                    <a:pt x="1263" y="111"/>
                  </a:lnTo>
                  <a:lnTo>
                    <a:pt x="1261" y="111"/>
                  </a:lnTo>
                  <a:lnTo>
                    <a:pt x="1261" y="111"/>
                  </a:lnTo>
                  <a:lnTo>
                    <a:pt x="1252" y="111"/>
                  </a:lnTo>
                  <a:lnTo>
                    <a:pt x="1250" y="111"/>
                  </a:lnTo>
                  <a:lnTo>
                    <a:pt x="1250" y="111"/>
                  </a:lnTo>
                  <a:lnTo>
                    <a:pt x="1247" y="113"/>
                  </a:lnTo>
                  <a:lnTo>
                    <a:pt x="1247" y="113"/>
                  </a:lnTo>
                  <a:lnTo>
                    <a:pt x="1245" y="113"/>
                  </a:lnTo>
                  <a:lnTo>
                    <a:pt x="1243" y="113"/>
                  </a:lnTo>
                  <a:lnTo>
                    <a:pt x="1243" y="113"/>
                  </a:lnTo>
                  <a:lnTo>
                    <a:pt x="1243" y="113"/>
                  </a:lnTo>
                  <a:lnTo>
                    <a:pt x="1243" y="113"/>
                  </a:lnTo>
                  <a:lnTo>
                    <a:pt x="1243" y="113"/>
                  </a:lnTo>
                  <a:lnTo>
                    <a:pt x="1241" y="113"/>
                  </a:lnTo>
                  <a:lnTo>
                    <a:pt x="1241" y="113"/>
                  </a:lnTo>
                  <a:lnTo>
                    <a:pt x="1238" y="113"/>
                  </a:lnTo>
                  <a:lnTo>
                    <a:pt x="1238" y="113"/>
                  </a:lnTo>
                  <a:lnTo>
                    <a:pt x="1236" y="113"/>
                  </a:lnTo>
                  <a:lnTo>
                    <a:pt x="1236" y="113"/>
                  </a:lnTo>
                  <a:lnTo>
                    <a:pt x="1236" y="113"/>
                  </a:lnTo>
                  <a:lnTo>
                    <a:pt x="1236" y="113"/>
                  </a:lnTo>
                  <a:lnTo>
                    <a:pt x="1236" y="113"/>
                  </a:lnTo>
                  <a:lnTo>
                    <a:pt x="1238" y="113"/>
                  </a:lnTo>
                  <a:lnTo>
                    <a:pt x="1238" y="113"/>
                  </a:lnTo>
                  <a:lnTo>
                    <a:pt x="1238" y="113"/>
                  </a:lnTo>
                  <a:lnTo>
                    <a:pt x="1238" y="113"/>
                  </a:lnTo>
                  <a:lnTo>
                    <a:pt x="1236" y="113"/>
                  </a:lnTo>
                  <a:lnTo>
                    <a:pt x="1238" y="111"/>
                  </a:lnTo>
                  <a:lnTo>
                    <a:pt x="1238" y="111"/>
                  </a:lnTo>
                  <a:lnTo>
                    <a:pt x="1238" y="111"/>
                  </a:lnTo>
                  <a:lnTo>
                    <a:pt x="1238" y="111"/>
                  </a:lnTo>
                  <a:lnTo>
                    <a:pt x="1238" y="111"/>
                  </a:lnTo>
                  <a:lnTo>
                    <a:pt x="1238" y="111"/>
                  </a:lnTo>
                  <a:lnTo>
                    <a:pt x="1241" y="111"/>
                  </a:lnTo>
                  <a:lnTo>
                    <a:pt x="1241" y="111"/>
                  </a:lnTo>
                  <a:lnTo>
                    <a:pt x="1243" y="111"/>
                  </a:lnTo>
                  <a:lnTo>
                    <a:pt x="1243" y="111"/>
                  </a:lnTo>
                  <a:lnTo>
                    <a:pt x="1243" y="111"/>
                  </a:lnTo>
                  <a:lnTo>
                    <a:pt x="1243" y="108"/>
                  </a:lnTo>
                  <a:lnTo>
                    <a:pt x="1243" y="108"/>
                  </a:lnTo>
                  <a:lnTo>
                    <a:pt x="1245" y="108"/>
                  </a:lnTo>
                  <a:lnTo>
                    <a:pt x="1245" y="108"/>
                  </a:lnTo>
                  <a:lnTo>
                    <a:pt x="1245" y="108"/>
                  </a:lnTo>
                  <a:lnTo>
                    <a:pt x="1243" y="108"/>
                  </a:lnTo>
                  <a:lnTo>
                    <a:pt x="1243" y="108"/>
                  </a:lnTo>
                  <a:lnTo>
                    <a:pt x="1243" y="106"/>
                  </a:lnTo>
                  <a:lnTo>
                    <a:pt x="1243" y="106"/>
                  </a:lnTo>
                  <a:lnTo>
                    <a:pt x="1243" y="106"/>
                  </a:lnTo>
                  <a:lnTo>
                    <a:pt x="1243" y="106"/>
                  </a:lnTo>
                  <a:lnTo>
                    <a:pt x="1241" y="106"/>
                  </a:lnTo>
                  <a:lnTo>
                    <a:pt x="1241" y="106"/>
                  </a:lnTo>
                  <a:lnTo>
                    <a:pt x="1241" y="106"/>
                  </a:lnTo>
                  <a:lnTo>
                    <a:pt x="1241" y="106"/>
                  </a:lnTo>
                  <a:lnTo>
                    <a:pt x="1241" y="106"/>
                  </a:lnTo>
                  <a:lnTo>
                    <a:pt x="1241" y="106"/>
                  </a:lnTo>
                  <a:lnTo>
                    <a:pt x="1238" y="106"/>
                  </a:lnTo>
                  <a:lnTo>
                    <a:pt x="1238" y="106"/>
                  </a:lnTo>
                  <a:lnTo>
                    <a:pt x="1238" y="106"/>
                  </a:lnTo>
                  <a:lnTo>
                    <a:pt x="1236" y="108"/>
                  </a:lnTo>
                  <a:lnTo>
                    <a:pt x="1229" y="106"/>
                  </a:lnTo>
                  <a:lnTo>
                    <a:pt x="1229" y="106"/>
                  </a:lnTo>
                  <a:lnTo>
                    <a:pt x="1229" y="106"/>
                  </a:lnTo>
                  <a:lnTo>
                    <a:pt x="1229" y="106"/>
                  </a:lnTo>
                  <a:lnTo>
                    <a:pt x="1232" y="106"/>
                  </a:lnTo>
                  <a:lnTo>
                    <a:pt x="1232" y="106"/>
                  </a:lnTo>
                  <a:lnTo>
                    <a:pt x="1232" y="106"/>
                  </a:lnTo>
                  <a:lnTo>
                    <a:pt x="1232" y="106"/>
                  </a:lnTo>
                  <a:lnTo>
                    <a:pt x="1232" y="106"/>
                  </a:lnTo>
                  <a:lnTo>
                    <a:pt x="1232" y="104"/>
                  </a:lnTo>
                  <a:lnTo>
                    <a:pt x="1232" y="104"/>
                  </a:lnTo>
                  <a:lnTo>
                    <a:pt x="1234" y="104"/>
                  </a:lnTo>
                  <a:lnTo>
                    <a:pt x="1234" y="104"/>
                  </a:lnTo>
                  <a:lnTo>
                    <a:pt x="1234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6" y="104"/>
                  </a:lnTo>
                  <a:lnTo>
                    <a:pt x="1234" y="104"/>
                  </a:lnTo>
                  <a:lnTo>
                    <a:pt x="1229" y="104"/>
                  </a:lnTo>
                  <a:lnTo>
                    <a:pt x="1227" y="104"/>
                  </a:lnTo>
                  <a:lnTo>
                    <a:pt x="1227" y="104"/>
                  </a:lnTo>
                  <a:lnTo>
                    <a:pt x="1227" y="104"/>
                  </a:lnTo>
                  <a:lnTo>
                    <a:pt x="1227" y="104"/>
                  </a:lnTo>
                  <a:lnTo>
                    <a:pt x="1227" y="102"/>
                  </a:lnTo>
                  <a:lnTo>
                    <a:pt x="1227" y="102"/>
                  </a:lnTo>
                  <a:lnTo>
                    <a:pt x="1227" y="102"/>
                  </a:lnTo>
                  <a:lnTo>
                    <a:pt x="1227" y="102"/>
                  </a:lnTo>
                  <a:lnTo>
                    <a:pt x="1227" y="102"/>
                  </a:lnTo>
                  <a:lnTo>
                    <a:pt x="1227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2"/>
                  </a:lnTo>
                  <a:lnTo>
                    <a:pt x="1225" y="104"/>
                  </a:lnTo>
                  <a:lnTo>
                    <a:pt x="1225" y="104"/>
                  </a:lnTo>
                  <a:lnTo>
                    <a:pt x="1227" y="104"/>
                  </a:lnTo>
                  <a:lnTo>
                    <a:pt x="1227" y="104"/>
                  </a:lnTo>
                  <a:lnTo>
                    <a:pt x="1229" y="106"/>
                  </a:lnTo>
                  <a:lnTo>
                    <a:pt x="1227" y="106"/>
                  </a:lnTo>
                  <a:lnTo>
                    <a:pt x="1227" y="106"/>
                  </a:lnTo>
                  <a:lnTo>
                    <a:pt x="1227" y="106"/>
                  </a:lnTo>
                  <a:lnTo>
                    <a:pt x="1227" y="108"/>
                  </a:lnTo>
                  <a:lnTo>
                    <a:pt x="1227" y="108"/>
                  </a:lnTo>
                  <a:lnTo>
                    <a:pt x="1225" y="108"/>
                  </a:lnTo>
                  <a:lnTo>
                    <a:pt x="1225" y="108"/>
                  </a:lnTo>
                  <a:lnTo>
                    <a:pt x="1216" y="108"/>
                  </a:lnTo>
                  <a:lnTo>
                    <a:pt x="1216" y="108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08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6"/>
                  </a:lnTo>
                  <a:lnTo>
                    <a:pt x="1216" y="104"/>
                  </a:lnTo>
                  <a:lnTo>
                    <a:pt x="1216" y="104"/>
                  </a:lnTo>
                  <a:lnTo>
                    <a:pt x="1216" y="104"/>
                  </a:lnTo>
                  <a:lnTo>
                    <a:pt x="1216" y="104"/>
                  </a:lnTo>
                  <a:lnTo>
                    <a:pt x="1216" y="104"/>
                  </a:lnTo>
                  <a:lnTo>
                    <a:pt x="1216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2"/>
                  </a:lnTo>
                  <a:lnTo>
                    <a:pt x="1214" y="102"/>
                  </a:lnTo>
                  <a:lnTo>
                    <a:pt x="1216" y="102"/>
                  </a:lnTo>
                  <a:lnTo>
                    <a:pt x="1216" y="102"/>
                  </a:lnTo>
                  <a:lnTo>
                    <a:pt x="1216" y="102"/>
                  </a:lnTo>
                  <a:lnTo>
                    <a:pt x="1214" y="102"/>
                  </a:lnTo>
                  <a:lnTo>
                    <a:pt x="1214" y="102"/>
                  </a:lnTo>
                  <a:lnTo>
                    <a:pt x="1214" y="104"/>
                  </a:lnTo>
                  <a:lnTo>
                    <a:pt x="1211" y="104"/>
                  </a:lnTo>
                  <a:lnTo>
                    <a:pt x="1211" y="104"/>
                  </a:lnTo>
                  <a:lnTo>
                    <a:pt x="1211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4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4" y="106"/>
                  </a:lnTo>
                  <a:lnTo>
                    <a:pt x="1211" y="108"/>
                  </a:lnTo>
                  <a:lnTo>
                    <a:pt x="1211" y="108"/>
                  </a:lnTo>
                  <a:lnTo>
                    <a:pt x="1211" y="108"/>
                  </a:lnTo>
                  <a:lnTo>
                    <a:pt x="1211" y="108"/>
                  </a:lnTo>
                  <a:lnTo>
                    <a:pt x="1211" y="108"/>
                  </a:lnTo>
                  <a:lnTo>
                    <a:pt x="1211" y="108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0" name="Freeform 628"/>
            <p:cNvSpPr>
              <a:spLocks/>
            </p:cNvSpPr>
            <p:nvPr/>
          </p:nvSpPr>
          <p:spPr bwMode="auto">
            <a:xfrm>
              <a:off x="5945095" y="3445939"/>
              <a:ext cx="269100" cy="456299"/>
            </a:xfrm>
            <a:custGeom>
              <a:avLst/>
              <a:gdLst>
                <a:gd name="T0" fmla="*/ 128 w 161"/>
                <a:gd name="T1" fmla="*/ 9 h 273"/>
                <a:gd name="T2" fmla="*/ 130 w 161"/>
                <a:gd name="T3" fmla="*/ 16 h 273"/>
                <a:gd name="T4" fmla="*/ 134 w 161"/>
                <a:gd name="T5" fmla="*/ 23 h 273"/>
                <a:gd name="T6" fmla="*/ 134 w 161"/>
                <a:gd name="T7" fmla="*/ 30 h 273"/>
                <a:gd name="T8" fmla="*/ 134 w 161"/>
                <a:gd name="T9" fmla="*/ 39 h 273"/>
                <a:gd name="T10" fmla="*/ 137 w 161"/>
                <a:gd name="T11" fmla="*/ 59 h 273"/>
                <a:gd name="T12" fmla="*/ 143 w 161"/>
                <a:gd name="T13" fmla="*/ 70 h 273"/>
                <a:gd name="T14" fmla="*/ 121 w 161"/>
                <a:gd name="T15" fmla="*/ 75 h 273"/>
                <a:gd name="T16" fmla="*/ 132 w 161"/>
                <a:gd name="T17" fmla="*/ 104 h 273"/>
                <a:gd name="T18" fmla="*/ 146 w 161"/>
                <a:gd name="T19" fmla="*/ 126 h 273"/>
                <a:gd name="T20" fmla="*/ 139 w 161"/>
                <a:gd name="T21" fmla="*/ 142 h 273"/>
                <a:gd name="T22" fmla="*/ 130 w 161"/>
                <a:gd name="T23" fmla="*/ 162 h 273"/>
                <a:gd name="T24" fmla="*/ 121 w 161"/>
                <a:gd name="T25" fmla="*/ 169 h 273"/>
                <a:gd name="T26" fmla="*/ 125 w 161"/>
                <a:gd name="T27" fmla="*/ 178 h 273"/>
                <a:gd name="T28" fmla="*/ 125 w 161"/>
                <a:gd name="T29" fmla="*/ 187 h 273"/>
                <a:gd name="T30" fmla="*/ 128 w 161"/>
                <a:gd name="T31" fmla="*/ 198 h 273"/>
                <a:gd name="T32" fmla="*/ 139 w 161"/>
                <a:gd name="T33" fmla="*/ 214 h 273"/>
                <a:gd name="T34" fmla="*/ 152 w 161"/>
                <a:gd name="T35" fmla="*/ 239 h 273"/>
                <a:gd name="T36" fmla="*/ 159 w 161"/>
                <a:gd name="T37" fmla="*/ 243 h 273"/>
                <a:gd name="T38" fmla="*/ 159 w 161"/>
                <a:gd name="T39" fmla="*/ 255 h 273"/>
                <a:gd name="T40" fmla="*/ 159 w 161"/>
                <a:gd name="T41" fmla="*/ 259 h 273"/>
                <a:gd name="T42" fmla="*/ 157 w 161"/>
                <a:gd name="T43" fmla="*/ 266 h 273"/>
                <a:gd name="T44" fmla="*/ 155 w 161"/>
                <a:gd name="T45" fmla="*/ 270 h 273"/>
                <a:gd name="T46" fmla="*/ 143 w 161"/>
                <a:gd name="T47" fmla="*/ 266 h 273"/>
                <a:gd name="T48" fmla="*/ 137 w 161"/>
                <a:gd name="T49" fmla="*/ 264 h 273"/>
                <a:gd name="T50" fmla="*/ 132 w 161"/>
                <a:gd name="T51" fmla="*/ 264 h 273"/>
                <a:gd name="T52" fmla="*/ 125 w 161"/>
                <a:gd name="T53" fmla="*/ 259 h 273"/>
                <a:gd name="T54" fmla="*/ 98 w 161"/>
                <a:gd name="T55" fmla="*/ 259 h 273"/>
                <a:gd name="T56" fmla="*/ 92 w 161"/>
                <a:gd name="T57" fmla="*/ 259 h 273"/>
                <a:gd name="T58" fmla="*/ 78 w 161"/>
                <a:gd name="T59" fmla="*/ 257 h 273"/>
                <a:gd name="T60" fmla="*/ 58 w 161"/>
                <a:gd name="T61" fmla="*/ 257 h 273"/>
                <a:gd name="T62" fmla="*/ 27 w 161"/>
                <a:gd name="T63" fmla="*/ 257 h 273"/>
                <a:gd name="T64" fmla="*/ 29 w 161"/>
                <a:gd name="T65" fmla="*/ 234 h 273"/>
                <a:gd name="T66" fmla="*/ 22 w 161"/>
                <a:gd name="T67" fmla="*/ 225 h 273"/>
                <a:gd name="T68" fmla="*/ 22 w 161"/>
                <a:gd name="T69" fmla="*/ 219 h 273"/>
                <a:gd name="T70" fmla="*/ 24 w 161"/>
                <a:gd name="T71" fmla="*/ 219 h 273"/>
                <a:gd name="T72" fmla="*/ 22 w 161"/>
                <a:gd name="T73" fmla="*/ 216 h 273"/>
                <a:gd name="T74" fmla="*/ 20 w 161"/>
                <a:gd name="T75" fmla="*/ 216 h 273"/>
                <a:gd name="T76" fmla="*/ 18 w 161"/>
                <a:gd name="T77" fmla="*/ 219 h 273"/>
                <a:gd name="T78" fmla="*/ 13 w 161"/>
                <a:gd name="T79" fmla="*/ 216 h 273"/>
                <a:gd name="T80" fmla="*/ 6 w 161"/>
                <a:gd name="T81" fmla="*/ 203 h 273"/>
                <a:gd name="T82" fmla="*/ 4 w 161"/>
                <a:gd name="T83" fmla="*/ 203 h 273"/>
                <a:gd name="T84" fmla="*/ 0 w 161"/>
                <a:gd name="T85" fmla="*/ 205 h 273"/>
                <a:gd name="T86" fmla="*/ 0 w 161"/>
                <a:gd name="T87" fmla="*/ 198 h 273"/>
                <a:gd name="T88" fmla="*/ 4 w 161"/>
                <a:gd name="T89" fmla="*/ 189 h 273"/>
                <a:gd name="T90" fmla="*/ 6 w 161"/>
                <a:gd name="T91" fmla="*/ 176 h 273"/>
                <a:gd name="T92" fmla="*/ 15 w 161"/>
                <a:gd name="T93" fmla="*/ 162 h 273"/>
                <a:gd name="T94" fmla="*/ 31 w 161"/>
                <a:gd name="T95" fmla="*/ 144 h 273"/>
                <a:gd name="T96" fmla="*/ 42 w 161"/>
                <a:gd name="T97" fmla="*/ 144 h 273"/>
                <a:gd name="T98" fmla="*/ 56 w 161"/>
                <a:gd name="T99" fmla="*/ 158 h 273"/>
                <a:gd name="T100" fmla="*/ 65 w 161"/>
                <a:gd name="T101" fmla="*/ 147 h 273"/>
                <a:gd name="T102" fmla="*/ 67 w 161"/>
                <a:gd name="T103" fmla="*/ 142 h 273"/>
                <a:gd name="T104" fmla="*/ 76 w 161"/>
                <a:gd name="T105" fmla="*/ 122 h 273"/>
                <a:gd name="T106" fmla="*/ 78 w 161"/>
                <a:gd name="T107" fmla="*/ 106 h 273"/>
                <a:gd name="T108" fmla="*/ 87 w 161"/>
                <a:gd name="T109" fmla="*/ 102 h 273"/>
                <a:gd name="T110" fmla="*/ 96 w 161"/>
                <a:gd name="T111" fmla="*/ 84 h 273"/>
                <a:gd name="T112" fmla="*/ 101 w 161"/>
                <a:gd name="T113" fmla="*/ 70 h 273"/>
                <a:gd name="T114" fmla="*/ 114 w 161"/>
                <a:gd name="T115" fmla="*/ 43 h 273"/>
                <a:gd name="T116" fmla="*/ 125 w 161"/>
                <a:gd name="T117" fmla="*/ 34 h 273"/>
                <a:gd name="T118" fmla="*/ 125 w 161"/>
                <a:gd name="T119" fmla="*/ 23 h 273"/>
                <a:gd name="T120" fmla="*/ 123 w 161"/>
                <a:gd name="T121" fmla="*/ 18 h 273"/>
                <a:gd name="T122" fmla="*/ 123 w 161"/>
                <a:gd name="T123" fmla="*/ 5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61" h="273">
                  <a:moveTo>
                    <a:pt x="123" y="7"/>
                  </a:move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12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2" y="18"/>
                  </a:lnTo>
                  <a:lnTo>
                    <a:pt x="132" y="18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0" y="21"/>
                  </a:lnTo>
                  <a:lnTo>
                    <a:pt x="130" y="21"/>
                  </a:lnTo>
                  <a:lnTo>
                    <a:pt x="130" y="21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5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27"/>
                  </a:lnTo>
                  <a:lnTo>
                    <a:pt x="134" y="30"/>
                  </a:lnTo>
                  <a:lnTo>
                    <a:pt x="134" y="30"/>
                  </a:lnTo>
                  <a:lnTo>
                    <a:pt x="134" y="30"/>
                  </a:lnTo>
                  <a:lnTo>
                    <a:pt x="134" y="30"/>
                  </a:lnTo>
                  <a:lnTo>
                    <a:pt x="134" y="30"/>
                  </a:lnTo>
                  <a:lnTo>
                    <a:pt x="137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9"/>
                  </a:lnTo>
                  <a:lnTo>
                    <a:pt x="134" y="39"/>
                  </a:lnTo>
                  <a:lnTo>
                    <a:pt x="134" y="39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4" y="43"/>
                  </a:lnTo>
                  <a:lnTo>
                    <a:pt x="134" y="45"/>
                  </a:lnTo>
                  <a:lnTo>
                    <a:pt x="134" y="50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9" y="61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39" y="63"/>
                  </a:lnTo>
                  <a:lnTo>
                    <a:pt x="139" y="66"/>
                  </a:lnTo>
                  <a:lnTo>
                    <a:pt x="139" y="66"/>
                  </a:lnTo>
                  <a:lnTo>
                    <a:pt x="139" y="66"/>
                  </a:lnTo>
                  <a:lnTo>
                    <a:pt x="139" y="66"/>
                  </a:lnTo>
                  <a:lnTo>
                    <a:pt x="143" y="70"/>
                  </a:lnTo>
                  <a:lnTo>
                    <a:pt x="143" y="70"/>
                  </a:lnTo>
                  <a:lnTo>
                    <a:pt x="143" y="70"/>
                  </a:lnTo>
                  <a:lnTo>
                    <a:pt x="143" y="70"/>
                  </a:lnTo>
                  <a:lnTo>
                    <a:pt x="146" y="72"/>
                  </a:lnTo>
                  <a:lnTo>
                    <a:pt x="146" y="72"/>
                  </a:lnTo>
                  <a:lnTo>
                    <a:pt x="148" y="72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43" y="75"/>
                  </a:lnTo>
                  <a:lnTo>
                    <a:pt x="141" y="75"/>
                  </a:lnTo>
                  <a:lnTo>
                    <a:pt x="139" y="75"/>
                  </a:lnTo>
                  <a:lnTo>
                    <a:pt x="137" y="75"/>
                  </a:lnTo>
                  <a:lnTo>
                    <a:pt x="137" y="75"/>
                  </a:lnTo>
                  <a:lnTo>
                    <a:pt x="137" y="75"/>
                  </a:lnTo>
                  <a:lnTo>
                    <a:pt x="137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1" y="75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6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4" y="84"/>
                  </a:lnTo>
                  <a:lnTo>
                    <a:pt x="119" y="93"/>
                  </a:lnTo>
                  <a:lnTo>
                    <a:pt x="121" y="93"/>
                  </a:lnTo>
                  <a:lnTo>
                    <a:pt x="121" y="93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2" y="102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2" y="106"/>
                  </a:lnTo>
                  <a:lnTo>
                    <a:pt x="132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4" y="106"/>
                  </a:lnTo>
                  <a:lnTo>
                    <a:pt x="137" y="108"/>
                  </a:lnTo>
                  <a:lnTo>
                    <a:pt x="137" y="111"/>
                  </a:lnTo>
                  <a:lnTo>
                    <a:pt x="139" y="111"/>
                  </a:lnTo>
                  <a:lnTo>
                    <a:pt x="141" y="117"/>
                  </a:lnTo>
                  <a:lnTo>
                    <a:pt x="143" y="124"/>
                  </a:lnTo>
                  <a:lnTo>
                    <a:pt x="143" y="126"/>
                  </a:lnTo>
                  <a:lnTo>
                    <a:pt x="143" y="126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6" y="129"/>
                  </a:lnTo>
                  <a:lnTo>
                    <a:pt x="146" y="131"/>
                  </a:lnTo>
                  <a:lnTo>
                    <a:pt x="146" y="131"/>
                  </a:lnTo>
                  <a:lnTo>
                    <a:pt x="143" y="133"/>
                  </a:lnTo>
                  <a:lnTo>
                    <a:pt x="143" y="133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5"/>
                  </a:lnTo>
                  <a:lnTo>
                    <a:pt x="143" y="138"/>
                  </a:lnTo>
                  <a:lnTo>
                    <a:pt x="143" y="138"/>
                  </a:lnTo>
                  <a:lnTo>
                    <a:pt x="141" y="138"/>
                  </a:lnTo>
                  <a:lnTo>
                    <a:pt x="139" y="138"/>
                  </a:lnTo>
                  <a:lnTo>
                    <a:pt x="139" y="140"/>
                  </a:lnTo>
                  <a:lnTo>
                    <a:pt x="139" y="140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4"/>
                  </a:lnTo>
                  <a:lnTo>
                    <a:pt x="137" y="147"/>
                  </a:lnTo>
                  <a:lnTo>
                    <a:pt x="137" y="149"/>
                  </a:lnTo>
                  <a:lnTo>
                    <a:pt x="137" y="149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32" y="151"/>
                  </a:lnTo>
                  <a:lnTo>
                    <a:pt x="130" y="158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0"/>
                  </a:lnTo>
                  <a:lnTo>
                    <a:pt x="130" y="162"/>
                  </a:lnTo>
                  <a:lnTo>
                    <a:pt x="130" y="162"/>
                  </a:lnTo>
                  <a:lnTo>
                    <a:pt x="128" y="162"/>
                  </a:lnTo>
                  <a:lnTo>
                    <a:pt x="125" y="165"/>
                  </a:lnTo>
                  <a:lnTo>
                    <a:pt x="125" y="165"/>
                  </a:lnTo>
                  <a:lnTo>
                    <a:pt x="125" y="165"/>
                  </a:lnTo>
                  <a:lnTo>
                    <a:pt x="125" y="165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9"/>
                  </a:lnTo>
                  <a:lnTo>
                    <a:pt x="121" y="169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9"/>
                  </a:lnTo>
                  <a:lnTo>
                    <a:pt x="123" y="169"/>
                  </a:lnTo>
                  <a:lnTo>
                    <a:pt x="123" y="169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3" y="171"/>
                  </a:lnTo>
                  <a:lnTo>
                    <a:pt x="123" y="171"/>
                  </a:lnTo>
                  <a:lnTo>
                    <a:pt x="123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8" y="171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25" y="176"/>
                  </a:lnTo>
                  <a:lnTo>
                    <a:pt x="125" y="178"/>
                  </a:lnTo>
                  <a:lnTo>
                    <a:pt x="125" y="178"/>
                  </a:lnTo>
                  <a:lnTo>
                    <a:pt x="125" y="178"/>
                  </a:lnTo>
                  <a:lnTo>
                    <a:pt x="125" y="178"/>
                  </a:lnTo>
                  <a:lnTo>
                    <a:pt x="125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8" y="180"/>
                  </a:lnTo>
                  <a:lnTo>
                    <a:pt x="125" y="183"/>
                  </a:lnTo>
                  <a:lnTo>
                    <a:pt x="125" y="183"/>
                  </a:lnTo>
                  <a:lnTo>
                    <a:pt x="125" y="183"/>
                  </a:lnTo>
                  <a:lnTo>
                    <a:pt x="125" y="183"/>
                  </a:lnTo>
                  <a:lnTo>
                    <a:pt x="125" y="183"/>
                  </a:lnTo>
                  <a:lnTo>
                    <a:pt x="125" y="183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5" y="187"/>
                  </a:lnTo>
                  <a:lnTo>
                    <a:pt x="128" y="187"/>
                  </a:lnTo>
                  <a:lnTo>
                    <a:pt x="128" y="187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89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8" y="192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6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198"/>
                  </a:lnTo>
                  <a:lnTo>
                    <a:pt x="128" y="201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0" y="203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4" y="207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7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4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9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7" y="216"/>
                  </a:lnTo>
                  <a:lnTo>
                    <a:pt x="134" y="216"/>
                  </a:lnTo>
                  <a:lnTo>
                    <a:pt x="137" y="219"/>
                  </a:lnTo>
                  <a:lnTo>
                    <a:pt x="139" y="223"/>
                  </a:lnTo>
                  <a:lnTo>
                    <a:pt x="141" y="225"/>
                  </a:lnTo>
                  <a:lnTo>
                    <a:pt x="141" y="228"/>
                  </a:lnTo>
                  <a:lnTo>
                    <a:pt x="143" y="228"/>
                  </a:lnTo>
                  <a:lnTo>
                    <a:pt x="146" y="232"/>
                  </a:lnTo>
                  <a:lnTo>
                    <a:pt x="148" y="234"/>
                  </a:lnTo>
                  <a:lnTo>
                    <a:pt x="150" y="237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2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5" y="241"/>
                  </a:lnTo>
                  <a:lnTo>
                    <a:pt x="155" y="241"/>
                  </a:lnTo>
                  <a:lnTo>
                    <a:pt x="155" y="241"/>
                  </a:lnTo>
                  <a:lnTo>
                    <a:pt x="155" y="241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7" y="241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9" y="243"/>
                  </a:lnTo>
                  <a:lnTo>
                    <a:pt x="159" y="243"/>
                  </a:lnTo>
                  <a:lnTo>
                    <a:pt x="157" y="246"/>
                  </a:lnTo>
                  <a:lnTo>
                    <a:pt x="157" y="246"/>
                  </a:lnTo>
                  <a:lnTo>
                    <a:pt x="157" y="246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9" y="248"/>
                  </a:lnTo>
                  <a:lnTo>
                    <a:pt x="157" y="248"/>
                  </a:lnTo>
                  <a:lnTo>
                    <a:pt x="159" y="250"/>
                  </a:lnTo>
                  <a:lnTo>
                    <a:pt x="159" y="250"/>
                  </a:lnTo>
                  <a:lnTo>
                    <a:pt x="159" y="250"/>
                  </a:lnTo>
                  <a:lnTo>
                    <a:pt x="159" y="250"/>
                  </a:lnTo>
                  <a:lnTo>
                    <a:pt x="159" y="252"/>
                  </a:lnTo>
                  <a:lnTo>
                    <a:pt x="157" y="252"/>
                  </a:lnTo>
                  <a:lnTo>
                    <a:pt x="159" y="252"/>
                  </a:lnTo>
                  <a:lnTo>
                    <a:pt x="159" y="252"/>
                  </a:lnTo>
                  <a:lnTo>
                    <a:pt x="159" y="255"/>
                  </a:lnTo>
                  <a:lnTo>
                    <a:pt x="159" y="255"/>
                  </a:lnTo>
                  <a:lnTo>
                    <a:pt x="159" y="255"/>
                  </a:lnTo>
                  <a:lnTo>
                    <a:pt x="159" y="255"/>
                  </a:lnTo>
                  <a:lnTo>
                    <a:pt x="159" y="255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7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61" y="259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9" y="259"/>
                  </a:lnTo>
                  <a:lnTo>
                    <a:pt x="159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9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1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4"/>
                  </a:lnTo>
                  <a:lnTo>
                    <a:pt x="157" y="266"/>
                  </a:lnTo>
                  <a:lnTo>
                    <a:pt x="157" y="266"/>
                  </a:lnTo>
                  <a:lnTo>
                    <a:pt x="157" y="266"/>
                  </a:lnTo>
                  <a:lnTo>
                    <a:pt x="157" y="266"/>
                  </a:lnTo>
                  <a:lnTo>
                    <a:pt x="159" y="266"/>
                  </a:lnTo>
                  <a:lnTo>
                    <a:pt x="159" y="268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9" y="270"/>
                  </a:lnTo>
                  <a:lnTo>
                    <a:pt x="157" y="273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7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68"/>
                  </a:lnTo>
                  <a:lnTo>
                    <a:pt x="155" y="268"/>
                  </a:lnTo>
                  <a:lnTo>
                    <a:pt x="155" y="270"/>
                  </a:lnTo>
                  <a:lnTo>
                    <a:pt x="155" y="270"/>
                  </a:lnTo>
                  <a:lnTo>
                    <a:pt x="155" y="268"/>
                  </a:lnTo>
                  <a:lnTo>
                    <a:pt x="155" y="268"/>
                  </a:lnTo>
                  <a:lnTo>
                    <a:pt x="155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2" y="268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50" y="266"/>
                  </a:lnTo>
                  <a:lnTo>
                    <a:pt x="148" y="266"/>
                  </a:lnTo>
                  <a:lnTo>
                    <a:pt x="146" y="266"/>
                  </a:lnTo>
                  <a:lnTo>
                    <a:pt x="146" y="266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3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6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41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9" y="264"/>
                  </a:lnTo>
                  <a:lnTo>
                    <a:pt x="137" y="264"/>
                  </a:lnTo>
                  <a:lnTo>
                    <a:pt x="137" y="264"/>
                  </a:lnTo>
                  <a:lnTo>
                    <a:pt x="137" y="264"/>
                  </a:lnTo>
                  <a:lnTo>
                    <a:pt x="137" y="266"/>
                  </a:lnTo>
                  <a:lnTo>
                    <a:pt x="137" y="266"/>
                  </a:lnTo>
                  <a:lnTo>
                    <a:pt x="137" y="264"/>
                  </a:lnTo>
                  <a:lnTo>
                    <a:pt x="137" y="264"/>
                  </a:lnTo>
                  <a:lnTo>
                    <a:pt x="137" y="264"/>
                  </a:lnTo>
                  <a:lnTo>
                    <a:pt x="134" y="264"/>
                  </a:lnTo>
                  <a:lnTo>
                    <a:pt x="134" y="264"/>
                  </a:lnTo>
                  <a:lnTo>
                    <a:pt x="134" y="264"/>
                  </a:lnTo>
                  <a:lnTo>
                    <a:pt x="134" y="264"/>
                  </a:lnTo>
                  <a:lnTo>
                    <a:pt x="134" y="264"/>
                  </a:lnTo>
                  <a:lnTo>
                    <a:pt x="132" y="264"/>
                  </a:lnTo>
                  <a:lnTo>
                    <a:pt x="132" y="264"/>
                  </a:lnTo>
                  <a:lnTo>
                    <a:pt x="132" y="264"/>
                  </a:lnTo>
                  <a:lnTo>
                    <a:pt x="132" y="264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1"/>
                  </a:lnTo>
                  <a:lnTo>
                    <a:pt x="132" y="264"/>
                  </a:lnTo>
                  <a:lnTo>
                    <a:pt x="132" y="264"/>
                  </a:lnTo>
                  <a:lnTo>
                    <a:pt x="130" y="264"/>
                  </a:lnTo>
                  <a:lnTo>
                    <a:pt x="130" y="264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30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5" y="259"/>
                  </a:lnTo>
                  <a:lnTo>
                    <a:pt x="125" y="259"/>
                  </a:lnTo>
                  <a:lnTo>
                    <a:pt x="125" y="259"/>
                  </a:lnTo>
                  <a:lnTo>
                    <a:pt x="125" y="259"/>
                  </a:lnTo>
                  <a:lnTo>
                    <a:pt x="125" y="259"/>
                  </a:lnTo>
                  <a:lnTo>
                    <a:pt x="125" y="259"/>
                  </a:lnTo>
                  <a:lnTo>
                    <a:pt x="125" y="261"/>
                  </a:lnTo>
                  <a:lnTo>
                    <a:pt x="125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3" y="261"/>
                  </a:lnTo>
                  <a:lnTo>
                    <a:pt x="121" y="261"/>
                  </a:lnTo>
                  <a:lnTo>
                    <a:pt x="121" y="261"/>
                  </a:lnTo>
                  <a:lnTo>
                    <a:pt x="119" y="261"/>
                  </a:lnTo>
                  <a:lnTo>
                    <a:pt x="116" y="261"/>
                  </a:lnTo>
                  <a:lnTo>
                    <a:pt x="114" y="261"/>
                  </a:lnTo>
                  <a:lnTo>
                    <a:pt x="110" y="261"/>
                  </a:lnTo>
                  <a:lnTo>
                    <a:pt x="105" y="261"/>
                  </a:lnTo>
                  <a:lnTo>
                    <a:pt x="103" y="261"/>
                  </a:lnTo>
                  <a:lnTo>
                    <a:pt x="98" y="261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7"/>
                  </a:lnTo>
                  <a:lnTo>
                    <a:pt x="98" y="257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8" y="259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6" y="257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4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92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9" y="259"/>
                  </a:lnTo>
                  <a:lnTo>
                    <a:pt x="87" y="259"/>
                  </a:lnTo>
                  <a:lnTo>
                    <a:pt x="87" y="259"/>
                  </a:lnTo>
                  <a:lnTo>
                    <a:pt x="85" y="259"/>
                  </a:lnTo>
                  <a:lnTo>
                    <a:pt x="85" y="259"/>
                  </a:lnTo>
                  <a:lnTo>
                    <a:pt x="85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3" y="257"/>
                  </a:lnTo>
                  <a:lnTo>
                    <a:pt x="80" y="257"/>
                  </a:lnTo>
                  <a:lnTo>
                    <a:pt x="80" y="257"/>
                  </a:lnTo>
                  <a:lnTo>
                    <a:pt x="80" y="257"/>
                  </a:lnTo>
                  <a:lnTo>
                    <a:pt x="78" y="257"/>
                  </a:lnTo>
                  <a:lnTo>
                    <a:pt x="78" y="257"/>
                  </a:lnTo>
                  <a:lnTo>
                    <a:pt x="78" y="257"/>
                  </a:lnTo>
                  <a:lnTo>
                    <a:pt x="78" y="257"/>
                  </a:lnTo>
                  <a:lnTo>
                    <a:pt x="78" y="257"/>
                  </a:lnTo>
                  <a:lnTo>
                    <a:pt x="78" y="257"/>
                  </a:lnTo>
                  <a:lnTo>
                    <a:pt x="76" y="257"/>
                  </a:lnTo>
                  <a:lnTo>
                    <a:pt x="76" y="257"/>
                  </a:lnTo>
                  <a:lnTo>
                    <a:pt x="76" y="257"/>
                  </a:lnTo>
                  <a:lnTo>
                    <a:pt x="74" y="257"/>
                  </a:lnTo>
                  <a:lnTo>
                    <a:pt x="74" y="257"/>
                  </a:lnTo>
                  <a:lnTo>
                    <a:pt x="74" y="257"/>
                  </a:lnTo>
                  <a:lnTo>
                    <a:pt x="71" y="257"/>
                  </a:lnTo>
                  <a:lnTo>
                    <a:pt x="69" y="257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58" y="257"/>
                  </a:lnTo>
                  <a:lnTo>
                    <a:pt x="58" y="257"/>
                  </a:lnTo>
                  <a:lnTo>
                    <a:pt x="58" y="257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59"/>
                  </a:lnTo>
                  <a:lnTo>
                    <a:pt x="58" y="261"/>
                  </a:lnTo>
                  <a:lnTo>
                    <a:pt x="51" y="261"/>
                  </a:lnTo>
                  <a:lnTo>
                    <a:pt x="45" y="261"/>
                  </a:lnTo>
                  <a:lnTo>
                    <a:pt x="40" y="261"/>
                  </a:lnTo>
                  <a:lnTo>
                    <a:pt x="33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59"/>
                  </a:lnTo>
                  <a:lnTo>
                    <a:pt x="29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7" y="250"/>
                  </a:lnTo>
                  <a:lnTo>
                    <a:pt x="27" y="248"/>
                  </a:lnTo>
                  <a:lnTo>
                    <a:pt x="27" y="248"/>
                  </a:lnTo>
                  <a:lnTo>
                    <a:pt x="27" y="246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39"/>
                  </a:lnTo>
                  <a:lnTo>
                    <a:pt x="29" y="239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4" y="230"/>
                  </a:lnTo>
                  <a:lnTo>
                    <a:pt x="24" y="230"/>
                  </a:lnTo>
                  <a:lnTo>
                    <a:pt x="22" y="228"/>
                  </a:lnTo>
                  <a:lnTo>
                    <a:pt x="22" y="228"/>
                  </a:lnTo>
                  <a:lnTo>
                    <a:pt x="24" y="228"/>
                  </a:lnTo>
                  <a:lnTo>
                    <a:pt x="24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7" y="225"/>
                  </a:lnTo>
                  <a:lnTo>
                    <a:pt x="24" y="225"/>
                  </a:lnTo>
                  <a:lnTo>
                    <a:pt x="24" y="225"/>
                  </a:lnTo>
                  <a:lnTo>
                    <a:pt x="24" y="225"/>
                  </a:lnTo>
                  <a:lnTo>
                    <a:pt x="22" y="225"/>
                  </a:lnTo>
                  <a:lnTo>
                    <a:pt x="22" y="225"/>
                  </a:lnTo>
                  <a:lnTo>
                    <a:pt x="22" y="225"/>
                  </a:lnTo>
                  <a:lnTo>
                    <a:pt x="22" y="225"/>
                  </a:lnTo>
                  <a:lnTo>
                    <a:pt x="22" y="225"/>
                  </a:lnTo>
                  <a:lnTo>
                    <a:pt x="22" y="223"/>
                  </a:lnTo>
                  <a:lnTo>
                    <a:pt x="20" y="223"/>
                  </a:lnTo>
                  <a:lnTo>
                    <a:pt x="20" y="221"/>
                  </a:lnTo>
                  <a:lnTo>
                    <a:pt x="20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3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21"/>
                  </a:lnTo>
                  <a:lnTo>
                    <a:pt x="22" y="219"/>
                  </a:lnTo>
                  <a:lnTo>
                    <a:pt x="22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21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2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2" y="219"/>
                  </a:lnTo>
                  <a:lnTo>
                    <a:pt x="22" y="219"/>
                  </a:lnTo>
                  <a:lnTo>
                    <a:pt x="22" y="219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4" y="214"/>
                  </a:lnTo>
                  <a:lnTo>
                    <a:pt x="22" y="214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2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18" y="214"/>
                  </a:lnTo>
                  <a:lnTo>
                    <a:pt x="18" y="214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20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20" y="219"/>
                  </a:lnTo>
                  <a:lnTo>
                    <a:pt x="20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5" y="219"/>
                  </a:lnTo>
                  <a:lnTo>
                    <a:pt x="15" y="219"/>
                  </a:lnTo>
                  <a:lnTo>
                    <a:pt x="15" y="219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5" y="216"/>
                  </a:lnTo>
                  <a:lnTo>
                    <a:pt x="13" y="219"/>
                  </a:lnTo>
                  <a:lnTo>
                    <a:pt x="13" y="219"/>
                  </a:lnTo>
                  <a:lnTo>
                    <a:pt x="13" y="219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4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0"/>
                  </a:lnTo>
                  <a:lnTo>
                    <a:pt x="6" y="210"/>
                  </a:lnTo>
                  <a:lnTo>
                    <a:pt x="6" y="205"/>
                  </a:lnTo>
                  <a:lnTo>
                    <a:pt x="6" y="205"/>
                  </a:lnTo>
                  <a:lnTo>
                    <a:pt x="6" y="205"/>
                  </a:lnTo>
                  <a:lnTo>
                    <a:pt x="9" y="203"/>
                  </a:lnTo>
                  <a:lnTo>
                    <a:pt x="6" y="205"/>
                  </a:lnTo>
                  <a:lnTo>
                    <a:pt x="6" y="205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1"/>
                  </a:lnTo>
                  <a:lnTo>
                    <a:pt x="6" y="201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4" y="203"/>
                  </a:lnTo>
                  <a:lnTo>
                    <a:pt x="2" y="203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2" y="198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2" y="201"/>
                  </a:lnTo>
                  <a:lnTo>
                    <a:pt x="2" y="203"/>
                  </a:lnTo>
                  <a:lnTo>
                    <a:pt x="2" y="203"/>
                  </a:lnTo>
                  <a:lnTo>
                    <a:pt x="2" y="203"/>
                  </a:lnTo>
                  <a:lnTo>
                    <a:pt x="2" y="203"/>
                  </a:lnTo>
                  <a:lnTo>
                    <a:pt x="4" y="205"/>
                  </a:lnTo>
                  <a:lnTo>
                    <a:pt x="2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5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3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2" y="192"/>
                  </a:lnTo>
                  <a:lnTo>
                    <a:pt x="4" y="192"/>
                  </a:lnTo>
                  <a:lnTo>
                    <a:pt x="4" y="192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6" y="183"/>
                  </a:lnTo>
                  <a:lnTo>
                    <a:pt x="6" y="183"/>
                  </a:lnTo>
                  <a:lnTo>
                    <a:pt x="6" y="183"/>
                  </a:lnTo>
                  <a:lnTo>
                    <a:pt x="6" y="183"/>
                  </a:lnTo>
                  <a:lnTo>
                    <a:pt x="6" y="180"/>
                  </a:lnTo>
                  <a:lnTo>
                    <a:pt x="6" y="180"/>
                  </a:lnTo>
                  <a:lnTo>
                    <a:pt x="6" y="180"/>
                  </a:lnTo>
                  <a:lnTo>
                    <a:pt x="6" y="180"/>
                  </a:lnTo>
                  <a:lnTo>
                    <a:pt x="6" y="180"/>
                  </a:lnTo>
                  <a:lnTo>
                    <a:pt x="6" y="178"/>
                  </a:lnTo>
                  <a:lnTo>
                    <a:pt x="6" y="178"/>
                  </a:lnTo>
                  <a:lnTo>
                    <a:pt x="6" y="178"/>
                  </a:lnTo>
                  <a:lnTo>
                    <a:pt x="6" y="178"/>
                  </a:lnTo>
                  <a:lnTo>
                    <a:pt x="6" y="176"/>
                  </a:lnTo>
                  <a:lnTo>
                    <a:pt x="4" y="176"/>
                  </a:lnTo>
                  <a:lnTo>
                    <a:pt x="4" y="176"/>
                  </a:lnTo>
                  <a:lnTo>
                    <a:pt x="6" y="176"/>
                  </a:lnTo>
                  <a:lnTo>
                    <a:pt x="6" y="176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6" y="174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11" y="167"/>
                  </a:lnTo>
                  <a:lnTo>
                    <a:pt x="15" y="165"/>
                  </a:lnTo>
                  <a:lnTo>
                    <a:pt x="15" y="162"/>
                  </a:lnTo>
                  <a:lnTo>
                    <a:pt x="15" y="162"/>
                  </a:lnTo>
                  <a:lnTo>
                    <a:pt x="15" y="162"/>
                  </a:lnTo>
                  <a:lnTo>
                    <a:pt x="15" y="162"/>
                  </a:lnTo>
                  <a:lnTo>
                    <a:pt x="15" y="162"/>
                  </a:lnTo>
                  <a:lnTo>
                    <a:pt x="18" y="162"/>
                  </a:lnTo>
                  <a:lnTo>
                    <a:pt x="18" y="162"/>
                  </a:lnTo>
                  <a:lnTo>
                    <a:pt x="18" y="160"/>
                  </a:lnTo>
                  <a:lnTo>
                    <a:pt x="18" y="160"/>
                  </a:lnTo>
                  <a:lnTo>
                    <a:pt x="20" y="160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2" y="158"/>
                  </a:lnTo>
                  <a:lnTo>
                    <a:pt x="22" y="158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4" y="156"/>
                  </a:lnTo>
                  <a:lnTo>
                    <a:pt x="24" y="151"/>
                  </a:lnTo>
                  <a:lnTo>
                    <a:pt x="24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27" y="151"/>
                  </a:lnTo>
                  <a:lnTo>
                    <a:pt x="31" y="144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7"/>
                  </a:lnTo>
                  <a:lnTo>
                    <a:pt x="33" y="147"/>
                  </a:lnTo>
                  <a:lnTo>
                    <a:pt x="33" y="149"/>
                  </a:lnTo>
                  <a:lnTo>
                    <a:pt x="33" y="149"/>
                  </a:lnTo>
                  <a:lnTo>
                    <a:pt x="36" y="149"/>
                  </a:lnTo>
                  <a:lnTo>
                    <a:pt x="40" y="149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0" y="147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2" y="144"/>
                  </a:lnTo>
                  <a:lnTo>
                    <a:pt x="42" y="144"/>
                  </a:lnTo>
                  <a:lnTo>
                    <a:pt x="45" y="144"/>
                  </a:lnTo>
                  <a:lnTo>
                    <a:pt x="47" y="147"/>
                  </a:lnTo>
                  <a:lnTo>
                    <a:pt x="47" y="147"/>
                  </a:lnTo>
                  <a:lnTo>
                    <a:pt x="47" y="147"/>
                  </a:lnTo>
                  <a:lnTo>
                    <a:pt x="47" y="149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51" y="151"/>
                  </a:lnTo>
                  <a:lnTo>
                    <a:pt x="51" y="151"/>
                  </a:lnTo>
                  <a:lnTo>
                    <a:pt x="51" y="153"/>
                  </a:lnTo>
                  <a:lnTo>
                    <a:pt x="51" y="153"/>
                  </a:lnTo>
                  <a:lnTo>
                    <a:pt x="51" y="156"/>
                  </a:lnTo>
                  <a:lnTo>
                    <a:pt x="51" y="156"/>
                  </a:lnTo>
                  <a:lnTo>
                    <a:pt x="51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4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8" y="158"/>
                  </a:lnTo>
                  <a:lnTo>
                    <a:pt x="58" y="156"/>
                  </a:lnTo>
                  <a:lnTo>
                    <a:pt x="60" y="156"/>
                  </a:lnTo>
                  <a:lnTo>
                    <a:pt x="60" y="156"/>
                  </a:lnTo>
                  <a:lnTo>
                    <a:pt x="60" y="156"/>
                  </a:lnTo>
                  <a:lnTo>
                    <a:pt x="60" y="156"/>
                  </a:lnTo>
                  <a:lnTo>
                    <a:pt x="62" y="153"/>
                  </a:lnTo>
                  <a:lnTo>
                    <a:pt x="62" y="151"/>
                  </a:lnTo>
                  <a:lnTo>
                    <a:pt x="62" y="151"/>
                  </a:lnTo>
                  <a:lnTo>
                    <a:pt x="62" y="151"/>
                  </a:lnTo>
                  <a:lnTo>
                    <a:pt x="62" y="151"/>
                  </a:lnTo>
                  <a:lnTo>
                    <a:pt x="62" y="149"/>
                  </a:lnTo>
                  <a:lnTo>
                    <a:pt x="62" y="149"/>
                  </a:lnTo>
                  <a:lnTo>
                    <a:pt x="62" y="149"/>
                  </a:lnTo>
                  <a:lnTo>
                    <a:pt x="62" y="149"/>
                  </a:lnTo>
                  <a:lnTo>
                    <a:pt x="65" y="147"/>
                  </a:lnTo>
                  <a:lnTo>
                    <a:pt x="65" y="147"/>
                  </a:lnTo>
                  <a:lnTo>
                    <a:pt x="65" y="147"/>
                  </a:lnTo>
                  <a:lnTo>
                    <a:pt x="65" y="147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5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2"/>
                  </a:lnTo>
                  <a:lnTo>
                    <a:pt x="69" y="142"/>
                  </a:lnTo>
                  <a:lnTo>
                    <a:pt x="67" y="142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8"/>
                  </a:lnTo>
                  <a:lnTo>
                    <a:pt x="69" y="135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31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9"/>
                  </a:lnTo>
                  <a:lnTo>
                    <a:pt x="71" y="126"/>
                  </a:lnTo>
                  <a:lnTo>
                    <a:pt x="74" y="124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5"/>
                  </a:lnTo>
                  <a:lnTo>
                    <a:pt x="76" y="113"/>
                  </a:lnTo>
                  <a:lnTo>
                    <a:pt x="76" y="113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78" y="111"/>
                  </a:lnTo>
                  <a:lnTo>
                    <a:pt x="80" y="111"/>
                  </a:lnTo>
                  <a:lnTo>
                    <a:pt x="80" y="111"/>
                  </a:lnTo>
                  <a:lnTo>
                    <a:pt x="80" y="108"/>
                  </a:lnTo>
                  <a:lnTo>
                    <a:pt x="80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0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5" y="106"/>
                  </a:lnTo>
                  <a:lnTo>
                    <a:pt x="85" y="106"/>
                  </a:lnTo>
                  <a:lnTo>
                    <a:pt x="85" y="104"/>
                  </a:lnTo>
                  <a:lnTo>
                    <a:pt x="85" y="104"/>
                  </a:lnTo>
                  <a:lnTo>
                    <a:pt x="85" y="104"/>
                  </a:lnTo>
                  <a:lnTo>
                    <a:pt x="87" y="104"/>
                  </a:lnTo>
                  <a:lnTo>
                    <a:pt x="87" y="104"/>
                  </a:lnTo>
                  <a:lnTo>
                    <a:pt x="87" y="104"/>
                  </a:lnTo>
                  <a:lnTo>
                    <a:pt x="87" y="104"/>
                  </a:lnTo>
                  <a:lnTo>
                    <a:pt x="87" y="104"/>
                  </a:lnTo>
                  <a:lnTo>
                    <a:pt x="87" y="102"/>
                  </a:lnTo>
                  <a:lnTo>
                    <a:pt x="87" y="102"/>
                  </a:lnTo>
                  <a:lnTo>
                    <a:pt x="89" y="97"/>
                  </a:lnTo>
                  <a:lnTo>
                    <a:pt x="89" y="97"/>
                  </a:lnTo>
                  <a:lnTo>
                    <a:pt x="89" y="95"/>
                  </a:lnTo>
                  <a:lnTo>
                    <a:pt x="89" y="95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90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4" y="86"/>
                  </a:lnTo>
                  <a:lnTo>
                    <a:pt x="94" y="86"/>
                  </a:lnTo>
                  <a:lnTo>
                    <a:pt x="96" y="84"/>
                  </a:lnTo>
                  <a:lnTo>
                    <a:pt x="96" y="84"/>
                  </a:lnTo>
                  <a:lnTo>
                    <a:pt x="96" y="81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8" y="79"/>
                  </a:lnTo>
                  <a:lnTo>
                    <a:pt x="98" y="79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6" y="77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6"/>
                  </a:lnTo>
                  <a:lnTo>
                    <a:pt x="103" y="61"/>
                  </a:lnTo>
                  <a:lnTo>
                    <a:pt x="103" y="59"/>
                  </a:lnTo>
                  <a:lnTo>
                    <a:pt x="103" y="57"/>
                  </a:lnTo>
                  <a:lnTo>
                    <a:pt x="107" y="52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8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4" y="43"/>
                  </a:lnTo>
                  <a:lnTo>
                    <a:pt x="114" y="45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3" y="41"/>
                  </a:lnTo>
                  <a:lnTo>
                    <a:pt x="123" y="39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2"/>
                  </a:lnTo>
                  <a:lnTo>
                    <a:pt x="125" y="32"/>
                  </a:lnTo>
                  <a:lnTo>
                    <a:pt x="125" y="32"/>
                  </a:lnTo>
                  <a:lnTo>
                    <a:pt x="125" y="30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21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1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4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1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1" name="Freeform 629"/>
            <p:cNvSpPr>
              <a:spLocks noEditPoints="1"/>
            </p:cNvSpPr>
            <p:nvPr/>
          </p:nvSpPr>
          <p:spPr bwMode="auto">
            <a:xfrm>
              <a:off x="9207716" y="3382425"/>
              <a:ext cx="187200" cy="168813"/>
            </a:xfrm>
            <a:custGeom>
              <a:avLst/>
              <a:gdLst>
                <a:gd name="T0" fmla="*/ 20 w 112"/>
                <a:gd name="T1" fmla="*/ 79 h 101"/>
                <a:gd name="T2" fmla="*/ 20 w 112"/>
                <a:gd name="T3" fmla="*/ 81 h 101"/>
                <a:gd name="T4" fmla="*/ 20 w 112"/>
                <a:gd name="T5" fmla="*/ 74 h 101"/>
                <a:gd name="T6" fmla="*/ 105 w 112"/>
                <a:gd name="T7" fmla="*/ 5 h 101"/>
                <a:gd name="T8" fmla="*/ 103 w 112"/>
                <a:gd name="T9" fmla="*/ 9 h 101"/>
                <a:gd name="T10" fmla="*/ 105 w 112"/>
                <a:gd name="T11" fmla="*/ 18 h 101"/>
                <a:gd name="T12" fmla="*/ 110 w 112"/>
                <a:gd name="T13" fmla="*/ 29 h 101"/>
                <a:gd name="T14" fmla="*/ 112 w 112"/>
                <a:gd name="T15" fmla="*/ 45 h 101"/>
                <a:gd name="T16" fmla="*/ 112 w 112"/>
                <a:gd name="T17" fmla="*/ 56 h 101"/>
                <a:gd name="T18" fmla="*/ 99 w 112"/>
                <a:gd name="T19" fmla="*/ 63 h 101"/>
                <a:gd name="T20" fmla="*/ 90 w 112"/>
                <a:gd name="T21" fmla="*/ 65 h 101"/>
                <a:gd name="T22" fmla="*/ 90 w 112"/>
                <a:gd name="T23" fmla="*/ 72 h 101"/>
                <a:gd name="T24" fmla="*/ 81 w 112"/>
                <a:gd name="T25" fmla="*/ 72 h 101"/>
                <a:gd name="T26" fmla="*/ 81 w 112"/>
                <a:gd name="T27" fmla="*/ 77 h 101"/>
                <a:gd name="T28" fmla="*/ 85 w 112"/>
                <a:gd name="T29" fmla="*/ 86 h 101"/>
                <a:gd name="T30" fmla="*/ 87 w 112"/>
                <a:gd name="T31" fmla="*/ 90 h 101"/>
                <a:gd name="T32" fmla="*/ 81 w 112"/>
                <a:gd name="T33" fmla="*/ 90 h 101"/>
                <a:gd name="T34" fmla="*/ 70 w 112"/>
                <a:gd name="T35" fmla="*/ 90 h 101"/>
                <a:gd name="T36" fmla="*/ 65 w 112"/>
                <a:gd name="T37" fmla="*/ 95 h 101"/>
                <a:gd name="T38" fmla="*/ 52 w 112"/>
                <a:gd name="T39" fmla="*/ 101 h 101"/>
                <a:gd name="T40" fmla="*/ 47 w 112"/>
                <a:gd name="T41" fmla="*/ 99 h 101"/>
                <a:gd name="T42" fmla="*/ 40 w 112"/>
                <a:gd name="T43" fmla="*/ 97 h 101"/>
                <a:gd name="T44" fmla="*/ 38 w 112"/>
                <a:gd name="T45" fmla="*/ 99 h 101"/>
                <a:gd name="T46" fmla="*/ 34 w 112"/>
                <a:gd name="T47" fmla="*/ 99 h 101"/>
                <a:gd name="T48" fmla="*/ 34 w 112"/>
                <a:gd name="T49" fmla="*/ 97 h 101"/>
                <a:gd name="T50" fmla="*/ 36 w 112"/>
                <a:gd name="T51" fmla="*/ 88 h 101"/>
                <a:gd name="T52" fmla="*/ 31 w 112"/>
                <a:gd name="T53" fmla="*/ 83 h 101"/>
                <a:gd name="T54" fmla="*/ 29 w 112"/>
                <a:gd name="T55" fmla="*/ 90 h 101"/>
                <a:gd name="T56" fmla="*/ 25 w 112"/>
                <a:gd name="T57" fmla="*/ 90 h 101"/>
                <a:gd name="T58" fmla="*/ 22 w 112"/>
                <a:gd name="T59" fmla="*/ 83 h 101"/>
                <a:gd name="T60" fmla="*/ 22 w 112"/>
                <a:gd name="T61" fmla="*/ 81 h 101"/>
                <a:gd name="T62" fmla="*/ 22 w 112"/>
                <a:gd name="T63" fmla="*/ 77 h 101"/>
                <a:gd name="T64" fmla="*/ 22 w 112"/>
                <a:gd name="T65" fmla="*/ 77 h 101"/>
                <a:gd name="T66" fmla="*/ 20 w 112"/>
                <a:gd name="T67" fmla="*/ 74 h 101"/>
                <a:gd name="T68" fmla="*/ 20 w 112"/>
                <a:gd name="T69" fmla="*/ 72 h 101"/>
                <a:gd name="T70" fmla="*/ 18 w 112"/>
                <a:gd name="T71" fmla="*/ 72 h 101"/>
                <a:gd name="T72" fmla="*/ 18 w 112"/>
                <a:gd name="T73" fmla="*/ 70 h 101"/>
                <a:gd name="T74" fmla="*/ 18 w 112"/>
                <a:gd name="T75" fmla="*/ 74 h 101"/>
                <a:gd name="T76" fmla="*/ 13 w 112"/>
                <a:gd name="T77" fmla="*/ 54 h 101"/>
                <a:gd name="T78" fmla="*/ 7 w 112"/>
                <a:gd name="T79" fmla="*/ 47 h 101"/>
                <a:gd name="T80" fmla="*/ 4 w 112"/>
                <a:gd name="T81" fmla="*/ 41 h 101"/>
                <a:gd name="T82" fmla="*/ 0 w 112"/>
                <a:gd name="T83" fmla="*/ 27 h 101"/>
                <a:gd name="T84" fmla="*/ 9 w 112"/>
                <a:gd name="T85" fmla="*/ 20 h 101"/>
                <a:gd name="T86" fmla="*/ 11 w 112"/>
                <a:gd name="T87" fmla="*/ 11 h 101"/>
                <a:gd name="T88" fmla="*/ 22 w 112"/>
                <a:gd name="T89" fmla="*/ 7 h 101"/>
                <a:gd name="T90" fmla="*/ 27 w 112"/>
                <a:gd name="T91" fmla="*/ 7 h 101"/>
                <a:gd name="T92" fmla="*/ 34 w 112"/>
                <a:gd name="T93" fmla="*/ 9 h 101"/>
                <a:gd name="T94" fmla="*/ 38 w 112"/>
                <a:gd name="T95" fmla="*/ 7 h 101"/>
                <a:gd name="T96" fmla="*/ 45 w 112"/>
                <a:gd name="T97" fmla="*/ 7 h 101"/>
                <a:gd name="T98" fmla="*/ 52 w 112"/>
                <a:gd name="T99" fmla="*/ 7 h 101"/>
                <a:gd name="T100" fmla="*/ 58 w 112"/>
                <a:gd name="T101" fmla="*/ 9 h 101"/>
                <a:gd name="T102" fmla="*/ 65 w 112"/>
                <a:gd name="T103" fmla="*/ 14 h 101"/>
                <a:gd name="T104" fmla="*/ 72 w 112"/>
                <a:gd name="T105" fmla="*/ 16 h 101"/>
                <a:gd name="T106" fmla="*/ 79 w 112"/>
                <a:gd name="T107" fmla="*/ 14 h 101"/>
                <a:gd name="T108" fmla="*/ 76 w 112"/>
                <a:gd name="T109" fmla="*/ 9 h 101"/>
                <a:gd name="T110" fmla="*/ 81 w 112"/>
                <a:gd name="T111" fmla="*/ 7 h 101"/>
                <a:gd name="T112" fmla="*/ 85 w 112"/>
                <a:gd name="T113" fmla="*/ 5 h 101"/>
                <a:gd name="T114" fmla="*/ 87 w 112"/>
                <a:gd name="T115" fmla="*/ 5 h 101"/>
                <a:gd name="T116" fmla="*/ 94 w 112"/>
                <a:gd name="T117" fmla="*/ 9 h 101"/>
                <a:gd name="T118" fmla="*/ 99 w 112"/>
                <a:gd name="T119" fmla="*/ 5 h 101"/>
                <a:gd name="T120" fmla="*/ 103 w 112"/>
                <a:gd name="T121" fmla="*/ 3 h 101"/>
                <a:gd name="T122" fmla="*/ 105 w 112"/>
                <a:gd name="T123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2" h="101">
                  <a:moveTo>
                    <a:pt x="38" y="101"/>
                  </a:move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101"/>
                  </a:lnTo>
                  <a:lnTo>
                    <a:pt x="38" y="101"/>
                  </a:lnTo>
                  <a:close/>
                  <a:moveTo>
                    <a:pt x="20" y="79"/>
                  </a:move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close/>
                  <a:moveTo>
                    <a:pt x="20" y="77"/>
                  </a:moveTo>
                  <a:lnTo>
                    <a:pt x="20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4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close/>
                  <a:moveTo>
                    <a:pt x="105" y="3"/>
                  </a:move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5"/>
                  </a:lnTo>
                  <a:lnTo>
                    <a:pt x="110" y="27"/>
                  </a:lnTo>
                  <a:lnTo>
                    <a:pt x="110" y="29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2"/>
                  </a:lnTo>
                  <a:lnTo>
                    <a:pt x="112" y="54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0" y="56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5" y="56"/>
                  </a:lnTo>
                  <a:lnTo>
                    <a:pt x="105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61"/>
                  </a:lnTo>
                  <a:lnTo>
                    <a:pt x="101" y="61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2"/>
                  </a:lnTo>
                  <a:lnTo>
                    <a:pt x="92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7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9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6"/>
                  </a:lnTo>
                  <a:lnTo>
                    <a:pt x="83" y="86"/>
                  </a:lnTo>
                  <a:lnTo>
                    <a:pt x="85" y="86"/>
                  </a:lnTo>
                  <a:lnTo>
                    <a:pt x="85" y="86"/>
                  </a:lnTo>
                  <a:lnTo>
                    <a:pt x="85" y="86"/>
                  </a:lnTo>
                  <a:lnTo>
                    <a:pt x="85" y="86"/>
                  </a:lnTo>
                  <a:lnTo>
                    <a:pt x="85" y="86"/>
                  </a:lnTo>
                  <a:lnTo>
                    <a:pt x="85" y="86"/>
                  </a:lnTo>
                  <a:lnTo>
                    <a:pt x="85" y="86"/>
                  </a:lnTo>
                  <a:lnTo>
                    <a:pt x="87" y="86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8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7" y="90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7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90"/>
                  </a:lnTo>
                  <a:lnTo>
                    <a:pt x="70" y="90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5" y="95"/>
                  </a:lnTo>
                  <a:lnTo>
                    <a:pt x="65" y="95"/>
                  </a:lnTo>
                  <a:lnTo>
                    <a:pt x="63" y="95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58" y="99"/>
                  </a:lnTo>
                  <a:lnTo>
                    <a:pt x="56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49" y="101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38" y="95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4" y="97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2" y="90"/>
                  </a:lnTo>
                  <a:lnTo>
                    <a:pt x="25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0" y="77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38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61" y="11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2" name="Freeform 630"/>
            <p:cNvSpPr>
              <a:spLocks/>
            </p:cNvSpPr>
            <p:nvPr/>
          </p:nvSpPr>
          <p:spPr bwMode="auto">
            <a:xfrm>
              <a:off x="6662135" y="4059352"/>
              <a:ext cx="63514" cy="86914"/>
            </a:xfrm>
            <a:custGeom>
              <a:avLst/>
              <a:gdLst>
                <a:gd name="T0" fmla="*/ 31 w 38"/>
                <a:gd name="T1" fmla="*/ 0 h 52"/>
                <a:gd name="T2" fmla="*/ 31 w 38"/>
                <a:gd name="T3" fmla="*/ 2 h 52"/>
                <a:gd name="T4" fmla="*/ 31 w 38"/>
                <a:gd name="T5" fmla="*/ 7 h 52"/>
                <a:gd name="T6" fmla="*/ 31 w 38"/>
                <a:gd name="T7" fmla="*/ 9 h 52"/>
                <a:gd name="T8" fmla="*/ 31 w 38"/>
                <a:gd name="T9" fmla="*/ 9 h 52"/>
                <a:gd name="T10" fmla="*/ 29 w 38"/>
                <a:gd name="T11" fmla="*/ 13 h 52"/>
                <a:gd name="T12" fmla="*/ 31 w 38"/>
                <a:gd name="T13" fmla="*/ 13 h 52"/>
                <a:gd name="T14" fmla="*/ 31 w 38"/>
                <a:gd name="T15" fmla="*/ 13 h 52"/>
                <a:gd name="T16" fmla="*/ 33 w 38"/>
                <a:gd name="T17" fmla="*/ 16 h 52"/>
                <a:gd name="T18" fmla="*/ 36 w 38"/>
                <a:gd name="T19" fmla="*/ 16 h 52"/>
                <a:gd name="T20" fmla="*/ 36 w 38"/>
                <a:gd name="T21" fmla="*/ 16 h 52"/>
                <a:gd name="T22" fmla="*/ 38 w 38"/>
                <a:gd name="T23" fmla="*/ 16 h 52"/>
                <a:gd name="T24" fmla="*/ 38 w 38"/>
                <a:gd name="T25" fmla="*/ 18 h 52"/>
                <a:gd name="T26" fmla="*/ 38 w 38"/>
                <a:gd name="T27" fmla="*/ 20 h 52"/>
                <a:gd name="T28" fmla="*/ 38 w 38"/>
                <a:gd name="T29" fmla="*/ 22 h 52"/>
                <a:gd name="T30" fmla="*/ 38 w 38"/>
                <a:gd name="T31" fmla="*/ 22 h 52"/>
                <a:gd name="T32" fmla="*/ 36 w 38"/>
                <a:gd name="T33" fmla="*/ 25 h 52"/>
                <a:gd name="T34" fmla="*/ 33 w 38"/>
                <a:gd name="T35" fmla="*/ 25 h 52"/>
                <a:gd name="T36" fmla="*/ 33 w 38"/>
                <a:gd name="T37" fmla="*/ 27 h 52"/>
                <a:gd name="T38" fmla="*/ 31 w 38"/>
                <a:gd name="T39" fmla="*/ 29 h 52"/>
                <a:gd name="T40" fmla="*/ 31 w 38"/>
                <a:gd name="T41" fmla="*/ 29 h 52"/>
                <a:gd name="T42" fmla="*/ 29 w 38"/>
                <a:gd name="T43" fmla="*/ 29 h 52"/>
                <a:gd name="T44" fmla="*/ 29 w 38"/>
                <a:gd name="T45" fmla="*/ 34 h 52"/>
                <a:gd name="T46" fmla="*/ 29 w 38"/>
                <a:gd name="T47" fmla="*/ 36 h 52"/>
                <a:gd name="T48" fmla="*/ 24 w 38"/>
                <a:gd name="T49" fmla="*/ 38 h 52"/>
                <a:gd name="T50" fmla="*/ 22 w 38"/>
                <a:gd name="T51" fmla="*/ 45 h 52"/>
                <a:gd name="T52" fmla="*/ 20 w 38"/>
                <a:gd name="T53" fmla="*/ 47 h 52"/>
                <a:gd name="T54" fmla="*/ 18 w 38"/>
                <a:gd name="T55" fmla="*/ 49 h 52"/>
                <a:gd name="T56" fmla="*/ 15 w 38"/>
                <a:gd name="T57" fmla="*/ 49 h 52"/>
                <a:gd name="T58" fmla="*/ 15 w 38"/>
                <a:gd name="T59" fmla="*/ 52 h 52"/>
                <a:gd name="T60" fmla="*/ 13 w 38"/>
                <a:gd name="T61" fmla="*/ 52 h 52"/>
                <a:gd name="T62" fmla="*/ 4 w 38"/>
                <a:gd name="T63" fmla="*/ 38 h 52"/>
                <a:gd name="T64" fmla="*/ 4 w 38"/>
                <a:gd name="T65" fmla="*/ 31 h 52"/>
                <a:gd name="T66" fmla="*/ 4 w 38"/>
                <a:gd name="T67" fmla="*/ 22 h 52"/>
                <a:gd name="T68" fmla="*/ 4 w 38"/>
                <a:gd name="T69" fmla="*/ 20 h 52"/>
                <a:gd name="T70" fmla="*/ 4 w 38"/>
                <a:gd name="T71" fmla="*/ 16 h 52"/>
                <a:gd name="T72" fmla="*/ 2 w 38"/>
                <a:gd name="T73" fmla="*/ 16 h 52"/>
                <a:gd name="T74" fmla="*/ 2 w 38"/>
                <a:gd name="T75" fmla="*/ 13 h 52"/>
                <a:gd name="T76" fmla="*/ 2 w 38"/>
                <a:gd name="T77" fmla="*/ 11 h 52"/>
                <a:gd name="T78" fmla="*/ 0 w 38"/>
                <a:gd name="T79" fmla="*/ 11 h 52"/>
                <a:gd name="T80" fmla="*/ 2 w 38"/>
                <a:gd name="T81" fmla="*/ 7 h 52"/>
                <a:gd name="T82" fmla="*/ 6 w 38"/>
                <a:gd name="T83" fmla="*/ 7 h 52"/>
                <a:gd name="T84" fmla="*/ 6 w 38"/>
                <a:gd name="T85" fmla="*/ 9 h 52"/>
                <a:gd name="T86" fmla="*/ 6 w 38"/>
                <a:gd name="T87" fmla="*/ 11 h 52"/>
                <a:gd name="T88" fmla="*/ 6 w 38"/>
                <a:gd name="T89" fmla="*/ 11 h 52"/>
                <a:gd name="T90" fmla="*/ 11 w 38"/>
                <a:gd name="T91" fmla="*/ 11 h 52"/>
                <a:gd name="T92" fmla="*/ 13 w 38"/>
                <a:gd name="T93" fmla="*/ 11 h 52"/>
                <a:gd name="T94" fmla="*/ 15 w 38"/>
                <a:gd name="T95" fmla="*/ 11 h 52"/>
                <a:gd name="T96" fmla="*/ 15 w 38"/>
                <a:gd name="T97" fmla="*/ 11 h 52"/>
                <a:gd name="T98" fmla="*/ 18 w 38"/>
                <a:gd name="T99" fmla="*/ 11 h 52"/>
                <a:gd name="T100" fmla="*/ 20 w 38"/>
                <a:gd name="T101" fmla="*/ 9 h 52"/>
                <a:gd name="T102" fmla="*/ 20 w 38"/>
                <a:gd name="T103" fmla="*/ 0 h 52"/>
                <a:gd name="T104" fmla="*/ 20 w 38"/>
                <a:gd name="T105" fmla="*/ 0 h 52"/>
                <a:gd name="T106" fmla="*/ 22 w 38"/>
                <a:gd name="T107" fmla="*/ 2 h 52"/>
                <a:gd name="T108" fmla="*/ 24 w 38"/>
                <a:gd name="T109" fmla="*/ 2 h 52"/>
                <a:gd name="T110" fmla="*/ 27 w 38"/>
                <a:gd name="T111" fmla="*/ 0 h 52"/>
                <a:gd name="T112" fmla="*/ 29 w 38"/>
                <a:gd name="T113" fmla="*/ 0 h 52"/>
                <a:gd name="T114" fmla="*/ 29 w 38"/>
                <a:gd name="T11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" h="52">
                  <a:moveTo>
                    <a:pt x="29" y="0"/>
                  </a:moveTo>
                  <a:lnTo>
                    <a:pt x="29" y="0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6"/>
                  </a:lnTo>
                  <a:lnTo>
                    <a:pt x="29" y="34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9" y="52"/>
                  </a:lnTo>
                  <a:lnTo>
                    <a:pt x="9" y="45"/>
                  </a:lnTo>
                  <a:lnTo>
                    <a:pt x="6" y="43"/>
                  </a:lnTo>
                  <a:lnTo>
                    <a:pt x="6" y="40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3" name="Freeform 631"/>
            <p:cNvSpPr>
              <a:spLocks noEditPoints="1"/>
            </p:cNvSpPr>
            <p:nvPr/>
          </p:nvSpPr>
          <p:spPr bwMode="auto">
            <a:xfrm>
              <a:off x="8816603" y="2830855"/>
              <a:ext cx="307542" cy="747126"/>
            </a:xfrm>
            <a:custGeom>
              <a:avLst/>
              <a:gdLst>
                <a:gd name="T0" fmla="*/ 157 w 184"/>
                <a:gd name="T1" fmla="*/ 438 h 447"/>
                <a:gd name="T2" fmla="*/ 149 w 184"/>
                <a:gd name="T3" fmla="*/ 420 h 447"/>
                <a:gd name="T4" fmla="*/ 153 w 184"/>
                <a:gd name="T5" fmla="*/ 418 h 447"/>
                <a:gd name="T6" fmla="*/ 153 w 184"/>
                <a:gd name="T7" fmla="*/ 407 h 447"/>
                <a:gd name="T8" fmla="*/ 160 w 184"/>
                <a:gd name="T9" fmla="*/ 404 h 447"/>
                <a:gd name="T10" fmla="*/ 149 w 184"/>
                <a:gd name="T11" fmla="*/ 400 h 447"/>
                <a:gd name="T12" fmla="*/ 151 w 184"/>
                <a:gd name="T13" fmla="*/ 389 h 447"/>
                <a:gd name="T14" fmla="*/ 149 w 184"/>
                <a:gd name="T15" fmla="*/ 386 h 447"/>
                <a:gd name="T16" fmla="*/ 155 w 184"/>
                <a:gd name="T17" fmla="*/ 377 h 447"/>
                <a:gd name="T18" fmla="*/ 68 w 184"/>
                <a:gd name="T19" fmla="*/ 294 h 447"/>
                <a:gd name="T20" fmla="*/ 41 w 184"/>
                <a:gd name="T21" fmla="*/ 236 h 447"/>
                <a:gd name="T22" fmla="*/ 36 w 184"/>
                <a:gd name="T23" fmla="*/ 216 h 447"/>
                <a:gd name="T24" fmla="*/ 23 w 184"/>
                <a:gd name="T25" fmla="*/ 204 h 447"/>
                <a:gd name="T26" fmla="*/ 18 w 184"/>
                <a:gd name="T27" fmla="*/ 195 h 447"/>
                <a:gd name="T28" fmla="*/ 0 w 184"/>
                <a:gd name="T29" fmla="*/ 173 h 447"/>
                <a:gd name="T30" fmla="*/ 14 w 184"/>
                <a:gd name="T31" fmla="*/ 157 h 447"/>
                <a:gd name="T32" fmla="*/ 18 w 184"/>
                <a:gd name="T33" fmla="*/ 126 h 447"/>
                <a:gd name="T34" fmla="*/ 32 w 184"/>
                <a:gd name="T35" fmla="*/ 108 h 447"/>
                <a:gd name="T36" fmla="*/ 38 w 184"/>
                <a:gd name="T37" fmla="*/ 69 h 447"/>
                <a:gd name="T38" fmla="*/ 47 w 184"/>
                <a:gd name="T39" fmla="*/ 40 h 447"/>
                <a:gd name="T40" fmla="*/ 70 w 184"/>
                <a:gd name="T41" fmla="*/ 27 h 447"/>
                <a:gd name="T42" fmla="*/ 79 w 184"/>
                <a:gd name="T43" fmla="*/ 2 h 447"/>
                <a:gd name="T44" fmla="*/ 106 w 184"/>
                <a:gd name="T45" fmla="*/ 22 h 447"/>
                <a:gd name="T46" fmla="*/ 113 w 184"/>
                <a:gd name="T47" fmla="*/ 58 h 447"/>
                <a:gd name="T48" fmla="*/ 104 w 184"/>
                <a:gd name="T49" fmla="*/ 78 h 447"/>
                <a:gd name="T50" fmla="*/ 104 w 184"/>
                <a:gd name="T51" fmla="*/ 112 h 447"/>
                <a:gd name="T52" fmla="*/ 131 w 184"/>
                <a:gd name="T53" fmla="*/ 121 h 447"/>
                <a:gd name="T54" fmla="*/ 142 w 184"/>
                <a:gd name="T55" fmla="*/ 139 h 447"/>
                <a:gd name="T56" fmla="*/ 162 w 184"/>
                <a:gd name="T57" fmla="*/ 164 h 447"/>
                <a:gd name="T58" fmla="*/ 184 w 184"/>
                <a:gd name="T59" fmla="*/ 166 h 447"/>
                <a:gd name="T60" fmla="*/ 166 w 184"/>
                <a:gd name="T61" fmla="*/ 195 h 447"/>
                <a:gd name="T62" fmla="*/ 146 w 184"/>
                <a:gd name="T63" fmla="*/ 209 h 447"/>
                <a:gd name="T64" fmla="*/ 122 w 184"/>
                <a:gd name="T65" fmla="*/ 220 h 447"/>
                <a:gd name="T66" fmla="*/ 122 w 184"/>
                <a:gd name="T67" fmla="*/ 243 h 447"/>
                <a:gd name="T68" fmla="*/ 140 w 184"/>
                <a:gd name="T69" fmla="*/ 270 h 447"/>
                <a:gd name="T70" fmla="*/ 155 w 184"/>
                <a:gd name="T71" fmla="*/ 290 h 447"/>
                <a:gd name="T72" fmla="*/ 149 w 184"/>
                <a:gd name="T73" fmla="*/ 317 h 447"/>
                <a:gd name="T74" fmla="*/ 166 w 184"/>
                <a:gd name="T75" fmla="*/ 350 h 447"/>
                <a:gd name="T76" fmla="*/ 175 w 184"/>
                <a:gd name="T77" fmla="*/ 380 h 447"/>
                <a:gd name="T78" fmla="*/ 175 w 184"/>
                <a:gd name="T79" fmla="*/ 413 h 447"/>
                <a:gd name="T80" fmla="*/ 162 w 184"/>
                <a:gd name="T81" fmla="*/ 440 h 447"/>
                <a:gd name="T82" fmla="*/ 164 w 184"/>
                <a:gd name="T83" fmla="*/ 418 h 447"/>
                <a:gd name="T84" fmla="*/ 164 w 184"/>
                <a:gd name="T85" fmla="*/ 400 h 447"/>
                <a:gd name="T86" fmla="*/ 162 w 184"/>
                <a:gd name="T87" fmla="*/ 389 h 447"/>
                <a:gd name="T88" fmla="*/ 160 w 184"/>
                <a:gd name="T89" fmla="*/ 375 h 447"/>
                <a:gd name="T90" fmla="*/ 151 w 184"/>
                <a:gd name="T91" fmla="*/ 353 h 447"/>
                <a:gd name="T92" fmla="*/ 149 w 184"/>
                <a:gd name="T93" fmla="*/ 355 h 447"/>
                <a:gd name="T94" fmla="*/ 142 w 184"/>
                <a:gd name="T95" fmla="*/ 328 h 447"/>
                <a:gd name="T96" fmla="*/ 135 w 184"/>
                <a:gd name="T97" fmla="*/ 312 h 447"/>
                <a:gd name="T98" fmla="*/ 126 w 184"/>
                <a:gd name="T99" fmla="*/ 288 h 447"/>
                <a:gd name="T100" fmla="*/ 110 w 184"/>
                <a:gd name="T101" fmla="*/ 265 h 447"/>
                <a:gd name="T102" fmla="*/ 99 w 184"/>
                <a:gd name="T103" fmla="*/ 283 h 447"/>
                <a:gd name="T104" fmla="*/ 86 w 184"/>
                <a:gd name="T105" fmla="*/ 306 h 447"/>
                <a:gd name="T106" fmla="*/ 79 w 184"/>
                <a:gd name="T107" fmla="*/ 297 h 447"/>
                <a:gd name="T108" fmla="*/ 74 w 184"/>
                <a:gd name="T109" fmla="*/ 294 h 447"/>
                <a:gd name="T110" fmla="*/ 70 w 184"/>
                <a:gd name="T111" fmla="*/ 290 h 447"/>
                <a:gd name="T112" fmla="*/ 59 w 184"/>
                <a:gd name="T113" fmla="*/ 285 h 447"/>
                <a:gd name="T114" fmla="*/ 61 w 184"/>
                <a:gd name="T115" fmla="*/ 261 h 447"/>
                <a:gd name="T116" fmla="*/ 52 w 184"/>
                <a:gd name="T117" fmla="*/ 234 h 447"/>
                <a:gd name="T118" fmla="*/ 43 w 184"/>
                <a:gd name="T119" fmla="*/ 225 h 447"/>
                <a:gd name="T120" fmla="*/ 41 w 184"/>
                <a:gd name="T121" fmla="*/ 222 h 447"/>
                <a:gd name="T122" fmla="*/ 36 w 184"/>
                <a:gd name="T123" fmla="*/ 207 h 447"/>
                <a:gd name="T124" fmla="*/ 25 w 184"/>
                <a:gd name="T125" fmla="*/ 202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4" h="447">
                  <a:moveTo>
                    <a:pt x="153" y="447"/>
                  </a:moveTo>
                  <a:lnTo>
                    <a:pt x="153" y="447"/>
                  </a:lnTo>
                  <a:lnTo>
                    <a:pt x="153" y="447"/>
                  </a:lnTo>
                  <a:lnTo>
                    <a:pt x="153" y="447"/>
                  </a:lnTo>
                  <a:lnTo>
                    <a:pt x="153" y="445"/>
                  </a:lnTo>
                  <a:lnTo>
                    <a:pt x="153" y="445"/>
                  </a:lnTo>
                  <a:lnTo>
                    <a:pt x="153" y="445"/>
                  </a:lnTo>
                  <a:lnTo>
                    <a:pt x="153" y="447"/>
                  </a:lnTo>
                  <a:lnTo>
                    <a:pt x="153" y="447"/>
                  </a:lnTo>
                  <a:close/>
                  <a:moveTo>
                    <a:pt x="157" y="440"/>
                  </a:move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0"/>
                  </a:lnTo>
                  <a:lnTo>
                    <a:pt x="157" y="443"/>
                  </a:lnTo>
                  <a:lnTo>
                    <a:pt x="157" y="443"/>
                  </a:lnTo>
                  <a:lnTo>
                    <a:pt x="157" y="443"/>
                  </a:lnTo>
                  <a:lnTo>
                    <a:pt x="157" y="443"/>
                  </a:lnTo>
                  <a:lnTo>
                    <a:pt x="157" y="443"/>
                  </a:lnTo>
                  <a:lnTo>
                    <a:pt x="157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5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3"/>
                  </a:lnTo>
                  <a:lnTo>
                    <a:pt x="155" y="440"/>
                  </a:lnTo>
                  <a:lnTo>
                    <a:pt x="155" y="440"/>
                  </a:lnTo>
                  <a:lnTo>
                    <a:pt x="157" y="440"/>
                  </a:lnTo>
                  <a:lnTo>
                    <a:pt x="157" y="440"/>
                  </a:lnTo>
                  <a:close/>
                  <a:moveTo>
                    <a:pt x="155" y="440"/>
                  </a:moveTo>
                  <a:lnTo>
                    <a:pt x="155" y="440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7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38"/>
                  </a:lnTo>
                  <a:lnTo>
                    <a:pt x="155" y="440"/>
                  </a:lnTo>
                  <a:close/>
                  <a:moveTo>
                    <a:pt x="149" y="431"/>
                  </a:moveTo>
                  <a:lnTo>
                    <a:pt x="149" y="431"/>
                  </a:lnTo>
                  <a:lnTo>
                    <a:pt x="149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49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49" y="431"/>
                  </a:lnTo>
                  <a:lnTo>
                    <a:pt x="149" y="431"/>
                  </a:lnTo>
                  <a:lnTo>
                    <a:pt x="149" y="431"/>
                  </a:lnTo>
                  <a:lnTo>
                    <a:pt x="149" y="431"/>
                  </a:lnTo>
                  <a:lnTo>
                    <a:pt x="149" y="431"/>
                  </a:lnTo>
                  <a:lnTo>
                    <a:pt x="149" y="431"/>
                  </a:lnTo>
                  <a:lnTo>
                    <a:pt x="149" y="429"/>
                  </a:lnTo>
                  <a:lnTo>
                    <a:pt x="149" y="429"/>
                  </a:lnTo>
                  <a:lnTo>
                    <a:pt x="149" y="431"/>
                  </a:lnTo>
                  <a:lnTo>
                    <a:pt x="149" y="431"/>
                  </a:lnTo>
                  <a:close/>
                  <a:moveTo>
                    <a:pt x="155" y="431"/>
                  </a:moveTo>
                  <a:lnTo>
                    <a:pt x="155" y="431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29"/>
                  </a:lnTo>
                  <a:lnTo>
                    <a:pt x="155" y="431"/>
                  </a:lnTo>
                  <a:close/>
                  <a:moveTo>
                    <a:pt x="162" y="422"/>
                  </a:move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0" y="422"/>
                  </a:lnTo>
                  <a:lnTo>
                    <a:pt x="160" y="420"/>
                  </a:lnTo>
                  <a:lnTo>
                    <a:pt x="160" y="420"/>
                  </a:lnTo>
                  <a:lnTo>
                    <a:pt x="160" y="420"/>
                  </a:lnTo>
                  <a:lnTo>
                    <a:pt x="162" y="420"/>
                  </a:lnTo>
                  <a:lnTo>
                    <a:pt x="162" y="422"/>
                  </a:lnTo>
                  <a:lnTo>
                    <a:pt x="162" y="422"/>
                  </a:lnTo>
                  <a:close/>
                  <a:moveTo>
                    <a:pt x="149" y="422"/>
                  </a:moveTo>
                  <a:lnTo>
                    <a:pt x="149" y="422"/>
                  </a:lnTo>
                  <a:lnTo>
                    <a:pt x="149" y="422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0"/>
                  </a:lnTo>
                  <a:lnTo>
                    <a:pt x="149" y="422"/>
                  </a:lnTo>
                  <a:close/>
                  <a:moveTo>
                    <a:pt x="155" y="420"/>
                  </a:moveTo>
                  <a:lnTo>
                    <a:pt x="155" y="420"/>
                  </a:lnTo>
                  <a:lnTo>
                    <a:pt x="155" y="420"/>
                  </a:lnTo>
                  <a:lnTo>
                    <a:pt x="155" y="420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7" y="422"/>
                  </a:lnTo>
                  <a:lnTo>
                    <a:pt x="157" y="422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7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5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2"/>
                  </a:lnTo>
                  <a:lnTo>
                    <a:pt x="155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20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3" y="418"/>
                  </a:lnTo>
                  <a:lnTo>
                    <a:pt x="155" y="418"/>
                  </a:lnTo>
                  <a:lnTo>
                    <a:pt x="155" y="418"/>
                  </a:lnTo>
                  <a:lnTo>
                    <a:pt x="155" y="420"/>
                  </a:lnTo>
                  <a:lnTo>
                    <a:pt x="155" y="420"/>
                  </a:lnTo>
                  <a:close/>
                  <a:moveTo>
                    <a:pt x="160" y="418"/>
                  </a:move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close/>
                  <a:moveTo>
                    <a:pt x="162" y="418"/>
                  </a:moveTo>
                  <a:lnTo>
                    <a:pt x="162" y="418"/>
                  </a:lnTo>
                  <a:lnTo>
                    <a:pt x="162" y="420"/>
                  </a:lnTo>
                  <a:lnTo>
                    <a:pt x="162" y="420"/>
                  </a:lnTo>
                  <a:lnTo>
                    <a:pt x="162" y="420"/>
                  </a:lnTo>
                  <a:lnTo>
                    <a:pt x="162" y="418"/>
                  </a:lnTo>
                  <a:lnTo>
                    <a:pt x="162" y="418"/>
                  </a:lnTo>
                  <a:lnTo>
                    <a:pt x="162" y="418"/>
                  </a:lnTo>
                  <a:lnTo>
                    <a:pt x="162" y="418"/>
                  </a:lnTo>
                  <a:lnTo>
                    <a:pt x="160" y="420"/>
                  </a:lnTo>
                  <a:lnTo>
                    <a:pt x="160" y="420"/>
                  </a:lnTo>
                  <a:lnTo>
                    <a:pt x="160" y="420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2" y="416"/>
                  </a:lnTo>
                  <a:lnTo>
                    <a:pt x="162" y="416"/>
                  </a:lnTo>
                  <a:lnTo>
                    <a:pt x="162" y="418"/>
                  </a:lnTo>
                  <a:lnTo>
                    <a:pt x="162" y="418"/>
                  </a:lnTo>
                  <a:lnTo>
                    <a:pt x="162" y="418"/>
                  </a:lnTo>
                  <a:close/>
                  <a:moveTo>
                    <a:pt x="155" y="411"/>
                  </a:move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3"/>
                  </a:lnTo>
                  <a:lnTo>
                    <a:pt x="155" y="413"/>
                  </a:lnTo>
                  <a:lnTo>
                    <a:pt x="155" y="413"/>
                  </a:lnTo>
                  <a:lnTo>
                    <a:pt x="155" y="413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lnTo>
                    <a:pt x="155" y="411"/>
                  </a:lnTo>
                  <a:close/>
                  <a:moveTo>
                    <a:pt x="155" y="407"/>
                  </a:moveTo>
                  <a:lnTo>
                    <a:pt x="155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5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7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3" y="402"/>
                  </a:lnTo>
                  <a:lnTo>
                    <a:pt x="153" y="402"/>
                  </a:lnTo>
                  <a:lnTo>
                    <a:pt x="153" y="402"/>
                  </a:lnTo>
                  <a:lnTo>
                    <a:pt x="153" y="402"/>
                  </a:lnTo>
                  <a:lnTo>
                    <a:pt x="153" y="402"/>
                  </a:lnTo>
                  <a:lnTo>
                    <a:pt x="153" y="402"/>
                  </a:lnTo>
                  <a:lnTo>
                    <a:pt x="153" y="402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0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4"/>
                  </a:lnTo>
                  <a:lnTo>
                    <a:pt x="155" y="404"/>
                  </a:lnTo>
                  <a:lnTo>
                    <a:pt x="155" y="404"/>
                  </a:lnTo>
                  <a:lnTo>
                    <a:pt x="155" y="407"/>
                  </a:lnTo>
                  <a:close/>
                  <a:moveTo>
                    <a:pt x="160" y="400"/>
                  </a:moveTo>
                  <a:lnTo>
                    <a:pt x="160" y="400"/>
                  </a:lnTo>
                  <a:lnTo>
                    <a:pt x="160" y="400"/>
                  </a:lnTo>
                  <a:lnTo>
                    <a:pt x="160" y="400"/>
                  </a:lnTo>
                  <a:lnTo>
                    <a:pt x="160" y="400"/>
                  </a:lnTo>
                  <a:lnTo>
                    <a:pt x="160" y="400"/>
                  </a:lnTo>
                  <a:lnTo>
                    <a:pt x="160" y="402"/>
                  </a:lnTo>
                  <a:lnTo>
                    <a:pt x="160" y="402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60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4"/>
                  </a:lnTo>
                  <a:lnTo>
                    <a:pt x="157" y="402"/>
                  </a:lnTo>
                  <a:lnTo>
                    <a:pt x="157" y="402"/>
                  </a:lnTo>
                  <a:lnTo>
                    <a:pt x="157" y="402"/>
                  </a:lnTo>
                  <a:lnTo>
                    <a:pt x="157" y="402"/>
                  </a:lnTo>
                  <a:lnTo>
                    <a:pt x="157" y="402"/>
                  </a:lnTo>
                  <a:lnTo>
                    <a:pt x="157" y="402"/>
                  </a:lnTo>
                  <a:lnTo>
                    <a:pt x="157" y="402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5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57" y="400"/>
                  </a:lnTo>
                  <a:lnTo>
                    <a:pt x="160" y="400"/>
                  </a:lnTo>
                  <a:lnTo>
                    <a:pt x="160" y="400"/>
                  </a:lnTo>
                  <a:lnTo>
                    <a:pt x="160" y="398"/>
                  </a:lnTo>
                  <a:lnTo>
                    <a:pt x="160" y="400"/>
                  </a:lnTo>
                  <a:lnTo>
                    <a:pt x="160" y="400"/>
                  </a:lnTo>
                  <a:close/>
                  <a:moveTo>
                    <a:pt x="151" y="400"/>
                  </a:moveTo>
                  <a:lnTo>
                    <a:pt x="151" y="400"/>
                  </a:lnTo>
                  <a:lnTo>
                    <a:pt x="151" y="400"/>
                  </a:lnTo>
                  <a:lnTo>
                    <a:pt x="151" y="400"/>
                  </a:lnTo>
                  <a:lnTo>
                    <a:pt x="151" y="400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51" y="402"/>
                  </a:lnTo>
                  <a:lnTo>
                    <a:pt x="149" y="402"/>
                  </a:lnTo>
                  <a:lnTo>
                    <a:pt x="149" y="402"/>
                  </a:lnTo>
                  <a:lnTo>
                    <a:pt x="149" y="402"/>
                  </a:lnTo>
                  <a:lnTo>
                    <a:pt x="149" y="402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9" y="398"/>
                  </a:lnTo>
                  <a:lnTo>
                    <a:pt x="149" y="398"/>
                  </a:lnTo>
                  <a:lnTo>
                    <a:pt x="149" y="398"/>
                  </a:lnTo>
                  <a:lnTo>
                    <a:pt x="149" y="398"/>
                  </a:lnTo>
                  <a:lnTo>
                    <a:pt x="149" y="398"/>
                  </a:lnTo>
                  <a:lnTo>
                    <a:pt x="149" y="400"/>
                  </a:lnTo>
                  <a:lnTo>
                    <a:pt x="151" y="400"/>
                  </a:lnTo>
                  <a:lnTo>
                    <a:pt x="151" y="400"/>
                  </a:lnTo>
                  <a:close/>
                  <a:moveTo>
                    <a:pt x="155" y="398"/>
                  </a:moveTo>
                  <a:lnTo>
                    <a:pt x="153" y="398"/>
                  </a:lnTo>
                  <a:lnTo>
                    <a:pt x="153" y="398"/>
                  </a:lnTo>
                  <a:lnTo>
                    <a:pt x="153" y="398"/>
                  </a:lnTo>
                  <a:lnTo>
                    <a:pt x="153" y="398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5" y="398"/>
                  </a:lnTo>
                  <a:lnTo>
                    <a:pt x="155" y="398"/>
                  </a:lnTo>
                  <a:lnTo>
                    <a:pt x="155" y="398"/>
                  </a:lnTo>
                  <a:close/>
                  <a:moveTo>
                    <a:pt x="153" y="395"/>
                  </a:move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lnTo>
                    <a:pt x="153" y="395"/>
                  </a:lnTo>
                  <a:close/>
                  <a:moveTo>
                    <a:pt x="160" y="393"/>
                  </a:moveTo>
                  <a:lnTo>
                    <a:pt x="160" y="395"/>
                  </a:lnTo>
                  <a:lnTo>
                    <a:pt x="160" y="393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0" y="395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57" y="398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7" y="393"/>
                  </a:lnTo>
                  <a:lnTo>
                    <a:pt x="157" y="393"/>
                  </a:lnTo>
                  <a:lnTo>
                    <a:pt x="160" y="393"/>
                  </a:lnTo>
                  <a:lnTo>
                    <a:pt x="160" y="393"/>
                  </a:lnTo>
                  <a:close/>
                  <a:moveTo>
                    <a:pt x="151" y="389"/>
                  </a:move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91"/>
                  </a:lnTo>
                  <a:lnTo>
                    <a:pt x="151" y="391"/>
                  </a:lnTo>
                  <a:lnTo>
                    <a:pt x="151" y="391"/>
                  </a:lnTo>
                  <a:lnTo>
                    <a:pt x="151" y="391"/>
                  </a:lnTo>
                  <a:lnTo>
                    <a:pt x="151" y="391"/>
                  </a:lnTo>
                  <a:lnTo>
                    <a:pt x="149" y="391"/>
                  </a:lnTo>
                  <a:lnTo>
                    <a:pt x="149" y="391"/>
                  </a:lnTo>
                  <a:lnTo>
                    <a:pt x="149" y="391"/>
                  </a:lnTo>
                  <a:lnTo>
                    <a:pt x="149" y="391"/>
                  </a:lnTo>
                  <a:lnTo>
                    <a:pt x="149" y="389"/>
                  </a:lnTo>
                  <a:lnTo>
                    <a:pt x="149" y="389"/>
                  </a:lnTo>
                  <a:lnTo>
                    <a:pt x="149" y="389"/>
                  </a:lnTo>
                  <a:lnTo>
                    <a:pt x="149" y="389"/>
                  </a:lnTo>
                  <a:lnTo>
                    <a:pt x="149" y="389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51" y="386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lnTo>
                    <a:pt x="151" y="389"/>
                  </a:lnTo>
                  <a:close/>
                  <a:moveTo>
                    <a:pt x="149" y="386"/>
                  </a:move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9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6" y="384"/>
                  </a:lnTo>
                  <a:lnTo>
                    <a:pt x="146" y="384"/>
                  </a:lnTo>
                  <a:lnTo>
                    <a:pt x="146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6" y="384"/>
                  </a:lnTo>
                  <a:lnTo>
                    <a:pt x="146" y="386"/>
                  </a:lnTo>
                  <a:lnTo>
                    <a:pt x="146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6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4"/>
                  </a:lnTo>
                  <a:lnTo>
                    <a:pt x="149" y="386"/>
                  </a:lnTo>
                  <a:close/>
                  <a:moveTo>
                    <a:pt x="157" y="384"/>
                  </a:moveTo>
                  <a:lnTo>
                    <a:pt x="157" y="384"/>
                  </a:lnTo>
                  <a:lnTo>
                    <a:pt x="157" y="384"/>
                  </a:lnTo>
                  <a:lnTo>
                    <a:pt x="157" y="384"/>
                  </a:lnTo>
                  <a:lnTo>
                    <a:pt x="157" y="382"/>
                  </a:lnTo>
                  <a:lnTo>
                    <a:pt x="157" y="382"/>
                  </a:lnTo>
                  <a:lnTo>
                    <a:pt x="157" y="382"/>
                  </a:lnTo>
                  <a:lnTo>
                    <a:pt x="157" y="382"/>
                  </a:lnTo>
                  <a:lnTo>
                    <a:pt x="157" y="384"/>
                  </a:lnTo>
                  <a:lnTo>
                    <a:pt x="157" y="384"/>
                  </a:lnTo>
                  <a:close/>
                  <a:moveTo>
                    <a:pt x="153" y="382"/>
                  </a:moveTo>
                  <a:lnTo>
                    <a:pt x="153" y="382"/>
                  </a:lnTo>
                  <a:lnTo>
                    <a:pt x="153" y="382"/>
                  </a:lnTo>
                  <a:lnTo>
                    <a:pt x="151" y="382"/>
                  </a:lnTo>
                  <a:lnTo>
                    <a:pt x="151" y="382"/>
                  </a:lnTo>
                  <a:lnTo>
                    <a:pt x="151" y="382"/>
                  </a:lnTo>
                  <a:lnTo>
                    <a:pt x="151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0"/>
                  </a:lnTo>
                  <a:lnTo>
                    <a:pt x="153" y="380"/>
                  </a:lnTo>
                  <a:lnTo>
                    <a:pt x="153" y="380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close/>
                  <a:moveTo>
                    <a:pt x="155" y="380"/>
                  </a:moveTo>
                  <a:lnTo>
                    <a:pt x="155" y="382"/>
                  </a:lnTo>
                  <a:lnTo>
                    <a:pt x="155" y="382"/>
                  </a:lnTo>
                  <a:lnTo>
                    <a:pt x="155" y="380"/>
                  </a:lnTo>
                  <a:lnTo>
                    <a:pt x="155" y="380"/>
                  </a:lnTo>
                  <a:lnTo>
                    <a:pt x="157" y="380"/>
                  </a:lnTo>
                  <a:lnTo>
                    <a:pt x="157" y="382"/>
                  </a:lnTo>
                  <a:lnTo>
                    <a:pt x="157" y="382"/>
                  </a:lnTo>
                  <a:lnTo>
                    <a:pt x="157" y="382"/>
                  </a:lnTo>
                  <a:lnTo>
                    <a:pt x="157" y="384"/>
                  </a:lnTo>
                  <a:lnTo>
                    <a:pt x="155" y="386"/>
                  </a:lnTo>
                  <a:lnTo>
                    <a:pt x="155" y="386"/>
                  </a:lnTo>
                  <a:lnTo>
                    <a:pt x="153" y="386"/>
                  </a:lnTo>
                  <a:lnTo>
                    <a:pt x="153" y="386"/>
                  </a:lnTo>
                  <a:lnTo>
                    <a:pt x="153" y="386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2"/>
                  </a:lnTo>
                  <a:lnTo>
                    <a:pt x="153" y="380"/>
                  </a:lnTo>
                  <a:lnTo>
                    <a:pt x="153" y="380"/>
                  </a:lnTo>
                  <a:lnTo>
                    <a:pt x="153" y="377"/>
                  </a:lnTo>
                  <a:lnTo>
                    <a:pt x="153" y="377"/>
                  </a:lnTo>
                  <a:lnTo>
                    <a:pt x="155" y="377"/>
                  </a:lnTo>
                  <a:lnTo>
                    <a:pt x="155" y="380"/>
                  </a:lnTo>
                  <a:lnTo>
                    <a:pt x="155" y="380"/>
                  </a:lnTo>
                  <a:lnTo>
                    <a:pt x="155" y="380"/>
                  </a:lnTo>
                  <a:lnTo>
                    <a:pt x="155" y="380"/>
                  </a:lnTo>
                  <a:close/>
                  <a:moveTo>
                    <a:pt x="151" y="368"/>
                  </a:move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68"/>
                  </a:lnTo>
                  <a:lnTo>
                    <a:pt x="153" y="371"/>
                  </a:lnTo>
                  <a:lnTo>
                    <a:pt x="153" y="371"/>
                  </a:lnTo>
                  <a:lnTo>
                    <a:pt x="153" y="371"/>
                  </a:lnTo>
                  <a:lnTo>
                    <a:pt x="153" y="371"/>
                  </a:lnTo>
                  <a:lnTo>
                    <a:pt x="153" y="373"/>
                  </a:lnTo>
                  <a:lnTo>
                    <a:pt x="153" y="373"/>
                  </a:lnTo>
                  <a:lnTo>
                    <a:pt x="153" y="373"/>
                  </a:lnTo>
                  <a:lnTo>
                    <a:pt x="153" y="371"/>
                  </a:lnTo>
                  <a:lnTo>
                    <a:pt x="153" y="371"/>
                  </a:lnTo>
                  <a:lnTo>
                    <a:pt x="151" y="371"/>
                  </a:lnTo>
                  <a:lnTo>
                    <a:pt x="151" y="368"/>
                  </a:lnTo>
                  <a:lnTo>
                    <a:pt x="151" y="368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8"/>
                  </a:lnTo>
                  <a:lnTo>
                    <a:pt x="151" y="368"/>
                  </a:lnTo>
                  <a:close/>
                  <a:moveTo>
                    <a:pt x="72" y="301"/>
                  </a:move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3"/>
                  </a:lnTo>
                  <a:lnTo>
                    <a:pt x="72" y="303"/>
                  </a:lnTo>
                  <a:lnTo>
                    <a:pt x="72" y="303"/>
                  </a:lnTo>
                  <a:lnTo>
                    <a:pt x="72" y="303"/>
                  </a:lnTo>
                  <a:lnTo>
                    <a:pt x="72" y="303"/>
                  </a:lnTo>
                  <a:lnTo>
                    <a:pt x="70" y="303"/>
                  </a:lnTo>
                  <a:lnTo>
                    <a:pt x="70" y="303"/>
                  </a:lnTo>
                  <a:lnTo>
                    <a:pt x="70" y="303"/>
                  </a:lnTo>
                  <a:lnTo>
                    <a:pt x="72" y="303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close/>
                  <a:moveTo>
                    <a:pt x="63" y="303"/>
                  </a:moveTo>
                  <a:lnTo>
                    <a:pt x="63" y="303"/>
                  </a:lnTo>
                  <a:lnTo>
                    <a:pt x="63" y="303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5" y="297"/>
                  </a:lnTo>
                  <a:lnTo>
                    <a:pt x="65" y="297"/>
                  </a:lnTo>
                  <a:lnTo>
                    <a:pt x="65" y="297"/>
                  </a:lnTo>
                  <a:lnTo>
                    <a:pt x="65" y="297"/>
                  </a:lnTo>
                  <a:lnTo>
                    <a:pt x="65" y="297"/>
                  </a:lnTo>
                  <a:lnTo>
                    <a:pt x="68" y="294"/>
                  </a:lnTo>
                  <a:lnTo>
                    <a:pt x="68" y="294"/>
                  </a:lnTo>
                  <a:lnTo>
                    <a:pt x="68" y="294"/>
                  </a:lnTo>
                  <a:lnTo>
                    <a:pt x="68" y="294"/>
                  </a:lnTo>
                  <a:lnTo>
                    <a:pt x="68" y="297"/>
                  </a:lnTo>
                  <a:lnTo>
                    <a:pt x="68" y="297"/>
                  </a:lnTo>
                  <a:lnTo>
                    <a:pt x="68" y="299"/>
                  </a:lnTo>
                  <a:lnTo>
                    <a:pt x="68" y="299"/>
                  </a:lnTo>
                  <a:lnTo>
                    <a:pt x="65" y="299"/>
                  </a:lnTo>
                  <a:lnTo>
                    <a:pt x="65" y="299"/>
                  </a:lnTo>
                  <a:lnTo>
                    <a:pt x="65" y="299"/>
                  </a:lnTo>
                  <a:lnTo>
                    <a:pt x="65" y="299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3" y="303"/>
                  </a:lnTo>
                  <a:close/>
                  <a:moveTo>
                    <a:pt x="128" y="294"/>
                  </a:moveTo>
                  <a:lnTo>
                    <a:pt x="128" y="294"/>
                  </a:lnTo>
                  <a:lnTo>
                    <a:pt x="128" y="294"/>
                  </a:lnTo>
                  <a:lnTo>
                    <a:pt x="126" y="292"/>
                  </a:lnTo>
                  <a:lnTo>
                    <a:pt x="126" y="292"/>
                  </a:lnTo>
                  <a:lnTo>
                    <a:pt x="126" y="292"/>
                  </a:lnTo>
                  <a:lnTo>
                    <a:pt x="126" y="292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90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90"/>
                  </a:lnTo>
                  <a:lnTo>
                    <a:pt x="128" y="290"/>
                  </a:lnTo>
                  <a:lnTo>
                    <a:pt x="128" y="290"/>
                  </a:lnTo>
                  <a:lnTo>
                    <a:pt x="128" y="290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8" y="292"/>
                  </a:lnTo>
                  <a:lnTo>
                    <a:pt x="128" y="294"/>
                  </a:lnTo>
                  <a:close/>
                  <a:moveTo>
                    <a:pt x="41" y="231"/>
                  </a:moveTo>
                  <a:lnTo>
                    <a:pt x="41" y="231"/>
                  </a:lnTo>
                  <a:lnTo>
                    <a:pt x="41" y="231"/>
                  </a:lnTo>
                  <a:lnTo>
                    <a:pt x="41" y="231"/>
                  </a:lnTo>
                  <a:lnTo>
                    <a:pt x="41" y="231"/>
                  </a:lnTo>
                  <a:lnTo>
                    <a:pt x="41" y="231"/>
                  </a:lnTo>
                  <a:lnTo>
                    <a:pt x="41" y="231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4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38" y="236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6" y="231"/>
                  </a:lnTo>
                  <a:lnTo>
                    <a:pt x="38" y="231"/>
                  </a:lnTo>
                  <a:lnTo>
                    <a:pt x="38" y="229"/>
                  </a:lnTo>
                  <a:lnTo>
                    <a:pt x="38" y="229"/>
                  </a:lnTo>
                  <a:lnTo>
                    <a:pt x="38" y="229"/>
                  </a:lnTo>
                  <a:lnTo>
                    <a:pt x="38" y="231"/>
                  </a:lnTo>
                  <a:lnTo>
                    <a:pt x="38" y="231"/>
                  </a:lnTo>
                  <a:lnTo>
                    <a:pt x="38" y="231"/>
                  </a:lnTo>
                  <a:lnTo>
                    <a:pt x="41" y="231"/>
                  </a:lnTo>
                  <a:close/>
                  <a:moveTo>
                    <a:pt x="41" y="216"/>
                  </a:moveTo>
                  <a:lnTo>
                    <a:pt x="41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3" y="216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41" y="220"/>
                  </a:lnTo>
                  <a:lnTo>
                    <a:pt x="38" y="220"/>
                  </a:lnTo>
                  <a:lnTo>
                    <a:pt x="38" y="220"/>
                  </a:lnTo>
                  <a:lnTo>
                    <a:pt x="38" y="220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8" y="218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6" y="216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38" y="216"/>
                  </a:lnTo>
                  <a:lnTo>
                    <a:pt x="41" y="216"/>
                  </a:lnTo>
                  <a:close/>
                  <a:moveTo>
                    <a:pt x="25" y="209"/>
                  </a:moveTo>
                  <a:lnTo>
                    <a:pt x="25" y="209"/>
                  </a:lnTo>
                  <a:lnTo>
                    <a:pt x="25" y="209"/>
                  </a:lnTo>
                  <a:lnTo>
                    <a:pt x="25" y="209"/>
                  </a:lnTo>
                  <a:lnTo>
                    <a:pt x="25" y="209"/>
                  </a:lnTo>
                  <a:lnTo>
                    <a:pt x="25" y="209"/>
                  </a:lnTo>
                  <a:close/>
                  <a:moveTo>
                    <a:pt x="34" y="209"/>
                  </a:moveTo>
                  <a:lnTo>
                    <a:pt x="34" y="209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29" y="207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32" y="204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7"/>
                  </a:lnTo>
                  <a:lnTo>
                    <a:pt x="32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4" y="209"/>
                  </a:lnTo>
                  <a:close/>
                  <a:moveTo>
                    <a:pt x="23" y="209"/>
                  </a:moveTo>
                  <a:lnTo>
                    <a:pt x="23" y="209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4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3" y="209"/>
                  </a:lnTo>
                  <a:close/>
                  <a:moveTo>
                    <a:pt x="25" y="209"/>
                  </a:moveTo>
                  <a:lnTo>
                    <a:pt x="25" y="209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3" y="204"/>
                  </a:lnTo>
                  <a:lnTo>
                    <a:pt x="23" y="204"/>
                  </a:lnTo>
                  <a:lnTo>
                    <a:pt x="23" y="204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2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20" y="200"/>
                  </a:lnTo>
                  <a:lnTo>
                    <a:pt x="20" y="198"/>
                  </a:lnTo>
                  <a:lnTo>
                    <a:pt x="20" y="198"/>
                  </a:lnTo>
                  <a:lnTo>
                    <a:pt x="20" y="195"/>
                  </a:lnTo>
                  <a:lnTo>
                    <a:pt x="23" y="195"/>
                  </a:lnTo>
                  <a:lnTo>
                    <a:pt x="23" y="195"/>
                  </a:lnTo>
                  <a:lnTo>
                    <a:pt x="23" y="195"/>
                  </a:lnTo>
                  <a:lnTo>
                    <a:pt x="23" y="193"/>
                  </a:lnTo>
                  <a:lnTo>
                    <a:pt x="23" y="193"/>
                  </a:lnTo>
                  <a:lnTo>
                    <a:pt x="23" y="195"/>
                  </a:lnTo>
                  <a:lnTo>
                    <a:pt x="23" y="195"/>
                  </a:lnTo>
                  <a:lnTo>
                    <a:pt x="20" y="195"/>
                  </a:lnTo>
                  <a:lnTo>
                    <a:pt x="20" y="195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1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20" y="195"/>
                  </a:lnTo>
                  <a:lnTo>
                    <a:pt x="20" y="195"/>
                  </a:lnTo>
                  <a:lnTo>
                    <a:pt x="20" y="198"/>
                  </a:lnTo>
                  <a:lnTo>
                    <a:pt x="20" y="198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8" y="200"/>
                  </a:lnTo>
                  <a:lnTo>
                    <a:pt x="16" y="200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8" y="198"/>
                  </a:lnTo>
                  <a:lnTo>
                    <a:pt x="18" y="195"/>
                  </a:lnTo>
                  <a:lnTo>
                    <a:pt x="20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8" y="195"/>
                  </a:lnTo>
                  <a:lnTo>
                    <a:pt x="16" y="195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1" y="189"/>
                  </a:lnTo>
                  <a:lnTo>
                    <a:pt x="11" y="186"/>
                  </a:lnTo>
                  <a:lnTo>
                    <a:pt x="11" y="189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1"/>
                  </a:lnTo>
                  <a:lnTo>
                    <a:pt x="14" y="193"/>
                  </a:lnTo>
                  <a:lnTo>
                    <a:pt x="14" y="193"/>
                  </a:lnTo>
                  <a:lnTo>
                    <a:pt x="14" y="195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5"/>
                  </a:lnTo>
                  <a:lnTo>
                    <a:pt x="14" y="193"/>
                  </a:lnTo>
                  <a:lnTo>
                    <a:pt x="11" y="193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6"/>
                  </a:lnTo>
                  <a:lnTo>
                    <a:pt x="7" y="186"/>
                  </a:lnTo>
                  <a:lnTo>
                    <a:pt x="7" y="186"/>
                  </a:lnTo>
                  <a:lnTo>
                    <a:pt x="7" y="186"/>
                  </a:lnTo>
                  <a:lnTo>
                    <a:pt x="5" y="186"/>
                  </a:lnTo>
                  <a:lnTo>
                    <a:pt x="5" y="182"/>
                  </a:lnTo>
                  <a:lnTo>
                    <a:pt x="5" y="182"/>
                  </a:lnTo>
                  <a:lnTo>
                    <a:pt x="2" y="182"/>
                  </a:lnTo>
                  <a:lnTo>
                    <a:pt x="2" y="180"/>
                  </a:lnTo>
                  <a:lnTo>
                    <a:pt x="2" y="180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0" y="177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3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3"/>
                  </a:lnTo>
                  <a:lnTo>
                    <a:pt x="7" y="173"/>
                  </a:lnTo>
                  <a:lnTo>
                    <a:pt x="9" y="173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3"/>
                  </a:lnTo>
                  <a:lnTo>
                    <a:pt x="9" y="171"/>
                  </a:lnTo>
                  <a:lnTo>
                    <a:pt x="9" y="168"/>
                  </a:lnTo>
                  <a:lnTo>
                    <a:pt x="7" y="168"/>
                  </a:lnTo>
                  <a:lnTo>
                    <a:pt x="7" y="162"/>
                  </a:lnTo>
                  <a:lnTo>
                    <a:pt x="7" y="159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11" y="155"/>
                  </a:lnTo>
                  <a:lnTo>
                    <a:pt x="11" y="155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11" y="157"/>
                  </a:lnTo>
                  <a:lnTo>
                    <a:pt x="14" y="157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5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8" y="150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4" y="144"/>
                  </a:lnTo>
                  <a:lnTo>
                    <a:pt x="16" y="141"/>
                  </a:lnTo>
                  <a:lnTo>
                    <a:pt x="14" y="141"/>
                  </a:lnTo>
                  <a:lnTo>
                    <a:pt x="14" y="141"/>
                  </a:lnTo>
                  <a:lnTo>
                    <a:pt x="14" y="141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6" y="130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5"/>
                  </a:lnTo>
                  <a:lnTo>
                    <a:pt x="14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2" y="103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78"/>
                  </a:lnTo>
                  <a:lnTo>
                    <a:pt x="34" y="76"/>
                  </a:lnTo>
                  <a:lnTo>
                    <a:pt x="34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8" y="74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7" y="40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31"/>
                  </a:lnTo>
                  <a:lnTo>
                    <a:pt x="63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9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1"/>
                  </a:lnTo>
                  <a:lnTo>
                    <a:pt x="72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9" y="13"/>
                  </a:lnTo>
                  <a:lnTo>
                    <a:pt x="77" y="13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2" y="9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2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2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8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3" y="40"/>
                  </a:lnTo>
                  <a:lnTo>
                    <a:pt x="113" y="42"/>
                  </a:lnTo>
                  <a:lnTo>
                    <a:pt x="113" y="42"/>
                  </a:lnTo>
                  <a:lnTo>
                    <a:pt x="113" y="42"/>
                  </a:lnTo>
                  <a:lnTo>
                    <a:pt x="113" y="42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5" y="51"/>
                  </a:lnTo>
                  <a:lnTo>
                    <a:pt x="115" y="51"/>
                  </a:lnTo>
                  <a:lnTo>
                    <a:pt x="115" y="51"/>
                  </a:lnTo>
                  <a:lnTo>
                    <a:pt x="113" y="51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58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115" y="63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5" y="65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3" y="65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69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8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4" y="78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1" y="81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81"/>
                  </a:lnTo>
                  <a:lnTo>
                    <a:pt x="101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5"/>
                  </a:lnTo>
                  <a:lnTo>
                    <a:pt x="99" y="87"/>
                  </a:lnTo>
                  <a:lnTo>
                    <a:pt x="101" y="87"/>
                  </a:lnTo>
                  <a:lnTo>
                    <a:pt x="101" y="87"/>
                  </a:lnTo>
                  <a:lnTo>
                    <a:pt x="101" y="87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9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2"/>
                  </a:lnTo>
                  <a:lnTo>
                    <a:pt x="99" y="94"/>
                  </a:lnTo>
                  <a:lnTo>
                    <a:pt x="99" y="96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4" y="101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3"/>
                  </a:lnTo>
                  <a:lnTo>
                    <a:pt x="104" y="105"/>
                  </a:lnTo>
                  <a:lnTo>
                    <a:pt x="104" y="105"/>
                  </a:lnTo>
                  <a:lnTo>
                    <a:pt x="104" y="105"/>
                  </a:lnTo>
                  <a:lnTo>
                    <a:pt x="99" y="110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3" y="105"/>
                  </a:lnTo>
                  <a:lnTo>
                    <a:pt x="113" y="105"/>
                  </a:lnTo>
                  <a:lnTo>
                    <a:pt x="115" y="105"/>
                  </a:lnTo>
                  <a:lnTo>
                    <a:pt x="115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5"/>
                  </a:lnTo>
                  <a:lnTo>
                    <a:pt x="119" y="105"/>
                  </a:lnTo>
                  <a:lnTo>
                    <a:pt x="122" y="105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2" y="105"/>
                  </a:lnTo>
                  <a:lnTo>
                    <a:pt x="124" y="105"/>
                  </a:lnTo>
                  <a:lnTo>
                    <a:pt x="124" y="105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6" y="105"/>
                  </a:lnTo>
                  <a:lnTo>
                    <a:pt x="128" y="105"/>
                  </a:lnTo>
                  <a:lnTo>
                    <a:pt x="126" y="105"/>
                  </a:lnTo>
                  <a:lnTo>
                    <a:pt x="126" y="108"/>
                  </a:lnTo>
                  <a:lnTo>
                    <a:pt x="124" y="108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0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4"/>
                  </a:lnTo>
                  <a:lnTo>
                    <a:pt x="124" y="114"/>
                  </a:lnTo>
                  <a:lnTo>
                    <a:pt x="124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6" y="114"/>
                  </a:lnTo>
                  <a:lnTo>
                    <a:pt x="128" y="114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7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19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28" y="121"/>
                  </a:lnTo>
                  <a:lnTo>
                    <a:pt x="131" y="121"/>
                  </a:lnTo>
                  <a:lnTo>
                    <a:pt x="131" y="121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1" y="123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6"/>
                  </a:lnTo>
                  <a:lnTo>
                    <a:pt x="131" y="128"/>
                  </a:lnTo>
                  <a:lnTo>
                    <a:pt x="131" y="128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3" y="128"/>
                  </a:lnTo>
                  <a:lnTo>
                    <a:pt x="135" y="128"/>
                  </a:lnTo>
                  <a:lnTo>
                    <a:pt x="135" y="128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5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37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0" y="13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4" y="132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2" y="139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50"/>
                  </a:lnTo>
                  <a:lnTo>
                    <a:pt x="142" y="150"/>
                  </a:lnTo>
                  <a:lnTo>
                    <a:pt x="142" y="150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0" y="153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4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1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3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5" y="155"/>
                  </a:lnTo>
                  <a:lnTo>
                    <a:pt x="157" y="155"/>
                  </a:lnTo>
                  <a:lnTo>
                    <a:pt x="157" y="155"/>
                  </a:lnTo>
                  <a:lnTo>
                    <a:pt x="157" y="155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7"/>
                  </a:lnTo>
                  <a:lnTo>
                    <a:pt x="157" y="159"/>
                  </a:lnTo>
                  <a:lnTo>
                    <a:pt x="157" y="159"/>
                  </a:lnTo>
                  <a:lnTo>
                    <a:pt x="157" y="162"/>
                  </a:lnTo>
                  <a:lnTo>
                    <a:pt x="157" y="162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62" y="166"/>
                  </a:lnTo>
                  <a:lnTo>
                    <a:pt x="162" y="166"/>
                  </a:lnTo>
                  <a:lnTo>
                    <a:pt x="162" y="166"/>
                  </a:lnTo>
                  <a:lnTo>
                    <a:pt x="162" y="166"/>
                  </a:lnTo>
                  <a:lnTo>
                    <a:pt x="162" y="166"/>
                  </a:lnTo>
                  <a:lnTo>
                    <a:pt x="162" y="166"/>
                  </a:lnTo>
                  <a:lnTo>
                    <a:pt x="162" y="168"/>
                  </a:lnTo>
                  <a:lnTo>
                    <a:pt x="162" y="168"/>
                  </a:lnTo>
                  <a:lnTo>
                    <a:pt x="162" y="168"/>
                  </a:lnTo>
                  <a:lnTo>
                    <a:pt x="164" y="168"/>
                  </a:lnTo>
                  <a:lnTo>
                    <a:pt x="164" y="171"/>
                  </a:lnTo>
                  <a:lnTo>
                    <a:pt x="164" y="171"/>
                  </a:lnTo>
                  <a:lnTo>
                    <a:pt x="164" y="171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6" y="168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1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3" y="168"/>
                  </a:lnTo>
                  <a:lnTo>
                    <a:pt x="175" y="168"/>
                  </a:lnTo>
                  <a:lnTo>
                    <a:pt x="175" y="166"/>
                  </a:lnTo>
                  <a:lnTo>
                    <a:pt x="175" y="166"/>
                  </a:lnTo>
                  <a:lnTo>
                    <a:pt x="178" y="164"/>
                  </a:lnTo>
                  <a:lnTo>
                    <a:pt x="178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4"/>
                  </a:lnTo>
                  <a:lnTo>
                    <a:pt x="182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4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6"/>
                  </a:lnTo>
                  <a:lnTo>
                    <a:pt x="184" y="168"/>
                  </a:lnTo>
                  <a:lnTo>
                    <a:pt x="184" y="168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3"/>
                  </a:lnTo>
                  <a:lnTo>
                    <a:pt x="178" y="173"/>
                  </a:lnTo>
                  <a:lnTo>
                    <a:pt x="178" y="173"/>
                  </a:lnTo>
                  <a:lnTo>
                    <a:pt x="178" y="173"/>
                  </a:lnTo>
                  <a:lnTo>
                    <a:pt x="178" y="173"/>
                  </a:lnTo>
                  <a:lnTo>
                    <a:pt x="175" y="173"/>
                  </a:lnTo>
                  <a:lnTo>
                    <a:pt x="175" y="173"/>
                  </a:lnTo>
                  <a:lnTo>
                    <a:pt x="175" y="173"/>
                  </a:lnTo>
                  <a:lnTo>
                    <a:pt x="175" y="173"/>
                  </a:lnTo>
                  <a:lnTo>
                    <a:pt x="175" y="173"/>
                  </a:lnTo>
                  <a:lnTo>
                    <a:pt x="175" y="175"/>
                  </a:lnTo>
                  <a:lnTo>
                    <a:pt x="175" y="177"/>
                  </a:lnTo>
                  <a:lnTo>
                    <a:pt x="175" y="180"/>
                  </a:lnTo>
                  <a:lnTo>
                    <a:pt x="175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0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3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2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69" y="186"/>
                  </a:lnTo>
                  <a:lnTo>
                    <a:pt x="169" y="186"/>
                  </a:lnTo>
                  <a:lnTo>
                    <a:pt x="169" y="186"/>
                  </a:lnTo>
                  <a:lnTo>
                    <a:pt x="169" y="186"/>
                  </a:lnTo>
                  <a:lnTo>
                    <a:pt x="169" y="186"/>
                  </a:lnTo>
                  <a:lnTo>
                    <a:pt x="169" y="189"/>
                  </a:lnTo>
                  <a:lnTo>
                    <a:pt x="169" y="189"/>
                  </a:lnTo>
                  <a:lnTo>
                    <a:pt x="166" y="189"/>
                  </a:lnTo>
                  <a:lnTo>
                    <a:pt x="166" y="189"/>
                  </a:lnTo>
                  <a:lnTo>
                    <a:pt x="166" y="189"/>
                  </a:lnTo>
                  <a:lnTo>
                    <a:pt x="166" y="191"/>
                  </a:lnTo>
                  <a:lnTo>
                    <a:pt x="166" y="191"/>
                  </a:lnTo>
                  <a:lnTo>
                    <a:pt x="166" y="193"/>
                  </a:lnTo>
                  <a:lnTo>
                    <a:pt x="166" y="193"/>
                  </a:lnTo>
                  <a:lnTo>
                    <a:pt x="166" y="193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4" y="195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4" y="193"/>
                  </a:lnTo>
                  <a:lnTo>
                    <a:pt x="162" y="193"/>
                  </a:lnTo>
                  <a:lnTo>
                    <a:pt x="162" y="193"/>
                  </a:lnTo>
                  <a:lnTo>
                    <a:pt x="162" y="193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60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5" y="198"/>
                  </a:lnTo>
                  <a:lnTo>
                    <a:pt x="155" y="198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0"/>
                  </a:lnTo>
                  <a:lnTo>
                    <a:pt x="155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51" y="202"/>
                  </a:lnTo>
                  <a:lnTo>
                    <a:pt x="149" y="202"/>
                  </a:lnTo>
                  <a:lnTo>
                    <a:pt x="149" y="200"/>
                  </a:lnTo>
                  <a:lnTo>
                    <a:pt x="149" y="200"/>
                  </a:lnTo>
                  <a:lnTo>
                    <a:pt x="149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2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4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6" y="207"/>
                  </a:lnTo>
                  <a:lnTo>
                    <a:pt x="146" y="209"/>
                  </a:lnTo>
                  <a:lnTo>
                    <a:pt x="146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09"/>
                  </a:lnTo>
                  <a:lnTo>
                    <a:pt x="142" y="209"/>
                  </a:lnTo>
                  <a:lnTo>
                    <a:pt x="140" y="209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7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5" y="211"/>
                  </a:lnTo>
                  <a:lnTo>
                    <a:pt x="133" y="211"/>
                  </a:lnTo>
                  <a:lnTo>
                    <a:pt x="133" y="211"/>
                  </a:lnTo>
                  <a:lnTo>
                    <a:pt x="131" y="211"/>
                  </a:lnTo>
                  <a:lnTo>
                    <a:pt x="131" y="211"/>
                  </a:lnTo>
                  <a:lnTo>
                    <a:pt x="131" y="211"/>
                  </a:lnTo>
                  <a:lnTo>
                    <a:pt x="131" y="211"/>
                  </a:lnTo>
                  <a:lnTo>
                    <a:pt x="131" y="211"/>
                  </a:lnTo>
                  <a:lnTo>
                    <a:pt x="131" y="211"/>
                  </a:lnTo>
                  <a:lnTo>
                    <a:pt x="131" y="211"/>
                  </a:lnTo>
                  <a:lnTo>
                    <a:pt x="128" y="211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1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6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3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6"/>
                  </a:lnTo>
                  <a:lnTo>
                    <a:pt x="124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18"/>
                  </a:lnTo>
                  <a:lnTo>
                    <a:pt x="122" y="220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4" y="220"/>
                  </a:lnTo>
                  <a:lnTo>
                    <a:pt x="122" y="220"/>
                  </a:lnTo>
                  <a:lnTo>
                    <a:pt x="122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2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4" y="225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29"/>
                  </a:lnTo>
                  <a:lnTo>
                    <a:pt x="122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4" y="231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4"/>
                  </a:lnTo>
                  <a:lnTo>
                    <a:pt x="124" y="236"/>
                  </a:lnTo>
                  <a:lnTo>
                    <a:pt x="124" y="236"/>
                  </a:lnTo>
                  <a:lnTo>
                    <a:pt x="124" y="236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2" y="238"/>
                  </a:lnTo>
                  <a:lnTo>
                    <a:pt x="122" y="238"/>
                  </a:lnTo>
                  <a:lnTo>
                    <a:pt x="122" y="240"/>
                  </a:lnTo>
                  <a:lnTo>
                    <a:pt x="119" y="240"/>
                  </a:lnTo>
                  <a:lnTo>
                    <a:pt x="119" y="240"/>
                  </a:lnTo>
                  <a:lnTo>
                    <a:pt x="119" y="240"/>
                  </a:lnTo>
                  <a:lnTo>
                    <a:pt x="119" y="240"/>
                  </a:lnTo>
                  <a:lnTo>
                    <a:pt x="117" y="240"/>
                  </a:lnTo>
                  <a:lnTo>
                    <a:pt x="117" y="240"/>
                  </a:lnTo>
                  <a:lnTo>
                    <a:pt x="117" y="240"/>
                  </a:lnTo>
                  <a:lnTo>
                    <a:pt x="117" y="238"/>
                  </a:lnTo>
                  <a:lnTo>
                    <a:pt x="117" y="238"/>
                  </a:lnTo>
                  <a:lnTo>
                    <a:pt x="117" y="238"/>
                  </a:lnTo>
                  <a:lnTo>
                    <a:pt x="117" y="238"/>
                  </a:lnTo>
                  <a:lnTo>
                    <a:pt x="117" y="238"/>
                  </a:lnTo>
                  <a:lnTo>
                    <a:pt x="117" y="240"/>
                  </a:lnTo>
                  <a:lnTo>
                    <a:pt x="117" y="240"/>
                  </a:lnTo>
                  <a:lnTo>
                    <a:pt x="119" y="240"/>
                  </a:lnTo>
                  <a:lnTo>
                    <a:pt x="119" y="243"/>
                  </a:lnTo>
                  <a:lnTo>
                    <a:pt x="119" y="243"/>
                  </a:lnTo>
                  <a:lnTo>
                    <a:pt x="119" y="243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5"/>
                  </a:lnTo>
                  <a:lnTo>
                    <a:pt x="122" y="245"/>
                  </a:lnTo>
                  <a:lnTo>
                    <a:pt x="122" y="245"/>
                  </a:lnTo>
                  <a:lnTo>
                    <a:pt x="122" y="245"/>
                  </a:lnTo>
                  <a:lnTo>
                    <a:pt x="122" y="245"/>
                  </a:lnTo>
                  <a:lnTo>
                    <a:pt x="122" y="243"/>
                  </a:lnTo>
                  <a:lnTo>
                    <a:pt x="122" y="243"/>
                  </a:lnTo>
                  <a:lnTo>
                    <a:pt x="122" y="243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24" y="245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49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2"/>
                  </a:lnTo>
                  <a:lnTo>
                    <a:pt x="126" y="254"/>
                  </a:lnTo>
                  <a:lnTo>
                    <a:pt x="126" y="254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6" y="256"/>
                  </a:lnTo>
                  <a:lnTo>
                    <a:pt x="126" y="256"/>
                  </a:lnTo>
                  <a:lnTo>
                    <a:pt x="126" y="256"/>
                  </a:lnTo>
                  <a:lnTo>
                    <a:pt x="126" y="256"/>
                  </a:lnTo>
                  <a:lnTo>
                    <a:pt x="126" y="256"/>
                  </a:lnTo>
                  <a:lnTo>
                    <a:pt x="126" y="256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28" y="258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3" y="263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5" y="267"/>
                  </a:lnTo>
                  <a:lnTo>
                    <a:pt x="137" y="267"/>
                  </a:lnTo>
                  <a:lnTo>
                    <a:pt x="137" y="270"/>
                  </a:lnTo>
                  <a:lnTo>
                    <a:pt x="140" y="270"/>
                  </a:lnTo>
                  <a:lnTo>
                    <a:pt x="140" y="270"/>
                  </a:lnTo>
                  <a:lnTo>
                    <a:pt x="140" y="272"/>
                  </a:lnTo>
                  <a:lnTo>
                    <a:pt x="140" y="272"/>
                  </a:lnTo>
                  <a:lnTo>
                    <a:pt x="140" y="272"/>
                  </a:lnTo>
                  <a:lnTo>
                    <a:pt x="140" y="272"/>
                  </a:lnTo>
                  <a:lnTo>
                    <a:pt x="140" y="272"/>
                  </a:lnTo>
                  <a:lnTo>
                    <a:pt x="142" y="272"/>
                  </a:lnTo>
                  <a:lnTo>
                    <a:pt x="142" y="272"/>
                  </a:lnTo>
                  <a:lnTo>
                    <a:pt x="142" y="274"/>
                  </a:lnTo>
                  <a:lnTo>
                    <a:pt x="142" y="274"/>
                  </a:lnTo>
                  <a:lnTo>
                    <a:pt x="142" y="274"/>
                  </a:lnTo>
                  <a:lnTo>
                    <a:pt x="142" y="274"/>
                  </a:lnTo>
                  <a:lnTo>
                    <a:pt x="142" y="274"/>
                  </a:lnTo>
                  <a:lnTo>
                    <a:pt x="142" y="274"/>
                  </a:lnTo>
                  <a:lnTo>
                    <a:pt x="144" y="274"/>
                  </a:lnTo>
                  <a:lnTo>
                    <a:pt x="144" y="274"/>
                  </a:lnTo>
                  <a:lnTo>
                    <a:pt x="144" y="274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4" y="276"/>
                  </a:lnTo>
                  <a:lnTo>
                    <a:pt x="146" y="276"/>
                  </a:lnTo>
                  <a:lnTo>
                    <a:pt x="146" y="276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79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1"/>
                  </a:lnTo>
                  <a:lnTo>
                    <a:pt x="146" y="283"/>
                  </a:lnTo>
                  <a:lnTo>
                    <a:pt x="146" y="283"/>
                  </a:lnTo>
                  <a:lnTo>
                    <a:pt x="146" y="283"/>
                  </a:lnTo>
                  <a:lnTo>
                    <a:pt x="146" y="283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49" y="285"/>
                  </a:lnTo>
                  <a:lnTo>
                    <a:pt x="151" y="288"/>
                  </a:lnTo>
                  <a:lnTo>
                    <a:pt x="151" y="288"/>
                  </a:lnTo>
                  <a:lnTo>
                    <a:pt x="151" y="290"/>
                  </a:lnTo>
                  <a:lnTo>
                    <a:pt x="151" y="290"/>
                  </a:lnTo>
                  <a:lnTo>
                    <a:pt x="151" y="290"/>
                  </a:lnTo>
                  <a:lnTo>
                    <a:pt x="151" y="290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1" y="292"/>
                  </a:lnTo>
                  <a:lnTo>
                    <a:pt x="153" y="292"/>
                  </a:lnTo>
                  <a:lnTo>
                    <a:pt x="153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5" y="288"/>
                  </a:lnTo>
                  <a:lnTo>
                    <a:pt x="155" y="290"/>
                  </a:lnTo>
                  <a:lnTo>
                    <a:pt x="155" y="290"/>
                  </a:lnTo>
                  <a:lnTo>
                    <a:pt x="155" y="290"/>
                  </a:lnTo>
                  <a:lnTo>
                    <a:pt x="155" y="290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5" y="292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4"/>
                  </a:lnTo>
                  <a:lnTo>
                    <a:pt x="155" y="297"/>
                  </a:lnTo>
                  <a:lnTo>
                    <a:pt x="155" y="297"/>
                  </a:lnTo>
                  <a:lnTo>
                    <a:pt x="155" y="297"/>
                  </a:lnTo>
                  <a:lnTo>
                    <a:pt x="155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3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7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49" y="299"/>
                  </a:lnTo>
                  <a:lnTo>
                    <a:pt x="149" y="299"/>
                  </a:lnTo>
                  <a:lnTo>
                    <a:pt x="149" y="299"/>
                  </a:lnTo>
                  <a:lnTo>
                    <a:pt x="151" y="299"/>
                  </a:lnTo>
                  <a:lnTo>
                    <a:pt x="151" y="299"/>
                  </a:lnTo>
                  <a:lnTo>
                    <a:pt x="151" y="301"/>
                  </a:lnTo>
                  <a:lnTo>
                    <a:pt x="151" y="301"/>
                  </a:lnTo>
                  <a:lnTo>
                    <a:pt x="151" y="301"/>
                  </a:lnTo>
                  <a:lnTo>
                    <a:pt x="151" y="303"/>
                  </a:lnTo>
                  <a:lnTo>
                    <a:pt x="151" y="303"/>
                  </a:lnTo>
                  <a:lnTo>
                    <a:pt x="151" y="306"/>
                  </a:lnTo>
                  <a:lnTo>
                    <a:pt x="151" y="306"/>
                  </a:lnTo>
                  <a:lnTo>
                    <a:pt x="151" y="308"/>
                  </a:lnTo>
                  <a:lnTo>
                    <a:pt x="151" y="308"/>
                  </a:lnTo>
                  <a:lnTo>
                    <a:pt x="151" y="312"/>
                  </a:lnTo>
                  <a:lnTo>
                    <a:pt x="151" y="312"/>
                  </a:lnTo>
                  <a:lnTo>
                    <a:pt x="151" y="315"/>
                  </a:lnTo>
                  <a:lnTo>
                    <a:pt x="151" y="315"/>
                  </a:lnTo>
                  <a:lnTo>
                    <a:pt x="151" y="315"/>
                  </a:lnTo>
                  <a:lnTo>
                    <a:pt x="151" y="315"/>
                  </a:lnTo>
                  <a:lnTo>
                    <a:pt x="151" y="315"/>
                  </a:lnTo>
                  <a:lnTo>
                    <a:pt x="151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5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9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6" y="317"/>
                  </a:lnTo>
                  <a:lnTo>
                    <a:pt x="144" y="317"/>
                  </a:lnTo>
                  <a:lnTo>
                    <a:pt x="144" y="317"/>
                  </a:lnTo>
                  <a:lnTo>
                    <a:pt x="144" y="319"/>
                  </a:lnTo>
                  <a:lnTo>
                    <a:pt x="144" y="319"/>
                  </a:lnTo>
                  <a:lnTo>
                    <a:pt x="144" y="319"/>
                  </a:lnTo>
                  <a:lnTo>
                    <a:pt x="144" y="319"/>
                  </a:lnTo>
                  <a:lnTo>
                    <a:pt x="144" y="321"/>
                  </a:lnTo>
                  <a:lnTo>
                    <a:pt x="144" y="321"/>
                  </a:lnTo>
                  <a:lnTo>
                    <a:pt x="144" y="321"/>
                  </a:lnTo>
                  <a:lnTo>
                    <a:pt x="144" y="321"/>
                  </a:lnTo>
                  <a:lnTo>
                    <a:pt x="144" y="324"/>
                  </a:lnTo>
                  <a:lnTo>
                    <a:pt x="144" y="324"/>
                  </a:lnTo>
                  <a:lnTo>
                    <a:pt x="144" y="324"/>
                  </a:lnTo>
                  <a:lnTo>
                    <a:pt x="144" y="324"/>
                  </a:lnTo>
                  <a:lnTo>
                    <a:pt x="144" y="324"/>
                  </a:lnTo>
                  <a:lnTo>
                    <a:pt x="146" y="324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6"/>
                  </a:lnTo>
                  <a:lnTo>
                    <a:pt x="146" y="328"/>
                  </a:lnTo>
                  <a:lnTo>
                    <a:pt x="146" y="328"/>
                  </a:lnTo>
                  <a:lnTo>
                    <a:pt x="149" y="330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3"/>
                  </a:lnTo>
                  <a:lnTo>
                    <a:pt x="151" y="335"/>
                  </a:lnTo>
                  <a:lnTo>
                    <a:pt x="151" y="335"/>
                  </a:lnTo>
                  <a:lnTo>
                    <a:pt x="151" y="335"/>
                  </a:lnTo>
                  <a:lnTo>
                    <a:pt x="153" y="335"/>
                  </a:lnTo>
                  <a:lnTo>
                    <a:pt x="153" y="337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5" y="339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39"/>
                  </a:lnTo>
                  <a:lnTo>
                    <a:pt x="157" y="341"/>
                  </a:lnTo>
                  <a:lnTo>
                    <a:pt x="160" y="341"/>
                  </a:lnTo>
                  <a:lnTo>
                    <a:pt x="162" y="344"/>
                  </a:lnTo>
                  <a:lnTo>
                    <a:pt x="162" y="344"/>
                  </a:lnTo>
                  <a:lnTo>
                    <a:pt x="162" y="344"/>
                  </a:lnTo>
                  <a:lnTo>
                    <a:pt x="162" y="344"/>
                  </a:lnTo>
                  <a:lnTo>
                    <a:pt x="162" y="346"/>
                  </a:lnTo>
                  <a:lnTo>
                    <a:pt x="164" y="346"/>
                  </a:lnTo>
                  <a:lnTo>
                    <a:pt x="164" y="346"/>
                  </a:lnTo>
                  <a:lnTo>
                    <a:pt x="164" y="346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4" y="348"/>
                  </a:lnTo>
                  <a:lnTo>
                    <a:pt x="166" y="348"/>
                  </a:lnTo>
                  <a:lnTo>
                    <a:pt x="166" y="348"/>
                  </a:lnTo>
                  <a:lnTo>
                    <a:pt x="166" y="348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0"/>
                  </a:lnTo>
                  <a:lnTo>
                    <a:pt x="166" y="353"/>
                  </a:lnTo>
                  <a:lnTo>
                    <a:pt x="166" y="353"/>
                  </a:lnTo>
                  <a:lnTo>
                    <a:pt x="169" y="353"/>
                  </a:lnTo>
                  <a:lnTo>
                    <a:pt x="169" y="353"/>
                  </a:lnTo>
                  <a:lnTo>
                    <a:pt x="169" y="355"/>
                  </a:lnTo>
                  <a:lnTo>
                    <a:pt x="169" y="355"/>
                  </a:lnTo>
                  <a:lnTo>
                    <a:pt x="169" y="357"/>
                  </a:lnTo>
                  <a:lnTo>
                    <a:pt x="169" y="359"/>
                  </a:lnTo>
                  <a:lnTo>
                    <a:pt x="169" y="362"/>
                  </a:lnTo>
                  <a:lnTo>
                    <a:pt x="169" y="362"/>
                  </a:lnTo>
                  <a:lnTo>
                    <a:pt x="171" y="362"/>
                  </a:lnTo>
                  <a:lnTo>
                    <a:pt x="171" y="362"/>
                  </a:lnTo>
                  <a:lnTo>
                    <a:pt x="169" y="364"/>
                  </a:lnTo>
                  <a:lnTo>
                    <a:pt x="169" y="364"/>
                  </a:lnTo>
                  <a:lnTo>
                    <a:pt x="169" y="364"/>
                  </a:lnTo>
                  <a:lnTo>
                    <a:pt x="169" y="364"/>
                  </a:lnTo>
                  <a:lnTo>
                    <a:pt x="171" y="364"/>
                  </a:lnTo>
                  <a:lnTo>
                    <a:pt x="171" y="364"/>
                  </a:lnTo>
                  <a:lnTo>
                    <a:pt x="171" y="366"/>
                  </a:lnTo>
                  <a:lnTo>
                    <a:pt x="171" y="366"/>
                  </a:lnTo>
                  <a:lnTo>
                    <a:pt x="169" y="366"/>
                  </a:lnTo>
                  <a:lnTo>
                    <a:pt x="169" y="366"/>
                  </a:lnTo>
                  <a:lnTo>
                    <a:pt x="169" y="366"/>
                  </a:lnTo>
                  <a:lnTo>
                    <a:pt x="169" y="366"/>
                  </a:lnTo>
                  <a:lnTo>
                    <a:pt x="169" y="368"/>
                  </a:lnTo>
                  <a:lnTo>
                    <a:pt x="169" y="368"/>
                  </a:lnTo>
                  <a:lnTo>
                    <a:pt x="169" y="368"/>
                  </a:lnTo>
                  <a:lnTo>
                    <a:pt x="169" y="368"/>
                  </a:lnTo>
                  <a:lnTo>
                    <a:pt x="169" y="371"/>
                  </a:lnTo>
                  <a:lnTo>
                    <a:pt x="169" y="371"/>
                  </a:lnTo>
                  <a:lnTo>
                    <a:pt x="169" y="371"/>
                  </a:lnTo>
                  <a:lnTo>
                    <a:pt x="171" y="371"/>
                  </a:lnTo>
                  <a:lnTo>
                    <a:pt x="171" y="371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5"/>
                  </a:lnTo>
                  <a:lnTo>
                    <a:pt x="171" y="375"/>
                  </a:lnTo>
                  <a:lnTo>
                    <a:pt x="171" y="375"/>
                  </a:lnTo>
                  <a:lnTo>
                    <a:pt x="171" y="375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3" y="377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3" y="380"/>
                  </a:lnTo>
                  <a:lnTo>
                    <a:pt x="175" y="380"/>
                  </a:lnTo>
                  <a:lnTo>
                    <a:pt x="175" y="380"/>
                  </a:lnTo>
                  <a:lnTo>
                    <a:pt x="175" y="380"/>
                  </a:lnTo>
                  <a:lnTo>
                    <a:pt x="175" y="380"/>
                  </a:lnTo>
                  <a:lnTo>
                    <a:pt x="175" y="380"/>
                  </a:lnTo>
                  <a:lnTo>
                    <a:pt x="175" y="382"/>
                  </a:lnTo>
                  <a:lnTo>
                    <a:pt x="175" y="382"/>
                  </a:lnTo>
                  <a:lnTo>
                    <a:pt x="175" y="382"/>
                  </a:lnTo>
                  <a:lnTo>
                    <a:pt x="175" y="382"/>
                  </a:lnTo>
                  <a:lnTo>
                    <a:pt x="175" y="382"/>
                  </a:lnTo>
                  <a:lnTo>
                    <a:pt x="175" y="384"/>
                  </a:lnTo>
                  <a:lnTo>
                    <a:pt x="175" y="384"/>
                  </a:lnTo>
                  <a:lnTo>
                    <a:pt x="178" y="384"/>
                  </a:lnTo>
                  <a:lnTo>
                    <a:pt x="178" y="384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8" y="386"/>
                  </a:lnTo>
                  <a:lnTo>
                    <a:pt x="178" y="389"/>
                  </a:lnTo>
                  <a:lnTo>
                    <a:pt x="178" y="389"/>
                  </a:lnTo>
                  <a:lnTo>
                    <a:pt x="178" y="389"/>
                  </a:lnTo>
                  <a:lnTo>
                    <a:pt x="178" y="389"/>
                  </a:lnTo>
                  <a:lnTo>
                    <a:pt x="178" y="389"/>
                  </a:lnTo>
                  <a:lnTo>
                    <a:pt x="178" y="389"/>
                  </a:lnTo>
                  <a:lnTo>
                    <a:pt x="178" y="389"/>
                  </a:lnTo>
                  <a:lnTo>
                    <a:pt x="178" y="391"/>
                  </a:lnTo>
                  <a:lnTo>
                    <a:pt x="178" y="391"/>
                  </a:lnTo>
                  <a:lnTo>
                    <a:pt x="178" y="391"/>
                  </a:lnTo>
                  <a:lnTo>
                    <a:pt x="178" y="391"/>
                  </a:lnTo>
                  <a:lnTo>
                    <a:pt x="178" y="391"/>
                  </a:lnTo>
                  <a:lnTo>
                    <a:pt x="178" y="391"/>
                  </a:lnTo>
                  <a:lnTo>
                    <a:pt x="178" y="391"/>
                  </a:lnTo>
                  <a:lnTo>
                    <a:pt x="180" y="391"/>
                  </a:lnTo>
                  <a:lnTo>
                    <a:pt x="180" y="391"/>
                  </a:lnTo>
                  <a:lnTo>
                    <a:pt x="180" y="391"/>
                  </a:lnTo>
                  <a:lnTo>
                    <a:pt x="180" y="391"/>
                  </a:lnTo>
                  <a:lnTo>
                    <a:pt x="180" y="391"/>
                  </a:lnTo>
                  <a:lnTo>
                    <a:pt x="180" y="391"/>
                  </a:lnTo>
                  <a:lnTo>
                    <a:pt x="180" y="391"/>
                  </a:lnTo>
                  <a:lnTo>
                    <a:pt x="180" y="393"/>
                  </a:lnTo>
                  <a:lnTo>
                    <a:pt x="180" y="393"/>
                  </a:lnTo>
                  <a:lnTo>
                    <a:pt x="180" y="393"/>
                  </a:lnTo>
                  <a:lnTo>
                    <a:pt x="180" y="393"/>
                  </a:lnTo>
                  <a:lnTo>
                    <a:pt x="180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0" y="395"/>
                  </a:lnTo>
                  <a:lnTo>
                    <a:pt x="180" y="398"/>
                  </a:lnTo>
                  <a:lnTo>
                    <a:pt x="180" y="398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2" y="398"/>
                  </a:lnTo>
                  <a:lnTo>
                    <a:pt x="182" y="400"/>
                  </a:lnTo>
                  <a:lnTo>
                    <a:pt x="182" y="400"/>
                  </a:lnTo>
                  <a:lnTo>
                    <a:pt x="182" y="402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80" y="402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4"/>
                  </a:lnTo>
                  <a:lnTo>
                    <a:pt x="180" y="407"/>
                  </a:lnTo>
                  <a:lnTo>
                    <a:pt x="180" y="407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78" y="407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78" y="409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8" y="411"/>
                  </a:lnTo>
                  <a:lnTo>
                    <a:pt x="175" y="413"/>
                  </a:lnTo>
                  <a:lnTo>
                    <a:pt x="175" y="413"/>
                  </a:lnTo>
                  <a:lnTo>
                    <a:pt x="175" y="416"/>
                  </a:lnTo>
                  <a:lnTo>
                    <a:pt x="175" y="416"/>
                  </a:lnTo>
                  <a:lnTo>
                    <a:pt x="175" y="416"/>
                  </a:lnTo>
                  <a:lnTo>
                    <a:pt x="175" y="416"/>
                  </a:lnTo>
                  <a:lnTo>
                    <a:pt x="175" y="416"/>
                  </a:lnTo>
                  <a:lnTo>
                    <a:pt x="173" y="416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3" y="418"/>
                  </a:lnTo>
                  <a:lnTo>
                    <a:pt x="173" y="420"/>
                  </a:lnTo>
                  <a:lnTo>
                    <a:pt x="173" y="420"/>
                  </a:lnTo>
                  <a:lnTo>
                    <a:pt x="173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0"/>
                  </a:lnTo>
                  <a:lnTo>
                    <a:pt x="171" y="422"/>
                  </a:lnTo>
                  <a:lnTo>
                    <a:pt x="171" y="422"/>
                  </a:lnTo>
                  <a:lnTo>
                    <a:pt x="171" y="422"/>
                  </a:lnTo>
                  <a:lnTo>
                    <a:pt x="171" y="422"/>
                  </a:lnTo>
                  <a:lnTo>
                    <a:pt x="171" y="422"/>
                  </a:lnTo>
                  <a:lnTo>
                    <a:pt x="171" y="422"/>
                  </a:lnTo>
                  <a:lnTo>
                    <a:pt x="171" y="422"/>
                  </a:lnTo>
                  <a:lnTo>
                    <a:pt x="169" y="422"/>
                  </a:lnTo>
                  <a:lnTo>
                    <a:pt x="169" y="422"/>
                  </a:lnTo>
                  <a:lnTo>
                    <a:pt x="169" y="422"/>
                  </a:lnTo>
                  <a:lnTo>
                    <a:pt x="169" y="422"/>
                  </a:lnTo>
                  <a:lnTo>
                    <a:pt x="169" y="422"/>
                  </a:lnTo>
                  <a:lnTo>
                    <a:pt x="169" y="425"/>
                  </a:lnTo>
                  <a:lnTo>
                    <a:pt x="169" y="425"/>
                  </a:lnTo>
                  <a:lnTo>
                    <a:pt x="169" y="425"/>
                  </a:lnTo>
                  <a:lnTo>
                    <a:pt x="169" y="425"/>
                  </a:lnTo>
                  <a:lnTo>
                    <a:pt x="169" y="425"/>
                  </a:lnTo>
                  <a:lnTo>
                    <a:pt x="166" y="425"/>
                  </a:lnTo>
                  <a:lnTo>
                    <a:pt x="166" y="427"/>
                  </a:lnTo>
                  <a:lnTo>
                    <a:pt x="166" y="427"/>
                  </a:lnTo>
                  <a:lnTo>
                    <a:pt x="166" y="427"/>
                  </a:lnTo>
                  <a:lnTo>
                    <a:pt x="166" y="427"/>
                  </a:lnTo>
                  <a:lnTo>
                    <a:pt x="166" y="427"/>
                  </a:lnTo>
                  <a:lnTo>
                    <a:pt x="169" y="429"/>
                  </a:lnTo>
                  <a:lnTo>
                    <a:pt x="169" y="429"/>
                  </a:lnTo>
                  <a:lnTo>
                    <a:pt x="166" y="431"/>
                  </a:lnTo>
                  <a:lnTo>
                    <a:pt x="166" y="431"/>
                  </a:lnTo>
                  <a:lnTo>
                    <a:pt x="166" y="434"/>
                  </a:lnTo>
                  <a:lnTo>
                    <a:pt x="166" y="434"/>
                  </a:lnTo>
                  <a:lnTo>
                    <a:pt x="166" y="434"/>
                  </a:lnTo>
                  <a:lnTo>
                    <a:pt x="166" y="434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6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4" y="438"/>
                  </a:lnTo>
                  <a:lnTo>
                    <a:pt x="164" y="440"/>
                  </a:lnTo>
                  <a:lnTo>
                    <a:pt x="164" y="443"/>
                  </a:lnTo>
                  <a:lnTo>
                    <a:pt x="164" y="443"/>
                  </a:lnTo>
                  <a:lnTo>
                    <a:pt x="164" y="443"/>
                  </a:lnTo>
                  <a:lnTo>
                    <a:pt x="164" y="443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38"/>
                  </a:lnTo>
                  <a:lnTo>
                    <a:pt x="162" y="438"/>
                  </a:lnTo>
                  <a:lnTo>
                    <a:pt x="162" y="438"/>
                  </a:lnTo>
                  <a:lnTo>
                    <a:pt x="162" y="438"/>
                  </a:lnTo>
                  <a:lnTo>
                    <a:pt x="162" y="438"/>
                  </a:lnTo>
                  <a:lnTo>
                    <a:pt x="162" y="436"/>
                  </a:lnTo>
                  <a:lnTo>
                    <a:pt x="162" y="436"/>
                  </a:lnTo>
                  <a:lnTo>
                    <a:pt x="162" y="434"/>
                  </a:lnTo>
                  <a:lnTo>
                    <a:pt x="162" y="434"/>
                  </a:lnTo>
                  <a:lnTo>
                    <a:pt x="162" y="434"/>
                  </a:lnTo>
                  <a:lnTo>
                    <a:pt x="162" y="431"/>
                  </a:lnTo>
                  <a:lnTo>
                    <a:pt x="162" y="431"/>
                  </a:lnTo>
                  <a:lnTo>
                    <a:pt x="162" y="431"/>
                  </a:lnTo>
                  <a:lnTo>
                    <a:pt x="162" y="429"/>
                  </a:lnTo>
                  <a:lnTo>
                    <a:pt x="162" y="429"/>
                  </a:lnTo>
                  <a:lnTo>
                    <a:pt x="160" y="427"/>
                  </a:lnTo>
                  <a:lnTo>
                    <a:pt x="160" y="427"/>
                  </a:lnTo>
                  <a:lnTo>
                    <a:pt x="160" y="425"/>
                  </a:lnTo>
                  <a:lnTo>
                    <a:pt x="160" y="425"/>
                  </a:lnTo>
                  <a:lnTo>
                    <a:pt x="160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5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4" y="422"/>
                  </a:lnTo>
                  <a:lnTo>
                    <a:pt x="164" y="422"/>
                  </a:lnTo>
                  <a:lnTo>
                    <a:pt x="164" y="422"/>
                  </a:lnTo>
                  <a:lnTo>
                    <a:pt x="164" y="422"/>
                  </a:lnTo>
                  <a:lnTo>
                    <a:pt x="164" y="422"/>
                  </a:lnTo>
                  <a:lnTo>
                    <a:pt x="162" y="422"/>
                  </a:lnTo>
                  <a:lnTo>
                    <a:pt x="162" y="422"/>
                  </a:lnTo>
                  <a:lnTo>
                    <a:pt x="162" y="420"/>
                  </a:lnTo>
                  <a:lnTo>
                    <a:pt x="162" y="420"/>
                  </a:lnTo>
                  <a:lnTo>
                    <a:pt x="162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20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8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6"/>
                  </a:lnTo>
                  <a:lnTo>
                    <a:pt x="164" y="413"/>
                  </a:lnTo>
                  <a:lnTo>
                    <a:pt x="164" y="413"/>
                  </a:lnTo>
                  <a:lnTo>
                    <a:pt x="164" y="413"/>
                  </a:lnTo>
                  <a:lnTo>
                    <a:pt x="164" y="413"/>
                  </a:lnTo>
                  <a:lnTo>
                    <a:pt x="164" y="411"/>
                  </a:lnTo>
                  <a:lnTo>
                    <a:pt x="166" y="411"/>
                  </a:lnTo>
                  <a:lnTo>
                    <a:pt x="166" y="411"/>
                  </a:lnTo>
                  <a:lnTo>
                    <a:pt x="164" y="411"/>
                  </a:lnTo>
                  <a:lnTo>
                    <a:pt x="164" y="411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4" y="409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6" y="407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4" y="407"/>
                  </a:lnTo>
                  <a:lnTo>
                    <a:pt x="164" y="404"/>
                  </a:lnTo>
                  <a:lnTo>
                    <a:pt x="164" y="404"/>
                  </a:lnTo>
                  <a:lnTo>
                    <a:pt x="164" y="404"/>
                  </a:lnTo>
                  <a:lnTo>
                    <a:pt x="164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2"/>
                  </a:lnTo>
                  <a:lnTo>
                    <a:pt x="166" y="400"/>
                  </a:lnTo>
                  <a:lnTo>
                    <a:pt x="166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6" y="400"/>
                  </a:lnTo>
                  <a:lnTo>
                    <a:pt x="166" y="398"/>
                  </a:lnTo>
                  <a:lnTo>
                    <a:pt x="164" y="398"/>
                  </a:lnTo>
                  <a:lnTo>
                    <a:pt x="166" y="398"/>
                  </a:lnTo>
                  <a:lnTo>
                    <a:pt x="166" y="398"/>
                  </a:lnTo>
                  <a:lnTo>
                    <a:pt x="164" y="398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0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4" y="402"/>
                  </a:lnTo>
                  <a:lnTo>
                    <a:pt x="162" y="402"/>
                  </a:lnTo>
                  <a:lnTo>
                    <a:pt x="162" y="402"/>
                  </a:lnTo>
                  <a:lnTo>
                    <a:pt x="162" y="402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400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4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2" y="398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60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2" y="395"/>
                  </a:lnTo>
                  <a:lnTo>
                    <a:pt x="164" y="395"/>
                  </a:lnTo>
                  <a:lnTo>
                    <a:pt x="164" y="395"/>
                  </a:lnTo>
                  <a:lnTo>
                    <a:pt x="164" y="393"/>
                  </a:lnTo>
                  <a:lnTo>
                    <a:pt x="164" y="393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2" y="393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91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9"/>
                  </a:lnTo>
                  <a:lnTo>
                    <a:pt x="160" y="386"/>
                  </a:lnTo>
                  <a:lnTo>
                    <a:pt x="160" y="386"/>
                  </a:lnTo>
                  <a:lnTo>
                    <a:pt x="160" y="386"/>
                  </a:lnTo>
                  <a:lnTo>
                    <a:pt x="162" y="386"/>
                  </a:lnTo>
                  <a:lnTo>
                    <a:pt x="162" y="386"/>
                  </a:lnTo>
                  <a:lnTo>
                    <a:pt x="162" y="386"/>
                  </a:lnTo>
                  <a:lnTo>
                    <a:pt x="162" y="386"/>
                  </a:lnTo>
                  <a:lnTo>
                    <a:pt x="162" y="386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0" y="384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2" y="382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0" y="382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80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7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5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60" y="373"/>
                  </a:lnTo>
                  <a:lnTo>
                    <a:pt x="157" y="373"/>
                  </a:lnTo>
                  <a:lnTo>
                    <a:pt x="157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60" y="371"/>
                  </a:lnTo>
                  <a:lnTo>
                    <a:pt x="157" y="371"/>
                  </a:lnTo>
                  <a:lnTo>
                    <a:pt x="157" y="371"/>
                  </a:lnTo>
                  <a:lnTo>
                    <a:pt x="157" y="371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8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7" y="366"/>
                  </a:lnTo>
                  <a:lnTo>
                    <a:pt x="155" y="364"/>
                  </a:lnTo>
                  <a:lnTo>
                    <a:pt x="155" y="364"/>
                  </a:lnTo>
                  <a:lnTo>
                    <a:pt x="155" y="364"/>
                  </a:lnTo>
                  <a:lnTo>
                    <a:pt x="155" y="364"/>
                  </a:lnTo>
                  <a:lnTo>
                    <a:pt x="155" y="364"/>
                  </a:lnTo>
                  <a:lnTo>
                    <a:pt x="155" y="364"/>
                  </a:lnTo>
                  <a:lnTo>
                    <a:pt x="155" y="364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59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59"/>
                  </a:lnTo>
                  <a:lnTo>
                    <a:pt x="155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9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1" y="357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5"/>
                  </a:lnTo>
                  <a:lnTo>
                    <a:pt x="151" y="353"/>
                  </a:lnTo>
                  <a:lnTo>
                    <a:pt x="151" y="353"/>
                  </a:lnTo>
                  <a:lnTo>
                    <a:pt x="149" y="353"/>
                  </a:lnTo>
                  <a:lnTo>
                    <a:pt x="149" y="353"/>
                  </a:lnTo>
                  <a:lnTo>
                    <a:pt x="149" y="353"/>
                  </a:lnTo>
                  <a:lnTo>
                    <a:pt x="149" y="353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48"/>
                  </a:lnTo>
                  <a:lnTo>
                    <a:pt x="149" y="348"/>
                  </a:lnTo>
                  <a:lnTo>
                    <a:pt x="149" y="348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6" y="346"/>
                  </a:lnTo>
                  <a:lnTo>
                    <a:pt x="149" y="346"/>
                  </a:lnTo>
                  <a:lnTo>
                    <a:pt x="149" y="346"/>
                  </a:lnTo>
                  <a:lnTo>
                    <a:pt x="149" y="348"/>
                  </a:lnTo>
                  <a:lnTo>
                    <a:pt x="149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9" y="348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50"/>
                  </a:lnTo>
                  <a:lnTo>
                    <a:pt x="149" y="353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9" y="357"/>
                  </a:lnTo>
                  <a:lnTo>
                    <a:pt x="146" y="357"/>
                  </a:lnTo>
                  <a:lnTo>
                    <a:pt x="146" y="357"/>
                  </a:lnTo>
                  <a:lnTo>
                    <a:pt x="146" y="357"/>
                  </a:lnTo>
                  <a:lnTo>
                    <a:pt x="146" y="357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6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9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5"/>
                  </a:lnTo>
                  <a:lnTo>
                    <a:pt x="146" y="353"/>
                  </a:lnTo>
                  <a:lnTo>
                    <a:pt x="146" y="353"/>
                  </a:lnTo>
                  <a:lnTo>
                    <a:pt x="146" y="353"/>
                  </a:lnTo>
                  <a:lnTo>
                    <a:pt x="146" y="353"/>
                  </a:lnTo>
                  <a:lnTo>
                    <a:pt x="146" y="353"/>
                  </a:lnTo>
                  <a:lnTo>
                    <a:pt x="146" y="353"/>
                  </a:lnTo>
                  <a:lnTo>
                    <a:pt x="146" y="350"/>
                  </a:lnTo>
                  <a:lnTo>
                    <a:pt x="146" y="353"/>
                  </a:lnTo>
                  <a:lnTo>
                    <a:pt x="146" y="350"/>
                  </a:lnTo>
                  <a:lnTo>
                    <a:pt x="146" y="350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6" y="348"/>
                  </a:lnTo>
                  <a:lnTo>
                    <a:pt x="144" y="346"/>
                  </a:lnTo>
                  <a:lnTo>
                    <a:pt x="144" y="346"/>
                  </a:lnTo>
                  <a:lnTo>
                    <a:pt x="144" y="346"/>
                  </a:lnTo>
                  <a:lnTo>
                    <a:pt x="144" y="346"/>
                  </a:lnTo>
                  <a:lnTo>
                    <a:pt x="146" y="344"/>
                  </a:lnTo>
                  <a:lnTo>
                    <a:pt x="146" y="344"/>
                  </a:lnTo>
                  <a:lnTo>
                    <a:pt x="146" y="344"/>
                  </a:lnTo>
                  <a:lnTo>
                    <a:pt x="146" y="344"/>
                  </a:lnTo>
                  <a:lnTo>
                    <a:pt x="146" y="344"/>
                  </a:lnTo>
                  <a:lnTo>
                    <a:pt x="144" y="344"/>
                  </a:lnTo>
                  <a:lnTo>
                    <a:pt x="146" y="344"/>
                  </a:lnTo>
                  <a:lnTo>
                    <a:pt x="146" y="341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41"/>
                  </a:lnTo>
                  <a:lnTo>
                    <a:pt x="144" y="339"/>
                  </a:lnTo>
                  <a:lnTo>
                    <a:pt x="142" y="339"/>
                  </a:lnTo>
                  <a:lnTo>
                    <a:pt x="142" y="339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5"/>
                  </a:lnTo>
                  <a:lnTo>
                    <a:pt x="142" y="335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7"/>
                  </a:lnTo>
                  <a:lnTo>
                    <a:pt x="142" y="335"/>
                  </a:lnTo>
                  <a:lnTo>
                    <a:pt x="142" y="335"/>
                  </a:lnTo>
                  <a:lnTo>
                    <a:pt x="140" y="333"/>
                  </a:lnTo>
                  <a:lnTo>
                    <a:pt x="140" y="333"/>
                  </a:lnTo>
                  <a:lnTo>
                    <a:pt x="140" y="333"/>
                  </a:lnTo>
                  <a:lnTo>
                    <a:pt x="140" y="333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2" y="330"/>
                  </a:lnTo>
                  <a:lnTo>
                    <a:pt x="142" y="330"/>
                  </a:lnTo>
                  <a:lnTo>
                    <a:pt x="142" y="330"/>
                  </a:lnTo>
                  <a:lnTo>
                    <a:pt x="142" y="330"/>
                  </a:lnTo>
                  <a:lnTo>
                    <a:pt x="142" y="330"/>
                  </a:lnTo>
                  <a:lnTo>
                    <a:pt x="142" y="330"/>
                  </a:lnTo>
                  <a:lnTo>
                    <a:pt x="142" y="330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2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28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40" y="330"/>
                  </a:lnTo>
                  <a:lnTo>
                    <a:pt x="137" y="330"/>
                  </a:lnTo>
                  <a:lnTo>
                    <a:pt x="137" y="328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6"/>
                  </a:lnTo>
                  <a:lnTo>
                    <a:pt x="137" y="324"/>
                  </a:lnTo>
                  <a:lnTo>
                    <a:pt x="137" y="324"/>
                  </a:lnTo>
                  <a:lnTo>
                    <a:pt x="137" y="324"/>
                  </a:lnTo>
                  <a:lnTo>
                    <a:pt x="137" y="324"/>
                  </a:lnTo>
                  <a:lnTo>
                    <a:pt x="137" y="324"/>
                  </a:lnTo>
                  <a:lnTo>
                    <a:pt x="137" y="324"/>
                  </a:lnTo>
                  <a:lnTo>
                    <a:pt x="137" y="324"/>
                  </a:lnTo>
                  <a:lnTo>
                    <a:pt x="135" y="324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21"/>
                  </a:lnTo>
                  <a:lnTo>
                    <a:pt x="137" y="319"/>
                  </a:lnTo>
                  <a:lnTo>
                    <a:pt x="137" y="319"/>
                  </a:lnTo>
                  <a:lnTo>
                    <a:pt x="137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7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5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2"/>
                  </a:lnTo>
                  <a:lnTo>
                    <a:pt x="135" y="310"/>
                  </a:lnTo>
                  <a:lnTo>
                    <a:pt x="135" y="310"/>
                  </a:lnTo>
                  <a:lnTo>
                    <a:pt x="135" y="310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8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6"/>
                  </a:lnTo>
                  <a:lnTo>
                    <a:pt x="133" y="303"/>
                  </a:lnTo>
                  <a:lnTo>
                    <a:pt x="133" y="303"/>
                  </a:lnTo>
                  <a:lnTo>
                    <a:pt x="133" y="303"/>
                  </a:lnTo>
                  <a:lnTo>
                    <a:pt x="133" y="303"/>
                  </a:lnTo>
                  <a:lnTo>
                    <a:pt x="133" y="301"/>
                  </a:lnTo>
                  <a:lnTo>
                    <a:pt x="133" y="301"/>
                  </a:lnTo>
                  <a:lnTo>
                    <a:pt x="131" y="301"/>
                  </a:lnTo>
                  <a:lnTo>
                    <a:pt x="131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8" y="299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31" y="297"/>
                  </a:lnTo>
                  <a:lnTo>
                    <a:pt x="131" y="297"/>
                  </a:lnTo>
                  <a:lnTo>
                    <a:pt x="131" y="297"/>
                  </a:lnTo>
                  <a:lnTo>
                    <a:pt x="131" y="294"/>
                  </a:lnTo>
                  <a:lnTo>
                    <a:pt x="131" y="292"/>
                  </a:lnTo>
                  <a:lnTo>
                    <a:pt x="131" y="292"/>
                  </a:lnTo>
                  <a:lnTo>
                    <a:pt x="131" y="292"/>
                  </a:lnTo>
                  <a:lnTo>
                    <a:pt x="131" y="292"/>
                  </a:lnTo>
                  <a:lnTo>
                    <a:pt x="131" y="292"/>
                  </a:lnTo>
                  <a:lnTo>
                    <a:pt x="128" y="290"/>
                  </a:lnTo>
                  <a:lnTo>
                    <a:pt x="128" y="290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28" y="288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31" y="285"/>
                  </a:lnTo>
                  <a:lnTo>
                    <a:pt x="128" y="285"/>
                  </a:lnTo>
                  <a:lnTo>
                    <a:pt x="128" y="285"/>
                  </a:lnTo>
                  <a:lnTo>
                    <a:pt x="128" y="285"/>
                  </a:lnTo>
                  <a:lnTo>
                    <a:pt x="126" y="285"/>
                  </a:lnTo>
                  <a:lnTo>
                    <a:pt x="126" y="285"/>
                  </a:lnTo>
                  <a:lnTo>
                    <a:pt x="126" y="285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6" y="288"/>
                  </a:lnTo>
                  <a:lnTo>
                    <a:pt x="124" y="288"/>
                  </a:lnTo>
                  <a:lnTo>
                    <a:pt x="124" y="288"/>
                  </a:lnTo>
                  <a:lnTo>
                    <a:pt x="124" y="288"/>
                  </a:lnTo>
                  <a:lnTo>
                    <a:pt x="124" y="288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3"/>
                  </a:lnTo>
                  <a:lnTo>
                    <a:pt x="122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81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9"/>
                  </a:lnTo>
                  <a:lnTo>
                    <a:pt x="119" y="276"/>
                  </a:lnTo>
                  <a:lnTo>
                    <a:pt x="119" y="276"/>
                  </a:lnTo>
                  <a:lnTo>
                    <a:pt x="119" y="276"/>
                  </a:lnTo>
                  <a:lnTo>
                    <a:pt x="119" y="274"/>
                  </a:lnTo>
                  <a:lnTo>
                    <a:pt x="117" y="274"/>
                  </a:lnTo>
                  <a:lnTo>
                    <a:pt x="117" y="274"/>
                  </a:lnTo>
                  <a:lnTo>
                    <a:pt x="117" y="274"/>
                  </a:lnTo>
                  <a:lnTo>
                    <a:pt x="117" y="274"/>
                  </a:lnTo>
                  <a:lnTo>
                    <a:pt x="117" y="274"/>
                  </a:lnTo>
                  <a:lnTo>
                    <a:pt x="117" y="274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9" y="274"/>
                  </a:lnTo>
                  <a:lnTo>
                    <a:pt x="119" y="272"/>
                  </a:lnTo>
                  <a:lnTo>
                    <a:pt x="119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2"/>
                  </a:lnTo>
                  <a:lnTo>
                    <a:pt x="117" y="274"/>
                  </a:lnTo>
                  <a:lnTo>
                    <a:pt x="117" y="272"/>
                  </a:lnTo>
                  <a:lnTo>
                    <a:pt x="115" y="272"/>
                  </a:lnTo>
                  <a:lnTo>
                    <a:pt x="115" y="272"/>
                  </a:lnTo>
                  <a:lnTo>
                    <a:pt x="115" y="272"/>
                  </a:lnTo>
                  <a:lnTo>
                    <a:pt x="115" y="272"/>
                  </a:lnTo>
                  <a:lnTo>
                    <a:pt x="115" y="270"/>
                  </a:lnTo>
                  <a:lnTo>
                    <a:pt x="115" y="270"/>
                  </a:lnTo>
                  <a:lnTo>
                    <a:pt x="115" y="270"/>
                  </a:lnTo>
                  <a:lnTo>
                    <a:pt x="115" y="270"/>
                  </a:lnTo>
                  <a:lnTo>
                    <a:pt x="115" y="270"/>
                  </a:lnTo>
                  <a:lnTo>
                    <a:pt x="115" y="270"/>
                  </a:lnTo>
                  <a:lnTo>
                    <a:pt x="113" y="270"/>
                  </a:lnTo>
                  <a:lnTo>
                    <a:pt x="113" y="267"/>
                  </a:lnTo>
                  <a:lnTo>
                    <a:pt x="110" y="267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5"/>
                  </a:lnTo>
                  <a:lnTo>
                    <a:pt x="110" y="267"/>
                  </a:lnTo>
                  <a:lnTo>
                    <a:pt x="110" y="267"/>
                  </a:lnTo>
                  <a:lnTo>
                    <a:pt x="110" y="267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70"/>
                  </a:lnTo>
                  <a:lnTo>
                    <a:pt x="110" y="272"/>
                  </a:lnTo>
                  <a:lnTo>
                    <a:pt x="113" y="272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4"/>
                  </a:lnTo>
                  <a:lnTo>
                    <a:pt x="113" y="276"/>
                  </a:lnTo>
                  <a:lnTo>
                    <a:pt x="113" y="276"/>
                  </a:lnTo>
                  <a:lnTo>
                    <a:pt x="113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0" y="276"/>
                  </a:lnTo>
                  <a:lnTo>
                    <a:pt x="113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6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3" y="279"/>
                  </a:lnTo>
                  <a:lnTo>
                    <a:pt x="113" y="279"/>
                  </a:lnTo>
                  <a:lnTo>
                    <a:pt x="110" y="279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81"/>
                  </a:lnTo>
                  <a:lnTo>
                    <a:pt x="110" y="283"/>
                  </a:lnTo>
                  <a:lnTo>
                    <a:pt x="110" y="283"/>
                  </a:lnTo>
                  <a:lnTo>
                    <a:pt x="110" y="283"/>
                  </a:lnTo>
                  <a:lnTo>
                    <a:pt x="110" y="283"/>
                  </a:lnTo>
                  <a:lnTo>
                    <a:pt x="108" y="283"/>
                  </a:lnTo>
                  <a:lnTo>
                    <a:pt x="108" y="285"/>
                  </a:lnTo>
                  <a:lnTo>
                    <a:pt x="108" y="285"/>
                  </a:lnTo>
                  <a:lnTo>
                    <a:pt x="108" y="285"/>
                  </a:lnTo>
                  <a:lnTo>
                    <a:pt x="108" y="285"/>
                  </a:lnTo>
                  <a:lnTo>
                    <a:pt x="108" y="285"/>
                  </a:lnTo>
                  <a:lnTo>
                    <a:pt x="106" y="288"/>
                  </a:lnTo>
                  <a:lnTo>
                    <a:pt x="106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4" y="288"/>
                  </a:lnTo>
                  <a:lnTo>
                    <a:pt x="101" y="288"/>
                  </a:lnTo>
                  <a:lnTo>
                    <a:pt x="101" y="285"/>
                  </a:lnTo>
                  <a:lnTo>
                    <a:pt x="101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79"/>
                  </a:lnTo>
                  <a:lnTo>
                    <a:pt x="99" y="281"/>
                  </a:lnTo>
                  <a:lnTo>
                    <a:pt x="97" y="281"/>
                  </a:lnTo>
                  <a:lnTo>
                    <a:pt x="97" y="281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9" y="283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99" y="285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1" y="288"/>
                  </a:lnTo>
                  <a:lnTo>
                    <a:pt x="101" y="290"/>
                  </a:lnTo>
                  <a:lnTo>
                    <a:pt x="101" y="290"/>
                  </a:lnTo>
                  <a:lnTo>
                    <a:pt x="101" y="290"/>
                  </a:lnTo>
                  <a:lnTo>
                    <a:pt x="99" y="290"/>
                  </a:lnTo>
                  <a:lnTo>
                    <a:pt x="99" y="292"/>
                  </a:lnTo>
                  <a:lnTo>
                    <a:pt x="99" y="292"/>
                  </a:lnTo>
                  <a:lnTo>
                    <a:pt x="97" y="292"/>
                  </a:lnTo>
                  <a:lnTo>
                    <a:pt x="97" y="292"/>
                  </a:lnTo>
                  <a:lnTo>
                    <a:pt x="97" y="290"/>
                  </a:lnTo>
                  <a:lnTo>
                    <a:pt x="97" y="290"/>
                  </a:lnTo>
                  <a:lnTo>
                    <a:pt x="95" y="290"/>
                  </a:lnTo>
                  <a:lnTo>
                    <a:pt x="97" y="292"/>
                  </a:lnTo>
                  <a:lnTo>
                    <a:pt x="97" y="292"/>
                  </a:lnTo>
                  <a:lnTo>
                    <a:pt x="97" y="292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5" y="292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5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94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0" y="297"/>
                  </a:lnTo>
                  <a:lnTo>
                    <a:pt x="90" y="294"/>
                  </a:lnTo>
                  <a:lnTo>
                    <a:pt x="90" y="294"/>
                  </a:lnTo>
                  <a:lnTo>
                    <a:pt x="90" y="294"/>
                  </a:lnTo>
                  <a:lnTo>
                    <a:pt x="90" y="294"/>
                  </a:lnTo>
                  <a:lnTo>
                    <a:pt x="90" y="294"/>
                  </a:lnTo>
                  <a:lnTo>
                    <a:pt x="90" y="297"/>
                  </a:lnTo>
                  <a:lnTo>
                    <a:pt x="90" y="297"/>
                  </a:lnTo>
                  <a:lnTo>
                    <a:pt x="90" y="297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301"/>
                  </a:lnTo>
                  <a:lnTo>
                    <a:pt x="88" y="303"/>
                  </a:lnTo>
                  <a:lnTo>
                    <a:pt x="86" y="306"/>
                  </a:lnTo>
                  <a:lnTo>
                    <a:pt x="86" y="306"/>
                  </a:lnTo>
                  <a:lnTo>
                    <a:pt x="86" y="306"/>
                  </a:lnTo>
                  <a:lnTo>
                    <a:pt x="86" y="306"/>
                  </a:lnTo>
                  <a:lnTo>
                    <a:pt x="83" y="306"/>
                  </a:lnTo>
                  <a:lnTo>
                    <a:pt x="83" y="306"/>
                  </a:lnTo>
                  <a:lnTo>
                    <a:pt x="83" y="306"/>
                  </a:lnTo>
                  <a:lnTo>
                    <a:pt x="83" y="306"/>
                  </a:lnTo>
                  <a:lnTo>
                    <a:pt x="81" y="303"/>
                  </a:lnTo>
                  <a:lnTo>
                    <a:pt x="81" y="303"/>
                  </a:lnTo>
                  <a:lnTo>
                    <a:pt x="83" y="303"/>
                  </a:lnTo>
                  <a:lnTo>
                    <a:pt x="83" y="303"/>
                  </a:lnTo>
                  <a:lnTo>
                    <a:pt x="83" y="301"/>
                  </a:lnTo>
                  <a:lnTo>
                    <a:pt x="83" y="301"/>
                  </a:lnTo>
                  <a:lnTo>
                    <a:pt x="83" y="301"/>
                  </a:lnTo>
                  <a:lnTo>
                    <a:pt x="83" y="301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83" y="297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1" y="301"/>
                  </a:lnTo>
                  <a:lnTo>
                    <a:pt x="81" y="301"/>
                  </a:lnTo>
                  <a:lnTo>
                    <a:pt x="81" y="301"/>
                  </a:lnTo>
                  <a:lnTo>
                    <a:pt x="81" y="303"/>
                  </a:lnTo>
                  <a:lnTo>
                    <a:pt x="81" y="301"/>
                  </a:lnTo>
                  <a:lnTo>
                    <a:pt x="81" y="301"/>
                  </a:lnTo>
                  <a:lnTo>
                    <a:pt x="81" y="301"/>
                  </a:lnTo>
                  <a:lnTo>
                    <a:pt x="81" y="299"/>
                  </a:lnTo>
                  <a:lnTo>
                    <a:pt x="81" y="299"/>
                  </a:lnTo>
                  <a:lnTo>
                    <a:pt x="81" y="301"/>
                  </a:lnTo>
                  <a:lnTo>
                    <a:pt x="81" y="301"/>
                  </a:lnTo>
                  <a:lnTo>
                    <a:pt x="81" y="301"/>
                  </a:lnTo>
                  <a:lnTo>
                    <a:pt x="81" y="303"/>
                  </a:lnTo>
                  <a:lnTo>
                    <a:pt x="81" y="303"/>
                  </a:lnTo>
                  <a:lnTo>
                    <a:pt x="79" y="303"/>
                  </a:lnTo>
                  <a:lnTo>
                    <a:pt x="79" y="303"/>
                  </a:lnTo>
                  <a:lnTo>
                    <a:pt x="79" y="303"/>
                  </a:lnTo>
                  <a:lnTo>
                    <a:pt x="79" y="303"/>
                  </a:lnTo>
                  <a:lnTo>
                    <a:pt x="79" y="301"/>
                  </a:lnTo>
                  <a:lnTo>
                    <a:pt x="79" y="299"/>
                  </a:lnTo>
                  <a:lnTo>
                    <a:pt x="79" y="299"/>
                  </a:lnTo>
                  <a:lnTo>
                    <a:pt x="79" y="299"/>
                  </a:lnTo>
                  <a:lnTo>
                    <a:pt x="77" y="299"/>
                  </a:lnTo>
                  <a:lnTo>
                    <a:pt x="77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9" y="297"/>
                  </a:lnTo>
                  <a:lnTo>
                    <a:pt x="77" y="297"/>
                  </a:lnTo>
                  <a:lnTo>
                    <a:pt x="77" y="297"/>
                  </a:lnTo>
                  <a:lnTo>
                    <a:pt x="77" y="299"/>
                  </a:lnTo>
                  <a:lnTo>
                    <a:pt x="77" y="299"/>
                  </a:lnTo>
                  <a:lnTo>
                    <a:pt x="77" y="299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3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74" y="306"/>
                  </a:lnTo>
                  <a:lnTo>
                    <a:pt x="74" y="306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2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4" y="303"/>
                  </a:lnTo>
                  <a:lnTo>
                    <a:pt x="72" y="303"/>
                  </a:lnTo>
                  <a:lnTo>
                    <a:pt x="72" y="303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4" y="299"/>
                  </a:lnTo>
                  <a:lnTo>
                    <a:pt x="72" y="299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4"/>
                  </a:lnTo>
                  <a:lnTo>
                    <a:pt x="72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2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4" y="294"/>
                  </a:lnTo>
                  <a:lnTo>
                    <a:pt x="72" y="294"/>
                  </a:lnTo>
                  <a:lnTo>
                    <a:pt x="72" y="294"/>
                  </a:lnTo>
                  <a:lnTo>
                    <a:pt x="72" y="294"/>
                  </a:lnTo>
                  <a:lnTo>
                    <a:pt x="72" y="294"/>
                  </a:lnTo>
                  <a:lnTo>
                    <a:pt x="72" y="294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7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299"/>
                  </a:lnTo>
                  <a:lnTo>
                    <a:pt x="72" y="301"/>
                  </a:lnTo>
                  <a:lnTo>
                    <a:pt x="72" y="301"/>
                  </a:lnTo>
                  <a:lnTo>
                    <a:pt x="70" y="301"/>
                  </a:lnTo>
                  <a:lnTo>
                    <a:pt x="70" y="303"/>
                  </a:lnTo>
                  <a:lnTo>
                    <a:pt x="70" y="303"/>
                  </a:lnTo>
                  <a:lnTo>
                    <a:pt x="70" y="303"/>
                  </a:lnTo>
                  <a:lnTo>
                    <a:pt x="70" y="303"/>
                  </a:lnTo>
                  <a:lnTo>
                    <a:pt x="70" y="303"/>
                  </a:lnTo>
                  <a:lnTo>
                    <a:pt x="68" y="303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70" y="301"/>
                  </a:lnTo>
                  <a:lnTo>
                    <a:pt x="70" y="299"/>
                  </a:lnTo>
                  <a:lnTo>
                    <a:pt x="70" y="299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4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7"/>
                  </a:lnTo>
                  <a:lnTo>
                    <a:pt x="70" y="299"/>
                  </a:lnTo>
                  <a:lnTo>
                    <a:pt x="70" y="299"/>
                  </a:lnTo>
                  <a:lnTo>
                    <a:pt x="70" y="299"/>
                  </a:lnTo>
                  <a:lnTo>
                    <a:pt x="70" y="299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301"/>
                  </a:lnTo>
                  <a:lnTo>
                    <a:pt x="68" y="299"/>
                  </a:lnTo>
                  <a:lnTo>
                    <a:pt x="68" y="299"/>
                  </a:lnTo>
                  <a:lnTo>
                    <a:pt x="68" y="297"/>
                  </a:lnTo>
                  <a:lnTo>
                    <a:pt x="68" y="297"/>
                  </a:lnTo>
                  <a:lnTo>
                    <a:pt x="68" y="294"/>
                  </a:lnTo>
                  <a:lnTo>
                    <a:pt x="68" y="294"/>
                  </a:lnTo>
                  <a:lnTo>
                    <a:pt x="68" y="294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70" y="290"/>
                  </a:lnTo>
                  <a:lnTo>
                    <a:pt x="70" y="290"/>
                  </a:lnTo>
                  <a:lnTo>
                    <a:pt x="70" y="290"/>
                  </a:lnTo>
                  <a:lnTo>
                    <a:pt x="70" y="290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8"/>
                  </a:lnTo>
                  <a:lnTo>
                    <a:pt x="68" y="285"/>
                  </a:lnTo>
                  <a:lnTo>
                    <a:pt x="68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8" y="294"/>
                  </a:lnTo>
                  <a:lnTo>
                    <a:pt x="65" y="294"/>
                  </a:lnTo>
                  <a:lnTo>
                    <a:pt x="65" y="294"/>
                  </a:lnTo>
                  <a:lnTo>
                    <a:pt x="65" y="292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68" y="292"/>
                  </a:lnTo>
                  <a:lnTo>
                    <a:pt x="68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2"/>
                  </a:lnTo>
                  <a:lnTo>
                    <a:pt x="65" y="294"/>
                  </a:lnTo>
                  <a:lnTo>
                    <a:pt x="65" y="294"/>
                  </a:lnTo>
                  <a:lnTo>
                    <a:pt x="65" y="294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3" y="297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59" y="299"/>
                  </a:lnTo>
                  <a:lnTo>
                    <a:pt x="59" y="299"/>
                  </a:lnTo>
                  <a:lnTo>
                    <a:pt x="59" y="299"/>
                  </a:lnTo>
                  <a:lnTo>
                    <a:pt x="59" y="294"/>
                  </a:lnTo>
                  <a:lnTo>
                    <a:pt x="59" y="292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9" y="288"/>
                  </a:lnTo>
                  <a:lnTo>
                    <a:pt x="59" y="288"/>
                  </a:lnTo>
                  <a:lnTo>
                    <a:pt x="59" y="285"/>
                  </a:lnTo>
                  <a:lnTo>
                    <a:pt x="61" y="288"/>
                  </a:lnTo>
                  <a:lnTo>
                    <a:pt x="61" y="288"/>
                  </a:lnTo>
                  <a:lnTo>
                    <a:pt x="61" y="285"/>
                  </a:lnTo>
                  <a:lnTo>
                    <a:pt x="61" y="285"/>
                  </a:lnTo>
                  <a:lnTo>
                    <a:pt x="61" y="285"/>
                  </a:lnTo>
                  <a:lnTo>
                    <a:pt x="61" y="285"/>
                  </a:lnTo>
                  <a:lnTo>
                    <a:pt x="61" y="285"/>
                  </a:lnTo>
                  <a:lnTo>
                    <a:pt x="61" y="285"/>
                  </a:lnTo>
                  <a:lnTo>
                    <a:pt x="61" y="283"/>
                  </a:lnTo>
                  <a:lnTo>
                    <a:pt x="61" y="283"/>
                  </a:lnTo>
                  <a:lnTo>
                    <a:pt x="61" y="283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81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9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1" y="276"/>
                  </a:lnTo>
                  <a:lnTo>
                    <a:pt x="61" y="274"/>
                  </a:lnTo>
                  <a:lnTo>
                    <a:pt x="61" y="274"/>
                  </a:lnTo>
                  <a:lnTo>
                    <a:pt x="61" y="274"/>
                  </a:lnTo>
                  <a:lnTo>
                    <a:pt x="61" y="274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1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1" y="270"/>
                  </a:lnTo>
                  <a:lnTo>
                    <a:pt x="61" y="270"/>
                  </a:lnTo>
                  <a:lnTo>
                    <a:pt x="61" y="270"/>
                  </a:lnTo>
                  <a:lnTo>
                    <a:pt x="61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1"/>
                  </a:lnTo>
                  <a:lnTo>
                    <a:pt x="63" y="261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1" y="261"/>
                  </a:lnTo>
                  <a:lnTo>
                    <a:pt x="61" y="261"/>
                  </a:lnTo>
                  <a:lnTo>
                    <a:pt x="61" y="258"/>
                  </a:lnTo>
                  <a:lnTo>
                    <a:pt x="61" y="258"/>
                  </a:lnTo>
                  <a:lnTo>
                    <a:pt x="61" y="258"/>
                  </a:lnTo>
                  <a:lnTo>
                    <a:pt x="61" y="256"/>
                  </a:lnTo>
                  <a:lnTo>
                    <a:pt x="59" y="256"/>
                  </a:lnTo>
                  <a:lnTo>
                    <a:pt x="59" y="254"/>
                  </a:lnTo>
                  <a:lnTo>
                    <a:pt x="59" y="254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9" y="252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6" y="247"/>
                  </a:lnTo>
                  <a:lnTo>
                    <a:pt x="56" y="247"/>
                  </a:lnTo>
                  <a:lnTo>
                    <a:pt x="56" y="247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4" y="245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6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8"/>
                  </a:lnTo>
                  <a:lnTo>
                    <a:pt x="52" y="236"/>
                  </a:lnTo>
                  <a:lnTo>
                    <a:pt x="52" y="236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50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31"/>
                  </a:lnTo>
                  <a:lnTo>
                    <a:pt x="47" y="229"/>
                  </a:lnTo>
                  <a:lnTo>
                    <a:pt x="47" y="229"/>
                  </a:lnTo>
                  <a:lnTo>
                    <a:pt x="47" y="229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7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7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5" y="220"/>
                  </a:lnTo>
                  <a:lnTo>
                    <a:pt x="45" y="220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3" y="225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3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5"/>
                  </a:lnTo>
                  <a:lnTo>
                    <a:pt x="45" y="227"/>
                  </a:lnTo>
                  <a:lnTo>
                    <a:pt x="45" y="227"/>
                  </a:lnTo>
                  <a:lnTo>
                    <a:pt x="45" y="227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29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5" y="231"/>
                  </a:lnTo>
                  <a:lnTo>
                    <a:pt x="43" y="229"/>
                  </a:lnTo>
                  <a:lnTo>
                    <a:pt x="43" y="229"/>
                  </a:lnTo>
                  <a:lnTo>
                    <a:pt x="41" y="229"/>
                  </a:lnTo>
                  <a:lnTo>
                    <a:pt x="41" y="229"/>
                  </a:lnTo>
                  <a:lnTo>
                    <a:pt x="41" y="229"/>
                  </a:lnTo>
                  <a:lnTo>
                    <a:pt x="41" y="227"/>
                  </a:lnTo>
                  <a:lnTo>
                    <a:pt x="41" y="227"/>
                  </a:lnTo>
                  <a:lnTo>
                    <a:pt x="41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7"/>
                  </a:lnTo>
                  <a:lnTo>
                    <a:pt x="38" y="225"/>
                  </a:lnTo>
                  <a:lnTo>
                    <a:pt x="38" y="225"/>
                  </a:lnTo>
                  <a:lnTo>
                    <a:pt x="38" y="225"/>
                  </a:lnTo>
                  <a:lnTo>
                    <a:pt x="38" y="225"/>
                  </a:lnTo>
                  <a:lnTo>
                    <a:pt x="38" y="225"/>
                  </a:lnTo>
                  <a:lnTo>
                    <a:pt x="36" y="225"/>
                  </a:lnTo>
                  <a:lnTo>
                    <a:pt x="36" y="222"/>
                  </a:lnTo>
                  <a:lnTo>
                    <a:pt x="36" y="222"/>
                  </a:lnTo>
                  <a:lnTo>
                    <a:pt x="36" y="222"/>
                  </a:lnTo>
                  <a:lnTo>
                    <a:pt x="34" y="220"/>
                  </a:lnTo>
                  <a:lnTo>
                    <a:pt x="34" y="220"/>
                  </a:lnTo>
                  <a:lnTo>
                    <a:pt x="34" y="220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4" y="218"/>
                  </a:lnTo>
                  <a:lnTo>
                    <a:pt x="36" y="218"/>
                  </a:lnTo>
                  <a:lnTo>
                    <a:pt x="36" y="218"/>
                  </a:lnTo>
                  <a:lnTo>
                    <a:pt x="36" y="218"/>
                  </a:lnTo>
                  <a:lnTo>
                    <a:pt x="36" y="218"/>
                  </a:lnTo>
                  <a:lnTo>
                    <a:pt x="36" y="218"/>
                  </a:lnTo>
                  <a:lnTo>
                    <a:pt x="36" y="218"/>
                  </a:lnTo>
                  <a:lnTo>
                    <a:pt x="36" y="220"/>
                  </a:lnTo>
                  <a:lnTo>
                    <a:pt x="36" y="220"/>
                  </a:lnTo>
                  <a:lnTo>
                    <a:pt x="38" y="220"/>
                  </a:lnTo>
                  <a:lnTo>
                    <a:pt x="38" y="220"/>
                  </a:lnTo>
                  <a:lnTo>
                    <a:pt x="38" y="220"/>
                  </a:lnTo>
                  <a:lnTo>
                    <a:pt x="38" y="220"/>
                  </a:lnTo>
                  <a:lnTo>
                    <a:pt x="41" y="222"/>
                  </a:lnTo>
                  <a:lnTo>
                    <a:pt x="41" y="222"/>
                  </a:lnTo>
                  <a:lnTo>
                    <a:pt x="41" y="222"/>
                  </a:lnTo>
                  <a:lnTo>
                    <a:pt x="43" y="222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3" y="220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5" y="218"/>
                  </a:lnTo>
                  <a:lnTo>
                    <a:pt x="43" y="218"/>
                  </a:lnTo>
                  <a:lnTo>
                    <a:pt x="43" y="218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6"/>
                  </a:lnTo>
                  <a:lnTo>
                    <a:pt x="41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3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41" y="211"/>
                  </a:lnTo>
                  <a:lnTo>
                    <a:pt x="38" y="211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6" y="209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09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4" y="209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8" y="207"/>
                  </a:lnTo>
                  <a:lnTo>
                    <a:pt x="36" y="207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4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6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7"/>
                  </a:lnTo>
                  <a:lnTo>
                    <a:pt x="34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32" y="204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29" y="204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7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2"/>
                  </a:lnTo>
                  <a:lnTo>
                    <a:pt x="25" y="204"/>
                  </a:lnTo>
                  <a:lnTo>
                    <a:pt x="27" y="207"/>
                  </a:lnTo>
                  <a:lnTo>
                    <a:pt x="27" y="209"/>
                  </a:lnTo>
                  <a:lnTo>
                    <a:pt x="27" y="207"/>
                  </a:lnTo>
                  <a:lnTo>
                    <a:pt x="27" y="207"/>
                  </a:lnTo>
                  <a:lnTo>
                    <a:pt x="25" y="207"/>
                  </a:lnTo>
                  <a:lnTo>
                    <a:pt x="25" y="204"/>
                  </a:lnTo>
                  <a:lnTo>
                    <a:pt x="25" y="204"/>
                  </a:lnTo>
                  <a:lnTo>
                    <a:pt x="25" y="204"/>
                  </a:lnTo>
                  <a:lnTo>
                    <a:pt x="25" y="204"/>
                  </a:lnTo>
                  <a:lnTo>
                    <a:pt x="25" y="204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5" y="209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4" name="Freeform 632"/>
            <p:cNvSpPr>
              <a:spLocks/>
            </p:cNvSpPr>
            <p:nvPr/>
          </p:nvSpPr>
          <p:spPr bwMode="auto">
            <a:xfrm>
              <a:off x="5452024" y="3367382"/>
              <a:ext cx="274114" cy="225642"/>
            </a:xfrm>
            <a:custGeom>
              <a:avLst/>
              <a:gdLst>
                <a:gd name="T0" fmla="*/ 117 w 164"/>
                <a:gd name="T1" fmla="*/ 12 h 135"/>
                <a:gd name="T2" fmla="*/ 124 w 164"/>
                <a:gd name="T3" fmla="*/ 23 h 135"/>
                <a:gd name="T4" fmla="*/ 124 w 164"/>
                <a:gd name="T5" fmla="*/ 27 h 135"/>
                <a:gd name="T6" fmla="*/ 131 w 164"/>
                <a:gd name="T7" fmla="*/ 34 h 135"/>
                <a:gd name="T8" fmla="*/ 140 w 164"/>
                <a:gd name="T9" fmla="*/ 41 h 135"/>
                <a:gd name="T10" fmla="*/ 135 w 164"/>
                <a:gd name="T11" fmla="*/ 41 h 135"/>
                <a:gd name="T12" fmla="*/ 151 w 164"/>
                <a:gd name="T13" fmla="*/ 59 h 135"/>
                <a:gd name="T14" fmla="*/ 160 w 164"/>
                <a:gd name="T15" fmla="*/ 56 h 135"/>
                <a:gd name="T16" fmla="*/ 162 w 164"/>
                <a:gd name="T17" fmla="*/ 63 h 135"/>
                <a:gd name="T18" fmla="*/ 162 w 164"/>
                <a:gd name="T19" fmla="*/ 72 h 135"/>
                <a:gd name="T20" fmla="*/ 155 w 164"/>
                <a:gd name="T21" fmla="*/ 86 h 135"/>
                <a:gd name="T22" fmla="*/ 149 w 164"/>
                <a:gd name="T23" fmla="*/ 86 h 135"/>
                <a:gd name="T24" fmla="*/ 144 w 164"/>
                <a:gd name="T25" fmla="*/ 90 h 135"/>
                <a:gd name="T26" fmla="*/ 140 w 164"/>
                <a:gd name="T27" fmla="*/ 90 h 135"/>
                <a:gd name="T28" fmla="*/ 137 w 164"/>
                <a:gd name="T29" fmla="*/ 92 h 135"/>
                <a:gd name="T30" fmla="*/ 137 w 164"/>
                <a:gd name="T31" fmla="*/ 95 h 135"/>
                <a:gd name="T32" fmla="*/ 137 w 164"/>
                <a:gd name="T33" fmla="*/ 95 h 135"/>
                <a:gd name="T34" fmla="*/ 135 w 164"/>
                <a:gd name="T35" fmla="*/ 97 h 135"/>
                <a:gd name="T36" fmla="*/ 122 w 164"/>
                <a:gd name="T37" fmla="*/ 97 h 135"/>
                <a:gd name="T38" fmla="*/ 106 w 164"/>
                <a:gd name="T39" fmla="*/ 97 h 135"/>
                <a:gd name="T40" fmla="*/ 101 w 164"/>
                <a:gd name="T41" fmla="*/ 97 h 135"/>
                <a:gd name="T42" fmla="*/ 97 w 164"/>
                <a:gd name="T43" fmla="*/ 97 h 135"/>
                <a:gd name="T44" fmla="*/ 79 w 164"/>
                <a:gd name="T45" fmla="*/ 97 h 135"/>
                <a:gd name="T46" fmla="*/ 54 w 164"/>
                <a:gd name="T47" fmla="*/ 101 h 135"/>
                <a:gd name="T48" fmla="*/ 54 w 164"/>
                <a:gd name="T49" fmla="*/ 106 h 135"/>
                <a:gd name="T50" fmla="*/ 56 w 164"/>
                <a:gd name="T51" fmla="*/ 110 h 135"/>
                <a:gd name="T52" fmla="*/ 56 w 164"/>
                <a:gd name="T53" fmla="*/ 115 h 135"/>
                <a:gd name="T54" fmla="*/ 56 w 164"/>
                <a:gd name="T55" fmla="*/ 124 h 135"/>
                <a:gd name="T56" fmla="*/ 56 w 164"/>
                <a:gd name="T57" fmla="*/ 131 h 135"/>
                <a:gd name="T58" fmla="*/ 52 w 164"/>
                <a:gd name="T59" fmla="*/ 128 h 135"/>
                <a:gd name="T60" fmla="*/ 45 w 164"/>
                <a:gd name="T61" fmla="*/ 124 h 135"/>
                <a:gd name="T62" fmla="*/ 38 w 164"/>
                <a:gd name="T63" fmla="*/ 122 h 135"/>
                <a:gd name="T64" fmla="*/ 32 w 164"/>
                <a:gd name="T65" fmla="*/ 124 h 135"/>
                <a:gd name="T66" fmla="*/ 25 w 164"/>
                <a:gd name="T67" fmla="*/ 126 h 135"/>
                <a:gd name="T68" fmla="*/ 23 w 164"/>
                <a:gd name="T69" fmla="*/ 131 h 135"/>
                <a:gd name="T70" fmla="*/ 21 w 164"/>
                <a:gd name="T71" fmla="*/ 126 h 135"/>
                <a:gd name="T72" fmla="*/ 16 w 164"/>
                <a:gd name="T73" fmla="*/ 128 h 135"/>
                <a:gd name="T74" fmla="*/ 16 w 164"/>
                <a:gd name="T75" fmla="*/ 126 h 135"/>
                <a:gd name="T76" fmla="*/ 14 w 164"/>
                <a:gd name="T77" fmla="*/ 124 h 135"/>
                <a:gd name="T78" fmla="*/ 12 w 164"/>
                <a:gd name="T79" fmla="*/ 119 h 135"/>
                <a:gd name="T80" fmla="*/ 9 w 164"/>
                <a:gd name="T81" fmla="*/ 117 h 135"/>
                <a:gd name="T82" fmla="*/ 7 w 164"/>
                <a:gd name="T83" fmla="*/ 115 h 135"/>
                <a:gd name="T84" fmla="*/ 3 w 164"/>
                <a:gd name="T85" fmla="*/ 113 h 135"/>
                <a:gd name="T86" fmla="*/ 0 w 164"/>
                <a:gd name="T87" fmla="*/ 110 h 135"/>
                <a:gd name="T88" fmla="*/ 0 w 164"/>
                <a:gd name="T89" fmla="*/ 104 h 135"/>
                <a:gd name="T90" fmla="*/ 3 w 164"/>
                <a:gd name="T91" fmla="*/ 95 h 135"/>
                <a:gd name="T92" fmla="*/ 5 w 164"/>
                <a:gd name="T93" fmla="*/ 83 h 135"/>
                <a:gd name="T94" fmla="*/ 3 w 164"/>
                <a:gd name="T95" fmla="*/ 79 h 135"/>
                <a:gd name="T96" fmla="*/ 5 w 164"/>
                <a:gd name="T97" fmla="*/ 77 h 135"/>
                <a:gd name="T98" fmla="*/ 9 w 164"/>
                <a:gd name="T99" fmla="*/ 74 h 135"/>
                <a:gd name="T100" fmla="*/ 16 w 164"/>
                <a:gd name="T101" fmla="*/ 72 h 135"/>
                <a:gd name="T102" fmla="*/ 21 w 164"/>
                <a:gd name="T103" fmla="*/ 65 h 135"/>
                <a:gd name="T104" fmla="*/ 23 w 164"/>
                <a:gd name="T105" fmla="*/ 61 h 135"/>
                <a:gd name="T106" fmla="*/ 25 w 164"/>
                <a:gd name="T107" fmla="*/ 56 h 135"/>
                <a:gd name="T108" fmla="*/ 25 w 164"/>
                <a:gd name="T109" fmla="*/ 45 h 135"/>
                <a:gd name="T110" fmla="*/ 29 w 164"/>
                <a:gd name="T111" fmla="*/ 41 h 135"/>
                <a:gd name="T112" fmla="*/ 32 w 164"/>
                <a:gd name="T113" fmla="*/ 38 h 135"/>
                <a:gd name="T114" fmla="*/ 32 w 164"/>
                <a:gd name="T115" fmla="*/ 41 h 135"/>
                <a:gd name="T116" fmla="*/ 41 w 164"/>
                <a:gd name="T117" fmla="*/ 45 h 135"/>
                <a:gd name="T118" fmla="*/ 47 w 164"/>
                <a:gd name="T119" fmla="*/ 32 h 135"/>
                <a:gd name="T120" fmla="*/ 52 w 164"/>
                <a:gd name="T121" fmla="*/ 34 h 135"/>
                <a:gd name="T122" fmla="*/ 63 w 164"/>
                <a:gd name="T123" fmla="*/ 18 h 135"/>
                <a:gd name="T124" fmla="*/ 92 w 164"/>
                <a:gd name="T125" fmla="*/ 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" h="135">
                  <a:moveTo>
                    <a:pt x="106" y="3"/>
                  </a:moveTo>
                  <a:lnTo>
                    <a:pt x="106" y="3"/>
                  </a:lnTo>
                  <a:lnTo>
                    <a:pt x="108" y="3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22" y="18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2" y="23"/>
                  </a:lnTo>
                  <a:lnTo>
                    <a:pt x="124" y="23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3"/>
                  </a:lnTo>
                  <a:lnTo>
                    <a:pt x="140" y="43"/>
                  </a:lnTo>
                  <a:lnTo>
                    <a:pt x="140" y="41"/>
                  </a:lnTo>
                  <a:lnTo>
                    <a:pt x="137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5" y="41"/>
                  </a:lnTo>
                  <a:lnTo>
                    <a:pt x="135" y="43"/>
                  </a:lnTo>
                  <a:lnTo>
                    <a:pt x="135" y="45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2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9"/>
                  </a:lnTo>
                  <a:lnTo>
                    <a:pt x="149" y="59"/>
                  </a:lnTo>
                  <a:lnTo>
                    <a:pt x="149" y="59"/>
                  </a:lnTo>
                  <a:lnTo>
                    <a:pt x="151" y="59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5" y="59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5" y="56"/>
                  </a:lnTo>
                  <a:lnTo>
                    <a:pt x="158" y="56"/>
                  </a:lnTo>
                  <a:lnTo>
                    <a:pt x="160" y="56"/>
                  </a:lnTo>
                  <a:lnTo>
                    <a:pt x="160" y="56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2" y="59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62" y="61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2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58" y="63"/>
                  </a:lnTo>
                  <a:lnTo>
                    <a:pt x="158" y="65"/>
                  </a:lnTo>
                  <a:lnTo>
                    <a:pt x="158" y="65"/>
                  </a:lnTo>
                  <a:lnTo>
                    <a:pt x="158" y="65"/>
                  </a:lnTo>
                  <a:lnTo>
                    <a:pt x="160" y="68"/>
                  </a:lnTo>
                  <a:lnTo>
                    <a:pt x="160" y="70"/>
                  </a:lnTo>
                  <a:lnTo>
                    <a:pt x="162" y="72"/>
                  </a:lnTo>
                  <a:lnTo>
                    <a:pt x="164" y="74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2" y="79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0" y="83"/>
                  </a:lnTo>
                  <a:lnTo>
                    <a:pt x="158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6"/>
                  </a:lnTo>
                  <a:lnTo>
                    <a:pt x="155" y="86"/>
                  </a:lnTo>
                  <a:lnTo>
                    <a:pt x="153" y="86"/>
                  </a:lnTo>
                  <a:lnTo>
                    <a:pt x="153" y="86"/>
                  </a:lnTo>
                  <a:lnTo>
                    <a:pt x="153" y="86"/>
                  </a:lnTo>
                  <a:lnTo>
                    <a:pt x="153" y="86"/>
                  </a:lnTo>
                  <a:lnTo>
                    <a:pt x="153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8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9" y="86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2" y="88"/>
                  </a:lnTo>
                  <a:lnTo>
                    <a:pt x="142" y="88"/>
                  </a:lnTo>
                  <a:lnTo>
                    <a:pt x="142" y="90"/>
                  </a:lnTo>
                  <a:lnTo>
                    <a:pt x="144" y="90"/>
                  </a:lnTo>
                  <a:lnTo>
                    <a:pt x="144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2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7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7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5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5" y="97"/>
                  </a:lnTo>
                  <a:lnTo>
                    <a:pt x="133" y="97"/>
                  </a:lnTo>
                  <a:lnTo>
                    <a:pt x="131" y="97"/>
                  </a:lnTo>
                  <a:lnTo>
                    <a:pt x="128" y="97"/>
                  </a:lnTo>
                  <a:lnTo>
                    <a:pt x="128" y="97"/>
                  </a:lnTo>
                  <a:lnTo>
                    <a:pt x="126" y="99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6" y="97"/>
                  </a:lnTo>
                  <a:lnTo>
                    <a:pt x="122" y="97"/>
                  </a:lnTo>
                  <a:lnTo>
                    <a:pt x="117" y="95"/>
                  </a:lnTo>
                  <a:lnTo>
                    <a:pt x="113" y="95"/>
                  </a:lnTo>
                  <a:lnTo>
                    <a:pt x="110" y="95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5"/>
                  </a:lnTo>
                  <a:lnTo>
                    <a:pt x="108" y="95"/>
                  </a:lnTo>
                  <a:lnTo>
                    <a:pt x="108" y="95"/>
                  </a:lnTo>
                  <a:lnTo>
                    <a:pt x="108" y="95"/>
                  </a:lnTo>
                  <a:lnTo>
                    <a:pt x="108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7"/>
                  </a:lnTo>
                  <a:lnTo>
                    <a:pt x="106" y="97"/>
                  </a:lnTo>
                  <a:lnTo>
                    <a:pt x="106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1" y="97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9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101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7" y="97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2" y="97"/>
                  </a:lnTo>
                  <a:lnTo>
                    <a:pt x="90" y="97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83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79" y="97"/>
                  </a:lnTo>
                  <a:lnTo>
                    <a:pt x="74" y="97"/>
                  </a:lnTo>
                  <a:lnTo>
                    <a:pt x="70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7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4" y="99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2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9" y="124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9" y="128"/>
                  </a:lnTo>
                  <a:lnTo>
                    <a:pt x="56" y="128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6" y="131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6" y="135"/>
                  </a:lnTo>
                  <a:lnTo>
                    <a:pt x="54" y="131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6"/>
                  </a:lnTo>
                  <a:lnTo>
                    <a:pt x="50" y="124"/>
                  </a:lnTo>
                  <a:lnTo>
                    <a:pt x="50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3" y="124"/>
                  </a:lnTo>
                  <a:lnTo>
                    <a:pt x="41" y="122"/>
                  </a:lnTo>
                  <a:lnTo>
                    <a:pt x="38" y="124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4"/>
                  </a:lnTo>
                  <a:lnTo>
                    <a:pt x="36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4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28"/>
                  </a:lnTo>
                  <a:lnTo>
                    <a:pt x="25" y="131"/>
                  </a:lnTo>
                  <a:lnTo>
                    <a:pt x="25" y="131"/>
                  </a:lnTo>
                  <a:lnTo>
                    <a:pt x="25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31"/>
                  </a:lnTo>
                  <a:lnTo>
                    <a:pt x="23" y="128"/>
                  </a:lnTo>
                  <a:lnTo>
                    <a:pt x="23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21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6" y="126"/>
                  </a:lnTo>
                  <a:lnTo>
                    <a:pt x="14" y="126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5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3" y="101"/>
                  </a:lnTo>
                  <a:lnTo>
                    <a:pt x="0" y="101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5" y="95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7" y="88"/>
                  </a:lnTo>
                  <a:lnTo>
                    <a:pt x="7" y="86"/>
                  </a:lnTo>
                  <a:lnTo>
                    <a:pt x="5" y="86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18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3"/>
                  </a:lnTo>
                  <a:lnTo>
                    <a:pt x="38" y="43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9" y="23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5" y="18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2" y="23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8" y="9"/>
                  </a:lnTo>
                  <a:lnTo>
                    <a:pt x="88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3"/>
                  </a:lnTo>
                  <a:lnTo>
                    <a:pt x="106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5" name="Freeform 633"/>
            <p:cNvSpPr>
              <a:spLocks/>
            </p:cNvSpPr>
            <p:nvPr/>
          </p:nvSpPr>
          <p:spPr bwMode="auto">
            <a:xfrm>
              <a:off x="6352922" y="2210756"/>
              <a:ext cx="200571" cy="115328"/>
            </a:xfrm>
            <a:custGeom>
              <a:avLst/>
              <a:gdLst>
                <a:gd name="T0" fmla="*/ 14 w 120"/>
                <a:gd name="T1" fmla="*/ 9 h 69"/>
                <a:gd name="T2" fmla="*/ 39 w 120"/>
                <a:gd name="T3" fmla="*/ 9 h 69"/>
                <a:gd name="T4" fmla="*/ 59 w 120"/>
                <a:gd name="T5" fmla="*/ 13 h 69"/>
                <a:gd name="T6" fmla="*/ 66 w 120"/>
                <a:gd name="T7" fmla="*/ 9 h 69"/>
                <a:gd name="T8" fmla="*/ 81 w 120"/>
                <a:gd name="T9" fmla="*/ 2 h 69"/>
                <a:gd name="T10" fmla="*/ 93 w 120"/>
                <a:gd name="T11" fmla="*/ 2 h 69"/>
                <a:gd name="T12" fmla="*/ 104 w 120"/>
                <a:gd name="T13" fmla="*/ 4 h 69"/>
                <a:gd name="T14" fmla="*/ 120 w 120"/>
                <a:gd name="T15" fmla="*/ 15 h 69"/>
                <a:gd name="T16" fmla="*/ 115 w 120"/>
                <a:gd name="T17" fmla="*/ 18 h 69"/>
                <a:gd name="T18" fmla="*/ 106 w 120"/>
                <a:gd name="T19" fmla="*/ 24 h 69"/>
                <a:gd name="T20" fmla="*/ 108 w 120"/>
                <a:gd name="T21" fmla="*/ 31 h 69"/>
                <a:gd name="T22" fmla="*/ 106 w 120"/>
                <a:gd name="T23" fmla="*/ 36 h 69"/>
                <a:gd name="T24" fmla="*/ 102 w 120"/>
                <a:gd name="T25" fmla="*/ 38 h 69"/>
                <a:gd name="T26" fmla="*/ 102 w 120"/>
                <a:gd name="T27" fmla="*/ 42 h 69"/>
                <a:gd name="T28" fmla="*/ 104 w 120"/>
                <a:gd name="T29" fmla="*/ 40 h 69"/>
                <a:gd name="T30" fmla="*/ 106 w 120"/>
                <a:gd name="T31" fmla="*/ 42 h 69"/>
                <a:gd name="T32" fmla="*/ 108 w 120"/>
                <a:gd name="T33" fmla="*/ 45 h 69"/>
                <a:gd name="T34" fmla="*/ 108 w 120"/>
                <a:gd name="T35" fmla="*/ 47 h 69"/>
                <a:gd name="T36" fmla="*/ 113 w 120"/>
                <a:gd name="T37" fmla="*/ 49 h 69"/>
                <a:gd name="T38" fmla="*/ 113 w 120"/>
                <a:gd name="T39" fmla="*/ 51 h 69"/>
                <a:gd name="T40" fmla="*/ 108 w 120"/>
                <a:gd name="T41" fmla="*/ 54 h 69"/>
                <a:gd name="T42" fmla="*/ 104 w 120"/>
                <a:gd name="T43" fmla="*/ 54 h 69"/>
                <a:gd name="T44" fmla="*/ 102 w 120"/>
                <a:gd name="T45" fmla="*/ 51 h 69"/>
                <a:gd name="T46" fmla="*/ 95 w 120"/>
                <a:gd name="T47" fmla="*/ 49 h 69"/>
                <a:gd name="T48" fmla="*/ 93 w 120"/>
                <a:gd name="T49" fmla="*/ 51 h 69"/>
                <a:gd name="T50" fmla="*/ 88 w 120"/>
                <a:gd name="T51" fmla="*/ 54 h 69"/>
                <a:gd name="T52" fmla="*/ 86 w 120"/>
                <a:gd name="T53" fmla="*/ 54 h 69"/>
                <a:gd name="T54" fmla="*/ 79 w 120"/>
                <a:gd name="T55" fmla="*/ 58 h 69"/>
                <a:gd name="T56" fmla="*/ 77 w 120"/>
                <a:gd name="T57" fmla="*/ 60 h 69"/>
                <a:gd name="T58" fmla="*/ 79 w 120"/>
                <a:gd name="T59" fmla="*/ 63 h 69"/>
                <a:gd name="T60" fmla="*/ 79 w 120"/>
                <a:gd name="T61" fmla="*/ 65 h 69"/>
                <a:gd name="T62" fmla="*/ 72 w 120"/>
                <a:gd name="T63" fmla="*/ 67 h 69"/>
                <a:gd name="T64" fmla="*/ 68 w 120"/>
                <a:gd name="T65" fmla="*/ 67 h 69"/>
                <a:gd name="T66" fmla="*/ 61 w 120"/>
                <a:gd name="T67" fmla="*/ 69 h 69"/>
                <a:gd name="T68" fmla="*/ 52 w 120"/>
                <a:gd name="T69" fmla="*/ 67 h 69"/>
                <a:gd name="T70" fmla="*/ 48 w 120"/>
                <a:gd name="T71" fmla="*/ 65 h 69"/>
                <a:gd name="T72" fmla="*/ 45 w 120"/>
                <a:gd name="T73" fmla="*/ 63 h 69"/>
                <a:gd name="T74" fmla="*/ 43 w 120"/>
                <a:gd name="T75" fmla="*/ 63 h 69"/>
                <a:gd name="T76" fmla="*/ 39 w 120"/>
                <a:gd name="T77" fmla="*/ 63 h 69"/>
                <a:gd name="T78" fmla="*/ 36 w 120"/>
                <a:gd name="T79" fmla="*/ 65 h 69"/>
                <a:gd name="T80" fmla="*/ 30 w 120"/>
                <a:gd name="T81" fmla="*/ 65 h 69"/>
                <a:gd name="T82" fmla="*/ 23 w 120"/>
                <a:gd name="T83" fmla="*/ 67 h 69"/>
                <a:gd name="T84" fmla="*/ 16 w 120"/>
                <a:gd name="T85" fmla="*/ 65 h 69"/>
                <a:gd name="T86" fmla="*/ 16 w 120"/>
                <a:gd name="T87" fmla="*/ 60 h 69"/>
                <a:gd name="T88" fmla="*/ 16 w 120"/>
                <a:gd name="T89" fmla="*/ 58 h 69"/>
                <a:gd name="T90" fmla="*/ 14 w 120"/>
                <a:gd name="T91" fmla="*/ 51 h 69"/>
                <a:gd name="T92" fmla="*/ 12 w 120"/>
                <a:gd name="T93" fmla="*/ 51 h 69"/>
                <a:gd name="T94" fmla="*/ 3 w 120"/>
                <a:gd name="T95" fmla="*/ 45 h 69"/>
                <a:gd name="T96" fmla="*/ 7 w 120"/>
                <a:gd name="T97" fmla="*/ 40 h 69"/>
                <a:gd name="T98" fmla="*/ 5 w 120"/>
                <a:gd name="T99" fmla="*/ 33 h 69"/>
                <a:gd name="T100" fmla="*/ 5 w 120"/>
                <a:gd name="T101" fmla="*/ 31 h 69"/>
                <a:gd name="T102" fmla="*/ 12 w 120"/>
                <a:gd name="T103" fmla="*/ 29 h 69"/>
                <a:gd name="T104" fmla="*/ 14 w 120"/>
                <a:gd name="T105" fmla="*/ 24 h 69"/>
                <a:gd name="T106" fmla="*/ 7 w 120"/>
                <a:gd name="T107" fmla="*/ 20 h 69"/>
                <a:gd name="T108" fmla="*/ 5 w 120"/>
                <a:gd name="T109" fmla="*/ 18 h 69"/>
                <a:gd name="T110" fmla="*/ 3 w 120"/>
                <a:gd name="T111" fmla="*/ 13 h 69"/>
                <a:gd name="T112" fmla="*/ 0 w 120"/>
                <a:gd name="T113" fmla="*/ 11 h 69"/>
                <a:gd name="T114" fmla="*/ 0 w 120"/>
                <a:gd name="T115" fmla="*/ 6 h 69"/>
                <a:gd name="T116" fmla="*/ 5 w 120"/>
                <a:gd name="T117" fmla="*/ 2 h 69"/>
                <a:gd name="T118" fmla="*/ 9 w 120"/>
                <a:gd name="T119" fmla="*/ 2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69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6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2" y="9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21" y="6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9"/>
                  </a:lnTo>
                  <a:lnTo>
                    <a:pt x="34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7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4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2"/>
                  </a:lnTo>
                  <a:lnTo>
                    <a:pt x="90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11" y="11"/>
                  </a:lnTo>
                  <a:lnTo>
                    <a:pt x="115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20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1" y="18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0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49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1" y="51"/>
                  </a:lnTo>
                  <a:lnTo>
                    <a:pt x="111" y="51"/>
                  </a:lnTo>
                  <a:lnTo>
                    <a:pt x="111" y="51"/>
                  </a:lnTo>
                  <a:lnTo>
                    <a:pt x="111" y="51"/>
                  </a:lnTo>
                  <a:lnTo>
                    <a:pt x="111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1"/>
                  </a:lnTo>
                  <a:lnTo>
                    <a:pt x="106" y="51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99" y="51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49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5" y="49"/>
                  </a:lnTo>
                  <a:lnTo>
                    <a:pt x="93" y="49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4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7" y="67"/>
                  </a:lnTo>
                  <a:lnTo>
                    <a:pt x="77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70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4" y="67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2" y="65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41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3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0" y="65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27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5" y="47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9" y="2"/>
                  </a:lnTo>
                  <a:lnTo>
                    <a:pt x="9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6" name="Freeform 634"/>
            <p:cNvSpPr>
              <a:spLocks noEditPoints="1"/>
            </p:cNvSpPr>
            <p:nvPr/>
          </p:nvSpPr>
          <p:spPr bwMode="auto">
            <a:xfrm>
              <a:off x="9642287" y="3766853"/>
              <a:ext cx="50143" cy="40114"/>
            </a:xfrm>
            <a:custGeom>
              <a:avLst/>
              <a:gdLst>
                <a:gd name="T0" fmla="*/ 27 w 30"/>
                <a:gd name="T1" fmla="*/ 11 h 24"/>
                <a:gd name="T2" fmla="*/ 27 w 30"/>
                <a:gd name="T3" fmla="*/ 13 h 24"/>
                <a:gd name="T4" fmla="*/ 27 w 30"/>
                <a:gd name="T5" fmla="*/ 15 h 24"/>
                <a:gd name="T6" fmla="*/ 30 w 30"/>
                <a:gd name="T7" fmla="*/ 18 h 24"/>
                <a:gd name="T8" fmla="*/ 27 w 30"/>
                <a:gd name="T9" fmla="*/ 18 h 24"/>
                <a:gd name="T10" fmla="*/ 27 w 30"/>
                <a:gd name="T11" fmla="*/ 18 h 24"/>
                <a:gd name="T12" fmla="*/ 27 w 30"/>
                <a:gd name="T13" fmla="*/ 15 h 24"/>
                <a:gd name="T14" fmla="*/ 25 w 30"/>
                <a:gd name="T15" fmla="*/ 15 h 24"/>
                <a:gd name="T16" fmla="*/ 23 w 30"/>
                <a:gd name="T17" fmla="*/ 13 h 24"/>
                <a:gd name="T18" fmla="*/ 23 w 30"/>
                <a:gd name="T19" fmla="*/ 9 h 24"/>
                <a:gd name="T20" fmla="*/ 23 w 30"/>
                <a:gd name="T21" fmla="*/ 6 h 24"/>
                <a:gd name="T22" fmla="*/ 23 w 30"/>
                <a:gd name="T23" fmla="*/ 4 h 24"/>
                <a:gd name="T24" fmla="*/ 23 w 30"/>
                <a:gd name="T25" fmla="*/ 4 h 24"/>
                <a:gd name="T26" fmla="*/ 25 w 30"/>
                <a:gd name="T27" fmla="*/ 4 h 24"/>
                <a:gd name="T28" fmla="*/ 25 w 30"/>
                <a:gd name="T29" fmla="*/ 4 h 24"/>
                <a:gd name="T30" fmla="*/ 25 w 30"/>
                <a:gd name="T31" fmla="*/ 4 h 24"/>
                <a:gd name="T32" fmla="*/ 21 w 30"/>
                <a:gd name="T33" fmla="*/ 6 h 24"/>
                <a:gd name="T34" fmla="*/ 18 w 30"/>
                <a:gd name="T35" fmla="*/ 6 h 24"/>
                <a:gd name="T36" fmla="*/ 18 w 30"/>
                <a:gd name="T37" fmla="*/ 6 h 24"/>
                <a:gd name="T38" fmla="*/ 16 w 30"/>
                <a:gd name="T39" fmla="*/ 6 h 24"/>
                <a:gd name="T40" fmla="*/ 16 w 30"/>
                <a:gd name="T41" fmla="*/ 9 h 24"/>
                <a:gd name="T42" fmla="*/ 18 w 30"/>
                <a:gd name="T43" fmla="*/ 13 h 24"/>
                <a:gd name="T44" fmla="*/ 18 w 30"/>
                <a:gd name="T45" fmla="*/ 15 h 24"/>
                <a:gd name="T46" fmla="*/ 18 w 30"/>
                <a:gd name="T47" fmla="*/ 15 h 24"/>
                <a:gd name="T48" fmla="*/ 18 w 30"/>
                <a:gd name="T49" fmla="*/ 18 h 24"/>
                <a:gd name="T50" fmla="*/ 18 w 30"/>
                <a:gd name="T51" fmla="*/ 18 h 24"/>
                <a:gd name="T52" fmla="*/ 18 w 30"/>
                <a:gd name="T53" fmla="*/ 20 h 24"/>
                <a:gd name="T54" fmla="*/ 18 w 30"/>
                <a:gd name="T55" fmla="*/ 22 h 24"/>
                <a:gd name="T56" fmla="*/ 14 w 30"/>
                <a:gd name="T57" fmla="*/ 24 h 24"/>
                <a:gd name="T58" fmla="*/ 14 w 30"/>
                <a:gd name="T59" fmla="*/ 24 h 24"/>
                <a:gd name="T60" fmla="*/ 12 w 30"/>
                <a:gd name="T61" fmla="*/ 22 h 24"/>
                <a:gd name="T62" fmla="*/ 12 w 30"/>
                <a:gd name="T63" fmla="*/ 20 h 24"/>
                <a:gd name="T64" fmla="*/ 9 w 30"/>
                <a:gd name="T65" fmla="*/ 18 h 24"/>
                <a:gd name="T66" fmla="*/ 7 w 30"/>
                <a:gd name="T67" fmla="*/ 18 h 24"/>
                <a:gd name="T68" fmla="*/ 7 w 30"/>
                <a:gd name="T69" fmla="*/ 18 h 24"/>
                <a:gd name="T70" fmla="*/ 7 w 30"/>
                <a:gd name="T71" fmla="*/ 15 h 24"/>
                <a:gd name="T72" fmla="*/ 7 w 30"/>
                <a:gd name="T73" fmla="*/ 15 h 24"/>
                <a:gd name="T74" fmla="*/ 7 w 30"/>
                <a:gd name="T75" fmla="*/ 13 h 24"/>
                <a:gd name="T76" fmla="*/ 5 w 30"/>
                <a:gd name="T77" fmla="*/ 13 h 24"/>
                <a:gd name="T78" fmla="*/ 5 w 30"/>
                <a:gd name="T79" fmla="*/ 13 h 24"/>
                <a:gd name="T80" fmla="*/ 3 w 30"/>
                <a:gd name="T81" fmla="*/ 11 h 24"/>
                <a:gd name="T82" fmla="*/ 0 w 30"/>
                <a:gd name="T83" fmla="*/ 11 h 24"/>
                <a:gd name="T84" fmla="*/ 9 w 30"/>
                <a:gd name="T85" fmla="*/ 9 h 24"/>
                <a:gd name="T86" fmla="*/ 12 w 30"/>
                <a:gd name="T87" fmla="*/ 6 h 24"/>
                <a:gd name="T88" fmla="*/ 21 w 30"/>
                <a:gd name="T89" fmla="*/ 2 h 24"/>
                <a:gd name="T90" fmla="*/ 23 w 30"/>
                <a:gd name="T91" fmla="*/ 0 h 24"/>
                <a:gd name="T92" fmla="*/ 23 w 30"/>
                <a:gd name="T93" fmla="*/ 0 h 24"/>
                <a:gd name="T94" fmla="*/ 23 w 30"/>
                <a:gd name="T95" fmla="*/ 2 h 24"/>
                <a:gd name="T96" fmla="*/ 21 w 30"/>
                <a:gd name="T97" fmla="*/ 4 h 24"/>
                <a:gd name="T98" fmla="*/ 21 w 30"/>
                <a:gd name="T99" fmla="*/ 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0" h="24">
                  <a:moveTo>
                    <a:pt x="25" y="4"/>
                  </a:moveTo>
                  <a:lnTo>
                    <a:pt x="27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3" y="15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close/>
                  <a:moveTo>
                    <a:pt x="21" y="6"/>
                  </a:moveTo>
                  <a:lnTo>
                    <a:pt x="21" y="6"/>
                  </a:lnTo>
                  <a:lnTo>
                    <a:pt x="21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6" y="4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7" name="Freeform 635"/>
            <p:cNvSpPr>
              <a:spLocks noEditPoints="1"/>
            </p:cNvSpPr>
            <p:nvPr/>
          </p:nvSpPr>
          <p:spPr bwMode="auto">
            <a:xfrm>
              <a:off x="3406199" y="3221968"/>
              <a:ext cx="15043" cy="15042"/>
            </a:xfrm>
            <a:custGeom>
              <a:avLst/>
              <a:gdLst>
                <a:gd name="T0" fmla="*/ 2 w 9"/>
                <a:gd name="T1" fmla="*/ 6 h 9"/>
                <a:gd name="T2" fmla="*/ 2 w 9"/>
                <a:gd name="T3" fmla="*/ 6 h 9"/>
                <a:gd name="T4" fmla="*/ 2 w 9"/>
                <a:gd name="T5" fmla="*/ 6 h 9"/>
                <a:gd name="T6" fmla="*/ 2 w 9"/>
                <a:gd name="T7" fmla="*/ 6 h 9"/>
                <a:gd name="T8" fmla="*/ 2 w 9"/>
                <a:gd name="T9" fmla="*/ 6 h 9"/>
                <a:gd name="T10" fmla="*/ 2 w 9"/>
                <a:gd name="T11" fmla="*/ 9 h 9"/>
                <a:gd name="T12" fmla="*/ 2 w 9"/>
                <a:gd name="T13" fmla="*/ 6 h 9"/>
                <a:gd name="T14" fmla="*/ 2 w 9"/>
                <a:gd name="T15" fmla="*/ 6 h 9"/>
                <a:gd name="T16" fmla="*/ 2 w 9"/>
                <a:gd name="T17" fmla="*/ 6 h 9"/>
                <a:gd name="T18" fmla="*/ 2 w 9"/>
                <a:gd name="T19" fmla="*/ 6 h 9"/>
                <a:gd name="T20" fmla="*/ 2 w 9"/>
                <a:gd name="T21" fmla="*/ 6 h 9"/>
                <a:gd name="T22" fmla="*/ 2 w 9"/>
                <a:gd name="T23" fmla="*/ 9 h 9"/>
                <a:gd name="T24" fmla="*/ 2 w 9"/>
                <a:gd name="T25" fmla="*/ 9 h 9"/>
                <a:gd name="T26" fmla="*/ 2 w 9"/>
                <a:gd name="T27" fmla="*/ 9 h 9"/>
                <a:gd name="T28" fmla="*/ 0 w 9"/>
                <a:gd name="T29" fmla="*/ 9 h 9"/>
                <a:gd name="T30" fmla="*/ 0 w 9"/>
                <a:gd name="T31" fmla="*/ 9 h 9"/>
                <a:gd name="T32" fmla="*/ 0 w 9"/>
                <a:gd name="T33" fmla="*/ 9 h 9"/>
                <a:gd name="T34" fmla="*/ 0 w 9"/>
                <a:gd name="T35" fmla="*/ 9 h 9"/>
                <a:gd name="T36" fmla="*/ 2 w 9"/>
                <a:gd name="T37" fmla="*/ 6 h 9"/>
                <a:gd name="T38" fmla="*/ 2 w 9"/>
                <a:gd name="T39" fmla="*/ 6 h 9"/>
                <a:gd name="T40" fmla="*/ 2 w 9"/>
                <a:gd name="T41" fmla="*/ 6 h 9"/>
                <a:gd name="T42" fmla="*/ 2 w 9"/>
                <a:gd name="T43" fmla="*/ 6 h 9"/>
                <a:gd name="T44" fmla="*/ 2 w 9"/>
                <a:gd name="T45" fmla="*/ 6 h 9"/>
                <a:gd name="T46" fmla="*/ 7 w 9"/>
                <a:gd name="T47" fmla="*/ 6 h 9"/>
                <a:gd name="T48" fmla="*/ 7 w 9"/>
                <a:gd name="T49" fmla="*/ 6 h 9"/>
                <a:gd name="T50" fmla="*/ 7 w 9"/>
                <a:gd name="T51" fmla="*/ 6 h 9"/>
                <a:gd name="T52" fmla="*/ 7 w 9"/>
                <a:gd name="T53" fmla="*/ 6 h 9"/>
                <a:gd name="T54" fmla="*/ 7 w 9"/>
                <a:gd name="T55" fmla="*/ 6 h 9"/>
                <a:gd name="T56" fmla="*/ 7 w 9"/>
                <a:gd name="T57" fmla="*/ 6 h 9"/>
                <a:gd name="T58" fmla="*/ 7 w 9"/>
                <a:gd name="T59" fmla="*/ 6 h 9"/>
                <a:gd name="T60" fmla="*/ 4 w 9"/>
                <a:gd name="T61" fmla="*/ 6 h 9"/>
                <a:gd name="T62" fmla="*/ 4 w 9"/>
                <a:gd name="T63" fmla="*/ 6 h 9"/>
                <a:gd name="T64" fmla="*/ 7 w 9"/>
                <a:gd name="T65" fmla="*/ 6 h 9"/>
                <a:gd name="T66" fmla="*/ 7 w 9"/>
                <a:gd name="T67" fmla="*/ 6 h 9"/>
                <a:gd name="T68" fmla="*/ 7 w 9"/>
                <a:gd name="T69" fmla="*/ 4 h 9"/>
                <a:gd name="T70" fmla="*/ 7 w 9"/>
                <a:gd name="T71" fmla="*/ 4 h 9"/>
                <a:gd name="T72" fmla="*/ 7 w 9"/>
                <a:gd name="T73" fmla="*/ 6 h 9"/>
                <a:gd name="T74" fmla="*/ 7 w 9"/>
                <a:gd name="T75" fmla="*/ 6 h 9"/>
                <a:gd name="T76" fmla="*/ 7 w 9"/>
                <a:gd name="T77" fmla="*/ 6 h 9"/>
                <a:gd name="T78" fmla="*/ 7 w 9"/>
                <a:gd name="T79" fmla="*/ 6 h 9"/>
                <a:gd name="T80" fmla="*/ 7 w 9"/>
                <a:gd name="T81" fmla="*/ 6 h 9"/>
                <a:gd name="T82" fmla="*/ 9 w 9"/>
                <a:gd name="T83" fmla="*/ 0 h 9"/>
                <a:gd name="T84" fmla="*/ 9 w 9"/>
                <a:gd name="T85" fmla="*/ 2 h 9"/>
                <a:gd name="T86" fmla="*/ 9 w 9"/>
                <a:gd name="T87" fmla="*/ 0 h 9"/>
                <a:gd name="T88" fmla="*/ 9 w 9"/>
                <a:gd name="T89" fmla="*/ 0 h 9"/>
                <a:gd name="T90" fmla="*/ 7 w 9"/>
                <a:gd name="T91" fmla="*/ 0 h 9"/>
                <a:gd name="T92" fmla="*/ 7 w 9"/>
                <a:gd name="T93" fmla="*/ 0 h 9"/>
                <a:gd name="T94" fmla="*/ 7 w 9"/>
                <a:gd name="T95" fmla="*/ 0 h 9"/>
                <a:gd name="T96" fmla="*/ 9 w 9"/>
                <a:gd name="T97" fmla="*/ 0 h 9"/>
                <a:gd name="T98" fmla="*/ 9 w 9"/>
                <a:gd name="T9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" h="9">
                  <a:moveTo>
                    <a:pt x="2" y="6"/>
                  </a:move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close/>
                  <a:moveTo>
                    <a:pt x="7" y="6"/>
                  </a:move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close/>
                  <a:moveTo>
                    <a:pt x="9" y="0"/>
                  </a:moveTo>
                  <a:lnTo>
                    <a:pt x="9" y="2"/>
                  </a:lnTo>
                  <a:lnTo>
                    <a:pt x="9" y="0"/>
                  </a:lnTo>
                  <a:lnTo>
                    <a:pt x="9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8" name="Freeform 636"/>
            <p:cNvSpPr>
              <a:spLocks noEditPoints="1"/>
            </p:cNvSpPr>
            <p:nvPr/>
          </p:nvSpPr>
          <p:spPr bwMode="auto">
            <a:xfrm>
              <a:off x="3053529" y="3758495"/>
              <a:ext cx="1370569" cy="1552753"/>
            </a:xfrm>
            <a:custGeom>
              <a:avLst/>
              <a:gdLst>
                <a:gd name="T0" fmla="*/ 624 w 820"/>
                <a:gd name="T1" fmla="*/ 695 h 929"/>
                <a:gd name="T2" fmla="*/ 743 w 820"/>
                <a:gd name="T3" fmla="*/ 434 h 929"/>
                <a:gd name="T4" fmla="*/ 537 w 820"/>
                <a:gd name="T5" fmla="*/ 149 h 929"/>
                <a:gd name="T6" fmla="*/ 471 w 820"/>
                <a:gd name="T7" fmla="*/ 140 h 929"/>
                <a:gd name="T8" fmla="*/ 528 w 820"/>
                <a:gd name="T9" fmla="*/ 151 h 929"/>
                <a:gd name="T10" fmla="*/ 510 w 820"/>
                <a:gd name="T11" fmla="*/ 166 h 929"/>
                <a:gd name="T12" fmla="*/ 487 w 820"/>
                <a:gd name="T13" fmla="*/ 151 h 929"/>
                <a:gd name="T14" fmla="*/ 512 w 820"/>
                <a:gd name="T15" fmla="*/ 126 h 929"/>
                <a:gd name="T16" fmla="*/ 487 w 820"/>
                <a:gd name="T17" fmla="*/ 119 h 929"/>
                <a:gd name="T18" fmla="*/ 489 w 820"/>
                <a:gd name="T19" fmla="*/ 72 h 929"/>
                <a:gd name="T20" fmla="*/ 292 w 820"/>
                <a:gd name="T21" fmla="*/ 50 h 929"/>
                <a:gd name="T22" fmla="*/ 328 w 820"/>
                <a:gd name="T23" fmla="*/ 88 h 929"/>
                <a:gd name="T24" fmla="*/ 400 w 820"/>
                <a:gd name="T25" fmla="*/ 65 h 929"/>
                <a:gd name="T26" fmla="*/ 451 w 820"/>
                <a:gd name="T27" fmla="*/ 47 h 929"/>
                <a:gd name="T28" fmla="*/ 483 w 820"/>
                <a:gd name="T29" fmla="*/ 77 h 929"/>
                <a:gd name="T30" fmla="*/ 458 w 820"/>
                <a:gd name="T31" fmla="*/ 155 h 929"/>
                <a:gd name="T32" fmla="*/ 487 w 820"/>
                <a:gd name="T33" fmla="*/ 171 h 929"/>
                <a:gd name="T34" fmla="*/ 510 w 820"/>
                <a:gd name="T35" fmla="*/ 187 h 929"/>
                <a:gd name="T36" fmla="*/ 539 w 820"/>
                <a:gd name="T37" fmla="*/ 144 h 929"/>
                <a:gd name="T38" fmla="*/ 559 w 820"/>
                <a:gd name="T39" fmla="*/ 142 h 929"/>
                <a:gd name="T40" fmla="*/ 570 w 820"/>
                <a:gd name="T41" fmla="*/ 146 h 929"/>
                <a:gd name="T42" fmla="*/ 582 w 820"/>
                <a:gd name="T43" fmla="*/ 153 h 929"/>
                <a:gd name="T44" fmla="*/ 595 w 820"/>
                <a:gd name="T45" fmla="*/ 158 h 929"/>
                <a:gd name="T46" fmla="*/ 606 w 820"/>
                <a:gd name="T47" fmla="*/ 160 h 929"/>
                <a:gd name="T48" fmla="*/ 613 w 820"/>
                <a:gd name="T49" fmla="*/ 175 h 929"/>
                <a:gd name="T50" fmla="*/ 611 w 820"/>
                <a:gd name="T51" fmla="*/ 200 h 929"/>
                <a:gd name="T52" fmla="*/ 624 w 820"/>
                <a:gd name="T53" fmla="*/ 189 h 929"/>
                <a:gd name="T54" fmla="*/ 662 w 820"/>
                <a:gd name="T55" fmla="*/ 191 h 929"/>
                <a:gd name="T56" fmla="*/ 714 w 820"/>
                <a:gd name="T57" fmla="*/ 196 h 929"/>
                <a:gd name="T58" fmla="*/ 808 w 820"/>
                <a:gd name="T59" fmla="*/ 252 h 929"/>
                <a:gd name="T60" fmla="*/ 820 w 820"/>
                <a:gd name="T61" fmla="*/ 310 h 929"/>
                <a:gd name="T62" fmla="*/ 775 w 820"/>
                <a:gd name="T63" fmla="*/ 389 h 929"/>
                <a:gd name="T64" fmla="*/ 748 w 820"/>
                <a:gd name="T65" fmla="*/ 432 h 929"/>
                <a:gd name="T66" fmla="*/ 737 w 820"/>
                <a:gd name="T67" fmla="*/ 454 h 929"/>
                <a:gd name="T68" fmla="*/ 741 w 820"/>
                <a:gd name="T69" fmla="*/ 511 h 929"/>
                <a:gd name="T70" fmla="*/ 705 w 820"/>
                <a:gd name="T71" fmla="*/ 636 h 929"/>
                <a:gd name="T72" fmla="*/ 656 w 820"/>
                <a:gd name="T73" fmla="*/ 675 h 929"/>
                <a:gd name="T74" fmla="*/ 635 w 820"/>
                <a:gd name="T75" fmla="*/ 681 h 929"/>
                <a:gd name="T76" fmla="*/ 600 w 820"/>
                <a:gd name="T77" fmla="*/ 693 h 929"/>
                <a:gd name="T78" fmla="*/ 559 w 820"/>
                <a:gd name="T79" fmla="*/ 726 h 929"/>
                <a:gd name="T80" fmla="*/ 555 w 820"/>
                <a:gd name="T81" fmla="*/ 749 h 929"/>
                <a:gd name="T82" fmla="*/ 564 w 820"/>
                <a:gd name="T83" fmla="*/ 796 h 929"/>
                <a:gd name="T84" fmla="*/ 525 w 820"/>
                <a:gd name="T85" fmla="*/ 866 h 929"/>
                <a:gd name="T86" fmla="*/ 521 w 820"/>
                <a:gd name="T87" fmla="*/ 848 h 929"/>
                <a:gd name="T88" fmla="*/ 505 w 820"/>
                <a:gd name="T89" fmla="*/ 888 h 929"/>
                <a:gd name="T90" fmla="*/ 427 w 820"/>
                <a:gd name="T91" fmla="*/ 864 h 929"/>
                <a:gd name="T92" fmla="*/ 415 w 820"/>
                <a:gd name="T93" fmla="*/ 803 h 929"/>
                <a:gd name="T94" fmla="*/ 447 w 820"/>
                <a:gd name="T95" fmla="*/ 778 h 929"/>
                <a:gd name="T96" fmla="*/ 442 w 820"/>
                <a:gd name="T97" fmla="*/ 735 h 929"/>
                <a:gd name="T98" fmla="*/ 402 w 820"/>
                <a:gd name="T99" fmla="*/ 657 h 929"/>
                <a:gd name="T100" fmla="*/ 357 w 820"/>
                <a:gd name="T101" fmla="*/ 643 h 929"/>
                <a:gd name="T102" fmla="*/ 359 w 820"/>
                <a:gd name="T103" fmla="*/ 560 h 929"/>
                <a:gd name="T104" fmla="*/ 281 w 820"/>
                <a:gd name="T105" fmla="*/ 448 h 929"/>
                <a:gd name="T106" fmla="*/ 224 w 820"/>
                <a:gd name="T107" fmla="*/ 423 h 929"/>
                <a:gd name="T108" fmla="*/ 184 w 820"/>
                <a:gd name="T109" fmla="*/ 391 h 929"/>
                <a:gd name="T110" fmla="*/ 152 w 820"/>
                <a:gd name="T111" fmla="*/ 362 h 929"/>
                <a:gd name="T112" fmla="*/ 74 w 820"/>
                <a:gd name="T113" fmla="*/ 351 h 929"/>
                <a:gd name="T114" fmla="*/ 0 w 820"/>
                <a:gd name="T115" fmla="*/ 306 h 929"/>
                <a:gd name="T116" fmla="*/ 47 w 820"/>
                <a:gd name="T117" fmla="*/ 232 h 929"/>
                <a:gd name="T118" fmla="*/ 90 w 820"/>
                <a:gd name="T119" fmla="*/ 146 h 929"/>
                <a:gd name="T120" fmla="*/ 92 w 820"/>
                <a:gd name="T121" fmla="*/ 83 h 929"/>
                <a:gd name="T122" fmla="*/ 197 w 820"/>
                <a:gd name="T123" fmla="*/ 92 h 929"/>
                <a:gd name="T124" fmla="*/ 231 w 820"/>
                <a:gd name="T125" fmla="*/ 32 h 9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0" h="929">
                  <a:moveTo>
                    <a:pt x="564" y="787"/>
                  </a:move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5"/>
                  </a:lnTo>
                  <a:lnTo>
                    <a:pt x="564" y="785"/>
                  </a:lnTo>
                  <a:lnTo>
                    <a:pt x="564" y="785"/>
                  </a:lnTo>
                  <a:lnTo>
                    <a:pt x="564" y="785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80"/>
                  </a:lnTo>
                  <a:lnTo>
                    <a:pt x="564" y="778"/>
                  </a:lnTo>
                  <a:lnTo>
                    <a:pt x="564" y="778"/>
                  </a:lnTo>
                  <a:lnTo>
                    <a:pt x="564" y="778"/>
                  </a:lnTo>
                  <a:lnTo>
                    <a:pt x="564" y="778"/>
                  </a:lnTo>
                  <a:lnTo>
                    <a:pt x="564" y="778"/>
                  </a:lnTo>
                  <a:lnTo>
                    <a:pt x="564" y="778"/>
                  </a:lnTo>
                  <a:lnTo>
                    <a:pt x="566" y="778"/>
                  </a:lnTo>
                  <a:lnTo>
                    <a:pt x="566" y="778"/>
                  </a:lnTo>
                  <a:lnTo>
                    <a:pt x="566" y="778"/>
                  </a:lnTo>
                  <a:lnTo>
                    <a:pt x="566" y="778"/>
                  </a:lnTo>
                  <a:lnTo>
                    <a:pt x="566" y="778"/>
                  </a:lnTo>
                  <a:lnTo>
                    <a:pt x="566" y="778"/>
                  </a:lnTo>
                  <a:lnTo>
                    <a:pt x="566" y="778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3"/>
                  </a:lnTo>
                  <a:lnTo>
                    <a:pt x="566" y="783"/>
                  </a:lnTo>
                  <a:lnTo>
                    <a:pt x="566" y="783"/>
                  </a:lnTo>
                  <a:lnTo>
                    <a:pt x="566" y="783"/>
                  </a:lnTo>
                  <a:lnTo>
                    <a:pt x="566" y="783"/>
                  </a:lnTo>
                  <a:lnTo>
                    <a:pt x="566" y="785"/>
                  </a:lnTo>
                  <a:lnTo>
                    <a:pt x="566" y="785"/>
                  </a:lnTo>
                  <a:lnTo>
                    <a:pt x="566" y="787"/>
                  </a:lnTo>
                  <a:lnTo>
                    <a:pt x="566" y="787"/>
                  </a:lnTo>
                  <a:lnTo>
                    <a:pt x="566" y="787"/>
                  </a:lnTo>
                  <a:lnTo>
                    <a:pt x="566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close/>
                  <a:moveTo>
                    <a:pt x="559" y="753"/>
                  </a:move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9" y="751"/>
                  </a:lnTo>
                  <a:lnTo>
                    <a:pt x="559" y="751"/>
                  </a:lnTo>
                  <a:lnTo>
                    <a:pt x="559" y="751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61" y="749"/>
                  </a:lnTo>
                  <a:lnTo>
                    <a:pt x="561" y="749"/>
                  </a:lnTo>
                  <a:lnTo>
                    <a:pt x="561" y="749"/>
                  </a:lnTo>
                  <a:lnTo>
                    <a:pt x="561" y="749"/>
                  </a:lnTo>
                  <a:lnTo>
                    <a:pt x="561" y="749"/>
                  </a:lnTo>
                  <a:lnTo>
                    <a:pt x="561" y="749"/>
                  </a:lnTo>
                  <a:lnTo>
                    <a:pt x="561" y="751"/>
                  </a:lnTo>
                  <a:lnTo>
                    <a:pt x="561" y="751"/>
                  </a:lnTo>
                  <a:lnTo>
                    <a:pt x="561" y="751"/>
                  </a:lnTo>
                  <a:lnTo>
                    <a:pt x="561" y="751"/>
                  </a:lnTo>
                  <a:lnTo>
                    <a:pt x="561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close/>
                  <a:moveTo>
                    <a:pt x="579" y="713"/>
                  </a:moveTo>
                  <a:lnTo>
                    <a:pt x="579" y="713"/>
                  </a:lnTo>
                  <a:lnTo>
                    <a:pt x="577" y="713"/>
                  </a:lnTo>
                  <a:lnTo>
                    <a:pt x="577" y="715"/>
                  </a:lnTo>
                  <a:lnTo>
                    <a:pt x="573" y="717"/>
                  </a:lnTo>
                  <a:lnTo>
                    <a:pt x="573" y="720"/>
                  </a:lnTo>
                  <a:lnTo>
                    <a:pt x="573" y="720"/>
                  </a:lnTo>
                  <a:lnTo>
                    <a:pt x="570" y="720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3" y="717"/>
                  </a:lnTo>
                  <a:lnTo>
                    <a:pt x="575" y="715"/>
                  </a:lnTo>
                  <a:lnTo>
                    <a:pt x="575" y="715"/>
                  </a:lnTo>
                  <a:lnTo>
                    <a:pt x="575" y="715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9" y="713"/>
                  </a:lnTo>
                  <a:lnTo>
                    <a:pt x="579" y="713"/>
                  </a:lnTo>
                  <a:lnTo>
                    <a:pt x="579" y="713"/>
                  </a:lnTo>
                  <a:lnTo>
                    <a:pt x="579" y="713"/>
                  </a:lnTo>
                  <a:lnTo>
                    <a:pt x="579" y="713"/>
                  </a:lnTo>
                  <a:close/>
                  <a:moveTo>
                    <a:pt x="600" y="695"/>
                  </a:moveTo>
                  <a:lnTo>
                    <a:pt x="600" y="695"/>
                  </a:lnTo>
                  <a:lnTo>
                    <a:pt x="600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7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close/>
                  <a:moveTo>
                    <a:pt x="622" y="690"/>
                  </a:moveTo>
                  <a:lnTo>
                    <a:pt x="622" y="693"/>
                  </a:lnTo>
                  <a:lnTo>
                    <a:pt x="622" y="693"/>
                  </a:lnTo>
                  <a:lnTo>
                    <a:pt x="622" y="693"/>
                  </a:lnTo>
                  <a:lnTo>
                    <a:pt x="622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4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2" y="695"/>
                  </a:lnTo>
                  <a:lnTo>
                    <a:pt x="620" y="695"/>
                  </a:lnTo>
                  <a:lnTo>
                    <a:pt x="620" y="695"/>
                  </a:lnTo>
                  <a:lnTo>
                    <a:pt x="620" y="695"/>
                  </a:lnTo>
                  <a:lnTo>
                    <a:pt x="618" y="695"/>
                  </a:lnTo>
                  <a:lnTo>
                    <a:pt x="618" y="695"/>
                  </a:lnTo>
                  <a:lnTo>
                    <a:pt x="618" y="693"/>
                  </a:lnTo>
                  <a:lnTo>
                    <a:pt x="620" y="693"/>
                  </a:lnTo>
                  <a:lnTo>
                    <a:pt x="620" y="693"/>
                  </a:lnTo>
                  <a:lnTo>
                    <a:pt x="620" y="693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2" y="690"/>
                  </a:lnTo>
                  <a:lnTo>
                    <a:pt x="622" y="690"/>
                  </a:lnTo>
                  <a:lnTo>
                    <a:pt x="622" y="690"/>
                  </a:lnTo>
                  <a:lnTo>
                    <a:pt x="622" y="690"/>
                  </a:lnTo>
                  <a:lnTo>
                    <a:pt x="622" y="690"/>
                  </a:lnTo>
                  <a:lnTo>
                    <a:pt x="622" y="690"/>
                  </a:lnTo>
                  <a:close/>
                  <a:moveTo>
                    <a:pt x="642" y="675"/>
                  </a:moveTo>
                  <a:lnTo>
                    <a:pt x="642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5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4" y="677"/>
                  </a:lnTo>
                  <a:lnTo>
                    <a:pt x="642" y="677"/>
                  </a:lnTo>
                  <a:lnTo>
                    <a:pt x="642" y="677"/>
                  </a:lnTo>
                  <a:lnTo>
                    <a:pt x="642" y="677"/>
                  </a:lnTo>
                  <a:lnTo>
                    <a:pt x="642" y="677"/>
                  </a:lnTo>
                  <a:lnTo>
                    <a:pt x="642" y="677"/>
                  </a:lnTo>
                  <a:lnTo>
                    <a:pt x="642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7"/>
                  </a:lnTo>
                  <a:lnTo>
                    <a:pt x="640" y="675"/>
                  </a:lnTo>
                  <a:lnTo>
                    <a:pt x="640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close/>
                  <a:moveTo>
                    <a:pt x="739" y="443"/>
                  </a:moveTo>
                  <a:lnTo>
                    <a:pt x="739" y="445"/>
                  </a:lnTo>
                  <a:lnTo>
                    <a:pt x="739" y="445"/>
                  </a:lnTo>
                  <a:lnTo>
                    <a:pt x="739" y="445"/>
                  </a:lnTo>
                  <a:lnTo>
                    <a:pt x="739" y="445"/>
                  </a:lnTo>
                  <a:lnTo>
                    <a:pt x="739" y="448"/>
                  </a:lnTo>
                  <a:lnTo>
                    <a:pt x="739" y="448"/>
                  </a:lnTo>
                  <a:lnTo>
                    <a:pt x="739" y="448"/>
                  </a:lnTo>
                  <a:lnTo>
                    <a:pt x="739" y="448"/>
                  </a:lnTo>
                  <a:lnTo>
                    <a:pt x="739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9" y="443"/>
                  </a:lnTo>
                  <a:lnTo>
                    <a:pt x="739" y="443"/>
                  </a:lnTo>
                  <a:lnTo>
                    <a:pt x="739" y="443"/>
                  </a:lnTo>
                  <a:close/>
                  <a:moveTo>
                    <a:pt x="746" y="432"/>
                  </a:moveTo>
                  <a:lnTo>
                    <a:pt x="746" y="434"/>
                  </a:lnTo>
                  <a:lnTo>
                    <a:pt x="746" y="434"/>
                  </a:lnTo>
                  <a:lnTo>
                    <a:pt x="746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6"/>
                  </a:lnTo>
                  <a:lnTo>
                    <a:pt x="743" y="436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9"/>
                  </a:lnTo>
                  <a:lnTo>
                    <a:pt x="741" y="439"/>
                  </a:lnTo>
                  <a:lnTo>
                    <a:pt x="741" y="439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41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4"/>
                  </a:lnTo>
                  <a:lnTo>
                    <a:pt x="743" y="432"/>
                  </a:lnTo>
                  <a:lnTo>
                    <a:pt x="743" y="432"/>
                  </a:lnTo>
                  <a:lnTo>
                    <a:pt x="743" y="432"/>
                  </a:lnTo>
                  <a:lnTo>
                    <a:pt x="743" y="432"/>
                  </a:lnTo>
                  <a:lnTo>
                    <a:pt x="743" y="432"/>
                  </a:lnTo>
                  <a:lnTo>
                    <a:pt x="743" y="432"/>
                  </a:lnTo>
                  <a:lnTo>
                    <a:pt x="743" y="432"/>
                  </a:lnTo>
                  <a:lnTo>
                    <a:pt x="746" y="432"/>
                  </a:lnTo>
                  <a:close/>
                  <a:moveTo>
                    <a:pt x="615" y="191"/>
                  </a:moveTo>
                  <a:lnTo>
                    <a:pt x="615" y="193"/>
                  </a:lnTo>
                  <a:lnTo>
                    <a:pt x="615" y="191"/>
                  </a:lnTo>
                  <a:lnTo>
                    <a:pt x="615" y="191"/>
                  </a:lnTo>
                  <a:lnTo>
                    <a:pt x="615" y="193"/>
                  </a:lnTo>
                  <a:lnTo>
                    <a:pt x="615" y="193"/>
                  </a:lnTo>
                  <a:lnTo>
                    <a:pt x="615" y="193"/>
                  </a:lnTo>
                  <a:lnTo>
                    <a:pt x="615" y="193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3" y="196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6"/>
                  </a:lnTo>
                  <a:lnTo>
                    <a:pt x="613" y="196"/>
                  </a:lnTo>
                  <a:lnTo>
                    <a:pt x="613" y="196"/>
                  </a:lnTo>
                  <a:lnTo>
                    <a:pt x="613" y="196"/>
                  </a:lnTo>
                  <a:lnTo>
                    <a:pt x="613" y="196"/>
                  </a:lnTo>
                  <a:lnTo>
                    <a:pt x="613" y="193"/>
                  </a:lnTo>
                  <a:lnTo>
                    <a:pt x="613" y="193"/>
                  </a:lnTo>
                  <a:lnTo>
                    <a:pt x="613" y="193"/>
                  </a:lnTo>
                  <a:lnTo>
                    <a:pt x="613" y="193"/>
                  </a:lnTo>
                  <a:lnTo>
                    <a:pt x="613" y="193"/>
                  </a:lnTo>
                  <a:lnTo>
                    <a:pt x="613" y="191"/>
                  </a:lnTo>
                  <a:lnTo>
                    <a:pt x="615" y="191"/>
                  </a:lnTo>
                  <a:lnTo>
                    <a:pt x="615" y="189"/>
                  </a:lnTo>
                  <a:lnTo>
                    <a:pt x="615" y="189"/>
                  </a:lnTo>
                  <a:lnTo>
                    <a:pt x="615" y="191"/>
                  </a:lnTo>
                  <a:lnTo>
                    <a:pt x="615" y="191"/>
                  </a:lnTo>
                  <a:lnTo>
                    <a:pt x="615" y="191"/>
                  </a:lnTo>
                  <a:lnTo>
                    <a:pt x="615" y="191"/>
                  </a:lnTo>
                  <a:lnTo>
                    <a:pt x="615" y="191"/>
                  </a:lnTo>
                  <a:close/>
                  <a:moveTo>
                    <a:pt x="667" y="189"/>
                  </a:moveTo>
                  <a:lnTo>
                    <a:pt x="667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7" y="189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7" y="191"/>
                  </a:lnTo>
                  <a:lnTo>
                    <a:pt x="667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5" y="189"/>
                  </a:lnTo>
                  <a:lnTo>
                    <a:pt x="667" y="189"/>
                  </a:lnTo>
                  <a:lnTo>
                    <a:pt x="667" y="189"/>
                  </a:lnTo>
                  <a:close/>
                  <a:moveTo>
                    <a:pt x="512" y="169"/>
                  </a:moveTo>
                  <a:lnTo>
                    <a:pt x="512" y="171"/>
                  </a:lnTo>
                  <a:lnTo>
                    <a:pt x="512" y="171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6"/>
                  </a:lnTo>
                  <a:lnTo>
                    <a:pt x="512" y="166"/>
                  </a:lnTo>
                  <a:lnTo>
                    <a:pt x="512" y="166"/>
                  </a:lnTo>
                  <a:lnTo>
                    <a:pt x="512" y="166"/>
                  </a:lnTo>
                  <a:lnTo>
                    <a:pt x="512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6"/>
                  </a:lnTo>
                  <a:lnTo>
                    <a:pt x="514" y="169"/>
                  </a:lnTo>
                  <a:lnTo>
                    <a:pt x="514" y="169"/>
                  </a:lnTo>
                  <a:lnTo>
                    <a:pt x="514" y="169"/>
                  </a:lnTo>
                  <a:lnTo>
                    <a:pt x="514" y="169"/>
                  </a:lnTo>
                  <a:lnTo>
                    <a:pt x="512" y="169"/>
                  </a:lnTo>
                  <a:close/>
                  <a:moveTo>
                    <a:pt x="534" y="153"/>
                  </a:moveTo>
                  <a:lnTo>
                    <a:pt x="534" y="153"/>
                  </a:lnTo>
                  <a:lnTo>
                    <a:pt x="534" y="153"/>
                  </a:lnTo>
                  <a:lnTo>
                    <a:pt x="534" y="153"/>
                  </a:lnTo>
                  <a:lnTo>
                    <a:pt x="534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3"/>
                  </a:lnTo>
                  <a:lnTo>
                    <a:pt x="532" y="151"/>
                  </a:lnTo>
                  <a:lnTo>
                    <a:pt x="532" y="151"/>
                  </a:lnTo>
                  <a:lnTo>
                    <a:pt x="532" y="151"/>
                  </a:lnTo>
                  <a:lnTo>
                    <a:pt x="532" y="151"/>
                  </a:lnTo>
                  <a:lnTo>
                    <a:pt x="532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3"/>
                  </a:lnTo>
                  <a:lnTo>
                    <a:pt x="534" y="153"/>
                  </a:lnTo>
                  <a:lnTo>
                    <a:pt x="534" y="153"/>
                  </a:lnTo>
                  <a:lnTo>
                    <a:pt x="534" y="153"/>
                  </a:lnTo>
                  <a:close/>
                  <a:moveTo>
                    <a:pt x="537" y="149"/>
                  </a:moveTo>
                  <a:lnTo>
                    <a:pt x="537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7" y="144"/>
                  </a:lnTo>
                  <a:lnTo>
                    <a:pt x="537" y="144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7" y="146"/>
                  </a:lnTo>
                  <a:lnTo>
                    <a:pt x="537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close/>
                  <a:moveTo>
                    <a:pt x="543" y="140"/>
                  </a:moveTo>
                  <a:lnTo>
                    <a:pt x="543" y="140"/>
                  </a:lnTo>
                  <a:lnTo>
                    <a:pt x="543" y="140"/>
                  </a:lnTo>
                  <a:lnTo>
                    <a:pt x="543" y="140"/>
                  </a:lnTo>
                  <a:lnTo>
                    <a:pt x="543" y="140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3" y="140"/>
                  </a:lnTo>
                  <a:close/>
                  <a:moveTo>
                    <a:pt x="548" y="142"/>
                  </a:move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close/>
                  <a:moveTo>
                    <a:pt x="483" y="140"/>
                  </a:moveTo>
                  <a:lnTo>
                    <a:pt x="483" y="140"/>
                  </a:lnTo>
                  <a:lnTo>
                    <a:pt x="483" y="140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0" y="142"/>
                  </a:lnTo>
                  <a:lnTo>
                    <a:pt x="480" y="142"/>
                  </a:lnTo>
                  <a:lnTo>
                    <a:pt x="480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78" y="144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2"/>
                  </a:lnTo>
                  <a:lnTo>
                    <a:pt x="478" y="142"/>
                  </a:lnTo>
                  <a:lnTo>
                    <a:pt x="478" y="140"/>
                  </a:lnTo>
                  <a:lnTo>
                    <a:pt x="478" y="140"/>
                  </a:lnTo>
                  <a:lnTo>
                    <a:pt x="480" y="140"/>
                  </a:lnTo>
                  <a:lnTo>
                    <a:pt x="480" y="140"/>
                  </a:lnTo>
                  <a:lnTo>
                    <a:pt x="480" y="140"/>
                  </a:lnTo>
                  <a:lnTo>
                    <a:pt x="480" y="140"/>
                  </a:lnTo>
                  <a:lnTo>
                    <a:pt x="480" y="140"/>
                  </a:lnTo>
                  <a:lnTo>
                    <a:pt x="480" y="137"/>
                  </a:lnTo>
                  <a:lnTo>
                    <a:pt x="483" y="137"/>
                  </a:lnTo>
                  <a:lnTo>
                    <a:pt x="483" y="140"/>
                  </a:lnTo>
                  <a:lnTo>
                    <a:pt x="483" y="140"/>
                  </a:lnTo>
                  <a:lnTo>
                    <a:pt x="483" y="140"/>
                  </a:lnTo>
                  <a:close/>
                  <a:moveTo>
                    <a:pt x="474" y="137"/>
                  </a:moveTo>
                  <a:lnTo>
                    <a:pt x="474" y="140"/>
                  </a:lnTo>
                  <a:lnTo>
                    <a:pt x="474" y="140"/>
                  </a:lnTo>
                  <a:lnTo>
                    <a:pt x="474" y="140"/>
                  </a:lnTo>
                  <a:lnTo>
                    <a:pt x="476" y="140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4" y="144"/>
                  </a:lnTo>
                  <a:lnTo>
                    <a:pt x="474" y="144"/>
                  </a:lnTo>
                  <a:lnTo>
                    <a:pt x="474" y="149"/>
                  </a:lnTo>
                  <a:lnTo>
                    <a:pt x="471" y="149"/>
                  </a:lnTo>
                  <a:lnTo>
                    <a:pt x="471" y="149"/>
                  </a:lnTo>
                  <a:lnTo>
                    <a:pt x="471" y="149"/>
                  </a:lnTo>
                  <a:lnTo>
                    <a:pt x="471" y="149"/>
                  </a:lnTo>
                  <a:lnTo>
                    <a:pt x="471" y="149"/>
                  </a:lnTo>
                  <a:lnTo>
                    <a:pt x="469" y="153"/>
                  </a:lnTo>
                  <a:lnTo>
                    <a:pt x="469" y="153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5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3" y="158"/>
                  </a:lnTo>
                  <a:lnTo>
                    <a:pt x="463" y="160"/>
                  </a:lnTo>
                  <a:lnTo>
                    <a:pt x="463" y="16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58" y="160"/>
                  </a:lnTo>
                  <a:lnTo>
                    <a:pt x="458" y="160"/>
                  </a:lnTo>
                  <a:lnTo>
                    <a:pt x="458" y="160"/>
                  </a:lnTo>
                  <a:lnTo>
                    <a:pt x="458" y="158"/>
                  </a:lnTo>
                  <a:lnTo>
                    <a:pt x="460" y="158"/>
                  </a:lnTo>
                  <a:lnTo>
                    <a:pt x="460" y="158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60" y="155"/>
                  </a:lnTo>
                  <a:lnTo>
                    <a:pt x="460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3" y="153"/>
                  </a:lnTo>
                  <a:lnTo>
                    <a:pt x="465" y="151"/>
                  </a:lnTo>
                  <a:lnTo>
                    <a:pt x="465" y="151"/>
                  </a:lnTo>
                  <a:lnTo>
                    <a:pt x="465" y="149"/>
                  </a:lnTo>
                  <a:lnTo>
                    <a:pt x="465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7" y="142"/>
                  </a:lnTo>
                  <a:lnTo>
                    <a:pt x="467" y="142"/>
                  </a:lnTo>
                  <a:lnTo>
                    <a:pt x="467" y="140"/>
                  </a:lnTo>
                  <a:lnTo>
                    <a:pt x="467" y="140"/>
                  </a:lnTo>
                  <a:lnTo>
                    <a:pt x="469" y="140"/>
                  </a:lnTo>
                  <a:lnTo>
                    <a:pt x="469" y="140"/>
                  </a:lnTo>
                  <a:lnTo>
                    <a:pt x="469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69" y="140"/>
                  </a:lnTo>
                  <a:lnTo>
                    <a:pt x="469" y="140"/>
                  </a:lnTo>
                  <a:lnTo>
                    <a:pt x="469" y="140"/>
                  </a:lnTo>
                  <a:lnTo>
                    <a:pt x="469" y="140"/>
                  </a:lnTo>
                  <a:lnTo>
                    <a:pt x="469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40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1" y="137"/>
                  </a:lnTo>
                  <a:lnTo>
                    <a:pt x="474" y="137"/>
                  </a:lnTo>
                  <a:lnTo>
                    <a:pt x="474" y="137"/>
                  </a:lnTo>
                  <a:lnTo>
                    <a:pt x="474" y="137"/>
                  </a:lnTo>
                  <a:close/>
                  <a:moveTo>
                    <a:pt x="469" y="135"/>
                  </a:moveTo>
                  <a:lnTo>
                    <a:pt x="469" y="135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71" y="135"/>
                  </a:lnTo>
                  <a:lnTo>
                    <a:pt x="471" y="135"/>
                  </a:lnTo>
                  <a:lnTo>
                    <a:pt x="471" y="135"/>
                  </a:lnTo>
                  <a:lnTo>
                    <a:pt x="471" y="135"/>
                  </a:lnTo>
                  <a:lnTo>
                    <a:pt x="471" y="133"/>
                  </a:lnTo>
                  <a:lnTo>
                    <a:pt x="474" y="131"/>
                  </a:lnTo>
                  <a:lnTo>
                    <a:pt x="474" y="131"/>
                  </a:lnTo>
                  <a:lnTo>
                    <a:pt x="474" y="128"/>
                  </a:lnTo>
                  <a:lnTo>
                    <a:pt x="474" y="128"/>
                  </a:lnTo>
                  <a:lnTo>
                    <a:pt x="474" y="128"/>
                  </a:lnTo>
                  <a:lnTo>
                    <a:pt x="474" y="128"/>
                  </a:lnTo>
                  <a:lnTo>
                    <a:pt x="474" y="128"/>
                  </a:lnTo>
                  <a:lnTo>
                    <a:pt x="474" y="128"/>
                  </a:lnTo>
                  <a:lnTo>
                    <a:pt x="474" y="128"/>
                  </a:lnTo>
                  <a:lnTo>
                    <a:pt x="476" y="128"/>
                  </a:lnTo>
                  <a:lnTo>
                    <a:pt x="476" y="128"/>
                  </a:lnTo>
                  <a:lnTo>
                    <a:pt x="476" y="128"/>
                  </a:lnTo>
                  <a:lnTo>
                    <a:pt x="476" y="128"/>
                  </a:lnTo>
                  <a:lnTo>
                    <a:pt x="476" y="128"/>
                  </a:lnTo>
                  <a:lnTo>
                    <a:pt x="476" y="128"/>
                  </a:lnTo>
                  <a:lnTo>
                    <a:pt x="476" y="128"/>
                  </a:lnTo>
                  <a:lnTo>
                    <a:pt x="476" y="131"/>
                  </a:lnTo>
                  <a:lnTo>
                    <a:pt x="476" y="131"/>
                  </a:lnTo>
                  <a:lnTo>
                    <a:pt x="476" y="131"/>
                  </a:lnTo>
                  <a:lnTo>
                    <a:pt x="476" y="131"/>
                  </a:lnTo>
                  <a:lnTo>
                    <a:pt x="476" y="131"/>
                  </a:lnTo>
                  <a:lnTo>
                    <a:pt x="474" y="133"/>
                  </a:lnTo>
                  <a:lnTo>
                    <a:pt x="474" y="133"/>
                  </a:lnTo>
                  <a:lnTo>
                    <a:pt x="471" y="135"/>
                  </a:lnTo>
                  <a:lnTo>
                    <a:pt x="471" y="135"/>
                  </a:lnTo>
                  <a:lnTo>
                    <a:pt x="469" y="135"/>
                  </a:lnTo>
                  <a:close/>
                  <a:moveTo>
                    <a:pt x="496" y="128"/>
                  </a:moveTo>
                  <a:lnTo>
                    <a:pt x="498" y="128"/>
                  </a:lnTo>
                  <a:lnTo>
                    <a:pt x="498" y="128"/>
                  </a:lnTo>
                  <a:lnTo>
                    <a:pt x="503" y="131"/>
                  </a:lnTo>
                  <a:lnTo>
                    <a:pt x="507" y="131"/>
                  </a:lnTo>
                  <a:lnTo>
                    <a:pt x="510" y="131"/>
                  </a:lnTo>
                  <a:lnTo>
                    <a:pt x="510" y="131"/>
                  </a:lnTo>
                  <a:lnTo>
                    <a:pt x="510" y="131"/>
                  </a:lnTo>
                  <a:lnTo>
                    <a:pt x="510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31"/>
                  </a:lnTo>
                  <a:lnTo>
                    <a:pt x="512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4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6" y="128"/>
                  </a:lnTo>
                  <a:lnTo>
                    <a:pt x="519" y="128"/>
                  </a:lnTo>
                  <a:lnTo>
                    <a:pt x="519" y="128"/>
                  </a:lnTo>
                  <a:lnTo>
                    <a:pt x="519" y="128"/>
                  </a:lnTo>
                  <a:lnTo>
                    <a:pt x="521" y="128"/>
                  </a:lnTo>
                  <a:lnTo>
                    <a:pt x="521" y="128"/>
                  </a:lnTo>
                  <a:lnTo>
                    <a:pt x="521" y="128"/>
                  </a:lnTo>
                  <a:lnTo>
                    <a:pt x="521" y="131"/>
                  </a:lnTo>
                  <a:lnTo>
                    <a:pt x="521" y="131"/>
                  </a:lnTo>
                  <a:lnTo>
                    <a:pt x="521" y="131"/>
                  </a:lnTo>
                  <a:lnTo>
                    <a:pt x="523" y="131"/>
                  </a:lnTo>
                  <a:lnTo>
                    <a:pt x="523" y="131"/>
                  </a:lnTo>
                  <a:lnTo>
                    <a:pt x="523" y="131"/>
                  </a:lnTo>
                  <a:lnTo>
                    <a:pt x="523" y="131"/>
                  </a:lnTo>
                  <a:lnTo>
                    <a:pt x="525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28" y="131"/>
                  </a:lnTo>
                  <a:lnTo>
                    <a:pt x="530" y="131"/>
                  </a:lnTo>
                  <a:lnTo>
                    <a:pt x="532" y="131"/>
                  </a:lnTo>
                  <a:lnTo>
                    <a:pt x="532" y="131"/>
                  </a:lnTo>
                  <a:lnTo>
                    <a:pt x="532" y="131"/>
                  </a:lnTo>
                  <a:lnTo>
                    <a:pt x="532" y="133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5"/>
                  </a:lnTo>
                  <a:lnTo>
                    <a:pt x="532" y="137"/>
                  </a:lnTo>
                  <a:lnTo>
                    <a:pt x="532" y="137"/>
                  </a:lnTo>
                  <a:lnTo>
                    <a:pt x="532" y="140"/>
                  </a:lnTo>
                  <a:lnTo>
                    <a:pt x="532" y="140"/>
                  </a:lnTo>
                  <a:lnTo>
                    <a:pt x="532" y="140"/>
                  </a:lnTo>
                  <a:lnTo>
                    <a:pt x="532" y="140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2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2"/>
                  </a:lnTo>
                  <a:lnTo>
                    <a:pt x="530" y="144"/>
                  </a:lnTo>
                  <a:lnTo>
                    <a:pt x="530" y="144"/>
                  </a:lnTo>
                  <a:lnTo>
                    <a:pt x="530" y="144"/>
                  </a:lnTo>
                  <a:lnTo>
                    <a:pt x="530" y="144"/>
                  </a:lnTo>
                  <a:lnTo>
                    <a:pt x="530" y="146"/>
                  </a:lnTo>
                  <a:lnTo>
                    <a:pt x="530" y="146"/>
                  </a:lnTo>
                  <a:lnTo>
                    <a:pt x="530" y="146"/>
                  </a:lnTo>
                  <a:lnTo>
                    <a:pt x="528" y="146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49"/>
                  </a:lnTo>
                  <a:lnTo>
                    <a:pt x="528" y="151"/>
                  </a:lnTo>
                  <a:lnTo>
                    <a:pt x="528" y="151"/>
                  </a:lnTo>
                  <a:lnTo>
                    <a:pt x="528" y="151"/>
                  </a:lnTo>
                  <a:lnTo>
                    <a:pt x="528" y="151"/>
                  </a:lnTo>
                  <a:lnTo>
                    <a:pt x="528" y="151"/>
                  </a:lnTo>
                  <a:lnTo>
                    <a:pt x="528" y="151"/>
                  </a:lnTo>
                  <a:lnTo>
                    <a:pt x="528" y="151"/>
                  </a:lnTo>
                  <a:lnTo>
                    <a:pt x="525" y="153"/>
                  </a:lnTo>
                  <a:lnTo>
                    <a:pt x="525" y="153"/>
                  </a:lnTo>
                  <a:lnTo>
                    <a:pt x="525" y="153"/>
                  </a:lnTo>
                  <a:lnTo>
                    <a:pt x="525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3"/>
                  </a:lnTo>
                  <a:lnTo>
                    <a:pt x="523" y="155"/>
                  </a:lnTo>
                  <a:lnTo>
                    <a:pt x="523" y="155"/>
                  </a:lnTo>
                  <a:lnTo>
                    <a:pt x="523" y="155"/>
                  </a:lnTo>
                  <a:lnTo>
                    <a:pt x="523" y="155"/>
                  </a:lnTo>
                  <a:lnTo>
                    <a:pt x="523" y="155"/>
                  </a:lnTo>
                  <a:lnTo>
                    <a:pt x="523" y="155"/>
                  </a:lnTo>
                  <a:lnTo>
                    <a:pt x="523" y="155"/>
                  </a:lnTo>
                  <a:lnTo>
                    <a:pt x="525" y="155"/>
                  </a:lnTo>
                  <a:lnTo>
                    <a:pt x="525" y="155"/>
                  </a:lnTo>
                  <a:lnTo>
                    <a:pt x="525" y="158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58"/>
                  </a:lnTo>
                  <a:lnTo>
                    <a:pt x="521" y="155"/>
                  </a:lnTo>
                  <a:lnTo>
                    <a:pt x="521" y="155"/>
                  </a:lnTo>
                  <a:lnTo>
                    <a:pt x="521" y="155"/>
                  </a:lnTo>
                  <a:lnTo>
                    <a:pt x="521" y="155"/>
                  </a:lnTo>
                  <a:lnTo>
                    <a:pt x="521" y="155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1" y="158"/>
                  </a:lnTo>
                  <a:lnTo>
                    <a:pt x="523" y="158"/>
                  </a:lnTo>
                  <a:lnTo>
                    <a:pt x="523" y="158"/>
                  </a:lnTo>
                  <a:lnTo>
                    <a:pt x="523" y="158"/>
                  </a:lnTo>
                  <a:lnTo>
                    <a:pt x="523" y="158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3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0"/>
                  </a:lnTo>
                  <a:lnTo>
                    <a:pt x="521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2"/>
                  </a:lnTo>
                  <a:lnTo>
                    <a:pt x="519" y="160"/>
                  </a:lnTo>
                  <a:lnTo>
                    <a:pt x="519" y="160"/>
                  </a:lnTo>
                  <a:lnTo>
                    <a:pt x="519" y="160"/>
                  </a:lnTo>
                  <a:lnTo>
                    <a:pt x="519" y="160"/>
                  </a:lnTo>
                  <a:lnTo>
                    <a:pt x="519" y="160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58"/>
                  </a:lnTo>
                  <a:lnTo>
                    <a:pt x="516" y="160"/>
                  </a:lnTo>
                  <a:lnTo>
                    <a:pt x="516" y="160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2"/>
                  </a:lnTo>
                  <a:lnTo>
                    <a:pt x="516" y="164"/>
                  </a:lnTo>
                  <a:lnTo>
                    <a:pt x="516" y="164"/>
                  </a:lnTo>
                  <a:lnTo>
                    <a:pt x="514" y="164"/>
                  </a:lnTo>
                  <a:lnTo>
                    <a:pt x="514" y="162"/>
                  </a:lnTo>
                  <a:lnTo>
                    <a:pt x="514" y="162"/>
                  </a:lnTo>
                  <a:lnTo>
                    <a:pt x="514" y="162"/>
                  </a:lnTo>
                  <a:lnTo>
                    <a:pt x="514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0"/>
                  </a:lnTo>
                  <a:lnTo>
                    <a:pt x="512" y="160"/>
                  </a:lnTo>
                  <a:lnTo>
                    <a:pt x="512" y="160"/>
                  </a:lnTo>
                  <a:lnTo>
                    <a:pt x="512" y="160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2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0"/>
                  </a:lnTo>
                  <a:lnTo>
                    <a:pt x="510" y="160"/>
                  </a:lnTo>
                  <a:lnTo>
                    <a:pt x="510" y="160"/>
                  </a:lnTo>
                  <a:lnTo>
                    <a:pt x="510" y="160"/>
                  </a:lnTo>
                  <a:lnTo>
                    <a:pt x="510" y="160"/>
                  </a:lnTo>
                  <a:lnTo>
                    <a:pt x="510" y="160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2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4"/>
                  </a:lnTo>
                  <a:lnTo>
                    <a:pt x="510" y="166"/>
                  </a:lnTo>
                  <a:lnTo>
                    <a:pt x="510" y="166"/>
                  </a:lnTo>
                  <a:lnTo>
                    <a:pt x="510" y="166"/>
                  </a:lnTo>
                  <a:lnTo>
                    <a:pt x="507" y="166"/>
                  </a:lnTo>
                  <a:lnTo>
                    <a:pt x="507" y="166"/>
                  </a:lnTo>
                  <a:lnTo>
                    <a:pt x="507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505" y="162"/>
                  </a:lnTo>
                  <a:lnTo>
                    <a:pt x="505" y="162"/>
                  </a:lnTo>
                  <a:lnTo>
                    <a:pt x="505" y="162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505" y="164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5" y="166"/>
                  </a:lnTo>
                  <a:lnTo>
                    <a:pt x="503" y="169"/>
                  </a:lnTo>
                  <a:lnTo>
                    <a:pt x="503" y="169"/>
                  </a:lnTo>
                  <a:lnTo>
                    <a:pt x="503" y="169"/>
                  </a:lnTo>
                  <a:lnTo>
                    <a:pt x="503" y="169"/>
                  </a:lnTo>
                  <a:lnTo>
                    <a:pt x="503" y="169"/>
                  </a:lnTo>
                  <a:lnTo>
                    <a:pt x="503" y="169"/>
                  </a:lnTo>
                  <a:lnTo>
                    <a:pt x="503" y="166"/>
                  </a:lnTo>
                  <a:lnTo>
                    <a:pt x="503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501" y="166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8" y="164"/>
                  </a:lnTo>
                  <a:lnTo>
                    <a:pt x="498" y="164"/>
                  </a:lnTo>
                  <a:lnTo>
                    <a:pt x="498" y="164"/>
                  </a:lnTo>
                  <a:lnTo>
                    <a:pt x="498" y="164"/>
                  </a:lnTo>
                  <a:lnTo>
                    <a:pt x="498" y="164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8" y="166"/>
                  </a:lnTo>
                  <a:lnTo>
                    <a:pt x="496" y="166"/>
                  </a:lnTo>
                  <a:lnTo>
                    <a:pt x="496" y="166"/>
                  </a:lnTo>
                  <a:lnTo>
                    <a:pt x="496" y="166"/>
                  </a:lnTo>
                  <a:lnTo>
                    <a:pt x="496" y="166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0"/>
                  </a:lnTo>
                  <a:lnTo>
                    <a:pt x="494" y="160"/>
                  </a:lnTo>
                  <a:lnTo>
                    <a:pt x="494" y="160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2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4" y="166"/>
                  </a:lnTo>
                  <a:lnTo>
                    <a:pt x="492" y="166"/>
                  </a:lnTo>
                  <a:lnTo>
                    <a:pt x="492" y="166"/>
                  </a:lnTo>
                  <a:lnTo>
                    <a:pt x="492" y="166"/>
                  </a:lnTo>
                  <a:lnTo>
                    <a:pt x="492" y="166"/>
                  </a:lnTo>
                  <a:lnTo>
                    <a:pt x="492" y="169"/>
                  </a:lnTo>
                  <a:lnTo>
                    <a:pt x="494" y="169"/>
                  </a:lnTo>
                  <a:lnTo>
                    <a:pt x="492" y="169"/>
                  </a:lnTo>
                  <a:lnTo>
                    <a:pt x="492" y="169"/>
                  </a:lnTo>
                  <a:lnTo>
                    <a:pt x="492" y="169"/>
                  </a:lnTo>
                  <a:lnTo>
                    <a:pt x="492" y="169"/>
                  </a:lnTo>
                  <a:lnTo>
                    <a:pt x="487" y="169"/>
                  </a:lnTo>
                  <a:lnTo>
                    <a:pt x="487" y="166"/>
                  </a:lnTo>
                  <a:lnTo>
                    <a:pt x="487" y="166"/>
                  </a:lnTo>
                  <a:lnTo>
                    <a:pt x="487" y="166"/>
                  </a:lnTo>
                  <a:lnTo>
                    <a:pt x="487" y="166"/>
                  </a:lnTo>
                  <a:lnTo>
                    <a:pt x="487" y="166"/>
                  </a:lnTo>
                  <a:lnTo>
                    <a:pt x="487" y="166"/>
                  </a:lnTo>
                  <a:lnTo>
                    <a:pt x="487" y="166"/>
                  </a:lnTo>
                  <a:lnTo>
                    <a:pt x="487" y="164"/>
                  </a:lnTo>
                  <a:lnTo>
                    <a:pt x="483" y="162"/>
                  </a:lnTo>
                  <a:lnTo>
                    <a:pt x="483" y="162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5"/>
                  </a:lnTo>
                  <a:lnTo>
                    <a:pt x="483" y="153"/>
                  </a:lnTo>
                  <a:lnTo>
                    <a:pt x="483" y="153"/>
                  </a:lnTo>
                  <a:lnTo>
                    <a:pt x="483" y="153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5" y="153"/>
                  </a:lnTo>
                  <a:lnTo>
                    <a:pt x="485" y="153"/>
                  </a:lnTo>
                  <a:lnTo>
                    <a:pt x="487" y="153"/>
                  </a:lnTo>
                  <a:lnTo>
                    <a:pt x="487" y="153"/>
                  </a:lnTo>
                  <a:lnTo>
                    <a:pt x="487" y="153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9" y="151"/>
                  </a:lnTo>
                  <a:lnTo>
                    <a:pt x="489" y="151"/>
                  </a:lnTo>
                  <a:lnTo>
                    <a:pt x="489" y="151"/>
                  </a:lnTo>
                  <a:lnTo>
                    <a:pt x="489" y="149"/>
                  </a:lnTo>
                  <a:lnTo>
                    <a:pt x="489" y="149"/>
                  </a:lnTo>
                  <a:lnTo>
                    <a:pt x="487" y="149"/>
                  </a:lnTo>
                  <a:lnTo>
                    <a:pt x="487" y="149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7" y="151"/>
                  </a:lnTo>
                  <a:lnTo>
                    <a:pt x="485" y="151"/>
                  </a:lnTo>
                  <a:lnTo>
                    <a:pt x="485" y="151"/>
                  </a:lnTo>
                  <a:lnTo>
                    <a:pt x="485" y="151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3" y="149"/>
                  </a:lnTo>
                  <a:lnTo>
                    <a:pt x="483" y="149"/>
                  </a:lnTo>
                  <a:lnTo>
                    <a:pt x="483" y="149"/>
                  </a:lnTo>
                  <a:lnTo>
                    <a:pt x="483" y="146"/>
                  </a:lnTo>
                  <a:lnTo>
                    <a:pt x="483" y="146"/>
                  </a:lnTo>
                  <a:lnTo>
                    <a:pt x="483" y="146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4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42"/>
                  </a:lnTo>
                  <a:lnTo>
                    <a:pt x="483" y="137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2"/>
                  </a:lnTo>
                  <a:lnTo>
                    <a:pt x="487" y="140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5" y="140"/>
                  </a:lnTo>
                  <a:lnTo>
                    <a:pt x="485" y="137"/>
                  </a:lnTo>
                  <a:lnTo>
                    <a:pt x="485" y="137"/>
                  </a:lnTo>
                  <a:lnTo>
                    <a:pt x="485" y="137"/>
                  </a:lnTo>
                  <a:lnTo>
                    <a:pt x="485" y="135"/>
                  </a:lnTo>
                  <a:lnTo>
                    <a:pt x="485" y="135"/>
                  </a:lnTo>
                  <a:lnTo>
                    <a:pt x="485" y="133"/>
                  </a:lnTo>
                  <a:lnTo>
                    <a:pt x="485" y="133"/>
                  </a:lnTo>
                  <a:lnTo>
                    <a:pt x="485" y="133"/>
                  </a:lnTo>
                  <a:lnTo>
                    <a:pt x="485" y="133"/>
                  </a:lnTo>
                  <a:lnTo>
                    <a:pt x="485" y="133"/>
                  </a:lnTo>
                  <a:lnTo>
                    <a:pt x="485" y="133"/>
                  </a:lnTo>
                  <a:lnTo>
                    <a:pt x="485" y="133"/>
                  </a:lnTo>
                  <a:lnTo>
                    <a:pt x="485" y="131"/>
                  </a:lnTo>
                  <a:lnTo>
                    <a:pt x="485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31"/>
                  </a:lnTo>
                  <a:lnTo>
                    <a:pt x="487" y="128"/>
                  </a:lnTo>
                  <a:lnTo>
                    <a:pt x="489" y="128"/>
                  </a:lnTo>
                  <a:lnTo>
                    <a:pt x="489" y="128"/>
                  </a:lnTo>
                  <a:lnTo>
                    <a:pt x="489" y="128"/>
                  </a:lnTo>
                  <a:lnTo>
                    <a:pt x="489" y="128"/>
                  </a:lnTo>
                  <a:lnTo>
                    <a:pt x="489" y="128"/>
                  </a:lnTo>
                  <a:lnTo>
                    <a:pt x="489" y="128"/>
                  </a:lnTo>
                  <a:lnTo>
                    <a:pt x="492" y="128"/>
                  </a:lnTo>
                  <a:lnTo>
                    <a:pt x="492" y="128"/>
                  </a:lnTo>
                  <a:lnTo>
                    <a:pt x="492" y="128"/>
                  </a:lnTo>
                  <a:lnTo>
                    <a:pt x="492" y="128"/>
                  </a:lnTo>
                  <a:lnTo>
                    <a:pt x="492" y="128"/>
                  </a:lnTo>
                  <a:lnTo>
                    <a:pt x="492" y="128"/>
                  </a:lnTo>
                  <a:lnTo>
                    <a:pt x="494" y="128"/>
                  </a:lnTo>
                  <a:lnTo>
                    <a:pt x="496" y="128"/>
                  </a:lnTo>
                  <a:close/>
                  <a:moveTo>
                    <a:pt x="480" y="133"/>
                  </a:moveTo>
                  <a:lnTo>
                    <a:pt x="480" y="133"/>
                  </a:lnTo>
                  <a:lnTo>
                    <a:pt x="480" y="133"/>
                  </a:lnTo>
                  <a:lnTo>
                    <a:pt x="480" y="133"/>
                  </a:lnTo>
                  <a:lnTo>
                    <a:pt x="478" y="133"/>
                  </a:lnTo>
                  <a:lnTo>
                    <a:pt x="478" y="133"/>
                  </a:lnTo>
                  <a:lnTo>
                    <a:pt x="478" y="133"/>
                  </a:lnTo>
                  <a:lnTo>
                    <a:pt x="478" y="133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31"/>
                  </a:lnTo>
                  <a:lnTo>
                    <a:pt x="478" y="128"/>
                  </a:lnTo>
                  <a:lnTo>
                    <a:pt x="478" y="128"/>
                  </a:lnTo>
                  <a:lnTo>
                    <a:pt x="478" y="128"/>
                  </a:lnTo>
                  <a:lnTo>
                    <a:pt x="478" y="126"/>
                  </a:lnTo>
                  <a:lnTo>
                    <a:pt x="478" y="126"/>
                  </a:lnTo>
                  <a:lnTo>
                    <a:pt x="480" y="126"/>
                  </a:lnTo>
                  <a:lnTo>
                    <a:pt x="483" y="126"/>
                  </a:lnTo>
                  <a:lnTo>
                    <a:pt x="483" y="126"/>
                  </a:lnTo>
                  <a:lnTo>
                    <a:pt x="483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6"/>
                  </a:lnTo>
                  <a:lnTo>
                    <a:pt x="485" y="128"/>
                  </a:lnTo>
                  <a:lnTo>
                    <a:pt x="485" y="128"/>
                  </a:lnTo>
                  <a:lnTo>
                    <a:pt x="485" y="128"/>
                  </a:lnTo>
                  <a:lnTo>
                    <a:pt x="485" y="128"/>
                  </a:lnTo>
                  <a:lnTo>
                    <a:pt x="483" y="131"/>
                  </a:lnTo>
                  <a:lnTo>
                    <a:pt x="483" y="131"/>
                  </a:lnTo>
                  <a:lnTo>
                    <a:pt x="483" y="131"/>
                  </a:lnTo>
                  <a:lnTo>
                    <a:pt x="480" y="133"/>
                  </a:lnTo>
                  <a:lnTo>
                    <a:pt x="480" y="133"/>
                  </a:lnTo>
                  <a:close/>
                  <a:moveTo>
                    <a:pt x="510" y="124"/>
                  </a:moveTo>
                  <a:lnTo>
                    <a:pt x="510" y="124"/>
                  </a:lnTo>
                  <a:lnTo>
                    <a:pt x="510" y="124"/>
                  </a:lnTo>
                  <a:lnTo>
                    <a:pt x="510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4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6"/>
                  </a:lnTo>
                  <a:lnTo>
                    <a:pt x="512" y="128"/>
                  </a:lnTo>
                  <a:lnTo>
                    <a:pt x="512" y="128"/>
                  </a:lnTo>
                  <a:lnTo>
                    <a:pt x="512" y="128"/>
                  </a:lnTo>
                  <a:lnTo>
                    <a:pt x="510" y="128"/>
                  </a:lnTo>
                  <a:lnTo>
                    <a:pt x="510" y="128"/>
                  </a:lnTo>
                  <a:lnTo>
                    <a:pt x="505" y="128"/>
                  </a:lnTo>
                  <a:lnTo>
                    <a:pt x="505" y="128"/>
                  </a:lnTo>
                  <a:lnTo>
                    <a:pt x="503" y="128"/>
                  </a:lnTo>
                  <a:lnTo>
                    <a:pt x="503" y="126"/>
                  </a:lnTo>
                  <a:lnTo>
                    <a:pt x="503" y="126"/>
                  </a:lnTo>
                  <a:lnTo>
                    <a:pt x="505" y="126"/>
                  </a:lnTo>
                  <a:lnTo>
                    <a:pt x="505" y="124"/>
                  </a:lnTo>
                  <a:lnTo>
                    <a:pt x="507" y="124"/>
                  </a:lnTo>
                  <a:lnTo>
                    <a:pt x="510" y="124"/>
                  </a:lnTo>
                  <a:lnTo>
                    <a:pt x="510" y="124"/>
                  </a:lnTo>
                  <a:lnTo>
                    <a:pt x="510" y="124"/>
                  </a:lnTo>
                  <a:lnTo>
                    <a:pt x="510" y="124"/>
                  </a:lnTo>
                  <a:close/>
                  <a:moveTo>
                    <a:pt x="489" y="126"/>
                  </a:moveTo>
                  <a:lnTo>
                    <a:pt x="489" y="126"/>
                  </a:lnTo>
                  <a:lnTo>
                    <a:pt x="489" y="126"/>
                  </a:lnTo>
                  <a:lnTo>
                    <a:pt x="489" y="126"/>
                  </a:lnTo>
                  <a:lnTo>
                    <a:pt x="489" y="126"/>
                  </a:lnTo>
                  <a:lnTo>
                    <a:pt x="489" y="126"/>
                  </a:lnTo>
                  <a:lnTo>
                    <a:pt x="489" y="126"/>
                  </a:lnTo>
                  <a:lnTo>
                    <a:pt x="487" y="126"/>
                  </a:lnTo>
                  <a:lnTo>
                    <a:pt x="487" y="126"/>
                  </a:lnTo>
                  <a:lnTo>
                    <a:pt x="487" y="126"/>
                  </a:lnTo>
                  <a:lnTo>
                    <a:pt x="487" y="126"/>
                  </a:lnTo>
                  <a:lnTo>
                    <a:pt x="487" y="124"/>
                  </a:lnTo>
                  <a:lnTo>
                    <a:pt x="487" y="124"/>
                  </a:lnTo>
                  <a:lnTo>
                    <a:pt x="487" y="124"/>
                  </a:lnTo>
                  <a:lnTo>
                    <a:pt x="487" y="124"/>
                  </a:lnTo>
                  <a:lnTo>
                    <a:pt x="487" y="124"/>
                  </a:lnTo>
                  <a:lnTo>
                    <a:pt x="485" y="124"/>
                  </a:lnTo>
                  <a:lnTo>
                    <a:pt x="485" y="124"/>
                  </a:lnTo>
                  <a:lnTo>
                    <a:pt x="485" y="124"/>
                  </a:lnTo>
                  <a:lnTo>
                    <a:pt x="485" y="124"/>
                  </a:lnTo>
                  <a:lnTo>
                    <a:pt x="485" y="124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5" y="122"/>
                  </a:lnTo>
                  <a:lnTo>
                    <a:pt x="487" y="122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87" y="122"/>
                  </a:lnTo>
                  <a:lnTo>
                    <a:pt x="487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4"/>
                  </a:lnTo>
                  <a:lnTo>
                    <a:pt x="489" y="124"/>
                  </a:lnTo>
                  <a:lnTo>
                    <a:pt x="489" y="124"/>
                  </a:lnTo>
                  <a:lnTo>
                    <a:pt x="492" y="124"/>
                  </a:lnTo>
                  <a:lnTo>
                    <a:pt x="489" y="126"/>
                  </a:lnTo>
                  <a:close/>
                  <a:moveTo>
                    <a:pt x="505" y="119"/>
                  </a:moveTo>
                  <a:lnTo>
                    <a:pt x="505" y="119"/>
                  </a:lnTo>
                  <a:lnTo>
                    <a:pt x="505" y="119"/>
                  </a:lnTo>
                  <a:lnTo>
                    <a:pt x="505" y="122"/>
                  </a:lnTo>
                  <a:lnTo>
                    <a:pt x="503" y="124"/>
                  </a:lnTo>
                  <a:lnTo>
                    <a:pt x="503" y="124"/>
                  </a:lnTo>
                  <a:lnTo>
                    <a:pt x="503" y="124"/>
                  </a:lnTo>
                  <a:lnTo>
                    <a:pt x="503" y="126"/>
                  </a:lnTo>
                  <a:lnTo>
                    <a:pt x="501" y="126"/>
                  </a:lnTo>
                  <a:lnTo>
                    <a:pt x="501" y="126"/>
                  </a:lnTo>
                  <a:lnTo>
                    <a:pt x="501" y="126"/>
                  </a:lnTo>
                  <a:lnTo>
                    <a:pt x="498" y="126"/>
                  </a:lnTo>
                  <a:lnTo>
                    <a:pt x="498" y="126"/>
                  </a:lnTo>
                  <a:lnTo>
                    <a:pt x="498" y="126"/>
                  </a:lnTo>
                  <a:lnTo>
                    <a:pt x="498" y="126"/>
                  </a:lnTo>
                  <a:lnTo>
                    <a:pt x="498" y="126"/>
                  </a:lnTo>
                  <a:lnTo>
                    <a:pt x="498" y="126"/>
                  </a:lnTo>
                  <a:lnTo>
                    <a:pt x="498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4" y="124"/>
                  </a:lnTo>
                  <a:lnTo>
                    <a:pt x="494" y="124"/>
                  </a:lnTo>
                  <a:lnTo>
                    <a:pt x="494" y="124"/>
                  </a:lnTo>
                  <a:lnTo>
                    <a:pt x="494" y="124"/>
                  </a:lnTo>
                  <a:lnTo>
                    <a:pt x="494" y="124"/>
                  </a:lnTo>
                  <a:lnTo>
                    <a:pt x="494" y="124"/>
                  </a:lnTo>
                  <a:lnTo>
                    <a:pt x="492" y="124"/>
                  </a:lnTo>
                  <a:lnTo>
                    <a:pt x="492" y="124"/>
                  </a:lnTo>
                  <a:lnTo>
                    <a:pt x="492" y="124"/>
                  </a:lnTo>
                  <a:lnTo>
                    <a:pt x="492" y="124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92" y="124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4" y="119"/>
                  </a:lnTo>
                  <a:lnTo>
                    <a:pt x="494" y="119"/>
                  </a:lnTo>
                  <a:lnTo>
                    <a:pt x="494" y="119"/>
                  </a:lnTo>
                  <a:lnTo>
                    <a:pt x="496" y="119"/>
                  </a:lnTo>
                  <a:lnTo>
                    <a:pt x="496" y="119"/>
                  </a:lnTo>
                  <a:lnTo>
                    <a:pt x="496" y="119"/>
                  </a:lnTo>
                  <a:lnTo>
                    <a:pt x="498" y="119"/>
                  </a:lnTo>
                  <a:lnTo>
                    <a:pt x="498" y="119"/>
                  </a:lnTo>
                  <a:lnTo>
                    <a:pt x="501" y="119"/>
                  </a:lnTo>
                  <a:lnTo>
                    <a:pt x="501" y="119"/>
                  </a:lnTo>
                  <a:lnTo>
                    <a:pt x="501" y="117"/>
                  </a:lnTo>
                  <a:lnTo>
                    <a:pt x="501" y="117"/>
                  </a:lnTo>
                  <a:lnTo>
                    <a:pt x="501" y="117"/>
                  </a:lnTo>
                  <a:lnTo>
                    <a:pt x="503" y="119"/>
                  </a:lnTo>
                  <a:lnTo>
                    <a:pt x="503" y="119"/>
                  </a:lnTo>
                  <a:lnTo>
                    <a:pt x="505" y="119"/>
                  </a:lnTo>
                  <a:lnTo>
                    <a:pt x="505" y="119"/>
                  </a:lnTo>
                  <a:lnTo>
                    <a:pt x="505" y="119"/>
                  </a:lnTo>
                  <a:lnTo>
                    <a:pt x="505" y="119"/>
                  </a:lnTo>
                  <a:close/>
                  <a:moveTo>
                    <a:pt x="498" y="115"/>
                  </a:move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8" y="117"/>
                  </a:lnTo>
                  <a:lnTo>
                    <a:pt x="496" y="119"/>
                  </a:lnTo>
                  <a:lnTo>
                    <a:pt x="494" y="119"/>
                  </a:lnTo>
                  <a:lnTo>
                    <a:pt x="494" y="117"/>
                  </a:lnTo>
                  <a:lnTo>
                    <a:pt x="496" y="117"/>
                  </a:lnTo>
                  <a:lnTo>
                    <a:pt x="496" y="117"/>
                  </a:lnTo>
                  <a:lnTo>
                    <a:pt x="496" y="115"/>
                  </a:lnTo>
                  <a:lnTo>
                    <a:pt x="496" y="115"/>
                  </a:lnTo>
                  <a:lnTo>
                    <a:pt x="498" y="115"/>
                  </a:lnTo>
                  <a:close/>
                  <a:moveTo>
                    <a:pt x="492" y="113"/>
                  </a:moveTo>
                  <a:lnTo>
                    <a:pt x="492" y="115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92" y="117"/>
                  </a:lnTo>
                  <a:lnTo>
                    <a:pt x="492" y="117"/>
                  </a:lnTo>
                  <a:lnTo>
                    <a:pt x="494" y="117"/>
                  </a:lnTo>
                  <a:lnTo>
                    <a:pt x="494" y="119"/>
                  </a:lnTo>
                  <a:lnTo>
                    <a:pt x="494" y="119"/>
                  </a:lnTo>
                  <a:lnTo>
                    <a:pt x="494" y="119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2" y="119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92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9" y="122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87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9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89" y="115"/>
                  </a:lnTo>
                  <a:lnTo>
                    <a:pt x="489" y="113"/>
                  </a:lnTo>
                  <a:lnTo>
                    <a:pt x="489" y="113"/>
                  </a:lnTo>
                  <a:lnTo>
                    <a:pt x="489" y="113"/>
                  </a:lnTo>
                  <a:lnTo>
                    <a:pt x="489" y="113"/>
                  </a:lnTo>
                  <a:lnTo>
                    <a:pt x="489" y="113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92" y="113"/>
                  </a:lnTo>
                  <a:close/>
                  <a:moveTo>
                    <a:pt x="498" y="110"/>
                  </a:moveTo>
                  <a:lnTo>
                    <a:pt x="498" y="113"/>
                  </a:lnTo>
                  <a:lnTo>
                    <a:pt x="498" y="113"/>
                  </a:lnTo>
                  <a:lnTo>
                    <a:pt x="498" y="113"/>
                  </a:lnTo>
                  <a:lnTo>
                    <a:pt x="498" y="113"/>
                  </a:lnTo>
                  <a:lnTo>
                    <a:pt x="498" y="113"/>
                  </a:lnTo>
                  <a:lnTo>
                    <a:pt x="498" y="113"/>
                  </a:lnTo>
                  <a:lnTo>
                    <a:pt x="498" y="113"/>
                  </a:lnTo>
                  <a:lnTo>
                    <a:pt x="496" y="117"/>
                  </a:lnTo>
                  <a:lnTo>
                    <a:pt x="496" y="117"/>
                  </a:lnTo>
                  <a:lnTo>
                    <a:pt x="494" y="117"/>
                  </a:lnTo>
                  <a:lnTo>
                    <a:pt x="494" y="117"/>
                  </a:lnTo>
                  <a:lnTo>
                    <a:pt x="494" y="117"/>
                  </a:lnTo>
                  <a:lnTo>
                    <a:pt x="494" y="117"/>
                  </a:lnTo>
                  <a:lnTo>
                    <a:pt x="492" y="115"/>
                  </a:lnTo>
                  <a:lnTo>
                    <a:pt x="492" y="115"/>
                  </a:lnTo>
                  <a:lnTo>
                    <a:pt x="492" y="113"/>
                  </a:lnTo>
                  <a:lnTo>
                    <a:pt x="494" y="113"/>
                  </a:lnTo>
                  <a:lnTo>
                    <a:pt x="494" y="113"/>
                  </a:lnTo>
                  <a:lnTo>
                    <a:pt x="494" y="113"/>
                  </a:lnTo>
                  <a:lnTo>
                    <a:pt x="494" y="110"/>
                  </a:lnTo>
                  <a:lnTo>
                    <a:pt x="494" y="110"/>
                  </a:lnTo>
                  <a:lnTo>
                    <a:pt x="494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6" y="110"/>
                  </a:lnTo>
                  <a:lnTo>
                    <a:pt x="498" y="110"/>
                  </a:lnTo>
                  <a:lnTo>
                    <a:pt x="498" y="110"/>
                  </a:lnTo>
                  <a:lnTo>
                    <a:pt x="498" y="110"/>
                  </a:lnTo>
                  <a:lnTo>
                    <a:pt x="498" y="110"/>
                  </a:lnTo>
                  <a:lnTo>
                    <a:pt x="498" y="110"/>
                  </a:lnTo>
                  <a:close/>
                  <a:moveTo>
                    <a:pt x="498" y="104"/>
                  </a:moveTo>
                  <a:lnTo>
                    <a:pt x="498" y="106"/>
                  </a:lnTo>
                  <a:lnTo>
                    <a:pt x="498" y="106"/>
                  </a:lnTo>
                  <a:lnTo>
                    <a:pt x="498" y="106"/>
                  </a:lnTo>
                  <a:lnTo>
                    <a:pt x="496" y="106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6" y="108"/>
                  </a:lnTo>
                  <a:lnTo>
                    <a:pt x="494" y="108"/>
                  </a:lnTo>
                  <a:lnTo>
                    <a:pt x="494" y="108"/>
                  </a:lnTo>
                  <a:lnTo>
                    <a:pt x="494" y="108"/>
                  </a:lnTo>
                  <a:lnTo>
                    <a:pt x="494" y="108"/>
                  </a:lnTo>
                  <a:lnTo>
                    <a:pt x="494" y="108"/>
                  </a:lnTo>
                  <a:lnTo>
                    <a:pt x="494" y="106"/>
                  </a:lnTo>
                  <a:lnTo>
                    <a:pt x="494" y="106"/>
                  </a:lnTo>
                  <a:lnTo>
                    <a:pt x="494" y="106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8" y="106"/>
                  </a:lnTo>
                  <a:lnTo>
                    <a:pt x="498" y="106"/>
                  </a:lnTo>
                  <a:lnTo>
                    <a:pt x="498" y="104"/>
                  </a:lnTo>
                  <a:lnTo>
                    <a:pt x="498" y="104"/>
                  </a:lnTo>
                  <a:lnTo>
                    <a:pt x="498" y="104"/>
                  </a:lnTo>
                  <a:close/>
                  <a:moveTo>
                    <a:pt x="498" y="104"/>
                  </a:moveTo>
                  <a:lnTo>
                    <a:pt x="496" y="104"/>
                  </a:lnTo>
                  <a:lnTo>
                    <a:pt x="496" y="104"/>
                  </a:lnTo>
                  <a:lnTo>
                    <a:pt x="496" y="104"/>
                  </a:lnTo>
                  <a:lnTo>
                    <a:pt x="498" y="101"/>
                  </a:lnTo>
                  <a:lnTo>
                    <a:pt x="498" y="101"/>
                  </a:lnTo>
                  <a:lnTo>
                    <a:pt x="498" y="101"/>
                  </a:lnTo>
                  <a:lnTo>
                    <a:pt x="498" y="101"/>
                  </a:lnTo>
                  <a:lnTo>
                    <a:pt x="498" y="101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501" y="101"/>
                  </a:lnTo>
                  <a:lnTo>
                    <a:pt x="501" y="101"/>
                  </a:lnTo>
                  <a:lnTo>
                    <a:pt x="501" y="101"/>
                  </a:lnTo>
                  <a:lnTo>
                    <a:pt x="501" y="101"/>
                  </a:lnTo>
                  <a:lnTo>
                    <a:pt x="501" y="101"/>
                  </a:lnTo>
                  <a:lnTo>
                    <a:pt x="498" y="101"/>
                  </a:lnTo>
                  <a:lnTo>
                    <a:pt x="498" y="104"/>
                  </a:lnTo>
                  <a:lnTo>
                    <a:pt x="498" y="104"/>
                  </a:lnTo>
                  <a:lnTo>
                    <a:pt x="498" y="104"/>
                  </a:lnTo>
                  <a:lnTo>
                    <a:pt x="498" y="104"/>
                  </a:lnTo>
                  <a:lnTo>
                    <a:pt x="498" y="104"/>
                  </a:lnTo>
                  <a:lnTo>
                    <a:pt x="498" y="104"/>
                  </a:lnTo>
                  <a:close/>
                  <a:moveTo>
                    <a:pt x="492" y="81"/>
                  </a:move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79"/>
                  </a:lnTo>
                  <a:lnTo>
                    <a:pt x="489" y="77"/>
                  </a:lnTo>
                  <a:lnTo>
                    <a:pt x="487" y="77"/>
                  </a:lnTo>
                  <a:lnTo>
                    <a:pt x="487" y="77"/>
                  </a:lnTo>
                  <a:lnTo>
                    <a:pt x="487" y="77"/>
                  </a:lnTo>
                  <a:lnTo>
                    <a:pt x="489" y="77"/>
                  </a:lnTo>
                  <a:lnTo>
                    <a:pt x="489" y="74"/>
                  </a:lnTo>
                  <a:lnTo>
                    <a:pt x="489" y="74"/>
                  </a:lnTo>
                  <a:lnTo>
                    <a:pt x="492" y="74"/>
                  </a:lnTo>
                  <a:lnTo>
                    <a:pt x="492" y="74"/>
                  </a:lnTo>
                  <a:lnTo>
                    <a:pt x="492" y="74"/>
                  </a:lnTo>
                  <a:lnTo>
                    <a:pt x="492" y="72"/>
                  </a:lnTo>
                  <a:lnTo>
                    <a:pt x="492" y="72"/>
                  </a:lnTo>
                  <a:lnTo>
                    <a:pt x="492" y="72"/>
                  </a:lnTo>
                  <a:lnTo>
                    <a:pt x="492" y="74"/>
                  </a:lnTo>
                  <a:lnTo>
                    <a:pt x="492" y="74"/>
                  </a:lnTo>
                  <a:lnTo>
                    <a:pt x="494" y="77"/>
                  </a:lnTo>
                  <a:lnTo>
                    <a:pt x="494" y="77"/>
                  </a:lnTo>
                  <a:lnTo>
                    <a:pt x="494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4" y="79"/>
                  </a:lnTo>
                  <a:lnTo>
                    <a:pt x="494" y="79"/>
                  </a:lnTo>
                  <a:lnTo>
                    <a:pt x="494" y="79"/>
                  </a:lnTo>
                  <a:lnTo>
                    <a:pt x="492" y="81"/>
                  </a:lnTo>
                  <a:lnTo>
                    <a:pt x="492" y="81"/>
                  </a:lnTo>
                  <a:close/>
                  <a:moveTo>
                    <a:pt x="492" y="72"/>
                  </a:moveTo>
                  <a:lnTo>
                    <a:pt x="492" y="72"/>
                  </a:lnTo>
                  <a:lnTo>
                    <a:pt x="489" y="74"/>
                  </a:lnTo>
                  <a:lnTo>
                    <a:pt x="489" y="74"/>
                  </a:lnTo>
                  <a:lnTo>
                    <a:pt x="489" y="74"/>
                  </a:lnTo>
                  <a:lnTo>
                    <a:pt x="489" y="74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7" y="72"/>
                  </a:lnTo>
                  <a:lnTo>
                    <a:pt x="487" y="72"/>
                  </a:lnTo>
                  <a:lnTo>
                    <a:pt x="487" y="72"/>
                  </a:lnTo>
                  <a:lnTo>
                    <a:pt x="487" y="72"/>
                  </a:lnTo>
                  <a:lnTo>
                    <a:pt x="487" y="72"/>
                  </a:lnTo>
                  <a:lnTo>
                    <a:pt x="487" y="72"/>
                  </a:lnTo>
                  <a:lnTo>
                    <a:pt x="487" y="72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89" y="72"/>
                  </a:lnTo>
                  <a:lnTo>
                    <a:pt x="492" y="72"/>
                  </a:lnTo>
                  <a:lnTo>
                    <a:pt x="492" y="72"/>
                  </a:lnTo>
                  <a:lnTo>
                    <a:pt x="492" y="72"/>
                  </a:lnTo>
                  <a:close/>
                  <a:moveTo>
                    <a:pt x="287" y="0"/>
                  </a:move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2"/>
                  </a:lnTo>
                  <a:lnTo>
                    <a:pt x="290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0" y="7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11"/>
                  </a:lnTo>
                  <a:lnTo>
                    <a:pt x="290" y="11"/>
                  </a:lnTo>
                  <a:lnTo>
                    <a:pt x="290" y="11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90" y="16"/>
                  </a:lnTo>
                  <a:lnTo>
                    <a:pt x="287" y="16"/>
                  </a:lnTo>
                  <a:lnTo>
                    <a:pt x="287" y="16"/>
                  </a:lnTo>
                  <a:lnTo>
                    <a:pt x="287" y="16"/>
                  </a:lnTo>
                  <a:lnTo>
                    <a:pt x="287" y="16"/>
                  </a:lnTo>
                  <a:lnTo>
                    <a:pt x="287" y="16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87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0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2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4" y="18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0"/>
                  </a:lnTo>
                  <a:lnTo>
                    <a:pt x="296" y="23"/>
                  </a:lnTo>
                  <a:lnTo>
                    <a:pt x="296" y="23"/>
                  </a:lnTo>
                  <a:lnTo>
                    <a:pt x="296" y="23"/>
                  </a:lnTo>
                  <a:lnTo>
                    <a:pt x="296" y="23"/>
                  </a:lnTo>
                  <a:lnTo>
                    <a:pt x="296" y="23"/>
                  </a:lnTo>
                  <a:lnTo>
                    <a:pt x="296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6" y="25"/>
                  </a:lnTo>
                  <a:lnTo>
                    <a:pt x="296" y="25"/>
                  </a:lnTo>
                  <a:lnTo>
                    <a:pt x="296" y="25"/>
                  </a:lnTo>
                  <a:lnTo>
                    <a:pt x="296" y="25"/>
                  </a:lnTo>
                  <a:lnTo>
                    <a:pt x="296" y="25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9" y="27"/>
                  </a:lnTo>
                  <a:lnTo>
                    <a:pt x="299" y="27"/>
                  </a:lnTo>
                  <a:lnTo>
                    <a:pt x="299" y="27"/>
                  </a:lnTo>
                  <a:lnTo>
                    <a:pt x="296" y="27"/>
                  </a:lnTo>
                  <a:lnTo>
                    <a:pt x="299" y="27"/>
                  </a:lnTo>
                  <a:lnTo>
                    <a:pt x="299" y="29"/>
                  </a:lnTo>
                  <a:lnTo>
                    <a:pt x="299" y="29"/>
                  </a:lnTo>
                  <a:lnTo>
                    <a:pt x="299" y="29"/>
                  </a:lnTo>
                  <a:lnTo>
                    <a:pt x="299" y="29"/>
                  </a:lnTo>
                  <a:lnTo>
                    <a:pt x="299" y="29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301" y="32"/>
                  </a:lnTo>
                  <a:lnTo>
                    <a:pt x="301" y="32"/>
                  </a:lnTo>
                  <a:lnTo>
                    <a:pt x="301" y="32"/>
                  </a:lnTo>
                  <a:lnTo>
                    <a:pt x="301" y="32"/>
                  </a:lnTo>
                  <a:lnTo>
                    <a:pt x="301" y="32"/>
                  </a:lnTo>
                  <a:lnTo>
                    <a:pt x="301" y="32"/>
                  </a:lnTo>
                  <a:lnTo>
                    <a:pt x="301" y="32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8"/>
                  </a:lnTo>
                  <a:lnTo>
                    <a:pt x="296" y="38"/>
                  </a:lnTo>
                  <a:lnTo>
                    <a:pt x="296" y="38"/>
                  </a:lnTo>
                  <a:lnTo>
                    <a:pt x="294" y="38"/>
                  </a:lnTo>
                  <a:lnTo>
                    <a:pt x="292" y="41"/>
                  </a:lnTo>
                  <a:lnTo>
                    <a:pt x="292" y="41"/>
                  </a:lnTo>
                  <a:lnTo>
                    <a:pt x="294" y="41"/>
                  </a:lnTo>
                  <a:lnTo>
                    <a:pt x="294" y="41"/>
                  </a:lnTo>
                  <a:lnTo>
                    <a:pt x="294" y="43"/>
                  </a:lnTo>
                  <a:lnTo>
                    <a:pt x="294" y="43"/>
                  </a:lnTo>
                  <a:lnTo>
                    <a:pt x="294" y="43"/>
                  </a:lnTo>
                  <a:lnTo>
                    <a:pt x="294" y="43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4" y="45"/>
                  </a:lnTo>
                  <a:lnTo>
                    <a:pt x="292" y="47"/>
                  </a:lnTo>
                  <a:lnTo>
                    <a:pt x="292" y="47"/>
                  </a:lnTo>
                  <a:lnTo>
                    <a:pt x="292" y="47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2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4"/>
                  </a:lnTo>
                  <a:lnTo>
                    <a:pt x="290" y="56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2" y="65"/>
                  </a:lnTo>
                  <a:lnTo>
                    <a:pt x="292" y="65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68"/>
                  </a:lnTo>
                  <a:lnTo>
                    <a:pt x="292" y="70"/>
                  </a:lnTo>
                  <a:lnTo>
                    <a:pt x="292" y="70"/>
                  </a:lnTo>
                  <a:lnTo>
                    <a:pt x="292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0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2"/>
                  </a:lnTo>
                  <a:lnTo>
                    <a:pt x="294" y="74"/>
                  </a:lnTo>
                  <a:lnTo>
                    <a:pt x="294" y="74"/>
                  </a:lnTo>
                  <a:lnTo>
                    <a:pt x="294" y="74"/>
                  </a:lnTo>
                  <a:lnTo>
                    <a:pt x="294" y="74"/>
                  </a:lnTo>
                  <a:lnTo>
                    <a:pt x="294" y="74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7"/>
                  </a:lnTo>
                  <a:lnTo>
                    <a:pt x="294" y="79"/>
                  </a:lnTo>
                  <a:lnTo>
                    <a:pt x="294" y="79"/>
                  </a:lnTo>
                  <a:lnTo>
                    <a:pt x="294" y="79"/>
                  </a:lnTo>
                  <a:lnTo>
                    <a:pt x="294" y="79"/>
                  </a:lnTo>
                  <a:lnTo>
                    <a:pt x="294" y="79"/>
                  </a:lnTo>
                  <a:lnTo>
                    <a:pt x="294" y="79"/>
                  </a:lnTo>
                  <a:lnTo>
                    <a:pt x="294" y="81"/>
                  </a:lnTo>
                  <a:lnTo>
                    <a:pt x="294" y="81"/>
                  </a:lnTo>
                  <a:lnTo>
                    <a:pt x="294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1"/>
                  </a:lnTo>
                  <a:lnTo>
                    <a:pt x="296" y="83"/>
                  </a:lnTo>
                  <a:lnTo>
                    <a:pt x="296" y="83"/>
                  </a:lnTo>
                  <a:lnTo>
                    <a:pt x="296" y="83"/>
                  </a:lnTo>
                  <a:lnTo>
                    <a:pt x="296" y="83"/>
                  </a:lnTo>
                  <a:lnTo>
                    <a:pt x="296" y="83"/>
                  </a:lnTo>
                  <a:lnTo>
                    <a:pt x="296" y="83"/>
                  </a:lnTo>
                  <a:lnTo>
                    <a:pt x="296" y="83"/>
                  </a:lnTo>
                  <a:lnTo>
                    <a:pt x="299" y="83"/>
                  </a:lnTo>
                  <a:lnTo>
                    <a:pt x="299" y="83"/>
                  </a:lnTo>
                  <a:lnTo>
                    <a:pt x="299" y="83"/>
                  </a:lnTo>
                  <a:lnTo>
                    <a:pt x="299" y="83"/>
                  </a:lnTo>
                  <a:lnTo>
                    <a:pt x="299" y="86"/>
                  </a:lnTo>
                  <a:lnTo>
                    <a:pt x="301" y="86"/>
                  </a:lnTo>
                  <a:lnTo>
                    <a:pt x="301" y="86"/>
                  </a:lnTo>
                  <a:lnTo>
                    <a:pt x="301" y="86"/>
                  </a:lnTo>
                  <a:lnTo>
                    <a:pt x="301" y="88"/>
                  </a:lnTo>
                  <a:lnTo>
                    <a:pt x="301" y="88"/>
                  </a:lnTo>
                  <a:lnTo>
                    <a:pt x="301" y="88"/>
                  </a:lnTo>
                  <a:lnTo>
                    <a:pt x="301" y="88"/>
                  </a:lnTo>
                  <a:lnTo>
                    <a:pt x="301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88"/>
                  </a:lnTo>
                  <a:lnTo>
                    <a:pt x="303" y="90"/>
                  </a:lnTo>
                  <a:lnTo>
                    <a:pt x="303" y="90"/>
                  </a:lnTo>
                  <a:lnTo>
                    <a:pt x="303" y="90"/>
                  </a:lnTo>
                  <a:lnTo>
                    <a:pt x="303" y="90"/>
                  </a:lnTo>
                  <a:lnTo>
                    <a:pt x="303" y="90"/>
                  </a:lnTo>
                  <a:lnTo>
                    <a:pt x="305" y="92"/>
                  </a:lnTo>
                  <a:lnTo>
                    <a:pt x="305" y="92"/>
                  </a:lnTo>
                  <a:lnTo>
                    <a:pt x="305" y="92"/>
                  </a:lnTo>
                  <a:lnTo>
                    <a:pt x="307" y="92"/>
                  </a:lnTo>
                  <a:lnTo>
                    <a:pt x="310" y="92"/>
                  </a:lnTo>
                  <a:lnTo>
                    <a:pt x="312" y="95"/>
                  </a:lnTo>
                  <a:lnTo>
                    <a:pt x="312" y="95"/>
                  </a:lnTo>
                  <a:lnTo>
                    <a:pt x="312" y="95"/>
                  </a:lnTo>
                  <a:lnTo>
                    <a:pt x="312" y="95"/>
                  </a:lnTo>
                  <a:lnTo>
                    <a:pt x="312" y="95"/>
                  </a:lnTo>
                  <a:lnTo>
                    <a:pt x="312" y="97"/>
                  </a:lnTo>
                  <a:lnTo>
                    <a:pt x="312" y="97"/>
                  </a:lnTo>
                  <a:lnTo>
                    <a:pt x="314" y="97"/>
                  </a:lnTo>
                  <a:lnTo>
                    <a:pt x="314" y="97"/>
                  </a:lnTo>
                  <a:lnTo>
                    <a:pt x="314" y="97"/>
                  </a:lnTo>
                  <a:lnTo>
                    <a:pt x="314" y="97"/>
                  </a:lnTo>
                  <a:lnTo>
                    <a:pt x="314" y="97"/>
                  </a:lnTo>
                  <a:lnTo>
                    <a:pt x="314" y="97"/>
                  </a:lnTo>
                  <a:lnTo>
                    <a:pt x="316" y="95"/>
                  </a:lnTo>
                  <a:lnTo>
                    <a:pt x="316" y="95"/>
                  </a:lnTo>
                  <a:lnTo>
                    <a:pt x="316" y="95"/>
                  </a:lnTo>
                  <a:lnTo>
                    <a:pt x="316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21" y="95"/>
                  </a:lnTo>
                  <a:lnTo>
                    <a:pt x="321" y="95"/>
                  </a:lnTo>
                  <a:lnTo>
                    <a:pt x="321" y="95"/>
                  </a:lnTo>
                  <a:lnTo>
                    <a:pt x="321" y="95"/>
                  </a:lnTo>
                  <a:lnTo>
                    <a:pt x="321" y="92"/>
                  </a:lnTo>
                  <a:lnTo>
                    <a:pt x="321" y="92"/>
                  </a:lnTo>
                  <a:lnTo>
                    <a:pt x="321" y="92"/>
                  </a:lnTo>
                  <a:lnTo>
                    <a:pt x="321" y="92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3" y="90"/>
                  </a:lnTo>
                  <a:lnTo>
                    <a:pt x="323" y="90"/>
                  </a:lnTo>
                  <a:lnTo>
                    <a:pt x="323" y="90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3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5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88"/>
                  </a:lnTo>
                  <a:lnTo>
                    <a:pt x="328" y="90"/>
                  </a:lnTo>
                  <a:lnTo>
                    <a:pt x="330" y="90"/>
                  </a:lnTo>
                  <a:lnTo>
                    <a:pt x="330" y="88"/>
                  </a:lnTo>
                  <a:lnTo>
                    <a:pt x="330" y="88"/>
                  </a:lnTo>
                  <a:lnTo>
                    <a:pt x="332" y="88"/>
                  </a:lnTo>
                  <a:lnTo>
                    <a:pt x="332" y="88"/>
                  </a:lnTo>
                  <a:lnTo>
                    <a:pt x="332" y="88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2" y="86"/>
                  </a:lnTo>
                  <a:lnTo>
                    <a:pt x="334" y="86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7" y="83"/>
                  </a:lnTo>
                  <a:lnTo>
                    <a:pt x="339" y="86"/>
                  </a:lnTo>
                  <a:lnTo>
                    <a:pt x="339" y="86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3" y="81"/>
                  </a:lnTo>
                  <a:lnTo>
                    <a:pt x="343" y="81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3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9"/>
                  </a:lnTo>
                  <a:lnTo>
                    <a:pt x="350" y="77"/>
                  </a:lnTo>
                  <a:lnTo>
                    <a:pt x="350" y="77"/>
                  </a:lnTo>
                  <a:lnTo>
                    <a:pt x="350" y="77"/>
                  </a:lnTo>
                  <a:lnTo>
                    <a:pt x="350" y="79"/>
                  </a:lnTo>
                  <a:lnTo>
                    <a:pt x="350" y="79"/>
                  </a:lnTo>
                  <a:lnTo>
                    <a:pt x="352" y="79"/>
                  </a:lnTo>
                  <a:lnTo>
                    <a:pt x="352" y="79"/>
                  </a:lnTo>
                  <a:lnTo>
                    <a:pt x="352" y="79"/>
                  </a:lnTo>
                  <a:lnTo>
                    <a:pt x="352" y="79"/>
                  </a:lnTo>
                  <a:lnTo>
                    <a:pt x="352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5" y="81"/>
                  </a:lnTo>
                  <a:lnTo>
                    <a:pt x="355" y="81"/>
                  </a:lnTo>
                  <a:lnTo>
                    <a:pt x="357" y="81"/>
                  </a:lnTo>
                  <a:lnTo>
                    <a:pt x="357" y="81"/>
                  </a:lnTo>
                  <a:lnTo>
                    <a:pt x="357" y="81"/>
                  </a:lnTo>
                  <a:lnTo>
                    <a:pt x="357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61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6" y="79"/>
                  </a:lnTo>
                  <a:lnTo>
                    <a:pt x="366" y="79"/>
                  </a:lnTo>
                  <a:lnTo>
                    <a:pt x="366" y="79"/>
                  </a:lnTo>
                  <a:lnTo>
                    <a:pt x="366" y="79"/>
                  </a:lnTo>
                  <a:lnTo>
                    <a:pt x="368" y="79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70" y="81"/>
                  </a:lnTo>
                  <a:lnTo>
                    <a:pt x="373" y="81"/>
                  </a:lnTo>
                  <a:lnTo>
                    <a:pt x="373" y="81"/>
                  </a:lnTo>
                  <a:lnTo>
                    <a:pt x="375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5" y="79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7"/>
                  </a:lnTo>
                  <a:lnTo>
                    <a:pt x="375" y="74"/>
                  </a:lnTo>
                  <a:lnTo>
                    <a:pt x="373" y="74"/>
                  </a:lnTo>
                  <a:lnTo>
                    <a:pt x="373" y="74"/>
                  </a:lnTo>
                  <a:lnTo>
                    <a:pt x="373" y="74"/>
                  </a:lnTo>
                  <a:lnTo>
                    <a:pt x="373" y="72"/>
                  </a:lnTo>
                  <a:lnTo>
                    <a:pt x="373" y="72"/>
                  </a:lnTo>
                  <a:lnTo>
                    <a:pt x="373" y="72"/>
                  </a:lnTo>
                  <a:lnTo>
                    <a:pt x="373" y="72"/>
                  </a:lnTo>
                  <a:lnTo>
                    <a:pt x="370" y="72"/>
                  </a:lnTo>
                  <a:lnTo>
                    <a:pt x="370" y="72"/>
                  </a:lnTo>
                  <a:lnTo>
                    <a:pt x="370" y="70"/>
                  </a:lnTo>
                  <a:lnTo>
                    <a:pt x="370" y="70"/>
                  </a:lnTo>
                  <a:lnTo>
                    <a:pt x="370" y="70"/>
                  </a:lnTo>
                  <a:lnTo>
                    <a:pt x="370" y="70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3" y="70"/>
                  </a:lnTo>
                  <a:lnTo>
                    <a:pt x="373" y="68"/>
                  </a:lnTo>
                  <a:lnTo>
                    <a:pt x="373" y="68"/>
                  </a:lnTo>
                  <a:lnTo>
                    <a:pt x="373" y="65"/>
                  </a:lnTo>
                  <a:lnTo>
                    <a:pt x="373" y="65"/>
                  </a:lnTo>
                  <a:lnTo>
                    <a:pt x="373" y="65"/>
                  </a:lnTo>
                  <a:lnTo>
                    <a:pt x="375" y="65"/>
                  </a:lnTo>
                  <a:lnTo>
                    <a:pt x="375" y="65"/>
                  </a:lnTo>
                  <a:lnTo>
                    <a:pt x="375" y="65"/>
                  </a:lnTo>
                  <a:lnTo>
                    <a:pt x="375" y="65"/>
                  </a:lnTo>
                  <a:lnTo>
                    <a:pt x="377" y="65"/>
                  </a:lnTo>
                  <a:lnTo>
                    <a:pt x="377" y="65"/>
                  </a:lnTo>
                  <a:lnTo>
                    <a:pt x="377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4" y="68"/>
                  </a:lnTo>
                  <a:lnTo>
                    <a:pt x="384" y="68"/>
                  </a:lnTo>
                  <a:lnTo>
                    <a:pt x="386" y="68"/>
                  </a:lnTo>
                  <a:lnTo>
                    <a:pt x="386" y="68"/>
                  </a:lnTo>
                  <a:lnTo>
                    <a:pt x="386" y="68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91" y="63"/>
                  </a:lnTo>
                  <a:lnTo>
                    <a:pt x="391" y="63"/>
                  </a:lnTo>
                  <a:lnTo>
                    <a:pt x="393" y="63"/>
                  </a:lnTo>
                  <a:lnTo>
                    <a:pt x="391" y="65"/>
                  </a:lnTo>
                  <a:lnTo>
                    <a:pt x="393" y="65"/>
                  </a:lnTo>
                  <a:lnTo>
                    <a:pt x="393" y="65"/>
                  </a:lnTo>
                  <a:lnTo>
                    <a:pt x="393" y="65"/>
                  </a:lnTo>
                  <a:lnTo>
                    <a:pt x="393" y="65"/>
                  </a:lnTo>
                  <a:lnTo>
                    <a:pt x="393" y="63"/>
                  </a:lnTo>
                  <a:lnTo>
                    <a:pt x="395" y="63"/>
                  </a:lnTo>
                  <a:lnTo>
                    <a:pt x="395" y="63"/>
                  </a:lnTo>
                  <a:lnTo>
                    <a:pt x="395" y="63"/>
                  </a:lnTo>
                  <a:lnTo>
                    <a:pt x="395" y="63"/>
                  </a:lnTo>
                  <a:lnTo>
                    <a:pt x="395" y="63"/>
                  </a:lnTo>
                  <a:lnTo>
                    <a:pt x="395" y="63"/>
                  </a:lnTo>
                  <a:lnTo>
                    <a:pt x="395" y="63"/>
                  </a:lnTo>
                  <a:lnTo>
                    <a:pt x="395" y="65"/>
                  </a:lnTo>
                  <a:lnTo>
                    <a:pt x="397" y="68"/>
                  </a:lnTo>
                  <a:lnTo>
                    <a:pt x="397" y="68"/>
                  </a:lnTo>
                  <a:lnTo>
                    <a:pt x="400" y="68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5"/>
                  </a:lnTo>
                  <a:lnTo>
                    <a:pt x="400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2" y="68"/>
                  </a:lnTo>
                  <a:lnTo>
                    <a:pt x="400" y="68"/>
                  </a:lnTo>
                  <a:lnTo>
                    <a:pt x="400" y="68"/>
                  </a:lnTo>
                  <a:lnTo>
                    <a:pt x="400" y="68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2" y="70"/>
                  </a:lnTo>
                  <a:lnTo>
                    <a:pt x="402" y="70"/>
                  </a:lnTo>
                  <a:lnTo>
                    <a:pt x="402" y="70"/>
                  </a:lnTo>
                  <a:lnTo>
                    <a:pt x="402" y="70"/>
                  </a:lnTo>
                  <a:lnTo>
                    <a:pt x="402" y="70"/>
                  </a:lnTo>
                  <a:lnTo>
                    <a:pt x="404" y="70"/>
                  </a:lnTo>
                  <a:lnTo>
                    <a:pt x="404" y="70"/>
                  </a:lnTo>
                  <a:lnTo>
                    <a:pt x="404" y="70"/>
                  </a:lnTo>
                  <a:lnTo>
                    <a:pt x="404" y="70"/>
                  </a:lnTo>
                  <a:lnTo>
                    <a:pt x="404" y="70"/>
                  </a:lnTo>
                  <a:lnTo>
                    <a:pt x="404" y="70"/>
                  </a:lnTo>
                  <a:lnTo>
                    <a:pt x="404" y="72"/>
                  </a:lnTo>
                  <a:lnTo>
                    <a:pt x="404" y="72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6" y="72"/>
                  </a:lnTo>
                  <a:lnTo>
                    <a:pt x="409" y="72"/>
                  </a:lnTo>
                  <a:lnTo>
                    <a:pt x="409" y="72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3" y="74"/>
                  </a:lnTo>
                  <a:lnTo>
                    <a:pt x="413" y="74"/>
                  </a:lnTo>
                  <a:lnTo>
                    <a:pt x="413" y="74"/>
                  </a:lnTo>
                  <a:lnTo>
                    <a:pt x="413" y="74"/>
                  </a:lnTo>
                  <a:lnTo>
                    <a:pt x="413" y="74"/>
                  </a:lnTo>
                  <a:lnTo>
                    <a:pt x="413" y="74"/>
                  </a:lnTo>
                  <a:lnTo>
                    <a:pt x="413" y="72"/>
                  </a:lnTo>
                  <a:lnTo>
                    <a:pt x="413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5" y="72"/>
                  </a:lnTo>
                  <a:lnTo>
                    <a:pt x="418" y="72"/>
                  </a:lnTo>
                  <a:lnTo>
                    <a:pt x="418" y="72"/>
                  </a:lnTo>
                  <a:lnTo>
                    <a:pt x="418" y="72"/>
                  </a:lnTo>
                  <a:lnTo>
                    <a:pt x="418" y="70"/>
                  </a:lnTo>
                  <a:lnTo>
                    <a:pt x="418" y="72"/>
                  </a:lnTo>
                  <a:lnTo>
                    <a:pt x="418" y="72"/>
                  </a:lnTo>
                  <a:lnTo>
                    <a:pt x="418" y="70"/>
                  </a:lnTo>
                  <a:lnTo>
                    <a:pt x="418" y="70"/>
                  </a:lnTo>
                  <a:lnTo>
                    <a:pt x="418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0" y="68"/>
                  </a:lnTo>
                  <a:lnTo>
                    <a:pt x="420" y="68"/>
                  </a:lnTo>
                  <a:lnTo>
                    <a:pt x="420" y="68"/>
                  </a:lnTo>
                  <a:lnTo>
                    <a:pt x="422" y="70"/>
                  </a:lnTo>
                  <a:lnTo>
                    <a:pt x="422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0" y="70"/>
                  </a:lnTo>
                  <a:lnTo>
                    <a:pt x="422" y="70"/>
                  </a:lnTo>
                  <a:lnTo>
                    <a:pt x="422" y="70"/>
                  </a:lnTo>
                  <a:lnTo>
                    <a:pt x="424" y="70"/>
                  </a:lnTo>
                  <a:lnTo>
                    <a:pt x="424" y="70"/>
                  </a:lnTo>
                  <a:lnTo>
                    <a:pt x="424" y="70"/>
                  </a:lnTo>
                  <a:lnTo>
                    <a:pt x="424" y="72"/>
                  </a:lnTo>
                  <a:lnTo>
                    <a:pt x="424" y="72"/>
                  </a:lnTo>
                  <a:lnTo>
                    <a:pt x="427" y="72"/>
                  </a:lnTo>
                  <a:lnTo>
                    <a:pt x="427" y="72"/>
                  </a:lnTo>
                  <a:lnTo>
                    <a:pt x="427" y="72"/>
                  </a:lnTo>
                  <a:lnTo>
                    <a:pt x="427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29" y="70"/>
                  </a:lnTo>
                  <a:lnTo>
                    <a:pt x="431" y="70"/>
                  </a:lnTo>
                  <a:lnTo>
                    <a:pt x="431" y="72"/>
                  </a:lnTo>
                  <a:lnTo>
                    <a:pt x="431" y="72"/>
                  </a:lnTo>
                  <a:lnTo>
                    <a:pt x="431" y="72"/>
                  </a:lnTo>
                  <a:lnTo>
                    <a:pt x="431" y="72"/>
                  </a:lnTo>
                  <a:lnTo>
                    <a:pt x="431" y="72"/>
                  </a:lnTo>
                  <a:lnTo>
                    <a:pt x="431" y="72"/>
                  </a:lnTo>
                  <a:lnTo>
                    <a:pt x="431" y="72"/>
                  </a:lnTo>
                  <a:lnTo>
                    <a:pt x="433" y="72"/>
                  </a:lnTo>
                  <a:lnTo>
                    <a:pt x="433" y="72"/>
                  </a:lnTo>
                  <a:lnTo>
                    <a:pt x="436" y="72"/>
                  </a:lnTo>
                  <a:lnTo>
                    <a:pt x="436" y="72"/>
                  </a:lnTo>
                  <a:lnTo>
                    <a:pt x="436" y="72"/>
                  </a:lnTo>
                  <a:lnTo>
                    <a:pt x="438" y="74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38" y="72"/>
                  </a:lnTo>
                  <a:lnTo>
                    <a:pt x="440" y="72"/>
                  </a:lnTo>
                  <a:lnTo>
                    <a:pt x="440" y="70"/>
                  </a:lnTo>
                  <a:lnTo>
                    <a:pt x="440" y="70"/>
                  </a:lnTo>
                  <a:lnTo>
                    <a:pt x="442" y="70"/>
                  </a:lnTo>
                  <a:lnTo>
                    <a:pt x="442" y="68"/>
                  </a:lnTo>
                  <a:lnTo>
                    <a:pt x="442" y="68"/>
                  </a:lnTo>
                  <a:lnTo>
                    <a:pt x="445" y="68"/>
                  </a:lnTo>
                  <a:lnTo>
                    <a:pt x="445" y="65"/>
                  </a:lnTo>
                  <a:lnTo>
                    <a:pt x="445" y="65"/>
                  </a:lnTo>
                  <a:lnTo>
                    <a:pt x="445" y="65"/>
                  </a:lnTo>
                  <a:lnTo>
                    <a:pt x="447" y="63"/>
                  </a:lnTo>
                  <a:lnTo>
                    <a:pt x="447" y="63"/>
                  </a:lnTo>
                  <a:lnTo>
                    <a:pt x="447" y="63"/>
                  </a:lnTo>
                  <a:lnTo>
                    <a:pt x="447" y="63"/>
                  </a:lnTo>
                  <a:lnTo>
                    <a:pt x="447" y="63"/>
                  </a:lnTo>
                  <a:lnTo>
                    <a:pt x="445" y="63"/>
                  </a:lnTo>
                  <a:lnTo>
                    <a:pt x="445" y="63"/>
                  </a:lnTo>
                  <a:lnTo>
                    <a:pt x="445" y="63"/>
                  </a:lnTo>
                  <a:lnTo>
                    <a:pt x="447" y="63"/>
                  </a:lnTo>
                  <a:lnTo>
                    <a:pt x="447" y="61"/>
                  </a:lnTo>
                  <a:lnTo>
                    <a:pt x="447" y="61"/>
                  </a:lnTo>
                  <a:lnTo>
                    <a:pt x="447" y="61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6"/>
                  </a:lnTo>
                  <a:lnTo>
                    <a:pt x="449" y="54"/>
                  </a:lnTo>
                  <a:lnTo>
                    <a:pt x="451" y="52"/>
                  </a:lnTo>
                  <a:lnTo>
                    <a:pt x="451" y="52"/>
                  </a:lnTo>
                  <a:lnTo>
                    <a:pt x="451" y="52"/>
                  </a:lnTo>
                  <a:lnTo>
                    <a:pt x="451" y="50"/>
                  </a:lnTo>
                  <a:lnTo>
                    <a:pt x="451" y="50"/>
                  </a:lnTo>
                  <a:lnTo>
                    <a:pt x="451" y="50"/>
                  </a:lnTo>
                  <a:lnTo>
                    <a:pt x="451" y="47"/>
                  </a:lnTo>
                  <a:lnTo>
                    <a:pt x="451" y="47"/>
                  </a:lnTo>
                  <a:lnTo>
                    <a:pt x="451" y="47"/>
                  </a:lnTo>
                  <a:lnTo>
                    <a:pt x="451" y="47"/>
                  </a:lnTo>
                  <a:lnTo>
                    <a:pt x="454" y="47"/>
                  </a:lnTo>
                  <a:lnTo>
                    <a:pt x="454" y="47"/>
                  </a:lnTo>
                  <a:lnTo>
                    <a:pt x="454" y="47"/>
                  </a:lnTo>
                  <a:lnTo>
                    <a:pt x="456" y="43"/>
                  </a:lnTo>
                  <a:lnTo>
                    <a:pt x="456" y="43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6" y="41"/>
                  </a:lnTo>
                  <a:lnTo>
                    <a:pt x="458" y="38"/>
                  </a:lnTo>
                  <a:lnTo>
                    <a:pt x="458" y="38"/>
                  </a:lnTo>
                  <a:lnTo>
                    <a:pt x="458" y="36"/>
                  </a:lnTo>
                  <a:lnTo>
                    <a:pt x="458" y="36"/>
                  </a:lnTo>
                  <a:lnTo>
                    <a:pt x="458" y="36"/>
                  </a:lnTo>
                  <a:lnTo>
                    <a:pt x="458" y="36"/>
                  </a:lnTo>
                  <a:lnTo>
                    <a:pt x="458" y="36"/>
                  </a:lnTo>
                  <a:lnTo>
                    <a:pt x="458" y="36"/>
                  </a:lnTo>
                  <a:lnTo>
                    <a:pt x="460" y="36"/>
                  </a:lnTo>
                  <a:lnTo>
                    <a:pt x="460" y="36"/>
                  </a:lnTo>
                  <a:lnTo>
                    <a:pt x="460" y="36"/>
                  </a:lnTo>
                  <a:lnTo>
                    <a:pt x="460" y="36"/>
                  </a:lnTo>
                  <a:lnTo>
                    <a:pt x="460" y="34"/>
                  </a:lnTo>
                  <a:lnTo>
                    <a:pt x="460" y="34"/>
                  </a:lnTo>
                  <a:lnTo>
                    <a:pt x="463" y="34"/>
                  </a:lnTo>
                  <a:lnTo>
                    <a:pt x="463" y="32"/>
                  </a:lnTo>
                  <a:lnTo>
                    <a:pt x="463" y="32"/>
                  </a:lnTo>
                  <a:lnTo>
                    <a:pt x="463" y="32"/>
                  </a:lnTo>
                  <a:lnTo>
                    <a:pt x="463" y="29"/>
                  </a:lnTo>
                  <a:lnTo>
                    <a:pt x="463" y="29"/>
                  </a:lnTo>
                  <a:lnTo>
                    <a:pt x="465" y="29"/>
                  </a:lnTo>
                  <a:lnTo>
                    <a:pt x="465" y="29"/>
                  </a:lnTo>
                  <a:lnTo>
                    <a:pt x="467" y="27"/>
                  </a:lnTo>
                  <a:lnTo>
                    <a:pt x="467" y="25"/>
                  </a:lnTo>
                  <a:lnTo>
                    <a:pt x="467" y="25"/>
                  </a:lnTo>
                  <a:lnTo>
                    <a:pt x="467" y="25"/>
                  </a:lnTo>
                  <a:lnTo>
                    <a:pt x="467" y="25"/>
                  </a:lnTo>
                  <a:lnTo>
                    <a:pt x="467" y="25"/>
                  </a:lnTo>
                  <a:lnTo>
                    <a:pt x="467" y="25"/>
                  </a:lnTo>
                  <a:lnTo>
                    <a:pt x="467" y="27"/>
                  </a:lnTo>
                  <a:lnTo>
                    <a:pt x="469" y="27"/>
                  </a:lnTo>
                  <a:lnTo>
                    <a:pt x="469" y="29"/>
                  </a:lnTo>
                  <a:lnTo>
                    <a:pt x="469" y="32"/>
                  </a:lnTo>
                  <a:lnTo>
                    <a:pt x="469" y="32"/>
                  </a:lnTo>
                  <a:lnTo>
                    <a:pt x="469" y="29"/>
                  </a:lnTo>
                  <a:lnTo>
                    <a:pt x="469" y="29"/>
                  </a:lnTo>
                  <a:lnTo>
                    <a:pt x="469" y="27"/>
                  </a:lnTo>
                  <a:lnTo>
                    <a:pt x="467" y="23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7" y="20"/>
                  </a:lnTo>
                  <a:lnTo>
                    <a:pt x="469" y="20"/>
                  </a:lnTo>
                  <a:lnTo>
                    <a:pt x="469" y="20"/>
                  </a:lnTo>
                  <a:lnTo>
                    <a:pt x="469" y="23"/>
                  </a:lnTo>
                  <a:lnTo>
                    <a:pt x="471" y="25"/>
                  </a:lnTo>
                  <a:lnTo>
                    <a:pt x="474" y="25"/>
                  </a:lnTo>
                  <a:lnTo>
                    <a:pt x="476" y="29"/>
                  </a:lnTo>
                  <a:lnTo>
                    <a:pt x="476" y="29"/>
                  </a:lnTo>
                  <a:lnTo>
                    <a:pt x="476" y="29"/>
                  </a:lnTo>
                  <a:lnTo>
                    <a:pt x="476" y="34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6" y="38"/>
                  </a:lnTo>
                  <a:lnTo>
                    <a:pt x="476" y="36"/>
                  </a:lnTo>
                  <a:lnTo>
                    <a:pt x="476" y="34"/>
                  </a:lnTo>
                  <a:lnTo>
                    <a:pt x="476" y="34"/>
                  </a:lnTo>
                  <a:lnTo>
                    <a:pt x="476" y="32"/>
                  </a:lnTo>
                  <a:lnTo>
                    <a:pt x="478" y="32"/>
                  </a:lnTo>
                  <a:lnTo>
                    <a:pt x="478" y="32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8" y="43"/>
                  </a:lnTo>
                  <a:lnTo>
                    <a:pt x="478" y="45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8" y="50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80" y="56"/>
                  </a:lnTo>
                  <a:lnTo>
                    <a:pt x="480" y="56"/>
                  </a:lnTo>
                  <a:lnTo>
                    <a:pt x="480" y="56"/>
                  </a:lnTo>
                  <a:lnTo>
                    <a:pt x="480" y="56"/>
                  </a:lnTo>
                  <a:lnTo>
                    <a:pt x="480" y="56"/>
                  </a:lnTo>
                  <a:lnTo>
                    <a:pt x="480" y="56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3" y="61"/>
                  </a:lnTo>
                  <a:lnTo>
                    <a:pt x="483" y="61"/>
                  </a:lnTo>
                  <a:lnTo>
                    <a:pt x="483" y="61"/>
                  </a:lnTo>
                  <a:lnTo>
                    <a:pt x="483" y="61"/>
                  </a:lnTo>
                  <a:lnTo>
                    <a:pt x="483" y="63"/>
                  </a:lnTo>
                  <a:lnTo>
                    <a:pt x="483" y="63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5"/>
                  </a:lnTo>
                  <a:lnTo>
                    <a:pt x="483" y="68"/>
                  </a:lnTo>
                  <a:lnTo>
                    <a:pt x="483" y="68"/>
                  </a:lnTo>
                  <a:lnTo>
                    <a:pt x="483" y="68"/>
                  </a:lnTo>
                  <a:lnTo>
                    <a:pt x="485" y="68"/>
                  </a:lnTo>
                  <a:lnTo>
                    <a:pt x="485" y="68"/>
                  </a:lnTo>
                  <a:lnTo>
                    <a:pt x="485" y="68"/>
                  </a:lnTo>
                  <a:lnTo>
                    <a:pt x="485" y="68"/>
                  </a:lnTo>
                  <a:lnTo>
                    <a:pt x="485" y="68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2"/>
                  </a:lnTo>
                  <a:lnTo>
                    <a:pt x="485" y="72"/>
                  </a:lnTo>
                  <a:lnTo>
                    <a:pt x="485" y="72"/>
                  </a:lnTo>
                  <a:lnTo>
                    <a:pt x="485" y="72"/>
                  </a:lnTo>
                  <a:lnTo>
                    <a:pt x="485" y="72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4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3" y="77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5" y="74"/>
                  </a:lnTo>
                  <a:lnTo>
                    <a:pt x="487" y="74"/>
                  </a:lnTo>
                  <a:lnTo>
                    <a:pt x="487" y="74"/>
                  </a:lnTo>
                  <a:lnTo>
                    <a:pt x="487" y="74"/>
                  </a:lnTo>
                  <a:lnTo>
                    <a:pt x="487" y="77"/>
                  </a:lnTo>
                  <a:lnTo>
                    <a:pt x="487" y="77"/>
                  </a:lnTo>
                  <a:lnTo>
                    <a:pt x="487" y="79"/>
                  </a:lnTo>
                  <a:lnTo>
                    <a:pt x="487" y="79"/>
                  </a:lnTo>
                  <a:lnTo>
                    <a:pt x="489" y="79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92" y="81"/>
                  </a:lnTo>
                  <a:lnTo>
                    <a:pt x="492" y="81"/>
                  </a:lnTo>
                  <a:lnTo>
                    <a:pt x="492" y="81"/>
                  </a:lnTo>
                  <a:lnTo>
                    <a:pt x="492" y="81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4" y="83"/>
                  </a:lnTo>
                  <a:lnTo>
                    <a:pt x="494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3"/>
                  </a:lnTo>
                  <a:lnTo>
                    <a:pt x="496" y="83"/>
                  </a:lnTo>
                  <a:lnTo>
                    <a:pt x="496" y="83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501" y="86"/>
                  </a:lnTo>
                  <a:lnTo>
                    <a:pt x="501" y="86"/>
                  </a:lnTo>
                  <a:lnTo>
                    <a:pt x="501" y="86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1" y="90"/>
                  </a:lnTo>
                  <a:lnTo>
                    <a:pt x="503" y="90"/>
                  </a:lnTo>
                  <a:lnTo>
                    <a:pt x="503" y="92"/>
                  </a:lnTo>
                  <a:lnTo>
                    <a:pt x="501" y="92"/>
                  </a:lnTo>
                  <a:lnTo>
                    <a:pt x="501" y="95"/>
                  </a:lnTo>
                  <a:lnTo>
                    <a:pt x="501" y="95"/>
                  </a:lnTo>
                  <a:lnTo>
                    <a:pt x="501" y="97"/>
                  </a:lnTo>
                  <a:lnTo>
                    <a:pt x="501" y="97"/>
                  </a:lnTo>
                  <a:lnTo>
                    <a:pt x="501" y="97"/>
                  </a:lnTo>
                  <a:lnTo>
                    <a:pt x="501" y="97"/>
                  </a:lnTo>
                  <a:lnTo>
                    <a:pt x="501" y="97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498" y="99"/>
                  </a:lnTo>
                  <a:lnTo>
                    <a:pt x="498" y="99"/>
                  </a:lnTo>
                  <a:lnTo>
                    <a:pt x="498" y="99"/>
                  </a:lnTo>
                  <a:lnTo>
                    <a:pt x="498" y="99"/>
                  </a:lnTo>
                  <a:lnTo>
                    <a:pt x="498" y="101"/>
                  </a:lnTo>
                  <a:lnTo>
                    <a:pt x="496" y="101"/>
                  </a:lnTo>
                  <a:lnTo>
                    <a:pt x="496" y="101"/>
                  </a:lnTo>
                  <a:lnTo>
                    <a:pt x="496" y="104"/>
                  </a:lnTo>
                  <a:lnTo>
                    <a:pt x="496" y="104"/>
                  </a:lnTo>
                  <a:lnTo>
                    <a:pt x="496" y="104"/>
                  </a:lnTo>
                  <a:lnTo>
                    <a:pt x="494" y="104"/>
                  </a:lnTo>
                  <a:lnTo>
                    <a:pt x="494" y="104"/>
                  </a:lnTo>
                  <a:lnTo>
                    <a:pt x="494" y="106"/>
                  </a:lnTo>
                  <a:lnTo>
                    <a:pt x="492" y="106"/>
                  </a:lnTo>
                  <a:lnTo>
                    <a:pt x="492" y="108"/>
                  </a:lnTo>
                  <a:lnTo>
                    <a:pt x="492" y="108"/>
                  </a:lnTo>
                  <a:lnTo>
                    <a:pt x="492" y="108"/>
                  </a:lnTo>
                  <a:lnTo>
                    <a:pt x="489" y="108"/>
                  </a:lnTo>
                  <a:lnTo>
                    <a:pt x="489" y="110"/>
                  </a:lnTo>
                  <a:lnTo>
                    <a:pt x="489" y="110"/>
                  </a:lnTo>
                  <a:lnTo>
                    <a:pt x="489" y="113"/>
                  </a:lnTo>
                  <a:lnTo>
                    <a:pt x="487" y="115"/>
                  </a:lnTo>
                  <a:lnTo>
                    <a:pt x="487" y="117"/>
                  </a:lnTo>
                  <a:lnTo>
                    <a:pt x="485" y="117"/>
                  </a:lnTo>
                  <a:lnTo>
                    <a:pt x="483" y="122"/>
                  </a:lnTo>
                  <a:lnTo>
                    <a:pt x="483" y="122"/>
                  </a:lnTo>
                  <a:lnTo>
                    <a:pt x="483" y="122"/>
                  </a:lnTo>
                  <a:lnTo>
                    <a:pt x="480" y="122"/>
                  </a:lnTo>
                  <a:lnTo>
                    <a:pt x="480" y="122"/>
                  </a:lnTo>
                  <a:lnTo>
                    <a:pt x="478" y="122"/>
                  </a:lnTo>
                  <a:lnTo>
                    <a:pt x="478" y="124"/>
                  </a:lnTo>
                  <a:lnTo>
                    <a:pt x="476" y="126"/>
                  </a:lnTo>
                  <a:lnTo>
                    <a:pt x="476" y="126"/>
                  </a:lnTo>
                  <a:lnTo>
                    <a:pt x="476" y="126"/>
                  </a:lnTo>
                  <a:lnTo>
                    <a:pt x="474" y="126"/>
                  </a:lnTo>
                  <a:lnTo>
                    <a:pt x="474" y="126"/>
                  </a:lnTo>
                  <a:lnTo>
                    <a:pt x="474" y="126"/>
                  </a:lnTo>
                  <a:lnTo>
                    <a:pt x="474" y="126"/>
                  </a:lnTo>
                  <a:lnTo>
                    <a:pt x="474" y="126"/>
                  </a:lnTo>
                  <a:lnTo>
                    <a:pt x="474" y="126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71" y="126"/>
                  </a:lnTo>
                  <a:lnTo>
                    <a:pt x="471" y="128"/>
                  </a:lnTo>
                  <a:lnTo>
                    <a:pt x="471" y="128"/>
                  </a:lnTo>
                  <a:lnTo>
                    <a:pt x="471" y="128"/>
                  </a:lnTo>
                  <a:lnTo>
                    <a:pt x="471" y="128"/>
                  </a:lnTo>
                  <a:lnTo>
                    <a:pt x="471" y="128"/>
                  </a:lnTo>
                  <a:lnTo>
                    <a:pt x="474" y="128"/>
                  </a:lnTo>
                  <a:lnTo>
                    <a:pt x="471" y="131"/>
                  </a:lnTo>
                  <a:lnTo>
                    <a:pt x="471" y="131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69" y="133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69" y="135"/>
                  </a:lnTo>
                  <a:lnTo>
                    <a:pt x="469" y="137"/>
                  </a:lnTo>
                  <a:lnTo>
                    <a:pt x="469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5" y="137"/>
                  </a:lnTo>
                  <a:lnTo>
                    <a:pt x="465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37"/>
                  </a:lnTo>
                  <a:lnTo>
                    <a:pt x="467" y="140"/>
                  </a:lnTo>
                  <a:lnTo>
                    <a:pt x="465" y="142"/>
                  </a:lnTo>
                  <a:lnTo>
                    <a:pt x="465" y="142"/>
                  </a:lnTo>
                  <a:lnTo>
                    <a:pt x="465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4"/>
                  </a:lnTo>
                  <a:lnTo>
                    <a:pt x="463" y="144"/>
                  </a:lnTo>
                  <a:lnTo>
                    <a:pt x="463" y="146"/>
                  </a:lnTo>
                  <a:lnTo>
                    <a:pt x="463" y="149"/>
                  </a:lnTo>
                  <a:lnTo>
                    <a:pt x="463" y="149"/>
                  </a:lnTo>
                  <a:lnTo>
                    <a:pt x="463" y="149"/>
                  </a:lnTo>
                  <a:lnTo>
                    <a:pt x="463" y="149"/>
                  </a:lnTo>
                  <a:lnTo>
                    <a:pt x="463" y="149"/>
                  </a:lnTo>
                  <a:lnTo>
                    <a:pt x="463" y="151"/>
                  </a:lnTo>
                  <a:lnTo>
                    <a:pt x="463" y="151"/>
                  </a:lnTo>
                  <a:lnTo>
                    <a:pt x="463" y="151"/>
                  </a:lnTo>
                  <a:lnTo>
                    <a:pt x="463" y="151"/>
                  </a:lnTo>
                  <a:lnTo>
                    <a:pt x="463" y="151"/>
                  </a:lnTo>
                  <a:lnTo>
                    <a:pt x="460" y="151"/>
                  </a:lnTo>
                  <a:lnTo>
                    <a:pt x="460" y="153"/>
                  </a:lnTo>
                  <a:lnTo>
                    <a:pt x="460" y="153"/>
                  </a:lnTo>
                  <a:lnTo>
                    <a:pt x="458" y="153"/>
                  </a:lnTo>
                  <a:lnTo>
                    <a:pt x="458" y="155"/>
                  </a:lnTo>
                  <a:lnTo>
                    <a:pt x="458" y="155"/>
                  </a:lnTo>
                  <a:lnTo>
                    <a:pt x="458" y="158"/>
                  </a:lnTo>
                  <a:lnTo>
                    <a:pt x="458" y="158"/>
                  </a:lnTo>
                  <a:lnTo>
                    <a:pt x="458" y="158"/>
                  </a:lnTo>
                  <a:lnTo>
                    <a:pt x="458" y="158"/>
                  </a:lnTo>
                  <a:lnTo>
                    <a:pt x="458" y="158"/>
                  </a:lnTo>
                  <a:lnTo>
                    <a:pt x="456" y="158"/>
                  </a:lnTo>
                  <a:lnTo>
                    <a:pt x="456" y="158"/>
                  </a:lnTo>
                  <a:lnTo>
                    <a:pt x="454" y="158"/>
                  </a:lnTo>
                  <a:lnTo>
                    <a:pt x="454" y="158"/>
                  </a:lnTo>
                  <a:lnTo>
                    <a:pt x="454" y="158"/>
                  </a:lnTo>
                  <a:lnTo>
                    <a:pt x="454" y="158"/>
                  </a:lnTo>
                  <a:lnTo>
                    <a:pt x="454" y="158"/>
                  </a:lnTo>
                  <a:lnTo>
                    <a:pt x="451" y="158"/>
                  </a:lnTo>
                  <a:lnTo>
                    <a:pt x="451" y="158"/>
                  </a:lnTo>
                  <a:lnTo>
                    <a:pt x="451" y="158"/>
                  </a:lnTo>
                  <a:lnTo>
                    <a:pt x="451" y="158"/>
                  </a:lnTo>
                  <a:lnTo>
                    <a:pt x="451" y="158"/>
                  </a:lnTo>
                  <a:lnTo>
                    <a:pt x="451" y="158"/>
                  </a:lnTo>
                  <a:lnTo>
                    <a:pt x="449" y="160"/>
                  </a:lnTo>
                  <a:lnTo>
                    <a:pt x="449" y="160"/>
                  </a:lnTo>
                  <a:lnTo>
                    <a:pt x="449" y="160"/>
                  </a:lnTo>
                  <a:lnTo>
                    <a:pt x="447" y="160"/>
                  </a:lnTo>
                  <a:lnTo>
                    <a:pt x="447" y="160"/>
                  </a:lnTo>
                  <a:lnTo>
                    <a:pt x="447" y="160"/>
                  </a:lnTo>
                  <a:lnTo>
                    <a:pt x="445" y="162"/>
                  </a:lnTo>
                  <a:lnTo>
                    <a:pt x="445" y="162"/>
                  </a:lnTo>
                  <a:lnTo>
                    <a:pt x="445" y="162"/>
                  </a:lnTo>
                  <a:lnTo>
                    <a:pt x="442" y="162"/>
                  </a:lnTo>
                  <a:lnTo>
                    <a:pt x="442" y="162"/>
                  </a:lnTo>
                  <a:lnTo>
                    <a:pt x="442" y="162"/>
                  </a:lnTo>
                  <a:lnTo>
                    <a:pt x="442" y="162"/>
                  </a:lnTo>
                  <a:lnTo>
                    <a:pt x="442" y="162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2" y="162"/>
                  </a:lnTo>
                  <a:lnTo>
                    <a:pt x="445" y="162"/>
                  </a:lnTo>
                  <a:lnTo>
                    <a:pt x="445" y="162"/>
                  </a:lnTo>
                  <a:lnTo>
                    <a:pt x="449" y="162"/>
                  </a:lnTo>
                  <a:lnTo>
                    <a:pt x="449" y="162"/>
                  </a:lnTo>
                  <a:lnTo>
                    <a:pt x="451" y="162"/>
                  </a:lnTo>
                  <a:lnTo>
                    <a:pt x="451" y="162"/>
                  </a:lnTo>
                  <a:lnTo>
                    <a:pt x="451" y="162"/>
                  </a:lnTo>
                  <a:lnTo>
                    <a:pt x="451" y="162"/>
                  </a:lnTo>
                  <a:lnTo>
                    <a:pt x="451" y="162"/>
                  </a:lnTo>
                  <a:lnTo>
                    <a:pt x="451" y="162"/>
                  </a:lnTo>
                  <a:lnTo>
                    <a:pt x="451" y="162"/>
                  </a:lnTo>
                  <a:lnTo>
                    <a:pt x="454" y="162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1" y="164"/>
                  </a:lnTo>
                  <a:lnTo>
                    <a:pt x="451" y="164"/>
                  </a:lnTo>
                  <a:lnTo>
                    <a:pt x="451" y="164"/>
                  </a:lnTo>
                  <a:lnTo>
                    <a:pt x="451" y="164"/>
                  </a:lnTo>
                  <a:lnTo>
                    <a:pt x="451" y="166"/>
                  </a:lnTo>
                  <a:lnTo>
                    <a:pt x="451" y="166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4" y="164"/>
                  </a:lnTo>
                  <a:lnTo>
                    <a:pt x="456" y="164"/>
                  </a:lnTo>
                  <a:lnTo>
                    <a:pt x="456" y="164"/>
                  </a:lnTo>
                  <a:lnTo>
                    <a:pt x="456" y="164"/>
                  </a:lnTo>
                  <a:lnTo>
                    <a:pt x="456" y="164"/>
                  </a:lnTo>
                  <a:lnTo>
                    <a:pt x="456" y="164"/>
                  </a:lnTo>
                  <a:lnTo>
                    <a:pt x="456" y="164"/>
                  </a:lnTo>
                  <a:lnTo>
                    <a:pt x="458" y="164"/>
                  </a:lnTo>
                  <a:lnTo>
                    <a:pt x="458" y="164"/>
                  </a:lnTo>
                  <a:lnTo>
                    <a:pt x="458" y="162"/>
                  </a:lnTo>
                  <a:lnTo>
                    <a:pt x="458" y="162"/>
                  </a:lnTo>
                  <a:lnTo>
                    <a:pt x="465" y="158"/>
                  </a:lnTo>
                  <a:lnTo>
                    <a:pt x="465" y="158"/>
                  </a:lnTo>
                  <a:lnTo>
                    <a:pt x="467" y="158"/>
                  </a:lnTo>
                  <a:lnTo>
                    <a:pt x="467" y="158"/>
                  </a:lnTo>
                  <a:lnTo>
                    <a:pt x="467" y="158"/>
                  </a:lnTo>
                  <a:lnTo>
                    <a:pt x="469" y="158"/>
                  </a:lnTo>
                  <a:lnTo>
                    <a:pt x="469" y="155"/>
                  </a:lnTo>
                  <a:lnTo>
                    <a:pt x="469" y="155"/>
                  </a:lnTo>
                  <a:lnTo>
                    <a:pt x="469" y="155"/>
                  </a:lnTo>
                  <a:lnTo>
                    <a:pt x="469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5"/>
                  </a:lnTo>
                  <a:lnTo>
                    <a:pt x="471" y="153"/>
                  </a:lnTo>
                  <a:lnTo>
                    <a:pt x="474" y="153"/>
                  </a:lnTo>
                  <a:lnTo>
                    <a:pt x="474" y="153"/>
                  </a:lnTo>
                  <a:lnTo>
                    <a:pt x="474" y="153"/>
                  </a:lnTo>
                  <a:lnTo>
                    <a:pt x="474" y="151"/>
                  </a:lnTo>
                  <a:lnTo>
                    <a:pt x="474" y="151"/>
                  </a:lnTo>
                  <a:lnTo>
                    <a:pt x="478" y="151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49"/>
                  </a:lnTo>
                  <a:lnTo>
                    <a:pt x="478" y="146"/>
                  </a:lnTo>
                  <a:lnTo>
                    <a:pt x="478" y="146"/>
                  </a:lnTo>
                  <a:lnTo>
                    <a:pt x="478" y="146"/>
                  </a:lnTo>
                  <a:lnTo>
                    <a:pt x="478" y="149"/>
                  </a:lnTo>
                  <a:lnTo>
                    <a:pt x="480" y="149"/>
                  </a:lnTo>
                  <a:lnTo>
                    <a:pt x="480" y="149"/>
                  </a:lnTo>
                  <a:lnTo>
                    <a:pt x="478" y="149"/>
                  </a:lnTo>
                  <a:lnTo>
                    <a:pt x="478" y="146"/>
                  </a:lnTo>
                  <a:lnTo>
                    <a:pt x="478" y="146"/>
                  </a:lnTo>
                  <a:lnTo>
                    <a:pt x="480" y="146"/>
                  </a:lnTo>
                  <a:lnTo>
                    <a:pt x="480" y="146"/>
                  </a:lnTo>
                  <a:lnTo>
                    <a:pt x="480" y="146"/>
                  </a:lnTo>
                  <a:lnTo>
                    <a:pt x="480" y="146"/>
                  </a:lnTo>
                  <a:lnTo>
                    <a:pt x="480" y="146"/>
                  </a:lnTo>
                  <a:lnTo>
                    <a:pt x="483" y="146"/>
                  </a:lnTo>
                  <a:lnTo>
                    <a:pt x="483" y="146"/>
                  </a:lnTo>
                  <a:lnTo>
                    <a:pt x="483" y="149"/>
                  </a:lnTo>
                  <a:lnTo>
                    <a:pt x="483" y="149"/>
                  </a:lnTo>
                  <a:lnTo>
                    <a:pt x="483" y="149"/>
                  </a:lnTo>
                  <a:lnTo>
                    <a:pt x="483" y="151"/>
                  </a:lnTo>
                  <a:lnTo>
                    <a:pt x="483" y="151"/>
                  </a:lnTo>
                  <a:lnTo>
                    <a:pt x="480" y="151"/>
                  </a:lnTo>
                  <a:lnTo>
                    <a:pt x="480" y="151"/>
                  </a:lnTo>
                  <a:lnTo>
                    <a:pt x="480" y="151"/>
                  </a:lnTo>
                  <a:lnTo>
                    <a:pt x="480" y="151"/>
                  </a:lnTo>
                  <a:lnTo>
                    <a:pt x="480" y="151"/>
                  </a:lnTo>
                  <a:lnTo>
                    <a:pt x="480" y="151"/>
                  </a:lnTo>
                  <a:lnTo>
                    <a:pt x="480" y="153"/>
                  </a:lnTo>
                  <a:lnTo>
                    <a:pt x="478" y="153"/>
                  </a:lnTo>
                  <a:lnTo>
                    <a:pt x="480" y="153"/>
                  </a:lnTo>
                  <a:lnTo>
                    <a:pt x="483" y="153"/>
                  </a:lnTo>
                  <a:lnTo>
                    <a:pt x="483" y="155"/>
                  </a:lnTo>
                  <a:lnTo>
                    <a:pt x="483" y="155"/>
                  </a:lnTo>
                  <a:lnTo>
                    <a:pt x="483" y="155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58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0"/>
                  </a:lnTo>
                  <a:lnTo>
                    <a:pt x="483" y="162"/>
                  </a:lnTo>
                  <a:lnTo>
                    <a:pt x="483" y="162"/>
                  </a:lnTo>
                  <a:lnTo>
                    <a:pt x="485" y="164"/>
                  </a:lnTo>
                  <a:lnTo>
                    <a:pt x="485" y="164"/>
                  </a:lnTo>
                  <a:lnTo>
                    <a:pt x="485" y="166"/>
                  </a:lnTo>
                  <a:lnTo>
                    <a:pt x="485" y="166"/>
                  </a:lnTo>
                  <a:lnTo>
                    <a:pt x="485" y="166"/>
                  </a:lnTo>
                  <a:lnTo>
                    <a:pt x="485" y="166"/>
                  </a:lnTo>
                  <a:lnTo>
                    <a:pt x="485" y="166"/>
                  </a:lnTo>
                  <a:lnTo>
                    <a:pt x="483" y="166"/>
                  </a:lnTo>
                  <a:lnTo>
                    <a:pt x="485" y="166"/>
                  </a:lnTo>
                  <a:lnTo>
                    <a:pt x="485" y="166"/>
                  </a:lnTo>
                  <a:lnTo>
                    <a:pt x="485" y="169"/>
                  </a:lnTo>
                  <a:lnTo>
                    <a:pt x="487" y="169"/>
                  </a:lnTo>
                  <a:lnTo>
                    <a:pt x="487" y="171"/>
                  </a:lnTo>
                  <a:lnTo>
                    <a:pt x="487" y="171"/>
                  </a:lnTo>
                  <a:lnTo>
                    <a:pt x="487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3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1"/>
                  </a:lnTo>
                  <a:lnTo>
                    <a:pt x="489" y="173"/>
                  </a:lnTo>
                  <a:lnTo>
                    <a:pt x="489" y="173"/>
                  </a:lnTo>
                  <a:lnTo>
                    <a:pt x="489" y="173"/>
                  </a:lnTo>
                  <a:lnTo>
                    <a:pt x="489" y="173"/>
                  </a:lnTo>
                  <a:lnTo>
                    <a:pt x="489" y="173"/>
                  </a:lnTo>
                  <a:lnTo>
                    <a:pt x="492" y="175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3"/>
                  </a:lnTo>
                  <a:lnTo>
                    <a:pt x="492" y="171"/>
                  </a:lnTo>
                  <a:lnTo>
                    <a:pt x="494" y="171"/>
                  </a:lnTo>
                  <a:lnTo>
                    <a:pt x="494" y="171"/>
                  </a:lnTo>
                  <a:lnTo>
                    <a:pt x="494" y="171"/>
                  </a:lnTo>
                  <a:lnTo>
                    <a:pt x="494" y="171"/>
                  </a:lnTo>
                  <a:lnTo>
                    <a:pt x="496" y="171"/>
                  </a:lnTo>
                  <a:lnTo>
                    <a:pt x="496" y="171"/>
                  </a:lnTo>
                  <a:lnTo>
                    <a:pt x="496" y="171"/>
                  </a:lnTo>
                  <a:lnTo>
                    <a:pt x="496" y="169"/>
                  </a:lnTo>
                  <a:lnTo>
                    <a:pt x="496" y="169"/>
                  </a:lnTo>
                  <a:lnTo>
                    <a:pt x="498" y="169"/>
                  </a:lnTo>
                  <a:lnTo>
                    <a:pt x="498" y="169"/>
                  </a:lnTo>
                  <a:lnTo>
                    <a:pt x="501" y="169"/>
                  </a:lnTo>
                  <a:lnTo>
                    <a:pt x="501" y="169"/>
                  </a:lnTo>
                  <a:lnTo>
                    <a:pt x="501" y="169"/>
                  </a:lnTo>
                  <a:lnTo>
                    <a:pt x="503" y="169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1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3"/>
                  </a:lnTo>
                  <a:lnTo>
                    <a:pt x="503" y="173"/>
                  </a:lnTo>
                  <a:lnTo>
                    <a:pt x="503" y="173"/>
                  </a:lnTo>
                  <a:lnTo>
                    <a:pt x="503" y="173"/>
                  </a:lnTo>
                  <a:lnTo>
                    <a:pt x="501" y="175"/>
                  </a:lnTo>
                  <a:lnTo>
                    <a:pt x="503" y="175"/>
                  </a:lnTo>
                  <a:lnTo>
                    <a:pt x="503" y="173"/>
                  </a:lnTo>
                  <a:lnTo>
                    <a:pt x="503" y="173"/>
                  </a:lnTo>
                  <a:lnTo>
                    <a:pt x="503" y="173"/>
                  </a:lnTo>
                  <a:lnTo>
                    <a:pt x="503" y="175"/>
                  </a:lnTo>
                  <a:lnTo>
                    <a:pt x="503" y="175"/>
                  </a:lnTo>
                  <a:lnTo>
                    <a:pt x="503" y="175"/>
                  </a:lnTo>
                  <a:lnTo>
                    <a:pt x="503" y="173"/>
                  </a:lnTo>
                  <a:lnTo>
                    <a:pt x="503" y="173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3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5" y="171"/>
                  </a:lnTo>
                  <a:lnTo>
                    <a:pt x="507" y="171"/>
                  </a:lnTo>
                  <a:lnTo>
                    <a:pt x="507" y="171"/>
                  </a:lnTo>
                  <a:lnTo>
                    <a:pt x="507" y="171"/>
                  </a:lnTo>
                  <a:lnTo>
                    <a:pt x="507" y="173"/>
                  </a:lnTo>
                  <a:lnTo>
                    <a:pt x="507" y="173"/>
                  </a:lnTo>
                  <a:lnTo>
                    <a:pt x="507" y="173"/>
                  </a:lnTo>
                  <a:lnTo>
                    <a:pt x="507" y="171"/>
                  </a:lnTo>
                  <a:lnTo>
                    <a:pt x="507" y="171"/>
                  </a:lnTo>
                  <a:lnTo>
                    <a:pt x="507" y="171"/>
                  </a:lnTo>
                  <a:lnTo>
                    <a:pt x="507" y="171"/>
                  </a:lnTo>
                  <a:lnTo>
                    <a:pt x="507" y="171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10" y="169"/>
                  </a:lnTo>
                  <a:lnTo>
                    <a:pt x="510" y="169"/>
                  </a:lnTo>
                  <a:lnTo>
                    <a:pt x="510" y="166"/>
                  </a:lnTo>
                  <a:lnTo>
                    <a:pt x="510" y="166"/>
                  </a:lnTo>
                  <a:lnTo>
                    <a:pt x="510" y="166"/>
                  </a:lnTo>
                  <a:lnTo>
                    <a:pt x="510" y="166"/>
                  </a:lnTo>
                  <a:lnTo>
                    <a:pt x="510" y="169"/>
                  </a:lnTo>
                  <a:lnTo>
                    <a:pt x="512" y="169"/>
                  </a:lnTo>
                  <a:lnTo>
                    <a:pt x="512" y="166"/>
                  </a:lnTo>
                  <a:lnTo>
                    <a:pt x="512" y="166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0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71"/>
                  </a:lnTo>
                  <a:lnTo>
                    <a:pt x="512" y="171"/>
                  </a:lnTo>
                  <a:lnTo>
                    <a:pt x="512" y="171"/>
                  </a:lnTo>
                  <a:lnTo>
                    <a:pt x="512" y="171"/>
                  </a:lnTo>
                  <a:lnTo>
                    <a:pt x="512" y="171"/>
                  </a:lnTo>
                  <a:lnTo>
                    <a:pt x="512" y="171"/>
                  </a:lnTo>
                  <a:lnTo>
                    <a:pt x="512" y="171"/>
                  </a:lnTo>
                  <a:lnTo>
                    <a:pt x="512" y="173"/>
                  </a:lnTo>
                  <a:lnTo>
                    <a:pt x="512" y="173"/>
                  </a:lnTo>
                  <a:lnTo>
                    <a:pt x="512" y="173"/>
                  </a:lnTo>
                  <a:lnTo>
                    <a:pt x="512" y="173"/>
                  </a:lnTo>
                  <a:lnTo>
                    <a:pt x="512" y="173"/>
                  </a:lnTo>
                  <a:lnTo>
                    <a:pt x="512" y="173"/>
                  </a:lnTo>
                  <a:lnTo>
                    <a:pt x="512" y="173"/>
                  </a:lnTo>
                  <a:lnTo>
                    <a:pt x="512" y="175"/>
                  </a:lnTo>
                  <a:lnTo>
                    <a:pt x="512" y="175"/>
                  </a:lnTo>
                  <a:lnTo>
                    <a:pt x="512" y="175"/>
                  </a:lnTo>
                  <a:lnTo>
                    <a:pt x="512" y="178"/>
                  </a:lnTo>
                  <a:lnTo>
                    <a:pt x="512" y="178"/>
                  </a:lnTo>
                  <a:lnTo>
                    <a:pt x="510" y="178"/>
                  </a:lnTo>
                  <a:lnTo>
                    <a:pt x="510" y="178"/>
                  </a:lnTo>
                  <a:lnTo>
                    <a:pt x="510" y="178"/>
                  </a:lnTo>
                  <a:lnTo>
                    <a:pt x="510" y="178"/>
                  </a:lnTo>
                  <a:lnTo>
                    <a:pt x="510" y="178"/>
                  </a:lnTo>
                  <a:lnTo>
                    <a:pt x="510" y="180"/>
                  </a:lnTo>
                  <a:lnTo>
                    <a:pt x="510" y="180"/>
                  </a:lnTo>
                  <a:lnTo>
                    <a:pt x="510" y="180"/>
                  </a:lnTo>
                  <a:lnTo>
                    <a:pt x="510" y="180"/>
                  </a:lnTo>
                  <a:lnTo>
                    <a:pt x="510" y="180"/>
                  </a:lnTo>
                  <a:lnTo>
                    <a:pt x="510" y="180"/>
                  </a:lnTo>
                  <a:lnTo>
                    <a:pt x="510" y="182"/>
                  </a:lnTo>
                  <a:lnTo>
                    <a:pt x="510" y="182"/>
                  </a:lnTo>
                  <a:lnTo>
                    <a:pt x="510" y="182"/>
                  </a:lnTo>
                  <a:lnTo>
                    <a:pt x="510" y="182"/>
                  </a:lnTo>
                  <a:lnTo>
                    <a:pt x="510" y="182"/>
                  </a:lnTo>
                  <a:lnTo>
                    <a:pt x="510" y="182"/>
                  </a:lnTo>
                  <a:lnTo>
                    <a:pt x="510" y="184"/>
                  </a:lnTo>
                  <a:lnTo>
                    <a:pt x="510" y="184"/>
                  </a:lnTo>
                  <a:lnTo>
                    <a:pt x="507" y="187"/>
                  </a:lnTo>
                  <a:lnTo>
                    <a:pt x="507" y="187"/>
                  </a:lnTo>
                  <a:lnTo>
                    <a:pt x="507" y="187"/>
                  </a:lnTo>
                  <a:lnTo>
                    <a:pt x="507" y="187"/>
                  </a:lnTo>
                  <a:lnTo>
                    <a:pt x="507" y="189"/>
                  </a:lnTo>
                  <a:lnTo>
                    <a:pt x="505" y="189"/>
                  </a:lnTo>
                  <a:lnTo>
                    <a:pt x="507" y="189"/>
                  </a:lnTo>
                  <a:lnTo>
                    <a:pt x="507" y="189"/>
                  </a:lnTo>
                  <a:lnTo>
                    <a:pt x="510" y="189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7"/>
                  </a:lnTo>
                  <a:lnTo>
                    <a:pt x="510" y="184"/>
                  </a:lnTo>
                  <a:lnTo>
                    <a:pt x="510" y="184"/>
                  </a:lnTo>
                  <a:lnTo>
                    <a:pt x="512" y="184"/>
                  </a:lnTo>
                  <a:lnTo>
                    <a:pt x="512" y="184"/>
                  </a:lnTo>
                  <a:lnTo>
                    <a:pt x="512" y="184"/>
                  </a:lnTo>
                  <a:lnTo>
                    <a:pt x="512" y="184"/>
                  </a:lnTo>
                  <a:lnTo>
                    <a:pt x="512" y="182"/>
                  </a:lnTo>
                  <a:lnTo>
                    <a:pt x="512" y="182"/>
                  </a:lnTo>
                  <a:lnTo>
                    <a:pt x="512" y="182"/>
                  </a:lnTo>
                  <a:lnTo>
                    <a:pt x="514" y="178"/>
                  </a:lnTo>
                  <a:lnTo>
                    <a:pt x="514" y="175"/>
                  </a:lnTo>
                  <a:lnTo>
                    <a:pt x="514" y="175"/>
                  </a:lnTo>
                  <a:lnTo>
                    <a:pt x="514" y="175"/>
                  </a:lnTo>
                  <a:lnTo>
                    <a:pt x="514" y="175"/>
                  </a:lnTo>
                  <a:lnTo>
                    <a:pt x="516" y="171"/>
                  </a:lnTo>
                  <a:lnTo>
                    <a:pt x="516" y="171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6" y="169"/>
                  </a:lnTo>
                  <a:lnTo>
                    <a:pt x="519" y="169"/>
                  </a:lnTo>
                  <a:lnTo>
                    <a:pt x="519" y="169"/>
                  </a:lnTo>
                  <a:lnTo>
                    <a:pt x="519" y="169"/>
                  </a:lnTo>
                  <a:lnTo>
                    <a:pt x="519" y="169"/>
                  </a:lnTo>
                  <a:lnTo>
                    <a:pt x="519" y="169"/>
                  </a:lnTo>
                  <a:lnTo>
                    <a:pt x="521" y="169"/>
                  </a:lnTo>
                  <a:lnTo>
                    <a:pt x="521" y="169"/>
                  </a:lnTo>
                  <a:lnTo>
                    <a:pt x="521" y="169"/>
                  </a:lnTo>
                  <a:lnTo>
                    <a:pt x="521" y="169"/>
                  </a:lnTo>
                  <a:lnTo>
                    <a:pt x="521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5" y="164"/>
                  </a:lnTo>
                  <a:lnTo>
                    <a:pt x="523" y="164"/>
                  </a:lnTo>
                  <a:lnTo>
                    <a:pt x="525" y="164"/>
                  </a:lnTo>
                  <a:lnTo>
                    <a:pt x="525" y="162"/>
                  </a:lnTo>
                  <a:lnTo>
                    <a:pt x="525" y="162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5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28" y="160"/>
                  </a:lnTo>
                  <a:lnTo>
                    <a:pt x="530" y="162"/>
                  </a:lnTo>
                  <a:lnTo>
                    <a:pt x="530" y="162"/>
                  </a:lnTo>
                  <a:lnTo>
                    <a:pt x="530" y="162"/>
                  </a:lnTo>
                  <a:lnTo>
                    <a:pt x="530" y="162"/>
                  </a:lnTo>
                  <a:lnTo>
                    <a:pt x="530" y="162"/>
                  </a:lnTo>
                  <a:lnTo>
                    <a:pt x="530" y="162"/>
                  </a:lnTo>
                  <a:lnTo>
                    <a:pt x="530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4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2" y="162"/>
                  </a:lnTo>
                  <a:lnTo>
                    <a:pt x="534" y="162"/>
                  </a:lnTo>
                  <a:lnTo>
                    <a:pt x="534" y="160"/>
                  </a:lnTo>
                  <a:lnTo>
                    <a:pt x="534" y="160"/>
                  </a:lnTo>
                  <a:lnTo>
                    <a:pt x="534" y="160"/>
                  </a:lnTo>
                  <a:lnTo>
                    <a:pt x="534" y="160"/>
                  </a:lnTo>
                  <a:lnTo>
                    <a:pt x="534" y="160"/>
                  </a:lnTo>
                  <a:lnTo>
                    <a:pt x="534" y="160"/>
                  </a:lnTo>
                  <a:lnTo>
                    <a:pt x="532" y="160"/>
                  </a:lnTo>
                  <a:lnTo>
                    <a:pt x="532" y="160"/>
                  </a:lnTo>
                  <a:lnTo>
                    <a:pt x="532" y="160"/>
                  </a:lnTo>
                  <a:lnTo>
                    <a:pt x="532" y="160"/>
                  </a:lnTo>
                  <a:lnTo>
                    <a:pt x="532" y="160"/>
                  </a:lnTo>
                  <a:lnTo>
                    <a:pt x="532" y="160"/>
                  </a:lnTo>
                  <a:lnTo>
                    <a:pt x="532" y="160"/>
                  </a:lnTo>
                  <a:lnTo>
                    <a:pt x="530" y="160"/>
                  </a:lnTo>
                  <a:lnTo>
                    <a:pt x="530" y="160"/>
                  </a:lnTo>
                  <a:lnTo>
                    <a:pt x="530" y="160"/>
                  </a:lnTo>
                  <a:lnTo>
                    <a:pt x="530" y="158"/>
                  </a:lnTo>
                  <a:lnTo>
                    <a:pt x="530" y="158"/>
                  </a:lnTo>
                  <a:lnTo>
                    <a:pt x="532" y="155"/>
                  </a:lnTo>
                  <a:lnTo>
                    <a:pt x="532" y="155"/>
                  </a:lnTo>
                  <a:lnTo>
                    <a:pt x="532" y="155"/>
                  </a:lnTo>
                  <a:lnTo>
                    <a:pt x="532" y="155"/>
                  </a:lnTo>
                  <a:lnTo>
                    <a:pt x="534" y="155"/>
                  </a:lnTo>
                  <a:lnTo>
                    <a:pt x="534" y="155"/>
                  </a:lnTo>
                  <a:lnTo>
                    <a:pt x="534" y="155"/>
                  </a:lnTo>
                  <a:lnTo>
                    <a:pt x="534" y="155"/>
                  </a:lnTo>
                  <a:lnTo>
                    <a:pt x="534" y="155"/>
                  </a:lnTo>
                  <a:lnTo>
                    <a:pt x="534" y="153"/>
                  </a:lnTo>
                  <a:lnTo>
                    <a:pt x="534" y="153"/>
                  </a:lnTo>
                  <a:lnTo>
                    <a:pt x="537" y="153"/>
                  </a:lnTo>
                  <a:lnTo>
                    <a:pt x="537" y="153"/>
                  </a:lnTo>
                  <a:lnTo>
                    <a:pt x="537" y="153"/>
                  </a:lnTo>
                  <a:lnTo>
                    <a:pt x="534" y="153"/>
                  </a:lnTo>
                  <a:lnTo>
                    <a:pt x="537" y="153"/>
                  </a:lnTo>
                  <a:lnTo>
                    <a:pt x="534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7" y="151"/>
                  </a:lnTo>
                  <a:lnTo>
                    <a:pt x="537" y="151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7" y="149"/>
                  </a:lnTo>
                  <a:lnTo>
                    <a:pt x="539" y="149"/>
                  </a:lnTo>
                  <a:lnTo>
                    <a:pt x="539" y="149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6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39" y="144"/>
                  </a:lnTo>
                  <a:lnTo>
                    <a:pt x="539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2"/>
                  </a:lnTo>
                  <a:lnTo>
                    <a:pt x="541" y="144"/>
                  </a:lnTo>
                  <a:lnTo>
                    <a:pt x="541" y="144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6" y="142"/>
                  </a:lnTo>
                  <a:lnTo>
                    <a:pt x="546" y="142"/>
                  </a:lnTo>
                  <a:lnTo>
                    <a:pt x="546" y="142"/>
                  </a:lnTo>
                  <a:lnTo>
                    <a:pt x="546" y="140"/>
                  </a:lnTo>
                  <a:lnTo>
                    <a:pt x="546" y="140"/>
                  </a:lnTo>
                  <a:lnTo>
                    <a:pt x="546" y="140"/>
                  </a:lnTo>
                  <a:lnTo>
                    <a:pt x="548" y="140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8" y="142"/>
                  </a:lnTo>
                  <a:lnTo>
                    <a:pt x="546" y="142"/>
                  </a:lnTo>
                  <a:lnTo>
                    <a:pt x="548" y="144"/>
                  </a:lnTo>
                  <a:lnTo>
                    <a:pt x="548" y="144"/>
                  </a:lnTo>
                  <a:lnTo>
                    <a:pt x="548" y="142"/>
                  </a:lnTo>
                  <a:lnTo>
                    <a:pt x="550" y="142"/>
                  </a:lnTo>
                  <a:lnTo>
                    <a:pt x="550" y="142"/>
                  </a:lnTo>
                  <a:lnTo>
                    <a:pt x="550" y="142"/>
                  </a:lnTo>
                  <a:lnTo>
                    <a:pt x="550" y="140"/>
                  </a:lnTo>
                  <a:lnTo>
                    <a:pt x="550" y="140"/>
                  </a:lnTo>
                  <a:lnTo>
                    <a:pt x="550" y="140"/>
                  </a:lnTo>
                  <a:lnTo>
                    <a:pt x="550" y="140"/>
                  </a:lnTo>
                  <a:lnTo>
                    <a:pt x="550" y="140"/>
                  </a:lnTo>
                  <a:lnTo>
                    <a:pt x="550" y="140"/>
                  </a:lnTo>
                  <a:lnTo>
                    <a:pt x="550" y="140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4"/>
                  </a:lnTo>
                  <a:lnTo>
                    <a:pt x="552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2" y="140"/>
                  </a:lnTo>
                  <a:lnTo>
                    <a:pt x="552" y="140"/>
                  </a:lnTo>
                  <a:lnTo>
                    <a:pt x="552" y="140"/>
                  </a:lnTo>
                  <a:lnTo>
                    <a:pt x="552" y="140"/>
                  </a:lnTo>
                  <a:lnTo>
                    <a:pt x="552" y="140"/>
                  </a:lnTo>
                  <a:lnTo>
                    <a:pt x="552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2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5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7" y="140"/>
                  </a:lnTo>
                  <a:lnTo>
                    <a:pt x="559" y="140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7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4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59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2"/>
                  </a:lnTo>
                  <a:lnTo>
                    <a:pt x="561" y="144"/>
                  </a:lnTo>
                  <a:lnTo>
                    <a:pt x="561" y="142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1" y="144"/>
                  </a:lnTo>
                  <a:lnTo>
                    <a:pt x="564" y="142"/>
                  </a:lnTo>
                  <a:lnTo>
                    <a:pt x="564" y="142"/>
                  </a:lnTo>
                  <a:lnTo>
                    <a:pt x="564" y="142"/>
                  </a:lnTo>
                  <a:lnTo>
                    <a:pt x="564" y="142"/>
                  </a:lnTo>
                  <a:lnTo>
                    <a:pt x="564" y="142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6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4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2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4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6"/>
                  </a:lnTo>
                  <a:lnTo>
                    <a:pt x="566" y="144"/>
                  </a:lnTo>
                  <a:lnTo>
                    <a:pt x="568" y="144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4"/>
                  </a:lnTo>
                  <a:lnTo>
                    <a:pt x="568" y="144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9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68" y="144"/>
                  </a:lnTo>
                  <a:lnTo>
                    <a:pt x="568" y="144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70" y="146"/>
                  </a:lnTo>
                  <a:lnTo>
                    <a:pt x="568" y="146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68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51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0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49"/>
                  </a:lnTo>
                  <a:lnTo>
                    <a:pt x="573" y="151"/>
                  </a:lnTo>
                  <a:lnTo>
                    <a:pt x="573" y="151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51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49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51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6"/>
                  </a:lnTo>
                  <a:lnTo>
                    <a:pt x="579" y="149"/>
                  </a:lnTo>
                  <a:lnTo>
                    <a:pt x="577" y="149"/>
                  </a:lnTo>
                  <a:lnTo>
                    <a:pt x="577" y="149"/>
                  </a:lnTo>
                  <a:lnTo>
                    <a:pt x="579" y="146"/>
                  </a:lnTo>
                  <a:lnTo>
                    <a:pt x="579" y="146"/>
                  </a:lnTo>
                  <a:lnTo>
                    <a:pt x="579" y="146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7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1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2" y="153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1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5"/>
                  </a:lnTo>
                  <a:lnTo>
                    <a:pt x="584" y="155"/>
                  </a:lnTo>
                  <a:lnTo>
                    <a:pt x="584" y="155"/>
                  </a:lnTo>
                  <a:lnTo>
                    <a:pt x="584" y="155"/>
                  </a:lnTo>
                  <a:lnTo>
                    <a:pt x="584" y="155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4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3"/>
                  </a:lnTo>
                  <a:lnTo>
                    <a:pt x="586" y="153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6" y="155"/>
                  </a:lnTo>
                  <a:lnTo>
                    <a:pt x="588" y="158"/>
                  </a:lnTo>
                  <a:lnTo>
                    <a:pt x="586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3"/>
                  </a:lnTo>
                  <a:lnTo>
                    <a:pt x="588" y="153"/>
                  </a:lnTo>
                  <a:lnTo>
                    <a:pt x="588" y="153"/>
                  </a:lnTo>
                  <a:lnTo>
                    <a:pt x="591" y="153"/>
                  </a:lnTo>
                  <a:lnTo>
                    <a:pt x="591" y="153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88" y="155"/>
                  </a:lnTo>
                  <a:lnTo>
                    <a:pt x="588" y="155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8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91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5"/>
                  </a:lnTo>
                  <a:lnTo>
                    <a:pt x="593" y="155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58"/>
                  </a:lnTo>
                  <a:lnTo>
                    <a:pt x="593" y="160"/>
                  </a:lnTo>
                  <a:lnTo>
                    <a:pt x="593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5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58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3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5" y="160"/>
                  </a:lnTo>
                  <a:lnTo>
                    <a:pt x="597" y="158"/>
                  </a:lnTo>
                  <a:lnTo>
                    <a:pt x="597" y="158"/>
                  </a:lnTo>
                  <a:lnTo>
                    <a:pt x="597" y="158"/>
                  </a:lnTo>
                  <a:lnTo>
                    <a:pt x="597" y="158"/>
                  </a:lnTo>
                  <a:lnTo>
                    <a:pt x="597" y="158"/>
                  </a:lnTo>
                  <a:lnTo>
                    <a:pt x="597" y="155"/>
                  </a:lnTo>
                  <a:lnTo>
                    <a:pt x="597" y="155"/>
                  </a:lnTo>
                  <a:lnTo>
                    <a:pt x="597" y="158"/>
                  </a:lnTo>
                  <a:lnTo>
                    <a:pt x="597" y="158"/>
                  </a:lnTo>
                  <a:lnTo>
                    <a:pt x="597" y="160"/>
                  </a:lnTo>
                  <a:lnTo>
                    <a:pt x="597" y="158"/>
                  </a:lnTo>
                  <a:lnTo>
                    <a:pt x="597" y="158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5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0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5" y="162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7" y="162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6"/>
                  </a:lnTo>
                  <a:lnTo>
                    <a:pt x="597" y="166"/>
                  </a:lnTo>
                  <a:lnTo>
                    <a:pt x="597" y="166"/>
                  </a:lnTo>
                  <a:lnTo>
                    <a:pt x="597" y="166"/>
                  </a:lnTo>
                  <a:lnTo>
                    <a:pt x="597" y="166"/>
                  </a:lnTo>
                  <a:lnTo>
                    <a:pt x="597" y="166"/>
                  </a:lnTo>
                  <a:lnTo>
                    <a:pt x="600" y="166"/>
                  </a:lnTo>
                  <a:lnTo>
                    <a:pt x="600" y="166"/>
                  </a:lnTo>
                  <a:lnTo>
                    <a:pt x="600" y="166"/>
                  </a:lnTo>
                  <a:lnTo>
                    <a:pt x="600" y="164"/>
                  </a:lnTo>
                  <a:lnTo>
                    <a:pt x="600" y="164"/>
                  </a:lnTo>
                  <a:lnTo>
                    <a:pt x="600" y="164"/>
                  </a:lnTo>
                  <a:lnTo>
                    <a:pt x="600" y="164"/>
                  </a:lnTo>
                  <a:lnTo>
                    <a:pt x="600" y="164"/>
                  </a:lnTo>
                  <a:lnTo>
                    <a:pt x="600" y="162"/>
                  </a:lnTo>
                  <a:lnTo>
                    <a:pt x="600" y="162"/>
                  </a:lnTo>
                  <a:lnTo>
                    <a:pt x="600" y="162"/>
                  </a:lnTo>
                  <a:lnTo>
                    <a:pt x="600" y="162"/>
                  </a:lnTo>
                  <a:lnTo>
                    <a:pt x="600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4"/>
                  </a:lnTo>
                  <a:lnTo>
                    <a:pt x="604" y="164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4" y="162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9" y="160"/>
                  </a:lnTo>
                  <a:lnTo>
                    <a:pt x="609" y="160"/>
                  </a:lnTo>
                  <a:lnTo>
                    <a:pt x="609" y="160"/>
                  </a:lnTo>
                  <a:lnTo>
                    <a:pt x="609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2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6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2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4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09" y="166"/>
                  </a:lnTo>
                  <a:lnTo>
                    <a:pt x="611" y="166"/>
                  </a:lnTo>
                  <a:lnTo>
                    <a:pt x="611" y="166"/>
                  </a:lnTo>
                  <a:lnTo>
                    <a:pt x="611" y="166"/>
                  </a:lnTo>
                  <a:lnTo>
                    <a:pt x="611" y="166"/>
                  </a:lnTo>
                  <a:lnTo>
                    <a:pt x="611" y="166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11" y="169"/>
                  </a:lnTo>
                  <a:lnTo>
                    <a:pt x="611" y="166"/>
                  </a:lnTo>
                  <a:lnTo>
                    <a:pt x="611" y="169"/>
                  </a:lnTo>
                  <a:lnTo>
                    <a:pt x="611" y="169"/>
                  </a:lnTo>
                  <a:lnTo>
                    <a:pt x="611" y="169"/>
                  </a:lnTo>
                  <a:lnTo>
                    <a:pt x="611" y="169"/>
                  </a:lnTo>
                  <a:lnTo>
                    <a:pt x="611" y="166"/>
                  </a:lnTo>
                  <a:lnTo>
                    <a:pt x="611" y="166"/>
                  </a:lnTo>
                  <a:lnTo>
                    <a:pt x="611" y="166"/>
                  </a:lnTo>
                  <a:lnTo>
                    <a:pt x="613" y="166"/>
                  </a:lnTo>
                  <a:lnTo>
                    <a:pt x="613" y="166"/>
                  </a:lnTo>
                  <a:lnTo>
                    <a:pt x="613" y="166"/>
                  </a:lnTo>
                  <a:lnTo>
                    <a:pt x="613" y="166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1" y="169"/>
                  </a:lnTo>
                  <a:lnTo>
                    <a:pt x="611" y="169"/>
                  </a:lnTo>
                  <a:lnTo>
                    <a:pt x="611" y="169"/>
                  </a:lnTo>
                  <a:lnTo>
                    <a:pt x="611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3" y="169"/>
                  </a:lnTo>
                  <a:lnTo>
                    <a:pt x="615" y="169"/>
                  </a:lnTo>
                  <a:lnTo>
                    <a:pt x="615" y="169"/>
                  </a:lnTo>
                  <a:lnTo>
                    <a:pt x="615" y="169"/>
                  </a:lnTo>
                  <a:lnTo>
                    <a:pt x="615" y="169"/>
                  </a:lnTo>
                  <a:lnTo>
                    <a:pt x="613" y="169"/>
                  </a:lnTo>
                  <a:lnTo>
                    <a:pt x="613" y="171"/>
                  </a:lnTo>
                  <a:lnTo>
                    <a:pt x="613" y="171"/>
                  </a:lnTo>
                  <a:lnTo>
                    <a:pt x="613" y="171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5" y="171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5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1" y="178"/>
                  </a:lnTo>
                  <a:lnTo>
                    <a:pt x="611" y="178"/>
                  </a:lnTo>
                  <a:lnTo>
                    <a:pt x="611" y="178"/>
                  </a:lnTo>
                  <a:lnTo>
                    <a:pt x="611" y="178"/>
                  </a:lnTo>
                  <a:lnTo>
                    <a:pt x="611" y="178"/>
                  </a:lnTo>
                  <a:lnTo>
                    <a:pt x="611" y="180"/>
                  </a:lnTo>
                  <a:lnTo>
                    <a:pt x="611" y="178"/>
                  </a:lnTo>
                  <a:lnTo>
                    <a:pt x="611" y="178"/>
                  </a:lnTo>
                  <a:lnTo>
                    <a:pt x="609" y="178"/>
                  </a:lnTo>
                  <a:lnTo>
                    <a:pt x="609" y="180"/>
                  </a:lnTo>
                  <a:lnTo>
                    <a:pt x="609" y="180"/>
                  </a:lnTo>
                  <a:lnTo>
                    <a:pt x="609" y="180"/>
                  </a:lnTo>
                  <a:lnTo>
                    <a:pt x="609" y="180"/>
                  </a:lnTo>
                  <a:lnTo>
                    <a:pt x="609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1" y="182"/>
                  </a:lnTo>
                  <a:lnTo>
                    <a:pt x="613" y="182"/>
                  </a:lnTo>
                  <a:lnTo>
                    <a:pt x="613" y="182"/>
                  </a:lnTo>
                  <a:lnTo>
                    <a:pt x="611" y="182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1" y="180"/>
                  </a:lnTo>
                  <a:lnTo>
                    <a:pt x="613" y="180"/>
                  </a:lnTo>
                  <a:lnTo>
                    <a:pt x="613" y="180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3" y="178"/>
                  </a:lnTo>
                  <a:lnTo>
                    <a:pt x="615" y="178"/>
                  </a:lnTo>
                  <a:lnTo>
                    <a:pt x="615" y="178"/>
                  </a:lnTo>
                  <a:lnTo>
                    <a:pt x="615" y="178"/>
                  </a:lnTo>
                  <a:lnTo>
                    <a:pt x="615" y="175"/>
                  </a:lnTo>
                  <a:lnTo>
                    <a:pt x="615" y="175"/>
                  </a:lnTo>
                  <a:lnTo>
                    <a:pt x="618" y="175"/>
                  </a:lnTo>
                  <a:lnTo>
                    <a:pt x="618" y="178"/>
                  </a:lnTo>
                  <a:lnTo>
                    <a:pt x="618" y="178"/>
                  </a:lnTo>
                  <a:lnTo>
                    <a:pt x="618" y="178"/>
                  </a:lnTo>
                  <a:lnTo>
                    <a:pt x="618" y="180"/>
                  </a:lnTo>
                  <a:lnTo>
                    <a:pt x="618" y="180"/>
                  </a:lnTo>
                  <a:lnTo>
                    <a:pt x="618" y="180"/>
                  </a:lnTo>
                  <a:lnTo>
                    <a:pt x="618" y="180"/>
                  </a:lnTo>
                  <a:lnTo>
                    <a:pt x="618" y="180"/>
                  </a:lnTo>
                  <a:lnTo>
                    <a:pt x="618" y="180"/>
                  </a:lnTo>
                  <a:lnTo>
                    <a:pt x="618" y="182"/>
                  </a:lnTo>
                  <a:lnTo>
                    <a:pt x="618" y="182"/>
                  </a:lnTo>
                  <a:lnTo>
                    <a:pt x="618" y="182"/>
                  </a:lnTo>
                  <a:lnTo>
                    <a:pt x="618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3" y="182"/>
                  </a:lnTo>
                  <a:lnTo>
                    <a:pt x="613" y="182"/>
                  </a:lnTo>
                  <a:lnTo>
                    <a:pt x="613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2"/>
                  </a:lnTo>
                  <a:lnTo>
                    <a:pt x="615" y="184"/>
                  </a:lnTo>
                  <a:lnTo>
                    <a:pt x="615" y="184"/>
                  </a:lnTo>
                  <a:lnTo>
                    <a:pt x="615" y="184"/>
                  </a:lnTo>
                  <a:lnTo>
                    <a:pt x="613" y="184"/>
                  </a:lnTo>
                  <a:lnTo>
                    <a:pt x="613" y="184"/>
                  </a:lnTo>
                  <a:lnTo>
                    <a:pt x="613" y="184"/>
                  </a:lnTo>
                  <a:lnTo>
                    <a:pt x="613" y="184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1" y="187"/>
                  </a:lnTo>
                  <a:lnTo>
                    <a:pt x="611" y="187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4"/>
                  </a:lnTo>
                  <a:lnTo>
                    <a:pt x="613" y="184"/>
                  </a:lnTo>
                  <a:lnTo>
                    <a:pt x="613" y="184"/>
                  </a:lnTo>
                  <a:lnTo>
                    <a:pt x="615" y="184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7"/>
                  </a:lnTo>
                  <a:lnTo>
                    <a:pt x="613" y="189"/>
                  </a:lnTo>
                  <a:lnTo>
                    <a:pt x="613" y="189"/>
                  </a:lnTo>
                  <a:lnTo>
                    <a:pt x="613" y="189"/>
                  </a:lnTo>
                  <a:lnTo>
                    <a:pt x="613" y="189"/>
                  </a:lnTo>
                  <a:lnTo>
                    <a:pt x="613" y="191"/>
                  </a:lnTo>
                  <a:lnTo>
                    <a:pt x="613" y="191"/>
                  </a:lnTo>
                  <a:lnTo>
                    <a:pt x="613" y="191"/>
                  </a:lnTo>
                  <a:lnTo>
                    <a:pt x="613" y="193"/>
                  </a:lnTo>
                  <a:lnTo>
                    <a:pt x="613" y="193"/>
                  </a:lnTo>
                  <a:lnTo>
                    <a:pt x="611" y="193"/>
                  </a:lnTo>
                  <a:lnTo>
                    <a:pt x="611" y="196"/>
                  </a:lnTo>
                  <a:lnTo>
                    <a:pt x="611" y="196"/>
                  </a:lnTo>
                  <a:lnTo>
                    <a:pt x="611" y="196"/>
                  </a:lnTo>
                  <a:lnTo>
                    <a:pt x="611" y="196"/>
                  </a:lnTo>
                  <a:lnTo>
                    <a:pt x="611" y="196"/>
                  </a:lnTo>
                  <a:lnTo>
                    <a:pt x="611" y="196"/>
                  </a:lnTo>
                  <a:lnTo>
                    <a:pt x="611" y="196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1" y="198"/>
                  </a:lnTo>
                  <a:lnTo>
                    <a:pt x="611" y="198"/>
                  </a:lnTo>
                  <a:lnTo>
                    <a:pt x="611" y="198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09" y="200"/>
                  </a:lnTo>
                  <a:lnTo>
                    <a:pt x="609" y="202"/>
                  </a:lnTo>
                  <a:lnTo>
                    <a:pt x="609" y="202"/>
                  </a:lnTo>
                  <a:lnTo>
                    <a:pt x="609" y="202"/>
                  </a:lnTo>
                  <a:lnTo>
                    <a:pt x="609" y="202"/>
                  </a:lnTo>
                  <a:lnTo>
                    <a:pt x="611" y="202"/>
                  </a:lnTo>
                  <a:lnTo>
                    <a:pt x="609" y="202"/>
                  </a:lnTo>
                  <a:lnTo>
                    <a:pt x="611" y="205"/>
                  </a:lnTo>
                  <a:lnTo>
                    <a:pt x="611" y="202"/>
                  </a:lnTo>
                  <a:lnTo>
                    <a:pt x="611" y="202"/>
                  </a:lnTo>
                  <a:lnTo>
                    <a:pt x="611" y="202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1" y="200"/>
                  </a:lnTo>
                  <a:lnTo>
                    <a:pt x="613" y="200"/>
                  </a:lnTo>
                  <a:lnTo>
                    <a:pt x="613" y="200"/>
                  </a:lnTo>
                  <a:lnTo>
                    <a:pt x="613" y="200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3" y="198"/>
                  </a:lnTo>
                  <a:lnTo>
                    <a:pt x="615" y="198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8" y="196"/>
                  </a:lnTo>
                  <a:lnTo>
                    <a:pt x="618" y="196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3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18" y="189"/>
                  </a:lnTo>
                  <a:lnTo>
                    <a:pt x="618" y="187"/>
                  </a:lnTo>
                  <a:lnTo>
                    <a:pt x="618" y="187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7"/>
                  </a:lnTo>
                  <a:lnTo>
                    <a:pt x="618" y="184"/>
                  </a:lnTo>
                  <a:lnTo>
                    <a:pt x="618" y="184"/>
                  </a:lnTo>
                  <a:lnTo>
                    <a:pt x="618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7"/>
                  </a:lnTo>
                  <a:lnTo>
                    <a:pt x="620" y="187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0" y="184"/>
                  </a:lnTo>
                  <a:lnTo>
                    <a:pt x="622" y="184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4"/>
                  </a:lnTo>
                  <a:lnTo>
                    <a:pt x="624" y="187"/>
                  </a:lnTo>
                  <a:lnTo>
                    <a:pt x="624" y="187"/>
                  </a:lnTo>
                  <a:lnTo>
                    <a:pt x="624" y="187"/>
                  </a:lnTo>
                  <a:lnTo>
                    <a:pt x="624" y="187"/>
                  </a:lnTo>
                  <a:lnTo>
                    <a:pt x="624" y="187"/>
                  </a:lnTo>
                  <a:lnTo>
                    <a:pt x="624" y="187"/>
                  </a:lnTo>
                  <a:lnTo>
                    <a:pt x="622" y="187"/>
                  </a:lnTo>
                  <a:lnTo>
                    <a:pt x="622" y="187"/>
                  </a:lnTo>
                  <a:lnTo>
                    <a:pt x="624" y="187"/>
                  </a:lnTo>
                  <a:lnTo>
                    <a:pt x="624" y="187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2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18" y="191"/>
                  </a:lnTo>
                  <a:lnTo>
                    <a:pt x="618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3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0" y="191"/>
                  </a:lnTo>
                  <a:lnTo>
                    <a:pt x="622" y="191"/>
                  </a:lnTo>
                  <a:lnTo>
                    <a:pt x="620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3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2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91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9"/>
                  </a:lnTo>
                  <a:lnTo>
                    <a:pt x="624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7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29" y="184"/>
                  </a:lnTo>
                  <a:lnTo>
                    <a:pt x="629" y="184"/>
                  </a:lnTo>
                  <a:lnTo>
                    <a:pt x="629" y="187"/>
                  </a:lnTo>
                  <a:lnTo>
                    <a:pt x="629" y="187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7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4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7"/>
                  </a:lnTo>
                  <a:lnTo>
                    <a:pt x="631" y="184"/>
                  </a:lnTo>
                  <a:lnTo>
                    <a:pt x="633" y="184"/>
                  </a:lnTo>
                  <a:lnTo>
                    <a:pt x="633" y="187"/>
                  </a:lnTo>
                  <a:lnTo>
                    <a:pt x="633" y="187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3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5" y="187"/>
                  </a:lnTo>
                  <a:lnTo>
                    <a:pt x="635" y="184"/>
                  </a:lnTo>
                  <a:lnTo>
                    <a:pt x="635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7"/>
                  </a:lnTo>
                  <a:lnTo>
                    <a:pt x="638" y="187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4"/>
                  </a:lnTo>
                  <a:lnTo>
                    <a:pt x="638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5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38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2" y="182"/>
                  </a:lnTo>
                  <a:lnTo>
                    <a:pt x="644" y="182"/>
                  </a:lnTo>
                  <a:lnTo>
                    <a:pt x="647" y="184"/>
                  </a:lnTo>
                  <a:lnTo>
                    <a:pt x="647" y="184"/>
                  </a:lnTo>
                  <a:lnTo>
                    <a:pt x="647" y="184"/>
                  </a:lnTo>
                  <a:lnTo>
                    <a:pt x="649" y="184"/>
                  </a:lnTo>
                  <a:lnTo>
                    <a:pt x="649" y="184"/>
                  </a:lnTo>
                  <a:lnTo>
                    <a:pt x="649" y="184"/>
                  </a:lnTo>
                  <a:lnTo>
                    <a:pt x="651" y="184"/>
                  </a:lnTo>
                  <a:lnTo>
                    <a:pt x="651" y="187"/>
                  </a:lnTo>
                  <a:lnTo>
                    <a:pt x="651" y="187"/>
                  </a:lnTo>
                  <a:lnTo>
                    <a:pt x="651" y="187"/>
                  </a:lnTo>
                  <a:lnTo>
                    <a:pt x="651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7"/>
                  </a:lnTo>
                  <a:lnTo>
                    <a:pt x="653" y="189"/>
                  </a:lnTo>
                  <a:lnTo>
                    <a:pt x="656" y="189"/>
                  </a:lnTo>
                  <a:lnTo>
                    <a:pt x="656" y="189"/>
                  </a:lnTo>
                  <a:lnTo>
                    <a:pt x="656" y="189"/>
                  </a:lnTo>
                  <a:lnTo>
                    <a:pt x="656" y="189"/>
                  </a:lnTo>
                  <a:lnTo>
                    <a:pt x="656" y="189"/>
                  </a:lnTo>
                  <a:lnTo>
                    <a:pt x="656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6" y="189"/>
                  </a:lnTo>
                  <a:lnTo>
                    <a:pt x="658" y="189"/>
                  </a:lnTo>
                  <a:lnTo>
                    <a:pt x="658" y="189"/>
                  </a:lnTo>
                  <a:lnTo>
                    <a:pt x="658" y="191"/>
                  </a:lnTo>
                  <a:lnTo>
                    <a:pt x="658" y="191"/>
                  </a:lnTo>
                  <a:lnTo>
                    <a:pt x="658" y="191"/>
                  </a:lnTo>
                  <a:lnTo>
                    <a:pt x="658" y="191"/>
                  </a:lnTo>
                  <a:lnTo>
                    <a:pt x="658" y="189"/>
                  </a:lnTo>
                  <a:lnTo>
                    <a:pt x="658" y="191"/>
                  </a:lnTo>
                  <a:lnTo>
                    <a:pt x="658" y="191"/>
                  </a:lnTo>
                  <a:lnTo>
                    <a:pt x="660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3"/>
                  </a:lnTo>
                  <a:lnTo>
                    <a:pt x="662" y="193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2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5" y="191"/>
                  </a:lnTo>
                  <a:lnTo>
                    <a:pt x="665" y="191"/>
                  </a:lnTo>
                  <a:lnTo>
                    <a:pt x="667" y="191"/>
                  </a:lnTo>
                  <a:lnTo>
                    <a:pt x="667" y="193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69" y="193"/>
                  </a:lnTo>
                  <a:lnTo>
                    <a:pt x="669" y="193"/>
                  </a:lnTo>
                  <a:lnTo>
                    <a:pt x="669" y="193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7" y="191"/>
                  </a:lnTo>
                  <a:lnTo>
                    <a:pt x="667" y="191"/>
                  </a:lnTo>
                  <a:lnTo>
                    <a:pt x="671" y="191"/>
                  </a:lnTo>
                  <a:lnTo>
                    <a:pt x="671" y="191"/>
                  </a:lnTo>
                  <a:lnTo>
                    <a:pt x="671" y="191"/>
                  </a:lnTo>
                  <a:lnTo>
                    <a:pt x="671" y="191"/>
                  </a:lnTo>
                  <a:lnTo>
                    <a:pt x="671" y="191"/>
                  </a:lnTo>
                  <a:lnTo>
                    <a:pt x="671" y="191"/>
                  </a:lnTo>
                  <a:lnTo>
                    <a:pt x="671" y="191"/>
                  </a:lnTo>
                  <a:lnTo>
                    <a:pt x="674" y="193"/>
                  </a:lnTo>
                  <a:lnTo>
                    <a:pt x="676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4" y="193"/>
                  </a:lnTo>
                  <a:lnTo>
                    <a:pt x="676" y="193"/>
                  </a:lnTo>
                  <a:lnTo>
                    <a:pt x="676" y="193"/>
                  </a:lnTo>
                  <a:lnTo>
                    <a:pt x="676" y="193"/>
                  </a:lnTo>
                  <a:lnTo>
                    <a:pt x="676" y="193"/>
                  </a:lnTo>
                  <a:lnTo>
                    <a:pt x="678" y="193"/>
                  </a:lnTo>
                  <a:lnTo>
                    <a:pt x="678" y="193"/>
                  </a:lnTo>
                  <a:lnTo>
                    <a:pt x="678" y="193"/>
                  </a:lnTo>
                  <a:lnTo>
                    <a:pt x="678" y="193"/>
                  </a:lnTo>
                  <a:lnTo>
                    <a:pt x="678" y="193"/>
                  </a:lnTo>
                  <a:lnTo>
                    <a:pt x="678" y="193"/>
                  </a:lnTo>
                  <a:lnTo>
                    <a:pt x="678" y="196"/>
                  </a:lnTo>
                  <a:lnTo>
                    <a:pt x="678" y="196"/>
                  </a:lnTo>
                  <a:lnTo>
                    <a:pt x="680" y="196"/>
                  </a:lnTo>
                  <a:lnTo>
                    <a:pt x="678" y="196"/>
                  </a:lnTo>
                  <a:lnTo>
                    <a:pt x="678" y="196"/>
                  </a:lnTo>
                  <a:lnTo>
                    <a:pt x="678" y="196"/>
                  </a:lnTo>
                  <a:lnTo>
                    <a:pt x="678" y="196"/>
                  </a:lnTo>
                  <a:lnTo>
                    <a:pt x="680" y="196"/>
                  </a:lnTo>
                  <a:lnTo>
                    <a:pt x="680" y="196"/>
                  </a:lnTo>
                  <a:lnTo>
                    <a:pt x="680" y="196"/>
                  </a:lnTo>
                  <a:lnTo>
                    <a:pt x="680" y="193"/>
                  </a:lnTo>
                  <a:lnTo>
                    <a:pt x="680" y="193"/>
                  </a:lnTo>
                  <a:lnTo>
                    <a:pt x="680" y="193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0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6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3" y="193"/>
                  </a:lnTo>
                  <a:lnTo>
                    <a:pt x="685" y="193"/>
                  </a:lnTo>
                  <a:lnTo>
                    <a:pt x="685" y="193"/>
                  </a:lnTo>
                  <a:lnTo>
                    <a:pt x="685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7" y="193"/>
                  </a:lnTo>
                  <a:lnTo>
                    <a:pt x="689" y="193"/>
                  </a:lnTo>
                  <a:lnTo>
                    <a:pt x="689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2" y="193"/>
                  </a:lnTo>
                  <a:lnTo>
                    <a:pt x="694" y="193"/>
                  </a:lnTo>
                  <a:lnTo>
                    <a:pt x="694" y="193"/>
                  </a:lnTo>
                  <a:lnTo>
                    <a:pt x="698" y="193"/>
                  </a:lnTo>
                  <a:lnTo>
                    <a:pt x="698" y="191"/>
                  </a:lnTo>
                  <a:lnTo>
                    <a:pt x="698" y="191"/>
                  </a:lnTo>
                  <a:lnTo>
                    <a:pt x="698" y="191"/>
                  </a:lnTo>
                  <a:lnTo>
                    <a:pt x="698" y="191"/>
                  </a:lnTo>
                  <a:lnTo>
                    <a:pt x="698" y="191"/>
                  </a:lnTo>
                  <a:lnTo>
                    <a:pt x="698" y="191"/>
                  </a:lnTo>
                  <a:lnTo>
                    <a:pt x="698" y="191"/>
                  </a:lnTo>
                  <a:lnTo>
                    <a:pt x="701" y="191"/>
                  </a:lnTo>
                  <a:lnTo>
                    <a:pt x="701" y="191"/>
                  </a:lnTo>
                  <a:lnTo>
                    <a:pt x="703" y="191"/>
                  </a:lnTo>
                  <a:lnTo>
                    <a:pt x="705" y="191"/>
                  </a:lnTo>
                  <a:lnTo>
                    <a:pt x="705" y="191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07" y="193"/>
                  </a:lnTo>
                  <a:lnTo>
                    <a:pt x="710" y="193"/>
                  </a:lnTo>
                  <a:lnTo>
                    <a:pt x="710" y="193"/>
                  </a:lnTo>
                  <a:lnTo>
                    <a:pt x="710" y="193"/>
                  </a:lnTo>
                  <a:lnTo>
                    <a:pt x="712" y="193"/>
                  </a:lnTo>
                  <a:lnTo>
                    <a:pt x="712" y="193"/>
                  </a:lnTo>
                  <a:lnTo>
                    <a:pt x="712" y="193"/>
                  </a:lnTo>
                  <a:lnTo>
                    <a:pt x="714" y="196"/>
                  </a:lnTo>
                  <a:lnTo>
                    <a:pt x="714" y="196"/>
                  </a:lnTo>
                  <a:lnTo>
                    <a:pt x="714" y="196"/>
                  </a:lnTo>
                  <a:lnTo>
                    <a:pt x="714" y="196"/>
                  </a:lnTo>
                  <a:lnTo>
                    <a:pt x="714" y="196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6" y="198"/>
                  </a:lnTo>
                  <a:lnTo>
                    <a:pt x="719" y="198"/>
                  </a:lnTo>
                  <a:lnTo>
                    <a:pt x="719" y="198"/>
                  </a:lnTo>
                  <a:lnTo>
                    <a:pt x="719" y="198"/>
                  </a:lnTo>
                  <a:lnTo>
                    <a:pt x="719" y="198"/>
                  </a:lnTo>
                  <a:lnTo>
                    <a:pt x="719" y="198"/>
                  </a:lnTo>
                  <a:lnTo>
                    <a:pt x="721" y="200"/>
                  </a:lnTo>
                  <a:lnTo>
                    <a:pt x="721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0"/>
                  </a:lnTo>
                  <a:lnTo>
                    <a:pt x="723" y="202"/>
                  </a:lnTo>
                  <a:lnTo>
                    <a:pt x="725" y="202"/>
                  </a:lnTo>
                  <a:lnTo>
                    <a:pt x="725" y="202"/>
                  </a:lnTo>
                  <a:lnTo>
                    <a:pt x="725" y="202"/>
                  </a:lnTo>
                  <a:lnTo>
                    <a:pt x="725" y="202"/>
                  </a:lnTo>
                  <a:lnTo>
                    <a:pt x="725" y="202"/>
                  </a:lnTo>
                  <a:lnTo>
                    <a:pt x="725" y="202"/>
                  </a:lnTo>
                  <a:lnTo>
                    <a:pt x="725" y="202"/>
                  </a:lnTo>
                  <a:lnTo>
                    <a:pt x="728" y="205"/>
                  </a:lnTo>
                  <a:lnTo>
                    <a:pt x="728" y="205"/>
                  </a:lnTo>
                  <a:lnTo>
                    <a:pt x="728" y="205"/>
                  </a:lnTo>
                  <a:lnTo>
                    <a:pt x="728" y="205"/>
                  </a:lnTo>
                  <a:lnTo>
                    <a:pt x="728" y="205"/>
                  </a:lnTo>
                  <a:lnTo>
                    <a:pt x="728" y="205"/>
                  </a:lnTo>
                  <a:lnTo>
                    <a:pt x="728" y="205"/>
                  </a:lnTo>
                  <a:lnTo>
                    <a:pt x="730" y="205"/>
                  </a:lnTo>
                  <a:lnTo>
                    <a:pt x="730" y="205"/>
                  </a:lnTo>
                  <a:lnTo>
                    <a:pt x="730" y="205"/>
                  </a:lnTo>
                  <a:lnTo>
                    <a:pt x="730" y="205"/>
                  </a:lnTo>
                  <a:lnTo>
                    <a:pt x="730" y="205"/>
                  </a:lnTo>
                  <a:lnTo>
                    <a:pt x="732" y="207"/>
                  </a:lnTo>
                  <a:lnTo>
                    <a:pt x="732" y="207"/>
                  </a:lnTo>
                  <a:lnTo>
                    <a:pt x="732" y="207"/>
                  </a:lnTo>
                  <a:lnTo>
                    <a:pt x="732" y="209"/>
                  </a:lnTo>
                  <a:lnTo>
                    <a:pt x="732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4" y="209"/>
                  </a:lnTo>
                  <a:lnTo>
                    <a:pt x="737" y="211"/>
                  </a:lnTo>
                  <a:lnTo>
                    <a:pt x="737" y="211"/>
                  </a:lnTo>
                  <a:lnTo>
                    <a:pt x="737" y="211"/>
                  </a:lnTo>
                  <a:lnTo>
                    <a:pt x="737" y="211"/>
                  </a:lnTo>
                  <a:lnTo>
                    <a:pt x="739" y="211"/>
                  </a:lnTo>
                  <a:lnTo>
                    <a:pt x="739" y="214"/>
                  </a:lnTo>
                  <a:lnTo>
                    <a:pt x="739" y="214"/>
                  </a:lnTo>
                  <a:lnTo>
                    <a:pt x="741" y="214"/>
                  </a:lnTo>
                  <a:lnTo>
                    <a:pt x="741" y="214"/>
                  </a:lnTo>
                  <a:lnTo>
                    <a:pt x="741" y="214"/>
                  </a:lnTo>
                  <a:lnTo>
                    <a:pt x="741" y="214"/>
                  </a:lnTo>
                  <a:lnTo>
                    <a:pt x="743" y="214"/>
                  </a:lnTo>
                  <a:lnTo>
                    <a:pt x="743" y="214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8"/>
                  </a:lnTo>
                  <a:lnTo>
                    <a:pt x="746" y="218"/>
                  </a:lnTo>
                  <a:lnTo>
                    <a:pt x="746" y="218"/>
                  </a:lnTo>
                  <a:lnTo>
                    <a:pt x="746" y="218"/>
                  </a:lnTo>
                  <a:lnTo>
                    <a:pt x="748" y="220"/>
                  </a:lnTo>
                  <a:lnTo>
                    <a:pt x="748" y="223"/>
                  </a:lnTo>
                  <a:lnTo>
                    <a:pt x="750" y="225"/>
                  </a:lnTo>
                  <a:lnTo>
                    <a:pt x="752" y="225"/>
                  </a:lnTo>
                  <a:lnTo>
                    <a:pt x="755" y="227"/>
                  </a:lnTo>
                  <a:lnTo>
                    <a:pt x="755" y="227"/>
                  </a:lnTo>
                  <a:lnTo>
                    <a:pt x="755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7" y="229"/>
                  </a:lnTo>
                  <a:lnTo>
                    <a:pt x="757" y="229"/>
                  </a:lnTo>
                  <a:lnTo>
                    <a:pt x="759" y="232"/>
                  </a:lnTo>
                  <a:lnTo>
                    <a:pt x="759" y="234"/>
                  </a:lnTo>
                  <a:lnTo>
                    <a:pt x="759" y="234"/>
                  </a:lnTo>
                  <a:lnTo>
                    <a:pt x="761" y="234"/>
                  </a:lnTo>
                  <a:lnTo>
                    <a:pt x="761" y="236"/>
                  </a:lnTo>
                  <a:lnTo>
                    <a:pt x="761" y="236"/>
                  </a:lnTo>
                  <a:lnTo>
                    <a:pt x="761" y="236"/>
                  </a:lnTo>
                  <a:lnTo>
                    <a:pt x="764" y="236"/>
                  </a:lnTo>
                  <a:lnTo>
                    <a:pt x="764" y="236"/>
                  </a:lnTo>
                  <a:lnTo>
                    <a:pt x="764" y="236"/>
                  </a:lnTo>
                  <a:lnTo>
                    <a:pt x="766" y="236"/>
                  </a:lnTo>
                  <a:lnTo>
                    <a:pt x="768" y="238"/>
                  </a:lnTo>
                  <a:lnTo>
                    <a:pt x="768" y="238"/>
                  </a:lnTo>
                  <a:lnTo>
                    <a:pt x="768" y="241"/>
                  </a:lnTo>
                  <a:lnTo>
                    <a:pt x="770" y="243"/>
                  </a:lnTo>
                  <a:lnTo>
                    <a:pt x="770" y="243"/>
                  </a:lnTo>
                  <a:lnTo>
                    <a:pt x="770" y="243"/>
                  </a:lnTo>
                  <a:lnTo>
                    <a:pt x="770" y="243"/>
                  </a:lnTo>
                  <a:lnTo>
                    <a:pt x="773" y="243"/>
                  </a:lnTo>
                  <a:lnTo>
                    <a:pt x="773" y="243"/>
                  </a:lnTo>
                  <a:lnTo>
                    <a:pt x="773" y="243"/>
                  </a:lnTo>
                  <a:lnTo>
                    <a:pt x="773" y="243"/>
                  </a:lnTo>
                  <a:lnTo>
                    <a:pt x="775" y="243"/>
                  </a:lnTo>
                  <a:lnTo>
                    <a:pt x="775" y="243"/>
                  </a:lnTo>
                  <a:lnTo>
                    <a:pt x="777" y="243"/>
                  </a:lnTo>
                  <a:lnTo>
                    <a:pt x="777" y="243"/>
                  </a:lnTo>
                  <a:lnTo>
                    <a:pt x="777" y="243"/>
                  </a:lnTo>
                  <a:lnTo>
                    <a:pt x="777" y="245"/>
                  </a:lnTo>
                  <a:lnTo>
                    <a:pt x="777" y="245"/>
                  </a:lnTo>
                  <a:lnTo>
                    <a:pt x="777" y="245"/>
                  </a:lnTo>
                  <a:lnTo>
                    <a:pt x="777" y="245"/>
                  </a:lnTo>
                  <a:lnTo>
                    <a:pt x="777" y="245"/>
                  </a:lnTo>
                  <a:lnTo>
                    <a:pt x="779" y="245"/>
                  </a:lnTo>
                  <a:lnTo>
                    <a:pt x="779" y="245"/>
                  </a:lnTo>
                  <a:lnTo>
                    <a:pt x="779" y="245"/>
                  </a:lnTo>
                  <a:lnTo>
                    <a:pt x="779" y="247"/>
                  </a:lnTo>
                  <a:lnTo>
                    <a:pt x="779" y="247"/>
                  </a:lnTo>
                  <a:lnTo>
                    <a:pt x="782" y="247"/>
                  </a:lnTo>
                  <a:lnTo>
                    <a:pt x="782" y="247"/>
                  </a:lnTo>
                  <a:lnTo>
                    <a:pt x="782" y="247"/>
                  </a:lnTo>
                  <a:lnTo>
                    <a:pt x="784" y="247"/>
                  </a:lnTo>
                  <a:lnTo>
                    <a:pt x="784" y="247"/>
                  </a:lnTo>
                  <a:lnTo>
                    <a:pt x="784" y="247"/>
                  </a:lnTo>
                  <a:lnTo>
                    <a:pt x="784" y="247"/>
                  </a:lnTo>
                  <a:lnTo>
                    <a:pt x="784" y="247"/>
                  </a:lnTo>
                  <a:lnTo>
                    <a:pt x="782" y="247"/>
                  </a:lnTo>
                  <a:lnTo>
                    <a:pt x="782" y="245"/>
                  </a:lnTo>
                  <a:lnTo>
                    <a:pt x="784" y="247"/>
                  </a:lnTo>
                  <a:lnTo>
                    <a:pt x="786" y="245"/>
                  </a:lnTo>
                  <a:lnTo>
                    <a:pt x="788" y="247"/>
                  </a:lnTo>
                  <a:lnTo>
                    <a:pt x="788" y="247"/>
                  </a:lnTo>
                  <a:lnTo>
                    <a:pt x="788" y="247"/>
                  </a:lnTo>
                  <a:lnTo>
                    <a:pt x="788" y="247"/>
                  </a:lnTo>
                  <a:lnTo>
                    <a:pt x="788" y="247"/>
                  </a:lnTo>
                  <a:lnTo>
                    <a:pt x="788" y="247"/>
                  </a:lnTo>
                  <a:lnTo>
                    <a:pt x="788" y="247"/>
                  </a:lnTo>
                  <a:lnTo>
                    <a:pt x="793" y="247"/>
                  </a:lnTo>
                  <a:lnTo>
                    <a:pt x="793" y="247"/>
                  </a:lnTo>
                  <a:lnTo>
                    <a:pt x="793" y="245"/>
                  </a:lnTo>
                  <a:lnTo>
                    <a:pt x="793" y="245"/>
                  </a:lnTo>
                  <a:lnTo>
                    <a:pt x="795" y="245"/>
                  </a:lnTo>
                  <a:lnTo>
                    <a:pt x="795" y="245"/>
                  </a:lnTo>
                  <a:lnTo>
                    <a:pt x="797" y="245"/>
                  </a:lnTo>
                  <a:lnTo>
                    <a:pt x="800" y="245"/>
                  </a:lnTo>
                  <a:lnTo>
                    <a:pt x="802" y="247"/>
                  </a:lnTo>
                  <a:lnTo>
                    <a:pt x="804" y="247"/>
                  </a:lnTo>
                  <a:lnTo>
                    <a:pt x="804" y="247"/>
                  </a:lnTo>
                  <a:lnTo>
                    <a:pt x="804" y="247"/>
                  </a:lnTo>
                  <a:lnTo>
                    <a:pt x="806" y="247"/>
                  </a:lnTo>
                  <a:lnTo>
                    <a:pt x="806" y="250"/>
                  </a:lnTo>
                  <a:lnTo>
                    <a:pt x="806" y="250"/>
                  </a:lnTo>
                  <a:lnTo>
                    <a:pt x="806" y="250"/>
                  </a:lnTo>
                  <a:lnTo>
                    <a:pt x="806" y="250"/>
                  </a:lnTo>
                  <a:lnTo>
                    <a:pt x="806" y="250"/>
                  </a:lnTo>
                  <a:lnTo>
                    <a:pt x="808" y="252"/>
                  </a:lnTo>
                  <a:lnTo>
                    <a:pt x="808" y="252"/>
                  </a:lnTo>
                  <a:lnTo>
                    <a:pt x="808" y="252"/>
                  </a:lnTo>
                  <a:lnTo>
                    <a:pt x="808" y="252"/>
                  </a:lnTo>
                  <a:lnTo>
                    <a:pt x="808" y="252"/>
                  </a:lnTo>
                  <a:lnTo>
                    <a:pt x="808" y="254"/>
                  </a:lnTo>
                  <a:lnTo>
                    <a:pt x="811" y="256"/>
                  </a:lnTo>
                  <a:lnTo>
                    <a:pt x="811" y="256"/>
                  </a:lnTo>
                  <a:lnTo>
                    <a:pt x="811" y="256"/>
                  </a:lnTo>
                  <a:lnTo>
                    <a:pt x="811" y="259"/>
                  </a:lnTo>
                  <a:lnTo>
                    <a:pt x="811" y="259"/>
                  </a:lnTo>
                  <a:lnTo>
                    <a:pt x="811" y="259"/>
                  </a:lnTo>
                  <a:lnTo>
                    <a:pt x="811" y="259"/>
                  </a:lnTo>
                  <a:lnTo>
                    <a:pt x="811" y="261"/>
                  </a:lnTo>
                  <a:lnTo>
                    <a:pt x="811" y="261"/>
                  </a:lnTo>
                  <a:lnTo>
                    <a:pt x="811" y="261"/>
                  </a:lnTo>
                  <a:lnTo>
                    <a:pt x="811" y="263"/>
                  </a:lnTo>
                  <a:lnTo>
                    <a:pt x="811" y="263"/>
                  </a:lnTo>
                  <a:lnTo>
                    <a:pt x="813" y="263"/>
                  </a:lnTo>
                  <a:lnTo>
                    <a:pt x="813" y="263"/>
                  </a:lnTo>
                  <a:lnTo>
                    <a:pt x="813" y="263"/>
                  </a:lnTo>
                  <a:lnTo>
                    <a:pt x="813" y="263"/>
                  </a:lnTo>
                  <a:lnTo>
                    <a:pt x="813" y="265"/>
                  </a:lnTo>
                  <a:lnTo>
                    <a:pt x="813" y="265"/>
                  </a:lnTo>
                  <a:lnTo>
                    <a:pt x="813" y="265"/>
                  </a:lnTo>
                  <a:lnTo>
                    <a:pt x="813" y="265"/>
                  </a:lnTo>
                  <a:lnTo>
                    <a:pt x="813" y="265"/>
                  </a:lnTo>
                  <a:lnTo>
                    <a:pt x="813" y="265"/>
                  </a:lnTo>
                  <a:lnTo>
                    <a:pt x="813" y="265"/>
                  </a:lnTo>
                  <a:lnTo>
                    <a:pt x="813" y="268"/>
                  </a:lnTo>
                  <a:lnTo>
                    <a:pt x="813" y="268"/>
                  </a:lnTo>
                  <a:lnTo>
                    <a:pt x="813" y="268"/>
                  </a:lnTo>
                  <a:lnTo>
                    <a:pt x="813" y="268"/>
                  </a:lnTo>
                  <a:lnTo>
                    <a:pt x="813" y="268"/>
                  </a:lnTo>
                  <a:lnTo>
                    <a:pt x="813" y="268"/>
                  </a:lnTo>
                  <a:lnTo>
                    <a:pt x="813" y="268"/>
                  </a:lnTo>
                  <a:lnTo>
                    <a:pt x="813" y="270"/>
                  </a:lnTo>
                  <a:lnTo>
                    <a:pt x="813" y="270"/>
                  </a:lnTo>
                  <a:lnTo>
                    <a:pt x="813" y="270"/>
                  </a:lnTo>
                  <a:lnTo>
                    <a:pt x="813" y="270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3" y="274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3" y="272"/>
                  </a:lnTo>
                  <a:lnTo>
                    <a:pt x="815" y="272"/>
                  </a:lnTo>
                  <a:lnTo>
                    <a:pt x="815" y="274"/>
                  </a:lnTo>
                  <a:lnTo>
                    <a:pt x="815" y="274"/>
                  </a:lnTo>
                  <a:lnTo>
                    <a:pt x="815" y="274"/>
                  </a:lnTo>
                  <a:lnTo>
                    <a:pt x="815" y="274"/>
                  </a:lnTo>
                  <a:lnTo>
                    <a:pt x="815" y="274"/>
                  </a:lnTo>
                  <a:lnTo>
                    <a:pt x="815" y="274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5" y="277"/>
                  </a:lnTo>
                  <a:lnTo>
                    <a:pt x="817" y="279"/>
                  </a:lnTo>
                  <a:lnTo>
                    <a:pt x="817" y="281"/>
                  </a:lnTo>
                  <a:lnTo>
                    <a:pt x="817" y="281"/>
                  </a:lnTo>
                  <a:lnTo>
                    <a:pt x="817" y="283"/>
                  </a:lnTo>
                  <a:lnTo>
                    <a:pt x="817" y="283"/>
                  </a:lnTo>
                  <a:lnTo>
                    <a:pt x="817" y="283"/>
                  </a:lnTo>
                  <a:lnTo>
                    <a:pt x="817" y="283"/>
                  </a:lnTo>
                  <a:lnTo>
                    <a:pt x="817" y="283"/>
                  </a:lnTo>
                  <a:lnTo>
                    <a:pt x="817" y="283"/>
                  </a:lnTo>
                  <a:lnTo>
                    <a:pt x="817" y="286"/>
                  </a:lnTo>
                  <a:lnTo>
                    <a:pt x="817" y="286"/>
                  </a:lnTo>
                  <a:lnTo>
                    <a:pt x="817" y="286"/>
                  </a:lnTo>
                  <a:lnTo>
                    <a:pt x="817" y="286"/>
                  </a:lnTo>
                  <a:lnTo>
                    <a:pt x="817" y="286"/>
                  </a:lnTo>
                  <a:lnTo>
                    <a:pt x="817" y="286"/>
                  </a:lnTo>
                  <a:lnTo>
                    <a:pt x="817" y="288"/>
                  </a:lnTo>
                  <a:lnTo>
                    <a:pt x="817" y="290"/>
                  </a:lnTo>
                  <a:lnTo>
                    <a:pt x="817" y="290"/>
                  </a:lnTo>
                  <a:lnTo>
                    <a:pt x="820" y="290"/>
                  </a:lnTo>
                  <a:lnTo>
                    <a:pt x="820" y="290"/>
                  </a:lnTo>
                  <a:lnTo>
                    <a:pt x="820" y="290"/>
                  </a:lnTo>
                  <a:lnTo>
                    <a:pt x="820" y="290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17" y="295"/>
                  </a:lnTo>
                  <a:lnTo>
                    <a:pt x="820" y="295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0"/>
                  </a:lnTo>
                  <a:lnTo>
                    <a:pt x="820" y="290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5"/>
                  </a:lnTo>
                  <a:lnTo>
                    <a:pt x="820" y="297"/>
                  </a:lnTo>
                  <a:lnTo>
                    <a:pt x="820" y="297"/>
                  </a:lnTo>
                  <a:lnTo>
                    <a:pt x="820" y="297"/>
                  </a:lnTo>
                  <a:lnTo>
                    <a:pt x="820" y="297"/>
                  </a:lnTo>
                  <a:lnTo>
                    <a:pt x="820" y="301"/>
                  </a:lnTo>
                  <a:lnTo>
                    <a:pt x="820" y="301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20" y="304"/>
                  </a:lnTo>
                  <a:lnTo>
                    <a:pt x="817" y="304"/>
                  </a:lnTo>
                  <a:lnTo>
                    <a:pt x="817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6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6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17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08"/>
                  </a:lnTo>
                  <a:lnTo>
                    <a:pt x="820" y="310"/>
                  </a:lnTo>
                  <a:lnTo>
                    <a:pt x="820" y="310"/>
                  </a:lnTo>
                  <a:lnTo>
                    <a:pt x="820" y="310"/>
                  </a:lnTo>
                  <a:lnTo>
                    <a:pt x="820" y="310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3"/>
                  </a:lnTo>
                  <a:lnTo>
                    <a:pt x="820" y="315"/>
                  </a:lnTo>
                  <a:lnTo>
                    <a:pt x="820" y="315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17" y="317"/>
                  </a:lnTo>
                  <a:lnTo>
                    <a:pt x="817" y="317"/>
                  </a:lnTo>
                  <a:lnTo>
                    <a:pt x="817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7"/>
                  </a:lnTo>
                  <a:lnTo>
                    <a:pt x="820" y="319"/>
                  </a:lnTo>
                  <a:lnTo>
                    <a:pt x="820" y="319"/>
                  </a:lnTo>
                  <a:lnTo>
                    <a:pt x="820" y="319"/>
                  </a:lnTo>
                  <a:lnTo>
                    <a:pt x="817" y="322"/>
                  </a:lnTo>
                  <a:lnTo>
                    <a:pt x="817" y="322"/>
                  </a:lnTo>
                  <a:lnTo>
                    <a:pt x="817" y="322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4"/>
                  </a:lnTo>
                  <a:lnTo>
                    <a:pt x="817" y="328"/>
                  </a:lnTo>
                  <a:lnTo>
                    <a:pt x="815" y="331"/>
                  </a:lnTo>
                  <a:lnTo>
                    <a:pt x="815" y="331"/>
                  </a:lnTo>
                  <a:lnTo>
                    <a:pt x="815" y="331"/>
                  </a:lnTo>
                  <a:lnTo>
                    <a:pt x="815" y="333"/>
                  </a:lnTo>
                  <a:lnTo>
                    <a:pt x="815" y="333"/>
                  </a:lnTo>
                  <a:lnTo>
                    <a:pt x="815" y="333"/>
                  </a:lnTo>
                  <a:lnTo>
                    <a:pt x="815" y="335"/>
                  </a:lnTo>
                  <a:lnTo>
                    <a:pt x="815" y="335"/>
                  </a:lnTo>
                  <a:lnTo>
                    <a:pt x="815" y="335"/>
                  </a:lnTo>
                  <a:lnTo>
                    <a:pt x="815" y="337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2"/>
                  </a:lnTo>
                  <a:lnTo>
                    <a:pt x="811" y="342"/>
                  </a:lnTo>
                  <a:lnTo>
                    <a:pt x="811" y="344"/>
                  </a:lnTo>
                  <a:lnTo>
                    <a:pt x="808" y="346"/>
                  </a:lnTo>
                  <a:lnTo>
                    <a:pt x="808" y="346"/>
                  </a:lnTo>
                  <a:lnTo>
                    <a:pt x="808" y="346"/>
                  </a:lnTo>
                  <a:lnTo>
                    <a:pt x="808" y="346"/>
                  </a:lnTo>
                  <a:lnTo>
                    <a:pt x="808" y="349"/>
                  </a:lnTo>
                  <a:lnTo>
                    <a:pt x="808" y="349"/>
                  </a:lnTo>
                  <a:lnTo>
                    <a:pt x="806" y="349"/>
                  </a:lnTo>
                  <a:lnTo>
                    <a:pt x="806" y="349"/>
                  </a:lnTo>
                  <a:lnTo>
                    <a:pt x="806" y="351"/>
                  </a:lnTo>
                  <a:lnTo>
                    <a:pt x="806" y="351"/>
                  </a:lnTo>
                  <a:lnTo>
                    <a:pt x="804" y="353"/>
                  </a:lnTo>
                  <a:lnTo>
                    <a:pt x="804" y="353"/>
                  </a:lnTo>
                  <a:lnTo>
                    <a:pt x="804" y="353"/>
                  </a:lnTo>
                  <a:lnTo>
                    <a:pt x="804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0" y="353"/>
                  </a:lnTo>
                  <a:lnTo>
                    <a:pt x="802" y="353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2" y="355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0" y="355"/>
                  </a:lnTo>
                  <a:lnTo>
                    <a:pt x="800" y="355"/>
                  </a:lnTo>
                  <a:lnTo>
                    <a:pt x="800" y="355"/>
                  </a:lnTo>
                  <a:lnTo>
                    <a:pt x="800" y="355"/>
                  </a:lnTo>
                  <a:lnTo>
                    <a:pt x="800" y="353"/>
                  </a:lnTo>
                  <a:lnTo>
                    <a:pt x="797" y="353"/>
                  </a:lnTo>
                  <a:lnTo>
                    <a:pt x="797" y="353"/>
                  </a:lnTo>
                  <a:lnTo>
                    <a:pt x="797" y="353"/>
                  </a:lnTo>
                  <a:lnTo>
                    <a:pt x="797" y="353"/>
                  </a:lnTo>
                  <a:lnTo>
                    <a:pt x="797" y="355"/>
                  </a:lnTo>
                  <a:lnTo>
                    <a:pt x="800" y="355"/>
                  </a:lnTo>
                  <a:lnTo>
                    <a:pt x="800" y="355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0" y="358"/>
                  </a:lnTo>
                  <a:lnTo>
                    <a:pt x="802" y="358"/>
                  </a:lnTo>
                  <a:lnTo>
                    <a:pt x="802" y="355"/>
                  </a:lnTo>
                  <a:lnTo>
                    <a:pt x="802" y="358"/>
                  </a:lnTo>
                  <a:lnTo>
                    <a:pt x="800" y="358"/>
                  </a:lnTo>
                  <a:lnTo>
                    <a:pt x="800" y="360"/>
                  </a:lnTo>
                  <a:lnTo>
                    <a:pt x="800" y="360"/>
                  </a:lnTo>
                  <a:lnTo>
                    <a:pt x="797" y="362"/>
                  </a:lnTo>
                  <a:lnTo>
                    <a:pt x="797" y="362"/>
                  </a:lnTo>
                  <a:lnTo>
                    <a:pt x="797" y="362"/>
                  </a:lnTo>
                  <a:lnTo>
                    <a:pt x="797" y="362"/>
                  </a:lnTo>
                  <a:lnTo>
                    <a:pt x="797" y="362"/>
                  </a:lnTo>
                  <a:lnTo>
                    <a:pt x="797" y="364"/>
                  </a:lnTo>
                  <a:lnTo>
                    <a:pt x="795" y="364"/>
                  </a:lnTo>
                  <a:lnTo>
                    <a:pt x="795" y="364"/>
                  </a:lnTo>
                  <a:lnTo>
                    <a:pt x="795" y="367"/>
                  </a:lnTo>
                  <a:lnTo>
                    <a:pt x="793" y="369"/>
                  </a:lnTo>
                  <a:lnTo>
                    <a:pt x="791" y="369"/>
                  </a:lnTo>
                  <a:lnTo>
                    <a:pt x="791" y="371"/>
                  </a:lnTo>
                  <a:lnTo>
                    <a:pt x="791" y="371"/>
                  </a:lnTo>
                  <a:lnTo>
                    <a:pt x="791" y="371"/>
                  </a:lnTo>
                  <a:lnTo>
                    <a:pt x="791" y="371"/>
                  </a:lnTo>
                  <a:lnTo>
                    <a:pt x="791" y="371"/>
                  </a:lnTo>
                  <a:lnTo>
                    <a:pt x="791" y="371"/>
                  </a:lnTo>
                  <a:lnTo>
                    <a:pt x="788" y="376"/>
                  </a:lnTo>
                  <a:lnTo>
                    <a:pt x="788" y="376"/>
                  </a:lnTo>
                  <a:lnTo>
                    <a:pt x="788" y="376"/>
                  </a:lnTo>
                  <a:lnTo>
                    <a:pt x="786" y="376"/>
                  </a:lnTo>
                  <a:lnTo>
                    <a:pt x="786" y="376"/>
                  </a:lnTo>
                  <a:lnTo>
                    <a:pt x="786" y="376"/>
                  </a:lnTo>
                  <a:lnTo>
                    <a:pt x="786" y="376"/>
                  </a:lnTo>
                  <a:lnTo>
                    <a:pt x="786" y="376"/>
                  </a:lnTo>
                  <a:lnTo>
                    <a:pt x="786" y="376"/>
                  </a:lnTo>
                  <a:lnTo>
                    <a:pt x="786" y="376"/>
                  </a:lnTo>
                  <a:lnTo>
                    <a:pt x="784" y="376"/>
                  </a:lnTo>
                  <a:lnTo>
                    <a:pt x="784" y="378"/>
                  </a:lnTo>
                  <a:lnTo>
                    <a:pt x="782" y="380"/>
                  </a:lnTo>
                  <a:lnTo>
                    <a:pt x="779" y="382"/>
                  </a:lnTo>
                  <a:lnTo>
                    <a:pt x="777" y="382"/>
                  </a:lnTo>
                  <a:lnTo>
                    <a:pt x="777" y="385"/>
                  </a:lnTo>
                  <a:lnTo>
                    <a:pt x="777" y="385"/>
                  </a:lnTo>
                  <a:lnTo>
                    <a:pt x="777" y="385"/>
                  </a:lnTo>
                  <a:lnTo>
                    <a:pt x="775" y="385"/>
                  </a:lnTo>
                  <a:lnTo>
                    <a:pt x="775" y="387"/>
                  </a:lnTo>
                  <a:lnTo>
                    <a:pt x="775" y="387"/>
                  </a:lnTo>
                  <a:lnTo>
                    <a:pt x="775" y="387"/>
                  </a:lnTo>
                  <a:lnTo>
                    <a:pt x="775" y="389"/>
                  </a:lnTo>
                  <a:lnTo>
                    <a:pt x="775" y="389"/>
                  </a:lnTo>
                  <a:lnTo>
                    <a:pt x="775" y="389"/>
                  </a:lnTo>
                  <a:lnTo>
                    <a:pt x="775" y="389"/>
                  </a:lnTo>
                  <a:lnTo>
                    <a:pt x="775" y="389"/>
                  </a:lnTo>
                  <a:lnTo>
                    <a:pt x="775" y="389"/>
                  </a:lnTo>
                  <a:lnTo>
                    <a:pt x="775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7"/>
                  </a:lnTo>
                  <a:lnTo>
                    <a:pt x="773" y="387"/>
                  </a:lnTo>
                  <a:lnTo>
                    <a:pt x="773" y="387"/>
                  </a:lnTo>
                  <a:lnTo>
                    <a:pt x="770" y="387"/>
                  </a:lnTo>
                  <a:lnTo>
                    <a:pt x="770" y="387"/>
                  </a:lnTo>
                  <a:lnTo>
                    <a:pt x="770" y="387"/>
                  </a:lnTo>
                  <a:lnTo>
                    <a:pt x="770" y="387"/>
                  </a:lnTo>
                  <a:lnTo>
                    <a:pt x="770" y="387"/>
                  </a:lnTo>
                  <a:lnTo>
                    <a:pt x="770" y="387"/>
                  </a:lnTo>
                  <a:lnTo>
                    <a:pt x="770" y="389"/>
                  </a:lnTo>
                  <a:lnTo>
                    <a:pt x="770" y="389"/>
                  </a:lnTo>
                  <a:lnTo>
                    <a:pt x="770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89"/>
                  </a:lnTo>
                  <a:lnTo>
                    <a:pt x="773" y="391"/>
                  </a:lnTo>
                  <a:lnTo>
                    <a:pt x="773" y="391"/>
                  </a:lnTo>
                  <a:lnTo>
                    <a:pt x="773" y="391"/>
                  </a:lnTo>
                  <a:lnTo>
                    <a:pt x="775" y="391"/>
                  </a:lnTo>
                  <a:lnTo>
                    <a:pt x="773" y="391"/>
                  </a:lnTo>
                  <a:lnTo>
                    <a:pt x="773" y="391"/>
                  </a:lnTo>
                  <a:lnTo>
                    <a:pt x="773" y="391"/>
                  </a:lnTo>
                  <a:lnTo>
                    <a:pt x="773" y="394"/>
                  </a:lnTo>
                  <a:lnTo>
                    <a:pt x="773" y="394"/>
                  </a:lnTo>
                  <a:lnTo>
                    <a:pt x="773" y="394"/>
                  </a:lnTo>
                  <a:lnTo>
                    <a:pt x="773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6"/>
                  </a:lnTo>
                  <a:lnTo>
                    <a:pt x="770" y="396"/>
                  </a:lnTo>
                  <a:lnTo>
                    <a:pt x="770" y="398"/>
                  </a:lnTo>
                  <a:lnTo>
                    <a:pt x="768" y="398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70" y="396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1"/>
                  </a:lnTo>
                  <a:lnTo>
                    <a:pt x="770" y="391"/>
                  </a:lnTo>
                  <a:lnTo>
                    <a:pt x="770" y="391"/>
                  </a:lnTo>
                  <a:lnTo>
                    <a:pt x="770" y="391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1"/>
                  </a:lnTo>
                  <a:lnTo>
                    <a:pt x="770" y="391"/>
                  </a:lnTo>
                  <a:lnTo>
                    <a:pt x="770" y="391"/>
                  </a:lnTo>
                  <a:lnTo>
                    <a:pt x="770" y="391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70" y="394"/>
                  </a:lnTo>
                  <a:lnTo>
                    <a:pt x="768" y="394"/>
                  </a:lnTo>
                  <a:lnTo>
                    <a:pt x="768" y="394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6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6" y="398"/>
                  </a:lnTo>
                  <a:lnTo>
                    <a:pt x="768" y="400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68" y="398"/>
                  </a:lnTo>
                  <a:lnTo>
                    <a:pt x="770" y="398"/>
                  </a:lnTo>
                  <a:lnTo>
                    <a:pt x="770" y="398"/>
                  </a:lnTo>
                  <a:lnTo>
                    <a:pt x="768" y="400"/>
                  </a:lnTo>
                  <a:lnTo>
                    <a:pt x="766" y="405"/>
                  </a:lnTo>
                  <a:lnTo>
                    <a:pt x="766" y="405"/>
                  </a:lnTo>
                  <a:lnTo>
                    <a:pt x="766" y="405"/>
                  </a:lnTo>
                  <a:lnTo>
                    <a:pt x="766" y="407"/>
                  </a:lnTo>
                  <a:lnTo>
                    <a:pt x="766" y="409"/>
                  </a:lnTo>
                  <a:lnTo>
                    <a:pt x="764" y="412"/>
                  </a:lnTo>
                  <a:lnTo>
                    <a:pt x="764" y="412"/>
                  </a:lnTo>
                  <a:lnTo>
                    <a:pt x="764" y="414"/>
                  </a:lnTo>
                  <a:lnTo>
                    <a:pt x="761" y="416"/>
                  </a:lnTo>
                  <a:lnTo>
                    <a:pt x="759" y="421"/>
                  </a:lnTo>
                  <a:lnTo>
                    <a:pt x="759" y="421"/>
                  </a:lnTo>
                  <a:lnTo>
                    <a:pt x="757" y="425"/>
                  </a:lnTo>
                  <a:lnTo>
                    <a:pt x="757" y="425"/>
                  </a:lnTo>
                  <a:lnTo>
                    <a:pt x="757" y="425"/>
                  </a:lnTo>
                  <a:lnTo>
                    <a:pt x="755" y="427"/>
                  </a:lnTo>
                  <a:lnTo>
                    <a:pt x="755" y="427"/>
                  </a:lnTo>
                  <a:lnTo>
                    <a:pt x="752" y="430"/>
                  </a:lnTo>
                  <a:lnTo>
                    <a:pt x="752" y="432"/>
                  </a:lnTo>
                  <a:lnTo>
                    <a:pt x="750" y="434"/>
                  </a:lnTo>
                  <a:lnTo>
                    <a:pt x="750" y="434"/>
                  </a:lnTo>
                  <a:lnTo>
                    <a:pt x="750" y="434"/>
                  </a:lnTo>
                  <a:lnTo>
                    <a:pt x="750" y="434"/>
                  </a:lnTo>
                  <a:lnTo>
                    <a:pt x="750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46" y="434"/>
                  </a:lnTo>
                  <a:lnTo>
                    <a:pt x="746" y="434"/>
                  </a:lnTo>
                  <a:lnTo>
                    <a:pt x="746" y="434"/>
                  </a:lnTo>
                  <a:lnTo>
                    <a:pt x="748" y="432"/>
                  </a:lnTo>
                  <a:lnTo>
                    <a:pt x="748" y="432"/>
                  </a:lnTo>
                  <a:lnTo>
                    <a:pt x="748" y="432"/>
                  </a:lnTo>
                  <a:lnTo>
                    <a:pt x="748" y="434"/>
                  </a:lnTo>
                  <a:lnTo>
                    <a:pt x="748" y="432"/>
                  </a:lnTo>
                  <a:lnTo>
                    <a:pt x="748" y="432"/>
                  </a:lnTo>
                  <a:lnTo>
                    <a:pt x="748" y="432"/>
                  </a:lnTo>
                  <a:lnTo>
                    <a:pt x="748" y="432"/>
                  </a:lnTo>
                  <a:lnTo>
                    <a:pt x="748" y="432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8" y="430"/>
                  </a:lnTo>
                  <a:lnTo>
                    <a:pt x="746" y="427"/>
                  </a:lnTo>
                  <a:lnTo>
                    <a:pt x="746" y="427"/>
                  </a:lnTo>
                  <a:lnTo>
                    <a:pt x="746" y="427"/>
                  </a:lnTo>
                  <a:lnTo>
                    <a:pt x="746" y="427"/>
                  </a:lnTo>
                  <a:lnTo>
                    <a:pt x="746" y="427"/>
                  </a:lnTo>
                  <a:lnTo>
                    <a:pt x="746" y="427"/>
                  </a:lnTo>
                  <a:lnTo>
                    <a:pt x="743" y="427"/>
                  </a:lnTo>
                  <a:lnTo>
                    <a:pt x="743" y="427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3" y="425"/>
                  </a:lnTo>
                  <a:lnTo>
                    <a:pt x="741" y="425"/>
                  </a:lnTo>
                  <a:lnTo>
                    <a:pt x="741" y="425"/>
                  </a:lnTo>
                  <a:lnTo>
                    <a:pt x="741" y="425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27"/>
                  </a:lnTo>
                  <a:lnTo>
                    <a:pt x="741" y="430"/>
                  </a:lnTo>
                  <a:lnTo>
                    <a:pt x="741" y="430"/>
                  </a:lnTo>
                  <a:lnTo>
                    <a:pt x="741" y="430"/>
                  </a:lnTo>
                  <a:lnTo>
                    <a:pt x="741" y="430"/>
                  </a:lnTo>
                  <a:lnTo>
                    <a:pt x="741" y="430"/>
                  </a:lnTo>
                  <a:lnTo>
                    <a:pt x="741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27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0"/>
                  </a:lnTo>
                  <a:lnTo>
                    <a:pt x="739" y="432"/>
                  </a:lnTo>
                  <a:lnTo>
                    <a:pt x="739" y="432"/>
                  </a:lnTo>
                  <a:lnTo>
                    <a:pt x="739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2"/>
                  </a:lnTo>
                  <a:lnTo>
                    <a:pt x="741" y="434"/>
                  </a:lnTo>
                  <a:lnTo>
                    <a:pt x="741" y="434"/>
                  </a:lnTo>
                  <a:lnTo>
                    <a:pt x="741" y="434"/>
                  </a:lnTo>
                  <a:lnTo>
                    <a:pt x="741" y="434"/>
                  </a:lnTo>
                  <a:lnTo>
                    <a:pt x="741" y="434"/>
                  </a:lnTo>
                  <a:lnTo>
                    <a:pt x="741" y="434"/>
                  </a:lnTo>
                  <a:lnTo>
                    <a:pt x="741" y="436"/>
                  </a:lnTo>
                  <a:lnTo>
                    <a:pt x="741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6"/>
                  </a:lnTo>
                  <a:lnTo>
                    <a:pt x="739" y="439"/>
                  </a:lnTo>
                  <a:lnTo>
                    <a:pt x="741" y="439"/>
                  </a:lnTo>
                  <a:lnTo>
                    <a:pt x="741" y="439"/>
                  </a:lnTo>
                  <a:lnTo>
                    <a:pt x="741" y="439"/>
                  </a:lnTo>
                  <a:lnTo>
                    <a:pt x="741" y="439"/>
                  </a:lnTo>
                  <a:lnTo>
                    <a:pt x="741" y="439"/>
                  </a:lnTo>
                  <a:lnTo>
                    <a:pt x="739" y="439"/>
                  </a:lnTo>
                  <a:lnTo>
                    <a:pt x="739" y="439"/>
                  </a:lnTo>
                  <a:lnTo>
                    <a:pt x="739" y="441"/>
                  </a:lnTo>
                  <a:lnTo>
                    <a:pt x="739" y="441"/>
                  </a:lnTo>
                  <a:lnTo>
                    <a:pt x="737" y="441"/>
                  </a:lnTo>
                  <a:lnTo>
                    <a:pt x="737" y="441"/>
                  </a:lnTo>
                  <a:lnTo>
                    <a:pt x="737" y="443"/>
                  </a:lnTo>
                  <a:lnTo>
                    <a:pt x="739" y="443"/>
                  </a:lnTo>
                  <a:lnTo>
                    <a:pt x="739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3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4" y="445"/>
                  </a:lnTo>
                  <a:lnTo>
                    <a:pt x="734" y="448"/>
                  </a:lnTo>
                  <a:lnTo>
                    <a:pt x="734" y="448"/>
                  </a:lnTo>
                  <a:lnTo>
                    <a:pt x="734" y="448"/>
                  </a:lnTo>
                  <a:lnTo>
                    <a:pt x="734" y="448"/>
                  </a:lnTo>
                  <a:lnTo>
                    <a:pt x="734" y="450"/>
                  </a:lnTo>
                  <a:lnTo>
                    <a:pt x="734" y="450"/>
                  </a:lnTo>
                  <a:lnTo>
                    <a:pt x="734" y="450"/>
                  </a:lnTo>
                  <a:lnTo>
                    <a:pt x="737" y="448"/>
                  </a:lnTo>
                  <a:lnTo>
                    <a:pt x="734" y="448"/>
                  </a:lnTo>
                  <a:lnTo>
                    <a:pt x="737" y="448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5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48"/>
                  </a:lnTo>
                  <a:lnTo>
                    <a:pt x="737" y="450"/>
                  </a:lnTo>
                  <a:lnTo>
                    <a:pt x="737" y="450"/>
                  </a:lnTo>
                  <a:lnTo>
                    <a:pt x="739" y="450"/>
                  </a:lnTo>
                  <a:lnTo>
                    <a:pt x="739" y="450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9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7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4" y="452"/>
                  </a:lnTo>
                  <a:lnTo>
                    <a:pt x="737" y="452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4"/>
                  </a:lnTo>
                  <a:lnTo>
                    <a:pt x="737" y="454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9"/>
                  </a:lnTo>
                  <a:lnTo>
                    <a:pt x="737" y="459"/>
                  </a:lnTo>
                  <a:lnTo>
                    <a:pt x="737" y="459"/>
                  </a:lnTo>
                  <a:lnTo>
                    <a:pt x="737" y="459"/>
                  </a:lnTo>
                  <a:lnTo>
                    <a:pt x="737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61"/>
                  </a:lnTo>
                  <a:lnTo>
                    <a:pt x="739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59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3"/>
                  </a:lnTo>
                  <a:lnTo>
                    <a:pt x="737" y="463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7" y="461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7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7"/>
                  </a:lnTo>
                  <a:lnTo>
                    <a:pt x="739" y="459"/>
                  </a:lnTo>
                  <a:lnTo>
                    <a:pt x="739" y="459"/>
                  </a:lnTo>
                  <a:lnTo>
                    <a:pt x="739" y="461"/>
                  </a:lnTo>
                  <a:lnTo>
                    <a:pt x="739" y="461"/>
                  </a:lnTo>
                  <a:lnTo>
                    <a:pt x="739" y="461"/>
                  </a:lnTo>
                  <a:lnTo>
                    <a:pt x="739" y="461"/>
                  </a:lnTo>
                  <a:lnTo>
                    <a:pt x="739" y="463"/>
                  </a:lnTo>
                  <a:lnTo>
                    <a:pt x="739" y="463"/>
                  </a:lnTo>
                  <a:lnTo>
                    <a:pt x="739" y="463"/>
                  </a:lnTo>
                  <a:lnTo>
                    <a:pt x="739" y="463"/>
                  </a:lnTo>
                  <a:lnTo>
                    <a:pt x="739" y="466"/>
                  </a:lnTo>
                  <a:lnTo>
                    <a:pt x="739" y="466"/>
                  </a:lnTo>
                  <a:lnTo>
                    <a:pt x="739" y="466"/>
                  </a:lnTo>
                  <a:lnTo>
                    <a:pt x="739" y="466"/>
                  </a:lnTo>
                  <a:lnTo>
                    <a:pt x="739" y="466"/>
                  </a:lnTo>
                  <a:lnTo>
                    <a:pt x="737" y="466"/>
                  </a:lnTo>
                  <a:lnTo>
                    <a:pt x="739" y="468"/>
                  </a:lnTo>
                  <a:lnTo>
                    <a:pt x="737" y="468"/>
                  </a:lnTo>
                  <a:lnTo>
                    <a:pt x="737" y="468"/>
                  </a:lnTo>
                  <a:lnTo>
                    <a:pt x="739" y="468"/>
                  </a:lnTo>
                  <a:lnTo>
                    <a:pt x="739" y="468"/>
                  </a:lnTo>
                  <a:lnTo>
                    <a:pt x="737" y="470"/>
                  </a:lnTo>
                  <a:lnTo>
                    <a:pt x="737" y="470"/>
                  </a:lnTo>
                  <a:lnTo>
                    <a:pt x="737" y="472"/>
                  </a:lnTo>
                  <a:lnTo>
                    <a:pt x="737" y="472"/>
                  </a:lnTo>
                  <a:lnTo>
                    <a:pt x="737" y="475"/>
                  </a:lnTo>
                  <a:lnTo>
                    <a:pt x="737" y="475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7" y="477"/>
                  </a:lnTo>
                  <a:lnTo>
                    <a:pt x="739" y="477"/>
                  </a:lnTo>
                  <a:lnTo>
                    <a:pt x="739" y="479"/>
                  </a:lnTo>
                  <a:lnTo>
                    <a:pt x="739" y="479"/>
                  </a:lnTo>
                  <a:lnTo>
                    <a:pt x="739" y="481"/>
                  </a:lnTo>
                  <a:lnTo>
                    <a:pt x="739" y="488"/>
                  </a:lnTo>
                  <a:lnTo>
                    <a:pt x="739" y="490"/>
                  </a:lnTo>
                  <a:lnTo>
                    <a:pt x="739" y="493"/>
                  </a:lnTo>
                  <a:lnTo>
                    <a:pt x="741" y="495"/>
                  </a:lnTo>
                  <a:lnTo>
                    <a:pt x="741" y="499"/>
                  </a:lnTo>
                  <a:lnTo>
                    <a:pt x="741" y="499"/>
                  </a:lnTo>
                  <a:lnTo>
                    <a:pt x="741" y="502"/>
                  </a:lnTo>
                  <a:lnTo>
                    <a:pt x="741" y="502"/>
                  </a:lnTo>
                  <a:lnTo>
                    <a:pt x="741" y="502"/>
                  </a:lnTo>
                  <a:lnTo>
                    <a:pt x="741" y="502"/>
                  </a:lnTo>
                  <a:lnTo>
                    <a:pt x="743" y="502"/>
                  </a:lnTo>
                  <a:lnTo>
                    <a:pt x="743" y="502"/>
                  </a:lnTo>
                  <a:lnTo>
                    <a:pt x="743" y="504"/>
                  </a:lnTo>
                  <a:lnTo>
                    <a:pt x="741" y="504"/>
                  </a:lnTo>
                  <a:lnTo>
                    <a:pt x="741" y="504"/>
                  </a:lnTo>
                  <a:lnTo>
                    <a:pt x="741" y="504"/>
                  </a:lnTo>
                  <a:lnTo>
                    <a:pt x="741" y="506"/>
                  </a:lnTo>
                  <a:lnTo>
                    <a:pt x="741" y="506"/>
                  </a:lnTo>
                  <a:lnTo>
                    <a:pt x="741" y="506"/>
                  </a:lnTo>
                  <a:lnTo>
                    <a:pt x="741" y="508"/>
                  </a:lnTo>
                  <a:lnTo>
                    <a:pt x="741" y="508"/>
                  </a:lnTo>
                  <a:lnTo>
                    <a:pt x="741" y="511"/>
                  </a:lnTo>
                  <a:lnTo>
                    <a:pt x="741" y="511"/>
                  </a:lnTo>
                  <a:lnTo>
                    <a:pt x="739" y="513"/>
                  </a:lnTo>
                  <a:lnTo>
                    <a:pt x="739" y="513"/>
                  </a:lnTo>
                  <a:lnTo>
                    <a:pt x="739" y="513"/>
                  </a:lnTo>
                  <a:lnTo>
                    <a:pt x="739" y="513"/>
                  </a:lnTo>
                  <a:lnTo>
                    <a:pt x="739" y="515"/>
                  </a:lnTo>
                  <a:lnTo>
                    <a:pt x="739" y="515"/>
                  </a:lnTo>
                  <a:lnTo>
                    <a:pt x="739" y="517"/>
                  </a:lnTo>
                  <a:lnTo>
                    <a:pt x="739" y="517"/>
                  </a:lnTo>
                  <a:lnTo>
                    <a:pt x="739" y="517"/>
                  </a:lnTo>
                  <a:lnTo>
                    <a:pt x="739" y="517"/>
                  </a:lnTo>
                  <a:lnTo>
                    <a:pt x="739" y="522"/>
                  </a:lnTo>
                  <a:lnTo>
                    <a:pt x="739" y="524"/>
                  </a:lnTo>
                  <a:lnTo>
                    <a:pt x="739" y="526"/>
                  </a:lnTo>
                  <a:lnTo>
                    <a:pt x="739" y="526"/>
                  </a:lnTo>
                  <a:lnTo>
                    <a:pt x="739" y="526"/>
                  </a:lnTo>
                  <a:lnTo>
                    <a:pt x="739" y="526"/>
                  </a:lnTo>
                  <a:lnTo>
                    <a:pt x="739" y="526"/>
                  </a:lnTo>
                  <a:lnTo>
                    <a:pt x="737" y="529"/>
                  </a:lnTo>
                  <a:lnTo>
                    <a:pt x="737" y="531"/>
                  </a:lnTo>
                  <a:lnTo>
                    <a:pt x="737" y="533"/>
                  </a:lnTo>
                  <a:lnTo>
                    <a:pt x="737" y="533"/>
                  </a:lnTo>
                  <a:lnTo>
                    <a:pt x="737" y="533"/>
                  </a:lnTo>
                  <a:lnTo>
                    <a:pt x="737" y="538"/>
                  </a:lnTo>
                  <a:lnTo>
                    <a:pt x="737" y="540"/>
                  </a:lnTo>
                  <a:lnTo>
                    <a:pt x="737" y="540"/>
                  </a:lnTo>
                  <a:lnTo>
                    <a:pt x="737" y="540"/>
                  </a:lnTo>
                  <a:lnTo>
                    <a:pt x="737" y="544"/>
                  </a:lnTo>
                  <a:lnTo>
                    <a:pt x="739" y="544"/>
                  </a:lnTo>
                  <a:lnTo>
                    <a:pt x="739" y="544"/>
                  </a:lnTo>
                  <a:lnTo>
                    <a:pt x="739" y="544"/>
                  </a:lnTo>
                  <a:lnTo>
                    <a:pt x="739" y="546"/>
                  </a:lnTo>
                  <a:lnTo>
                    <a:pt x="739" y="546"/>
                  </a:lnTo>
                  <a:lnTo>
                    <a:pt x="737" y="549"/>
                  </a:lnTo>
                  <a:lnTo>
                    <a:pt x="737" y="549"/>
                  </a:lnTo>
                  <a:lnTo>
                    <a:pt x="737" y="549"/>
                  </a:lnTo>
                  <a:lnTo>
                    <a:pt x="737" y="551"/>
                  </a:lnTo>
                  <a:lnTo>
                    <a:pt x="737" y="551"/>
                  </a:lnTo>
                  <a:lnTo>
                    <a:pt x="737" y="551"/>
                  </a:lnTo>
                  <a:lnTo>
                    <a:pt x="737" y="551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4" y="551"/>
                  </a:lnTo>
                  <a:lnTo>
                    <a:pt x="732" y="553"/>
                  </a:lnTo>
                  <a:lnTo>
                    <a:pt x="732" y="553"/>
                  </a:lnTo>
                  <a:lnTo>
                    <a:pt x="730" y="558"/>
                  </a:lnTo>
                  <a:lnTo>
                    <a:pt x="730" y="560"/>
                  </a:lnTo>
                  <a:lnTo>
                    <a:pt x="728" y="567"/>
                  </a:lnTo>
                  <a:lnTo>
                    <a:pt x="728" y="569"/>
                  </a:lnTo>
                  <a:lnTo>
                    <a:pt x="728" y="576"/>
                  </a:lnTo>
                  <a:lnTo>
                    <a:pt x="728" y="580"/>
                  </a:lnTo>
                  <a:lnTo>
                    <a:pt x="730" y="582"/>
                  </a:lnTo>
                  <a:lnTo>
                    <a:pt x="730" y="587"/>
                  </a:lnTo>
                  <a:lnTo>
                    <a:pt x="730" y="587"/>
                  </a:lnTo>
                  <a:lnTo>
                    <a:pt x="728" y="591"/>
                  </a:lnTo>
                  <a:lnTo>
                    <a:pt x="728" y="591"/>
                  </a:lnTo>
                  <a:lnTo>
                    <a:pt x="728" y="594"/>
                  </a:lnTo>
                  <a:lnTo>
                    <a:pt x="725" y="594"/>
                  </a:lnTo>
                  <a:lnTo>
                    <a:pt x="723" y="596"/>
                  </a:lnTo>
                  <a:lnTo>
                    <a:pt x="723" y="596"/>
                  </a:lnTo>
                  <a:lnTo>
                    <a:pt x="723" y="598"/>
                  </a:lnTo>
                  <a:lnTo>
                    <a:pt x="723" y="598"/>
                  </a:lnTo>
                  <a:lnTo>
                    <a:pt x="723" y="600"/>
                  </a:lnTo>
                  <a:lnTo>
                    <a:pt x="721" y="600"/>
                  </a:lnTo>
                  <a:lnTo>
                    <a:pt x="721" y="600"/>
                  </a:lnTo>
                  <a:lnTo>
                    <a:pt x="721" y="600"/>
                  </a:lnTo>
                  <a:lnTo>
                    <a:pt x="721" y="600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3"/>
                  </a:lnTo>
                  <a:lnTo>
                    <a:pt x="721" y="605"/>
                  </a:lnTo>
                  <a:lnTo>
                    <a:pt x="721" y="605"/>
                  </a:lnTo>
                  <a:lnTo>
                    <a:pt x="721" y="605"/>
                  </a:lnTo>
                  <a:lnTo>
                    <a:pt x="721" y="605"/>
                  </a:lnTo>
                  <a:lnTo>
                    <a:pt x="721" y="607"/>
                  </a:lnTo>
                  <a:lnTo>
                    <a:pt x="721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9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7"/>
                  </a:lnTo>
                  <a:lnTo>
                    <a:pt x="716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09"/>
                  </a:lnTo>
                  <a:lnTo>
                    <a:pt x="719" y="612"/>
                  </a:lnTo>
                  <a:lnTo>
                    <a:pt x="719" y="612"/>
                  </a:lnTo>
                  <a:lnTo>
                    <a:pt x="719" y="614"/>
                  </a:lnTo>
                  <a:lnTo>
                    <a:pt x="716" y="614"/>
                  </a:lnTo>
                  <a:lnTo>
                    <a:pt x="716" y="616"/>
                  </a:lnTo>
                  <a:lnTo>
                    <a:pt x="716" y="616"/>
                  </a:lnTo>
                  <a:lnTo>
                    <a:pt x="716" y="616"/>
                  </a:lnTo>
                  <a:lnTo>
                    <a:pt x="716" y="616"/>
                  </a:lnTo>
                  <a:lnTo>
                    <a:pt x="714" y="616"/>
                  </a:lnTo>
                  <a:lnTo>
                    <a:pt x="714" y="618"/>
                  </a:lnTo>
                  <a:lnTo>
                    <a:pt x="714" y="618"/>
                  </a:lnTo>
                  <a:lnTo>
                    <a:pt x="714" y="618"/>
                  </a:lnTo>
                  <a:lnTo>
                    <a:pt x="714" y="618"/>
                  </a:lnTo>
                  <a:lnTo>
                    <a:pt x="714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2" y="621"/>
                  </a:lnTo>
                  <a:lnTo>
                    <a:pt x="710" y="621"/>
                  </a:lnTo>
                  <a:lnTo>
                    <a:pt x="710" y="621"/>
                  </a:lnTo>
                  <a:lnTo>
                    <a:pt x="710" y="621"/>
                  </a:lnTo>
                  <a:lnTo>
                    <a:pt x="710" y="623"/>
                  </a:lnTo>
                  <a:lnTo>
                    <a:pt x="710" y="623"/>
                  </a:lnTo>
                  <a:lnTo>
                    <a:pt x="710" y="623"/>
                  </a:lnTo>
                  <a:lnTo>
                    <a:pt x="710" y="623"/>
                  </a:lnTo>
                  <a:lnTo>
                    <a:pt x="710" y="623"/>
                  </a:lnTo>
                  <a:lnTo>
                    <a:pt x="710" y="623"/>
                  </a:lnTo>
                  <a:lnTo>
                    <a:pt x="710" y="625"/>
                  </a:lnTo>
                  <a:lnTo>
                    <a:pt x="710" y="625"/>
                  </a:lnTo>
                  <a:lnTo>
                    <a:pt x="710" y="625"/>
                  </a:lnTo>
                  <a:lnTo>
                    <a:pt x="710" y="625"/>
                  </a:lnTo>
                  <a:lnTo>
                    <a:pt x="707" y="627"/>
                  </a:lnTo>
                  <a:lnTo>
                    <a:pt x="707" y="627"/>
                  </a:lnTo>
                  <a:lnTo>
                    <a:pt x="707" y="627"/>
                  </a:lnTo>
                  <a:lnTo>
                    <a:pt x="707" y="630"/>
                  </a:lnTo>
                  <a:lnTo>
                    <a:pt x="705" y="630"/>
                  </a:lnTo>
                  <a:lnTo>
                    <a:pt x="705" y="632"/>
                  </a:lnTo>
                  <a:lnTo>
                    <a:pt x="707" y="632"/>
                  </a:lnTo>
                  <a:lnTo>
                    <a:pt x="707" y="632"/>
                  </a:lnTo>
                  <a:lnTo>
                    <a:pt x="707" y="632"/>
                  </a:lnTo>
                  <a:lnTo>
                    <a:pt x="707" y="632"/>
                  </a:lnTo>
                  <a:lnTo>
                    <a:pt x="705" y="634"/>
                  </a:lnTo>
                  <a:lnTo>
                    <a:pt x="705" y="634"/>
                  </a:lnTo>
                  <a:lnTo>
                    <a:pt x="705" y="636"/>
                  </a:lnTo>
                  <a:lnTo>
                    <a:pt x="705" y="636"/>
                  </a:lnTo>
                  <a:lnTo>
                    <a:pt x="705" y="636"/>
                  </a:lnTo>
                  <a:lnTo>
                    <a:pt x="705" y="636"/>
                  </a:lnTo>
                  <a:lnTo>
                    <a:pt x="705" y="639"/>
                  </a:lnTo>
                  <a:lnTo>
                    <a:pt x="705" y="639"/>
                  </a:lnTo>
                  <a:lnTo>
                    <a:pt x="705" y="641"/>
                  </a:lnTo>
                  <a:lnTo>
                    <a:pt x="705" y="643"/>
                  </a:lnTo>
                  <a:lnTo>
                    <a:pt x="705" y="645"/>
                  </a:lnTo>
                  <a:lnTo>
                    <a:pt x="707" y="648"/>
                  </a:lnTo>
                  <a:lnTo>
                    <a:pt x="707" y="648"/>
                  </a:lnTo>
                  <a:lnTo>
                    <a:pt x="707" y="650"/>
                  </a:lnTo>
                  <a:lnTo>
                    <a:pt x="703" y="650"/>
                  </a:lnTo>
                  <a:lnTo>
                    <a:pt x="703" y="652"/>
                  </a:lnTo>
                  <a:lnTo>
                    <a:pt x="701" y="652"/>
                  </a:lnTo>
                  <a:lnTo>
                    <a:pt x="698" y="654"/>
                  </a:lnTo>
                  <a:lnTo>
                    <a:pt x="696" y="654"/>
                  </a:lnTo>
                  <a:lnTo>
                    <a:pt x="694" y="654"/>
                  </a:lnTo>
                  <a:lnTo>
                    <a:pt x="692" y="657"/>
                  </a:lnTo>
                  <a:lnTo>
                    <a:pt x="692" y="657"/>
                  </a:lnTo>
                  <a:lnTo>
                    <a:pt x="692" y="657"/>
                  </a:lnTo>
                  <a:lnTo>
                    <a:pt x="692" y="657"/>
                  </a:lnTo>
                  <a:lnTo>
                    <a:pt x="692" y="659"/>
                  </a:lnTo>
                  <a:lnTo>
                    <a:pt x="692" y="659"/>
                  </a:lnTo>
                  <a:lnTo>
                    <a:pt x="689" y="659"/>
                  </a:lnTo>
                  <a:lnTo>
                    <a:pt x="689" y="659"/>
                  </a:lnTo>
                  <a:lnTo>
                    <a:pt x="689" y="659"/>
                  </a:lnTo>
                  <a:lnTo>
                    <a:pt x="689" y="659"/>
                  </a:lnTo>
                  <a:lnTo>
                    <a:pt x="689" y="661"/>
                  </a:lnTo>
                  <a:lnTo>
                    <a:pt x="689" y="661"/>
                  </a:lnTo>
                  <a:lnTo>
                    <a:pt x="689" y="661"/>
                  </a:lnTo>
                  <a:lnTo>
                    <a:pt x="689" y="661"/>
                  </a:lnTo>
                  <a:lnTo>
                    <a:pt x="689" y="661"/>
                  </a:lnTo>
                  <a:lnTo>
                    <a:pt x="689" y="661"/>
                  </a:lnTo>
                  <a:lnTo>
                    <a:pt x="687" y="661"/>
                  </a:lnTo>
                  <a:lnTo>
                    <a:pt x="687" y="661"/>
                  </a:lnTo>
                  <a:lnTo>
                    <a:pt x="687" y="663"/>
                  </a:lnTo>
                  <a:lnTo>
                    <a:pt x="687" y="663"/>
                  </a:lnTo>
                  <a:lnTo>
                    <a:pt x="687" y="666"/>
                  </a:lnTo>
                  <a:lnTo>
                    <a:pt x="687" y="666"/>
                  </a:lnTo>
                  <a:lnTo>
                    <a:pt x="689" y="666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9" y="666"/>
                  </a:lnTo>
                  <a:lnTo>
                    <a:pt x="689" y="666"/>
                  </a:lnTo>
                  <a:lnTo>
                    <a:pt x="689" y="666"/>
                  </a:lnTo>
                  <a:lnTo>
                    <a:pt x="689" y="666"/>
                  </a:lnTo>
                  <a:lnTo>
                    <a:pt x="689" y="666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9" y="668"/>
                  </a:lnTo>
                  <a:lnTo>
                    <a:pt x="687" y="668"/>
                  </a:lnTo>
                  <a:lnTo>
                    <a:pt x="687" y="668"/>
                  </a:lnTo>
                  <a:lnTo>
                    <a:pt x="687" y="668"/>
                  </a:lnTo>
                  <a:lnTo>
                    <a:pt x="687" y="668"/>
                  </a:lnTo>
                  <a:lnTo>
                    <a:pt x="687" y="668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0"/>
                  </a:lnTo>
                  <a:lnTo>
                    <a:pt x="687" y="672"/>
                  </a:lnTo>
                  <a:lnTo>
                    <a:pt x="687" y="672"/>
                  </a:lnTo>
                  <a:lnTo>
                    <a:pt x="687" y="672"/>
                  </a:lnTo>
                  <a:lnTo>
                    <a:pt x="687" y="672"/>
                  </a:lnTo>
                  <a:lnTo>
                    <a:pt x="687" y="672"/>
                  </a:lnTo>
                  <a:lnTo>
                    <a:pt x="687" y="672"/>
                  </a:lnTo>
                  <a:lnTo>
                    <a:pt x="685" y="672"/>
                  </a:lnTo>
                  <a:lnTo>
                    <a:pt x="680" y="670"/>
                  </a:lnTo>
                  <a:lnTo>
                    <a:pt x="676" y="670"/>
                  </a:lnTo>
                  <a:lnTo>
                    <a:pt x="674" y="670"/>
                  </a:lnTo>
                  <a:lnTo>
                    <a:pt x="674" y="670"/>
                  </a:lnTo>
                  <a:lnTo>
                    <a:pt x="674" y="670"/>
                  </a:lnTo>
                  <a:lnTo>
                    <a:pt x="674" y="672"/>
                  </a:lnTo>
                  <a:lnTo>
                    <a:pt x="674" y="672"/>
                  </a:lnTo>
                  <a:lnTo>
                    <a:pt x="674" y="672"/>
                  </a:lnTo>
                  <a:lnTo>
                    <a:pt x="671" y="672"/>
                  </a:lnTo>
                  <a:lnTo>
                    <a:pt x="669" y="672"/>
                  </a:lnTo>
                  <a:lnTo>
                    <a:pt x="669" y="672"/>
                  </a:lnTo>
                  <a:lnTo>
                    <a:pt x="667" y="672"/>
                  </a:lnTo>
                  <a:lnTo>
                    <a:pt x="667" y="672"/>
                  </a:lnTo>
                  <a:lnTo>
                    <a:pt x="665" y="670"/>
                  </a:lnTo>
                  <a:lnTo>
                    <a:pt x="665" y="672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68"/>
                  </a:lnTo>
                  <a:lnTo>
                    <a:pt x="665" y="668"/>
                  </a:lnTo>
                  <a:lnTo>
                    <a:pt x="667" y="668"/>
                  </a:lnTo>
                  <a:lnTo>
                    <a:pt x="665" y="668"/>
                  </a:lnTo>
                  <a:lnTo>
                    <a:pt x="665" y="668"/>
                  </a:lnTo>
                  <a:lnTo>
                    <a:pt x="665" y="668"/>
                  </a:lnTo>
                  <a:lnTo>
                    <a:pt x="665" y="666"/>
                  </a:lnTo>
                  <a:lnTo>
                    <a:pt x="667" y="666"/>
                  </a:lnTo>
                  <a:lnTo>
                    <a:pt x="667" y="666"/>
                  </a:lnTo>
                  <a:lnTo>
                    <a:pt x="667" y="666"/>
                  </a:lnTo>
                  <a:lnTo>
                    <a:pt x="667" y="666"/>
                  </a:lnTo>
                  <a:lnTo>
                    <a:pt x="667" y="666"/>
                  </a:lnTo>
                  <a:lnTo>
                    <a:pt x="667" y="666"/>
                  </a:lnTo>
                  <a:lnTo>
                    <a:pt x="667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5" y="666"/>
                  </a:lnTo>
                  <a:lnTo>
                    <a:pt x="662" y="666"/>
                  </a:lnTo>
                  <a:lnTo>
                    <a:pt x="662" y="666"/>
                  </a:lnTo>
                  <a:lnTo>
                    <a:pt x="662" y="666"/>
                  </a:lnTo>
                  <a:lnTo>
                    <a:pt x="662" y="666"/>
                  </a:lnTo>
                  <a:lnTo>
                    <a:pt x="662" y="666"/>
                  </a:lnTo>
                  <a:lnTo>
                    <a:pt x="660" y="666"/>
                  </a:lnTo>
                  <a:lnTo>
                    <a:pt x="660" y="668"/>
                  </a:lnTo>
                  <a:lnTo>
                    <a:pt x="660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68"/>
                  </a:lnTo>
                  <a:lnTo>
                    <a:pt x="662" y="670"/>
                  </a:lnTo>
                  <a:lnTo>
                    <a:pt x="662" y="670"/>
                  </a:lnTo>
                  <a:lnTo>
                    <a:pt x="662" y="670"/>
                  </a:lnTo>
                  <a:lnTo>
                    <a:pt x="662" y="670"/>
                  </a:lnTo>
                  <a:lnTo>
                    <a:pt x="662" y="670"/>
                  </a:lnTo>
                  <a:lnTo>
                    <a:pt x="662" y="670"/>
                  </a:lnTo>
                  <a:lnTo>
                    <a:pt x="662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0"/>
                  </a:lnTo>
                  <a:lnTo>
                    <a:pt x="665" y="672"/>
                  </a:lnTo>
                  <a:lnTo>
                    <a:pt x="665" y="672"/>
                  </a:lnTo>
                  <a:lnTo>
                    <a:pt x="662" y="672"/>
                  </a:lnTo>
                  <a:lnTo>
                    <a:pt x="662" y="672"/>
                  </a:lnTo>
                  <a:lnTo>
                    <a:pt x="658" y="672"/>
                  </a:lnTo>
                  <a:lnTo>
                    <a:pt x="658" y="672"/>
                  </a:lnTo>
                  <a:lnTo>
                    <a:pt x="656" y="675"/>
                  </a:lnTo>
                  <a:lnTo>
                    <a:pt x="656" y="675"/>
                  </a:lnTo>
                  <a:lnTo>
                    <a:pt x="656" y="675"/>
                  </a:lnTo>
                  <a:lnTo>
                    <a:pt x="656" y="675"/>
                  </a:lnTo>
                  <a:lnTo>
                    <a:pt x="656" y="675"/>
                  </a:lnTo>
                  <a:lnTo>
                    <a:pt x="656" y="675"/>
                  </a:lnTo>
                  <a:lnTo>
                    <a:pt x="656" y="675"/>
                  </a:lnTo>
                  <a:lnTo>
                    <a:pt x="653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7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2"/>
                  </a:lnTo>
                  <a:lnTo>
                    <a:pt x="649" y="672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6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3" y="672"/>
                  </a:lnTo>
                  <a:lnTo>
                    <a:pt x="651" y="670"/>
                  </a:lnTo>
                  <a:lnTo>
                    <a:pt x="651" y="670"/>
                  </a:lnTo>
                  <a:lnTo>
                    <a:pt x="651" y="670"/>
                  </a:lnTo>
                  <a:lnTo>
                    <a:pt x="651" y="670"/>
                  </a:lnTo>
                  <a:lnTo>
                    <a:pt x="651" y="670"/>
                  </a:lnTo>
                  <a:lnTo>
                    <a:pt x="651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9" y="670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7" y="672"/>
                  </a:lnTo>
                  <a:lnTo>
                    <a:pt x="647" y="672"/>
                  </a:lnTo>
                  <a:lnTo>
                    <a:pt x="644" y="672"/>
                  </a:lnTo>
                  <a:lnTo>
                    <a:pt x="647" y="672"/>
                  </a:lnTo>
                  <a:lnTo>
                    <a:pt x="647" y="670"/>
                  </a:lnTo>
                  <a:lnTo>
                    <a:pt x="647" y="670"/>
                  </a:lnTo>
                  <a:lnTo>
                    <a:pt x="644" y="670"/>
                  </a:lnTo>
                  <a:lnTo>
                    <a:pt x="644" y="672"/>
                  </a:lnTo>
                  <a:lnTo>
                    <a:pt x="644" y="672"/>
                  </a:lnTo>
                  <a:lnTo>
                    <a:pt x="644" y="672"/>
                  </a:lnTo>
                  <a:lnTo>
                    <a:pt x="644" y="672"/>
                  </a:lnTo>
                  <a:lnTo>
                    <a:pt x="644" y="672"/>
                  </a:lnTo>
                  <a:lnTo>
                    <a:pt x="644" y="672"/>
                  </a:lnTo>
                  <a:lnTo>
                    <a:pt x="644" y="672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2"/>
                  </a:lnTo>
                  <a:lnTo>
                    <a:pt x="642" y="672"/>
                  </a:lnTo>
                  <a:lnTo>
                    <a:pt x="642" y="672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5"/>
                  </a:lnTo>
                  <a:lnTo>
                    <a:pt x="642" y="672"/>
                  </a:lnTo>
                  <a:lnTo>
                    <a:pt x="642" y="672"/>
                  </a:lnTo>
                  <a:lnTo>
                    <a:pt x="642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0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40" y="672"/>
                  </a:lnTo>
                  <a:lnTo>
                    <a:pt x="638" y="670"/>
                  </a:lnTo>
                  <a:lnTo>
                    <a:pt x="638" y="670"/>
                  </a:lnTo>
                  <a:lnTo>
                    <a:pt x="638" y="670"/>
                  </a:lnTo>
                  <a:lnTo>
                    <a:pt x="638" y="670"/>
                  </a:lnTo>
                  <a:lnTo>
                    <a:pt x="638" y="672"/>
                  </a:lnTo>
                  <a:lnTo>
                    <a:pt x="638" y="670"/>
                  </a:lnTo>
                  <a:lnTo>
                    <a:pt x="638" y="672"/>
                  </a:lnTo>
                  <a:lnTo>
                    <a:pt x="638" y="672"/>
                  </a:lnTo>
                  <a:lnTo>
                    <a:pt x="638" y="672"/>
                  </a:lnTo>
                  <a:lnTo>
                    <a:pt x="638" y="672"/>
                  </a:lnTo>
                  <a:lnTo>
                    <a:pt x="638" y="672"/>
                  </a:lnTo>
                  <a:lnTo>
                    <a:pt x="635" y="672"/>
                  </a:lnTo>
                  <a:lnTo>
                    <a:pt x="633" y="675"/>
                  </a:lnTo>
                  <a:lnTo>
                    <a:pt x="635" y="675"/>
                  </a:lnTo>
                  <a:lnTo>
                    <a:pt x="635" y="675"/>
                  </a:lnTo>
                  <a:lnTo>
                    <a:pt x="635" y="672"/>
                  </a:lnTo>
                  <a:lnTo>
                    <a:pt x="633" y="672"/>
                  </a:lnTo>
                  <a:lnTo>
                    <a:pt x="633" y="675"/>
                  </a:lnTo>
                  <a:lnTo>
                    <a:pt x="633" y="675"/>
                  </a:lnTo>
                  <a:lnTo>
                    <a:pt x="633" y="675"/>
                  </a:lnTo>
                  <a:lnTo>
                    <a:pt x="633" y="675"/>
                  </a:lnTo>
                  <a:lnTo>
                    <a:pt x="633" y="675"/>
                  </a:lnTo>
                  <a:lnTo>
                    <a:pt x="633" y="675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7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7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3" y="679"/>
                  </a:lnTo>
                  <a:lnTo>
                    <a:pt x="635" y="679"/>
                  </a:lnTo>
                  <a:lnTo>
                    <a:pt x="635" y="679"/>
                  </a:lnTo>
                  <a:lnTo>
                    <a:pt x="635" y="677"/>
                  </a:lnTo>
                  <a:lnTo>
                    <a:pt x="635" y="677"/>
                  </a:lnTo>
                  <a:lnTo>
                    <a:pt x="635" y="679"/>
                  </a:lnTo>
                  <a:lnTo>
                    <a:pt x="635" y="679"/>
                  </a:lnTo>
                  <a:lnTo>
                    <a:pt x="635" y="679"/>
                  </a:lnTo>
                  <a:lnTo>
                    <a:pt x="635" y="679"/>
                  </a:lnTo>
                  <a:lnTo>
                    <a:pt x="635" y="679"/>
                  </a:lnTo>
                  <a:lnTo>
                    <a:pt x="638" y="679"/>
                  </a:lnTo>
                  <a:lnTo>
                    <a:pt x="638" y="679"/>
                  </a:lnTo>
                  <a:lnTo>
                    <a:pt x="635" y="679"/>
                  </a:lnTo>
                  <a:lnTo>
                    <a:pt x="635" y="679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3" y="681"/>
                  </a:lnTo>
                  <a:lnTo>
                    <a:pt x="633" y="681"/>
                  </a:lnTo>
                  <a:lnTo>
                    <a:pt x="633" y="681"/>
                  </a:lnTo>
                  <a:lnTo>
                    <a:pt x="633" y="681"/>
                  </a:lnTo>
                  <a:lnTo>
                    <a:pt x="633" y="681"/>
                  </a:lnTo>
                  <a:lnTo>
                    <a:pt x="633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31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9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1"/>
                  </a:lnTo>
                  <a:lnTo>
                    <a:pt x="627" y="684"/>
                  </a:lnTo>
                  <a:lnTo>
                    <a:pt x="627" y="684"/>
                  </a:lnTo>
                  <a:lnTo>
                    <a:pt x="627" y="684"/>
                  </a:lnTo>
                  <a:lnTo>
                    <a:pt x="627" y="684"/>
                  </a:lnTo>
                  <a:lnTo>
                    <a:pt x="627" y="684"/>
                  </a:lnTo>
                  <a:lnTo>
                    <a:pt x="627" y="684"/>
                  </a:lnTo>
                  <a:lnTo>
                    <a:pt x="627" y="686"/>
                  </a:lnTo>
                  <a:lnTo>
                    <a:pt x="624" y="684"/>
                  </a:lnTo>
                  <a:lnTo>
                    <a:pt x="624" y="684"/>
                  </a:lnTo>
                  <a:lnTo>
                    <a:pt x="624" y="684"/>
                  </a:lnTo>
                  <a:lnTo>
                    <a:pt x="624" y="686"/>
                  </a:lnTo>
                  <a:lnTo>
                    <a:pt x="624" y="686"/>
                  </a:lnTo>
                  <a:lnTo>
                    <a:pt x="624" y="684"/>
                  </a:lnTo>
                  <a:lnTo>
                    <a:pt x="624" y="684"/>
                  </a:lnTo>
                  <a:lnTo>
                    <a:pt x="624" y="684"/>
                  </a:lnTo>
                  <a:lnTo>
                    <a:pt x="624" y="684"/>
                  </a:lnTo>
                  <a:lnTo>
                    <a:pt x="624" y="684"/>
                  </a:lnTo>
                  <a:lnTo>
                    <a:pt x="624" y="686"/>
                  </a:lnTo>
                  <a:lnTo>
                    <a:pt x="624" y="686"/>
                  </a:lnTo>
                  <a:lnTo>
                    <a:pt x="624" y="686"/>
                  </a:lnTo>
                  <a:lnTo>
                    <a:pt x="624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2" y="686"/>
                  </a:lnTo>
                  <a:lnTo>
                    <a:pt x="620" y="686"/>
                  </a:lnTo>
                  <a:lnTo>
                    <a:pt x="620" y="686"/>
                  </a:lnTo>
                  <a:lnTo>
                    <a:pt x="620" y="686"/>
                  </a:lnTo>
                  <a:lnTo>
                    <a:pt x="620" y="686"/>
                  </a:lnTo>
                  <a:lnTo>
                    <a:pt x="620" y="688"/>
                  </a:lnTo>
                  <a:lnTo>
                    <a:pt x="620" y="688"/>
                  </a:lnTo>
                  <a:lnTo>
                    <a:pt x="620" y="688"/>
                  </a:lnTo>
                  <a:lnTo>
                    <a:pt x="620" y="688"/>
                  </a:lnTo>
                  <a:lnTo>
                    <a:pt x="618" y="688"/>
                  </a:lnTo>
                  <a:lnTo>
                    <a:pt x="618" y="688"/>
                  </a:lnTo>
                  <a:lnTo>
                    <a:pt x="618" y="688"/>
                  </a:lnTo>
                  <a:lnTo>
                    <a:pt x="618" y="688"/>
                  </a:lnTo>
                  <a:lnTo>
                    <a:pt x="618" y="688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0"/>
                  </a:lnTo>
                  <a:lnTo>
                    <a:pt x="620" y="693"/>
                  </a:lnTo>
                  <a:lnTo>
                    <a:pt x="620" y="693"/>
                  </a:lnTo>
                  <a:lnTo>
                    <a:pt x="620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8" y="693"/>
                  </a:lnTo>
                  <a:lnTo>
                    <a:pt x="615" y="693"/>
                  </a:lnTo>
                  <a:lnTo>
                    <a:pt x="615" y="690"/>
                  </a:lnTo>
                  <a:lnTo>
                    <a:pt x="615" y="693"/>
                  </a:lnTo>
                  <a:lnTo>
                    <a:pt x="615" y="693"/>
                  </a:lnTo>
                  <a:lnTo>
                    <a:pt x="615" y="693"/>
                  </a:lnTo>
                  <a:lnTo>
                    <a:pt x="615" y="690"/>
                  </a:lnTo>
                  <a:lnTo>
                    <a:pt x="615" y="690"/>
                  </a:lnTo>
                  <a:lnTo>
                    <a:pt x="615" y="690"/>
                  </a:lnTo>
                  <a:lnTo>
                    <a:pt x="615" y="690"/>
                  </a:lnTo>
                  <a:lnTo>
                    <a:pt x="613" y="690"/>
                  </a:lnTo>
                  <a:lnTo>
                    <a:pt x="611" y="690"/>
                  </a:lnTo>
                  <a:lnTo>
                    <a:pt x="611" y="690"/>
                  </a:lnTo>
                  <a:lnTo>
                    <a:pt x="611" y="690"/>
                  </a:lnTo>
                  <a:lnTo>
                    <a:pt x="611" y="690"/>
                  </a:lnTo>
                  <a:lnTo>
                    <a:pt x="611" y="690"/>
                  </a:lnTo>
                  <a:lnTo>
                    <a:pt x="609" y="690"/>
                  </a:lnTo>
                  <a:lnTo>
                    <a:pt x="606" y="690"/>
                  </a:lnTo>
                  <a:lnTo>
                    <a:pt x="606" y="693"/>
                  </a:lnTo>
                  <a:lnTo>
                    <a:pt x="606" y="693"/>
                  </a:lnTo>
                  <a:lnTo>
                    <a:pt x="606" y="693"/>
                  </a:lnTo>
                  <a:lnTo>
                    <a:pt x="606" y="693"/>
                  </a:lnTo>
                  <a:lnTo>
                    <a:pt x="606" y="693"/>
                  </a:lnTo>
                  <a:lnTo>
                    <a:pt x="606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3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4" y="697"/>
                  </a:lnTo>
                  <a:lnTo>
                    <a:pt x="604" y="697"/>
                  </a:lnTo>
                  <a:lnTo>
                    <a:pt x="604" y="697"/>
                  </a:lnTo>
                  <a:lnTo>
                    <a:pt x="604" y="695"/>
                  </a:lnTo>
                  <a:lnTo>
                    <a:pt x="604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7"/>
                  </a:lnTo>
                  <a:lnTo>
                    <a:pt x="602" y="697"/>
                  </a:lnTo>
                  <a:lnTo>
                    <a:pt x="602" y="697"/>
                  </a:lnTo>
                  <a:lnTo>
                    <a:pt x="602" y="697"/>
                  </a:lnTo>
                  <a:lnTo>
                    <a:pt x="602" y="697"/>
                  </a:lnTo>
                  <a:lnTo>
                    <a:pt x="602" y="697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2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3"/>
                  </a:lnTo>
                  <a:lnTo>
                    <a:pt x="600" y="693"/>
                  </a:lnTo>
                  <a:lnTo>
                    <a:pt x="600" y="693"/>
                  </a:lnTo>
                  <a:lnTo>
                    <a:pt x="600" y="693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597" y="695"/>
                  </a:lnTo>
                  <a:lnTo>
                    <a:pt x="597" y="695"/>
                  </a:lnTo>
                  <a:lnTo>
                    <a:pt x="597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5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597" y="697"/>
                  </a:lnTo>
                  <a:lnTo>
                    <a:pt x="595" y="699"/>
                  </a:lnTo>
                  <a:lnTo>
                    <a:pt x="593" y="702"/>
                  </a:lnTo>
                  <a:lnTo>
                    <a:pt x="591" y="702"/>
                  </a:lnTo>
                  <a:lnTo>
                    <a:pt x="588" y="704"/>
                  </a:lnTo>
                  <a:lnTo>
                    <a:pt x="588" y="704"/>
                  </a:lnTo>
                  <a:lnTo>
                    <a:pt x="588" y="704"/>
                  </a:lnTo>
                  <a:lnTo>
                    <a:pt x="588" y="706"/>
                  </a:lnTo>
                  <a:lnTo>
                    <a:pt x="588" y="706"/>
                  </a:lnTo>
                  <a:lnTo>
                    <a:pt x="588" y="706"/>
                  </a:lnTo>
                  <a:lnTo>
                    <a:pt x="588" y="706"/>
                  </a:lnTo>
                  <a:lnTo>
                    <a:pt x="588" y="706"/>
                  </a:lnTo>
                  <a:lnTo>
                    <a:pt x="588" y="706"/>
                  </a:lnTo>
                  <a:lnTo>
                    <a:pt x="586" y="706"/>
                  </a:lnTo>
                  <a:lnTo>
                    <a:pt x="586" y="706"/>
                  </a:lnTo>
                  <a:lnTo>
                    <a:pt x="586" y="706"/>
                  </a:lnTo>
                  <a:lnTo>
                    <a:pt x="586" y="706"/>
                  </a:lnTo>
                  <a:lnTo>
                    <a:pt x="586" y="706"/>
                  </a:lnTo>
                  <a:lnTo>
                    <a:pt x="586" y="708"/>
                  </a:lnTo>
                  <a:lnTo>
                    <a:pt x="586" y="708"/>
                  </a:lnTo>
                  <a:lnTo>
                    <a:pt x="586" y="708"/>
                  </a:lnTo>
                  <a:lnTo>
                    <a:pt x="584" y="708"/>
                  </a:lnTo>
                  <a:lnTo>
                    <a:pt x="579" y="713"/>
                  </a:lnTo>
                  <a:lnTo>
                    <a:pt x="579" y="713"/>
                  </a:lnTo>
                  <a:lnTo>
                    <a:pt x="579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5" y="715"/>
                  </a:lnTo>
                  <a:lnTo>
                    <a:pt x="573" y="717"/>
                  </a:lnTo>
                  <a:lnTo>
                    <a:pt x="573" y="717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0"/>
                  </a:lnTo>
                  <a:lnTo>
                    <a:pt x="568" y="722"/>
                  </a:lnTo>
                  <a:lnTo>
                    <a:pt x="570" y="720"/>
                  </a:lnTo>
                  <a:lnTo>
                    <a:pt x="570" y="720"/>
                  </a:lnTo>
                  <a:lnTo>
                    <a:pt x="568" y="720"/>
                  </a:lnTo>
                  <a:lnTo>
                    <a:pt x="568" y="720"/>
                  </a:lnTo>
                  <a:lnTo>
                    <a:pt x="568" y="720"/>
                  </a:lnTo>
                  <a:lnTo>
                    <a:pt x="568" y="720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68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2"/>
                  </a:lnTo>
                  <a:lnTo>
                    <a:pt x="570" y="724"/>
                  </a:lnTo>
                  <a:lnTo>
                    <a:pt x="570" y="724"/>
                  </a:lnTo>
                  <a:lnTo>
                    <a:pt x="568" y="724"/>
                  </a:lnTo>
                  <a:lnTo>
                    <a:pt x="568" y="726"/>
                  </a:lnTo>
                  <a:lnTo>
                    <a:pt x="568" y="726"/>
                  </a:lnTo>
                  <a:lnTo>
                    <a:pt x="568" y="726"/>
                  </a:lnTo>
                  <a:lnTo>
                    <a:pt x="568" y="729"/>
                  </a:lnTo>
                  <a:lnTo>
                    <a:pt x="568" y="729"/>
                  </a:lnTo>
                  <a:lnTo>
                    <a:pt x="566" y="729"/>
                  </a:lnTo>
                  <a:lnTo>
                    <a:pt x="566" y="729"/>
                  </a:lnTo>
                  <a:lnTo>
                    <a:pt x="566" y="731"/>
                  </a:lnTo>
                  <a:lnTo>
                    <a:pt x="566" y="731"/>
                  </a:lnTo>
                  <a:lnTo>
                    <a:pt x="566" y="731"/>
                  </a:lnTo>
                  <a:lnTo>
                    <a:pt x="564" y="731"/>
                  </a:lnTo>
                  <a:lnTo>
                    <a:pt x="564" y="731"/>
                  </a:lnTo>
                  <a:lnTo>
                    <a:pt x="564" y="731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6" y="729"/>
                  </a:lnTo>
                  <a:lnTo>
                    <a:pt x="566" y="729"/>
                  </a:lnTo>
                  <a:lnTo>
                    <a:pt x="566" y="726"/>
                  </a:lnTo>
                  <a:lnTo>
                    <a:pt x="566" y="726"/>
                  </a:lnTo>
                  <a:lnTo>
                    <a:pt x="566" y="726"/>
                  </a:lnTo>
                  <a:lnTo>
                    <a:pt x="566" y="726"/>
                  </a:lnTo>
                  <a:lnTo>
                    <a:pt x="566" y="726"/>
                  </a:lnTo>
                  <a:lnTo>
                    <a:pt x="566" y="726"/>
                  </a:lnTo>
                  <a:lnTo>
                    <a:pt x="566" y="726"/>
                  </a:lnTo>
                  <a:lnTo>
                    <a:pt x="564" y="726"/>
                  </a:lnTo>
                  <a:lnTo>
                    <a:pt x="564" y="726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6"/>
                  </a:lnTo>
                  <a:lnTo>
                    <a:pt x="564" y="726"/>
                  </a:lnTo>
                  <a:lnTo>
                    <a:pt x="564" y="726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1" y="729"/>
                  </a:lnTo>
                  <a:lnTo>
                    <a:pt x="564" y="729"/>
                  </a:lnTo>
                  <a:lnTo>
                    <a:pt x="564" y="729"/>
                  </a:lnTo>
                  <a:lnTo>
                    <a:pt x="561" y="729"/>
                  </a:lnTo>
                  <a:lnTo>
                    <a:pt x="561" y="729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61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59" y="726"/>
                  </a:lnTo>
                  <a:lnTo>
                    <a:pt x="561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61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59" y="729"/>
                  </a:lnTo>
                  <a:lnTo>
                    <a:pt x="561" y="729"/>
                  </a:lnTo>
                  <a:lnTo>
                    <a:pt x="561" y="729"/>
                  </a:lnTo>
                  <a:lnTo>
                    <a:pt x="561" y="731"/>
                  </a:lnTo>
                  <a:lnTo>
                    <a:pt x="561" y="731"/>
                  </a:lnTo>
                  <a:lnTo>
                    <a:pt x="561" y="731"/>
                  </a:lnTo>
                  <a:lnTo>
                    <a:pt x="561" y="731"/>
                  </a:lnTo>
                  <a:lnTo>
                    <a:pt x="561" y="731"/>
                  </a:lnTo>
                  <a:lnTo>
                    <a:pt x="561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9" y="731"/>
                  </a:lnTo>
                  <a:lnTo>
                    <a:pt x="557" y="731"/>
                  </a:lnTo>
                  <a:lnTo>
                    <a:pt x="557" y="731"/>
                  </a:lnTo>
                  <a:lnTo>
                    <a:pt x="557" y="731"/>
                  </a:lnTo>
                  <a:lnTo>
                    <a:pt x="557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29"/>
                  </a:lnTo>
                  <a:lnTo>
                    <a:pt x="555" y="729"/>
                  </a:lnTo>
                  <a:lnTo>
                    <a:pt x="555" y="729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1"/>
                  </a:lnTo>
                  <a:lnTo>
                    <a:pt x="555" y="733"/>
                  </a:lnTo>
                  <a:lnTo>
                    <a:pt x="557" y="731"/>
                  </a:lnTo>
                  <a:lnTo>
                    <a:pt x="557" y="731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7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59" y="733"/>
                  </a:lnTo>
                  <a:lnTo>
                    <a:pt x="561" y="733"/>
                  </a:lnTo>
                  <a:lnTo>
                    <a:pt x="561" y="733"/>
                  </a:lnTo>
                  <a:lnTo>
                    <a:pt x="561" y="733"/>
                  </a:lnTo>
                  <a:lnTo>
                    <a:pt x="561" y="733"/>
                  </a:lnTo>
                  <a:lnTo>
                    <a:pt x="561" y="733"/>
                  </a:lnTo>
                  <a:lnTo>
                    <a:pt x="561" y="733"/>
                  </a:lnTo>
                  <a:lnTo>
                    <a:pt x="561" y="735"/>
                  </a:lnTo>
                  <a:lnTo>
                    <a:pt x="561" y="735"/>
                  </a:lnTo>
                  <a:lnTo>
                    <a:pt x="559" y="738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7" y="740"/>
                  </a:lnTo>
                  <a:lnTo>
                    <a:pt x="557" y="740"/>
                  </a:lnTo>
                  <a:lnTo>
                    <a:pt x="557" y="740"/>
                  </a:lnTo>
                  <a:lnTo>
                    <a:pt x="557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7" y="740"/>
                  </a:lnTo>
                  <a:lnTo>
                    <a:pt x="555" y="740"/>
                  </a:lnTo>
                  <a:lnTo>
                    <a:pt x="555" y="740"/>
                  </a:lnTo>
                  <a:lnTo>
                    <a:pt x="555" y="740"/>
                  </a:lnTo>
                  <a:lnTo>
                    <a:pt x="555" y="740"/>
                  </a:lnTo>
                  <a:lnTo>
                    <a:pt x="555" y="742"/>
                  </a:lnTo>
                  <a:lnTo>
                    <a:pt x="555" y="742"/>
                  </a:lnTo>
                  <a:lnTo>
                    <a:pt x="555" y="742"/>
                  </a:lnTo>
                  <a:lnTo>
                    <a:pt x="555" y="742"/>
                  </a:lnTo>
                  <a:lnTo>
                    <a:pt x="555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0"/>
                  </a:lnTo>
                  <a:lnTo>
                    <a:pt x="559" y="742"/>
                  </a:lnTo>
                  <a:lnTo>
                    <a:pt x="559" y="742"/>
                  </a:lnTo>
                  <a:lnTo>
                    <a:pt x="559" y="742"/>
                  </a:lnTo>
                  <a:lnTo>
                    <a:pt x="559" y="742"/>
                  </a:lnTo>
                  <a:lnTo>
                    <a:pt x="559" y="744"/>
                  </a:lnTo>
                  <a:lnTo>
                    <a:pt x="559" y="744"/>
                  </a:lnTo>
                  <a:lnTo>
                    <a:pt x="559" y="744"/>
                  </a:lnTo>
                  <a:lnTo>
                    <a:pt x="559" y="744"/>
                  </a:lnTo>
                  <a:lnTo>
                    <a:pt x="559" y="747"/>
                  </a:lnTo>
                  <a:lnTo>
                    <a:pt x="559" y="747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9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4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7"/>
                  </a:lnTo>
                  <a:lnTo>
                    <a:pt x="555" y="749"/>
                  </a:lnTo>
                  <a:lnTo>
                    <a:pt x="555" y="749"/>
                  </a:lnTo>
                  <a:lnTo>
                    <a:pt x="555" y="749"/>
                  </a:lnTo>
                  <a:lnTo>
                    <a:pt x="555" y="749"/>
                  </a:lnTo>
                  <a:lnTo>
                    <a:pt x="555" y="749"/>
                  </a:lnTo>
                  <a:lnTo>
                    <a:pt x="555" y="749"/>
                  </a:lnTo>
                  <a:lnTo>
                    <a:pt x="557" y="749"/>
                  </a:lnTo>
                  <a:lnTo>
                    <a:pt x="555" y="749"/>
                  </a:lnTo>
                  <a:lnTo>
                    <a:pt x="557" y="749"/>
                  </a:lnTo>
                  <a:lnTo>
                    <a:pt x="557" y="749"/>
                  </a:lnTo>
                  <a:lnTo>
                    <a:pt x="557" y="751"/>
                  </a:lnTo>
                  <a:lnTo>
                    <a:pt x="555" y="751"/>
                  </a:lnTo>
                  <a:lnTo>
                    <a:pt x="555" y="751"/>
                  </a:lnTo>
                  <a:lnTo>
                    <a:pt x="557" y="751"/>
                  </a:lnTo>
                  <a:lnTo>
                    <a:pt x="555" y="751"/>
                  </a:lnTo>
                  <a:lnTo>
                    <a:pt x="555" y="751"/>
                  </a:lnTo>
                  <a:lnTo>
                    <a:pt x="555" y="751"/>
                  </a:lnTo>
                  <a:lnTo>
                    <a:pt x="555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7" y="751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3"/>
                  </a:lnTo>
                  <a:lnTo>
                    <a:pt x="559" y="756"/>
                  </a:lnTo>
                  <a:lnTo>
                    <a:pt x="559" y="758"/>
                  </a:lnTo>
                  <a:lnTo>
                    <a:pt x="559" y="758"/>
                  </a:lnTo>
                  <a:lnTo>
                    <a:pt x="559" y="760"/>
                  </a:lnTo>
                  <a:lnTo>
                    <a:pt x="559" y="760"/>
                  </a:lnTo>
                  <a:lnTo>
                    <a:pt x="559" y="762"/>
                  </a:lnTo>
                  <a:lnTo>
                    <a:pt x="559" y="762"/>
                  </a:lnTo>
                  <a:lnTo>
                    <a:pt x="559" y="762"/>
                  </a:lnTo>
                  <a:lnTo>
                    <a:pt x="559" y="762"/>
                  </a:lnTo>
                  <a:lnTo>
                    <a:pt x="561" y="762"/>
                  </a:lnTo>
                  <a:lnTo>
                    <a:pt x="561" y="762"/>
                  </a:lnTo>
                  <a:lnTo>
                    <a:pt x="561" y="762"/>
                  </a:lnTo>
                  <a:lnTo>
                    <a:pt x="561" y="762"/>
                  </a:lnTo>
                  <a:lnTo>
                    <a:pt x="561" y="762"/>
                  </a:lnTo>
                  <a:lnTo>
                    <a:pt x="561" y="762"/>
                  </a:lnTo>
                  <a:lnTo>
                    <a:pt x="561" y="762"/>
                  </a:lnTo>
                  <a:lnTo>
                    <a:pt x="559" y="765"/>
                  </a:lnTo>
                  <a:lnTo>
                    <a:pt x="559" y="765"/>
                  </a:lnTo>
                  <a:lnTo>
                    <a:pt x="559" y="765"/>
                  </a:lnTo>
                  <a:lnTo>
                    <a:pt x="559" y="765"/>
                  </a:lnTo>
                  <a:lnTo>
                    <a:pt x="559" y="765"/>
                  </a:lnTo>
                  <a:lnTo>
                    <a:pt x="561" y="765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7"/>
                  </a:lnTo>
                  <a:lnTo>
                    <a:pt x="561" y="769"/>
                  </a:lnTo>
                  <a:lnTo>
                    <a:pt x="561" y="769"/>
                  </a:lnTo>
                  <a:lnTo>
                    <a:pt x="561" y="769"/>
                  </a:lnTo>
                  <a:lnTo>
                    <a:pt x="561" y="769"/>
                  </a:lnTo>
                  <a:lnTo>
                    <a:pt x="561" y="769"/>
                  </a:lnTo>
                  <a:lnTo>
                    <a:pt x="561" y="771"/>
                  </a:lnTo>
                  <a:lnTo>
                    <a:pt x="561" y="771"/>
                  </a:lnTo>
                  <a:lnTo>
                    <a:pt x="561" y="771"/>
                  </a:lnTo>
                  <a:lnTo>
                    <a:pt x="561" y="771"/>
                  </a:lnTo>
                  <a:lnTo>
                    <a:pt x="561" y="771"/>
                  </a:lnTo>
                  <a:lnTo>
                    <a:pt x="561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4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1" y="771"/>
                  </a:lnTo>
                  <a:lnTo>
                    <a:pt x="561" y="771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6"/>
                  </a:lnTo>
                  <a:lnTo>
                    <a:pt x="561" y="776"/>
                  </a:lnTo>
                  <a:lnTo>
                    <a:pt x="561" y="776"/>
                  </a:lnTo>
                  <a:lnTo>
                    <a:pt x="561" y="776"/>
                  </a:lnTo>
                  <a:lnTo>
                    <a:pt x="564" y="776"/>
                  </a:lnTo>
                  <a:lnTo>
                    <a:pt x="564" y="776"/>
                  </a:lnTo>
                  <a:lnTo>
                    <a:pt x="564" y="778"/>
                  </a:lnTo>
                  <a:lnTo>
                    <a:pt x="564" y="776"/>
                  </a:lnTo>
                  <a:lnTo>
                    <a:pt x="564" y="776"/>
                  </a:lnTo>
                  <a:lnTo>
                    <a:pt x="564" y="776"/>
                  </a:lnTo>
                  <a:lnTo>
                    <a:pt x="561" y="776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78"/>
                  </a:lnTo>
                  <a:lnTo>
                    <a:pt x="561" y="780"/>
                  </a:lnTo>
                  <a:lnTo>
                    <a:pt x="564" y="780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4" y="783"/>
                  </a:lnTo>
                  <a:lnTo>
                    <a:pt x="561" y="783"/>
                  </a:lnTo>
                  <a:lnTo>
                    <a:pt x="561" y="783"/>
                  </a:lnTo>
                  <a:lnTo>
                    <a:pt x="561" y="783"/>
                  </a:lnTo>
                  <a:lnTo>
                    <a:pt x="561" y="783"/>
                  </a:lnTo>
                  <a:lnTo>
                    <a:pt x="561" y="785"/>
                  </a:lnTo>
                  <a:lnTo>
                    <a:pt x="561" y="785"/>
                  </a:lnTo>
                  <a:lnTo>
                    <a:pt x="561" y="785"/>
                  </a:lnTo>
                  <a:lnTo>
                    <a:pt x="561" y="785"/>
                  </a:lnTo>
                  <a:lnTo>
                    <a:pt x="564" y="785"/>
                  </a:lnTo>
                  <a:lnTo>
                    <a:pt x="564" y="785"/>
                  </a:lnTo>
                  <a:lnTo>
                    <a:pt x="564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61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7"/>
                  </a:lnTo>
                  <a:lnTo>
                    <a:pt x="564" y="789"/>
                  </a:lnTo>
                  <a:lnTo>
                    <a:pt x="564" y="789"/>
                  </a:lnTo>
                  <a:lnTo>
                    <a:pt x="564" y="789"/>
                  </a:lnTo>
                  <a:lnTo>
                    <a:pt x="564" y="789"/>
                  </a:lnTo>
                  <a:lnTo>
                    <a:pt x="564" y="789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4" y="792"/>
                  </a:lnTo>
                  <a:lnTo>
                    <a:pt x="564" y="794"/>
                  </a:lnTo>
                  <a:lnTo>
                    <a:pt x="564" y="794"/>
                  </a:lnTo>
                  <a:lnTo>
                    <a:pt x="564" y="794"/>
                  </a:lnTo>
                  <a:lnTo>
                    <a:pt x="564" y="794"/>
                  </a:lnTo>
                  <a:lnTo>
                    <a:pt x="564" y="794"/>
                  </a:lnTo>
                  <a:lnTo>
                    <a:pt x="564" y="794"/>
                  </a:lnTo>
                  <a:lnTo>
                    <a:pt x="564" y="796"/>
                  </a:lnTo>
                  <a:lnTo>
                    <a:pt x="564" y="796"/>
                  </a:lnTo>
                  <a:lnTo>
                    <a:pt x="564" y="796"/>
                  </a:lnTo>
                  <a:lnTo>
                    <a:pt x="564" y="796"/>
                  </a:lnTo>
                  <a:lnTo>
                    <a:pt x="564" y="798"/>
                  </a:lnTo>
                  <a:lnTo>
                    <a:pt x="564" y="798"/>
                  </a:lnTo>
                  <a:lnTo>
                    <a:pt x="564" y="798"/>
                  </a:lnTo>
                  <a:lnTo>
                    <a:pt x="564" y="798"/>
                  </a:lnTo>
                  <a:lnTo>
                    <a:pt x="564" y="801"/>
                  </a:lnTo>
                  <a:lnTo>
                    <a:pt x="564" y="801"/>
                  </a:lnTo>
                  <a:lnTo>
                    <a:pt x="561" y="801"/>
                  </a:lnTo>
                  <a:lnTo>
                    <a:pt x="561" y="801"/>
                  </a:lnTo>
                  <a:lnTo>
                    <a:pt x="561" y="801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1"/>
                  </a:lnTo>
                  <a:lnTo>
                    <a:pt x="561" y="801"/>
                  </a:lnTo>
                  <a:lnTo>
                    <a:pt x="561" y="801"/>
                  </a:lnTo>
                  <a:lnTo>
                    <a:pt x="561" y="801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798"/>
                  </a:lnTo>
                  <a:lnTo>
                    <a:pt x="559" y="798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801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59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5"/>
                  </a:lnTo>
                  <a:lnTo>
                    <a:pt x="561" y="805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3"/>
                  </a:lnTo>
                  <a:lnTo>
                    <a:pt x="561" y="805"/>
                  </a:lnTo>
                  <a:lnTo>
                    <a:pt x="561" y="805"/>
                  </a:lnTo>
                  <a:lnTo>
                    <a:pt x="561" y="805"/>
                  </a:lnTo>
                  <a:lnTo>
                    <a:pt x="561" y="805"/>
                  </a:lnTo>
                  <a:lnTo>
                    <a:pt x="561" y="805"/>
                  </a:lnTo>
                  <a:lnTo>
                    <a:pt x="561" y="807"/>
                  </a:lnTo>
                  <a:lnTo>
                    <a:pt x="559" y="807"/>
                  </a:lnTo>
                  <a:lnTo>
                    <a:pt x="559" y="807"/>
                  </a:lnTo>
                  <a:lnTo>
                    <a:pt x="559" y="807"/>
                  </a:lnTo>
                  <a:lnTo>
                    <a:pt x="559" y="807"/>
                  </a:lnTo>
                  <a:lnTo>
                    <a:pt x="559" y="807"/>
                  </a:lnTo>
                  <a:lnTo>
                    <a:pt x="557" y="807"/>
                  </a:lnTo>
                  <a:lnTo>
                    <a:pt x="557" y="810"/>
                  </a:lnTo>
                  <a:lnTo>
                    <a:pt x="550" y="814"/>
                  </a:lnTo>
                  <a:lnTo>
                    <a:pt x="548" y="819"/>
                  </a:lnTo>
                  <a:lnTo>
                    <a:pt x="543" y="825"/>
                  </a:lnTo>
                  <a:lnTo>
                    <a:pt x="543" y="828"/>
                  </a:lnTo>
                  <a:lnTo>
                    <a:pt x="541" y="830"/>
                  </a:lnTo>
                  <a:lnTo>
                    <a:pt x="541" y="834"/>
                  </a:lnTo>
                  <a:lnTo>
                    <a:pt x="539" y="834"/>
                  </a:lnTo>
                  <a:lnTo>
                    <a:pt x="537" y="843"/>
                  </a:lnTo>
                  <a:lnTo>
                    <a:pt x="537" y="848"/>
                  </a:lnTo>
                  <a:lnTo>
                    <a:pt x="537" y="850"/>
                  </a:lnTo>
                  <a:lnTo>
                    <a:pt x="532" y="859"/>
                  </a:lnTo>
                  <a:lnTo>
                    <a:pt x="532" y="859"/>
                  </a:lnTo>
                  <a:lnTo>
                    <a:pt x="532" y="861"/>
                  </a:lnTo>
                  <a:lnTo>
                    <a:pt x="530" y="864"/>
                  </a:lnTo>
                  <a:lnTo>
                    <a:pt x="528" y="866"/>
                  </a:lnTo>
                  <a:lnTo>
                    <a:pt x="528" y="868"/>
                  </a:lnTo>
                  <a:lnTo>
                    <a:pt x="525" y="873"/>
                  </a:lnTo>
                  <a:lnTo>
                    <a:pt x="523" y="875"/>
                  </a:lnTo>
                  <a:lnTo>
                    <a:pt x="521" y="877"/>
                  </a:lnTo>
                  <a:lnTo>
                    <a:pt x="516" y="882"/>
                  </a:lnTo>
                  <a:lnTo>
                    <a:pt x="510" y="886"/>
                  </a:lnTo>
                  <a:lnTo>
                    <a:pt x="510" y="886"/>
                  </a:lnTo>
                  <a:lnTo>
                    <a:pt x="507" y="891"/>
                  </a:lnTo>
                  <a:lnTo>
                    <a:pt x="507" y="891"/>
                  </a:lnTo>
                  <a:lnTo>
                    <a:pt x="507" y="891"/>
                  </a:lnTo>
                  <a:lnTo>
                    <a:pt x="507" y="891"/>
                  </a:lnTo>
                  <a:lnTo>
                    <a:pt x="507" y="891"/>
                  </a:lnTo>
                  <a:lnTo>
                    <a:pt x="507" y="888"/>
                  </a:lnTo>
                  <a:lnTo>
                    <a:pt x="507" y="888"/>
                  </a:lnTo>
                  <a:lnTo>
                    <a:pt x="507" y="888"/>
                  </a:lnTo>
                  <a:lnTo>
                    <a:pt x="507" y="888"/>
                  </a:lnTo>
                  <a:lnTo>
                    <a:pt x="507" y="886"/>
                  </a:lnTo>
                  <a:lnTo>
                    <a:pt x="507" y="886"/>
                  </a:lnTo>
                  <a:lnTo>
                    <a:pt x="507" y="886"/>
                  </a:lnTo>
                  <a:lnTo>
                    <a:pt x="507" y="886"/>
                  </a:lnTo>
                  <a:lnTo>
                    <a:pt x="507" y="886"/>
                  </a:lnTo>
                  <a:lnTo>
                    <a:pt x="507" y="884"/>
                  </a:lnTo>
                  <a:lnTo>
                    <a:pt x="505" y="884"/>
                  </a:lnTo>
                  <a:lnTo>
                    <a:pt x="505" y="884"/>
                  </a:lnTo>
                  <a:lnTo>
                    <a:pt x="505" y="882"/>
                  </a:lnTo>
                  <a:lnTo>
                    <a:pt x="507" y="882"/>
                  </a:lnTo>
                  <a:lnTo>
                    <a:pt x="510" y="884"/>
                  </a:lnTo>
                  <a:lnTo>
                    <a:pt x="510" y="884"/>
                  </a:lnTo>
                  <a:lnTo>
                    <a:pt x="510" y="884"/>
                  </a:lnTo>
                  <a:lnTo>
                    <a:pt x="512" y="884"/>
                  </a:lnTo>
                  <a:lnTo>
                    <a:pt x="510" y="882"/>
                  </a:lnTo>
                  <a:lnTo>
                    <a:pt x="512" y="882"/>
                  </a:lnTo>
                  <a:lnTo>
                    <a:pt x="512" y="882"/>
                  </a:lnTo>
                  <a:lnTo>
                    <a:pt x="512" y="882"/>
                  </a:lnTo>
                  <a:lnTo>
                    <a:pt x="514" y="882"/>
                  </a:lnTo>
                  <a:lnTo>
                    <a:pt x="516" y="879"/>
                  </a:lnTo>
                  <a:lnTo>
                    <a:pt x="516" y="879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7"/>
                  </a:lnTo>
                  <a:lnTo>
                    <a:pt x="516" y="875"/>
                  </a:lnTo>
                  <a:lnTo>
                    <a:pt x="516" y="875"/>
                  </a:lnTo>
                  <a:lnTo>
                    <a:pt x="516" y="875"/>
                  </a:lnTo>
                  <a:lnTo>
                    <a:pt x="516" y="875"/>
                  </a:lnTo>
                  <a:lnTo>
                    <a:pt x="519" y="875"/>
                  </a:lnTo>
                  <a:lnTo>
                    <a:pt x="519" y="875"/>
                  </a:lnTo>
                  <a:lnTo>
                    <a:pt x="519" y="875"/>
                  </a:lnTo>
                  <a:lnTo>
                    <a:pt x="521" y="875"/>
                  </a:lnTo>
                  <a:lnTo>
                    <a:pt x="521" y="875"/>
                  </a:lnTo>
                  <a:lnTo>
                    <a:pt x="521" y="875"/>
                  </a:lnTo>
                  <a:lnTo>
                    <a:pt x="521" y="875"/>
                  </a:lnTo>
                  <a:lnTo>
                    <a:pt x="521" y="873"/>
                  </a:lnTo>
                  <a:lnTo>
                    <a:pt x="521" y="873"/>
                  </a:lnTo>
                  <a:lnTo>
                    <a:pt x="523" y="870"/>
                  </a:lnTo>
                  <a:lnTo>
                    <a:pt x="521" y="868"/>
                  </a:lnTo>
                  <a:lnTo>
                    <a:pt x="521" y="866"/>
                  </a:lnTo>
                  <a:lnTo>
                    <a:pt x="521" y="866"/>
                  </a:lnTo>
                  <a:lnTo>
                    <a:pt x="521" y="866"/>
                  </a:lnTo>
                  <a:lnTo>
                    <a:pt x="521" y="866"/>
                  </a:lnTo>
                  <a:lnTo>
                    <a:pt x="521" y="864"/>
                  </a:lnTo>
                  <a:lnTo>
                    <a:pt x="521" y="864"/>
                  </a:lnTo>
                  <a:lnTo>
                    <a:pt x="523" y="866"/>
                  </a:lnTo>
                  <a:lnTo>
                    <a:pt x="523" y="866"/>
                  </a:lnTo>
                  <a:lnTo>
                    <a:pt x="523" y="864"/>
                  </a:lnTo>
                  <a:lnTo>
                    <a:pt x="523" y="864"/>
                  </a:lnTo>
                  <a:lnTo>
                    <a:pt x="523" y="864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6"/>
                  </a:lnTo>
                  <a:lnTo>
                    <a:pt x="525" y="864"/>
                  </a:lnTo>
                  <a:lnTo>
                    <a:pt x="525" y="864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3" y="861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5" y="861"/>
                  </a:lnTo>
                  <a:lnTo>
                    <a:pt x="528" y="859"/>
                  </a:lnTo>
                  <a:lnTo>
                    <a:pt x="528" y="859"/>
                  </a:lnTo>
                  <a:lnTo>
                    <a:pt x="528" y="859"/>
                  </a:lnTo>
                  <a:lnTo>
                    <a:pt x="528" y="859"/>
                  </a:lnTo>
                  <a:lnTo>
                    <a:pt x="530" y="859"/>
                  </a:lnTo>
                  <a:lnTo>
                    <a:pt x="530" y="857"/>
                  </a:lnTo>
                  <a:lnTo>
                    <a:pt x="530" y="855"/>
                  </a:lnTo>
                  <a:lnTo>
                    <a:pt x="528" y="850"/>
                  </a:lnTo>
                  <a:lnTo>
                    <a:pt x="528" y="850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28" y="848"/>
                  </a:lnTo>
                  <a:lnTo>
                    <a:pt x="530" y="848"/>
                  </a:lnTo>
                  <a:lnTo>
                    <a:pt x="530" y="848"/>
                  </a:lnTo>
                  <a:lnTo>
                    <a:pt x="530" y="848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2" y="850"/>
                  </a:lnTo>
                  <a:lnTo>
                    <a:pt x="530" y="850"/>
                  </a:lnTo>
                  <a:lnTo>
                    <a:pt x="530" y="850"/>
                  </a:lnTo>
                  <a:lnTo>
                    <a:pt x="530" y="848"/>
                  </a:lnTo>
                  <a:lnTo>
                    <a:pt x="532" y="848"/>
                  </a:lnTo>
                  <a:lnTo>
                    <a:pt x="532" y="848"/>
                  </a:lnTo>
                  <a:lnTo>
                    <a:pt x="532" y="846"/>
                  </a:lnTo>
                  <a:lnTo>
                    <a:pt x="530" y="846"/>
                  </a:lnTo>
                  <a:lnTo>
                    <a:pt x="530" y="846"/>
                  </a:lnTo>
                  <a:lnTo>
                    <a:pt x="530" y="846"/>
                  </a:lnTo>
                  <a:lnTo>
                    <a:pt x="530" y="846"/>
                  </a:lnTo>
                  <a:lnTo>
                    <a:pt x="530" y="843"/>
                  </a:lnTo>
                  <a:lnTo>
                    <a:pt x="530" y="843"/>
                  </a:lnTo>
                  <a:lnTo>
                    <a:pt x="530" y="843"/>
                  </a:lnTo>
                  <a:lnTo>
                    <a:pt x="530" y="843"/>
                  </a:lnTo>
                  <a:lnTo>
                    <a:pt x="528" y="843"/>
                  </a:lnTo>
                  <a:lnTo>
                    <a:pt x="528" y="843"/>
                  </a:lnTo>
                  <a:lnTo>
                    <a:pt x="528" y="843"/>
                  </a:lnTo>
                  <a:lnTo>
                    <a:pt x="528" y="843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8" y="846"/>
                  </a:lnTo>
                  <a:lnTo>
                    <a:pt x="525" y="846"/>
                  </a:lnTo>
                  <a:lnTo>
                    <a:pt x="525" y="846"/>
                  </a:lnTo>
                  <a:lnTo>
                    <a:pt x="525" y="848"/>
                  </a:lnTo>
                  <a:lnTo>
                    <a:pt x="525" y="848"/>
                  </a:lnTo>
                  <a:lnTo>
                    <a:pt x="525" y="848"/>
                  </a:lnTo>
                  <a:lnTo>
                    <a:pt x="523" y="846"/>
                  </a:lnTo>
                  <a:lnTo>
                    <a:pt x="523" y="848"/>
                  </a:lnTo>
                  <a:lnTo>
                    <a:pt x="523" y="848"/>
                  </a:lnTo>
                  <a:lnTo>
                    <a:pt x="523" y="848"/>
                  </a:lnTo>
                  <a:lnTo>
                    <a:pt x="523" y="848"/>
                  </a:lnTo>
                  <a:lnTo>
                    <a:pt x="523" y="848"/>
                  </a:lnTo>
                  <a:lnTo>
                    <a:pt x="523" y="850"/>
                  </a:lnTo>
                  <a:lnTo>
                    <a:pt x="523" y="850"/>
                  </a:lnTo>
                  <a:lnTo>
                    <a:pt x="523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21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3"/>
                  </a:lnTo>
                  <a:lnTo>
                    <a:pt x="519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1"/>
                  </a:lnTo>
                  <a:lnTo>
                    <a:pt x="516" y="841"/>
                  </a:lnTo>
                  <a:lnTo>
                    <a:pt x="516" y="841"/>
                  </a:lnTo>
                  <a:lnTo>
                    <a:pt x="516" y="841"/>
                  </a:lnTo>
                  <a:lnTo>
                    <a:pt x="516" y="841"/>
                  </a:lnTo>
                  <a:lnTo>
                    <a:pt x="516" y="841"/>
                  </a:lnTo>
                  <a:lnTo>
                    <a:pt x="516" y="841"/>
                  </a:lnTo>
                  <a:lnTo>
                    <a:pt x="516" y="839"/>
                  </a:lnTo>
                  <a:lnTo>
                    <a:pt x="516" y="839"/>
                  </a:lnTo>
                  <a:lnTo>
                    <a:pt x="514" y="839"/>
                  </a:lnTo>
                  <a:lnTo>
                    <a:pt x="514" y="839"/>
                  </a:lnTo>
                  <a:lnTo>
                    <a:pt x="514" y="839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1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3"/>
                  </a:lnTo>
                  <a:lnTo>
                    <a:pt x="514" y="846"/>
                  </a:lnTo>
                  <a:lnTo>
                    <a:pt x="514" y="846"/>
                  </a:lnTo>
                  <a:lnTo>
                    <a:pt x="516" y="843"/>
                  </a:lnTo>
                  <a:lnTo>
                    <a:pt x="516" y="843"/>
                  </a:lnTo>
                  <a:lnTo>
                    <a:pt x="516" y="846"/>
                  </a:lnTo>
                  <a:lnTo>
                    <a:pt x="516" y="846"/>
                  </a:lnTo>
                  <a:lnTo>
                    <a:pt x="516" y="846"/>
                  </a:lnTo>
                  <a:lnTo>
                    <a:pt x="516" y="846"/>
                  </a:lnTo>
                  <a:lnTo>
                    <a:pt x="516" y="846"/>
                  </a:lnTo>
                  <a:lnTo>
                    <a:pt x="516" y="846"/>
                  </a:lnTo>
                  <a:lnTo>
                    <a:pt x="516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6"/>
                  </a:lnTo>
                  <a:lnTo>
                    <a:pt x="519" y="848"/>
                  </a:lnTo>
                  <a:lnTo>
                    <a:pt x="519" y="848"/>
                  </a:lnTo>
                  <a:lnTo>
                    <a:pt x="519" y="848"/>
                  </a:lnTo>
                  <a:lnTo>
                    <a:pt x="519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21" y="848"/>
                  </a:lnTo>
                  <a:lnTo>
                    <a:pt x="519" y="848"/>
                  </a:lnTo>
                  <a:lnTo>
                    <a:pt x="519" y="850"/>
                  </a:lnTo>
                  <a:lnTo>
                    <a:pt x="519" y="848"/>
                  </a:lnTo>
                  <a:lnTo>
                    <a:pt x="519" y="848"/>
                  </a:lnTo>
                  <a:lnTo>
                    <a:pt x="519" y="848"/>
                  </a:lnTo>
                  <a:lnTo>
                    <a:pt x="519" y="848"/>
                  </a:lnTo>
                  <a:lnTo>
                    <a:pt x="519" y="850"/>
                  </a:lnTo>
                  <a:lnTo>
                    <a:pt x="516" y="850"/>
                  </a:lnTo>
                  <a:lnTo>
                    <a:pt x="516" y="852"/>
                  </a:lnTo>
                  <a:lnTo>
                    <a:pt x="516" y="852"/>
                  </a:lnTo>
                  <a:lnTo>
                    <a:pt x="516" y="855"/>
                  </a:lnTo>
                  <a:lnTo>
                    <a:pt x="516" y="855"/>
                  </a:lnTo>
                  <a:lnTo>
                    <a:pt x="519" y="857"/>
                  </a:lnTo>
                  <a:lnTo>
                    <a:pt x="519" y="857"/>
                  </a:lnTo>
                  <a:lnTo>
                    <a:pt x="519" y="857"/>
                  </a:lnTo>
                  <a:lnTo>
                    <a:pt x="519" y="859"/>
                  </a:lnTo>
                  <a:lnTo>
                    <a:pt x="516" y="859"/>
                  </a:lnTo>
                  <a:lnTo>
                    <a:pt x="516" y="857"/>
                  </a:lnTo>
                  <a:lnTo>
                    <a:pt x="519" y="857"/>
                  </a:lnTo>
                  <a:lnTo>
                    <a:pt x="516" y="857"/>
                  </a:lnTo>
                  <a:lnTo>
                    <a:pt x="516" y="855"/>
                  </a:lnTo>
                  <a:lnTo>
                    <a:pt x="516" y="855"/>
                  </a:lnTo>
                  <a:lnTo>
                    <a:pt x="516" y="855"/>
                  </a:lnTo>
                  <a:lnTo>
                    <a:pt x="516" y="855"/>
                  </a:lnTo>
                  <a:lnTo>
                    <a:pt x="516" y="855"/>
                  </a:lnTo>
                  <a:lnTo>
                    <a:pt x="516" y="855"/>
                  </a:lnTo>
                  <a:lnTo>
                    <a:pt x="516" y="857"/>
                  </a:lnTo>
                  <a:lnTo>
                    <a:pt x="516" y="859"/>
                  </a:lnTo>
                  <a:lnTo>
                    <a:pt x="516" y="859"/>
                  </a:lnTo>
                  <a:lnTo>
                    <a:pt x="516" y="859"/>
                  </a:lnTo>
                  <a:lnTo>
                    <a:pt x="516" y="859"/>
                  </a:lnTo>
                  <a:lnTo>
                    <a:pt x="516" y="861"/>
                  </a:lnTo>
                  <a:lnTo>
                    <a:pt x="516" y="861"/>
                  </a:lnTo>
                  <a:lnTo>
                    <a:pt x="514" y="861"/>
                  </a:lnTo>
                  <a:lnTo>
                    <a:pt x="514" y="861"/>
                  </a:lnTo>
                  <a:lnTo>
                    <a:pt x="514" y="861"/>
                  </a:lnTo>
                  <a:lnTo>
                    <a:pt x="514" y="861"/>
                  </a:lnTo>
                  <a:lnTo>
                    <a:pt x="514" y="861"/>
                  </a:lnTo>
                  <a:lnTo>
                    <a:pt x="514" y="864"/>
                  </a:lnTo>
                  <a:lnTo>
                    <a:pt x="514" y="864"/>
                  </a:lnTo>
                  <a:lnTo>
                    <a:pt x="516" y="866"/>
                  </a:lnTo>
                  <a:lnTo>
                    <a:pt x="514" y="866"/>
                  </a:lnTo>
                  <a:lnTo>
                    <a:pt x="512" y="866"/>
                  </a:lnTo>
                  <a:lnTo>
                    <a:pt x="512" y="866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70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68"/>
                  </a:lnTo>
                  <a:lnTo>
                    <a:pt x="512" y="870"/>
                  </a:lnTo>
                  <a:lnTo>
                    <a:pt x="510" y="870"/>
                  </a:lnTo>
                  <a:lnTo>
                    <a:pt x="510" y="870"/>
                  </a:lnTo>
                  <a:lnTo>
                    <a:pt x="510" y="870"/>
                  </a:lnTo>
                  <a:lnTo>
                    <a:pt x="510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7" y="870"/>
                  </a:lnTo>
                  <a:lnTo>
                    <a:pt x="505" y="870"/>
                  </a:lnTo>
                  <a:lnTo>
                    <a:pt x="505" y="870"/>
                  </a:lnTo>
                  <a:lnTo>
                    <a:pt x="505" y="870"/>
                  </a:lnTo>
                  <a:lnTo>
                    <a:pt x="505" y="870"/>
                  </a:lnTo>
                  <a:lnTo>
                    <a:pt x="507" y="873"/>
                  </a:lnTo>
                  <a:lnTo>
                    <a:pt x="507" y="873"/>
                  </a:lnTo>
                  <a:lnTo>
                    <a:pt x="507" y="873"/>
                  </a:lnTo>
                  <a:lnTo>
                    <a:pt x="505" y="873"/>
                  </a:lnTo>
                  <a:lnTo>
                    <a:pt x="505" y="873"/>
                  </a:lnTo>
                  <a:lnTo>
                    <a:pt x="505" y="873"/>
                  </a:lnTo>
                  <a:lnTo>
                    <a:pt x="505" y="873"/>
                  </a:lnTo>
                  <a:lnTo>
                    <a:pt x="505" y="875"/>
                  </a:lnTo>
                  <a:lnTo>
                    <a:pt x="505" y="875"/>
                  </a:lnTo>
                  <a:lnTo>
                    <a:pt x="505" y="875"/>
                  </a:lnTo>
                  <a:lnTo>
                    <a:pt x="505" y="875"/>
                  </a:lnTo>
                  <a:lnTo>
                    <a:pt x="505" y="877"/>
                  </a:lnTo>
                  <a:lnTo>
                    <a:pt x="507" y="877"/>
                  </a:lnTo>
                  <a:lnTo>
                    <a:pt x="507" y="877"/>
                  </a:lnTo>
                  <a:lnTo>
                    <a:pt x="505" y="877"/>
                  </a:lnTo>
                  <a:lnTo>
                    <a:pt x="505" y="879"/>
                  </a:lnTo>
                  <a:lnTo>
                    <a:pt x="505" y="879"/>
                  </a:lnTo>
                  <a:lnTo>
                    <a:pt x="505" y="879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7"/>
                  </a:lnTo>
                  <a:lnTo>
                    <a:pt x="505" y="879"/>
                  </a:lnTo>
                  <a:lnTo>
                    <a:pt x="505" y="879"/>
                  </a:lnTo>
                  <a:lnTo>
                    <a:pt x="505" y="879"/>
                  </a:lnTo>
                  <a:lnTo>
                    <a:pt x="505" y="879"/>
                  </a:lnTo>
                  <a:lnTo>
                    <a:pt x="503" y="879"/>
                  </a:lnTo>
                  <a:lnTo>
                    <a:pt x="503" y="882"/>
                  </a:lnTo>
                  <a:lnTo>
                    <a:pt x="503" y="882"/>
                  </a:lnTo>
                  <a:lnTo>
                    <a:pt x="503" y="882"/>
                  </a:lnTo>
                  <a:lnTo>
                    <a:pt x="503" y="882"/>
                  </a:lnTo>
                  <a:lnTo>
                    <a:pt x="503" y="882"/>
                  </a:lnTo>
                  <a:lnTo>
                    <a:pt x="503" y="882"/>
                  </a:lnTo>
                  <a:lnTo>
                    <a:pt x="503" y="882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3" y="884"/>
                  </a:lnTo>
                  <a:lnTo>
                    <a:pt x="505" y="884"/>
                  </a:lnTo>
                  <a:lnTo>
                    <a:pt x="505" y="884"/>
                  </a:lnTo>
                  <a:lnTo>
                    <a:pt x="505" y="884"/>
                  </a:lnTo>
                  <a:lnTo>
                    <a:pt x="505" y="886"/>
                  </a:lnTo>
                  <a:lnTo>
                    <a:pt x="505" y="886"/>
                  </a:lnTo>
                  <a:lnTo>
                    <a:pt x="505" y="886"/>
                  </a:lnTo>
                  <a:lnTo>
                    <a:pt x="505" y="886"/>
                  </a:lnTo>
                  <a:lnTo>
                    <a:pt x="503" y="886"/>
                  </a:lnTo>
                  <a:lnTo>
                    <a:pt x="503" y="886"/>
                  </a:lnTo>
                  <a:lnTo>
                    <a:pt x="503" y="886"/>
                  </a:lnTo>
                  <a:lnTo>
                    <a:pt x="503" y="886"/>
                  </a:lnTo>
                  <a:lnTo>
                    <a:pt x="503" y="886"/>
                  </a:lnTo>
                  <a:lnTo>
                    <a:pt x="503" y="886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3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91"/>
                  </a:lnTo>
                  <a:lnTo>
                    <a:pt x="505" y="891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88"/>
                  </a:lnTo>
                  <a:lnTo>
                    <a:pt x="505" y="891"/>
                  </a:lnTo>
                  <a:lnTo>
                    <a:pt x="507" y="891"/>
                  </a:lnTo>
                  <a:lnTo>
                    <a:pt x="507" y="891"/>
                  </a:lnTo>
                  <a:lnTo>
                    <a:pt x="505" y="891"/>
                  </a:lnTo>
                  <a:lnTo>
                    <a:pt x="503" y="893"/>
                  </a:lnTo>
                  <a:lnTo>
                    <a:pt x="503" y="893"/>
                  </a:lnTo>
                  <a:lnTo>
                    <a:pt x="503" y="900"/>
                  </a:lnTo>
                  <a:lnTo>
                    <a:pt x="501" y="904"/>
                  </a:lnTo>
                  <a:lnTo>
                    <a:pt x="501" y="906"/>
                  </a:lnTo>
                  <a:lnTo>
                    <a:pt x="498" y="913"/>
                  </a:lnTo>
                  <a:lnTo>
                    <a:pt x="498" y="913"/>
                  </a:lnTo>
                  <a:lnTo>
                    <a:pt x="498" y="918"/>
                  </a:lnTo>
                  <a:lnTo>
                    <a:pt x="496" y="918"/>
                  </a:lnTo>
                  <a:lnTo>
                    <a:pt x="494" y="920"/>
                  </a:lnTo>
                  <a:lnTo>
                    <a:pt x="492" y="924"/>
                  </a:lnTo>
                  <a:lnTo>
                    <a:pt x="489" y="926"/>
                  </a:lnTo>
                  <a:lnTo>
                    <a:pt x="489" y="926"/>
                  </a:lnTo>
                  <a:lnTo>
                    <a:pt x="487" y="929"/>
                  </a:lnTo>
                  <a:lnTo>
                    <a:pt x="487" y="929"/>
                  </a:lnTo>
                  <a:lnTo>
                    <a:pt x="485" y="929"/>
                  </a:lnTo>
                  <a:lnTo>
                    <a:pt x="485" y="929"/>
                  </a:lnTo>
                  <a:lnTo>
                    <a:pt x="485" y="926"/>
                  </a:lnTo>
                  <a:lnTo>
                    <a:pt x="485" y="926"/>
                  </a:lnTo>
                  <a:lnTo>
                    <a:pt x="485" y="926"/>
                  </a:lnTo>
                  <a:lnTo>
                    <a:pt x="485" y="926"/>
                  </a:lnTo>
                  <a:lnTo>
                    <a:pt x="485" y="926"/>
                  </a:lnTo>
                  <a:lnTo>
                    <a:pt x="483" y="926"/>
                  </a:lnTo>
                  <a:lnTo>
                    <a:pt x="483" y="924"/>
                  </a:lnTo>
                  <a:lnTo>
                    <a:pt x="483" y="920"/>
                  </a:lnTo>
                  <a:lnTo>
                    <a:pt x="483" y="918"/>
                  </a:lnTo>
                  <a:lnTo>
                    <a:pt x="480" y="915"/>
                  </a:lnTo>
                  <a:lnTo>
                    <a:pt x="483" y="913"/>
                  </a:lnTo>
                  <a:lnTo>
                    <a:pt x="483" y="913"/>
                  </a:lnTo>
                  <a:lnTo>
                    <a:pt x="483" y="913"/>
                  </a:lnTo>
                  <a:lnTo>
                    <a:pt x="483" y="913"/>
                  </a:lnTo>
                  <a:lnTo>
                    <a:pt x="483" y="911"/>
                  </a:lnTo>
                  <a:lnTo>
                    <a:pt x="485" y="911"/>
                  </a:lnTo>
                  <a:lnTo>
                    <a:pt x="485" y="911"/>
                  </a:lnTo>
                  <a:lnTo>
                    <a:pt x="485" y="909"/>
                  </a:lnTo>
                  <a:lnTo>
                    <a:pt x="485" y="909"/>
                  </a:lnTo>
                  <a:lnTo>
                    <a:pt x="485" y="909"/>
                  </a:lnTo>
                  <a:lnTo>
                    <a:pt x="485" y="909"/>
                  </a:lnTo>
                  <a:lnTo>
                    <a:pt x="487" y="906"/>
                  </a:lnTo>
                  <a:lnTo>
                    <a:pt x="487" y="906"/>
                  </a:lnTo>
                  <a:lnTo>
                    <a:pt x="487" y="904"/>
                  </a:lnTo>
                  <a:lnTo>
                    <a:pt x="487" y="904"/>
                  </a:lnTo>
                  <a:lnTo>
                    <a:pt x="487" y="904"/>
                  </a:lnTo>
                  <a:lnTo>
                    <a:pt x="487" y="904"/>
                  </a:lnTo>
                  <a:lnTo>
                    <a:pt x="487" y="902"/>
                  </a:lnTo>
                  <a:lnTo>
                    <a:pt x="485" y="902"/>
                  </a:lnTo>
                  <a:lnTo>
                    <a:pt x="485" y="902"/>
                  </a:lnTo>
                  <a:lnTo>
                    <a:pt x="485" y="902"/>
                  </a:lnTo>
                  <a:lnTo>
                    <a:pt x="485" y="902"/>
                  </a:lnTo>
                  <a:lnTo>
                    <a:pt x="483" y="902"/>
                  </a:lnTo>
                  <a:lnTo>
                    <a:pt x="483" y="902"/>
                  </a:lnTo>
                  <a:lnTo>
                    <a:pt x="480" y="900"/>
                  </a:lnTo>
                  <a:lnTo>
                    <a:pt x="480" y="900"/>
                  </a:lnTo>
                  <a:lnTo>
                    <a:pt x="478" y="897"/>
                  </a:lnTo>
                  <a:lnTo>
                    <a:pt x="478" y="897"/>
                  </a:lnTo>
                  <a:lnTo>
                    <a:pt x="478" y="897"/>
                  </a:lnTo>
                  <a:lnTo>
                    <a:pt x="478" y="897"/>
                  </a:lnTo>
                  <a:lnTo>
                    <a:pt x="476" y="895"/>
                  </a:lnTo>
                  <a:lnTo>
                    <a:pt x="476" y="895"/>
                  </a:lnTo>
                  <a:lnTo>
                    <a:pt x="476" y="895"/>
                  </a:lnTo>
                  <a:lnTo>
                    <a:pt x="476" y="895"/>
                  </a:lnTo>
                  <a:lnTo>
                    <a:pt x="476" y="893"/>
                  </a:lnTo>
                  <a:lnTo>
                    <a:pt x="476" y="893"/>
                  </a:lnTo>
                  <a:lnTo>
                    <a:pt x="476" y="893"/>
                  </a:lnTo>
                  <a:lnTo>
                    <a:pt x="474" y="891"/>
                  </a:lnTo>
                  <a:lnTo>
                    <a:pt x="474" y="888"/>
                  </a:lnTo>
                  <a:lnTo>
                    <a:pt x="474" y="888"/>
                  </a:lnTo>
                  <a:lnTo>
                    <a:pt x="474" y="888"/>
                  </a:lnTo>
                  <a:lnTo>
                    <a:pt x="471" y="888"/>
                  </a:lnTo>
                  <a:lnTo>
                    <a:pt x="471" y="888"/>
                  </a:lnTo>
                  <a:lnTo>
                    <a:pt x="471" y="888"/>
                  </a:lnTo>
                  <a:lnTo>
                    <a:pt x="469" y="888"/>
                  </a:lnTo>
                  <a:lnTo>
                    <a:pt x="469" y="886"/>
                  </a:lnTo>
                  <a:lnTo>
                    <a:pt x="469" y="886"/>
                  </a:lnTo>
                  <a:lnTo>
                    <a:pt x="469" y="886"/>
                  </a:lnTo>
                  <a:lnTo>
                    <a:pt x="469" y="886"/>
                  </a:lnTo>
                  <a:lnTo>
                    <a:pt x="469" y="886"/>
                  </a:lnTo>
                  <a:lnTo>
                    <a:pt x="469" y="886"/>
                  </a:lnTo>
                  <a:lnTo>
                    <a:pt x="469" y="886"/>
                  </a:lnTo>
                  <a:lnTo>
                    <a:pt x="467" y="886"/>
                  </a:lnTo>
                  <a:lnTo>
                    <a:pt x="467" y="886"/>
                  </a:lnTo>
                  <a:lnTo>
                    <a:pt x="467" y="886"/>
                  </a:lnTo>
                  <a:lnTo>
                    <a:pt x="467" y="886"/>
                  </a:lnTo>
                  <a:lnTo>
                    <a:pt x="467" y="884"/>
                  </a:lnTo>
                  <a:lnTo>
                    <a:pt x="467" y="884"/>
                  </a:lnTo>
                  <a:lnTo>
                    <a:pt x="467" y="884"/>
                  </a:lnTo>
                  <a:lnTo>
                    <a:pt x="465" y="884"/>
                  </a:lnTo>
                  <a:lnTo>
                    <a:pt x="465" y="884"/>
                  </a:lnTo>
                  <a:lnTo>
                    <a:pt x="465" y="884"/>
                  </a:lnTo>
                  <a:lnTo>
                    <a:pt x="465" y="884"/>
                  </a:lnTo>
                  <a:lnTo>
                    <a:pt x="465" y="884"/>
                  </a:lnTo>
                  <a:lnTo>
                    <a:pt x="465" y="884"/>
                  </a:lnTo>
                  <a:lnTo>
                    <a:pt x="465" y="884"/>
                  </a:lnTo>
                  <a:lnTo>
                    <a:pt x="463" y="884"/>
                  </a:lnTo>
                  <a:lnTo>
                    <a:pt x="460" y="884"/>
                  </a:lnTo>
                  <a:lnTo>
                    <a:pt x="460" y="882"/>
                  </a:lnTo>
                  <a:lnTo>
                    <a:pt x="458" y="882"/>
                  </a:lnTo>
                  <a:lnTo>
                    <a:pt x="458" y="879"/>
                  </a:lnTo>
                  <a:lnTo>
                    <a:pt x="458" y="879"/>
                  </a:lnTo>
                  <a:lnTo>
                    <a:pt x="458" y="879"/>
                  </a:lnTo>
                  <a:lnTo>
                    <a:pt x="456" y="879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6" y="877"/>
                  </a:lnTo>
                  <a:lnTo>
                    <a:pt x="454" y="875"/>
                  </a:lnTo>
                  <a:lnTo>
                    <a:pt x="454" y="875"/>
                  </a:lnTo>
                  <a:lnTo>
                    <a:pt x="454" y="875"/>
                  </a:lnTo>
                  <a:lnTo>
                    <a:pt x="454" y="875"/>
                  </a:lnTo>
                  <a:lnTo>
                    <a:pt x="454" y="875"/>
                  </a:lnTo>
                  <a:lnTo>
                    <a:pt x="451" y="875"/>
                  </a:lnTo>
                  <a:lnTo>
                    <a:pt x="449" y="873"/>
                  </a:lnTo>
                  <a:lnTo>
                    <a:pt x="449" y="873"/>
                  </a:lnTo>
                  <a:lnTo>
                    <a:pt x="449" y="873"/>
                  </a:lnTo>
                  <a:lnTo>
                    <a:pt x="447" y="873"/>
                  </a:lnTo>
                  <a:lnTo>
                    <a:pt x="447" y="873"/>
                  </a:lnTo>
                  <a:lnTo>
                    <a:pt x="447" y="873"/>
                  </a:lnTo>
                  <a:lnTo>
                    <a:pt x="447" y="873"/>
                  </a:lnTo>
                  <a:lnTo>
                    <a:pt x="445" y="870"/>
                  </a:lnTo>
                  <a:lnTo>
                    <a:pt x="445" y="870"/>
                  </a:lnTo>
                  <a:lnTo>
                    <a:pt x="445" y="870"/>
                  </a:lnTo>
                  <a:lnTo>
                    <a:pt x="445" y="870"/>
                  </a:lnTo>
                  <a:lnTo>
                    <a:pt x="445" y="870"/>
                  </a:lnTo>
                  <a:lnTo>
                    <a:pt x="445" y="870"/>
                  </a:lnTo>
                  <a:lnTo>
                    <a:pt x="445" y="870"/>
                  </a:lnTo>
                  <a:lnTo>
                    <a:pt x="442" y="870"/>
                  </a:lnTo>
                  <a:lnTo>
                    <a:pt x="442" y="870"/>
                  </a:lnTo>
                  <a:lnTo>
                    <a:pt x="442" y="870"/>
                  </a:lnTo>
                  <a:lnTo>
                    <a:pt x="442" y="870"/>
                  </a:lnTo>
                  <a:lnTo>
                    <a:pt x="440" y="870"/>
                  </a:lnTo>
                  <a:lnTo>
                    <a:pt x="440" y="870"/>
                  </a:lnTo>
                  <a:lnTo>
                    <a:pt x="440" y="868"/>
                  </a:lnTo>
                  <a:lnTo>
                    <a:pt x="440" y="868"/>
                  </a:lnTo>
                  <a:lnTo>
                    <a:pt x="440" y="868"/>
                  </a:lnTo>
                  <a:lnTo>
                    <a:pt x="438" y="868"/>
                  </a:lnTo>
                  <a:lnTo>
                    <a:pt x="438" y="866"/>
                  </a:lnTo>
                  <a:lnTo>
                    <a:pt x="438" y="866"/>
                  </a:lnTo>
                  <a:lnTo>
                    <a:pt x="438" y="866"/>
                  </a:lnTo>
                  <a:lnTo>
                    <a:pt x="438" y="866"/>
                  </a:lnTo>
                  <a:lnTo>
                    <a:pt x="438" y="866"/>
                  </a:lnTo>
                  <a:lnTo>
                    <a:pt x="438" y="864"/>
                  </a:lnTo>
                  <a:lnTo>
                    <a:pt x="438" y="864"/>
                  </a:lnTo>
                  <a:lnTo>
                    <a:pt x="436" y="861"/>
                  </a:lnTo>
                  <a:lnTo>
                    <a:pt x="433" y="861"/>
                  </a:lnTo>
                  <a:lnTo>
                    <a:pt x="433" y="861"/>
                  </a:lnTo>
                  <a:lnTo>
                    <a:pt x="433" y="861"/>
                  </a:lnTo>
                  <a:lnTo>
                    <a:pt x="431" y="861"/>
                  </a:lnTo>
                  <a:lnTo>
                    <a:pt x="431" y="859"/>
                  </a:lnTo>
                  <a:lnTo>
                    <a:pt x="431" y="859"/>
                  </a:lnTo>
                  <a:lnTo>
                    <a:pt x="431" y="859"/>
                  </a:lnTo>
                  <a:lnTo>
                    <a:pt x="431" y="859"/>
                  </a:lnTo>
                  <a:lnTo>
                    <a:pt x="431" y="861"/>
                  </a:lnTo>
                  <a:lnTo>
                    <a:pt x="431" y="861"/>
                  </a:lnTo>
                  <a:lnTo>
                    <a:pt x="431" y="861"/>
                  </a:lnTo>
                  <a:lnTo>
                    <a:pt x="431" y="861"/>
                  </a:lnTo>
                  <a:lnTo>
                    <a:pt x="429" y="861"/>
                  </a:lnTo>
                  <a:lnTo>
                    <a:pt x="429" y="861"/>
                  </a:lnTo>
                  <a:lnTo>
                    <a:pt x="429" y="861"/>
                  </a:lnTo>
                  <a:lnTo>
                    <a:pt x="429" y="861"/>
                  </a:lnTo>
                  <a:lnTo>
                    <a:pt x="429" y="864"/>
                  </a:lnTo>
                  <a:lnTo>
                    <a:pt x="429" y="864"/>
                  </a:lnTo>
                  <a:lnTo>
                    <a:pt x="429" y="864"/>
                  </a:lnTo>
                  <a:lnTo>
                    <a:pt x="427" y="864"/>
                  </a:lnTo>
                  <a:lnTo>
                    <a:pt x="427" y="864"/>
                  </a:lnTo>
                  <a:lnTo>
                    <a:pt x="427" y="864"/>
                  </a:lnTo>
                  <a:lnTo>
                    <a:pt x="427" y="866"/>
                  </a:lnTo>
                  <a:lnTo>
                    <a:pt x="427" y="866"/>
                  </a:lnTo>
                  <a:lnTo>
                    <a:pt x="427" y="866"/>
                  </a:lnTo>
                  <a:lnTo>
                    <a:pt x="427" y="866"/>
                  </a:lnTo>
                  <a:lnTo>
                    <a:pt x="427" y="866"/>
                  </a:lnTo>
                  <a:lnTo>
                    <a:pt x="424" y="866"/>
                  </a:lnTo>
                  <a:lnTo>
                    <a:pt x="424" y="866"/>
                  </a:lnTo>
                  <a:lnTo>
                    <a:pt x="424" y="866"/>
                  </a:lnTo>
                  <a:lnTo>
                    <a:pt x="424" y="864"/>
                  </a:lnTo>
                  <a:lnTo>
                    <a:pt x="424" y="864"/>
                  </a:lnTo>
                  <a:lnTo>
                    <a:pt x="424" y="861"/>
                  </a:lnTo>
                  <a:lnTo>
                    <a:pt x="424" y="861"/>
                  </a:lnTo>
                  <a:lnTo>
                    <a:pt x="424" y="861"/>
                  </a:lnTo>
                  <a:lnTo>
                    <a:pt x="424" y="859"/>
                  </a:lnTo>
                  <a:lnTo>
                    <a:pt x="424" y="859"/>
                  </a:lnTo>
                  <a:lnTo>
                    <a:pt x="422" y="859"/>
                  </a:lnTo>
                  <a:lnTo>
                    <a:pt x="422" y="857"/>
                  </a:lnTo>
                  <a:lnTo>
                    <a:pt x="422" y="857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20" y="855"/>
                  </a:lnTo>
                  <a:lnTo>
                    <a:pt x="418" y="852"/>
                  </a:lnTo>
                  <a:lnTo>
                    <a:pt x="418" y="852"/>
                  </a:lnTo>
                  <a:lnTo>
                    <a:pt x="418" y="852"/>
                  </a:lnTo>
                  <a:lnTo>
                    <a:pt x="415" y="852"/>
                  </a:lnTo>
                  <a:lnTo>
                    <a:pt x="415" y="850"/>
                  </a:lnTo>
                  <a:lnTo>
                    <a:pt x="413" y="850"/>
                  </a:lnTo>
                  <a:lnTo>
                    <a:pt x="413" y="850"/>
                  </a:lnTo>
                  <a:lnTo>
                    <a:pt x="413" y="850"/>
                  </a:lnTo>
                  <a:lnTo>
                    <a:pt x="413" y="850"/>
                  </a:lnTo>
                  <a:lnTo>
                    <a:pt x="411" y="848"/>
                  </a:lnTo>
                  <a:lnTo>
                    <a:pt x="411" y="848"/>
                  </a:lnTo>
                  <a:lnTo>
                    <a:pt x="411" y="848"/>
                  </a:lnTo>
                  <a:lnTo>
                    <a:pt x="411" y="848"/>
                  </a:lnTo>
                  <a:lnTo>
                    <a:pt x="411" y="848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9" y="846"/>
                  </a:lnTo>
                  <a:lnTo>
                    <a:pt x="406" y="843"/>
                  </a:lnTo>
                  <a:lnTo>
                    <a:pt x="406" y="843"/>
                  </a:lnTo>
                  <a:lnTo>
                    <a:pt x="406" y="843"/>
                  </a:lnTo>
                  <a:lnTo>
                    <a:pt x="404" y="843"/>
                  </a:lnTo>
                  <a:lnTo>
                    <a:pt x="404" y="843"/>
                  </a:lnTo>
                  <a:lnTo>
                    <a:pt x="404" y="841"/>
                  </a:lnTo>
                  <a:lnTo>
                    <a:pt x="404" y="841"/>
                  </a:lnTo>
                  <a:lnTo>
                    <a:pt x="402" y="841"/>
                  </a:lnTo>
                  <a:lnTo>
                    <a:pt x="402" y="841"/>
                  </a:lnTo>
                  <a:lnTo>
                    <a:pt x="402" y="841"/>
                  </a:lnTo>
                  <a:lnTo>
                    <a:pt x="400" y="841"/>
                  </a:lnTo>
                  <a:lnTo>
                    <a:pt x="400" y="841"/>
                  </a:lnTo>
                  <a:lnTo>
                    <a:pt x="400" y="841"/>
                  </a:lnTo>
                  <a:lnTo>
                    <a:pt x="400" y="841"/>
                  </a:lnTo>
                  <a:lnTo>
                    <a:pt x="400" y="841"/>
                  </a:lnTo>
                  <a:lnTo>
                    <a:pt x="400" y="841"/>
                  </a:lnTo>
                  <a:lnTo>
                    <a:pt x="397" y="843"/>
                  </a:lnTo>
                  <a:lnTo>
                    <a:pt x="397" y="843"/>
                  </a:lnTo>
                  <a:lnTo>
                    <a:pt x="397" y="843"/>
                  </a:lnTo>
                  <a:lnTo>
                    <a:pt x="397" y="843"/>
                  </a:lnTo>
                  <a:lnTo>
                    <a:pt x="397" y="846"/>
                  </a:lnTo>
                  <a:lnTo>
                    <a:pt x="397" y="846"/>
                  </a:lnTo>
                  <a:lnTo>
                    <a:pt x="397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5" y="846"/>
                  </a:lnTo>
                  <a:lnTo>
                    <a:pt x="393" y="846"/>
                  </a:lnTo>
                  <a:lnTo>
                    <a:pt x="393" y="846"/>
                  </a:lnTo>
                  <a:lnTo>
                    <a:pt x="393" y="846"/>
                  </a:lnTo>
                  <a:lnTo>
                    <a:pt x="393" y="846"/>
                  </a:lnTo>
                  <a:lnTo>
                    <a:pt x="393" y="846"/>
                  </a:lnTo>
                  <a:lnTo>
                    <a:pt x="393" y="846"/>
                  </a:lnTo>
                  <a:lnTo>
                    <a:pt x="393" y="846"/>
                  </a:lnTo>
                  <a:lnTo>
                    <a:pt x="391" y="846"/>
                  </a:lnTo>
                  <a:lnTo>
                    <a:pt x="391" y="846"/>
                  </a:lnTo>
                  <a:lnTo>
                    <a:pt x="391" y="846"/>
                  </a:lnTo>
                  <a:lnTo>
                    <a:pt x="388" y="846"/>
                  </a:lnTo>
                  <a:lnTo>
                    <a:pt x="388" y="843"/>
                  </a:lnTo>
                  <a:lnTo>
                    <a:pt x="388" y="843"/>
                  </a:lnTo>
                  <a:lnTo>
                    <a:pt x="388" y="843"/>
                  </a:lnTo>
                  <a:lnTo>
                    <a:pt x="391" y="843"/>
                  </a:lnTo>
                  <a:lnTo>
                    <a:pt x="391" y="843"/>
                  </a:lnTo>
                  <a:lnTo>
                    <a:pt x="393" y="841"/>
                  </a:lnTo>
                  <a:lnTo>
                    <a:pt x="393" y="839"/>
                  </a:lnTo>
                  <a:lnTo>
                    <a:pt x="393" y="839"/>
                  </a:lnTo>
                  <a:lnTo>
                    <a:pt x="393" y="837"/>
                  </a:lnTo>
                  <a:lnTo>
                    <a:pt x="393" y="834"/>
                  </a:lnTo>
                  <a:lnTo>
                    <a:pt x="393" y="834"/>
                  </a:lnTo>
                  <a:lnTo>
                    <a:pt x="395" y="834"/>
                  </a:lnTo>
                  <a:lnTo>
                    <a:pt x="395" y="834"/>
                  </a:lnTo>
                  <a:lnTo>
                    <a:pt x="397" y="834"/>
                  </a:lnTo>
                  <a:lnTo>
                    <a:pt x="397" y="834"/>
                  </a:lnTo>
                  <a:lnTo>
                    <a:pt x="397" y="834"/>
                  </a:lnTo>
                  <a:lnTo>
                    <a:pt x="397" y="832"/>
                  </a:lnTo>
                  <a:lnTo>
                    <a:pt x="400" y="832"/>
                  </a:lnTo>
                  <a:lnTo>
                    <a:pt x="400" y="832"/>
                  </a:lnTo>
                  <a:lnTo>
                    <a:pt x="400" y="830"/>
                  </a:lnTo>
                  <a:lnTo>
                    <a:pt x="400" y="830"/>
                  </a:lnTo>
                  <a:lnTo>
                    <a:pt x="400" y="830"/>
                  </a:lnTo>
                  <a:lnTo>
                    <a:pt x="400" y="830"/>
                  </a:lnTo>
                  <a:lnTo>
                    <a:pt x="400" y="828"/>
                  </a:lnTo>
                  <a:lnTo>
                    <a:pt x="400" y="828"/>
                  </a:lnTo>
                  <a:lnTo>
                    <a:pt x="402" y="828"/>
                  </a:lnTo>
                  <a:lnTo>
                    <a:pt x="402" y="828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2" y="825"/>
                  </a:lnTo>
                  <a:lnTo>
                    <a:pt x="404" y="823"/>
                  </a:lnTo>
                  <a:lnTo>
                    <a:pt x="404" y="823"/>
                  </a:lnTo>
                  <a:lnTo>
                    <a:pt x="404" y="823"/>
                  </a:lnTo>
                  <a:lnTo>
                    <a:pt x="404" y="823"/>
                  </a:lnTo>
                  <a:lnTo>
                    <a:pt x="404" y="823"/>
                  </a:lnTo>
                  <a:lnTo>
                    <a:pt x="404" y="821"/>
                  </a:lnTo>
                  <a:lnTo>
                    <a:pt x="404" y="821"/>
                  </a:lnTo>
                  <a:lnTo>
                    <a:pt x="404" y="821"/>
                  </a:lnTo>
                  <a:lnTo>
                    <a:pt x="404" y="821"/>
                  </a:lnTo>
                  <a:lnTo>
                    <a:pt x="404" y="821"/>
                  </a:lnTo>
                  <a:lnTo>
                    <a:pt x="404" y="819"/>
                  </a:lnTo>
                  <a:lnTo>
                    <a:pt x="406" y="819"/>
                  </a:lnTo>
                  <a:lnTo>
                    <a:pt x="406" y="819"/>
                  </a:lnTo>
                  <a:lnTo>
                    <a:pt x="406" y="819"/>
                  </a:lnTo>
                  <a:lnTo>
                    <a:pt x="409" y="816"/>
                  </a:lnTo>
                  <a:lnTo>
                    <a:pt x="409" y="816"/>
                  </a:lnTo>
                  <a:lnTo>
                    <a:pt x="409" y="816"/>
                  </a:lnTo>
                  <a:lnTo>
                    <a:pt x="409" y="816"/>
                  </a:lnTo>
                  <a:lnTo>
                    <a:pt x="409" y="816"/>
                  </a:lnTo>
                  <a:lnTo>
                    <a:pt x="409" y="814"/>
                  </a:lnTo>
                  <a:lnTo>
                    <a:pt x="411" y="814"/>
                  </a:lnTo>
                  <a:lnTo>
                    <a:pt x="411" y="812"/>
                  </a:lnTo>
                  <a:lnTo>
                    <a:pt x="411" y="810"/>
                  </a:lnTo>
                  <a:lnTo>
                    <a:pt x="411" y="810"/>
                  </a:lnTo>
                  <a:lnTo>
                    <a:pt x="411" y="810"/>
                  </a:lnTo>
                  <a:lnTo>
                    <a:pt x="411" y="810"/>
                  </a:lnTo>
                  <a:lnTo>
                    <a:pt x="413" y="810"/>
                  </a:lnTo>
                  <a:lnTo>
                    <a:pt x="413" y="807"/>
                  </a:lnTo>
                  <a:lnTo>
                    <a:pt x="415" y="807"/>
                  </a:lnTo>
                  <a:lnTo>
                    <a:pt x="415" y="805"/>
                  </a:lnTo>
                  <a:lnTo>
                    <a:pt x="415" y="805"/>
                  </a:lnTo>
                  <a:lnTo>
                    <a:pt x="415" y="805"/>
                  </a:lnTo>
                  <a:lnTo>
                    <a:pt x="415" y="803"/>
                  </a:lnTo>
                  <a:lnTo>
                    <a:pt x="415" y="803"/>
                  </a:lnTo>
                  <a:lnTo>
                    <a:pt x="415" y="803"/>
                  </a:lnTo>
                  <a:lnTo>
                    <a:pt x="415" y="803"/>
                  </a:lnTo>
                  <a:lnTo>
                    <a:pt x="418" y="803"/>
                  </a:lnTo>
                  <a:lnTo>
                    <a:pt x="418" y="803"/>
                  </a:lnTo>
                  <a:lnTo>
                    <a:pt x="418" y="803"/>
                  </a:lnTo>
                  <a:lnTo>
                    <a:pt x="418" y="803"/>
                  </a:lnTo>
                  <a:lnTo>
                    <a:pt x="418" y="803"/>
                  </a:lnTo>
                  <a:lnTo>
                    <a:pt x="418" y="801"/>
                  </a:lnTo>
                  <a:lnTo>
                    <a:pt x="418" y="801"/>
                  </a:lnTo>
                  <a:lnTo>
                    <a:pt x="418" y="801"/>
                  </a:lnTo>
                  <a:lnTo>
                    <a:pt x="418" y="801"/>
                  </a:lnTo>
                  <a:lnTo>
                    <a:pt x="418" y="801"/>
                  </a:lnTo>
                  <a:lnTo>
                    <a:pt x="418" y="801"/>
                  </a:lnTo>
                  <a:lnTo>
                    <a:pt x="420" y="801"/>
                  </a:lnTo>
                  <a:lnTo>
                    <a:pt x="420" y="801"/>
                  </a:lnTo>
                  <a:lnTo>
                    <a:pt x="420" y="801"/>
                  </a:lnTo>
                  <a:lnTo>
                    <a:pt x="420" y="801"/>
                  </a:lnTo>
                  <a:lnTo>
                    <a:pt x="420" y="801"/>
                  </a:lnTo>
                  <a:lnTo>
                    <a:pt x="422" y="801"/>
                  </a:lnTo>
                  <a:lnTo>
                    <a:pt x="422" y="801"/>
                  </a:lnTo>
                  <a:lnTo>
                    <a:pt x="422" y="801"/>
                  </a:lnTo>
                  <a:lnTo>
                    <a:pt x="422" y="801"/>
                  </a:lnTo>
                  <a:lnTo>
                    <a:pt x="422" y="798"/>
                  </a:lnTo>
                  <a:lnTo>
                    <a:pt x="420" y="798"/>
                  </a:lnTo>
                  <a:lnTo>
                    <a:pt x="420" y="798"/>
                  </a:lnTo>
                  <a:lnTo>
                    <a:pt x="420" y="798"/>
                  </a:lnTo>
                  <a:lnTo>
                    <a:pt x="420" y="798"/>
                  </a:lnTo>
                  <a:lnTo>
                    <a:pt x="420" y="798"/>
                  </a:lnTo>
                  <a:lnTo>
                    <a:pt x="420" y="798"/>
                  </a:lnTo>
                  <a:lnTo>
                    <a:pt x="420" y="796"/>
                  </a:lnTo>
                  <a:lnTo>
                    <a:pt x="420" y="796"/>
                  </a:lnTo>
                  <a:lnTo>
                    <a:pt x="422" y="796"/>
                  </a:lnTo>
                  <a:lnTo>
                    <a:pt x="422" y="796"/>
                  </a:lnTo>
                  <a:lnTo>
                    <a:pt x="422" y="796"/>
                  </a:lnTo>
                  <a:lnTo>
                    <a:pt x="422" y="794"/>
                  </a:lnTo>
                  <a:lnTo>
                    <a:pt x="422" y="794"/>
                  </a:lnTo>
                  <a:lnTo>
                    <a:pt x="422" y="794"/>
                  </a:lnTo>
                  <a:lnTo>
                    <a:pt x="422" y="794"/>
                  </a:lnTo>
                  <a:lnTo>
                    <a:pt x="422" y="796"/>
                  </a:lnTo>
                  <a:lnTo>
                    <a:pt x="422" y="796"/>
                  </a:lnTo>
                  <a:lnTo>
                    <a:pt x="422" y="796"/>
                  </a:lnTo>
                  <a:lnTo>
                    <a:pt x="422" y="796"/>
                  </a:lnTo>
                  <a:lnTo>
                    <a:pt x="422" y="796"/>
                  </a:lnTo>
                  <a:lnTo>
                    <a:pt x="422" y="794"/>
                  </a:lnTo>
                  <a:lnTo>
                    <a:pt x="422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4" y="794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92"/>
                  </a:lnTo>
                  <a:lnTo>
                    <a:pt x="427" y="789"/>
                  </a:lnTo>
                  <a:lnTo>
                    <a:pt x="427" y="789"/>
                  </a:lnTo>
                  <a:lnTo>
                    <a:pt x="427" y="789"/>
                  </a:lnTo>
                  <a:lnTo>
                    <a:pt x="427" y="789"/>
                  </a:lnTo>
                  <a:lnTo>
                    <a:pt x="429" y="789"/>
                  </a:lnTo>
                  <a:lnTo>
                    <a:pt x="429" y="789"/>
                  </a:lnTo>
                  <a:lnTo>
                    <a:pt x="429" y="789"/>
                  </a:lnTo>
                  <a:lnTo>
                    <a:pt x="429" y="789"/>
                  </a:lnTo>
                  <a:lnTo>
                    <a:pt x="429" y="789"/>
                  </a:lnTo>
                  <a:lnTo>
                    <a:pt x="429" y="789"/>
                  </a:lnTo>
                  <a:lnTo>
                    <a:pt x="429" y="789"/>
                  </a:lnTo>
                  <a:lnTo>
                    <a:pt x="431" y="789"/>
                  </a:lnTo>
                  <a:lnTo>
                    <a:pt x="431" y="789"/>
                  </a:lnTo>
                  <a:lnTo>
                    <a:pt x="431" y="789"/>
                  </a:lnTo>
                  <a:lnTo>
                    <a:pt x="431" y="789"/>
                  </a:lnTo>
                  <a:lnTo>
                    <a:pt x="431" y="787"/>
                  </a:lnTo>
                  <a:lnTo>
                    <a:pt x="431" y="787"/>
                  </a:lnTo>
                  <a:lnTo>
                    <a:pt x="431" y="787"/>
                  </a:lnTo>
                  <a:lnTo>
                    <a:pt x="431" y="787"/>
                  </a:lnTo>
                  <a:lnTo>
                    <a:pt x="433" y="787"/>
                  </a:lnTo>
                  <a:lnTo>
                    <a:pt x="433" y="787"/>
                  </a:lnTo>
                  <a:lnTo>
                    <a:pt x="433" y="787"/>
                  </a:lnTo>
                  <a:lnTo>
                    <a:pt x="433" y="787"/>
                  </a:lnTo>
                  <a:lnTo>
                    <a:pt x="431" y="787"/>
                  </a:lnTo>
                  <a:lnTo>
                    <a:pt x="431" y="787"/>
                  </a:lnTo>
                  <a:lnTo>
                    <a:pt x="431" y="787"/>
                  </a:lnTo>
                  <a:lnTo>
                    <a:pt x="431" y="787"/>
                  </a:lnTo>
                  <a:lnTo>
                    <a:pt x="433" y="787"/>
                  </a:lnTo>
                  <a:lnTo>
                    <a:pt x="433" y="787"/>
                  </a:lnTo>
                  <a:lnTo>
                    <a:pt x="433" y="787"/>
                  </a:lnTo>
                  <a:lnTo>
                    <a:pt x="433" y="785"/>
                  </a:lnTo>
                  <a:lnTo>
                    <a:pt x="436" y="785"/>
                  </a:lnTo>
                  <a:lnTo>
                    <a:pt x="436" y="785"/>
                  </a:lnTo>
                  <a:lnTo>
                    <a:pt x="436" y="785"/>
                  </a:lnTo>
                  <a:lnTo>
                    <a:pt x="436" y="783"/>
                  </a:lnTo>
                  <a:lnTo>
                    <a:pt x="436" y="783"/>
                  </a:lnTo>
                  <a:lnTo>
                    <a:pt x="436" y="783"/>
                  </a:lnTo>
                  <a:lnTo>
                    <a:pt x="436" y="783"/>
                  </a:lnTo>
                  <a:lnTo>
                    <a:pt x="436" y="783"/>
                  </a:lnTo>
                  <a:lnTo>
                    <a:pt x="436" y="783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6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38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80"/>
                  </a:lnTo>
                  <a:lnTo>
                    <a:pt x="440" y="778"/>
                  </a:lnTo>
                  <a:lnTo>
                    <a:pt x="440" y="778"/>
                  </a:lnTo>
                  <a:lnTo>
                    <a:pt x="440" y="778"/>
                  </a:lnTo>
                  <a:lnTo>
                    <a:pt x="440" y="778"/>
                  </a:lnTo>
                  <a:lnTo>
                    <a:pt x="440" y="778"/>
                  </a:lnTo>
                  <a:lnTo>
                    <a:pt x="440" y="778"/>
                  </a:lnTo>
                  <a:lnTo>
                    <a:pt x="440" y="778"/>
                  </a:lnTo>
                  <a:lnTo>
                    <a:pt x="442" y="780"/>
                  </a:lnTo>
                  <a:lnTo>
                    <a:pt x="442" y="780"/>
                  </a:lnTo>
                  <a:lnTo>
                    <a:pt x="442" y="780"/>
                  </a:lnTo>
                  <a:lnTo>
                    <a:pt x="442" y="780"/>
                  </a:lnTo>
                  <a:lnTo>
                    <a:pt x="442" y="778"/>
                  </a:lnTo>
                  <a:lnTo>
                    <a:pt x="442" y="778"/>
                  </a:lnTo>
                  <a:lnTo>
                    <a:pt x="442" y="778"/>
                  </a:lnTo>
                  <a:lnTo>
                    <a:pt x="442" y="778"/>
                  </a:lnTo>
                  <a:lnTo>
                    <a:pt x="442" y="778"/>
                  </a:lnTo>
                  <a:lnTo>
                    <a:pt x="442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5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8"/>
                  </a:lnTo>
                  <a:lnTo>
                    <a:pt x="447" y="776"/>
                  </a:lnTo>
                  <a:lnTo>
                    <a:pt x="447" y="776"/>
                  </a:lnTo>
                  <a:lnTo>
                    <a:pt x="447" y="776"/>
                  </a:lnTo>
                  <a:lnTo>
                    <a:pt x="447" y="776"/>
                  </a:lnTo>
                  <a:lnTo>
                    <a:pt x="447" y="776"/>
                  </a:lnTo>
                  <a:lnTo>
                    <a:pt x="449" y="774"/>
                  </a:lnTo>
                  <a:lnTo>
                    <a:pt x="449" y="774"/>
                  </a:lnTo>
                  <a:lnTo>
                    <a:pt x="449" y="774"/>
                  </a:lnTo>
                  <a:lnTo>
                    <a:pt x="449" y="774"/>
                  </a:lnTo>
                  <a:lnTo>
                    <a:pt x="449" y="774"/>
                  </a:lnTo>
                  <a:lnTo>
                    <a:pt x="449" y="776"/>
                  </a:lnTo>
                  <a:lnTo>
                    <a:pt x="449" y="776"/>
                  </a:lnTo>
                  <a:lnTo>
                    <a:pt x="451" y="774"/>
                  </a:lnTo>
                  <a:lnTo>
                    <a:pt x="451" y="774"/>
                  </a:lnTo>
                  <a:lnTo>
                    <a:pt x="451" y="771"/>
                  </a:lnTo>
                  <a:lnTo>
                    <a:pt x="451" y="771"/>
                  </a:lnTo>
                  <a:lnTo>
                    <a:pt x="451" y="771"/>
                  </a:lnTo>
                  <a:lnTo>
                    <a:pt x="451" y="774"/>
                  </a:lnTo>
                  <a:lnTo>
                    <a:pt x="451" y="774"/>
                  </a:lnTo>
                  <a:lnTo>
                    <a:pt x="454" y="774"/>
                  </a:lnTo>
                  <a:lnTo>
                    <a:pt x="454" y="771"/>
                  </a:lnTo>
                  <a:lnTo>
                    <a:pt x="451" y="771"/>
                  </a:lnTo>
                  <a:lnTo>
                    <a:pt x="451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4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71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9"/>
                  </a:lnTo>
                  <a:lnTo>
                    <a:pt x="456" y="767"/>
                  </a:lnTo>
                  <a:lnTo>
                    <a:pt x="456" y="765"/>
                  </a:lnTo>
                  <a:lnTo>
                    <a:pt x="456" y="765"/>
                  </a:lnTo>
                  <a:lnTo>
                    <a:pt x="456" y="765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2"/>
                  </a:lnTo>
                  <a:lnTo>
                    <a:pt x="456" y="760"/>
                  </a:lnTo>
                  <a:lnTo>
                    <a:pt x="456" y="760"/>
                  </a:lnTo>
                  <a:lnTo>
                    <a:pt x="456" y="760"/>
                  </a:lnTo>
                  <a:lnTo>
                    <a:pt x="456" y="760"/>
                  </a:lnTo>
                  <a:lnTo>
                    <a:pt x="456" y="760"/>
                  </a:lnTo>
                  <a:lnTo>
                    <a:pt x="456" y="760"/>
                  </a:lnTo>
                  <a:lnTo>
                    <a:pt x="456" y="760"/>
                  </a:lnTo>
                  <a:lnTo>
                    <a:pt x="456" y="758"/>
                  </a:lnTo>
                  <a:lnTo>
                    <a:pt x="456" y="758"/>
                  </a:lnTo>
                  <a:lnTo>
                    <a:pt x="456" y="758"/>
                  </a:lnTo>
                  <a:lnTo>
                    <a:pt x="456" y="758"/>
                  </a:lnTo>
                  <a:lnTo>
                    <a:pt x="456" y="758"/>
                  </a:lnTo>
                  <a:lnTo>
                    <a:pt x="456" y="758"/>
                  </a:lnTo>
                  <a:lnTo>
                    <a:pt x="456" y="758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3"/>
                  </a:lnTo>
                  <a:lnTo>
                    <a:pt x="456" y="753"/>
                  </a:lnTo>
                  <a:lnTo>
                    <a:pt x="456" y="751"/>
                  </a:lnTo>
                  <a:lnTo>
                    <a:pt x="456" y="751"/>
                  </a:lnTo>
                  <a:lnTo>
                    <a:pt x="456" y="749"/>
                  </a:lnTo>
                  <a:lnTo>
                    <a:pt x="456" y="749"/>
                  </a:lnTo>
                  <a:lnTo>
                    <a:pt x="454" y="747"/>
                  </a:lnTo>
                  <a:lnTo>
                    <a:pt x="454" y="747"/>
                  </a:lnTo>
                  <a:lnTo>
                    <a:pt x="454" y="747"/>
                  </a:lnTo>
                  <a:lnTo>
                    <a:pt x="454" y="744"/>
                  </a:lnTo>
                  <a:lnTo>
                    <a:pt x="454" y="744"/>
                  </a:lnTo>
                  <a:lnTo>
                    <a:pt x="454" y="744"/>
                  </a:lnTo>
                  <a:lnTo>
                    <a:pt x="454" y="744"/>
                  </a:lnTo>
                  <a:lnTo>
                    <a:pt x="451" y="744"/>
                  </a:lnTo>
                  <a:lnTo>
                    <a:pt x="451" y="742"/>
                  </a:lnTo>
                  <a:lnTo>
                    <a:pt x="451" y="742"/>
                  </a:lnTo>
                  <a:lnTo>
                    <a:pt x="451" y="742"/>
                  </a:lnTo>
                  <a:lnTo>
                    <a:pt x="451" y="742"/>
                  </a:lnTo>
                  <a:lnTo>
                    <a:pt x="451" y="742"/>
                  </a:lnTo>
                  <a:lnTo>
                    <a:pt x="451" y="740"/>
                  </a:lnTo>
                  <a:lnTo>
                    <a:pt x="451" y="740"/>
                  </a:lnTo>
                  <a:lnTo>
                    <a:pt x="451" y="740"/>
                  </a:lnTo>
                  <a:lnTo>
                    <a:pt x="451" y="738"/>
                  </a:lnTo>
                  <a:lnTo>
                    <a:pt x="451" y="738"/>
                  </a:lnTo>
                  <a:lnTo>
                    <a:pt x="451" y="738"/>
                  </a:lnTo>
                  <a:lnTo>
                    <a:pt x="449" y="738"/>
                  </a:lnTo>
                  <a:lnTo>
                    <a:pt x="449" y="738"/>
                  </a:lnTo>
                  <a:lnTo>
                    <a:pt x="449" y="738"/>
                  </a:lnTo>
                  <a:lnTo>
                    <a:pt x="449" y="738"/>
                  </a:lnTo>
                  <a:lnTo>
                    <a:pt x="449" y="738"/>
                  </a:lnTo>
                  <a:lnTo>
                    <a:pt x="449" y="735"/>
                  </a:lnTo>
                  <a:lnTo>
                    <a:pt x="449" y="735"/>
                  </a:lnTo>
                  <a:lnTo>
                    <a:pt x="449" y="735"/>
                  </a:lnTo>
                  <a:lnTo>
                    <a:pt x="449" y="735"/>
                  </a:lnTo>
                  <a:lnTo>
                    <a:pt x="449" y="735"/>
                  </a:lnTo>
                  <a:lnTo>
                    <a:pt x="447" y="735"/>
                  </a:lnTo>
                  <a:lnTo>
                    <a:pt x="447" y="735"/>
                  </a:lnTo>
                  <a:lnTo>
                    <a:pt x="447" y="735"/>
                  </a:lnTo>
                  <a:lnTo>
                    <a:pt x="447" y="733"/>
                  </a:lnTo>
                  <a:lnTo>
                    <a:pt x="447" y="733"/>
                  </a:lnTo>
                  <a:lnTo>
                    <a:pt x="447" y="733"/>
                  </a:lnTo>
                  <a:lnTo>
                    <a:pt x="447" y="733"/>
                  </a:lnTo>
                  <a:lnTo>
                    <a:pt x="447" y="733"/>
                  </a:lnTo>
                  <a:lnTo>
                    <a:pt x="447" y="733"/>
                  </a:lnTo>
                  <a:lnTo>
                    <a:pt x="447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5"/>
                  </a:lnTo>
                  <a:lnTo>
                    <a:pt x="445" y="735"/>
                  </a:lnTo>
                  <a:lnTo>
                    <a:pt x="445" y="735"/>
                  </a:lnTo>
                  <a:lnTo>
                    <a:pt x="445" y="735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5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2" y="735"/>
                  </a:lnTo>
                  <a:lnTo>
                    <a:pt x="442" y="735"/>
                  </a:lnTo>
                  <a:lnTo>
                    <a:pt x="442" y="735"/>
                  </a:lnTo>
                  <a:lnTo>
                    <a:pt x="442" y="733"/>
                  </a:lnTo>
                  <a:lnTo>
                    <a:pt x="442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3"/>
                  </a:lnTo>
                  <a:lnTo>
                    <a:pt x="440" y="735"/>
                  </a:lnTo>
                  <a:lnTo>
                    <a:pt x="440" y="735"/>
                  </a:lnTo>
                  <a:lnTo>
                    <a:pt x="440" y="735"/>
                  </a:lnTo>
                  <a:lnTo>
                    <a:pt x="440" y="735"/>
                  </a:lnTo>
                  <a:lnTo>
                    <a:pt x="440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8"/>
                  </a:lnTo>
                  <a:lnTo>
                    <a:pt x="438" y="738"/>
                  </a:lnTo>
                  <a:lnTo>
                    <a:pt x="438" y="738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8" y="735"/>
                  </a:lnTo>
                  <a:lnTo>
                    <a:pt x="436" y="735"/>
                  </a:lnTo>
                  <a:lnTo>
                    <a:pt x="436" y="735"/>
                  </a:lnTo>
                  <a:lnTo>
                    <a:pt x="436" y="735"/>
                  </a:lnTo>
                  <a:lnTo>
                    <a:pt x="436" y="733"/>
                  </a:lnTo>
                  <a:lnTo>
                    <a:pt x="436" y="733"/>
                  </a:lnTo>
                  <a:lnTo>
                    <a:pt x="436" y="733"/>
                  </a:lnTo>
                  <a:lnTo>
                    <a:pt x="436" y="733"/>
                  </a:lnTo>
                  <a:lnTo>
                    <a:pt x="436" y="733"/>
                  </a:lnTo>
                  <a:lnTo>
                    <a:pt x="436" y="733"/>
                  </a:lnTo>
                  <a:lnTo>
                    <a:pt x="436" y="733"/>
                  </a:lnTo>
                  <a:lnTo>
                    <a:pt x="436" y="731"/>
                  </a:lnTo>
                  <a:lnTo>
                    <a:pt x="436" y="731"/>
                  </a:lnTo>
                  <a:lnTo>
                    <a:pt x="433" y="731"/>
                  </a:lnTo>
                  <a:lnTo>
                    <a:pt x="433" y="731"/>
                  </a:lnTo>
                  <a:lnTo>
                    <a:pt x="436" y="731"/>
                  </a:lnTo>
                  <a:lnTo>
                    <a:pt x="436" y="729"/>
                  </a:lnTo>
                  <a:lnTo>
                    <a:pt x="436" y="729"/>
                  </a:lnTo>
                  <a:lnTo>
                    <a:pt x="436" y="729"/>
                  </a:lnTo>
                  <a:lnTo>
                    <a:pt x="436" y="726"/>
                  </a:lnTo>
                  <a:lnTo>
                    <a:pt x="436" y="726"/>
                  </a:lnTo>
                  <a:lnTo>
                    <a:pt x="438" y="724"/>
                  </a:lnTo>
                  <a:lnTo>
                    <a:pt x="438" y="724"/>
                  </a:lnTo>
                  <a:lnTo>
                    <a:pt x="438" y="724"/>
                  </a:lnTo>
                  <a:lnTo>
                    <a:pt x="438" y="724"/>
                  </a:lnTo>
                  <a:lnTo>
                    <a:pt x="438" y="722"/>
                  </a:lnTo>
                  <a:lnTo>
                    <a:pt x="436" y="722"/>
                  </a:lnTo>
                  <a:lnTo>
                    <a:pt x="436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8" y="715"/>
                  </a:lnTo>
                  <a:lnTo>
                    <a:pt x="438" y="715"/>
                  </a:lnTo>
                  <a:lnTo>
                    <a:pt x="438" y="715"/>
                  </a:lnTo>
                  <a:lnTo>
                    <a:pt x="438" y="711"/>
                  </a:lnTo>
                  <a:lnTo>
                    <a:pt x="438" y="711"/>
                  </a:lnTo>
                  <a:lnTo>
                    <a:pt x="438" y="708"/>
                  </a:lnTo>
                  <a:lnTo>
                    <a:pt x="438" y="708"/>
                  </a:lnTo>
                  <a:lnTo>
                    <a:pt x="438" y="708"/>
                  </a:lnTo>
                  <a:lnTo>
                    <a:pt x="438" y="706"/>
                  </a:lnTo>
                  <a:lnTo>
                    <a:pt x="438" y="706"/>
                  </a:lnTo>
                  <a:lnTo>
                    <a:pt x="440" y="704"/>
                  </a:lnTo>
                  <a:lnTo>
                    <a:pt x="440" y="704"/>
                  </a:lnTo>
                  <a:lnTo>
                    <a:pt x="438" y="704"/>
                  </a:lnTo>
                  <a:lnTo>
                    <a:pt x="438" y="704"/>
                  </a:lnTo>
                  <a:lnTo>
                    <a:pt x="438" y="702"/>
                  </a:lnTo>
                  <a:lnTo>
                    <a:pt x="438" y="702"/>
                  </a:lnTo>
                  <a:lnTo>
                    <a:pt x="438" y="702"/>
                  </a:lnTo>
                  <a:lnTo>
                    <a:pt x="438" y="699"/>
                  </a:lnTo>
                  <a:lnTo>
                    <a:pt x="438" y="699"/>
                  </a:lnTo>
                  <a:lnTo>
                    <a:pt x="438" y="699"/>
                  </a:lnTo>
                  <a:lnTo>
                    <a:pt x="438" y="699"/>
                  </a:lnTo>
                  <a:lnTo>
                    <a:pt x="438" y="697"/>
                  </a:lnTo>
                  <a:lnTo>
                    <a:pt x="438" y="697"/>
                  </a:lnTo>
                  <a:lnTo>
                    <a:pt x="438" y="697"/>
                  </a:lnTo>
                  <a:lnTo>
                    <a:pt x="436" y="697"/>
                  </a:lnTo>
                  <a:lnTo>
                    <a:pt x="436" y="695"/>
                  </a:lnTo>
                  <a:lnTo>
                    <a:pt x="433" y="695"/>
                  </a:lnTo>
                  <a:lnTo>
                    <a:pt x="431" y="693"/>
                  </a:lnTo>
                  <a:lnTo>
                    <a:pt x="431" y="693"/>
                  </a:lnTo>
                  <a:lnTo>
                    <a:pt x="429" y="693"/>
                  </a:lnTo>
                  <a:lnTo>
                    <a:pt x="429" y="693"/>
                  </a:lnTo>
                  <a:lnTo>
                    <a:pt x="429" y="693"/>
                  </a:lnTo>
                  <a:lnTo>
                    <a:pt x="427" y="693"/>
                  </a:lnTo>
                  <a:lnTo>
                    <a:pt x="424" y="695"/>
                  </a:lnTo>
                  <a:lnTo>
                    <a:pt x="424" y="695"/>
                  </a:lnTo>
                  <a:lnTo>
                    <a:pt x="424" y="695"/>
                  </a:lnTo>
                  <a:lnTo>
                    <a:pt x="424" y="695"/>
                  </a:lnTo>
                  <a:lnTo>
                    <a:pt x="424" y="695"/>
                  </a:lnTo>
                  <a:lnTo>
                    <a:pt x="422" y="695"/>
                  </a:lnTo>
                  <a:lnTo>
                    <a:pt x="422" y="695"/>
                  </a:lnTo>
                  <a:lnTo>
                    <a:pt x="422" y="697"/>
                  </a:lnTo>
                  <a:lnTo>
                    <a:pt x="420" y="697"/>
                  </a:lnTo>
                  <a:lnTo>
                    <a:pt x="420" y="697"/>
                  </a:lnTo>
                  <a:lnTo>
                    <a:pt x="420" y="697"/>
                  </a:lnTo>
                  <a:lnTo>
                    <a:pt x="420" y="697"/>
                  </a:lnTo>
                  <a:lnTo>
                    <a:pt x="420" y="697"/>
                  </a:lnTo>
                  <a:lnTo>
                    <a:pt x="420" y="697"/>
                  </a:lnTo>
                  <a:lnTo>
                    <a:pt x="420" y="697"/>
                  </a:lnTo>
                  <a:lnTo>
                    <a:pt x="418" y="697"/>
                  </a:lnTo>
                  <a:lnTo>
                    <a:pt x="418" y="697"/>
                  </a:lnTo>
                  <a:lnTo>
                    <a:pt x="418" y="697"/>
                  </a:lnTo>
                  <a:lnTo>
                    <a:pt x="418" y="697"/>
                  </a:lnTo>
                  <a:lnTo>
                    <a:pt x="418" y="697"/>
                  </a:lnTo>
                  <a:lnTo>
                    <a:pt x="418" y="697"/>
                  </a:lnTo>
                  <a:lnTo>
                    <a:pt x="418" y="697"/>
                  </a:lnTo>
                  <a:lnTo>
                    <a:pt x="415" y="697"/>
                  </a:lnTo>
                  <a:lnTo>
                    <a:pt x="415" y="695"/>
                  </a:lnTo>
                  <a:lnTo>
                    <a:pt x="415" y="695"/>
                  </a:lnTo>
                  <a:lnTo>
                    <a:pt x="413" y="695"/>
                  </a:lnTo>
                  <a:lnTo>
                    <a:pt x="413" y="690"/>
                  </a:lnTo>
                  <a:lnTo>
                    <a:pt x="413" y="688"/>
                  </a:lnTo>
                  <a:lnTo>
                    <a:pt x="411" y="688"/>
                  </a:lnTo>
                  <a:lnTo>
                    <a:pt x="411" y="686"/>
                  </a:lnTo>
                  <a:lnTo>
                    <a:pt x="411" y="686"/>
                  </a:lnTo>
                  <a:lnTo>
                    <a:pt x="411" y="686"/>
                  </a:lnTo>
                  <a:lnTo>
                    <a:pt x="411" y="684"/>
                  </a:lnTo>
                  <a:lnTo>
                    <a:pt x="411" y="684"/>
                  </a:lnTo>
                  <a:lnTo>
                    <a:pt x="411" y="681"/>
                  </a:lnTo>
                  <a:lnTo>
                    <a:pt x="411" y="681"/>
                  </a:lnTo>
                  <a:lnTo>
                    <a:pt x="411" y="681"/>
                  </a:lnTo>
                  <a:lnTo>
                    <a:pt x="411" y="681"/>
                  </a:lnTo>
                  <a:lnTo>
                    <a:pt x="411" y="679"/>
                  </a:lnTo>
                  <a:lnTo>
                    <a:pt x="411" y="679"/>
                  </a:lnTo>
                  <a:lnTo>
                    <a:pt x="411" y="679"/>
                  </a:lnTo>
                  <a:lnTo>
                    <a:pt x="411" y="679"/>
                  </a:lnTo>
                  <a:lnTo>
                    <a:pt x="411" y="677"/>
                  </a:lnTo>
                  <a:lnTo>
                    <a:pt x="409" y="677"/>
                  </a:lnTo>
                  <a:lnTo>
                    <a:pt x="409" y="675"/>
                  </a:lnTo>
                  <a:lnTo>
                    <a:pt x="409" y="675"/>
                  </a:lnTo>
                  <a:lnTo>
                    <a:pt x="409" y="675"/>
                  </a:lnTo>
                  <a:lnTo>
                    <a:pt x="409" y="675"/>
                  </a:lnTo>
                  <a:lnTo>
                    <a:pt x="409" y="675"/>
                  </a:lnTo>
                  <a:lnTo>
                    <a:pt x="409" y="672"/>
                  </a:lnTo>
                  <a:lnTo>
                    <a:pt x="409" y="672"/>
                  </a:lnTo>
                  <a:lnTo>
                    <a:pt x="409" y="672"/>
                  </a:lnTo>
                  <a:lnTo>
                    <a:pt x="409" y="672"/>
                  </a:lnTo>
                  <a:lnTo>
                    <a:pt x="409" y="670"/>
                  </a:lnTo>
                  <a:lnTo>
                    <a:pt x="406" y="670"/>
                  </a:lnTo>
                  <a:lnTo>
                    <a:pt x="406" y="668"/>
                  </a:lnTo>
                  <a:lnTo>
                    <a:pt x="406" y="668"/>
                  </a:lnTo>
                  <a:lnTo>
                    <a:pt x="406" y="668"/>
                  </a:lnTo>
                  <a:lnTo>
                    <a:pt x="409" y="666"/>
                  </a:lnTo>
                  <a:lnTo>
                    <a:pt x="409" y="666"/>
                  </a:lnTo>
                  <a:lnTo>
                    <a:pt x="406" y="666"/>
                  </a:lnTo>
                  <a:lnTo>
                    <a:pt x="406" y="666"/>
                  </a:lnTo>
                  <a:lnTo>
                    <a:pt x="406" y="666"/>
                  </a:lnTo>
                  <a:lnTo>
                    <a:pt x="406" y="666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6" y="663"/>
                  </a:lnTo>
                  <a:lnTo>
                    <a:pt x="404" y="663"/>
                  </a:lnTo>
                  <a:lnTo>
                    <a:pt x="404" y="661"/>
                  </a:lnTo>
                  <a:lnTo>
                    <a:pt x="404" y="661"/>
                  </a:lnTo>
                  <a:lnTo>
                    <a:pt x="404" y="659"/>
                  </a:lnTo>
                  <a:lnTo>
                    <a:pt x="404" y="659"/>
                  </a:lnTo>
                  <a:lnTo>
                    <a:pt x="404" y="659"/>
                  </a:lnTo>
                  <a:lnTo>
                    <a:pt x="402" y="657"/>
                  </a:lnTo>
                  <a:lnTo>
                    <a:pt x="402" y="657"/>
                  </a:lnTo>
                  <a:lnTo>
                    <a:pt x="402" y="657"/>
                  </a:lnTo>
                  <a:lnTo>
                    <a:pt x="402" y="657"/>
                  </a:lnTo>
                  <a:lnTo>
                    <a:pt x="402" y="657"/>
                  </a:lnTo>
                  <a:lnTo>
                    <a:pt x="400" y="657"/>
                  </a:lnTo>
                  <a:lnTo>
                    <a:pt x="400" y="657"/>
                  </a:lnTo>
                  <a:lnTo>
                    <a:pt x="400" y="657"/>
                  </a:lnTo>
                  <a:lnTo>
                    <a:pt x="400" y="654"/>
                  </a:lnTo>
                  <a:lnTo>
                    <a:pt x="400" y="657"/>
                  </a:lnTo>
                  <a:lnTo>
                    <a:pt x="397" y="657"/>
                  </a:lnTo>
                  <a:lnTo>
                    <a:pt x="395" y="654"/>
                  </a:lnTo>
                  <a:lnTo>
                    <a:pt x="395" y="654"/>
                  </a:lnTo>
                  <a:lnTo>
                    <a:pt x="395" y="654"/>
                  </a:lnTo>
                  <a:lnTo>
                    <a:pt x="393" y="654"/>
                  </a:lnTo>
                  <a:lnTo>
                    <a:pt x="393" y="654"/>
                  </a:lnTo>
                  <a:lnTo>
                    <a:pt x="391" y="652"/>
                  </a:lnTo>
                  <a:lnTo>
                    <a:pt x="391" y="652"/>
                  </a:lnTo>
                  <a:lnTo>
                    <a:pt x="391" y="650"/>
                  </a:lnTo>
                  <a:lnTo>
                    <a:pt x="391" y="650"/>
                  </a:lnTo>
                  <a:lnTo>
                    <a:pt x="391" y="650"/>
                  </a:lnTo>
                  <a:lnTo>
                    <a:pt x="388" y="650"/>
                  </a:lnTo>
                  <a:lnTo>
                    <a:pt x="388" y="650"/>
                  </a:lnTo>
                  <a:lnTo>
                    <a:pt x="388" y="652"/>
                  </a:lnTo>
                  <a:lnTo>
                    <a:pt x="388" y="652"/>
                  </a:lnTo>
                  <a:lnTo>
                    <a:pt x="386" y="652"/>
                  </a:lnTo>
                  <a:lnTo>
                    <a:pt x="386" y="652"/>
                  </a:lnTo>
                  <a:lnTo>
                    <a:pt x="386" y="652"/>
                  </a:lnTo>
                  <a:lnTo>
                    <a:pt x="386" y="652"/>
                  </a:lnTo>
                  <a:lnTo>
                    <a:pt x="386" y="652"/>
                  </a:lnTo>
                  <a:lnTo>
                    <a:pt x="386" y="652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6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4" y="654"/>
                  </a:lnTo>
                  <a:lnTo>
                    <a:pt x="382" y="654"/>
                  </a:lnTo>
                  <a:lnTo>
                    <a:pt x="382" y="654"/>
                  </a:lnTo>
                  <a:lnTo>
                    <a:pt x="382" y="654"/>
                  </a:lnTo>
                  <a:lnTo>
                    <a:pt x="382" y="654"/>
                  </a:lnTo>
                  <a:lnTo>
                    <a:pt x="382" y="654"/>
                  </a:lnTo>
                  <a:lnTo>
                    <a:pt x="382" y="654"/>
                  </a:lnTo>
                  <a:lnTo>
                    <a:pt x="382" y="657"/>
                  </a:lnTo>
                  <a:lnTo>
                    <a:pt x="382" y="657"/>
                  </a:lnTo>
                  <a:lnTo>
                    <a:pt x="382" y="657"/>
                  </a:lnTo>
                  <a:lnTo>
                    <a:pt x="382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9" y="654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7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5" y="654"/>
                  </a:lnTo>
                  <a:lnTo>
                    <a:pt x="373" y="654"/>
                  </a:lnTo>
                  <a:lnTo>
                    <a:pt x="373" y="654"/>
                  </a:lnTo>
                  <a:lnTo>
                    <a:pt x="373" y="654"/>
                  </a:lnTo>
                  <a:lnTo>
                    <a:pt x="373" y="654"/>
                  </a:lnTo>
                  <a:lnTo>
                    <a:pt x="373" y="654"/>
                  </a:lnTo>
                  <a:lnTo>
                    <a:pt x="373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70" y="654"/>
                  </a:lnTo>
                  <a:lnTo>
                    <a:pt x="368" y="654"/>
                  </a:lnTo>
                  <a:lnTo>
                    <a:pt x="368" y="654"/>
                  </a:lnTo>
                  <a:lnTo>
                    <a:pt x="368" y="652"/>
                  </a:lnTo>
                  <a:lnTo>
                    <a:pt x="368" y="652"/>
                  </a:lnTo>
                  <a:lnTo>
                    <a:pt x="368" y="654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6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4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61" y="652"/>
                  </a:lnTo>
                  <a:lnTo>
                    <a:pt x="359" y="652"/>
                  </a:lnTo>
                  <a:lnTo>
                    <a:pt x="359" y="652"/>
                  </a:lnTo>
                  <a:lnTo>
                    <a:pt x="359" y="652"/>
                  </a:lnTo>
                  <a:lnTo>
                    <a:pt x="359" y="652"/>
                  </a:lnTo>
                  <a:lnTo>
                    <a:pt x="359" y="652"/>
                  </a:lnTo>
                  <a:lnTo>
                    <a:pt x="359" y="652"/>
                  </a:lnTo>
                  <a:lnTo>
                    <a:pt x="359" y="652"/>
                  </a:lnTo>
                  <a:lnTo>
                    <a:pt x="357" y="650"/>
                  </a:lnTo>
                  <a:lnTo>
                    <a:pt x="357" y="650"/>
                  </a:lnTo>
                  <a:lnTo>
                    <a:pt x="357" y="650"/>
                  </a:lnTo>
                  <a:lnTo>
                    <a:pt x="357" y="650"/>
                  </a:lnTo>
                  <a:lnTo>
                    <a:pt x="357" y="650"/>
                  </a:lnTo>
                  <a:lnTo>
                    <a:pt x="357" y="650"/>
                  </a:lnTo>
                  <a:lnTo>
                    <a:pt x="357" y="648"/>
                  </a:lnTo>
                  <a:lnTo>
                    <a:pt x="357" y="648"/>
                  </a:lnTo>
                  <a:lnTo>
                    <a:pt x="357" y="648"/>
                  </a:lnTo>
                  <a:lnTo>
                    <a:pt x="359" y="648"/>
                  </a:lnTo>
                  <a:lnTo>
                    <a:pt x="359" y="648"/>
                  </a:lnTo>
                  <a:lnTo>
                    <a:pt x="359" y="645"/>
                  </a:lnTo>
                  <a:lnTo>
                    <a:pt x="357" y="645"/>
                  </a:lnTo>
                  <a:lnTo>
                    <a:pt x="357" y="645"/>
                  </a:lnTo>
                  <a:lnTo>
                    <a:pt x="357" y="645"/>
                  </a:lnTo>
                  <a:lnTo>
                    <a:pt x="357" y="645"/>
                  </a:lnTo>
                  <a:lnTo>
                    <a:pt x="357" y="643"/>
                  </a:lnTo>
                  <a:lnTo>
                    <a:pt x="357" y="643"/>
                  </a:lnTo>
                  <a:lnTo>
                    <a:pt x="357" y="643"/>
                  </a:lnTo>
                  <a:lnTo>
                    <a:pt x="359" y="641"/>
                  </a:lnTo>
                  <a:lnTo>
                    <a:pt x="359" y="641"/>
                  </a:lnTo>
                  <a:lnTo>
                    <a:pt x="359" y="641"/>
                  </a:lnTo>
                  <a:lnTo>
                    <a:pt x="357" y="641"/>
                  </a:lnTo>
                  <a:lnTo>
                    <a:pt x="357" y="641"/>
                  </a:lnTo>
                  <a:lnTo>
                    <a:pt x="357" y="641"/>
                  </a:lnTo>
                  <a:lnTo>
                    <a:pt x="357" y="639"/>
                  </a:lnTo>
                  <a:lnTo>
                    <a:pt x="357" y="639"/>
                  </a:lnTo>
                  <a:lnTo>
                    <a:pt x="357" y="639"/>
                  </a:lnTo>
                  <a:lnTo>
                    <a:pt x="357" y="639"/>
                  </a:lnTo>
                  <a:lnTo>
                    <a:pt x="357" y="639"/>
                  </a:lnTo>
                  <a:lnTo>
                    <a:pt x="357" y="639"/>
                  </a:lnTo>
                  <a:lnTo>
                    <a:pt x="357" y="636"/>
                  </a:lnTo>
                  <a:lnTo>
                    <a:pt x="357" y="636"/>
                  </a:lnTo>
                  <a:lnTo>
                    <a:pt x="357" y="636"/>
                  </a:lnTo>
                  <a:lnTo>
                    <a:pt x="359" y="634"/>
                  </a:lnTo>
                  <a:lnTo>
                    <a:pt x="359" y="632"/>
                  </a:lnTo>
                  <a:lnTo>
                    <a:pt x="359" y="632"/>
                  </a:lnTo>
                  <a:lnTo>
                    <a:pt x="357" y="632"/>
                  </a:lnTo>
                  <a:lnTo>
                    <a:pt x="357" y="632"/>
                  </a:lnTo>
                  <a:lnTo>
                    <a:pt x="357" y="632"/>
                  </a:lnTo>
                  <a:lnTo>
                    <a:pt x="357" y="632"/>
                  </a:lnTo>
                  <a:lnTo>
                    <a:pt x="357" y="632"/>
                  </a:lnTo>
                  <a:lnTo>
                    <a:pt x="357" y="632"/>
                  </a:lnTo>
                  <a:lnTo>
                    <a:pt x="357" y="632"/>
                  </a:lnTo>
                  <a:lnTo>
                    <a:pt x="359" y="632"/>
                  </a:lnTo>
                  <a:lnTo>
                    <a:pt x="359" y="630"/>
                  </a:lnTo>
                  <a:lnTo>
                    <a:pt x="359" y="630"/>
                  </a:lnTo>
                  <a:lnTo>
                    <a:pt x="359" y="627"/>
                  </a:lnTo>
                  <a:lnTo>
                    <a:pt x="359" y="627"/>
                  </a:lnTo>
                  <a:lnTo>
                    <a:pt x="357" y="625"/>
                  </a:lnTo>
                  <a:lnTo>
                    <a:pt x="357" y="625"/>
                  </a:lnTo>
                  <a:lnTo>
                    <a:pt x="359" y="625"/>
                  </a:lnTo>
                  <a:lnTo>
                    <a:pt x="359" y="625"/>
                  </a:lnTo>
                  <a:lnTo>
                    <a:pt x="359" y="623"/>
                  </a:lnTo>
                  <a:lnTo>
                    <a:pt x="359" y="623"/>
                  </a:lnTo>
                  <a:lnTo>
                    <a:pt x="359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3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5" y="621"/>
                  </a:lnTo>
                  <a:lnTo>
                    <a:pt x="357" y="621"/>
                  </a:lnTo>
                  <a:lnTo>
                    <a:pt x="357" y="621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8"/>
                  </a:lnTo>
                  <a:lnTo>
                    <a:pt x="357" y="616"/>
                  </a:lnTo>
                  <a:lnTo>
                    <a:pt x="355" y="616"/>
                  </a:lnTo>
                  <a:lnTo>
                    <a:pt x="355" y="616"/>
                  </a:lnTo>
                  <a:lnTo>
                    <a:pt x="355" y="618"/>
                  </a:lnTo>
                  <a:lnTo>
                    <a:pt x="355" y="618"/>
                  </a:lnTo>
                  <a:lnTo>
                    <a:pt x="355" y="618"/>
                  </a:lnTo>
                  <a:lnTo>
                    <a:pt x="355" y="618"/>
                  </a:lnTo>
                  <a:lnTo>
                    <a:pt x="355" y="618"/>
                  </a:lnTo>
                  <a:lnTo>
                    <a:pt x="355" y="616"/>
                  </a:lnTo>
                  <a:lnTo>
                    <a:pt x="355" y="616"/>
                  </a:lnTo>
                  <a:lnTo>
                    <a:pt x="355" y="616"/>
                  </a:lnTo>
                  <a:lnTo>
                    <a:pt x="355" y="616"/>
                  </a:lnTo>
                  <a:lnTo>
                    <a:pt x="355" y="616"/>
                  </a:lnTo>
                  <a:lnTo>
                    <a:pt x="355" y="616"/>
                  </a:lnTo>
                  <a:lnTo>
                    <a:pt x="355" y="614"/>
                  </a:lnTo>
                  <a:lnTo>
                    <a:pt x="355" y="614"/>
                  </a:lnTo>
                  <a:lnTo>
                    <a:pt x="355" y="614"/>
                  </a:lnTo>
                  <a:lnTo>
                    <a:pt x="355" y="614"/>
                  </a:lnTo>
                  <a:lnTo>
                    <a:pt x="355" y="612"/>
                  </a:lnTo>
                  <a:lnTo>
                    <a:pt x="355" y="612"/>
                  </a:lnTo>
                  <a:lnTo>
                    <a:pt x="355" y="612"/>
                  </a:lnTo>
                  <a:lnTo>
                    <a:pt x="355" y="612"/>
                  </a:lnTo>
                  <a:lnTo>
                    <a:pt x="352" y="612"/>
                  </a:lnTo>
                  <a:lnTo>
                    <a:pt x="352" y="612"/>
                  </a:lnTo>
                  <a:lnTo>
                    <a:pt x="352" y="612"/>
                  </a:lnTo>
                  <a:lnTo>
                    <a:pt x="352" y="609"/>
                  </a:lnTo>
                  <a:lnTo>
                    <a:pt x="352" y="609"/>
                  </a:lnTo>
                  <a:lnTo>
                    <a:pt x="352" y="609"/>
                  </a:lnTo>
                  <a:lnTo>
                    <a:pt x="352" y="609"/>
                  </a:lnTo>
                  <a:lnTo>
                    <a:pt x="352" y="607"/>
                  </a:lnTo>
                  <a:lnTo>
                    <a:pt x="352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7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0" y="605"/>
                  </a:lnTo>
                  <a:lnTo>
                    <a:pt x="352" y="605"/>
                  </a:lnTo>
                  <a:lnTo>
                    <a:pt x="352" y="603"/>
                  </a:lnTo>
                  <a:lnTo>
                    <a:pt x="352" y="603"/>
                  </a:lnTo>
                  <a:lnTo>
                    <a:pt x="352" y="603"/>
                  </a:lnTo>
                  <a:lnTo>
                    <a:pt x="352" y="603"/>
                  </a:lnTo>
                  <a:lnTo>
                    <a:pt x="352" y="603"/>
                  </a:lnTo>
                  <a:lnTo>
                    <a:pt x="352" y="603"/>
                  </a:lnTo>
                  <a:lnTo>
                    <a:pt x="352" y="603"/>
                  </a:lnTo>
                  <a:lnTo>
                    <a:pt x="355" y="603"/>
                  </a:lnTo>
                  <a:lnTo>
                    <a:pt x="355" y="603"/>
                  </a:lnTo>
                  <a:lnTo>
                    <a:pt x="355" y="603"/>
                  </a:lnTo>
                  <a:lnTo>
                    <a:pt x="355" y="603"/>
                  </a:lnTo>
                  <a:lnTo>
                    <a:pt x="355" y="600"/>
                  </a:lnTo>
                  <a:lnTo>
                    <a:pt x="355" y="600"/>
                  </a:lnTo>
                  <a:lnTo>
                    <a:pt x="355" y="600"/>
                  </a:lnTo>
                  <a:lnTo>
                    <a:pt x="352" y="598"/>
                  </a:lnTo>
                  <a:lnTo>
                    <a:pt x="352" y="596"/>
                  </a:lnTo>
                  <a:lnTo>
                    <a:pt x="350" y="596"/>
                  </a:lnTo>
                  <a:lnTo>
                    <a:pt x="350" y="594"/>
                  </a:lnTo>
                  <a:lnTo>
                    <a:pt x="350" y="594"/>
                  </a:lnTo>
                  <a:lnTo>
                    <a:pt x="350" y="591"/>
                  </a:lnTo>
                  <a:lnTo>
                    <a:pt x="350" y="591"/>
                  </a:lnTo>
                  <a:lnTo>
                    <a:pt x="350" y="589"/>
                  </a:lnTo>
                  <a:lnTo>
                    <a:pt x="352" y="589"/>
                  </a:lnTo>
                  <a:lnTo>
                    <a:pt x="352" y="589"/>
                  </a:lnTo>
                  <a:lnTo>
                    <a:pt x="352" y="589"/>
                  </a:lnTo>
                  <a:lnTo>
                    <a:pt x="352" y="589"/>
                  </a:lnTo>
                  <a:lnTo>
                    <a:pt x="352" y="587"/>
                  </a:lnTo>
                  <a:lnTo>
                    <a:pt x="352" y="585"/>
                  </a:lnTo>
                  <a:lnTo>
                    <a:pt x="355" y="582"/>
                  </a:lnTo>
                  <a:lnTo>
                    <a:pt x="355" y="580"/>
                  </a:lnTo>
                  <a:lnTo>
                    <a:pt x="355" y="578"/>
                  </a:lnTo>
                  <a:lnTo>
                    <a:pt x="355" y="578"/>
                  </a:lnTo>
                  <a:lnTo>
                    <a:pt x="357" y="578"/>
                  </a:lnTo>
                  <a:lnTo>
                    <a:pt x="357" y="578"/>
                  </a:lnTo>
                  <a:lnTo>
                    <a:pt x="357" y="576"/>
                  </a:lnTo>
                  <a:lnTo>
                    <a:pt x="357" y="576"/>
                  </a:lnTo>
                  <a:lnTo>
                    <a:pt x="357" y="576"/>
                  </a:lnTo>
                  <a:lnTo>
                    <a:pt x="355" y="576"/>
                  </a:lnTo>
                  <a:lnTo>
                    <a:pt x="355" y="573"/>
                  </a:lnTo>
                  <a:lnTo>
                    <a:pt x="357" y="571"/>
                  </a:lnTo>
                  <a:lnTo>
                    <a:pt x="357" y="567"/>
                  </a:lnTo>
                  <a:lnTo>
                    <a:pt x="357" y="564"/>
                  </a:lnTo>
                  <a:lnTo>
                    <a:pt x="357" y="560"/>
                  </a:lnTo>
                  <a:lnTo>
                    <a:pt x="359" y="560"/>
                  </a:lnTo>
                  <a:lnTo>
                    <a:pt x="359" y="560"/>
                  </a:lnTo>
                  <a:lnTo>
                    <a:pt x="359" y="560"/>
                  </a:lnTo>
                  <a:lnTo>
                    <a:pt x="359" y="560"/>
                  </a:lnTo>
                  <a:lnTo>
                    <a:pt x="359" y="558"/>
                  </a:lnTo>
                  <a:lnTo>
                    <a:pt x="359" y="558"/>
                  </a:lnTo>
                  <a:lnTo>
                    <a:pt x="359" y="558"/>
                  </a:lnTo>
                  <a:lnTo>
                    <a:pt x="359" y="558"/>
                  </a:lnTo>
                  <a:lnTo>
                    <a:pt x="359" y="558"/>
                  </a:lnTo>
                  <a:lnTo>
                    <a:pt x="357" y="555"/>
                  </a:lnTo>
                  <a:lnTo>
                    <a:pt x="357" y="553"/>
                  </a:lnTo>
                  <a:lnTo>
                    <a:pt x="355" y="551"/>
                  </a:lnTo>
                  <a:lnTo>
                    <a:pt x="355" y="551"/>
                  </a:lnTo>
                  <a:lnTo>
                    <a:pt x="355" y="549"/>
                  </a:lnTo>
                  <a:lnTo>
                    <a:pt x="355" y="549"/>
                  </a:lnTo>
                  <a:lnTo>
                    <a:pt x="355" y="549"/>
                  </a:lnTo>
                  <a:lnTo>
                    <a:pt x="355" y="549"/>
                  </a:lnTo>
                  <a:lnTo>
                    <a:pt x="355" y="546"/>
                  </a:lnTo>
                  <a:lnTo>
                    <a:pt x="352" y="546"/>
                  </a:lnTo>
                  <a:lnTo>
                    <a:pt x="352" y="546"/>
                  </a:lnTo>
                  <a:lnTo>
                    <a:pt x="352" y="546"/>
                  </a:lnTo>
                  <a:lnTo>
                    <a:pt x="352" y="546"/>
                  </a:lnTo>
                  <a:lnTo>
                    <a:pt x="352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2" y="544"/>
                  </a:lnTo>
                  <a:lnTo>
                    <a:pt x="352" y="544"/>
                  </a:lnTo>
                  <a:lnTo>
                    <a:pt x="352" y="542"/>
                  </a:lnTo>
                  <a:lnTo>
                    <a:pt x="352" y="542"/>
                  </a:lnTo>
                  <a:lnTo>
                    <a:pt x="352" y="542"/>
                  </a:lnTo>
                  <a:lnTo>
                    <a:pt x="350" y="542"/>
                  </a:lnTo>
                  <a:lnTo>
                    <a:pt x="350" y="542"/>
                  </a:lnTo>
                  <a:lnTo>
                    <a:pt x="350" y="542"/>
                  </a:lnTo>
                  <a:lnTo>
                    <a:pt x="350" y="542"/>
                  </a:lnTo>
                  <a:lnTo>
                    <a:pt x="348" y="542"/>
                  </a:lnTo>
                  <a:lnTo>
                    <a:pt x="348" y="542"/>
                  </a:lnTo>
                  <a:lnTo>
                    <a:pt x="348" y="542"/>
                  </a:lnTo>
                  <a:lnTo>
                    <a:pt x="346" y="540"/>
                  </a:lnTo>
                  <a:lnTo>
                    <a:pt x="346" y="540"/>
                  </a:lnTo>
                  <a:lnTo>
                    <a:pt x="346" y="540"/>
                  </a:lnTo>
                  <a:lnTo>
                    <a:pt x="346" y="540"/>
                  </a:lnTo>
                  <a:lnTo>
                    <a:pt x="346" y="540"/>
                  </a:lnTo>
                  <a:lnTo>
                    <a:pt x="343" y="540"/>
                  </a:lnTo>
                  <a:lnTo>
                    <a:pt x="343" y="540"/>
                  </a:lnTo>
                  <a:lnTo>
                    <a:pt x="343" y="540"/>
                  </a:lnTo>
                  <a:lnTo>
                    <a:pt x="343" y="540"/>
                  </a:lnTo>
                  <a:lnTo>
                    <a:pt x="343" y="540"/>
                  </a:lnTo>
                  <a:lnTo>
                    <a:pt x="343" y="538"/>
                  </a:lnTo>
                  <a:lnTo>
                    <a:pt x="343" y="538"/>
                  </a:lnTo>
                  <a:lnTo>
                    <a:pt x="343" y="538"/>
                  </a:lnTo>
                  <a:lnTo>
                    <a:pt x="341" y="538"/>
                  </a:lnTo>
                  <a:lnTo>
                    <a:pt x="341" y="538"/>
                  </a:lnTo>
                  <a:lnTo>
                    <a:pt x="341" y="538"/>
                  </a:lnTo>
                  <a:lnTo>
                    <a:pt x="341" y="538"/>
                  </a:lnTo>
                  <a:lnTo>
                    <a:pt x="341" y="538"/>
                  </a:lnTo>
                  <a:lnTo>
                    <a:pt x="341" y="538"/>
                  </a:lnTo>
                  <a:lnTo>
                    <a:pt x="341" y="538"/>
                  </a:lnTo>
                  <a:lnTo>
                    <a:pt x="339" y="535"/>
                  </a:lnTo>
                  <a:lnTo>
                    <a:pt x="339" y="535"/>
                  </a:lnTo>
                  <a:lnTo>
                    <a:pt x="339" y="535"/>
                  </a:lnTo>
                  <a:lnTo>
                    <a:pt x="339" y="533"/>
                  </a:lnTo>
                  <a:lnTo>
                    <a:pt x="339" y="533"/>
                  </a:lnTo>
                  <a:lnTo>
                    <a:pt x="339" y="531"/>
                  </a:lnTo>
                  <a:lnTo>
                    <a:pt x="339" y="531"/>
                  </a:lnTo>
                  <a:lnTo>
                    <a:pt x="337" y="529"/>
                  </a:lnTo>
                  <a:lnTo>
                    <a:pt x="337" y="529"/>
                  </a:lnTo>
                  <a:lnTo>
                    <a:pt x="337" y="529"/>
                  </a:lnTo>
                  <a:lnTo>
                    <a:pt x="337" y="526"/>
                  </a:lnTo>
                  <a:lnTo>
                    <a:pt x="337" y="526"/>
                  </a:lnTo>
                  <a:lnTo>
                    <a:pt x="337" y="526"/>
                  </a:lnTo>
                  <a:lnTo>
                    <a:pt x="337" y="526"/>
                  </a:lnTo>
                  <a:lnTo>
                    <a:pt x="337" y="526"/>
                  </a:lnTo>
                  <a:lnTo>
                    <a:pt x="337" y="524"/>
                  </a:lnTo>
                  <a:lnTo>
                    <a:pt x="337" y="524"/>
                  </a:lnTo>
                  <a:lnTo>
                    <a:pt x="337" y="522"/>
                  </a:lnTo>
                  <a:lnTo>
                    <a:pt x="337" y="522"/>
                  </a:lnTo>
                  <a:lnTo>
                    <a:pt x="337" y="522"/>
                  </a:lnTo>
                  <a:lnTo>
                    <a:pt x="339" y="517"/>
                  </a:lnTo>
                  <a:lnTo>
                    <a:pt x="339" y="517"/>
                  </a:lnTo>
                  <a:lnTo>
                    <a:pt x="339" y="517"/>
                  </a:lnTo>
                  <a:lnTo>
                    <a:pt x="339" y="515"/>
                  </a:lnTo>
                  <a:lnTo>
                    <a:pt x="339" y="515"/>
                  </a:lnTo>
                  <a:lnTo>
                    <a:pt x="339" y="515"/>
                  </a:lnTo>
                  <a:lnTo>
                    <a:pt x="339" y="513"/>
                  </a:lnTo>
                  <a:lnTo>
                    <a:pt x="339" y="513"/>
                  </a:lnTo>
                  <a:lnTo>
                    <a:pt x="337" y="513"/>
                  </a:lnTo>
                  <a:lnTo>
                    <a:pt x="337" y="513"/>
                  </a:lnTo>
                  <a:lnTo>
                    <a:pt x="337" y="513"/>
                  </a:lnTo>
                  <a:lnTo>
                    <a:pt x="337" y="513"/>
                  </a:lnTo>
                  <a:lnTo>
                    <a:pt x="337" y="513"/>
                  </a:lnTo>
                  <a:lnTo>
                    <a:pt x="337" y="513"/>
                  </a:lnTo>
                  <a:lnTo>
                    <a:pt x="334" y="513"/>
                  </a:lnTo>
                  <a:lnTo>
                    <a:pt x="330" y="513"/>
                  </a:lnTo>
                  <a:lnTo>
                    <a:pt x="325" y="513"/>
                  </a:lnTo>
                  <a:lnTo>
                    <a:pt x="323" y="513"/>
                  </a:lnTo>
                  <a:lnTo>
                    <a:pt x="319" y="513"/>
                  </a:lnTo>
                  <a:lnTo>
                    <a:pt x="314" y="513"/>
                  </a:lnTo>
                  <a:lnTo>
                    <a:pt x="310" y="513"/>
                  </a:lnTo>
                  <a:lnTo>
                    <a:pt x="307" y="513"/>
                  </a:lnTo>
                  <a:lnTo>
                    <a:pt x="303" y="513"/>
                  </a:lnTo>
                  <a:lnTo>
                    <a:pt x="301" y="513"/>
                  </a:lnTo>
                  <a:lnTo>
                    <a:pt x="301" y="513"/>
                  </a:lnTo>
                  <a:lnTo>
                    <a:pt x="301" y="511"/>
                  </a:lnTo>
                  <a:lnTo>
                    <a:pt x="301" y="508"/>
                  </a:lnTo>
                  <a:lnTo>
                    <a:pt x="299" y="506"/>
                  </a:lnTo>
                  <a:lnTo>
                    <a:pt x="299" y="502"/>
                  </a:lnTo>
                  <a:lnTo>
                    <a:pt x="299" y="497"/>
                  </a:lnTo>
                  <a:lnTo>
                    <a:pt x="299" y="495"/>
                  </a:lnTo>
                  <a:lnTo>
                    <a:pt x="299" y="493"/>
                  </a:lnTo>
                  <a:lnTo>
                    <a:pt x="296" y="493"/>
                  </a:lnTo>
                  <a:lnTo>
                    <a:pt x="294" y="490"/>
                  </a:lnTo>
                  <a:lnTo>
                    <a:pt x="292" y="488"/>
                  </a:lnTo>
                  <a:lnTo>
                    <a:pt x="292" y="486"/>
                  </a:lnTo>
                  <a:lnTo>
                    <a:pt x="290" y="484"/>
                  </a:lnTo>
                  <a:lnTo>
                    <a:pt x="294" y="484"/>
                  </a:lnTo>
                  <a:lnTo>
                    <a:pt x="296" y="484"/>
                  </a:lnTo>
                  <a:lnTo>
                    <a:pt x="296" y="484"/>
                  </a:lnTo>
                  <a:lnTo>
                    <a:pt x="296" y="484"/>
                  </a:lnTo>
                  <a:lnTo>
                    <a:pt x="296" y="481"/>
                  </a:lnTo>
                  <a:lnTo>
                    <a:pt x="296" y="479"/>
                  </a:lnTo>
                  <a:lnTo>
                    <a:pt x="296" y="477"/>
                  </a:lnTo>
                  <a:lnTo>
                    <a:pt x="296" y="475"/>
                  </a:lnTo>
                  <a:lnTo>
                    <a:pt x="294" y="472"/>
                  </a:lnTo>
                  <a:lnTo>
                    <a:pt x="294" y="472"/>
                  </a:lnTo>
                  <a:lnTo>
                    <a:pt x="294" y="472"/>
                  </a:lnTo>
                  <a:lnTo>
                    <a:pt x="294" y="472"/>
                  </a:lnTo>
                  <a:lnTo>
                    <a:pt x="294" y="470"/>
                  </a:lnTo>
                  <a:lnTo>
                    <a:pt x="294" y="470"/>
                  </a:lnTo>
                  <a:lnTo>
                    <a:pt x="294" y="468"/>
                  </a:lnTo>
                  <a:lnTo>
                    <a:pt x="292" y="468"/>
                  </a:lnTo>
                  <a:lnTo>
                    <a:pt x="292" y="466"/>
                  </a:lnTo>
                  <a:lnTo>
                    <a:pt x="292" y="466"/>
                  </a:lnTo>
                  <a:lnTo>
                    <a:pt x="292" y="466"/>
                  </a:lnTo>
                  <a:lnTo>
                    <a:pt x="292" y="463"/>
                  </a:lnTo>
                  <a:lnTo>
                    <a:pt x="292" y="463"/>
                  </a:lnTo>
                  <a:lnTo>
                    <a:pt x="292" y="463"/>
                  </a:lnTo>
                  <a:lnTo>
                    <a:pt x="290" y="463"/>
                  </a:lnTo>
                  <a:lnTo>
                    <a:pt x="290" y="463"/>
                  </a:lnTo>
                  <a:lnTo>
                    <a:pt x="290" y="461"/>
                  </a:lnTo>
                  <a:lnTo>
                    <a:pt x="290" y="461"/>
                  </a:lnTo>
                  <a:lnTo>
                    <a:pt x="290" y="461"/>
                  </a:lnTo>
                  <a:lnTo>
                    <a:pt x="292" y="461"/>
                  </a:lnTo>
                  <a:lnTo>
                    <a:pt x="292" y="461"/>
                  </a:lnTo>
                  <a:lnTo>
                    <a:pt x="292" y="461"/>
                  </a:lnTo>
                  <a:lnTo>
                    <a:pt x="292" y="459"/>
                  </a:lnTo>
                  <a:lnTo>
                    <a:pt x="292" y="459"/>
                  </a:lnTo>
                  <a:lnTo>
                    <a:pt x="292" y="459"/>
                  </a:lnTo>
                  <a:lnTo>
                    <a:pt x="292" y="459"/>
                  </a:lnTo>
                  <a:lnTo>
                    <a:pt x="292" y="459"/>
                  </a:lnTo>
                  <a:lnTo>
                    <a:pt x="292" y="457"/>
                  </a:lnTo>
                  <a:lnTo>
                    <a:pt x="292" y="457"/>
                  </a:lnTo>
                  <a:lnTo>
                    <a:pt x="292" y="457"/>
                  </a:lnTo>
                  <a:lnTo>
                    <a:pt x="292" y="457"/>
                  </a:lnTo>
                  <a:lnTo>
                    <a:pt x="292" y="457"/>
                  </a:lnTo>
                  <a:lnTo>
                    <a:pt x="292" y="457"/>
                  </a:lnTo>
                  <a:lnTo>
                    <a:pt x="292" y="457"/>
                  </a:lnTo>
                  <a:lnTo>
                    <a:pt x="290" y="457"/>
                  </a:lnTo>
                  <a:lnTo>
                    <a:pt x="290" y="454"/>
                  </a:lnTo>
                  <a:lnTo>
                    <a:pt x="290" y="454"/>
                  </a:lnTo>
                  <a:lnTo>
                    <a:pt x="290" y="454"/>
                  </a:lnTo>
                  <a:lnTo>
                    <a:pt x="290" y="454"/>
                  </a:lnTo>
                  <a:lnTo>
                    <a:pt x="290" y="454"/>
                  </a:lnTo>
                  <a:lnTo>
                    <a:pt x="287" y="452"/>
                  </a:lnTo>
                  <a:lnTo>
                    <a:pt x="287" y="452"/>
                  </a:lnTo>
                  <a:lnTo>
                    <a:pt x="287" y="452"/>
                  </a:lnTo>
                  <a:lnTo>
                    <a:pt x="287" y="452"/>
                  </a:lnTo>
                  <a:lnTo>
                    <a:pt x="287" y="452"/>
                  </a:lnTo>
                  <a:lnTo>
                    <a:pt x="287" y="452"/>
                  </a:lnTo>
                  <a:lnTo>
                    <a:pt x="287" y="452"/>
                  </a:lnTo>
                  <a:lnTo>
                    <a:pt x="285" y="452"/>
                  </a:lnTo>
                  <a:lnTo>
                    <a:pt x="283" y="450"/>
                  </a:lnTo>
                  <a:lnTo>
                    <a:pt x="281" y="448"/>
                  </a:lnTo>
                  <a:lnTo>
                    <a:pt x="281" y="448"/>
                  </a:lnTo>
                  <a:lnTo>
                    <a:pt x="281" y="448"/>
                  </a:lnTo>
                  <a:lnTo>
                    <a:pt x="281" y="448"/>
                  </a:lnTo>
                  <a:lnTo>
                    <a:pt x="278" y="448"/>
                  </a:lnTo>
                  <a:lnTo>
                    <a:pt x="278" y="448"/>
                  </a:lnTo>
                  <a:lnTo>
                    <a:pt x="278" y="448"/>
                  </a:lnTo>
                  <a:lnTo>
                    <a:pt x="278" y="445"/>
                  </a:lnTo>
                  <a:lnTo>
                    <a:pt x="278" y="445"/>
                  </a:lnTo>
                  <a:lnTo>
                    <a:pt x="278" y="445"/>
                  </a:lnTo>
                  <a:lnTo>
                    <a:pt x="276" y="445"/>
                  </a:lnTo>
                  <a:lnTo>
                    <a:pt x="276" y="445"/>
                  </a:lnTo>
                  <a:lnTo>
                    <a:pt x="276" y="445"/>
                  </a:lnTo>
                  <a:lnTo>
                    <a:pt x="276" y="445"/>
                  </a:lnTo>
                  <a:lnTo>
                    <a:pt x="276" y="448"/>
                  </a:lnTo>
                  <a:lnTo>
                    <a:pt x="276" y="448"/>
                  </a:lnTo>
                  <a:lnTo>
                    <a:pt x="274" y="448"/>
                  </a:lnTo>
                  <a:lnTo>
                    <a:pt x="274" y="448"/>
                  </a:lnTo>
                  <a:lnTo>
                    <a:pt x="274" y="448"/>
                  </a:lnTo>
                  <a:lnTo>
                    <a:pt x="274" y="448"/>
                  </a:lnTo>
                  <a:lnTo>
                    <a:pt x="274" y="448"/>
                  </a:lnTo>
                  <a:lnTo>
                    <a:pt x="272" y="448"/>
                  </a:lnTo>
                  <a:lnTo>
                    <a:pt x="272" y="445"/>
                  </a:lnTo>
                  <a:lnTo>
                    <a:pt x="272" y="445"/>
                  </a:lnTo>
                  <a:lnTo>
                    <a:pt x="269" y="448"/>
                  </a:lnTo>
                  <a:lnTo>
                    <a:pt x="269" y="448"/>
                  </a:lnTo>
                  <a:lnTo>
                    <a:pt x="267" y="448"/>
                  </a:lnTo>
                  <a:lnTo>
                    <a:pt x="267" y="448"/>
                  </a:lnTo>
                  <a:lnTo>
                    <a:pt x="267" y="448"/>
                  </a:lnTo>
                  <a:lnTo>
                    <a:pt x="267" y="448"/>
                  </a:lnTo>
                  <a:lnTo>
                    <a:pt x="267" y="448"/>
                  </a:lnTo>
                  <a:lnTo>
                    <a:pt x="265" y="448"/>
                  </a:lnTo>
                  <a:lnTo>
                    <a:pt x="265" y="448"/>
                  </a:lnTo>
                  <a:lnTo>
                    <a:pt x="263" y="448"/>
                  </a:lnTo>
                  <a:lnTo>
                    <a:pt x="263" y="448"/>
                  </a:lnTo>
                  <a:lnTo>
                    <a:pt x="263" y="448"/>
                  </a:lnTo>
                  <a:lnTo>
                    <a:pt x="263" y="448"/>
                  </a:lnTo>
                  <a:lnTo>
                    <a:pt x="263" y="448"/>
                  </a:lnTo>
                  <a:lnTo>
                    <a:pt x="263" y="448"/>
                  </a:lnTo>
                  <a:lnTo>
                    <a:pt x="260" y="448"/>
                  </a:lnTo>
                  <a:lnTo>
                    <a:pt x="260" y="448"/>
                  </a:lnTo>
                  <a:lnTo>
                    <a:pt x="260" y="445"/>
                  </a:lnTo>
                  <a:lnTo>
                    <a:pt x="260" y="445"/>
                  </a:lnTo>
                  <a:lnTo>
                    <a:pt x="260" y="445"/>
                  </a:lnTo>
                  <a:lnTo>
                    <a:pt x="260" y="445"/>
                  </a:lnTo>
                  <a:lnTo>
                    <a:pt x="260" y="445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8" y="443"/>
                  </a:lnTo>
                  <a:lnTo>
                    <a:pt x="256" y="443"/>
                  </a:lnTo>
                  <a:lnTo>
                    <a:pt x="256" y="441"/>
                  </a:lnTo>
                  <a:lnTo>
                    <a:pt x="256" y="441"/>
                  </a:lnTo>
                  <a:lnTo>
                    <a:pt x="256" y="441"/>
                  </a:lnTo>
                  <a:lnTo>
                    <a:pt x="256" y="441"/>
                  </a:lnTo>
                  <a:lnTo>
                    <a:pt x="256" y="439"/>
                  </a:lnTo>
                  <a:lnTo>
                    <a:pt x="256" y="439"/>
                  </a:lnTo>
                  <a:lnTo>
                    <a:pt x="254" y="439"/>
                  </a:lnTo>
                  <a:lnTo>
                    <a:pt x="254" y="439"/>
                  </a:lnTo>
                  <a:lnTo>
                    <a:pt x="254" y="439"/>
                  </a:lnTo>
                  <a:lnTo>
                    <a:pt x="254" y="436"/>
                  </a:lnTo>
                  <a:lnTo>
                    <a:pt x="254" y="436"/>
                  </a:lnTo>
                  <a:lnTo>
                    <a:pt x="254" y="439"/>
                  </a:lnTo>
                  <a:lnTo>
                    <a:pt x="254" y="436"/>
                  </a:lnTo>
                  <a:lnTo>
                    <a:pt x="254" y="436"/>
                  </a:lnTo>
                  <a:lnTo>
                    <a:pt x="254" y="436"/>
                  </a:lnTo>
                  <a:lnTo>
                    <a:pt x="251" y="439"/>
                  </a:lnTo>
                  <a:lnTo>
                    <a:pt x="251" y="439"/>
                  </a:lnTo>
                  <a:lnTo>
                    <a:pt x="251" y="439"/>
                  </a:lnTo>
                  <a:lnTo>
                    <a:pt x="251" y="439"/>
                  </a:lnTo>
                  <a:lnTo>
                    <a:pt x="251" y="439"/>
                  </a:lnTo>
                  <a:lnTo>
                    <a:pt x="249" y="439"/>
                  </a:lnTo>
                  <a:lnTo>
                    <a:pt x="249" y="439"/>
                  </a:lnTo>
                  <a:lnTo>
                    <a:pt x="249" y="439"/>
                  </a:lnTo>
                  <a:lnTo>
                    <a:pt x="249" y="439"/>
                  </a:lnTo>
                  <a:lnTo>
                    <a:pt x="249" y="439"/>
                  </a:lnTo>
                  <a:lnTo>
                    <a:pt x="249" y="439"/>
                  </a:lnTo>
                  <a:lnTo>
                    <a:pt x="249" y="439"/>
                  </a:lnTo>
                  <a:lnTo>
                    <a:pt x="249" y="436"/>
                  </a:lnTo>
                  <a:lnTo>
                    <a:pt x="249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7" y="436"/>
                  </a:lnTo>
                  <a:lnTo>
                    <a:pt x="245" y="436"/>
                  </a:lnTo>
                  <a:lnTo>
                    <a:pt x="245" y="436"/>
                  </a:lnTo>
                  <a:lnTo>
                    <a:pt x="245" y="434"/>
                  </a:lnTo>
                  <a:lnTo>
                    <a:pt x="245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2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40" y="434"/>
                  </a:lnTo>
                  <a:lnTo>
                    <a:pt x="238" y="434"/>
                  </a:lnTo>
                  <a:lnTo>
                    <a:pt x="238" y="434"/>
                  </a:lnTo>
                  <a:lnTo>
                    <a:pt x="238" y="432"/>
                  </a:lnTo>
                  <a:lnTo>
                    <a:pt x="238" y="432"/>
                  </a:lnTo>
                  <a:lnTo>
                    <a:pt x="238" y="432"/>
                  </a:lnTo>
                  <a:lnTo>
                    <a:pt x="238" y="432"/>
                  </a:lnTo>
                  <a:lnTo>
                    <a:pt x="238" y="432"/>
                  </a:lnTo>
                  <a:lnTo>
                    <a:pt x="238" y="432"/>
                  </a:lnTo>
                  <a:lnTo>
                    <a:pt x="238" y="432"/>
                  </a:lnTo>
                  <a:lnTo>
                    <a:pt x="236" y="432"/>
                  </a:lnTo>
                  <a:lnTo>
                    <a:pt x="236" y="432"/>
                  </a:lnTo>
                  <a:lnTo>
                    <a:pt x="236" y="432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6" y="430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6" y="427"/>
                  </a:lnTo>
                  <a:lnTo>
                    <a:pt x="233" y="427"/>
                  </a:lnTo>
                  <a:lnTo>
                    <a:pt x="233" y="427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1" y="425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31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9" y="427"/>
                  </a:lnTo>
                  <a:lnTo>
                    <a:pt x="227" y="427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7" y="425"/>
                  </a:lnTo>
                  <a:lnTo>
                    <a:pt x="224" y="425"/>
                  </a:lnTo>
                  <a:lnTo>
                    <a:pt x="224" y="423"/>
                  </a:lnTo>
                  <a:lnTo>
                    <a:pt x="224" y="423"/>
                  </a:lnTo>
                  <a:lnTo>
                    <a:pt x="224" y="423"/>
                  </a:lnTo>
                  <a:lnTo>
                    <a:pt x="224" y="423"/>
                  </a:lnTo>
                  <a:lnTo>
                    <a:pt x="224" y="423"/>
                  </a:lnTo>
                  <a:lnTo>
                    <a:pt x="222" y="423"/>
                  </a:lnTo>
                  <a:lnTo>
                    <a:pt x="222" y="423"/>
                  </a:lnTo>
                  <a:lnTo>
                    <a:pt x="222" y="423"/>
                  </a:lnTo>
                  <a:lnTo>
                    <a:pt x="218" y="421"/>
                  </a:lnTo>
                  <a:lnTo>
                    <a:pt x="218" y="421"/>
                  </a:lnTo>
                  <a:lnTo>
                    <a:pt x="218" y="423"/>
                  </a:lnTo>
                  <a:lnTo>
                    <a:pt x="218" y="423"/>
                  </a:lnTo>
                  <a:lnTo>
                    <a:pt x="218" y="423"/>
                  </a:lnTo>
                  <a:lnTo>
                    <a:pt x="218" y="423"/>
                  </a:lnTo>
                  <a:lnTo>
                    <a:pt x="218" y="423"/>
                  </a:lnTo>
                  <a:lnTo>
                    <a:pt x="215" y="423"/>
                  </a:lnTo>
                  <a:lnTo>
                    <a:pt x="215" y="423"/>
                  </a:lnTo>
                  <a:lnTo>
                    <a:pt x="215" y="423"/>
                  </a:lnTo>
                  <a:lnTo>
                    <a:pt x="215" y="423"/>
                  </a:lnTo>
                  <a:lnTo>
                    <a:pt x="215" y="423"/>
                  </a:lnTo>
                  <a:lnTo>
                    <a:pt x="215" y="423"/>
                  </a:lnTo>
                  <a:lnTo>
                    <a:pt x="215" y="423"/>
                  </a:lnTo>
                  <a:lnTo>
                    <a:pt x="213" y="423"/>
                  </a:lnTo>
                  <a:lnTo>
                    <a:pt x="213" y="423"/>
                  </a:lnTo>
                  <a:lnTo>
                    <a:pt x="213" y="423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11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3"/>
                  </a:lnTo>
                  <a:lnTo>
                    <a:pt x="209" y="421"/>
                  </a:lnTo>
                  <a:lnTo>
                    <a:pt x="206" y="423"/>
                  </a:lnTo>
                  <a:lnTo>
                    <a:pt x="206" y="423"/>
                  </a:lnTo>
                  <a:lnTo>
                    <a:pt x="206" y="421"/>
                  </a:lnTo>
                  <a:lnTo>
                    <a:pt x="206" y="421"/>
                  </a:lnTo>
                  <a:lnTo>
                    <a:pt x="206" y="421"/>
                  </a:lnTo>
                  <a:lnTo>
                    <a:pt x="206" y="421"/>
                  </a:lnTo>
                  <a:lnTo>
                    <a:pt x="204" y="421"/>
                  </a:lnTo>
                  <a:lnTo>
                    <a:pt x="204" y="421"/>
                  </a:lnTo>
                  <a:lnTo>
                    <a:pt x="204" y="421"/>
                  </a:lnTo>
                  <a:lnTo>
                    <a:pt x="204" y="421"/>
                  </a:lnTo>
                  <a:lnTo>
                    <a:pt x="204" y="421"/>
                  </a:lnTo>
                  <a:lnTo>
                    <a:pt x="204" y="418"/>
                  </a:lnTo>
                  <a:lnTo>
                    <a:pt x="204" y="418"/>
                  </a:lnTo>
                  <a:lnTo>
                    <a:pt x="204" y="418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4" y="416"/>
                  </a:lnTo>
                  <a:lnTo>
                    <a:pt x="202" y="416"/>
                  </a:lnTo>
                  <a:lnTo>
                    <a:pt x="202" y="416"/>
                  </a:lnTo>
                  <a:lnTo>
                    <a:pt x="202" y="416"/>
                  </a:lnTo>
                  <a:lnTo>
                    <a:pt x="202" y="416"/>
                  </a:lnTo>
                  <a:lnTo>
                    <a:pt x="200" y="416"/>
                  </a:lnTo>
                  <a:lnTo>
                    <a:pt x="200" y="416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200" y="414"/>
                  </a:lnTo>
                  <a:lnTo>
                    <a:pt x="197" y="414"/>
                  </a:lnTo>
                  <a:lnTo>
                    <a:pt x="200" y="414"/>
                  </a:lnTo>
                  <a:lnTo>
                    <a:pt x="197" y="414"/>
                  </a:lnTo>
                  <a:lnTo>
                    <a:pt x="197" y="412"/>
                  </a:lnTo>
                  <a:lnTo>
                    <a:pt x="197" y="412"/>
                  </a:lnTo>
                  <a:lnTo>
                    <a:pt x="197" y="412"/>
                  </a:lnTo>
                  <a:lnTo>
                    <a:pt x="197" y="412"/>
                  </a:lnTo>
                  <a:lnTo>
                    <a:pt x="197" y="412"/>
                  </a:lnTo>
                  <a:lnTo>
                    <a:pt x="197" y="412"/>
                  </a:lnTo>
                  <a:lnTo>
                    <a:pt x="195" y="412"/>
                  </a:lnTo>
                  <a:lnTo>
                    <a:pt x="195" y="412"/>
                  </a:lnTo>
                  <a:lnTo>
                    <a:pt x="195" y="412"/>
                  </a:lnTo>
                  <a:lnTo>
                    <a:pt x="195" y="412"/>
                  </a:lnTo>
                  <a:lnTo>
                    <a:pt x="193" y="412"/>
                  </a:lnTo>
                  <a:lnTo>
                    <a:pt x="193" y="412"/>
                  </a:lnTo>
                  <a:lnTo>
                    <a:pt x="193" y="412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91" y="405"/>
                  </a:lnTo>
                  <a:lnTo>
                    <a:pt x="191" y="405"/>
                  </a:lnTo>
                  <a:lnTo>
                    <a:pt x="191" y="405"/>
                  </a:lnTo>
                  <a:lnTo>
                    <a:pt x="191" y="405"/>
                  </a:lnTo>
                  <a:lnTo>
                    <a:pt x="191" y="403"/>
                  </a:lnTo>
                  <a:lnTo>
                    <a:pt x="191" y="403"/>
                  </a:lnTo>
                  <a:lnTo>
                    <a:pt x="191" y="403"/>
                  </a:lnTo>
                  <a:lnTo>
                    <a:pt x="191" y="403"/>
                  </a:lnTo>
                  <a:lnTo>
                    <a:pt x="191" y="405"/>
                  </a:lnTo>
                  <a:lnTo>
                    <a:pt x="191" y="405"/>
                  </a:lnTo>
                  <a:lnTo>
                    <a:pt x="188" y="405"/>
                  </a:lnTo>
                  <a:lnTo>
                    <a:pt x="188" y="405"/>
                  </a:lnTo>
                  <a:lnTo>
                    <a:pt x="188" y="405"/>
                  </a:lnTo>
                  <a:lnTo>
                    <a:pt x="188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88" y="403"/>
                  </a:lnTo>
                  <a:lnTo>
                    <a:pt x="188" y="403"/>
                  </a:lnTo>
                  <a:lnTo>
                    <a:pt x="188" y="403"/>
                  </a:lnTo>
                  <a:lnTo>
                    <a:pt x="188" y="403"/>
                  </a:lnTo>
                  <a:lnTo>
                    <a:pt x="188" y="403"/>
                  </a:lnTo>
                  <a:lnTo>
                    <a:pt x="188" y="403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400"/>
                  </a:lnTo>
                  <a:lnTo>
                    <a:pt x="188" y="398"/>
                  </a:lnTo>
                  <a:lnTo>
                    <a:pt x="186" y="398"/>
                  </a:lnTo>
                  <a:lnTo>
                    <a:pt x="186" y="398"/>
                  </a:lnTo>
                  <a:lnTo>
                    <a:pt x="186" y="398"/>
                  </a:lnTo>
                  <a:lnTo>
                    <a:pt x="186" y="398"/>
                  </a:lnTo>
                  <a:lnTo>
                    <a:pt x="184" y="396"/>
                  </a:lnTo>
                  <a:lnTo>
                    <a:pt x="184" y="396"/>
                  </a:lnTo>
                  <a:lnTo>
                    <a:pt x="184" y="396"/>
                  </a:lnTo>
                  <a:lnTo>
                    <a:pt x="184" y="396"/>
                  </a:lnTo>
                  <a:lnTo>
                    <a:pt x="184" y="396"/>
                  </a:lnTo>
                  <a:lnTo>
                    <a:pt x="186" y="394"/>
                  </a:lnTo>
                  <a:lnTo>
                    <a:pt x="184" y="394"/>
                  </a:lnTo>
                  <a:lnTo>
                    <a:pt x="184" y="394"/>
                  </a:lnTo>
                  <a:lnTo>
                    <a:pt x="184" y="394"/>
                  </a:lnTo>
                  <a:lnTo>
                    <a:pt x="184" y="394"/>
                  </a:lnTo>
                  <a:lnTo>
                    <a:pt x="184" y="394"/>
                  </a:lnTo>
                  <a:lnTo>
                    <a:pt x="184" y="394"/>
                  </a:lnTo>
                  <a:lnTo>
                    <a:pt x="184" y="391"/>
                  </a:lnTo>
                  <a:lnTo>
                    <a:pt x="184" y="391"/>
                  </a:lnTo>
                  <a:lnTo>
                    <a:pt x="184" y="391"/>
                  </a:lnTo>
                  <a:lnTo>
                    <a:pt x="184" y="391"/>
                  </a:lnTo>
                  <a:lnTo>
                    <a:pt x="184" y="391"/>
                  </a:lnTo>
                  <a:lnTo>
                    <a:pt x="184" y="391"/>
                  </a:lnTo>
                  <a:lnTo>
                    <a:pt x="184" y="389"/>
                  </a:lnTo>
                  <a:lnTo>
                    <a:pt x="184" y="389"/>
                  </a:lnTo>
                  <a:lnTo>
                    <a:pt x="184" y="389"/>
                  </a:lnTo>
                  <a:lnTo>
                    <a:pt x="184" y="389"/>
                  </a:lnTo>
                  <a:lnTo>
                    <a:pt x="184" y="389"/>
                  </a:lnTo>
                  <a:lnTo>
                    <a:pt x="184" y="387"/>
                  </a:lnTo>
                  <a:lnTo>
                    <a:pt x="184" y="387"/>
                  </a:lnTo>
                  <a:lnTo>
                    <a:pt x="184" y="387"/>
                  </a:lnTo>
                  <a:lnTo>
                    <a:pt x="184" y="387"/>
                  </a:lnTo>
                  <a:lnTo>
                    <a:pt x="186" y="387"/>
                  </a:lnTo>
                  <a:lnTo>
                    <a:pt x="186" y="387"/>
                  </a:lnTo>
                  <a:lnTo>
                    <a:pt x="186" y="387"/>
                  </a:lnTo>
                  <a:lnTo>
                    <a:pt x="186" y="387"/>
                  </a:lnTo>
                  <a:lnTo>
                    <a:pt x="184" y="387"/>
                  </a:lnTo>
                  <a:lnTo>
                    <a:pt x="184" y="385"/>
                  </a:lnTo>
                  <a:lnTo>
                    <a:pt x="184" y="385"/>
                  </a:lnTo>
                  <a:lnTo>
                    <a:pt x="184" y="382"/>
                  </a:lnTo>
                  <a:lnTo>
                    <a:pt x="184" y="382"/>
                  </a:lnTo>
                  <a:lnTo>
                    <a:pt x="184" y="382"/>
                  </a:lnTo>
                  <a:lnTo>
                    <a:pt x="184" y="382"/>
                  </a:lnTo>
                  <a:lnTo>
                    <a:pt x="182" y="382"/>
                  </a:lnTo>
                  <a:lnTo>
                    <a:pt x="184" y="380"/>
                  </a:lnTo>
                  <a:lnTo>
                    <a:pt x="184" y="380"/>
                  </a:lnTo>
                  <a:lnTo>
                    <a:pt x="184" y="380"/>
                  </a:lnTo>
                  <a:lnTo>
                    <a:pt x="184" y="380"/>
                  </a:lnTo>
                  <a:lnTo>
                    <a:pt x="182" y="378"/>
                  </a:lnTo>
                  <a:lnTo>
                    <a:pt x="182" y="378"/>
                  </a:lnTo>
                  <a:lnTo>
                    <a:pt x="182" y="378"/>
                  </a:lnTo>
                  <a:lnTo>
                    <a:pt x="182" y="378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3"/>
                  </a:lnTo>
                  <a:lnTo>
                    <a:pt x="182" y="371"/>
                  </a:lnTo>
                  <a:lnTo>
                    <a:pt x="182" y="371"/>
                  </a:lnTo>
                  <a:lnTo>
                    <a:pt x="184" y="371"/>
                  </a:lnTo>
                  <a:lnTo>
                    <a:pt x="184" y="371"/>
                  </a:lnTo>
                  <a:lnTo>
                    <a:pt x="184" y="369"/>
                  </a:lnTo>
                  <a:lnTo>
                    <a:pt x="184" y="369"/>
                  </a:lnTo>
                  <a:lnTo>
                    <a:pt x="184" y="369"/>
                  </a:lnTo>
                  <a:lnTo>
                    <a:pt x="184" y="369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4" y="367"/>
                  </a:lnTo>
                  <a:lnTo>
                    <a:pt x="184" y="364"/>
                  </a:lnTo>
                  <a:lnTo>
                    <a:pt x="184" y="364"/>
                  </a:lnTo>
                  <a:lnTo>
                    <a:pt x="184" y="364"/>
                  </a:lnTo>
                  <a:lnTo>
                    <a:pt x="184" y="362"/>
                  </a:lnTo>
                  <a:lnTo>
                    <a:pt x="184" y="362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4" y="360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4" y="358"/>
                  </a:lnTo>
                  <a:lnTo>
                    <a:pt x="182" y="358"/>
                  </a:lnTo>
                  <a:lnTo>
                    <a:pt x="182" y="358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82" y="355"/>
                  </a:lnTo>
                  <a:lnTo>
                    <a:pt x="179" y="355"/>
                  </a:lnTo>
                  <a:lnTo>
                    <a:pt x="179" y="355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9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7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5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3" y="358"/>
                  </a:lnTo>
                  <a:lnTo>
                    <a:pt x="170" y="358"/>
                  </a:lnTo>
                  <a:lnTo>
                    <a:pt x="170" y="358"/>
                  </a:lnTo>
                  <a:lnTo>
                    <a:pt x="170" y="358"/>
                  </a:lnTo>
                  <a:lnTo>
                    <a:pt x="170" y="358"/>
                  </a:lnTo>
                  <a:lnTo>
                    <a:pt x="168" y="358"/>
                  </a:lnTo>
                  <a:lnTo>
                    <a:pt x="168" y="358"/>
                  </a:lnTo>
                  <a:lnTo>
                    <a:pt x="168" y="358"/>
                  </a:lnTo>
                  <a:lnTo>
                    <a:pt x="168" y="358"/>
                  </a:lnTo>
                  <a:lnTo>
                    <a:pt x="168" y="358"/>
                  </a:lnTo>
                  <a:lnTo>
                    <a:pt x="168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6" y="358"/>
                  </a:lnTo>
                  <a:lnTo>
                    <a:pt x="164" y="358"/>
                  </a:lnTo>
                  <a:lnTo>
                    <a:pt x="164" y="360"/>
                  </a:lnTo>
                  <a:lnTo>
                    <a:pt x="164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61" y="360"/>
                  </a:lnTo>
                  <a:lnTo>
                    <a:pt x="159" y="360"/>
                  </a:lnTo>
                  <a:lnTo>
                    <a:pt x="159" y="360"/>
                  </a:lnTo>
                  <a:lnTo>
                    <a:pt x="159" y="360"/>
                  </a:lnTo>
                  <a:lnTo>
                    <a:pt x="157" y="360"/>
                  </a:lnTo>
                  <a:lnTo>
                    <a:pt x="155" y="360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5" y="362"/>
                  </a:lnTo>
                  <a:lnTo>
                    <a:pt x="152" y="362"/>
                  </a:lnTo>
                  <a:lnTo>
                    <a:pt x="152" y="362"/>
                  </a:lnTo>
                  <a:lnTo>
                    <a:pt x="150" y="364"/>
                  </a:lnTo>
                  <a:lnTo>
                    <a:pt x="148" y="369"/>
                  </a:lnTo>
                  <a:lnTo>
                    <a:pt x="146" y="369"/>
                  </a:lnTo>
                  <a:lnTo>
                    <a:pt x="146" y="369"/>
                  </a:lnTo>
                  <a:lnTo>
                    <a:pt x="146" y="369"/>
                  </a:lnTo>
                  <a:lnTo>
                    <a:pt x="146" y="369"/>
                  </a:lnTo>
                  <a:lnTo>
                    <a:pt x="146" y="371"/>
                  </a:lnTo>
                  <a:lnTo>
                    <a:pt x="146" y="371"/>
                  </a:lnTo>
                  <a:lnTo>
                    <a:pt x="146" y="371"/>
                  </a:lnTo>
                  <a:lnTo>
                    <a:pt x="146" y="371"/>
                  </a:lnTo>
                  <a:lnTo>
                    <a:pt x="143" y="371"/>
                  </a:lnTo>
                  <a:lnTo>
                    <a:pt x="143" y="371"/>
                  </a:lnTo>
                  <a:lnTo>
                    <a:pt x="143" y="371"/>
                  </a:lnTo>
                  <a:lnTo>
                    <a:pt x="143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41" y="371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9" y="373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6"/>
                  </a:lnTo>
                  <a:lnTo>
                    <a:pt x="137" y="378"/>
                  </a:lnTo>
                  <a:lnTo>
                    <a:pt x="135" y="378"/>
                  </a:lnTo>
                  <a:lnTo>
                    <a:pt x="135" y="378"/>
                  </a:lnTo>
                  <a:lnTo>
                    <a:pt x="135" y="378"/>
                  </a:lnTo>
                  <a:lnTo>
                    <a:pt x="135" y="380"/>
                  </a:lnTo>
                  <a:lnTo>
                    <a:pt x="135" y="380"/>
                  </a:lnTo>
                  <a:lnTo>
                    <a:pt x="135" y="380"/>
                  </a:lnTo>
                  <a:lnTo>
                    <a:pt x="132" y="380"/>
                  </a:lnTo>
                  <a:lnTo>
                    <a:pt x="132" y="380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28" y="378"/>
                  </a:lnTo>
                  <a:lnTo>
                    <a:pt x="128" y="378"/>
                  </a:lnTo>
                  <a:lnTo>
                    <a:pt x="128" y="378"/>
                  </a:lnTo>
                  <a:lnTo>
                    <a:pt x="128" y="378"/>
                  </a:lnTo>
                  <a:lnTo>
                    <a:pt x="128" y="380"/>
                  </a:lnTo>
                  <a:lnTo>
                    <a:pt x="126" y="380"/>
                  </a:lnTo>
                  <a:lnTo>
                    <a:pt x="126" y="380"/>
                  </a:lnTo>
                  <a:lnTo>
                    <a:pt x="126" y="382"/>
                  </a:lnTo>
                  <a:lnTo>
                    <a:pt x="123" y="382"/>
                  </a:lnTo>
                  <a:lnTo>
                    <a:pt x="123" y="385"/>
                  </a:lnTo>
                  <a:lnTo>
                    <a:pt x="123" y="385"/>
                  </a:lnTo>
                  <a:lnTo>
                    <a:pt x="123" y="385"/>
                  </a:lnTo>
                  <a:lnTo>
                    <a:pt x="123" y="387"/>
                  </a:lnTo>
                  <a:lnTo>
                    <a:pt x="123" y="387"/>
                  </a:lnTo>
                  <a:lnTo>
                    <a:pt x="123" y="387"/>
                  </a:lnTo>
                  <a:lnTo>
                    <a:pt x="121" y="387"/>
                  </a:lnTo>
                  <a:lnTo>
                    <a:pt x="121" y="387"/>
                  </a:lnTo>
                  <a:lnTo>
                    <a:pt x="121" y="387"/>
                  </a:lnTo>
                  <a:lnTo>
                    <a:pt x="119" y="387"/>
                  </a:lnTo>
                  <a:lnTo>
                    <a:pt x="119" y="389"/>
                  </a:lnTo>
                  <a:lnTo>
                    <a:pt x="119" y="387"/>
                  </a:lnTo>
                  <a:lnTo>
                    <a:pt x="119" y="387"/>
                  </a:lnTo>
                  <a:lnTo>
                    <a:pt x="119" y="389"/>
                  </a:lnTo>
                  <a:lnTo>
                    <a:pt x="117" y="389"/>
                  </a:lnTo>
                  <a:lnTo>
                    <a:pt x="117" y="389"/>
                  </a:lnTo>
                  <a:lnTo>
                    <a:pt x="117" y="389"/>
                  </a:lnTo>
                  <a:lnTo>
                    <a:pt x="112" y="391"/>
                  </a:lnTo>
                  <a:lnTo>
                    <a:pt x="112" y="391"/>
                  </a:lnTo>
                  <a:lnTo>
                    <a:pt x="112" y="389"/>
                  </a:lnTo>
                  <a:lnTo>
                    <a:pt x="112" y="389"/>
                  </a:lnTo>
                  <a:lnTo>
                    <a:pt x="112" y="389"/>
                  </a:lnTo>
                  <a:lnTo>
                    <a:pt x="112" y="389"/>
                  </a:lnTo>
                  <a:lnTo>
                    <a:pt x="112" y="387"/>
                  </a:lnTo>
                  <a:lnTo>
                    <a:pt x="112" y="387"/>
                  </a:lnTo>
                  <a:lnTo>
                    <a:pt x="112" y="387"/>
                  </a:lnTo>
                  <a:lnTo>
                    <a:pt x="112" y="387"/>
                  </a:lnTo>
                  <a:lnTo>
                    <a:pt x="112" y="387"/>
                  </a:lnTo>
                  <a:lnTo>
                    <a:pt x="110" y="387"/>
                  </a:lnTo>
                  <a:lnTo>
                    <a:pt x="110" y="387"/>
                  </a:lnTo>
                  <a:lnTo>
                    <a:pt x="110" y="387"/>
                  </a:lnTo>
                  <a:lnTo>
                    <a:pt x="110" y="387"/>
                  </a:lnTo>
                  <a:lnTo>
                    <a:pt x="108" y="387"/>
                  </a:lnTo>
                  <a:lnTo>
                    <a:pt x="108" y="387"/>
                  </a:lnTo>
                  <a:lnTo>
                    <a:pt x="108" y="387"/>
                  </a:lnTo>
                  <a:lnTo>
                    <a:pt x="108" y="387"/>
                  </a:lnTo>
                  <a:lnTo>
                    <a:pt x="105" y="387"/>
                  </a:lnTo>
                  <a:lnTo>
                    <a:pt x="105" y="387"/>
                  </a:lnTo>
                  <a:lnTo>
                    <a:pt x="105" y="387"/>
                  </a:lnTo>
                  <a:lnTo>
                    <a:pt x="105" y="387"/>
                  </a:lnTo>
                  <a:lnTo>
                    <a:pt x="103" y="387"/>
                  </a:lnTo>
                  <a:lnTo>
                    <a:pt x="101" y="387"/>
                  </a:lnTo>
                  <a:lnTo>
                    <a:pt x="101" y="387"/>
                  </a:lnTo>
                  <a:lnTo>
                    <a:pt x="101" y="385"/>
                  </a:lnTo>
                  <a:lnTo>
                    <a:pt x="99" y="385"/>
                  </a:lnTo>
                  <a:lnTo>
                    <a:pt x="99" y="387"/>
                  </a:lnTo>
                  <a:lnTo>
                    <a:pt x="96" y="387"/>
                  </a:lnTo>
                  <a:lnTo>
                    <a:pt x="96" y="387"/>
                  </a:lnTo>
                  <a:lnTo>
                    <a:pt x="96" y="387"/>
                  </a:lnTo>
                  <a:lnTo>
                    <a:pt x="92" y="387"/>
                  </a:lnTo>
                  <a:lnTo>
                    <a:pt x="92" y="387"/>
                  </a:lnTo>
                  <a:lnTo>
                    <a:pt x="92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5"/>
                  </a:lnTo>
                  <a:lnTo>
                    <a:pt x="90" y="385"/>
                  </a:lnTo>
                  <a:lnTo>
                    <a:pt x="90" y="385"/>
                  </a:lnTo>
                  <a:lnTo>
                    <a:pt x="87" y="385"/>
                  </a:lnTo>
                  <a:lnTo>
                    <a:pt x="83" y="387"/>
                  </a:lnTo>
                  <a:lnTo>
                    <a:pt x="83" y="389"/>
                  </a:lnTo>
                  <a:lnTo>
                    <a:pt x="81" y="389"/>
                  </a:lnTo>
                  <a:lnTo>
                    <a:pt x="81" y="389"/>
                  </a:lnTo>
                  <a:lnTo>
                    <a:pt x="78" y="389"/>
                  </a:lnTo>
                  <a:lnTo>
                    <a:pt x="78" y="387"/>
                  </a:lnTo>
                  <a:lnTo>
                    <a:pt x="78" y="387"/>
                  </a:lnTo>
                  <a:lnTo>
                    <a:pt x="76" y="387"/>
                  </a:lnTo>
                  <a:lnTo>
                    <a:pt x="76" y="385"/>
                  </a:lnTo>
                  <a:lnTo>
                    <a:pt x="76" y="385"/>
                  </a:lnTo>
                  <a:lnTo>
                    <a:pt x="74" y="387"/>
                  </a:lnTo>
                  <a:lnTo>
                    <a:pt x="74" y="385"/>
                  </a:lnTo>
                  <a:lnTo>
                    <a:pt x="74" y="382"/>
                  </a:lnTo>
                  <a:lnTo>
                    <a:pt x="74" y="380"/>
                  </a:lnTo>
                  <a:lnTo>
                    <a:pt x="74" y="376"/>
                  </a:lnTo>
                  <a:lnTo>
                    <a:pt x="74" y="373"/>
                  </a:lnTo>
                  <a:lnTo>
                    <a:pt x="72" y="371"/>
                  </a:lnTo>
                  <a:lnTo>
                    <a:pt x="72" y="367"/>
                  </a:lnTo>
                  <a:lnTo>
                    <a:pt x="72" y="364"/>
                  </a:lnTo>
                  <a:lnTo>
                    <a:pt x="72" y="360"/>
                  </a:lnTo>
                  <a:lnTo>
                    <a:pt x="72" y="360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2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8"/>
                  </a:lnTo>
                  <a:lnTo>
                    <a:pt x="74" y="355"/>
                  </a:lnTo>
                  <a:lnTo>
                    <a:pt x="74" y="355"/>
                  </a:lnTo>
                  <a:lnTo>
                    <a:pt x="74" y="355"/>
                  </a:lnTo>
                  <a:lnTo>
                    <a:pt x="74" y="355"/>
                  </a:lnTo>
                  <a:lnTo>
                    <a:pt x="72" y="355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2" y="353"/>
                  </a:lnTo>
                  <a:lnTo>
                    <a:pt x="74" y="353"/>
                  </a:lnTo>
                  <a:lnTo>
                    <a:pt x="74" y="353"/>
                  </a:lnTo>
                  <a:lnTo>
                    <a:pt x="74" y="353"/>
                  </a:lnTo>
                  <a:lnTo>
                    <a:pt x="74" y="353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51"/>
                  </a:lnTo>
                  <a:lnTo>
                    <a:pt x="74" y="349"/>
                  </a:lnTo>
                  <a:lnTo>
                    <a:pt x="74" y="349"/>
                  </a:lnTo>
                  <a:lnTo>
                    <a:pt x="72" y="349"/>
                  </a:lnTo>
                  <a:lnTo>
                    <a:pt x="72" y="351"/>
                  </a:lnTo>
                  <a:lnTo>
                    <a:pt x="72" y="351"/>
                  </a:lnTo>
                  <a:lnTo>
                    <a:pt x="72" y="351"/>
                  </a:lnTo>
                  <a:lnTo>
                    <a:pt x="72" y="351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69" y="353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67" y="355"/>
                  </a:lnTo>
                  <a:lnTo>
                    <a:pt x="65" y="358"/>
                  </a:lnTo>
                  <a:lnTo>
                    <a:pt x="65" y="358"/>
                  </a:lnTo>
                  <a:lnTo>
                    <a:pt x="65" y="358"/>
                  </a:lnTo>
                  <a:lnTo>
                    <a:pt x="65" y="358"/>
                  </a:lnTo>
                  <a:lnTo>
                    <a:pt x="65" y="358"/>
                  </a:lnTo>
                  <a:lnTo>
                    <a:pt x="65" y="358"/>
                  </a:lnTo>
                  <a:lnTo>
                    <a:pt x="65" y="358"/>
                  </a:lnTo>
                  <a:lnTo>
                    <a:pt x="63" y="360"/>
                  </a:lnTo>
                  <a:lnTo>
                    <a:pt x="63" y="360"/>
                  </a:lnTo>
                  <a:lnTo>
                    <a:pt x="60" y="360"/>
                  </a:lnTo>
                  <a:lnTo>
                    <a:pt x="60" y="360"/>
                  </a:lnTo>
                  <a:lnTo>
                    <a:pt x="60" y="362"/>
                  </a:lnTo>
                  <a:lnTo>
                    <a:pt x="60" y="362"/>
                  </a:lnTo>
                  <a:lnTo>
                    <a:pt x="60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8" y="362"/>
                  </a:lnTo>
                  <a:lnTo>
                    <a:pt x="56" y="362"/>
                  </a:lnTo>
                  <a:lnTo>
                    <a:pt x="56" y="364"/>
                  </a:lnTo>
                  <a:lnTo>
                    <a:pt x="56" y="364"/>
                  </a:lnTo>
                  <a:lnTo>
                    <a:pt x="51" y="364"/>
                  </a:lnTo>
                  <a:lnTo>
                    <a:pt x="49" y="362"/>
                  </a:lnTo>
                  <a:lnTo>
                    <a:pt x="45" y="362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2"/>
                  </a:lnTo>
                  <a:lnTo>
                    <a:pt x="40" y="360"/>
                  </a:lnTo>
                  <a:lnTo>
                    <a:pt x="40" y="360"/>
                  </a:lnTo>
                  <a:lnTo>
                    <a:pt x="40" y="360"/>
                  </a:lnTo>
                  <a:lnTo>
                    <a:pt x="40" y="360"/>
                  </a:lnTo>
                  <a:lnTo>
                    <a:pt x="40" y="360"/>
                  </a:lnTo>
                  <a:lnTo>
                    <a:pt x="40" y="358"/>
                  </a:lnTo>
                  <a:lnTo>
                    <a:pt x="38" y="358"/>
                  </a:lnTo>
                  <a:lnTo>
                    <a:pt x="38" y="358"/>
                  </a:lnTo>
                  <a:lnTo>
                    <a:pt x="38" y="355"/>
                  </a:lnTo>
                  <a:lnTo>
                    <a:pt x="38" y="355"/>
                  </a:lnTo>
                  <a:lnTo>
                    <a:pt x="38" y="355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6" y="351"/>
                  </a:lnTo>
                  <a:lnTo>
                    <a:pt x="36" y="351"/>
                  </a:lnTo>
                  <a:lnTo>
                    <a:pt x="36" y="351"/>
                  </a:lnTo>
                  <a:lnTo>
                    <a:pt x="36" y="351"/>
                  </a:lnTo>
                  <a:lnTo>
                    <a:pt x="36" y="351"/>
                  </a:lnTo>
                  <a:lnTo>
                    <a:pt x="36" y="351"/>
                  </a:lnTo>
                  <a:lnTo>
                    <a:pt x="36" y="351"/>
                  </a:lnTo>
                  <a:lnTo>
                    <a:pt x="33" y="351"/>
                  </a:lnTo>
                  <a:lnTo>
                    <a:pt x="33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31" y="351"/>
                  </a:lnTo>
                  <a:lnTo>
                    <a:pt x="29" y="351"/>
                  </a:lnTo>
                  <a:lnTo>
                    <a:pt x="29" y="349"/>
                  </a:lnTo>
                  <a:lnTo>
                    <a:pt x="29" y="351"/>
                  </a:lnTo>
                  <a:lnTo>
                    <a:pt x="29" y="351"/>
                  </a:lnTo>
                  <a:lnTo>
                    <a:pt x="29" y="351"/>
                  </a:lnTo>
                  <a:lnTo>
                    <a:pt x="29" y="351"/>
                  </a:lnTo>
                  <a:lnTo>
                    <a:pt x="29" y="349"/>
                  </a:lnTo>
                  <a:lnTo>
                    <a:pt x="29" y="349"/>
                  </a:lnTo>
                  <a:lnTo>
                    <a:pt x="27" y="349"/>
                  </a:lnTo>
                  <a:lnTo>
                    <a:pt x="18" y="349"/>
                  </a:lnTo>
                  <a:lnTo>
                    <a:pt x="18" y="349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0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4"/>
                  </a:lnTo>
                  <a:lnTo>
                    <a:pt x="22" y="342"/>
                  </a:lnTo>
                  <a:lnTo>
                    <a:pt x="22" y="342"/>
                  </a:lnTo>
                  <a:lnTo>
                    <a:pt x="22" y="342"/>
                  </a:lnTo>
                  <a:lnTo>
                    <a:pt x="22" y="342"/>
                  </a:lnTo>
                  <a:lnTo>
                    <a:pt x="22" y="340"/>
                  </a:lnTo>
                  <a:lnTo>
                    <a:pt x="22" y="340"/>
                  </a:lnTo>
                  <a:lnTo>
                    <a:pt x="22" y="337"/>
                  </a:lnTo>
                  <a:lnTo>
                    <a:pt x="22" y="337"/>
                  </a:lnTo>
                  <a:lnTo>
                    <a:pt x="20" y="337"/>
                  </a:lnTo>
                  <a:lnTo>
                    <a:pt x="20" y="337"/>
                  </a:lnTo>
                  <a:lnTo>
                    <a:pt x="18" y="335"/>
                  </a:lnTo>
                  <a:lnTo>
                    <a:pt x="18" y="333"/>
                  </a:lnTo>
                  <a:lnTo>
                    <a:pt x="18" y="333"/>
                  </a:lnTo>
                  <a:lnTo>
                    <a:pt x="18" y="333"/>
                  </a:lnTo>
                  <a:lnTo>
                    <a:pt x="18" y="333"/>
                  </a:lnTo>
                  <a:lnTo>
                    <a:pt x="15" y="331"/>
                  </a:lnTo>
                  <a:lnTo>
                    <a:pt x="15" y="331"/>
                  </a:lnTo>
                  <a:lnTo>
                    <a:pt x="15" y="331"/>
                  </a:lnTo>
                  <a:lnTo>
                    <a:pt x="13" y="331"/>
                  </a:lnTo>
                  <a:lnTo>
                    <a:pt x="13" y="328"/>
                  </a:lnTo>
                  <a:lnTo>
                    <a:pt x="13" y="328"/>
                  </a:lnTo>
                  <a:lnTo>
                    <a:pt x="13" y="328"/>
                  </a:lnTo>
                  <a:lnTo>
                    <a:pt x="13" y="328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3" y="326"/>
                  </a:lnTo>
                  <a:lnTo>
                    <a:pt x="11" y="326"/>
                  </a:lnTo>
                  <a:lnTo>
                    <a:pt x="11" y="326"/>
                  </a:lnTo>
                  <a:lnTo>
                    <a:pt x="11" y="324"/>
                  </a:lnTo>
                  <a:lnTo>
                    <a:pt x="9" y="324"/>
                  </a:lnTo>
                  <a:lnTo>
                    <a:pt x="9" y="324"/>
                  </a:lnTo>
                  <a:lnTo>
                    <a:pt x="9" y="322"/>
                  </a:lnTo>
                  <a:lnTo>
                    <a:pt x="9" y="322"/>
                  </a:lnTo>
                  <a:lnTo>
                    <a:pt x="9" y="322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9"/>
                  </a:lnTo>
                  <a:lnTo>
                    <a:pt x="9" y="317"/>
                  </a:lnTo>
                  <a:lnTo>
                    <a:pt x="6" y="317"/>
                  </a:lnTo>
                  <a:lnTo>
                    <a:pt x="6" y="317"/>
                  </a:lnTo>
                  <a:lnTo>
                    <a:pt x="6" y="315"/>
                  </a:lnTo>
                  <a:lnTo>
                    <a:pt x="6" y="315"/>
                  </a:lnTo>
                  <a:lnTo>
                    <a:pt x="4" y="315"/>
                  </a:lnTo>
                  <a:lnTo>
                    <a:pt x="4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3"/>
                  </a:lnTo>
                  <a:lnTo>
                    <a:pt x="4" y="313"/>
                  </a:lnTo>
                  <a:lnTo>
                    <a:pt x="4" y="313"/>
                  </a:lnTo>
                  <a:lnTo>
                    <a:pt x="6" y="313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08"/>
                  </a:lnTo>
                  <a:lnTo>
                    <a:pt x="2" y="308"/>
                  </a:lnTo>
                  <a:lnTo>
                    <a:pt x="0" y="306"/>
                  </a:lnTo>
                  <a:lnTo>
                    <a:pt x="0" y="306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4"/>
                  </a:lnTo>
                  <a:lnTo>
                    <a:pt x="0" y="301"/>
                  </a:lnTo>
                  <a:lnTo>
                    <a:pt x="0" y="301"/>
                  </a:lnTo>
                  <a:lnTo>
                    <a:pt x="0" y="301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01"/>
                  </a:lnTo>
                  <a:lnTo>
                    <a:pt x="2" y="301"/>
                  </a:lnTo>
                  <a:lnTo>
                    <a:pt x="2" y="301"/>
                  </a:lnTo>
                  <a:lnTo>
                    <a:pt x="2" y="299"/>
                  </a:lnTo>
                  <a:lnTo>
                    <a:pt x="2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7"/>
                  </a:lnTo>
                  <a:lnTo>
                    <a:pt x="4" y="297"/>
                  </a:lnTo>
                  <a:lnTo>
                    <a:pt x="2" y="295"/>
                  </a:lnTo>
                  <a:lnTo>
                    <a:pt x="2" y="295"/>
                  </a:lnTo>
                  <a:lnTo>
                    <a:pt x="2" y="292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6" y="286"/>
                  </a:lnTo>
                  <a:lnTo>
                    <a:pt x="6" y="286"/>
                  </a:lnTo>
                  <a:lnTo>
                    <a:pt x="9" y="283"/>
                  </a:lnTo>
                  <a:lnTo>
                    <a:pt x="11" y="283"/>
                  </a:lnTo>
                  <a:lnTo>
                    <a:pt x="11" y="283"/>
                  </a:lnTo>
                  <a:lnTo>
                    <a:pt x="11" y="281"/>
                  </a:lnTo>
                  <a:lnTo>
                    <a:pt x="11" y="281"/>
                  </a:lnTo>
                  <a:lnTo>
                    <a:pt x="13" y="281"/>
                  </a:lnTo>
                  <a:lnTo>
                    <a:pt x="13" y="281"/>
                  </a:lnTo>
                  <a:lnTo>
                    <a:pt x="15" y="281"/>
                  </a:lnTo>
                  <a:lnTo>
                    <a:pt x="15" y="281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4"/>
                  </a:lnTo>
                  <a:lnTo>
                    <a:pt x="15" y="274"/>
                  </a:lnTo>
                  <a:lnTo>
                    <a:pt x="15" y="272"/>
                  </a:lnTo>
                  <a:lnTo>
                    <a:pt x="15" y="272"/>
                  </a:lnTo>
                  <a:lnTo>
                    <a:pt x="13" y="272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5" y="268"/>
                  </a:lnTo>
                  <a:lnTo>
                    <a:pt x="15" y="265"/>
                  </a:lnTo>
                  <a:lnTo>
                    <a:pt x="15" y="263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20" y="259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4"/>
                  </a:lnTo>
                  <a:lnTo>
                    <a:pt x="20" y="254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2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0" y="247"/>
                  </a:lnTo>
                  <a:lnTo>
                    <a:pt x="22" y="245"/>
                  </a:lnTo>
                  <a:lnTo>
                    <a:pt x="22" y="245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2" y="245"/>
                  </a:lnTo>
                  <a:lnTo>
                    <a:pt x="22" y="245"/>
                  </a:lnTo>
                  <a:lnTo>
                    <a:pt x="22" y="245"/>
                  </a:lnTo>
                  <a:lnTo>
                    <a:pt x="22" y="245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5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7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3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29" y="241"/>
                  </a:lnTo>
                  <a:lnTo>
                    <a:pt x="31" y="241"/>
                  </a:lnTo>
                  <a:lnTo>
                    <a:pt x="31" y="241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33" y="238"/>
                  </a:lnTo>
                  <a:lnTo>
                    <a:pt x="33" y="238"/>
                  </a:lnTo>
                  <a:lnTo>
                    <a:pt x="33" y="238"/>
                  </a:lnTo>
                  <a:lnTo>
                    <a:pt x="33" y="238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6" y="236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38" y="234"/>
                  </a:lnTo>
                  <a:lnTo>
                    <a:pt x="40" y="234"/>
                  </a:lnTo>
                  <a:lnTo>
                    <a:pt x="40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2"/>
                  </a:lnTo>
                  <a:lnTo>
                    <a:pt x="42" y="232"/>
                  </a:lnTo>
                  <a:lnTo>
                    <a:pt x="42" y="232"/>
                  </a:lnTo>
                  <a:lnTo>
                    <a:pt x="42" y="232"/>
                  </a:lnTo>
                  <a:lnTo>
                    <a:pt x="42" y="232"/>
                  </a:lnTo>
                  <a:lnTo>
                    <a:pt x="42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5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7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49" y="232"/>
                  </a:lnTo>
                  <a:lnTo>
                    <a:pt x="51" y="229"/>
                  </a:lnTo>
                  <a:lnTo>
                    <a:pt x="51" y="229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1" y="229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4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5" y="225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3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7" y="225"/>
                  </a:lnTo>
                  <a:lnTo>
                    <a:pt x="69" y="223"/>
                  </a:lnTo>
                  <a:lnTo>
                    <a:pt x="69" y="223"/>
                  </a:lnTo>
                  <a:lnTo>
                    <a:pt x="69" y="223"/>
                  </a:lnTo>
                  <a:lnTo>
                    <a:pt x="69" y="225"/>
                  </a:lnTo>
                  <a:lnTo>
                    <a:pt x="69" y="225"/>
                  </a:lnTo>
                  <a:lnTo>
                    <a:pt x="69" y="225"/>
                  </a:lnTo>
                  <a:lnTo>
                    <a:pt x="69" y="225"/>
                  </a:lnTo>
                  <a:lnTo>
                    <a:pt x="72" y="223"/>
                  </a:lnTo>
                  <a:lnTo>
                    <a:pt x="72" y="223"/>
                  </a:lnTo>
                  <a:lnTo>
                    <a:pt x="72" y="223"/>
                  </a:lnTo>
                  <a:lnTo>
                    <a:pt x="72" y="223"/>
                  </a:lnTo>
                  <a:lnTo>
                    <a:pt x="72" y="223"/>
                  </a:lnTo>
                  <a:lnTo>
                    <a:pt x="72" y="225"/>
                  </a:lnTo>
                  <a:lnTo>
                    <a:pt x="72" y="225"/>
                  </a:lnTo>
                  <a:lnTo>
                    <a:pt x="74" y="223"/>
                  </a:lnTo>
                  <a:lnTo>
                    <a:pt x="74" y="223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9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81" y="229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7"/>
                  </a:lnTo>
                  <a:lnTo>
                    <a:pt x="81" y="225"/>
                  </a:lnTo>
                  <a:lnTo>
                    <a:pt x="81" y="225"/>
                  </a:lnTo>
                  <a:lnTo>
                    <a:pt x="83" y="220"/>
                  </a:lnTo>
                  <a:lnTo>
                    <a:pt x="83" y="218"/>
                  </a:lnTo>
                  <a:lnTo>
                    <a:pt x="83" y="214"/>
                  </a:lnTo>
                  <a:lnTo>
                    <a:pt x="83" y="209"/>
                  </a:lnTo>
                  <a:lnTo>
                    <a:pt x="85" y="207"/>
                  </a:lnTo>
                  <a:lnTo>
                    <a:pt x="85" y="202"/>
                  </a:lnTo>
                  <a:lnTo>
                    <a:pt x="85" y="198"/>
                  </a:lnTo>
                  <a:lnTo>
                    <a:pt x="85" y="193"/>
                  </a:lnTo>
                  <a:lnTo>
                    <a:pt x="85" y="191"/>
                  </a:lnTo>
                  <a:lnTo>
                    <a:pt x="87" y="187"/>
                  </a:lnTo>
                  <a:lnTo>
                    <a:pt x="87" y="182"/>
                  </a:lnTo>
                  <a:lnTo>
                    <a:pt x="87" y="180"/>
                  </a:lnTo>
                  <a:lnTo>
                    <a:pt x="87" y="175"/>
                  </a:lnTo>
                  <a:lnTo>
                    <a:pt x="90" y="171"/>
                  </a:lnTo>
                  <a:lnTo>
                    <a:pt x="90" y="166"/>
                  </a:lnTo>
                  <a:lnTo>
                    <a:pt x="90" y="164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0"/>
                  </a:lnTo>
                  <a:lnTo>
                    <a:pt x="92" y="160"/>
                  </a:lnTo>
                  <a:lnTo>
                    <a:pt x="92" y="158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3"/>
                  </a:lnTo>
                  <a:lnTo>
                    <a:pt x="92" y="153"/>
                  </a:lnTo>
                  <a:lnTo>
                    <a:pt x="90" y="151"/>
                  </a:lnTo>
                  <a:lnTo>
                    <a:pt x="90" y="151"/>
                  </a:lnTo>
                  <a:lnTo>
                    <a:pt x="90" y="151"/>
                  </a:lnTo>
                  <a:lnTo>
                    <a:pt x="92" y="151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9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90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6"/>
                  </a:lnTo>
                  <a:lnTo>
                    <a:pt x="87" y="144"/>
                  </a:lnTo>
                  <a:lnTo>
                    <a:pt x="87" y="144"/>
                  </a:lnTo>
                  <a:lnTo>
                    <a:pt x="87" y="144"/>
                  </a:lnTo>
                  <a:lnTo>
                    <a:pt x="87" y="144"/>
                  </a:lnTo>
                  <a:lnTo>
                    <a:pt x="87" y="142"/>
                  </a:lnTo>
                  <a:lnTo>
                    <a:pt x="87" y="142"/>
                  </a:lnTo>
                  <a:lnTo>
                    <a:pt x="87" y="142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40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5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3" y="133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1" y="131"/>
                  </a:lnTo>
                  <a:lnTo>
                    <a:pt x="78" y="131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8"/>
                  </a:lnTo>
                  <a:lnTo>
                    <a:pt x="78" y="126"/>
                  </a:lnTo>
                  <a:lnTo>
                    <a:pt x="78" y="126"/>
                  </a:lnTo>
                  <a:lnTo>
                    <a:pt x="78" y="124"/>
                  </a:lnTo>
                  <a:lnTo>
                    <a:pt x="78" y="122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78" y="110"/>
                  </a:lnTo>
                  <a:lnTo>
                    <a:pt x="81" y="110"/>
                  </a:lnTo>
                  <a:lnTo>
                    <a:pt x="81" y="110"/>
                  </a:lnTo>
                  <a:lnTo>
                    <a:pt x="81" y="110"/>
                  </a:lnTo>
                  <a:lnTo>
                    <a:pt x="83" y="110"/>
                  </a:lnTo>
                  <a:lnTo>
                    <a:pt x="83" y="110"/>
                  </a:lnTo>
                  <a:lnTo>
                    <a:pt x="83" y="110"/>
                  </a:lnTo>
                  <a:lnTo>
                    <a:pt x="85" y="110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10"/>
                  </a:lnTo>
                  <a:lnTo>
                    <a:pt x="87" y="110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4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10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4" y="101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0" y="101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90" y="99"/>
                  </a:lnTo>
                  <a:lnTo>
                    <a:pt x="87" y="99"/>
                  </a:lnTo>
                  <a:lnTo>
                    <a:pt x="87" y="99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0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6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2" y="83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8" y="83"/>
                  </a:lnTo>
                  <a:lnTo>
                    <a:pt x="112" y="83"/>
                  </a:lnTo>
                  <a:lnTo>
                    <a:pt x="114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3"/>
                  </a:lnTo>
                  <a:lnTo>
                    <a:pt x="117" y="81"/>
                  </a:lnTo>
                  <a:lnTo>
                    <a:pt x="117" y="81"/>
                  </a:lnTo>
                  <a:lnTo>
                    <a:pt x="114" y="81"/>
                  </a:lnTo>
                  <a:lnTo>
                    <a:pt x="114" y="81"/>
                  </a:lnTo>
                  <a:lnTo>
                    <a:pt x="117" y="81"/>
                  </a:lnTo>
                  <a:lnTo>
                    <a:pt x="117" y="77"/>
                  </a:lnTo>
                  <a:lnTo>
                    <a:pt x="117" y="77"/>
                  </a:lnTo>
                  <a:lnTo>
                    <a:pt x="117" y="77"/>
                  </a:lnTo>
                  <a:lnTo>
                    <a:pt x="117" y="77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7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3" y="83"/>
                  </a:lnTo>
                  <a:lnTo>
                    <a:pt x="126" y="83"/>
                  </a:lnTo>
                  <a:lnTo>
                    <a:pt x="126" y="81"/>
                  </a:lnTo>
                  <a:lnTo>
                    <a:pt x="128" y="79"/>
                  </a:lnTo>
                  <a:lnTo>
                    <a:pt x="130" y="77"/>
                  </a:lnTo>
                  <a:lnTo>
                    <a:pt x="130" y="77"/>
                  </a:lnTo>
                  <a:lnTo>
                    <a:pt x="130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5" y="74"/>
                  </a:lnTo>
                  <a:lnTo>
                    <a:pt x="135" y="74"/>
                  </a:lnTo>
                  <a:lnTo>
                    <a:pt x="135" y="74"/>
                  </a:lnTo>
                  <a:lnTo>
                    <a:pt x="135" y="77"/>
                  </a:lnTo>
                  <a:lnTo>
                    <a:pt x="137" y="79"/>
                  </a:lnTo>
                  <a:lnTo>
                    <a:pt x="137" y="79"/>
                  </a:lnTo>
                  <a:lnTo>
                    <a:pt x="139" y="83"/>
                  </a:lnTo>
                  <a:lnTo>
                    <a:pt x="139" y="83"/>
                  </a:lnTo>
                  <a:lnTo>
                    <a:pt x="141" y="88"/>
                  </a:lnTo>
                  <a:lnTo>
                    <a:pt x="141" y="88"/>
                  </a:lnTo>
                  <a:lnTo>
                    <a:pt x="139" y="95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41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55" y="106"/>
                  </a:lnTo>
                  <a:lnTo>
                    <a:pt x="155" y="106"/>
                  </a:lnTo>
                  <a:lnTo>
                    <a:pt x="157" y="108"/>
                  </a:lnTo>
                  <a:lnTo>
                    <a:pt x="157" y="106"/>
                  </a:lnTo>
                  <a:lnTo>
                    <a:pt x="159" y="106"/>
                  </a:lnTo>
                  <a:lnTo>
                    <a:pt x="159" y="108"/>
                  </a:lnTo>
                  <a:lnTo>
                    <a:pt x="159" y="108"/>
                  </a:lnTo>
                  <a:lnTo>
                    <a:pt x="159" y="108"/>
                  </a:lnTo>
                  <a:lnTo>
                    <a:pt x="159" y="108"/>
                  </a:lnTo>
                  <a:lnTo>
                    <a:pt x="161" y="108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64" y="106"/>
                  </a:lnTo>
                  <a:lnTo>
                    <a:pt x="164" y="104"/>
                  </a:lnTo>
                  <a:lnTo>
                    <a:pt x="166" y="104"/>
                  </a:lnTo>
                  <a:lnTo>
                    <a:pt x="166" y="104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68" y="101"/>
                  </a:lnTo>
                  <a:lnTo>
                    <a:pt x="170" y="101"/>
                  </a:lnTo>
                  <a:lnTo>
                    <a:pt x="170" y="101"/>
                  </a:lnTo>
                  <a:lnTo>
                    <a:pt x="170" y="101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3" y="101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4"/>
                  </a:lnTo>
                  <a:lnTo>
                    <a:pt x="173" y="106"/>
                  </a:lnTo>
                  <a:lnTo>
                    <a:pt x="173" y="106"/>
                  </a:lnTo>
                  <a:lnTo>
                    <a:pt x="170" y="108"/>
                  </a:lnTo>
                  <a:lnTo>
                    <a:pt x="173" y="108"/>
                  </a:lnTo>
                  <a:lnTo>
                    <a:pt x="173" y="108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3" y="110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08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5" y="106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9" y="104"/>
                  </a:lnTo>
                  <a:lnTo>
                    <a:pt x="179" y="104"/>
                  </a:lnTo>
                  <a:lnTo>
                    <a:pt x="179" y="104"/>
                  </a:lnTo>
                  <a:lnTo>
                    <a:pt x="179" y="101"/>
                  </a:lnTo>
                  <a:lnTo>
                    <a:pt x="179" y="101"/>
                  </a:lnTo>
                  <a:lnTo>
                    <a:pt x="182" y="99"/>
                  </a:lnTo>
                  <a:lnTo>
                    <a:pt x="182" y="99"/>
                  </a:lnTo>
                  <a:lnTo>
                    <a:pt x="182" y="97"/>
                  </a:lnTo>
                  <a:lnTo>
                    <a:pt x="182" y="99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7"/>
                  </a:lnTo>
                  <a:lnTo>
                    <a:pt x="186" y="95"/>
                  </a:lnTo>
                  <a:lnTo>
                    <a:pt x="186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88" y="95"/>
                  </a:lnTo>
                  <a:lnTo>
                    <a:pt x="191" y="95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2"/>
                  </a:lnTo>
                  <a:lnTo>
                    <a:pt x="193" y="90"/>
                  </a:lnTo>
                  <a:lnTo>
                    <a:pt x="193" y="90"/>
                  </a:lnTo>
                  <a:lnTo>
                    <a:pt x="195" y="90"/>
                  </a:lnTo>
                  <a:lnTo>
                    <a:pt x="195" y="90"/>
                  </a:lnTo>
                  <a:lnTo>
                    <a:pt x="197" y="90"/>
                  </a:lnTo>
                  <a:lnTo>
                    <a:pt x="197" y="90"/>
                  </a:lnTo>
                  <a:lnTo>
                    <a:pt x="197" y="90"/>
                  </a:lnTo>
                  <a:lnTo>
                    <a:pt x="197" y="90"/>
                  </a:lnTo>
                  <a:lnTo>
                    <a:pt x="197" y="90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2"/>
                  </a:lnTo>
                  <a:lnTo>
                    <a:pt x="197" y="90"/>
                  </a:lnTo>
                  <a:lnTo>
                    <a:pt x="200" y="90"/>
                  </a:lnTo>
                  <a:lnTo>
                    <a:pt x="200" y="90"/>
                  </a:lnTo>
                  <a:lnTo>
                    <a:pt x="202" y="88"/>
                  </a:lnTo>
                  <a:lnTo>
                    <a:pt x="202" y="88"/>
                  </a:lnTo>
                  <a:lnTo>
                    <a:pt x="202" y="88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4" y="86"/>
                  </a:lnTo>
                  <a:lnTo>
                    <a:pt x="204" y="83"/>
                  </a:lnTo>
                  <a:lnTo>
                    <a:pt x="204" y="81"/>
                  </a:lnTo>
                  <a:lnTo>
                    <a:pt x="204" y="79"/>
                  </a:lnTo>
                  <a:lnTo>
                    <a:pt x="204" y="79"/>
                  </a:lnTo>
                  <a:lnTo>
                    <a:pt x="206" y="79"/>
                  </a:lnTo>
                  <a:lnTo>
                    <a:pt x="206" y="79"/>
                  </a:lnTo>
                  <a:lnTo>
                    <a:pt x="206" y="79"/>
                  </a:lnTo>
                  <a:lnTo>
                    <a:pt x="209" y="79"/>
                  </a:lnTo>
                  <a:lnTo>
                    <a:pt x="209" y="79"/>
                  </a:lnTo>
                  <a:lnTo>
                    <a:pt x="211" y="77"/>
                  </a:lnTo>
                  <a:lnTo>
                    <a:pt x="213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5" y="74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18" y="74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0"/>
                  </a:lnTo>
                  <a:lnTo>
                    <a:pt x="218" y="70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8" y="68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1" y="68"/>
                  </a:lnTo>
                  <a:lnTo>
                    <a:pt x="211" y="68"/>
                  </a:lnTo>
                  <a:lnTo>
                    <a:pt x="209" y="68"/>
                  </a:lnTo>
                  <a:lnTo>
                    <a:pt x="206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4" y="65"/>
                  </a:lnTo>
                  <a:lnTo>
                    <a:pt x="204" y="63"/>
                  </a:lnTo>
                  <a:lnTo>
                    <a:pt x="204" y="63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6" y="61"/>
                  </a:lnTo>
                  <a:lnTo>
                    <a:pt x="204" y="59"/>
                  </a:lnTo>
                  <a:lnTo>
                    <a:pt x="204" y="59"/>
                  </a:lnTo>
                  <a:lnTo>
                    <a:pt x="204" y="54"/>
                  </a:lnTo>
                  <a:lnTo>
                    <a:pt x="202" y="54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2" y="50"/>
                  </a:lnTo>
                  <a:lnTo>
                    <a:pt x="202" y="50"/>
                  </a:lnTo>
                  <a:lnTo>
                    <a:pt x="202" y="47"/>
                  </a:lnTo>
                  <a:lnTo>
                    <a:pt x="202" y="47"/>
                  </a:lnTo>
                  <a:lnTo>
                    <a:pt x="200" y="43"/>
                  </a:lnTo>
                  <a:lnTo>
                    <a:pt x="200" y="43"/>
                  </a:lnTo>
                  <a:lnTo>
                    <a:pt x="202" y="43"/>
                  </a:lnTo>
                  <a:lnTo>
                    <a:pt x="202" y="41"/>
                  </a:lnTo>
                  <a:lnTo>
                    <a:pt x="202" y="41"/>
                  </a:lnTo>
                  <a:lnTo>
                    <a:pt x="202" y="41"/>
                  </a:lnTo>
                  <a:lnTo>
                    <a:pt x="202" y="41"/>
                  </a:lnTo>
                  <a:lnTo>
                    <a:pt x="202" y="38"/>
                  </a:lnTo>
                  <a:lnTo>
                    <a:pt x="202" y="38"/>
                  </a:lnTo>
                  <a:lnTo>
                    <a:pt x="200" y="38"/>
                  </a:lnTo>
                  <a:lnTo>
                    <a:pt x="200" y="36"/>
                  </a:lnTo>
                  <a:lnTo>
                    <a:pt x="200" y="36"/>
                  </a:lnTo>
                  <a:lnTo>
                    <a:pt x="197" y="36"/>
                  </a:lnTo>
                  <a:lnTo>
                    <a:pt x="197" y="34"/>
                  </a:lnTo>
                  <a:lnTo>
                    <a:pt x="195" y="34"/>
                  </a:lnTo>
                  <a:lnTo>
                    <a:pt x="193" y="32"/>
                  </a:lnTo>
                  <a:lnTo>
                    <a:pt x="193" y="32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3" y="29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7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91" y="25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88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1" y="23"/>
                  </a:lnTo>
                  <a:lnTo>
                    <a:pt x="193" y="25"/>
                  </a:lnTo>
                  <a:lnTo>
                    <a:pt x="193" y="25"/>
                  </a:lnTo>
                  <a:lnTo>
                    <a:pt x="193" y="27"/>
                  </a:lnTo>
                  <a:lnTo>
                    <a:pt x="193" y="27"/>
                  </a:lnTo>
                  <a:lnTo>
                    <a:pt x="193" y="27"/>
                  </a:lnTo>
                  <a:lnTo>
                    <a:pt x="197" y="27"/>
                  </a:lnTo>
                  <a:lnTo>
                    <a:pt x="202" y="27"/>
                  </a:lnTo>
                  <a:lnTo>
                    <a:pt x="202" y="27"/>
                  </a:lnTo>
                  <a:lnTo>
                    <a:pt x="204" y="27"/>
                  </a:lnTo>
                  <a:lnTo>
                    <a:pt x="204" y="27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4" y="32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2"/>
                  </a:lnTo>
                  <a:lnTo>
                    <a:pt x="213" y="32"/>
                  </a:lnTo>
                  <a:lnTo>
                    <a:pt x="215" y="32"/>
                  </a:lnTo>
                  <a:lnTo>
                    <a:pt x="215" y="34"/>
                  </a:lnTo>
                  <a:lnTo>
                    <a:pt x="218" y="34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18" y="29"/>
                  </a:lnTo>
                  <a:lnTo>
                    <a:pt x="220" y="29"/>
                  </a:lnTo>
                  <a:lnTo>
                    <a:pt x="220" y="32"/>
                  </a:lnTo>
                  <a:lnTo>
                    <a:pt x="222" y="32"/>
                  </a:lnTo>
                  <a:lnTo>
                    <a:pt x="222" y="32"/>
                  </a:lnTo>
                  <a:lnTo>
                    <a:pt x="222" y="34"/>
                  </a:lnTo>
                  <a:lnTo>
                    <a:pt x="224" y="36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38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41"/>
                  </a:lnTo>
                  <a:lnTo>
                    <a:pt x="229" y="41"/>
                  </a:lnTo>
                  <a:lnTo>
                    <a:pt x="229" y="41"/>
                  </a:lnTo>
                  <a:lnTo>
                    <a:pt x="229" y="41"/>
                  </a:lnTo>
                  <a:lnTo>
                    <a:pt x="229" y="41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3" y="36"/>
                  </a:lnTo>
                  <a:lnTo>
                    <a:pt x="233" y="36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4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1" y="32"/>
                  </a:lnTo>
                  <a:lnTo>
                    <a:pt x="231" y="29"/>
                  </a:lnTo>
                  <a:lnTo>
                    <a:pt x="231" y="29"/>
                  </a:lnTo>
                  <a:lnTo>
                    <a:pt x="231" y="29"/>
                  </a:lnTo>
                  <a:lnTo>
                    <a:pt x="233" y="29"/>
                  </a:lnTo>
                  <a:lnTo>
                    <a:pt x="233" y="29"/>
                  </a:lnTo>
                  <a:lnTo>
                    <a:pt x="233" y="29"/>
                  </a:lnTo>
                  <a:lnTo>
                    <a:pt x="236" y="29"/>
                  </a:lnTo>
                  <a:lnTo>
                    <a:pt x="236" y="29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6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7"/>
                  </a:lnTo>
                  <a:lnTo>
                    <a:pt x="238" y="25"/>
                  </a:lnTo>
                  <a:lnTo>
                    <a:pt x="238" y="25"/>
                  </a:lnTo>
                  <a:lnTo>
                    <a:pt x="240" y="25"/>
                  </a:lnTo>
                  <a:lnTo>
                    <a:pt x="240" y="25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7" y="27"/>
                  </a:lnTo>
                  <a:lnTo>
                    <a:pt x="247" y="25"/>
                  </a:lnTo>
                  <a:lnTo>
                    <a:pt x="249" y="25"/>
                  </a:lnTo>
                  <a:lnTo>
                    <a:pt x="249" y="25"/>
                  </a:lnTo>
                  <a:lnTo>
                    <a:pt x="249" y="27"/>
                  </a:lnTo>
                  <a:lnTo>
                    <a:pt x="249" y="27"/>
                  </a:lnTo>
                  <a:lnTo>
                    <a:pt x="249" y="27"/>
                  </a:lnTo>
                  <a:lnTo>
                    <a:pt x="251" y="27"/>
                  </a:lnTo>
                  <a:lnTo>
                    <a:pt x="251" y="25"/>
                  </a:lnTo>
                  <a:lnTo>
                    <a:pt x="251" y="25"/>
                  </a:lnTo>
                  <a:lnTo>
                    <a:pt x="251" y="25"/>
                  </a:lnTo>
                  <a:lnTo>
                    <a:pt x="254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3"/>
                  </a:lnTo>
                  <a:lnTo>
                    <a:pt x="256" y="23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6" y="23"/>
                  </a:lnTo>
                  <a:lnTo>
                    <a:pt x="258" y="23"/>
                  </a:lnTo>
                  <a:lnTo>
                    <a:pt x="258" y="25"/>
                  </a:lnTo>
                  <a:lnTo>
                    <a:pt x="258" y="23"/>
                  </a:lnTo>
                  <a:lnTo>
                    <a:pt x="258" y="23"/>
                  </a:lnTo>
                  <a:lnTo>
                    <a:pt x="258" y="23"/>
                  </a:lnTo>
                  <a:lnTo>
                    <a:pt x="258" y="23"/>
                  </a:lnTo>
                  <a:lnTo>
                    <a:pt x="258" y="23"/>
                  </a:lnTo>
                  <a:lnTo>
                    <a:pt x="258" y="20"/>
                  </a:lnTo>
                  <a:lnTo>
                    <a:pt x="258" y="20"/>
                  </a:lnTo>
                  <a:lnTo>
                    <a:pt x="260" y="20"/>
                  </a:lnTo>
                  <a:lnTo>
                    <a:pt x="260" y="20"/>
                  </a:lnTo>
                  <a:lnTo>
                    <a:pt x="260" y="20"/>
                  </a:lnTo>
                  <a:lnTo>
                    <a:pt x="263" y="20"/>
                  </a:lnTo>
                  <a:lnTo>
                    <a:pt x="263" y="20"/>
                  </a:lnTo>
                  <a:lnTo>
                    <a:pt x="263" y="20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3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5" y="18"/>
                  </a:lnTo>
                  <a:lnTo>
                    <a:pt x="267" y="18"/>
                  </a:lnTo>
                  <a:lnTo>
                    <a:pt x="267" y="18"/>
                  </a:lnTo>
                  <a:lnTo>
                    <a:pt x="269" y="18"/>
                  </a:lnTo>
                  <a:lnTo>
                    <a:pt x="269" y="16"/>
                  </a:lnTo>
                  <a:lnTo>
                    <a:pt x="272" y="16"/>
                  </a:lnTo>
                  <a:lnTo>
                    <a:pt x="272" y="16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2" y="14"/>
                  </a:lnTo>
                  <a:lnTo>
                    <a:pt x="274" y="11"/>
                  </a:lnTo>
                  <a:lnTo>
                    <a:pt x="276" y="11"/>
                  </a:lnTo>
                  <a:lnTo>
                    <a:pt x="276" y="9"/>
                  </a:lnTo>
                  <a:lnTo>
                    <a:pt x="278" y="9"/>
                  </a:lnTo>
                  <a:lnTo>
                    <a:pt x="278" y="7"/>
                  </a:lnTo>
                  <a:lnTo>
                    <a:pt x="278" y="7"/>
                  </a:lnTo>
                  <a:lnTo>
                    <a:pt x="276" y="2"/>
                  </a:lnTo>
                  <a:lnTo>
                    <a:pt x="276" y="2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6" y="0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78" y="0"/>
                  </a:lnTo>
                  <a:lnTo>
                    <a:pt x="278" y="2"/>
                  </a:lnTo>
                  <a:lnTo>
                    <a:pt x="278" y="2"/>
                  </a:lnTo>
                  <a:lnTo>
                    <a:pt x="281" y="0"/>
                  </a:lnTo>
                  <a:lnTo>
                    <a:pt x="281" y="2"/>
                  </a:lnTo>
                  <a:lnTo>
                    <a:pt x="281" y="2"/>
                  </a:lnTo>
                  <a:lnTo>
                    <a:pt x="281" y="2"/>
                  </a:lnTo>
                  <a:lnTo>
                    <a:pt x="281" y="2"/>
                  </a:lnTo>
                  <a:lnTo>
                    <a:pt x="281" y="2"/>
                  </a:lnTo>
                  <a:lnTo>
                    <a:pt x="281" y="2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0"/>
                  </a:lnTo>
                  <a:lnTo>
                    <a:pt x="283" y="2"/>
                  </a:lnTo>
                  <a:lnTo>
                    <a:pt x="283" y="2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285" y="0"/>
                  </a:lnTo>
                  <a:lnTo>
                    <a:pt x="287" y="0"/>
                  </a:lnTo>
                  <a:lnTo>
                    <a:pt x="287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9" name="Freeform 637"/>
            <p:cNvSpPr>
              <a:spLocks/>
            </p:cNvSpPr>
            <p:nvPr/>
          </p:nvSpPr>
          <p:spPr bwMode="auto">
            <a:xfrm>
              <a:off x="6327850" y="4676108"/>
              <a:ext cx="325928" cy="361028"/>
            </a:xfrm>
            <a:custGeom>
              <a:avLst/>
              <a:gdLst>
                <a:gd name="T0" fmla="*/ 119 w 195"/>
                <a:gd name="T1" fmla="*/ 13 h 216"/>
                <a:gd name="T2" fmla="*/ 128 w 195"/>
                <a:gd name="T3" fmla="*/ 29 h 216"/>
                <a:gd name="T4" fmla="*/ 135 w 195"/>
                <a:gd name="T5" fmla="*/ 42 h 216"/>
                <a:gd name="T6" fmla="*/ 139 w 195"/>
                <a:gd name="T7" fmla="*/ 47 h 216"/>
                <a:gd name="T8" fmla="*/ 146 w 195"/>
                <a:gd name="T9" fmla="*/ 51 h 216"/>
                <a:gd name="T10" fmla="*/ 153 w 195"/>
                <a:gd name="T11" fmla="*/ 54 h 216"/>
                <a:gd name="T12" fmla="*/ 161 w 195"/>
                <a:gd name="T13" fmla="*/ 67 h 216"/>
                <a:gd name="T14" fmla="*/ 161 w 195"/>
                <a:gd name="T15" fmla="*/ 78 h 216"/>
                <a:gd name="T16" fmla="*/ 166 w 195"/>
                <a:gd name="T17" fmla="*/ 87 h 216"/>
                <a:gd name="T18" fmla="*/ 168 w 195"/>
                <a:gd name="T19" fmla="*/ 90 h 216"/>
                <a:gd name="T20" fmla="*/ 179 w 195"/>
                <a:gd name="T21" fmla="*/ 92 h 216"/>
                <a:gd name="T22" fmla="*/ 188 w 195"/>
                <a:gd name="T23" fmla="*/ 96 h 216"/>
                <a:gd name="T24" fmla="*/ 193 w 195"/>
                <a:gd name="T25" fmla="*/ 105 h 216"/>
                <a:gd name="T26" fmla="*/ 186 w 195"/>
                <a:gd name="T27" fmla="*/ 110 h 216"/>
                <a:gd name="T28" fmla="*/ 177 w 195"/>
                <a:gd name="T29" fmla="*/ 112 h 216"/>
                <a:gd name="T30" fmla="*/ 168 w 195"/>
                <a:gd name="T31" fmla="*/ 117 h 216"/>
                <a:gd name="T32" fmla="*/ 166 w 195"/>
                <a:gd name="T33" fmla="*/ 119 h 216"/>
                <a:gd name="T34" fmla="*/ 161 w 195"/>
                <a:gd name="T35" fmla="*/ 126 h 216"/>
                <a:gd name="T36" fmla="*/ 161 w 195"/>
                <a:gd name="T37" fmla="*/ 128 h 216"/>
                <a:gd name="T38" fmla="*/ 157 w 195"/>
                <a:gd name="T39" fmla="*/ 130 h 216"/>
                <a:gd name="T40" fmla="*/ 153 w 195"/>
                <a:gd name="T41" fmla="*/ 132 h 216"/>
                <a:gd name="T42" fmla="*/ 148 w 195"/>
                <a:gd name="T43" fmla="*/ 135 h 216"/>
                <a:gd name="T44" fmla="*/ 148 w 195"/>
                <a:gd name="T45" fmla="*/ 137 h 216"/>
                <a:gd name="T46" fmla="*/ 146 w 195"/>
                <a:gd name="T47" fmla="*/ 139 h 216"/>
                <a:gd name="T48" fmla="*/ 141 w 195"/>
                <a:gd name="T49" fmla="*/ 150 h 216"/>
                <a:gd name="T50" fmla="*/ 130 w 195"/>
                <a:gd name="T51" fmla="*/ 162 h 216"/>
                <a:gd name="T52" fmla="*/ 121 w 195"/>
                <a:gd name="T53" fmla="*/ 168 h 216"/>
                <a:gd name="T54" fmla="*/ 101 w 195"/>
                <a:gd name="T55" fmla="*/ 189 h 216"/>
                <a:gd name="T56" fmla="*/ 87 w 195"/>
                <a:gd name="T57" fmla="*/ 189 h 216"/>
                <a:gd name="T58" fmla="*/ 78 w 195"/>
                <a:gd name="T59" fmla="*/ 186 h 216"/>
                <a:gd name="T60" fmla="*/ 72 w 195"/>
                <a:gd name="T61" fmla="*/ 180 h 216"/>
                <a:gd name="T62" fmla="*/ 63 w 195"/>
                <a:gd name="T63" fmla="*/ 180 h 216"/>
                <a:gd name="T64" fmla="*/ 58 w 195"/>
                <a:gd name="T65" fmla="*/ 182 h 216"/>
                <a:gd name="T66" fmla="*/ 56 w 195"/>
                <a:gd name="T67" fmla="*/ 186 h 216"/>
                <a:gd name="T68" fmla="*/ 54 w 195"/>
                <a:gd name="T69" fmla="*/ 193 h 216"/>
                <a:gd name="T70" fmla="*/ 51 w 195"/>
                <a:gd name="T71" fmla="*/ 198 h 216"/>
                <a:gd name="T72" fmla="*/ 45 w 195"/>
                <a:gd name="T73" fmla="*/ 204 h 216"/>
                <a:gd name="T74" fmla="*/ 33 w 195"/>
                <a:gd name="T75" fmla="*/ 213 h 216"/>
                <a:gd name="T76" fmla="*/ 22 w 195"/>
                <a:gd name="T77" fmla="*/ 216 h 216"/>
                <a:gd name="T78" fmla="*/ 11 w 195"/>
                <a:gd name="T79" fmla="*/ 216 h 216"/>
                <a:gd name="T80" fmla="*/ 11 w 195"/>
                <a:gd name="T81" fmla="*/ 204 h 216"/>
                <a:gd name="T82" fmla="*/ 15 w 195"/>
                <a:gd name="T83" fmla="*/ 191 h 216"/>
                <a:gd name="T84" fmla="*/ 13 w 195"/>
                <a:gd name="T85" fmla="*/ 186 h 216"/>
                <a:gd name="T86" fmla="*/ 11 w 195"/>
                <a:gd name="T87" fmla="*/ 182 h 216"/>
                <a:gd name="T88" fmla="*/ 11 w 195"/>
                <a:gd name="T89" fmla="*/ 177 h 216"/>
                <a:gd name="T90" fmla="*/ 6 w 195"/>
                <a:gd name="T91" fmla="*/ 173 h 216"/>
                <a:gd name="T92" fmla="*/ 0 w 195"/>
                <a:gd name="T93" fmla="*/ 153 h 216"/>
                <a:gd name="T94" fmla="*/ 6 w 195"/>
                <a:gd name="T95" fmla="*/ 101 h 216"/>
                <a:gd name="T96" fmla="*/ 22 w 195"/>
                <a:gd name="T97" fmla="*/ 85 h 216"/>
                <a:gd name="T98" fmla="*/ 24 w 195"/>
                <a:gd name="T99" fmla="*/ 51 h 216"/>
                <a:gd name="T100" fmla="*/ 24 w 195"/>
                <a:gd name="T101" fmla="*/ 22 h 216"/>
                <a:gd name="T102" fmla="*/ 31 w 195"/>
                <a:gd name="T103" fmla="*/ 11 h 216"/>
                <a:gd name="T104" fmla="*/ 45 w 195"/>
                <a:gd name="T105" fmla="*/ 9 h 216"/>
                <a:gd name="T106" fmla="*/ 72 w 195"/>
                <a:gd name="T107" fmla="*/ 4 h 216"/>
                <a:gd name="T108" fmla="*/ 76 w 195"/>
                <a:gd name="T109" fmla="*/ 9 h 216"/>
                <a:gd name="T110" fmla="*/ 78 w 195"/>
                <a:gd name="T111" fmla="*/ 11 h 216"/>
                <a:gd name="T112" fmla="*/ 81 w 195"/>
                <a:gd name="T113" fmla="*/ 15 h 216"/>
                <a:gd name="T114" fmla="*/ 87 w 195"/>
                <a:gd name="T115" fmla="*/ 9 h 216"/>
                <a:gd name="T116" fmla="*/ 94 w 195"/>
                <a:gd name="T117" fmla="*/ 4 h 216"/>
                <a:gd name="T118" fmla="*/ 99 w 195"/>
                <a:gd name="T119" fmla="*/ 6 h 216"/>
                <a:gd name="T120" fmla="*/ 103 w 195"/>
                <a:gd name="T121" fmla="*/ 2 h 216"/>
                <a:gd name="T122" fmla="*/ 108 w 195"/>
                <a:gd name="T123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5" h="216">
                  <a:moveTo>
                    <a:pt x="114" y="0"/>
                  </a:move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7" y="6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11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21" y="15"/>
                  </a:lnTo>
                  <a:lnTo>
                    <a:pt x="121" y="18"/>
                  </a:lnTo>
                  <a:lnTo>
                    <a:pt x="123" y="18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6" y="24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2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5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7" y="47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9" y="49"/>
                  </a:lnTo>
                  <a:lnTo>
                    <a:pt x="139" y="49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41" y="49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6" y="51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48" y="51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0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4"/>
                  </a:lnTo>
                  <a:lnTo>
                    <a:pt x="153" y="58"/>
                  </a:lnTo>
                  <a:lnTo>
                    <a:pt x="155" y="60"/>
                  </a:lnTo>
                  <a:lnTo>
                    <a:pt x="153" y="65"/>
                  </a:lnTo>
                  <a:lnTo>
                    <a:pt x="155" y="63"/>
                  </a:lnTo>
                  <a:lnTo>
                    <a:pt x="155" y="63"/>
                  </a:lnTo>
                  <a:lnTo>
                    <a:pt x="157" y="63"/>
                  </a:lnTo>
                  <a:lnTo>
                    <a:pt x="159" y="63"/>
                  </a:lnTo>
                  <a:lnTo>
                    <a:pt x="159" y="63"/>
                  </a:lnTo>
                  <a:lnTo>
                    <a:pt x="161" y="63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5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2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1" y="74"/>
                  </a:lnTo>
                  <a:lnTo>
                    <a:pt x="161" y="76"/>
                  </a:lnTo>
                  <a:lnTo>
                    <a:pt x="161" y="76"/>
                  </a:lnTo>
                  <a:lnTo>
                    <a:pt x="161" y="76"/>
                  </a:lnTo>
                  <a:lnTo>
                    <a:pt x="161" y="78"/>
                  </a:lnTo>
                  <a:lnTo>
                    <a:pt x="161" y="78"/>
                  </a:lnTo>
                  <a:lnTo>
                    <a:pt x="161" y="78"/>
                  </a:lnTo>
                  <a:lnTo>
                    <a:pt x="161" y="78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87"/>
                  </a:lnTo>
                  <a:lnTo>
                    <a:pt x="166" y="90"/>
                  </a:lnTo>
                  <a:lnTo>
                    <a:pt x="166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68" y="90"/>
                  </a:lnTo>
                  <a:lnTo>
                    <a:pt x="170" y="90"/>
                  </a:lnTo>
                  <a:lnTo>
                    <a:pt x="173" y="90"/>
                  </a:lnTo>
                  <a:lnTo>
                    <a:pt x="175" y="90"/>
                  </a:lnTo>
                  <a:lnTo>
                    <a:pt x="175" y="90"/>
                  </a:lnTo>
                  <a:lnTo>
                    <a:pt x="177" y="92"/>
                  </a:lnTo>
                  <a:lnTo>
                    <a:pt x="177" y="92"/>
                  </a:lnTo>
                  <a:lnTo>
                    <a:pt x="177" y="92"/>
                  </a:lnTo>
                  <a:lnTo>
                    <a:pt x="177" y="92"/>
                  </a:lnTo>
                  <a:lnTo>
                    <a:pt x="177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79" y="92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4" y="94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88" y="101"/>
                  </a:lnTo>
                  <a:lnTo>
                    <a:pt x="188" y="101"/>
                  </a:lnTo>
                  <a:lnTo>
                    <a:pt x="188" y="101"/>
                  </a:lnTo>
                  <a:lnTo>
                    <a:pt x="191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1"/>
                  </a:lnTo>
                  <a:lnTo>
                    <a:pt x="193" y="103"/>
                  </a:lnTo>
                  <a:lnTo>
                    <a:pt x="193" y="103"/>
                  </a:lnTo>
                  <a:lnTo>
                    <a:pt x="193" y="103"/>
                  </a:lnTo>
                  <a:lnTo>
                    <a:pt x="195" y="103"/>
                  </a:lnTo>
                  <a:lnTo>
                    <a:pt x="193" y="105"/>
                  </a:lnTo>
                  <a:lnTo>
                    <a:pt x="193" y="105"/>
                  </a:lnTo>
                  <a:lnTo>
                    <a:pt x="193" y="103"/>
                  </a:lnTo>
                  <a:lnTo>
                    <a:pt x="191" y="103"/>
                  </a:lnTo>
                  <a:lnTo>
                    <a:pt x="191" y="105"/>
                  </a:lnTo>
                  <a:lnTo>
                    <a:pt x="191" y="105"/>
                  </a:lnTo>
                  <a:lnTo>
                    <a:pt x="191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8" y="105"/>
                  </a:lnTo>
                  <a:lnTo>
                    <a:pt x="186" y="105"/>
                  </a:lnTo>
                  <a:lnTo>
                    <a:pt x="186" y="105"/>
                  </a:lnTo>
                  <a:lnTo>
                    <a:pt x="186" y="108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6" y="110"/>
                  </a:lnTo>
                  <a:lnTo>
                    <a:pt x="184" y="110"/>
                  </a:lnTo>
                  <a:lnTo>
                    <a:pt x="184" y="110"/>
                  </a:lnTo>
                  <a:lnTo>
                    <a:pt x="184" y="110"/>
                  </a:lnTo>
                  <a:lnTo>
                    <a:pt x="184" y="112"/>
                  </a:lnTo>
                  <a:lnTo>
                    <a:pt x="184" y="112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79" y="112"/>
                  </a:lnTo>
                  <a:lnTo>
                    <a:pt x="179" y="112"/>
                  </a:lnTo>
                  <a:lnTo>
                    <a:pt x="179" y="112"/>
                  </a:lnTo>
                  <a:lnTo>
                    <a:pt x="177" y="112"/>
                  </a:lnTo>
                  <a:lnTo>
                    <a:pt x="177" y="112"/>
                  </a:lnTo>
                  <a:lnTo>
                    <a:pt x="177" y="114"/>
                  </a:lnTo>
                  <a:lnTo>
                    <a:pt x="177" y="114"/>
                  </a:lnTo>
                  <a:lnTo>
                    <a:pt x="175" y="114"/>
                  </a:lnTo>
                  <a:lnTo>
                    <a:pt x="175" y="114"/>
                  </a:lnTo>
                  <a:lnTo>
                    <a:pt x="173" y="114"/>
                  </a:lnTo>
                  <a:lnTo>
                    <a:pt x="173" y="114"/>
                  </a:lnTo>
                  <a:lnTo>
                    <a:pt x="173" y="114"/>
                  </a:lnTo>
                  <a:lnTo>
                    <a:pt x="170" y="114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70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68" y="117"/>
                  </a:lnTo>
                  <a:lnTo>
                    <a:pt x="170" y="117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8" y="119"/>
                  </a:lnTo>
                  <a:lnTo>
                    <a:pt x="166" y="119"/>
                  </a:lnTo>
                  <a:lnTo>
                    <a:pt x="166" y="119"/>
                  </a:lnTo>
                  <a:lnTo>
                    <a:pt x="166" y="121"/>
                  </a:lnTo>
                  <a:lnTo>
                    <a:pt x="166" y="121"/>
                  </a:lnTo>
                  <a:lnTo>
                    <a:pt x="166" y="121"/>
                  </a:lnTo>
                  <a:lnTo>
                    <a:pt x="166" y="121"/>
                  </a:lnTo>
                  <a:lnTo>
                    <a:pt x="166" y="121"/>
                  </a:lnTo>
                  <a:lnTo>
                    <a:pt x="166" y="123"/>
                  </a:lnTo>
                  <a:lnTo>
                    <a:pt x="166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3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4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6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61" y="128"/>
                  </a:lnTo>
                  <a:lnTo>
                    <a:pt x="159" y="130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30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28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0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5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5"/>
                  </a:lnTo>
                  <a:lnTo>
                    <a:pt x="153" y="135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50" y="135"/>
                  </a:lnTo>
                  <a:lnTo>
                    <a:pt x="148" y="135"/>
                  </a:lnTo>
                  <a:lnTo>
                    <a:pt x="148" y="135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8" y="137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7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7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6" y="139"/>
                  </a:lnTo>
                  <a:lnTo>
                    <a:pt x="144" y="139"/>
                  </a:lnTo>
                  <a:lnTo>
                    <a:pt x="144" y="139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4" y="144"/>
                  </a:lnTo>
                  <a:lnTo>
                    <a:pt x="141" y="150"/>
                  </a:lnTo>
                  <a:lnTo>
                    <a:pt x="141" y="150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1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7"/>
                  </a:lnTo>
                  <a:lnTo>
                    <a:pt x="135" y="157"/>
                  </a:lnTo>
                  <a:lnTo>
                    <a:pt x="135" y="159"/>
                  </a:lnTo>
                  <a:lnTo>
                    <a:pt x="135" y="159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2" y="162"/>
                  </a:lnTo>
                  <a:lnTo>
                    <a:pt x="130" y="162"/>
                  </a:lnTo>
                  <a:lnTo>
                    <a:pt x="130" y="162"/>
                  </a:lnTo>
                  <a:lnTo>
                    <a:pt x="130" y="162"/>
                  </a:lnTo>
                  <a:lnTo>
                    <a:pt x="130" y="162"/>
                  </a:lnTo>
                  <a:lnTo>
                    <a:pt x="128" y="162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1" y="164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21" y="168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3"/>
                  </a:lnTo>
                  <a:lnTo>
                    <a:pt x="119" y="175"/>
                  </a:lnTo>
                  <a:lnTo>
                    <a:pt x="117" y="180"/>
                  </a:lnTo>
                  <a:lnTo>
                    <a:pt x="114" y="182"/>
                  </a:lnTo>
                  <a:lnTo>
                    <a:pt x="114" y="184"/>
                  </a:lnTo>
                  <a:lnTo>
                    <a:pt x="114" y="186"/>
                  </a:lnTo>
                  <a:lnTo>
                    <a:pt x="110" y="189"/>
                  </a:lnTo>
                  <a:lnTo>
                    <a:pt x="110" y="189"/>
                  </a:lnTo>
                  <a:lnTo>
                    <a:pt x="105" y="189"/>
                  </a:lnTo>
                  <a:lnTo>
                    <a:pt x="103" y="189"/>
                  </a:lnTo>
                  <a:lnTo>
                    <a:pt x="103" y="189"/>
                  </a:lnTo>
                  <a:lnTo>
                    <a:pt x="103" y="189"/>
                  </a:lnTo>
                  <a:lnTo>
                    <a:pt x="101" y="189"/>
                  </a:lnTo>
                  <a:lnTo>
                    <a:pt x="101" y="189"/>
                  </a:lnTo>
                  <a:lnTo>
                    <a:pt x="99" y="191"/>
                  </a:lnTo>
                  <a:lnTo>
                    <a:pt x="99" y="191"/>
                  </a:lnTo>
                  <a:lnTo>
                    <a:pt x="99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2" y="191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3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81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6"/>
                  </a:lnTo>
                  <a:lnTo>
                    <a:pt x="78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4"/>
                  </a:lnTo>
                  <a:lnTo>
                    <a:pt x="76" y="182"/>
                  </a:lnTo>
                  <a:lnTo>
                    <a:pt x="76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7" y="177"/>
                  </a:lnTo>
                  <a:lnTo>
                    <a:pt x="67" y="177"/>
                  </a:lnTo>
                  <a:lnTo>
                    <a:pt x="65" y="177"/>
                  </a:lnTo>
                  <a:lnTo>
                    <a:pt x="65" y="177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80"/>
                  </a:lnTo>
                  <a:lnTo>
                    <a:pt x="63" y="177"/>
                  </a:lnTo>
                  <a:lnTo>
                    <a:pt x="63" y="177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60" y="180"/>
                  </a:lnTo>
                  <a:lnTo>
                    <a:pt x="58" y="180"/>
                  </a:lnTo>
                  <a:lnTo>
                    <a:pt x="58" y="180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2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6" y="184"/>
                  </a:lnTo>
                  <a:lnTo>
                    <a:pt x="58" y="186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6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6" y="189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3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4" y="195"/>
                  </a:lnTo>
                  <a:lnTo>
                    <a:pt x="51" y="198"/>
                  </a:lnTo>
                  <a:lnTo>
                    <a:pt x="51" y="198"/>
                  </a:lnTo>
                  <a:lnTo>
                    <a:pt x="51" y="198"/>
                  </a:lnTo>
                  <a:lnTo>
                    <a:pt x="51" y="198"/>
                  </a:lnTo>
                  <a:lnTo>
                    <a:pt x="51" y="200"/>
                  </a:lnTo>
                  <a:lnTo>
                    <a:pt x="51" y="200"/>
                  </a:lnTo>
                  <a:lnTo>
                    <a:pt x="49" y="200"/>
                  </a:lnTo>
                  <a:lnTo>
                    <a:pt x="49" y="200"/>
                  </a:lnTo>
                  <a:lnTo>
                    <a:pt x="49" y="200"/>
                  </a:lnTo>
                  <a:lnTo>
                    <a:pt x="49" y="200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7" y="202"/>
                  </a:lnTo>
                  <a:lnTo>
                    <a:pt x="45" y="202"/>
                  </a:lnTo>
                  <a:lnTo>
                    <a:pt x="45" y="202"/>
                  </a:lnTo>
                  <a:lnTo>
                    <a:pt x="45" y="204"/>
                  </a:lnTo>
                  <a:lnTo>
                    <a:pt x="45" y="204"/>
                  </a:lnTo>
                  <a:lnTo>
                    <a:pt x="42" y="204"/>
                  </a:lnTo>
                  <a:lnTo>
                    <a:pt x="42" y="207"/>
                  </a:lnTo>
                  <a:lnTo>
                    <a:pt x="42" y="207"/>
                  </a:lnTo>
                  <a:lnTo>
                    <a:pt x="40" y="209"/>
                  </a:lnTo>
                  <a:lnTo>
                    <a:pt x="40" y="209"/>
                  </a:lnTo>
                  <a:lnTo>
                    <a:pt x="38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3" y="211"/>
                  </a:lnTo>
                  <a:lnTo>
                    <a:pt x="33" y="211"/>
                  </a:lnTo>
                  <a:lnTo>
                    <a:pt x="33" y="211"/>
                  </a:lnTo>
                  <a:lnTo>
                    <a:pt x="33" y="213"/>
                  </a:lnTo>
                  <a:lnTo>
                    <a:pt x="33" y="213"/>
                  </a:lnTo>
                  <a:lnTo>
                    <a:pt x="33" y="213"/>
                  </a:lnTo>
                  <a:lnTo>
                    <a:pt x="33" y="213"/>
                  </a:lnTo>
                  <a:lnTo>
                    <a:pt x="33" y="216"/>
                  </a:lnTo>
                  <a:lnTo>
                    <a:pt x="33" y="216"/>
                  </a:lnTo>
                  <a:lnTo>
                    <a:pt x="31" y="216"/>
                  </a:lnTo>
                  <a:lnTo>
                    <a:pt x="31" y="216"/>
                  </a:lnTo>
                  <a:lnTo>
                    <a:pt x="31" y="216"/>
                  </a:lnTo>
                  <a:lnTo>
                    <a:pt x="29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4" y="216"/>
                  </a:lnTo>
                  <a:lnTo>
                    <a:pt x="22" y="216"/>
                  </a:lnTo>
                  <a:lnTo>
                    <a:pt x="20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3"/>
                  </a:lnTo>
                  <a:lnTo>
                    <a:pt x="15" y="213"/>
                  </a:lnTo>
                  <a:lnTo>
                    <a:pt x="15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3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11" y="211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1" y="209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4"/>
                  </a:lnTo>
                  <a:lnTo>
                    <a:pt x="11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5" y="200"/>
                  </a:lnTo>
                  <a:lnTo>
                    <a:pt x="15" y="200"/>
                  </a:lnTo>
                  <a:lnTo>
                    <a:pt x="15" y="198"/>
                  </a:lnTo>
                  <a:lnTo>
                    <a:pt x="15" y="198"/>
                  </a:lnTo>
                  <a:lnTo>
                    <a:pt x="15" y="198"/>
                  </a:lnTo>
                  <a:lnTo>
                    <a:pt x="15" y="195"/>
                  </a:lnTo>
                  <a:lnTo>
                    <a:pt x="15" y="195"/>
                  </a:lnTo>
                  <a:lnTo>
                    <a:pt x="15" y="193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9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6"/>
                  </a:lnTo>
                  <a:lnTo>
                    <a:pt x="13" y="184"/>
                  </a:lnTo>
                  <a:lnTo>
                    <a:pt x="11" y="184"/>
                  </a:lnTo>
                  <a:lnTo>
                    <a:pt x="13" y="184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2"/>
                  </a:lnTo>
                  <a:lnTo>
                    <a:pt x="11" y="180"/>
                  </a:lnTo>
                  <a:lnTo>
                    <a:pt x="11" y="180"/>
                  </a:lnTo>
                  <a:lnTo>
                    <a:pt x="11" y="180"/>
                  </a:lnTo>
                  <a:lnTo>
                    <a:pt x="11" y="180"/>
                  </a:lnTo>
                  <a:lnTo>
                    <a:pt x="11" y="180"/>
                  </a:lnTo>
                  <a:lnTo>
                    <a:pt x="11" y="180"/>
                  </a:lnTo>
                  <a:lnTo>
                    <a:pt x="11" y="180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11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3"/>
                  </a:lnTo>
                  <a:lnTo>
                    <a:pt x="6" y="173"/>
                  </a:lnTo>
                  <a:lnTo>
                    <a:pt x="6" y="173"/>
                  </a:lnTo>
                  <a:lnTo>
                    <a:pt x="4" y="171"/>
                  </a:lnTo>
                  <a:lnTo>
                    <a:pt x="4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6"/>
                  </a:lnTo>
                  <a:lnTo>
                    <a:pt x="0" y="162"/>
                  </a:lnTo>
                  <a:lnTo>
                    <a:pt x="0" y="157"/>
                  </a:lnTo>
                  <a:lnTo>
                    <a:pt x="0" y="153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0" y="141"/>
                  </a:lnTo>
                  <a:lnTo>
                    <a:pt x="0" y="137"/>
                  </a:lnTo>
                  <a:lnTo>
                    <a:pt x="0" y="132"/>
                  </a:lnTo>
                  <a:lnTo>
                    <a:pt x="2" y="128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7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2" y="105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6" y="101"/>
                  </a:lnTo>
                  <a:lnTo>
                    <a:pt x="11" y="101"/>
                  </a:lnTo>
                  <a:lnTo>
                    <a:pt x="15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2" y="96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0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4" y="74"/>
                  </a:lnTo>
                  <a:lnTo>
                    <a:pt x="24" y="69"/>
                  </a:lnTo>
                  <a:lnTo>
                    <a:pt x="24" y="67"/>
                  </a:lnTo>
                  <a:lnTo>
                    <a:pt x="24" y="65"/>
                  </a:lnTo>
                  <a:lnTo>
                    <a:pt x="24" y="60"/>
                  </a:lnTo>
                  <a:lnTo>
                    <a:pt x="24" y="58"/>
                  </a:lnTo>
                  <a:lnTo>
                    <a:pt x="24" y="56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24" y="47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24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9"/>
                  </a:lnTo>
                  <a:lnTo>
                    <a:pt x="49" y="9"/>
                  </a:lnTo>
                  <a:lnTo>
                    <a:pt x="51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6" y="6"/>
                  </a:lnTo>
                  <a:lnTo>
                    <a:pt x="58" y="6"/>
                  </a:lnTo>
                  <a:lnTo>
                    <a:pt x="60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3" y="13"/>
                  </a:lnTo>
                  <a:lnTo>
                    <a:pt x="85" y="13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90" y="9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0" name="Freeform 638"/>
            <p:cNvSpPr>
              <a:spLocks noEditPoints="1"/>
            </p:cNvSpPr>
            <p:nvPr/>
          </p:nvSpPr>
          <p:spPr bwMode="auto">
            <a:xfrm>
              <a:off x="6138980" y="2168971"/>
              <a:ext cx="125357" cy="105299"/>
            </a:xfrm>
            <a:custGeom>
              <a:avLst/>
              <a:gdLst>
                <a:gd name="T0" fmla="*/ 23 w 75"/>
                <a:gd name="T1" fmla="*/ 0 h 63"/>
                <a:gd name="T2" fmla="*/ 27 w 75"/>
                <a:gd name="T3" fmla="*/ 2 h 63"/>
                <a:gd name="T4" fmla="*/ 32 w 75"/>
                <a:gd name="T5" fmla="*/ 2 h 63"/>
                <a:gd name="T6" fmla="*/ 32 w 75"/>
                <a:gd name="T7" fmla="*/ 2 h 63"/>
                <a:gd name="T8" fmla="*/ 36 w 75"/>
                <a:gd name="T9" fmla="*/ 2 h 63"/>
                <a:gd name="T10" fmla="*/ 41 w 75"/>
                <a:gd name="T11" fmla="*/ 4 h 63"/>
                <a:gd name="T12" fmla="*/ 45 w 75"/>
                <a:gd name="T13" fmla="*/ 4 h 63"/>
                <a:gd name="T14" fmla="*/ 45 w 75"/>
                <a:gd name="T15" fmla="*/ 4 h 63"/>
                <a:gd name="T16" fmla="*/ 50 w 75"/>
                <a:gd name="T17" fmla="*/ 4 h 63"/>
                <a:gd name="T18" fmla="*/ 52 w 75"/>
                <a:gd name="T19" fmla="*/ 4 h 63"/>
                <a:gd name="T20" fmla="*/ 54 w 75"/>
                <a:gd name="T21" fmla="*/ 4 h 63"/>
                <a:gd name="T22" fmla="*/ 57 w 75"/>
                <a:gd name="T23" fmla="*/ 4 h 63"/>
                <a:gd name="T24" fmla="*/ 59 w 75"/>
                <a:gd name="T25" fmla="*/ 7 h 63"/>
                <a:gd name="T26" fmla="*/ 59 w 75"/>
                <a:gd name="T27" fmla="*/ 9 h 63"/>
                <a:gd name="T28" fmla="*/ 66 w 75"/>
                <a:gd name="T29" fmla="*/ 9 h 63"/>
                <a:gd name="T30" fmla="*/ 68 w 75"/>
                <a:gd name="T31" fmla="*/ 9 h 63"/>
                <a:gd name="T32" fmla="*/ 70 w 75"/>
                <a:gd name="T33" fmla="*/ 9 h 63"/>
                <a:gd name="T34" fmla="*/ 68 w 75"/>
                <a:gd name="T35" fmla="*/ 13 h 63"/>
                <a:gd name="T36" fmla="*/ 66 w 75"/>
                <a:gd name="T37" fmla="*/ 18 h 63"/>
                <a:gd name="T38" fmla="*/ 66 w 75"/>
                <a:gd name="T39" fmla="*/ 22 h 63"/>
                <a:gd name="T40" fmla="*/ 70 w 75"/>
                <a:gd name="T41" fmla="*/ 25 h 63"/>
                <a:gd name="T42" fmla="*/ 72 w 75"/>
                <a:gd name="T43" fmla="*/ 27 h 63"/>
                <a:gd name="T44" fmla="*/ 75 w 75"/>
                <a:gd name="T45" fmla="*/ 29 h 63"/>
                <a:gd name="T46" fmla="*/ 72 w 75"/>
                <a:gd name="T47" fmla="*/ 29 h 63"/>
                <a:gd name="T48" fmla="*/ 68 w 75"/>
                <a:gd name="T49" fmla="*/ 29 h 63"/>
                <a:gd name="T50" fmla="*/ 75 w 75"/>
                <a:gd name="T51" fmla="*/ 36 h 63"/>
                <a:gd name="T52" fmla="*/ 75 w 75"/>
                <a:gd name="T53" fmla="*/ 40 h 63"/>
                <a:gd name="T54" fmla="*/ 72 w 75"/>
                <a:gd name="T55" fmla="*/ 38 h 63"/>
                <a:gd name="T56" fmla="*/ 68 w 75"/>
                <a:gd name="T57" fmla="*/ 40 h 63"/>
                <a:gd name="T58" fmla="*/ 66 w 75"/>
                <a:gd name="T59" fmla="*/ 40 h 63"/>
                <a:gd name="T60" fmla="*/ 63 w 75"/>
                <a:gd name="T61" fmla="*/ 43 h 63"/>
                <a:gd name="T62" fmla="*/ 66 w 75"/>
                <a:gd name="T63" fmla="*/ 45 h 63"/>
                <a:gd name="T64" fmla="*/ 66 w 75"/>
                <a:gd name="T65" fmla="*/ 45 h 63"/>
                <a:gd name="T66" fmla="*/ 61 w 75"/>
                <a:gd name="T67" fmla="*/ 45 h 63"/>
                <a:gd name="T68" fmla="*/ 57 w 75"/>
                <a:gd name="T69" fmla="*/ 52 h 63"/>
                <a:gd name="T70" fmla="*/ 57 w 75"/>
                <a:gd name="T71" fmla="*/ 56 h 63"/>
                <a:gd name="T72" fmla="*/ 57 w 75"/>
                <a:gd name="T73" fmla="*/ 63 h 63"/>
                <a:gd name="T74" fmla="*/ 57 w 75"/>
                <a:gd name="T75" fmla="*/ 63 h 63"/>
                <a:gd name="T76" fmla="*/ 48 w 75"/>
                <a:gd name="T77" fmla="*/ 58 h 63"/>
                <a:gd name="T78" fmla="*/ 43 w 75"/>
                <a:gd name="T79" fmla="*/ 56 h 63"/>
                <a:gd name="T80" fmla="*/ 39 w 75"/>
                <a:gd name="T81" fmla="*/ 54 h 63"/>
                <a:gd name="T82" fmla="*/ 41 w 75"/>
                <a:gd name="T83" fmla="*/ 54 h 63"/>
                <a:gd name="T84" fmla="*/ 34 w 75"/>
                <a:gd name="T85" fmla="*/ 47 h 63"/>
                <a:gd name="T86" fmla="*/ 27 w 75"/>
                <a:gd name="T87" fmla="*/ 38 h 63"/>
                <a:gd name="T88" fmla="*/ 16 w 75"/>
                <a:gd name="T89" fmla="*/ 29 h 63"/>
                <a:gd name="T90" fmla="*/ 14 w 75"/>
                <a:gd name="T91" fmla="*/ 29 h 63"/>
                <a:gd name="T92" fmla="*/ 9 w 75"/>
                <a:gd name="T93" fmla="*/ 22 h 63"/>
                <a:gd name="T94" fmla="*/ 9 w 75"/>
                <a:gd name="T95" fmla="*/ 20 h 63"/>
                <a:gd name="T96" fmla="*/ 7 w 75"/>
                <a:gd name="T97" fmla="*/ 18 h 63"/>
                <a:gd name="T98" fmla="*/ 7 w 75"/>
                <a:gd name="T99" fmla="*/ 16 h 63"/>
                <a:gd name="T100" fmla="*/ 5 w 75"/>
                <a:gd name="T101" fmla="*/ 13 h 63"/>
                <a:gd name="T102" fmla="*/ 3 w 75"/>
                <a:gd name="T103" fmla="*/ 13 h 63"/>
                <a:gd name="T104" fmla="*/ 0 w 75"/>
                <a:gd name="T105" fmla="*/ 11 h 63"/>
                <a:gd name="T106" fmla="*/ 0 w 75"/>
                <a:gd name="T107" fmla="*/ 9 h 63"/>
                <a:gd name="T108" fmla="*/ 0 w 75"/>
                <a:gd name="T109" fmla="*/ 2 h 63"/>
                <a:gd name="T110" fmla="*/ 5 w 75"/>
                <a:gd name="T111" fmla="*/ 2 h 63"/>
                <a:gd name="T112" fmla="*/ 12 w 75"/>
                <a:gd name="T113" fmla="*/ 7 h 63"/>
                <a:gd name="T114" fmla="*/ 12 w 75"/>
                <a:gd name="T115" fmla="*/ 4 h 63"/>
                <a:gd name="T116" fmla="*/ 21 w 75"/>
                <a:gd name="T117" fmla="*/ 2 h 63"/>
                <a:gd name="T118" fmla="*/ 21 w 75"/>
                <a:gd name="T119" fmla="*/ 0 h 63"/>
                <a:gd name="T120" fmla="*/ 57 w 75"/>
                <a:gd name="T121" fmla="*/ 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" h="63"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9" y="2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50" y="2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7" y="7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4"/>
                  </a:lnTo>
                  <a:lnTo>
                    <a:pt x="72" y="36"/>
                  </a:lnTo>
                  <a:lnTo>
                    <a:pt x="75" y="36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0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5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3" y="45"/>
                  </a:lnTo>
                  <a:lnTo>
                    <a:pt x="61" y="45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1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1" y="56"/>
                  </a:lnTo>
                  <a:lnTo>
                    <a:pt x="41" y="54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41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2"/>
                  </a:lnTo>
                  <a:lnTo>
                    <a:pt x="39" y="52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0" y="43"/>
                  </a:lnTo>
                  <a:lnTo>
                    <a:pt x="30" y="40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3" y="36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18" y="34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9" y="25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9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  <a:moveTo>
                    <a:pt x="54" y="7"/>
                  </a:moveTo>
                  <a:lnTo>
                    <a:pt x="57" y="7"/>
                  </a:lnTo>
                  <a:lnTo>
                    <a:pt x="57" y="7"/>
                  </a:lnTo>
                  <a:lnTo>
                    <a:pt x="54" y="7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4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1" name="Freeform 639"/>
            <p:cNvSpPr>
              <a:spLocks/>
            </p:cNvSpPr>
            <p:nvPr/>
          </p:nvSpPr>
          <p:spPr bwMode="auto">
            <a:xfrm>
              <a:off x="3213986" y="4351852"/>
              <a:ext cx="439585" cy="526498"/>
            </a:xfrm>
            <a:custGeom>
              <a:avLst/>
              <a:gdLst>
                <a:gd name="T0" fmla="*/ 86 w 263"/>
                <a:gd name="T1" fmla="*/ 18 h 315"/>
                <a:gd name="T2" fmla="*/ 86 w 263"/>
                <a:gd name="T3" fmla="*/ 27 h 315"/>
                <a:gd name="T4" fmla="*/ 88 w 263"/>
                <a:gd name="T5" fmla="*/ 36 h 315"/>
                <a:gd name="T6" fmla="*/ 92 w 263"/>
                <a:gd name="T7" fmla="*/ 45 h 315"/>
                <a:gd name="T8" fmla="*/ 95 w 263"/>
                <a:gd name="T9" fmla="*/ 50 h 315"/>
                <a:gd name="T10" fmla="*/ 99 w 263"/>
                <a:gd name="T11" fmla="*/ 57 h 315"/>
                <a:gd name="T12" fmla="*/ 104 w 263"/>
                <a:gd name="T13" fmla="*/ 59 h 315"/>
                <a:gd name="T14" fmla="*/ 108 w 263"/>
                <a:gd name="T15" fmla="*/ 66 h 315"/>
                <a:gd name="T16" fmla="*/ 115 w 263"/>
                <a:gd name="T17" fmla="*/ 68 h 315"/>
                <a:gd name="T18" fmla="*/ 128 w 263"/>
                <a:gd name="T19" fmla="*/ 68 h 315"/>
                <a:gd name="T20" fmla="*/ 135 w 263"/>
                <a:gd name="T21" fmla="*/ 72 h 315"/>
                <a:gd name="T22" fmla="*/ 140 w 263"/>
                <a:gd name="T23" fmla="*/ 77 h 315"/>
                <a:gd name="T24" fmla="*/ 146 w 263"/>
                <a:gd name="T25" fmla="*/ 79 h 315"/>
                <a:gd name="T26" fmla="*/ 155 w 263"/>
                <a:gd name="T27" fmla="*/ 84 h 315"/>
                <a:gd name="T28" fmla="*/ 162 w 263"/>
                <a:gd name="T29" fmla="*/ 88 h 315"/>
                <a:gd name="T30" fmla="*/ 176 w 263"/>
                <a:gd name="T31" fmla="*/ 90 h 315"/>
                <a:gd name="T32" fmla="*/ 187 w 263"/>
                <a:gd name="T33" fmla="*/ 95 h 315"/>
                <a:gd name="T34" fmla="*/ 196 w 263"/>
                <a:gd name="T35" fmla="*/ 104 h 315"/>
                <a:gd name="T36" fmla="*/ 198 w 263"/>
                <a:gd name="T37" fmla="*/ 117 h 315"/>
                <a:gd name="T38" fmla="*/ 211 w 263"/>
                <a:gd name="T39" fmla="*/ 158 h 315"/>
                <a:gd name="T40" fmla="*/ 241 w 263"/>
                <a:gd name="T41" fmla="*/ 167 h 315"/>
                <a:gd name="T42" fmla="*/ 245 w 263"/>
                <a:gd name="T43" fmla="*/ 183 h 315"/>
                <a:gd name="T44" fmla="*/ 256 w 263"/>
                <a:gd name="T45" fmla="*/ 189 h 315"/>
                <a:gd name="T46" fmla="*/ 263 w 263"/>
                <a:gd name="T47" fmla="*/ 205 h 315"/>
                <a:gd name="T48" fmla="*/ 254 w 263"/>
                <a:gd name="T49" fmla="*/ 234 h 315"/>
                <a:gd name="T50" fmla="*/ 254 w 263"/>
                <a:gd name="T51" fmla="*/ 250 h 315"/>
                <a:gd name="T52" fmla="*/ 234 w 263"/>
                <a:gd name="T53" fmla="*/ 230 h 315"/>
                <a:gd name="T54" fmla="*/ 178 w 263"/>
                <a:gd name="T55" fmla="*/ 243 h 315"/>
                <a:gd name="T56" fmla="*/ 171 w 263"/>
                <a:gd name="T57" fmla="*/ 275 h 315"/>
                <a:gd name="T58" fmla="*/ 162 w 263"/>
                <a:gd name="T59" fmla="*/ 295 h 315"/>
                <a:gd name="T60" fmla="*/ 137 w 263"/>
                <a:gd name="T61" fmla="*/ 295 h 315"/>
                <a:gd name="T62" fmla="*/ 131 w 263"/>
                <a:gd name="T63" fmla="*/ 308 h 315"/>
                <a:gd name="T64" fmla="*/ 126 w 263"/>
                <a:gd name="T65" fmla="*/ 302 h 315"/>
                <a:gd name="T66" fmla="*/ 106 w 263"/>
                <a:gd name="T67" fmla="*/ 297 h 315"/>
                <a:gd name="T68" fmla="*/ 90 w 263"/>
                <a:gd name="T69" fmla="*/ 297 h 315"/>
                <a:gd name="T70" fmla="*/ 79 w 263"/>
                <a:gd name="T71" fmla="*/ 306 h 315"/>
                <a:gd name="T72" fmla="*/ 59 w 263"/>
                <a:gd name="T73" fmla="*/ 311 h 315"/>
                <a:gd name="T74" fmla="*/ 54 w 263"/>
                <a:gd name="T75" fmla="*/ 293 h 315"/>
                <a:gd name="T76" fmla="*/ 36 w 263"/>
                <a:gd name="T77" fmla="*/ 257 h 315"/>
                <a:gd name="T78" fmla="*/ 39 w 263"/>
                <a:gd name="T79" fmla="*/ 245 h 315"/>
                <a:gd name="T80" fmla="*/ 41 w 263"/>
                <a:gd name="T81" fmla="*/ 232 h 315"/>
                <a:gd name="T82" fmla="*/ 27 w 263"/>
                <a:gd name="T83" fmla="*/ 216 h 315"/>
                <a:gd name="T84" fmla="*/ 23 w 263"/>
                <a:gd name="T85" fmla="*/ 200 h 315"/>
                <a:gd name="T86" fmla="*/ 14 w 263"/>
                <a:gd name="T87" fmla="*/ 189 h 315"/>
                <a:gd name="T88" fmla="*/ 14 w 263"/>
                <a:gd name="T89" fmla="*/ 176 h 315"/>
                <a:gd name="T90" fmla="*/ 21 w 263"/>
                <a:gd name="T91" fmla="*/ 162 h 315"/>
                <a:gd name="T92" fmla="*/ 12 w 263"/>
                <a:gd name="T93" fmla="*/ 147 h 315"/>
                <a:gd name="T94" fmla="*/ 16 w 263"/>
                <a:gd name="T95" fmla="*/ 133 h 315"/>
                <a:gd name="T96" fmla="*/ 14 w 263"/>
                <a:gd name="T97" fmla="*/ 117 h 315"/>
                <a:gd name="T98" fmla="*/ 18 w 263"/>
                <a:gd name="T99" fmla="*/ 104 h 315"/>
                <a:gd name="T100" fmla="*/ 16 w 263"/>
                <a:gd name="T101" fmla="*/ 93 h 315"/>
                <a:gd name="T102" fmla="*/ 18 w 263"/>
                <a:gd name="T103" fmla="*/ 70 h 315"/>
                <a:gd name="T104" fmla="*/ 5 w 263"/>
                <a:gd name="T105" fmla="*/ 30 h 315"/>
                <a:gd name="T106" fmla="*/ 16 w 263"/>
                <a:gd name="T107" fmla="*/ 34 h 315"/>
                <a:gd name="T108" fmla="*/ 32 w 263"/>
                <a:gd name="T109" fmla="*/ 25 h 315"/>
                <a:gd name="T110" fmla="*/ 43 w 263"/>
                <a:gd name="T111" fmla="*/ 18 h 315"/>
                <a:gd name="T112" fmla="*/ 50 w 263"/>
                <a:gd name="T113" fmla="*/ 14 h 315"/>
                <a:gd name="T114" fmla="*/ 70 w 263"/>
                <a:gd name="T115" fmla="*/ 3 h 315"/>
                <a:gd name="T116" fmla="*/ 77 w 263"/>
                <a:gd name="T117" fmla="*/ 3 h 315"/>
                <a:gd name="T118" fmla="*/ 79 w 263"/>
                <a:gd name="T119" fmla="*/ 3 h 315"/>
                <a:gd name="T120" fmla="*/ 86 w 263"/>
                <a:gd name="T121" fmla="*/ 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3" h="315">
                  <a:moveTo>
                    <a:pt x="88" y="5"/>
                  </a:move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90" y="39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2" y="43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5" y="50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59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3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08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8"/>
                  </a:lnTo>
                  <a:lnTo>
                    <a:pt x="110" y="68"/>
                  </a:lnTo>
                  <a:lnTo>
                    <a:pt x="113" y="66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5" y="68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19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8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6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70"/>
                  </a:lnTo>
                  <a:lnTo>
                    <a:pt x="128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0"/>
                  </a:lnTo>
                  <a:lnTo>
                    <a:pt x="131" y="72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0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37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2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7"/>
                  </a:lnTo>
                  <a:lnTo>
                    <a:pt x="142" y="79"/>
                  </a:lnTo>
                  <a:lnTo>
                    <a:pt x="142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6" y="79"/>
                  </a:lnTo>
                  <a:lnTo>
                    <a:pt x="149" y="81"/>
                  </a:lnTo>
                  <a:lnTo>
                    <a:pt x="149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3" y="81"/>
                  </a:lnTo>
                  <a:lnTo>
                    <a:pt x="153" y="81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5" y="84"/>
                  </a:lnTo>
                  <a:lnTo>
                    <a:pt x="155" y="81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4"/>
                  </a:lnTo>
                  <a:lnTo>
                    <a:pt x="158" y="81"/>
                  </a:lnTo>
                  <a:lnTo>
                    <a:pt x="158" y="81"/>
                  </a:lnTo>
                  <a:lnTo>
                    <a:pt x="158" y="84"/>
                  </a:lnTo>
                  <a:lnTo>
                    <a:pt x="158" y="84"/>
                  </a:lnTo>
                  <a:lnTo>
                    <a:pt x="158" y="84"/>
                  </a:lnTo>
                  <a:lnTo>
                    <a:pt x="160" y="84"/>
                  </a:lnTo>
                  <a:lnTo>
                    <a:pt x="160" y="84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6"/>
                  </a:lnTo>
                  <a:lnTo>
                    <a:pt x="160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2" y="88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0"/>
                  </a:lnTo>
                  <a:lnTo>
                    <a:pt x="164" y="93"/>
                  </a:lnTo>
                  <a:lnTo>
                    <a:pt x="164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67" y="93"/>
                  </a:lnTo>
                  <a:lnTo>
                    <a:pt x="169" y="93"/>
                  </a:lnTo>
                  <a:lnTo>
                    <a:pt x="169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1" y="93"/>
                  </a:lnTo>
                  <a:lnTo>
                    <a:pt x="173" y="93"/>
                  </a:lnTo>
                  <a:lnTo>
                    <a:pt x="173" y="93"/>
                  </a:lnTo>
                  <a:lnTo>
                    <a:pt x="176" y="90"/>
                  </a:lnTo>
                  <a:lnTo>
                    <a:pt x="176" y="90"/>
                  </a:lnTo>
                  <a:lnTo>
                    <a:pt x="176" y="93"/>
                  </a:lnTo>
                  <a:lnTo>
                    <a:pt x="176" y="93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80" y="93"/>
                  </a:lnTo>
                  <a:lnTo>
                    <a:pt x="180" y="93"/>
                  </a:lnTo>
                  <a:lnTo>
                    <a:pt x="180" y="90"/>
                  </a:lnTo>
                  <a:lnTo>
                    <a:pt x="180" y="90"/>
                  </a:lnTo>
                  <a:lnTo>
                    <a:pt x="180" y="90"/>
                  </a:lnTo>
                  <a:lnTo>
                    <a:pt x="180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2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5" y="93"/>
                  </a:lnTo>
                  <a:lnTo>
                    <a:pt x="187" y="95"/>
                  </a:lnTo>
                  <a:lnTo>
                    <a:pt x="189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1" y="97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4" y="102"/>
                  </a:lnTo>
                  <a:lnTo>
                    <a:pt x="196" y="102"/>
                  </a:lnTo>
                  <a:lnTo>
                    <a:pt x="196" y="102"/>
                  </a:lnTo>
                  <a:lnTo>
                    <a:pt x="196" y="102"/>
                  </a:lnTo>
                  <a:lnTo>
                    <a:pt x="196" y="102"/>
                  </a:lnTo>
                  <a:lnTo>
                    <a:pt x="196" y="102"/>
                  </a:lnTo>
                  <a:lnTo>
                    <a:pt x="196" y="102"/>
                  </a:lnTo>
                  <a:lnTo>
                    <a:pt x="196" y="102"/>
                  </a:lnTo>
                  <a:lnTo>
                    <a:pt x="196" y="104"/>
                  </a:lnTo>
                  <a:lnTo>
                    <a:pt x="196" y="104"/>
                  </a:lnTo>
                  <a:lnTo>
                    <a:pt x="196" y="104"/>
                  </a:lnTo>
                  <a:lnTo>
                    <a:pt x="196" y="104"/>
                  </a:lnTo>
                  <a:lnTo>
                    <a:pt x="196" y="104"/>
                  </a:lnTo>
                  <a:lnTo>
                    <a:pt x="196" y="106"/>
                  </a:lnTo>
                  <a:lnTo>
                    <a:pt x="196" y="106"/>
                  </a:lnTo>
                  <a:lnTo>
                    <a:pt x="194" y="106"/>
                  </a:lnTo>
                  <a:lnTo>
                    <a:pt x="194" y="106"/>
                  </a:lnTo>
                  <a:lnTo>
                    <a:pt x="194" y="106"/>
                  </a:lnTo>
                  <a:lnTo>
                    <a:pt x="194" y="106"/>
                  </a:lnTo>
                  <a:lnTo>
                    <a:pt x="194" y="108"/>
                  </a:lnTo>
                  <a:lnTo>
                    <a:pt x="194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08"/>
                  </a:lnTo>
                  <a:lnTo>
                    <a:pt x="196" y="111"/>
                  </a:lnTo>
                  <a:lnTo>
                    <a:pt x="196" y="111"/>
                  </a:lnTo>
                  <a:lnTo>
                    <a:pt x="196" y="111"/>
                  </a:lnTo>
                  <a:lnTo>
                    <a:pt x="196" y="113"/>
                  </a:lnTo>
                  <a:lnTo>
                    <a:pt x="196" y="113"/>
                  </a:lnTo>
                  <a:lnTo>
                    <a:pt x="198" y="115"/>
                  </a:lnTo>
                  <a:lnTo>
                    <a:pt x="198" y="115"/>
                  </a:lnTo>
                  <a:lnTo>
                    <a:pt x="198" y="117"/>
                  </a:lnTo>
                  <a:lnTo>
                    <a:pt x="198" y="117"/>
                  </a:lnTo>
                  <a:lnTo>
                    <a:pt x="198" y="117"/>
                  </a:lnTo>
                  <a:lnTo>
                    <a:pt x="198" y="117"/>
                  </a:lnTo>
                  <a:lnTo>
                    <a:pt x="198" y="120"/>
                  </a:lnTo>
                  <a:lnTo>
                    <a:pt x="200" y="122"/>
                  </a:lnTo>
                  <a:lnTo>
                    <a:pt x="200" y="124"/>
                  </a:lnTo>
                  <a:lnTo>
                    <a:pt x="200" y="126"/>
                  </a:lnTo>
                  <a:lnTo>
                    <a:pt x="200" y="129"/>
                  </a:lnTo>
                  <a:lnTo>
                    <a:pt x="200" y="129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4" y="129"/>
                  </a:lnTo>
                  <a:lnTo>
                    <a:pt x="196" y="131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200" y="138"/>
                  </a:lnTo>
                  <a:lnTo>
                    <a:pt x="200" y="138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7"/>
                  </a:lnTo>
                  <a:lnTo>
                    <a:pt x="203" y="151"/>
                  </a:lnTo>
                  <a:lnTo>
                    <a:pt x="205" y="153"/>
                  </a:lnTo>
                  <a:lnTo>
                    <a:pt x="205" y="156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7" y="158"/>
                  </a:lnTo>
                  <a:lnTo>
                    <a:pt x="211" y="158"/>
                  </a:lnTo>
                  <a:lnTo>
                    <a:pt x="214" y="158"/>
                  </a:lnTo>
                  <a:lnTo>
                    <a:pt x="218" y="158"/>
                  </a:lnTo>
                  <a:lnTo>
                    <a:pt x="223" y="158"/>
                  </a:lnTo>
                  <a:lnTo>
                    <a:pt x="227" y="158"/>
                  </a:lnTo>
                  <a:lnTo>
                    <a:pt x="229" y="158"/>
                  </a:lnTo>
                  <a:lnTo>
                    <a:pt x="234" y="158"/>
                  </a:lnTo>
                  <a:lnTo>
                    <a:pt x="238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1" y="158"/>
                  </a:lnTo>
                  <a:lnTo>
                    <a:pt x="243" y="158"/>
                  </a:lnTo>
                  <a:lnTo>
                    <a:pt x="243" y="158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0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3" y="162"/>
                  </a:lnTo>
                  <a:lnTo>
                    <a:pt x="241" y="167"/>
                  </a:lnTo>
                  <a:lnTo>
                    <a:pt x="241" y="167"/>
                  </a:lnTo>
                  <a:lnTo>
                    <a:pt x="241" y="167"/>
                  </a:lnTo>
                  <a:lnTo>
                    <a:pt x="241" y="169"/>
                  </a:lnTo>
                  <a:lnTo>
                    <a:pt x="241" y="169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1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1" y="174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3" y="176"/>
                  </a:lnTo>
                  <a:lnTo>
                    <a:pt x="243" y="178"/>
                  </a:lnTo>
                  <a:lnTo>
                    <a:pt x="243" y="180"/>
                  </a:lnTo>
                  <a:lnTo>
                    <a:pt x="243" y="180"/>
                  </a:lnTo>
                  <a:lnTo>
                    <a:pt x="243" y="180"/>
                  </a:lnTo>
                  <a:lnTo>
                    <a:pt x="245" y="183"/>
                  </a:lnTo>
                  <a:lnTo>
                    <a:pt x="245" y="183"/>
                  </a:lnTo>
                  <a:lnTo>
                    <a:pt x="245" y="183"/>
                  </a:lnTo>
                  <a:lnTo>
                    <a:pt x="245" y="183"/>
                  </a:lnTo>
                  <a:lnTo>
                    <a:pt x="245" y="183"/>
                  </a:lnTo>
                  <a:lnTo>
                    <a:pt x="245" y="183"/>
                  </a:lnTo>
                  <a:lnTo>
                    <a:pt x="245" y="183"/>
                  </a:lnTo>
                  <a:lnTo>
                    <a:pt x="247" y="183"/>
                  </a:lnTo>
                  <a:lnTo>
                    <a:pt x="247" y="183"/>
                  </a:lnTo>
                  <a:lnTo>
                    <a:pt x="247" y="183"/>
                  </a:lnTo>
                  <a:lnTo>
                    <a:pt x="247" y="185"/>
                  </a:lnTo>
                  <a:lnTo>
                    <a:pt x="247" y="185"/>
                  </a:lnTo>
                  <a:lnTo>
                    <a:pt x="247" y="185"/>
                  </a:lnTo>
                  <a:lnTo>
                    <a:pt x="247" y="185"/>
                  </a:lnTo>
                  <a:lnTo>
                    <a:pt x="247" y="185"/>
                  </a:lnTo>
                  <a:lnTo>
                    <a:pt x="250" y="185"/>
                  </a:lnTo>
                  <a:lnTo>
                    <a:pt x="250" y="185"/>
                  </a:lnTo>
                  <a:lnTo>
                    <a:pt x="250" y="185"/>
                  </a:lnTo>
                  <a:lnTo>
                    <a:pt x="250" y="185"/>
                  </a:lnTo>
                  <a:lnTo>
                    <a:pt x="250" y="185"/>
                  </a:lnTo>
                  <a:lnTo>
                    <a:pt x="252" y="187"/>
                  </a:lnTo>
                  <a:lnTo>
                    <a:pt x="252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4" y="187"/>
                  </a:lnTo>
                  <a:lnTo>
                    <a:pt x="256" y="187"/>
                  </a:lnTo>
                  <a:lnTo>
                    <a:pt x="256" y="187"/>
                  </a:lnTo>
                  <a:lnTo>
                    <a:pt x="256" y="187"/>
                  </a:lnTo>
                  <a:lnTo>
                    <a:pt x="256" y="189"/>
                  </a:lnTo>
                  <a:lnTo>
                    <a:pt x="256" y="189"/>
                  </a:lnTo>
                  <a:lnTo>
                    <a:pt x="256" y="189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6" y="191"/>
                  </a:lnTo>
                  <a:lnTo>
                    <a:pt x="259" y="191"/>
                  </a:lnTo>
                  <a:lnTo>
                    <a:pt x="259" y="194"/>
                  </a:lnTo>
                  <a:lnTo>
                    <a:pt x="259" y="194"/>
                  </a:lnTo>
                  <a:lnTo>
                    <a:pt x="259" y="194"/>
                  </a:lnTo>
                  <a:lnTo>
                    <a:pt x="259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61" y="198"/>
                  </a:lnTo>
                  <a:lnTo>
                    <a:pt x="261" y="200"/>
                  </a:lnTo>
                  <a:lnTo>
                    <a:pt x="263" y="203"/>
                  </a:lnTo>
                  <a:lnTo>
                    <a:pt x="263" y="203"/>
                  </a:lnTo>
                  <a:lnTo>
                    <a:pt x="263" y="203"/>
                  </a:lnTo>
                  <a:lnTo>
                    <a:pt x="263" y="203"/>
                  </a:lnTo>
                  <a:lnTo>
                    <a:pt x="263" y="203"/>
                  </a:lnTo>
                  <a:lnTo>
                    <a:pt x="263" y="205"/>
                  </a:lnTo>
                  <a:lnTo>
                    <a:pt x="263" y="205"/>
                  </a:lnTo>
                  <a:lnTo>
                    <a:pt x="263" y="205"/>
                  </a:lnTo>
                  <a:lnTo>
                    <a:pt x="263" y="205"/>
                  </a:lnTo>
                  <a:lnTo>
                    <a:pt x="261" y="205"/>
                  </a:lnTo>
                  <a:lnTo>
                    <a:pt x="261" y="209"/>
                  </a:lnTo>
                  <a:lnTo>
                    <a:pt x="261" y="212"/>
                  </a:lnTo>
                  <a:lnTo>
                    <a:pt x="259" y="216"/>
                  </a:lnTo>
                  <a:lnTo>
                    <a:pt x="259" y="218"/>
                  </a:lnTo>
                  <a:lnTo>
                    <a:pt x="259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1" y="223"/>
                  </a:lnTo>
                  <a:lnTo>
                    <a:pt x="259" y="223"/>
                  </a:lnTo>
                  <a:lnTo>
                    <a:pt x="259" y="223"/>
                  </a:lnTo>
                  <a:lnTo>
                    <a:pt x="259" y="225"/>
                  </a:lnTo>
                  <a:lnTo>
                    <a:pt x="259" y="227"/>
                  </a:lnTo>
                  <a:lnTo>
                    <a:pt x="256" y="230"/>
                  </a:lnTo>
                  <a:lnTo>
                    <a:pt x="256" y="232"/>
                  </a:lnTo>
                  <a:lnTo>
                    <a:pt x="256" y="234"/>
                  </a:lnTo>
                  <a:lnTo>
                    <a:pt x="256" y="234"/>
                  </a:lnTo>
                  <a:lnTo>
                    <a:pt x="256" y="234"/>
                  </a:lnTo>
                  <a:lnTo>
                    <a:pt x="256" y="234"/>
                  </a:lnTo>
                  <a:lnTo>
                    <a:pt x="254" y="234"/>
                  </a:lnTo>
                  <a:lnTo>
                    <a:pt x="254" y="236"/>
                  </a:lnTo>
                  <a:lnTo>
                    <a:pt x="254" y="236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41"/>
                  </a:lnTo>
                  <a:lnTo>
                    <a:pt x="256" y="241"/>
                  </a:lnTo>
                  <a:lnTo>
                    <a:pt x="256" y="243"/>
                  </a:lnTo>
                  <a:lnTo>
                    <a:pt x="259" y="245"/>
                  </a:lnTo>
                  <a:lnTo>
                    <a:pt x="259" y="245"/>
                  </a:lnTo>
                  <a:lnTo>
                    <a:pt x="259" y="245"/>
                  </a:lnTo>
                  <a:lnTo>
                    <a:pt x="259" y="248"/>
                  </a:lnTo>
                  <a:lnTo>
                    <a:pt x="259" y="248"/>
                  </a:lnTo>
                  <a:lnTo>
                    <a:pt x="259" y="248"/>
                  </a:lnTo>
                  <a:lnTo>
                    <a:pt x="259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6" y="248"/>
                  </a:lnTo>
                  <a:lnTo>
                    <a:pt x="256" y="250"/>
                  </a:lnTo>
                  <a:lnTo>
                    <a:pt x="254" y="250"/>
                  </a:lnTo>
                  <a:lnTo>
                    <a:pt x="254" y="250"/>
                  </a:lnTo>
                  <a:lnTo>
                    <a:pt x="254" y="250"/>
                  </a:lnTo>
                  <a:lnTo>
                    <a:pt x="254" y="250"/>
                  </a:lnTo>
                  <a:lnTo>
                    <a:pt x="254" y="250"/>
                  </a:lnTo>
                  <a:lnTo>
                    <a:pt x="254" y="250"/>
                  </a:lnTo>
                  <a:lnTo>
                    <a:pt x="254" y="248"/>
                  </a:lnTo>
                  <a:lnTo>
                    <a:pt x="254" y="248"/>
                  </a:lnTo>
                  <a:lnTo>
                    <a:pt x="254" y="248"/>
                  </a:lnTo>
                  <a:lnTo>
                    <a:pt x="254" y="245"/>
                  </a:lnTo>
                  <a:lnTo>
                    <a:pt x="254" y="245"/>
                  </a:lnTo>
                  <a:lnTo>
                    <a:pt x="254" y="243"/>
                  </a:lnTo>
                  <a:lnTo>
                    <a:pt x="254" y="243"/>
                  </a:lnTo>
                  <a:lnTo>
                    <a:pt x="254" y="243"/>
                  </a:lnTo>
                  <a:lnTo>
                    <a:pt x="252" y="243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0" y="241"/>
                  </a:lnTo>
                  <a:lnTo>
                    <a:pt x="247" y="239"/>
                  </a:lnTo>
                  <a:lnTo>
                    <a:pt x="245" y="236"/>
                  </a:lnTo>
                  <a:lnTo>
                    <a:pt x="243" y="236"/>
                  </a:lnTo>
                  <a:lnTo>
                    <a:pt x="241" y="234"/>
                  </a:lnTo>
                  <a:lnTo>
                    <a:pt x="241" y="234"/>
                  </a:lnTo>
                  <a:lnTo>
                    <a:pt x="238" y="232"/>
                  </a:lnTo>
                  <a:lnTo>
                    <a:pt x="236" y="232"/>
                  </a:lnTo>
                  <a:lnTo>
                    <a:pt x="234" y="230"/>
                  </a:lnTo>
                  <a:lnTo>
                    <a:pt x="234" y="230"/>
                  </a:lnTo>
                  <a:lnTo>
                    <a:pt x="234" y="230"/>
                  </a:lnTo>
                  <a:lnTo>
                    <a:pt x="232" y="230"/>
                  </a:lnTo>
                  <a:lnTo>
                    <a:pt x="232" y="230"/>
                  </a:lnTo>
                  <a:lnTo>
                    <a:pt x="227" y="230"/>
                  </a:lnTo>
                  <a:lnTo>
                    <a:pt x="223" y="230"/>
                  </a:lnTo>
                  <a:lnTo>
                    <a:pt x="220" y="230"/>
                  </a:lnTo>
                  <a:lnTo>
                    <a:pt x="216" y="230"/>
                  </a:lnTo>
                  <a:lnTo>
                    <a:pt x="214" y="230"/>
                  </a:lnTo>
                  <a:lnTo>
                    <a:pt x="211" y="230"/>
                  </a:lnTo>
                  <a:lnTo>
                    <a:pt x="205" y="232"/>
                  </a:lnTo>
                  <a:lnTo>
                    <a:pt x="198" y="234"/>
                  </a:lnTo>
                  <a:lnTo>
                    <a:pt x="191" y="234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6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39"/>
                  </a:lnTo>
                  <a:lnTo>
                    <a:pt x="178" y="241"/>
                  </a:lnTo>
                  <a:lnTo>
                    <a:pt x="178" y="243"/>
                  </a:lnTo>
                  <a:lnTo>
                    <a:pt x="178" y="245"/>
                  </a:lnTo>
                  <a:lnTo>
                    <a:pt x="176" y="245"/>
                  </a:lnTo>
                  <a:lnTo>
                    <a:pt x="176" y="245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50"/>
                  </a:lnTo>
                  <a:lnTo>
                    <a:pt x="176" y="250"/>
                  </a:lnTo>
                  <a:lnTo>
                    <a:pt x="176" y="250"/>
                  </a:lnTo>
                  <a:lnTo>
                    <a:pt x="173" y="250"/>
                  </a:lnTo>
                  <a:lnTo>
                    <a:pt x="173" y="252"/>
                  </a:lnTo>
                  <a:lnTo>
                    <a:pt x="173" y="254"/>
                  </a:lnTo>
                  <a:lnTo>
                    <a:pt x="171" y="254"/>
                  </a:lnTo>
                  <a:lnTo>
                    <a:pt x="171" y="257"/>
                  </a:lnTo>
                  <a:lnTo>
                    <a:pt x="171" y="259"/>
                  </a:lnTo>
                  <a:lnTo>
                    <a:pt x="169" y="259"/>
                  </a:lnTo>
                  <a:lnTo>
                    <a:pt x="169" y="259"/>
                  </a:lnTo>
                  <a:lnTo>
                    <a:pt x="171" y="261"/>
                  </a:lnTo>
                  <a:lnTo>
                    <a:pt x="171" y="263"/>
                  </a:lnTo>
                  <a:lnTo>
                    <a:pt x="171" y="266"/>
                  </a:lnTo>
                  <a:lnTo>
                    <a:pt x="171" y="270"/>
                  </a:lnTo>
                  <a:lnTo>
                    <a:pt x="171" y="272"/>
                  </a:lnTo>
                  <a:lnTo>
                    <a:pt x="171" y="275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9" y="281"/>
                  </a:lnTo>
                  <a:lnTo>
                    <a:pt x="169" y="284"/>
                  </a:lnTo>
                  <a:lnTo>
                    <a:pt x="169" y="288"/>
                  </a:lnTo>
                  <a:lnTo>
                    <a:pt x="167" y="290"/>
                  </a:lnTo>
                  <a:lnTo>
                    <a:pt x="167" y="295"/>
                  </a:lnTo>
                  <a:lnTo>
                    <a:pt x="167" y="295"/>
                  </a:lnTo>
                  <a:lnTo>
                    <a:pt x="167" y="297"/>
                  </a:lnTo>
                  <a:lnTo>
                    <a:pt x="167" y="299"/>
                  </a:lnTo>
                  <a:lnTo>
                    <a:pt x="167" y="299"/>
                  </a:lnTo>
                  <a:lnTo>
                    <a:pt x="167" y="299"/>
                  </a:lnTo>
                  <a:lnTo>
                    <a:pt x="167" y="299"/>
                  </a:lnTo>
                  <a:lnTo>
                    <a:pt x="167" y="299"/>
                  </a:lnTo>
                  <a:lnTo>
                    <a:pt x="164" y="299"/>
                  </a:lnTo>
                  <a:lnTo>
                    <a:pt x="164" y="297"/>
                  </a:lnTo>
                  <a:lnTo>
                    <a:pt x="164" y="297"/>
                  </a:lnTo>
                  <a:lnTo>
                    <a:pt x="162" y="297"/>
                  </a:lnTo>
                  <a:lnTo>
                    <a:pt x="162" y="297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2" y="295"/>
                  </a:lnTo>
                  <a:lnTo>
                    <a:pt x="162" y="293"/>
                  </a:lnTo>
                  <a:lnTo>
                    <a:pt x="158" y="295"/>
                  </a:lnTo>
                  <a:lnTo>
                    <a:pt x="158" y="295"/>
                  </a:lnTo>
                  <a:lnTo>
                    <a:pt x="144" y="293"/>
                  </a:lnTo>
                  <a:lnTo>
                    <a:pt x="144" y="295"/>
                  </a:lnTo>
                  <a:lnTo>
                    <a:pt x="144" y="295"/>
                  </a:lnTo>
                  <a:lnTo>
                    <a:pt x="144" y="295"/>
                  </a:lnTo>
                  <a:lnTo>
                    <a:pt x="142" y="295"/>
                  </a:lnTo>
                  <a:lnTo>
                    <a:pt x="142" y="295"/>
                  </a:lnTo>
                  <a:lnTo>
                    <a:pt x="142" y="295"/>
                  </a:lnTo>
                  <a:lnTo>
                    <a:pt x="140" y="293"/>
                  </a:lnTo>
                  <a:lnTo>
                    <a:pt x="140" y="295"/>
                  </a:lnTo>
                  <a:lnTo>
                    <a:pt x="140" y="295"/>
                  </a:lnTo>
                  <a:lnTo>
                    <a:pt x="140" y="295"/>
                  </a:lnTo>
                  <a:lnTo>
                    <a:pt x="140" y="295"/>
                  </a:lnTo>
                  <a:lnTo>
                    <a:pt x="140" y="295"/>
                  </a:lnTo>
                  <a:lnTo>
                    <a:pt x="140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5"/>
                  </a:lnTo>
                  <a:lnTo>
                    <a:pt x="137" y="297"/>
                  </a:lnTo>
                  <a:lnTo>
                    <a:pt x="137" y="297"/>
                  </a:lnTo>
                  <a:lnTo>
                    <a:pt x="137" y="299"/>
                  </a:lnTo>
                  <a:lnTo>
                    <a:pt x="137" y="299"/>
                  </a:lnTo>
                  <a:lnTo>
                    <a:pt x="137" y="299"/>
                  </a:lnTo>
                  <a:lnTo>
                    <a:pt x="137" y="299"/>
                  </a:lnTo>
                  <a:lnTo>
                    <a:pt x="135" y="304"/>
                  </a:lnTo>
                  <a:lnTo>
                    <a:pt x="135" y="304"/>
                  </a:lnTo>
                  <a:lnTo>
                    <a:pt x="135" y="306"/>
                  </a:lnTo>
                  <a:lnTo>
                    <a:pt x="133" y="306"/>
                  </a:lnTo>
                  <a:lnTo>
                    <a:pt x="133" y="311"/>
                  </a:lnTo>
                  <a:lnTo>
                    <a:pt x="133" y="313"/>
                  </a:lnTo>
                  <a:lnTo>
                    <a:pt x="133" y="313"/>
                  </a:lnTo>
                  <a:lnTo>
                    <a:pt x="133" y="315"/>
                  </a:lnTo>
                  <a:lnTo>
                    <a:pt x="133" y="315"/>
                  </a:lnTo>
                  <a:lnTo>
                    <a:pt x="133" y="315"/>
                  </a:lnTo>
                  <a:lnTo>
                    <a:pt x="133" y="313"/>
                  </a:lnTo>
                  <a:lnTo>
                    <a:pt x="133" y="313"/>
                  </a:lnTo>
                  <a:lnTo>
                    <a:pt x="133" y="313"/>
                  </a:lnTo>
                  <a:lnTo>
                    <a:pt x="133" y="311"/>
                  </a:lnTo>
                  <a:lnTo>
                    <a:pt x="133" y="311"/>
                  </a:lnTo>
                  <a:lnTo>
                    <a:pt x="131" y="311"/>
                  </a:lnTo>
                  <a:lnTo>
                    <a:pt x="131" y="311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8"/>
                  </a:lnTo>
                  <a:lnTo>
                    <a:pt x="131" y="306"/>
                  </a:lnTo>
                  <a:lnTo>
                    <a:pt x="131" y="306"/>
                  </a:lnTo>
                  <a:lnTo>
                    <a:pt x="128" y="306"/>
                  </a:lnTo>
                  <a:lnTo>
                    <a:pt x="128" y="306"/>
                  </a:lnTo>
                  <a:lnTo>
                    <a:pt x="128" y="304"/>
                  </a:lnTo>
                  <a:lnTo>
                    <a:pt x="128" y="304"/>
                  </a:lnTo>
                  <a:lnTo>
                    <a:pt x="128" y="304"/>
                  </a:lnTo>
                  <a:lnTo>
                    <a:pt x="128" y="304"/>
                  </a:lnTo>
                  <a:lnTo>
                    <a:pt x="128" y="304"/>
                  </a:lnTo>
                  <a:lnTo>
                    <a:pt x="128" y="304"/>
                  </a:lnTo>
                  <a:lnTo>
                    <a:pt x="128" y="304"/>
                  </a:lnTo>
                  <a:lnTo>
                    <a:pt x="128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6" y="299"/>
                  </a:lnTo>
                  <a:lnTo>
                    <a:pt x="124" y="299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4" y="297"/>
                  </a:lnTo>
                  <a:lnTo>
                    <a:pt x="122" y="297"/>
                  </a:lnTo>
                  <a:lnTo>
                    <a:pt x="122" y="297"/>
                  </a:lnTo>
                  <a:lnTo>
                    <a:pt x="117" y="297"/>
                  </a:lnTo>
                  <a:lnTo>
                    <a:pt x="108" y="297"/>
                  </a:lnTo>
                  <a:lnTo>
                    <a:pt x="106" y="297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5"/>
                  </a:lnTo>
                  <a:lnTo>
                    <a:pt x="106" y="297"/>
                  </a:lnTo>
                  <a:lnTo>
                    <a:pt x="106" y="297"/>
                  </a:lnTo>
                  <a:lnTo>
                    <a:pt x="101" y="297"/>
                  </a:lnTo>
                  <a:lnTo>
                    <a:pt x="101" y="297"/>
                  </a:lnTo>
                  <a:lnTo>
                    <a:pt x="101" y="295"/>
                  </a:lnTo>
                  <a:lnTo>
                    <a:pt x="97" y="293"/>
                  </a:lnTo>
                  <a:lnTo>
                    <a:pt x="97" y="293"/>
                  </a:lnTo>
                  <a:lnTo>
                    <a:pt x="95" y="293"/>
                  </a:lnTo>
                  <a:lnTo>
                    <a:pt x="95" y="293"/>
                  </a:lnTo>
                  <a:lnTo>
                    <a:pt x="95" y="290"/>
                  </a:lnTo>
                  <a:lnTo>
                    <a:pt x="95" y="290"/>
                  </a:lnTo>
                  <a:lnTo>
                    <a:pt x="92" y="290"/>
                  </a:lnTo>
                  <a:lnTo>
                    <a:pt x="92" y="288"/>
                  </a:lnTo>
                  <a:lnTo>
                    <a:pt x="90" y="288"/>
                  </a:lnTo>
                  <a:lnTo>
                    <a:pt x="90" y="293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5"/>
                  </a:lnTo>
                  <a:lnTo>
                    <a:pt x="90" y="297"/>
                  </a:lnTo>
                  <a:lnTo>
                    <a:pt x="90" y="297"/>
                  </a:lnTo>
                  <a:lnTo>
                    <a:pt x="90" y="297"/>
                  </a:lnTo>
                  <a:lnTo>
                    <a:pt x="86" y="297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3" y="299"/>
                  </a:lnTo>
                  <a:lnTo>
                    <a:pt x="81" y="299"/>
                  </a:lnTo>
                  <a:lnTo>
                    <a:pt x="81" y="299"/>
                  </a:lnTo>
                  <a:lnTo>
                    <a:pt x="81" y="299"/>
                  </a:lnTo>
                  <a:lnTo>
                    <a:pt x="81" y="302"/>
                  </a:lnTo>
                  <a:lnTo>
                    <a:pt x="81" y="302"/>
                  </a:lnTo>
                  <a:lnTo>
                    <a:pt x="81" y="304"/>
                  </a:lnTo>
                  <a:lnTo>
                    <a:pt x="81" y="304"/>
                  </a:lnTo>
                  <a:lnTo>
                    <a:pt x="81" y="304"/>
                  </a:lnTo>
                  <a:lnTo>
                    <a:pt x="81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9" y="306"/>
                  </a:lnTo>
                  <a:lnTo>
                    <a:pt x="79" y="306"/>
                  </a:lnTo>
                  <a:lnTo>
                    <a:pt x="79" y="306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77" y="306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7" y="308"/>
                  </a:lnTo>
                  <a:lnTo>
                    <a:pt x="74" y="311"/>
                  </a:lnTo>
                  <a:lnTo>
                    <a:pt x="74" y="311"/>
                  </a:lnTo>
                  <a:lnTo>
                    <a:pt x="74" y="313"/>
                  </a:lnTo>
                  <a:lnTo>
                    <a:pt x="68" y="315"/>
                  </a:lnTo>
                  <a:lnTo>
                    <a:pt x="68" y="315"/>
                  </a:lnTo>
                  <a:lnTo>
                    <a:pt x="65" y="315"/>
                  </a:lnTo>
                  <a:lnTo>
                    <a:pt x="63" y="315"/>
                  </a:lnTo>
                  <a:lnTo>
                    <a:pt x="61" y="315"/>
                  </a:lnTo>
                  <a:lnTo>
                    <a:pt x="61" y="315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61" y="313"/>
                  </a:lnTo>
                  <a:lnTo>
                    <a:pt x="59" y="313"/>
                  </a:lnTo>
                  <a:lnTo>
                    <a:pt x="59" y="313"/>
                  </a:lnTo>
                  <a:lnTo>
                    <a:pt x="59" y="311"/>
                  </a:lnTo>
                  <a:lnTo>
                    <a:pt x="59" y="308"/>
                  </a:lnTo>
                  <a:lnTo>
                    <a:pt x="59" y="306"/>
                  </a:lnTo>
                  <a:lnTo>
                    <a:pt x="59" y="306"/>
                  </a:lnTo>
                  <a:lnTo>
                    <a:pt x="59" y="304"/>
                  </a:lnTo>
                  <a:lnTo>
                    <a:pt x="59" y="304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6" y="302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6" y="299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7"/>
                  </a:lnTo>
                  <a:lnTo>
                    <a:pt x="56" y="295"/>
                  </a:lnTo>
                  <a:lnTo>
                    <a:pt x="56" y="295"/>
                  </a:lnTo>
                  <a:lnTo>
                    <a:pt x="54" y="295"/>
                  </a:lnTo>
                  <a:lnTo>
                    <a:pt x="54" y="295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0" y="284"/>
                  </a:lnTo>
                  <a:lnTo>
                    <a:pt x="50" y="284"/>
                  </a:lnTo>
                  <a:lnTo>
                    <a:pt x="50" y="277"/>
                  </a:lnTo>
                  <a:lnTo>
                    <a:pt x="50" y="277"/>
                  </a:lnTo>
                  <a:lnTo>
                    <a:pt x="45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1" y="268"/>
                  </a:lnTo>
                  <a:lnTo>
                    <a:pt x="41" y="268"/>
                  </a:lnTo>
                  <a:lnTo>
                    <a:pt x="41" y="263"/>
                  </a:lnTo>
                  <a:lnTo>
                    <a:pt x="41" y="263"/>
                  </a:lnTo>
                  <a:lnTo>
                    <a:pt x="41" y="263"/>
                  </a:lnTo>
                  <a:lnTo>
                    <a:pt x="43" y="261"/>
                  </a:lnTo>
                  <a:lnTo>
                    <a:pt x="43" y="261"/>
                  </a:lnTo>
                  <a:lnTo>
                    <a:pt x="41" y="261"/>
                  </a:lnTo>
                  <a:lnTo>
                    <a:pt x="41" y="261"/>
                  </a:lnTo>
                  <a:lnTo>
                    <a:pt x="41" y="259"/>
                  </a:lnTo>
                  <a:lnTo>
                    <a:pt x="39" y="259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7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6" y="254"/>
                  </a:lnTo>
                  <a:lnTo>
                    <a:pt x="36" y="252"/>
                  </a:lnTo>
                  <a:lnTo>
                    <a:pt x="36" y="252"/>
                  </a:lnTo>
                  <a:lnTo>
                    <a:pt x="36" y="250"/>
                  </a:lnTo>
                  <a:lnTo>
                    <a:pt x="36" y="250"/>
                  </a:lnTo>
                  <a:lnTo>
                    <a:pt x="36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48"/>
                  </a:lnTo>
                  <a:lnTo>
                    <a:pt x="34" y="248"/>
                  </a:lnTo>
                  <a:lnTo>
                    <a:pt x="36" y="248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39" y="248"/>
                  </a:lnTo>
                  <a:lnTo>
                    <a:pt x="39" y="245"/>
                  </a:lnTo>
                  <a:lnTo>
                    <a:pt x="39" y="245"/>
                  </a:lnTo>
                  <a:lnTo>
                    <a:pt x="39" y="245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39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6" y="241"/>
                  </a:lnTo>
                  <a:lnTo>
                    <a:pt x="34" y="241"/>
                  </a:lnTo>
                  <a:lnTo>
                    <a:pt x="34" y="239"/>
                  </a:lnTo>
                  <a:lnTo>
                    <a:pt x="36" y="239"/>
                  </a:lnTo>
                  <a:lnTo>
                    <a:pt x="36" y="239"/>
                  </a:lnTo>
                  <a:lnTo>
                    <a:pt x="36" y="239"/>
                  </a:lnTo>
                  <a:lnTo>
                    <a:pt x="39" y="234"/>
                  </a:lnTo>
                  <a:lnTo>
                    <a:pt x="39" y="234"/>
                  </a:lnTo>
                  <a:lnTo>
                    <a:pt x="39" y="234"/>
                  </a:lnTo>
                  <a:lnTo>
                    <a:pt x="39" y="234"/>
                  </a:lnTo>
                  <a:lnTo>
                    <a:pt x="39" y="232"/>
                  </a:lnTo>
                  <a:lnTo>
                    <a:pt x="41" y="232"/>
                  </a:lnTo>
                  <a:lnTo>
                    <a:pt x="39" y="232"/>
                  </a:lnTo>
                  <a:lnTo>
                    <a:pt x="39" y="232"/>
                  </a:lnTo>
                  <a:lnTo>
                    <a:pt x="39" y="232"/>
                  </a:lnTo>
                  <a:lnTo>
                    <a:pt x="36" y="230"/>
                  </a:lnTo>
                  <a:lnTo>
                    <a:pt x="36" y="230"/>
                  </a:lnTo>
                  <a:lnTo>
                    <a:pt x="34" y="230"/>
                  </a:lnTo>
                  <a:lnTo>
                    <a:pt x="34" y="227"/>
                  </a:lnTo>
                  <a:lnTo>
                    <a:pt x="34" y="227"/>
                  </a:lnTo>
                  <a:lnTo>
                    <a:pt x="32" y="225"/>
                  </a:lnTo>
                  <a:lnTo>
                    <a:pt x="30" y="225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7" y="221"/>
                  </a:lnTo>
                  <a:lnTo>
                    <a:pt x="27" y="218"/>
                  </a:lnTo>
                  <a:lnTo>
                    <a:pt x="27" y="218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6"/>
                  </a:lnTo>
                  <a:lnTo>
                    <a:pt x="27" y="214"/>
                  </a:lnTo>
                  <a:lnTo>
                    <a:pt x="25" y="214"/>
                  </a:lnTo>
                  <a:lnTo>
                    <a:pt x="25" y="214"/>
                  </a:lnTo>
                  <a:lnTo>
                    <a:pt x="25" y="212"/>
                  </a:lnTo>
                  <a:lnTo>
                    <a:pt x="25" y="209"/>
                  </a:lnTo>
                  <a:lnTo>
                    <a:pt x="25" y="209"/>
                  </a:lnTo>
                  <a:lnTo>
                    <a:pt x="25" y="209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3" y="207"/>
                  </a:lnTo>
                  <a:lnTo>
                    <a:pt x="23" y="207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5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3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200"/>
                  </a:lnTo>
                  <a:lnTo>
                    <a:pt x="23" y="198"/>
                  </a:lnTo>
                  <a:lnTo>
                    <a:pt x="23" y="198"/>
                  </a:lnTo>
                  <a:lnTo>
                    <a:pt x="23" y="198"/>
                  </a:lnTo>
                  <a:lnTo>
                    <a:pt x="23" y="198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21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8"/>
                  </a:lnTo>
                  <a:lnTo>
                    <a:pt x="18" y="196"/>
                  </a:lnTo>
                  <a:lnTo>
                    <a:pt x="18" y="194"/>
                  </a:lnTo>
                  <a:lnTo>
                    <a:pt x="18" y="194"/>
                  </a:lnTo>
                  <a:lnTo>
                    <a:pt x="16" y="194"/>
                  </a:lnTo>
                  <a:lnTo>
                    <a:pt x="16" y="191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4" y="187"/>
                  </a:lnTo>
                  <a:lnTo>
                    <a:pt x="14" y="187"/>
                  </a:lnTo>
                  <a:lnTo>
                    <a:pt x="14" y="185"/>
                  </a:lnTo>
                  <a:lnTo>
                    <a:pt x="14" y="185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9" y="183"/>
                  </a:lnTo>
                  <a:lnTo>
                    <a:pt x="9" y="180"/>
                  </a:lnTo>
                  <a:lnTo>
                    <a:pt x="9" y="180"/>
                  </a:lnTo>
                  <a:lnTo>
                    <a:pt x="9" y="180"/>
                  </a:lnTo>
                  <a:lnTo>
                    <a:pt x="9" y="180"/>
                  </a:lnTo>
                  <a:lnTo>
                    <a:pt x="12" y="178"/>
                  </a:lnTo>
                  <a:lnTo>
                    <a:pt x="12" y="178"/>
                  </a:lnTo>
                  <a:lnTo>
                    <a:pt x="12" y="178"/>
                  </a:lnTo>
                  <a:lnTo>
                    <a:pt x="12" y="178"/>
                  </a:lnTo>
                  <a:lnTo>
                    <a:pt x="14" y="178"/>
                  </a:lnTo>
                  <a:lnTo>
                    <a:pt x="14" y="178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8" y="171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21" y="169"/>
                  </a:lnTo>
                  <a:lnTo>
                    <a:pt x="21" y="167"/>
                  </a:lnTo>
                  <a:lnTo>
                    <a:pt x="21" y="167"/>
                  </a:lnTo>
                  <a:lnTo>
                    <a:pt x="21" y="167"/>
                  </a:lnTo>
                  <a:lnTo>
                    <a:pt x="21" y="167"/>
                  </a:lnTo>
                  <a:lnTo>
                    <a:pt x="21" y="165"/>
                  </a:lnTo>
                  <a:lnTo>
                    <a:pt x="21" y="165"/>
                  </a:lnTo>
                  <a:lnTo>
                    <a:pt x="21" y="165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1" y="160"/>
                  </a:lnTo>
                  <a:lnTo>
                    <a:pt x="23" y="160"/>
                  </a:lnTo>
                  <a:lnTo>
                    <a:pt x="25" y="160"/>
                  </a:lnTo>
                  <a:lnTo>
                    <a:pt x="25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3" y="158"/>
                  </a:lnTo>
                  <a:lnTo>
                    <a:pt x="23" y="156"/>
                  </a:lnTo>
                  <a:lnTo>
                    <a:pt x="21" y="156"/>
                  </a:lnTo>
                  <a:lnTo>
                    <a:pt x="21" y="156"/>
                  </a:lnTo>
                  <a:lnTo>
                    <a:pt x="21" y="156"/>
                  </a:lnTo>
                  <a:lnTo>
                    <a:pt x="21" y="156"/>
                  </a:lnTo>
                  <a:lnTo>
                    <a:pt x="21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8" y="156"/>
                  </a:lnTo>
                  <a:lnTo>
                    <a:pt x="16" y="156"/>
                  </a:lnTo>
                  <a:lnTo>
                    <a:pt x="16" y="156"/>
                  </a:lnTo>
                  <a:lnTo>
                    <a:pt x="16" y="153"/>
                  </a:lnTo>
                  <a:lnTo>
                    <a:pt x="14" y="151"/>
                  </a:lnTo>
                  <a:lnTo>
                    <a:pt x="14" y="149"/>
                  </a:lnTo>
                  <a:lnTo>
                    <a:pt x="12" y="147"/>
                  </a:lnTo>
                  <a:lnTo>
                    <a:pt x="12" y="144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9" y="126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9" y="122"/>
                  </a:lnTo>
                  <a:lnTo>
                    <a:pt x="9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0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6" y="115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21" y="108"/>
                  </a:lnTo>
                  <a:lnTo>
                    <a:pt x="21" y="106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0"/>
                  </a:lnTo>
                  <a:lnTo>
                    <a:pt x="16" y="86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1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6"/>
                  </a:lnTo>
                  <a:lnTo>
                    <a:pt x="18" y="61"/>
                  </a:lnTo>
                  <a:lnTo>
                    <a:pt x="16" y="59"/>
                  </a:lnTo>
                  <a:lnTo>
                    <a:pt x="12" y="54"/>
                  </a:lnTo>
                  <a:lnTo>
                    <a:pt x="9" y="50"/>
                  </a:lnTo>
                  <a:lnTo>
                    <a:pt x="7" y="45"/>
                  </a:lnTo>
                  <a:lnTo>
                    <a:pt x="5" y="41"/>
                  </a:lnTo>
                  <a:lnTo>
                    <a:pt x="3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3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2"/>
                  </a:lnTo>
                  <a:lnTo>
                    <a:pt x="7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27"/>
                  </a:lnTo>
                  <a:lnTo>
                    <a:pt x="30" y="27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2" y="25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1" y="23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4" y="9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5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2" name="Freeform 640"/>
            <p:cNvSpPr>
              <a:spLocks/>
            </p:cNvSpPr>
            <p:nvPr/>
          </p:nvSpPr>
          <p:spPr bwMode="auto">
            <a:xfrm>
              <a:off x="8659489" y="2840883"/>
              <a:ext cx="117000" cy="65185"/>
            </a:xfrm>
            <a:custGeom>
              <a:avLst/>
              <a:gdLst>
                <a:gd name="T0" fmla="*/ 29 w 70"/>
                <a:gd name="T1" fmla="*/ 0 h 39"/>
                <a:gd name="T2" fmla="*/ 29 w 70"/>
                <a:gd name="T3" fmla="*/ 5 h 39"/>
                <a:gd name="T4" fmla="*/ 31 w 70"/>
                <a:gd name="T5" fmla="*/ 5 h 39"/>
                <a:gd name="T6" fmla="*/ 36 w 70"/>
                <a:gd name="T7" fmla="*/ 5 h 39"/>
                <a:gd name="T8" fmla="*/ 40 w 70"/>
                <a:gd name="T9" fmla="*/ 7 h 39"/>
                <a:gd name="T10" fmla="*/ 45 w 70"/>
                <a:gd name="T11" fmla="*/ 7 h 39"/>
                <a:gd name="T12" fmla="*/ 45 w 70"/>
                <a:gd name="T13" fmla="*/ 5 h 39"/>
                <a:gd name="T14" fmla="*/ 47 w 70"/>
                <a:gd name="T15" fmla="*/ 5 h 39"/>
                <a:gd name="T16" fmla="*/ 52 w 70"/>
                <a:gd name="T17" fmla="*/ 7 h 39"/>
                <a:gd name="T18" fmla="*/ 56 w 70"/>
                <a:gd name="T19" fmla="*/ 9 h 39"/>
                <a:gd name="T20" fmla="*/ 56 w 70"/>
                <a:gd name="T21" fmla="*/ 12 h 39"/>
                <a:gd name="T22" fmla="*/ 56 w 70"/>
                <a:gd name="T23" fmla="*/ 16 h 39"/>
                <a:gd name="T24" fmla="*/ 58 w 70"/>
                <a:gd name="T25" fmla="*/ 21 h 39"/>
                <a:gd name="T26" fmla="*/ 61 w 70"/>
                <a:gd name="T27" fmla="*/ 21 h 39"/>
                <a:gd name="T28" fmla="*/ 65 w 70"/>
                <a:gd name="T29" fmla="*/ 21 h 39"/>
                <a:gd name="T30" fmla="*/ 67 w 70"/>
                <a:gd name="T31" fmla="*/ 23 h 39"/>
                <a:gd name="T32" fmla="*/ 67 w 70"/>
                <a:gd name="T33" fmla="*/ 25 h 39"/>
                <a:gd name="T34" fmla="*/ 67 w 70"/>
                <a:gd name="T35" fmla="*/ 27 h 39"/>
                <a:gd name="T36" fmla="*/ 67 w 70"/>
                <a:gd name="T37" fmla="*/ 30 h 39"/>
                <a:gd name="T38" fmla="*/ 70 w 70"/>
                <a:gd name="T39" fmla="*/ 34 h 39"/>
                <a:gd name="T40" fmla="*/ 67 w 70"/>
                <a:gd name="T41" fmla="*/ 34 h 39"/>
                <a:gd name="T42" fmla="*/ 67 w 70"/>
                <a:gd name="T43" fmla="*/ 34 h 39"/>
                <a:gd name="T44" fmla="*/ 65 w 70"/>
                <a:gd name="T45" fmla="*/ 34 h 39"/>
                <a:gd name="T46" fmla="*/ 63 w 70"/>
                <a:gd name="T47" fmla="*/ 36 h 39"/>
                <a:gd name="T48" fmla="*/ 61 w 70"/>
                <a:gd name="T49" fmla="*/ 36 h 39"/>
                <a:gd name="T50" fmla="*/ 58 w 70"/>
                <a:gd name="T51" fmla="*/ 34 h 39"/>
                <a:gd name="T52" fmla="*/ 56 w 70"/>
                <a:gd name="T53" fmla="*/ 34 h 39"/>
                <a:gd name="T54" fmla="*/ 54 w 70"/>
                <a:gd name="T55" fmla="*/ 36 h 39"/>
                <a:gd name="T56" fmla="*/ 52 w 70"/>
                <a:gd name="T57" fmla="*/ 36 h 39"/>
                <a:gd name="T58" fmla="*/ 40 w 70"/>
                <a:gd name="T59" fmla="*/ 36 h 39"/>
                <a:gd name="T60" fmla="*/ 34 w 70"/>
                <a:gd name="T61" fmla="*/ 34 h 39"/>
                <a:gd name="T62" fmla="*/ 31 w 70"/>
                <a:gd name="T63" fmla="*/ 34 h 39"/>
                <a:gd name="T64" fmla="*/ 29 w 70"/>
                <a:gd name="T65" fmla="*/ 36 h 39"/>
                <a:gd name="T66" fmla="*/ 25 w 70"/>
                <a:gd name="T67" fmla="*/ 39 h 39"/>
                <a:gd name="T68" fmla="*/ 25 w 70"/>
                <a:gd name="T69" fmla="*/ 39 h 39"/>
                <a:gd name="T70" fmla="*/ 25 w 70"/>
                <a:gd name="T71" fmla="*/ 39 h 39"/>
                <a:gd name="T72" fmla="*/ 25 w 70"/>
                <a:gd name="T73" fmla="*/ 39 h 39"/>
                <a:gd name="T74" fmla="*/ 20 w 70"/>
                <a:gd name="T75" fmla="*/ 39 h 39"/>
                <a:gd name="T76" fmla="*/ 20 w 70"/>
                <a:gd name="T77" fmla="*/ 36 h 39"/>
                <a:gd name="T78" fmla="*/ 13 w 70"/>
                <a:gd name="T79" fmla="*/ 34 h 39"/>
                <a:gd name="T80" fmla="*/ 13 w 70"/>
                <a:gd name="T81" fmla="*/ 36 h 39"/>
                <a:gd name="T82" fmla="*/ 9 w 70"/>
                <a:gd name="T83" fmla="*/ 34 h 39"/>
                <a:gd name="T84" fmla="*/ 7 w 70"/>
                <a:gd name="T85" fmla="*/ 32 h 39"/>
                <a:gd name="T86" fmla="*/ 7 w 70"/>
                <a:gd name="T87" fmla="*/ 32 h 39"/>
                <a:gd name="T88" fmla="*/ 4 w 70"/>
                <a:gd name="T89" fmla="*/ 32 h 39"/>
                <a:gd name="T90" fmla="*/ 4 w 70"/>
                <a:gd name="T91" fmla="*/ 32 h 39"/>
                <a:gd name="T92" fmla="*/ 2 w 70"/>
                <a:gd name="T93" fmla="*/ 27 h 39"/>
                <a:gd name="T94" fmla="*/ 2 w 70"/>
                <a:gd name="T95" fmla="*/ 25 h 39"/>
                <a:gd name="T96" fmla="*/ 4 w 70"/>
                <a:gd name="T97" fmla="*/ 21 h 39"/>
                <a:gd name="T98" fmla="*/ 4 w 70"/>
                <a:gd name="T99" fmla="*/ 18 h 39"/>
                <a:gd name="T100" fmla="*/ 7 w 70"/>
                <a:gd name="T101" fmla="*/ 16 h 39"/>
                <a:gd name="T102" fmla="*/ 7 w 70"/>
                <a:gd name="T103" fmla="*/ 12 h 39"/>
                <a:gd name="T104" fmla="*/ 11 w 70"/>
                <a:gd name="T105" fmla="*/ 9 h 39"/>
                <a:gd name="T106" fmla="*/ 11 w 70"/>
                <a:gd name="T107" fmla="*/ 5 h 39"/>
                <a:gd name="T108" fmla="*/ 13 w 70"/>
                <a:gd name="T109" fmla="*/ 3 h 39"/>
                <a:gd name="T110" fmla="*/ 18 w 70"/>
                <a:gd name="T111" fmla="*/ 0 h 39"/>
                <a:gd name="T112" fmla="*/ 18 w 70"/>
                <a:gd name="T113" fmla="*/ 0 h 39"/>
                <a:gd name="T114" fmla="*/ 20 w 70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0" h="39">
                  <a:moveTo>
                    <a:pt x="20" y="0"/>
                  </a:moveTo>
                  <a:lnTo>
                    <a:pt x="25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9" y="5"/>
                  </a:lnTo>
                  <a:lnTo>
                    <a:pt x="49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7" y="23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70" y="30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3" y="36"/>
                  </a:lnTo>
                  <a:lnTo>
                    <a:pt x="40" y="36"/>
                  </a:lnTo>
                  <a:lnTo>
                    <a:pt x="38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6" y="36"/>
                  </a:lnTo>
                  <a:lnTo>
                    <a:pt x="16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3" name="Freeform 641"/>
            <p:cNvSpPr>
              <a:spLocks/>
            </p:cNvSpPr>
            <p:nvPr/>
          </p:nvSpPr>
          <p:spPr bwMode="auto">
            <a:xfrm>
              <a:off x="5670981" y="3472682"/>
              <a:ext cx="108643" cy="249042"/>
            </a:xfrm>
            <a:custGeom>
              <a:avLst/>
              <a:gdLst>
                <a:gd name="T0" fmla="*/ 47 w 65"/>
                <a:gd name="T1" fmla="*/ 5 h 149"/>
                <a:gd name="T2" fmla="*/ 51 w 65"/>
                <a:gd name="T3" fmla="*/ 11 h 149"/>
                <a:gd name="T4" fmla="*/ 56 w 65"/>
                <a:gd name="T5" fmla="*/ 14 h 149"/>
                <a:gd name="T6" fmla="*/ 58 w 65"/>
                <a:gd name="T7" fmla="*/ 16 h 149"/>
                <a:gd name="T8" fmla="*/ 58 w 65"/>
                <a:gd name="T9" fmla="*/ 23 h 149"/>
                <a:gd name="T10" fmla="*/ 62 w 65"/>
                <a:gd name="T11" fmla="*/ 32 h 149"/>
                <a:gd name="T12" fmla="*/ 62 w 65"/>
                <a:gd name="T13" fmla="*/ 38 h 149"/>
                <a:gd name="T14" fmla="*/ 65 w 65"/>
                <a:gd name="T15" fmla="*/ 41 h 149"/>
                <a:gd name="T16" fmla="*/ 62 w 65"/>
                <a:gd name="T17" fmla="*/ 47 h 149"/>
                <a:gd name="T18" fmla="*/ 58 w 65"/>
                <a:gd name="T19" fmla="*/ 52 h 149"/>
                <a:gd name="T20" fmla="*/ 60 w 65"/>
                <a:gd name="T21" fmla="*/ 56 h 149"/>
                <a:gd name="T22" fmla="*/ 54 w 65"/>
                <a:gd name="T23" fmla="*/ 63 h 149"/>
                <a:gd name="T24" fmla="*/ 51 w 65"/>
                <a:gd name="T25" fmla="*/ 68 h 149"/>
                <a:gd name="T26" fmla="*/ 49 w 65"/>
                <a:gd name="T27" fmla="*/ 72 h 149"/>
                <a:gd name="T28" fmla="*/ 47 w 65"/>
                <a:gd name="T29" fmla="*/ 81 h 149"/>
                <a:gd name="T30" fmla="*/ 45 w 65"/>
                <a:gd name="T31" fmla="*/ 81 h 149"/>
                <a:gd name="T32" fmla="*/ 42 w 65"/>
                <a:gd name="T33" fmla="*/ 83 h 149"/>
                <a:gd name="T34" fmla="*/ 40 w 65"/>
                <a:gd name="T35" fmla="*/ 86 h 149"/>
                <a:gd name="T36" fmla="*/ 40 w 65"/>
                <a:gd name="T37" fmla="*/ 97 h 149"/>
                <a:gd name="T38" fmla="*/ 40 w 65"/>
                <a:gd name="T39" fmla="*/ 101 h 149"/>
                <a:gd name="T40" fmla="*/ 40 w 65"/>
                <a:gd name="T41" fmla="*/ 108 h 149"/>
                <a:gd name="T42" fmla="*/ 42 w 65"/>
                <a:gd name="T43" fmla="*/ 119 h 149"/>
                <a:gd name="T44" fmla="*/ 42 w 65"/>
                <a:gd name="T45" fmla="*/ 126 h 149"/>
                <a:gd name="T46" fmla="*/ 42 w 65"/>
                <a:gd name="T47" fmla="*/ 128 h 149"/>
                <a:gd name="T48" fmla="*/ 42 w 65"/>
                <a:gd name="T49" fmla="*/ 135 h 149"/>
                <a:gd name="T50" fmla="*/ 42 w 65"/>
                <a:gd name="T51" fmla="*/ 137 h 149"/>
                <a:gd name="T52" fmla="*/ 18 w 65"/>
                <a:gd name="T53" fmla="*/ 149 h 149"/>
                <a:gd name="T54" fmla="*/ 20 w 65"/>
                <a:gd name="T55" fmla="*/ 142 h 149"/>
                <a:gd name="T56" fmla="*/ 18 w 65"/>
                <a:gd name="T57" fmla="*/ 140 h 149"/>
                <a:gd name="T58" fmla="*/ 18 w 65"/>
                <a:gd name="T59" fmla="*/ 137 h 149"/>
                <a:gd name="T60" fmla="*/ 18 w 65"/>
                <a:gd name="T61" fmla="*/ 133 h 149"/>
                <a:gd name="T62" fmla="*/ 18 w 65"/>
                <a:gd name="T63" fmla="*/ 110 h 149"/>
                <a:gd name="T64" fmla="*/ 18 w 65"/>
                <a:gd name="T65" fmla="*/ 95 h 149"/>
                <a:gd name="T66" fmla="*/ 18 w 65"/>
                <a:gd name="T67" fmla="*/ 81 h 149"/>
                <a:gd name="T68" fmla="*/ 13 w 65"/>
                <a:gd name="T69" fmla="*/ 70 h 149"/>
                <a:gd name="T70" fmla="*/ 13 w 65"/>
                <a:gd name="T71" fmla="*/ 65 h 149"/>
                <a:gd name="T72" fmla="*/ 0 w 65"/>
                <a:gd name="T73" fmla="*/ 50 h 149"/>
                <a:gd name="T74" fmla="*/ 2 w 65"/>
                <a:gd name="T75" fmla="*/ 38 h 149"/>
                <a:gd name="T76" fmla="*/ 4 w 65"/>
                <a:gd name="T77" fmla="*/ 34 h 149"/>
                <a:gd name="T78" fmla="*/ 4 w 65"/>
                <a:gd name="T79" fmla="*/ 34 h 149"/>
                <a:gd name="T80" fmla="*/ 6 w 65"/>
                <a:gd name="T81" fmla="*/ 32 h 149"/>
                <a:gd name="T82" fmla="*/ 6 w 65"/>
                <a:gd name="T83" fmla="*/ 34 h 149"/>
                <a:gd name="T84" fmla="*/ 6 w 65"/>
                <a:gd name="T85" fmla="*/ 32 h 149"/>
                <a:gd name="T86" fmla="*/ 6 w 65"/>
                <a:gd name="T87" fmla="*/ 29 h 149"/>
                <a:gd name="T88" fmla="*/ 9 w 65"/>
                <a:gd name="T89" fmla="*/ 27 h 149"/>
                <a:gd name="T90" fmla="*/ 11 w 65"/>
                <a:gd name="T91" fmla="*/ 27 h 149"/>
                <a:gd name="T92" fmla="*/ 11 w 65"/>
                <a:gd name="T93" fmla="*/ 27 h 149"/>
                <a:gd name="T94" fmla="*/ 13 w 65"/>
                <a:gd name="T95" fmla="*/ 25 h 149"/>
                <a:gd name="T96" fmla="*/ 15 w 65"/>
                <a:gd name="T97" fmla="*/ 23 h 149"/>
                <a:gd name="T98" fmla="*/ 20 w 65"/>
                <a:gd name="T99" fmla="*/ 25 h 149"/>
                <a:gd name="T100" fmla="*/ 24 w 65"/>
                <a:gd name="T101" fmla="*/ 23 h 149"/>
                <a:gd name="T102" fmla="*/ 31 w 65"/>
                <a:gd name="T103" fmla="*/ 18 h 149"/>
                <a:gd name="T104" fmla="*/ 33 w 65"/>
                <a:gd name="T105" fmla="*/ 11 h 149"/>
                <a:gd name="T106" fmla="*/ 36 w 65"/>
                <a:gd name="T107" fmla="*/ 9 h 149"/>
                <a:gd name="T108" fmla="*/ 33 w 65"/>
                <a:gd name="T109" fmla="*/ 5 h 149"/>
                <a:gd name="T110" fmla="*/ 36 w 65"/>
                <a:gd name="T111" fmla="*/ 5 h 149"/>
                <a:gd name="T112" fmla="*/ 38 w 65"/>
                <a:gd name="T113" fmla="*/ 5 h 149"/>
                <a:gd name="T114" fmla="*/ 40 w 65"/>
                <a:gd name="T115" fmla="*/ 2 h 149"/>
                <a:gd name="T116" fmla="*/ 42 w 65"/>
                <a:gd name="T117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5" h="149">
                  <a:moveTo>
                    <a:pt x="42" y="0"/>
                  </a:move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20"/>
                  </a:lnTo>
                  <a:lnTo>
                    <a:pt x="58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5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1" y="65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68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9" y="77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47" y="79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6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0" y="131"/>
                  </a:lnTo>
                  <a:lnTo>
                    <a:pt x="40" y="131"/>
                  </a:lnTo>
                  <a:lnTo>
                    <a:pt x="42" y="131"/>
                  </a:lnTo>
                  <a:lnTo>
                    <a:pt x="42" y="133"/>
                  </a:lnTo>
                  <a:lnTo>
                    <a:pt x="40" y="133"/>
                  </a:lnTo>
                  <a:lnTo>
                    <a:pt x="40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5"/>
                  </a:lnTo>
                  <a:lnTo>
                    <a:pt x="42" y="137"/>
                  </a:lnTo>
                  <a:lnTo>
                    <a:pt x="42" y="137"/>
                  </a:lnTo>
                  <a:lnTo>
                    <a:pt x="42" y="137"/>
                  </a:lnTo>
                  <a:lnTo>
                    <a:pt x="42" y="137"/>
                  </a:lnTo>
                  <a:lnTo>
                    <a:pt x="42" y="137"/>
                  </a:lnTo>
                  <a:lnTo>
                    <a:pt x="42" y="137"/>
                  </a:lnTo>
                  <a:lnTo>
                    <a:pt x="42" y="140"/>
                  </a:lnTo>
                  <a:lnTo>
                    <a:pt x="42" y="140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0" y="144"/>
                  </a:lnTo>
                  <a:lnTo>
                    <a:pt x="33" y="144"/>
                  </a:lnTo>
                  <a:lnTo>
                    <a:pt x="31" y="146"/>
                  </a:lnTo>
                  <a:lnTo>
                    <a:pt x="24" y="146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18" y="146"/>
                  </a:lnTo>
                  <a:lnTo>
                    <a:pt x="20" y="146"/>
                  </a:lnTo>
                  <a:lnTo>
                    <a:pt x="22" y="146"/>
                  </a:lnTo>
                  <a:lnTo>
                    <a:pt x="22" y="144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20" y="140"/>
                  </a:lnTo>
                  <a:lnTo>
                    <a:pt x="20" y="140"/>
                  </a:lnTo>
                  <a:lnTo>
                    <a:pt x="20" y="140"/>
                  </a:lnTo>
                  <a:lnTo>
                    <a:pt x="20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5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6"/>
                  </a:lnTo>
                  <a:lnTo>
                    <a:pt x="18" y="122"/>
                  </a:lnTo>
                  <a:lnTo>
                    <a:pt x="18" y="119"/>
                  </a:lnTo>
                  <a:lnTo>
                    <a:pt x="18" y="115"/>
                  </a:lnTo>
                  <a:lnTo>
                    <a:pt x="18" y="110"/>
                  </a:lnTo>
                  <a:lnTo>
                    <a:pt x="18" y="106"/>
                  </a:lnTo>
                  <a:lnTo>
                    <a:pt x="18" y="101"/>
                  </a:lnTo>
                  <a:lnTo>
                    <a:pt x="18" y="99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88"/>
                  </a:lnTo>
                  <a:lnTo>
                    <a:pt x="18" y="86"/>
                  </a:lnTo>
                  <a:lnTo>
                    <a:pt x="18" y="83"/>
                  </a:lnTo>
                  <a:lnTo>
                    <a:pt x="18" y="81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5" y="77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2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1" y="70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1" y="59"/>
                  </a:lnTo>
                  <a:lnTo>
                    <a:pt x="9" y="56"/>
                  </a:lnTo>
                  <a:lnTo>
                    <a:pt x="6" y="54"/>
                  </a:lnTo>
                  <a:lnTo>
                    <a:pt x="4" y="52"/>
                  </a:lnTo>
                  <a:lnTo>
                    <a:pt x="2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7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2" y="25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7" y="25"/>
                  </a:lnTo>
                  <a:lnTo>
                    <a:pt x="29" y="20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4" name="Freeform 642"/>
            <p:cNvSpPr>
              <a:spLocks/>
            </p:cNvSpPr>
            <p:nvPr/>
          </p:nvSpPr>
          <p:spPr bwMode="auto">
            <a:xfrm>
              <a:off x="2545416" y="3231997"/>
              <a:ext cx="50143" cy="101956"/>
            </a:xfrm>
            <a:custGeom>
              <a:avLst/>
              <a:gdLst>
                <a:gd name="T0" fmla="*/ 25 w 30"/>
                <a:gd name="T1" fmla="*/ 0 h 61"/>
                <a:gd name="T2" fmla="*/ 27 w 30"/>
                <a:gd name="T3" fmla="*/ 0 h 61"/>
                <a:gd name="T4" fmla="*/ 25 w 30"/>
                <a:gd name="T5" fmla="*/ 3 h 61"/>
                <a:gd name="T6" fmla="*/ 25 w 30"/>
                <a:gd name="T7" fmla="*/ 5 h 61"/>
                <a:gd name="T8" fmla="*/ 27 w 30"/>
                <a:gd name="T9" fmla="*/ 3 h 61"/>
                <a:gd name="T10" fmla="*/ 30 w 30"/>
                <a:gd name="T11" fmla="*/ 3 h 61"/>
                <a:gd name="T12" fmla="*/ 30 w 30"/>
                <a:gd name="T13" fmla="*/ 3 h 61"/>
                <a:gd name="T14" fmla="*/ 30 w 30"/>
                <a:gd name="T15" fmla="*/ 5 h 61"/>
                <a:gd name="T16" fmla="*/ 30 w 30"/>
                <a:gd name="T17" fmla="*/ 3 h 61"/>
                <a:gd name="T18" fmla="*/ 30 w 30"/>
                <a:gd name="T19" fmla="*/ 9 h 61"/>
                <a:gd name="T20" fmla="*/ 27 w 30"/>
                <a:gd name="T21" fmla="*/ 14 h 61"/>
                <a:gd name="T22" fmla="*/ 25 w 30"/>
                <a:gd name="T23" fmla="*/ 21 h 61"/>
                <a:gd name="T24" fmla="*/ 25 w 30"/>
                <a:gd name="T25" fmla="*/ 23 h 61"/>
                <a:gd name="T26" fmla="*/ 25 w 30"/>
                <a:gd name="T27" fmla="*/ 23 h 61"/>
                <a:gd name="T28" fmla="*/ 23 w 30"/>
                <a:gd name="T29" fmla="*/ 27 h 61"/>
                <a:gd name="T30" fmla="*/ 23 w 30"/>
                <a:gd name="T31" fmla="*/ 32 h 61"/>
                <a:gd name="T32" fmla="*/ 23 w 30"/>
                <a:gd name="T33" fmla="*/ 34 h 61"/>
                <a:gd name="T34" fmla="*/ 23 w 30"/>
                <a:gd name="T35" fmla="*/ 36 h 61"/>
                <a:gd name="T36" fmla="*/ 23 w 30"/>
                <a:gd name="T37" fmla="*/ 36 h 61"/>
                <a:gd name="T38" fmla="*/ 23 w 30"/>
                <a:gd name="T39" fmla="*/ 39 h 61"/>
                <a:gd name="T40" fmla="*/ 23 w 30"/>
                <a:gd name="T41" fmla="*/ 39 h 61"/>
                <a:gd name="T42" fmla="*/ 23 w 30"/>
                <a:gd name="T43" fmla="*/ 41 h 61"/>
                <a:gd name="T44" fmla="*/ 21 w 30"/>
                <a:gd name="T45" fmla="*/ 41 h 61"/>
                <a:gd name="T46" fmla="*/ 21 w 30"/>
                <a:gd name="T47" fmla="*/ 43 h 61"/>
                <a:gd name="T48" fmla="*/ 21 w 30"/>
                <a:gd name="T49" fmla="*/ 45 h 61"/>
                <a:gd name="T50" fmla="*/ 18 w 30"/>
                <a:gd name="T51" fmla="*/ 48 h 61"/>
                <a:gd name="T52" fmla="*/ 21 w 30"/>
                <a:gd name="T53" fmla="*/ 45 h 61"/>
                <a:gd name="T54" fmla="*/ 18 w 30"/>
                <a:gd name="T55" fmla="*/ 45 h 61"/>
                <a:gd name="T56" fmla="*/ 18 w 30"/>
                <a:gd name="T57" fmla="*/ 45 h 61"/>
                <a:gd name="T58" fmla="*/ 18 w 30"/>
                <a:gd name="T59" fmla="*/ 48 h 61"/>
                <a:gd name="T60" fmla="*/ 18 w 30"/>
                <a:gd name="T61" fmla="*/ 50 h 61"/>
                <a:gd name="T62" fmla="*/ 16 w 30"/>
                <a:gd name="T63" fmla="*/ 50 h 61"/>
                <a:gd name="T64" fmla="*/ 16 w 30"/>
                <a:gd name="T65" fmla="*/ 50 h 61"/>
                <a:gd name="T66" fmla="*/ 16 w 30"/>
                <a:gd name="T67" fmla="*/ 52 h 61"/>
                <a:gd name="T68" fmla="*/ 16 w 30"/>
                <a:gd name="T69" fmla="*/ 52 h 61"/>
                <a:gd name="T70" fmla="*/ 14 w 30"/>
                <a:gd name="T71" fmla="*/ 52 h 61"/>
                <a:gd name="T72" fmla="*/ 14 w 30"/>
                <a:gd name="T73" fmla="*/ 52 h 61"/>
                <a:gd name="T74" fmla="*/ 14 w 30"/>
                <a:gd name="T75" fmla="*/ 52 h 61"/>
                <a:gd name="T76" fmla="*/ 14 w 30"/>
                <a:gd name="T77" fmla="*/ 52 h 61"/>
                <a:gd name="T78" fmla="*/ 12 w 30"/>
                <a:gd name="T79" fmla="*/ 54 h 61"/>
                <a:gd name="T80" fmla="*/ 12 w 30"/>
                <a:gd name="T81" fmla="*/ 54 h 61"/>
                <a:gd name="T82" fmla="*/ 9 w 30"/>
                <a:gd name="T83" fmla="*/ 57 h 61"/>
                <a:gd name="T84" fmla="*/ 9 w 30"/>
                <a:gd name="T85" fmla="*/ 57 h 61"/>
                <a:gd name="T86" fmla="*/ 7 w 30"/>
                <a:gd name="T87" fmla="*/ 59 h 61"/>
                <a:gd name="T88" fmla="*/ 7 w 30"/>
                <a:gd name="T89" fmla="*/ 59 h 61"/>
                <a:gd name="T90" fmla="*/ 5 w 30"/>
                <a:gd name="T91" fmla="*/ 61 h 61"/>
                <a:gd name="T92" fmla="*/ 0 w 30"/>
                <a:gd name="T93" fmla="*/ 61 h 61"/>
                <a:gd name="T94" fmla="*/ 0 w 30"/>
                <a:gd name="T95" fmla="*/ 61 h 61"/>
                <a:gd name="T96" fmla="*/ 3 w 30"/>
                <a:gd name="T97" fmla="*/ 39 h 61"/>
                <a:gd name="T98" fmla="*/ 7 w 30"/>
                <a:gd name="T99" fmla="*/ 14 h 61"/>
                <a:gd name="T100" fmla="*/ 9 w 30"/>
                <a:gd name="T101" fmla="*/ 12 h 61"/>
                <a:gd name="T102" fmla="*/ 12 w 30"/>
                <a:gd name="T103" fmla="*/ 12 h 61"/>
                <a:gd name="T104" fmla="*/ 14 w 30"/>
                <a:gd name="T105" fmla="*/ 14 h 61"/>
                <a:gd name="T106" fmla="*/ 14 w 30"/>
                <a:gd name="T107" fmla="*/ 12 h 61"/>
                <a:gd name="T108" fmla="*/ 16 w 30"/>
                <a:gd name="T109" fmla="*/ 9 h 61"/>
                <a:gd name="T110" fmla="*/ 18 w 30"/>
                <a:gd name="T111" fmla="*/ 7 h 61"/>
                <a:gd name="T112" fmla="*/ 18 w 30"/>
                <a:gd name="T113" fmla="*/ 7 h 61"/>
                <a:gd name="T114" fmla="*/ 21 w 30"/>
                <a:gd name="T115" fmla="*/ 5 h 61"/>
                <a:gd name="T116" fmla="*/ 21 w 30"/>
                <a:gd name="T117" fmla="*/ 3 h 61"/>
                <a:gd name="T118" fmla="*/ 23 w 30"/>
                <a:gd name="T119" fmla="*/ 0 h 61"/>
                <a:gd name="T120" fmla="*/ 23 w 30"/>
                <a:gd name="T121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" h="61">
                  <a:moveTo>
                    <a:pt x="25" y="0"/>
                  </a:move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5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3" y="27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9" y="54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5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54"/>
                  </a:lnTo>
                  <a:lnTo>
                    <a:pt x="0" y="50"/>
                  </a:lnTo>
                  <a:lnTo>
                    <a:pt x="3" y="43"/>
                  </a:lnTo>
                  <a:lnTo>
                    <a:pt x="3" y="39"/>
                  </a:lnTo>
                  <a:lnTo>
                    <a:pt x="5" y="32"/>
                  </a:lnTo>
                  <a:lnTo>
                    <a:pt x="5" y="27"/>
                  </a:lnTo>
                  <a:lnTo>
                    <a:pt x="5" y="21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5" name="Freeform 644"/>
            <p:cNvSpPr>
              <a:spLocks/>
            </p:cNvSpPr>
            <p:nvPr/>
          </p:nvSpPr>
          <p:spPr bwMode="auto">
            <a:xfrm>
              <a:off x="6337879" y="1751114"/>
              <a:ext cx="279129" cy="185528"/>
            </a:xfrm>
            <a:custGeom>
              <a:avLst/>
              <a:gdLst>
                <a:gd name="T0" fmla="*/ 86 w 167"/>
                <a:gd name="T1" fmla="*/ 5 h 111"/>
                <a:gd name="T2" fmla="*/ 97 w 167"/>
                <a:gd name="T3" fmla="*/ 5 h 111"/>
                <a:gd name="T4" fmla="*/ 102 w 167"/>
                <a:gd name="T5" fmla="*/ 9 h 111"/>
                <a:gd name="T6" fmla="*/ 117 w 167"/>
                <a:gd name="T7" fmla="*/ 9 h 111"/>
                <a:gd name="T8" fmla="*/ 122 w 167"/>
                <a:gd name="T9" fmla="*/ 12 h 111"/>
                <a:gd name="T10" fmla="*/ 124 w 167"/>
                <a:gd name="T11" fmla="*/ 21 h 111"/>
                <a:gd name="T12" fmla="*/ 129 w 167"/>
                <a:gd name="T13" fmla="*/ 23 h 111"/>
                <a:gd name="T14" fmla="*/ 126 w 167"/>
                <a:gd name="T15" fmla="*/ 27 h 111"/>
                <a:gd name="T16" fmla="*/ 133 w 167"/>
                <a:gd name="T17" fmla="*/ 39 h 111"/>
                <a:gd name="T18" fmla="*/ 147 w 167"/>
                <a:gd name="T19" fmla="*/ 48 h 111"/>
                <a:gd name="T20" fmla="*/ 149 w 167"/>
                <a:gd name="T21" fmla="*/ 52 h 111"/>
                <a:gd name="T22" fmla="*/ 162 w 167"/>
                <a:gd name="T23" fmla="*/ 57 h 111"/>
                <a:gd name="T24" fmla="*/ 164 w 167"/>
                <a:gd name="T25" fmla="*/ 61 h 111"/>
                <a:gd name="T26" fmla="*/ 164 w 167"/>
                <a:gd name="T27" fmla="*/ 66 h 111"/>
                <a:gd name="T28" fmla="*/ 160 w 167"/>
                <a:gd name="T29" fmla="*/ 68 h 111"/>
                <a:gd name="T30" fmla="*/ 151 w 167"/>
                <a:gd name="T31" fmla="*/ 68 h 111"/>
                <a:gd name="T32" fmla="*/ 144 w 167"/>
                <a:gd name="T33" fmla="*/ 70 h 111"/>
                <a:gd name="T34" fmla="*/ 149 w 167"/>
                <a:gd name="T35" fmla="*/ 77 h 111"/>
                <a:gd name="T36" fmla="*/ 149 w 167"/>
                <a:gd name="T37" fmla="*/ 84 h 111"/>
                <a:gd name="T38" fmla="*/ 153 w 167"/>
                <a:gd name="T39" fmla="*/ 88 h 111"/>
                <a:gd name="T40" fmla="*/ 147 w 167"/>
                <a:gd name="T41" fmla="*/ 93 h 111"/>
                <a:gd name="T42" fmla="*/ 140 w 167"/>
                <a:gd name="T43" fmla="*/ 95 h 111"/>
                <a:gd name="T44" fmla="*/ 138 w 167"/>
                <a:gd name="T45" fmla="*/ 97 h 111"/>
                <a:gd name="T46" fmla="*/ 138 w 167"/>
                <a:gd name="T47" fmla="*/ 99 h 111"/>
                <a:gd name="T48" fmla="*/ 135 w 167"/>
                <a:gd name="T49" fmla="*/ 104 h 111"/>
                <a:gd name="T50" fmla="*/ 138 w 167"/>
                <a:gd name="T51" fmla="*/ 106 h 111"/>
                <a:gd name="T52" fmla="*/ 138 w 167"/>
                <a:gd name="T53" fmla="*/ 108 h 111"/>
                <a:gd name="T54" fmla="*/ 133 w 167"/>
                <a:gd name="T55" fmla="*/ 111 h 111"/>
                <a:gd name="T56" fmla="*/ 124 w 167"/>
                <a:gd name="T57" fmla="*/ 106 h 111"/>
                <a:gd name="T58" fmla="*/ 117 w 167"/>
                <a:gd name="T59" fmla="*/ 106 h 111"/>
                <a:gd name="T60" fmla="*/ 113 w 167"/>
                <a:gd name="T61" fmla="*/ 106 h 111"/>
                <a:gd name="T62" fmla="*/ 104 w 167"/>
                <a:gd name="T63" fmla="*/ 106 h 111"/>
                <a:gd name="T64" fmla="*/ 97 w 167"/>
                <a:gd name="T65" fmla="*/ 104 h 111"/>
                <a:gd name="T66" fmla="*/ 93 w 167"/>
                <a:gd name="T67" fmla="*/ 104 h 111"/>
                <a:gd name="T68" fmla="*/ 86 w 167"/>
                <a:gd name="T69" fmla="*/ 106 h 111"/>
                <a:gd name="T70" fmla="*/ 77 w 167"/>
                <a:gd name="T71" fmla="*/ 104 h 111"/>
                <a:gd name="T72" fmla="*/ 61 w 167"/>
                <a:gd name="T73" fmla="*/ 99 h 111"/>
                <a:gd name="T74" fmla="*/ 30 w 167"/>
                <a:gd name="T75" fmla="*/ 97 h 111"/>
                <a:gd name="T76" fmla="*/ 12 w 167"/>
                <a:gd name="T77" fmla="*/ 102 h 111"/>
                <a:gd name="T78" fmla="*/ 9 w 167"/>
                <a:gd name="T79" fmla="*/ 104 h 111"/>
                <a:gd name="T80" fmla="*/ 9 w 167"/>
                <a:gd name="T81" fmla="*/ 99 h 111"/>
                <a:gd name="T82" fmla="*/ 9 w 167"/>
                <a:gd name="T83" fmla="*/ 95 h 111"/>
                <a:gd name="T84" fmla="*/ 5 w 167"/>
                <a:gd name="T85" fmla="*/ 90 h 111"/>
                <a:gd name="T86" fmla="*/ 0 w 167"/>
                <a:gd name="T87" fmla="*/ 88 h 111"/>
                <a:gd name="T88" fmla="*/ 12 w 167"/>
                <a:gd name="T89" fmla="*/ 72 h 111"/>
                <a:gd name="T90" fmla="*/ 9 w 167"/>
                <a:gd name="T91" fmla="*/ 66 h 111"/>
                <a:gd name="T92" fmla="*/ 3 w 167"/>
                <a:gd name="T93" fmla="*/ 50 h 111"/>
                <a:gd name="T94" fmla="*/ 12 w 167"/>
                <a:gd name="T95" fmla="*/ 50 h 111"/>
                <a:gd name="T96" fmla="*/ 23 w 167"/>
                <a:gd name="T97" fmla="*/ 50 h 111"/>
                <a:gd name="T98" fmla="*/ 23 w 167"/>
                <a:gd name="T99" fmla="*/ 45 h 111"/>
                <a:gd name="T100" fmla="*/ 34 w 167"/>
                <a:gd name="T101" fmla="*/ 43 h 111"/>
                <a:gd name="T102" fmla="*/ 39 w 167"/>
                <a:gd name="T103" fmla="*/ 45 h 111"/>
                <a:gd name="T104" fmla="*/ 39 w 167"/>
                <a:gd name="T105" fmla="*/ 43 h 111"/>
                <a:gd name="T106" fmla="*/ 39 w 167"/>
                <a:gd name="T107" fmla="*/ 36 h 111"/>
                <a:gd name="T108" fmla="*/ 39 w 167"/>
                <a:gd name="T109" fmla="*/ 30 h 111"/>
                <a:gd name="T110" fmla="*/ 45 w 167"/>
                <a:gd name="T111" fmla="*/ 25 h 111"/>
                <a:gd name="T112" fmla="*/ 52 w 167"/>
                <a:gd name="T113" fmla="*/ 23 h 111"/>
                <a:gd name="T114" fmla="*/ 48 w 167"/>
                <a:gd name="T115" fmla="*/ 16 h 111"/>
                <a:gd name="T116" fmla="*/ 52 w 167"/>
                <a:gd name="T117" fmla="*/ 9 h 111"/>
                <a:gd name="T118" fmla="*/ 66 w 167"/>
                <a:gd name="T119" fmla="*/ 7 h 111"/>
                <a:gd name="T120" fmla="*/ 77 w 167"/>
                <a:gd name="T121" fmla="*/ 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67" h="111">
                  <a:moveTo>
                    <a:pt x="77" y="3"/>
                  </a:moveTo>
                  <a:lnTo>
                    <a:pt x="77" y="3"/>
                  </a:lnTo>
                  <a:lnTo>
                    <a:pt x="77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3" y="3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8" y="7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2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9" y="25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31" y="32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9"/>
                  </a:lnTo>
                  <a:lnTo>
                    <a:pt x="133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39"/>
                  </a:lnTo>
                  <a:lnTo>
                    <a:pt x="135" y="41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38" y="43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5"/>
                  </a:lnTo>
                  <a:lnTo>
                    <a:pt x="144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48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52"/>
                  </a:lnTo>
                  <a:lnTo>
                    <a:pt x="149" y="52"/>
                  </a:lnTo>
                  <a:lnTo>
                    <a:pt x="147" y="52"/>
                  </a:lnTo>
                  <a:lnTo>
                    <a:pt x="147" y="54"/>
                  </a:lnTo>
                  <a:lnTo>
                    <a:pt x="149" y="54"/>
                  </a:lnTo>
                  <a:lnTo>
                    <a:pt x="151" y="54"/>
                  </a:lnTo>
                  <a:lnTo>
                    <a:pt x="153" y="52"/>
                  </a:lnTo>
                  <a:lnTo>
                    <a:pt x="153" y="52"/>
                  </a:lnTo>
                  <a:lnTo>
                    <a:pt x="155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4"/>
                  </a:lnTo>
                  <a:lnTo>
                    <a:pt x="160" y="57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2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7"/>
                  </a:lnTo>
                  <a:lnTo>
                    <a:pt x="160" y="59"/>
                  </a:lnTo>
                  <a:lnTo>
                    <a:pt x="160" y="59"/>
                  </a:lnTo>
                  <a:lnTo>
                    <a:pt x="162" y="59"/>
                  </a:lnTo>
                  <a:lnTo>
                    <a:pt x="162" y="59"/>
                  </a:lnTo>
                  <a:lnTo>
                    <a:pt x="162" y="59"/>
                  </a:lnTo>
                  <a:lnTo>
                    <a:pt x="162" y="59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4" y="61"/>
                  </a:lnTo>
                  <a:lnTo>
                    <a:pt x="167" y="61"/>
                  </a:lnTo>
                  <a:lnTo>
                    <a:pt x="167" y="61"/>
                  </a:lnTo>
                  <a:lnTo>
                    <a:pt x="167" y="61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3"/>
                  </a:lnTo>
                  <a:lnTo>
                    <a:pt x="164" y="66"/>
                  </a:lnTo>
                  <a:lnTo>
                    <a:pt x="164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6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68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8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3" y="70"/>
                  </a:lnTo>
                  <a:lnTo>
                    <a:pt x="153" y="70"/>
                  </a:lnTo>
                  <a:lnTo>
                    <a:pt x="153" y="68"/>
                  </a:lnTo>
                  <a:lnTo>
                    <a:pt x="153" y="68"/>
                  </a:lnTo>
                  <a:lnTo>
                    <a:pt x="151" y="68"/>
                  </a:lnTo>
                  <a:lnTo>
                    <a:pt x="151" y="68"/>
                  </a:lnTo>
                  <a:lnTo>
                    <a:pt x="151" y="68"/>
                  </a:lnTo>
                  <a:lnTo>
                    <a:pt x="151" y="68"/>
                  </a:lnTo>
                  <a:lnTo>
                    <a:pt x="151" y="68"/>
                  </a:lnTo>
                  <a:lnTo>
                    <a:pt x="151" y="68"/>
                  </a:lnTo>
                  <a:lnTo>
                    <a:pt x="149" y="68"/>
                  </a:lnTo>
                  <a:lnTo>
                    <a:pt x="149" y="68"/>
                  </a:lnTo>
                  <a:lnTo>
                    <a:pt x="149" y="66"/>
                  </a:lnTo>
                  <a:lnTo>
                    <a:pt x="147" y="66"/>
                  </a:lnTo>
                  <a:lnTo>
                    <a:pt x="147" y="66"/>
                  </a:lnTo>
                  <a:lnTo>
                    <a:pt x="147" y="68"/>
                  </a:lnTo>
                  <a:lnTo>
                    <a:pt x="147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68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4" y="70"/>
                  </a:lnTo>
                  <a:lnTo>
                    <a:pt x="142" y="70"/>
                  </a:lnTo>
                  <a:lnTo>
                    <a:pt x="142" y="70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5"/>
                  </a:lnTo>
                  <a:lnTo>
                    <a:pt x="144" y="75"/>
                  </a:lnTo>
                  <a:lnTo>
                    <a:pt x="147" y="75"/>
                  </a:lnTo>
                  <a:lnTo>
                    <a:pt x="147" y="75"/>
                  </a:lnTo>
                  <a:lnTo>
                    <a:pt x="147" y="75"/>
                  </a:lnTo>
                  <a:lnTo>
                    <a:pt x="147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7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79"/>
                  </a:lnTo>
                  <a:lnTo>
                    <a:pt x="149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49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51" y="81"/>
                  </a:lnTo>
                  <a:lnTo>
                    <a:pt x="149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4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51" y="88"/>
                  </a:lnTo>
                  <a:lnTo>
                    <a:pt x="153" y="88"/>
                  </a:lnTo>
                  <a:lnTo>
                    <a:pt x="153" y="88"/>
                  </a:lnTo>
                  <a:lnTo>
                    <a:pt x="153" y="88"/>
                  </a:lnTo>
                  <a:lnTo>
                    <a:pt x="153" y="88"/>
                  </a:lnTo>
                  <a:lnTo>
                    <a:pt x="153" y="88"/>
                  </a:lnTo>
                  <a:lnTo>
                    <a:pt x="153" y="88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3" y="90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0"/>
                  </a:lnTo>
                  <a:lnTo>
                    <a:pt x="155" y="93"/>
                  </a:lnTo>
                  <a:lnTo>
                    <a:pt x="153" y="93"/>
                  </a:lnTo>
                  <a:lnTo>
                    <a:pt x="151" y="93"/>
                  </a:lnTo>
                  <a:lnTo>
                    <a:pt x="149" y="93"/>
                  </a:lnTo>
                  <a:lnTo>
                    <a:pt x="147" y="93"/>
                  </a:lnTo>
                  <a:lnTo>
                    <a:pt x="147" y="93"/>
                  </a:lnTo>
                  <a:lnTo>
                    <a:pt x="147" y="93"/>
                  </a:lnTo>
                  <a:lnTo>
                    <a:pt x="147" y="93"/>
                  </a:lnTo>
                  <a:lnTo>
                    <a:pt x="147" y="93"/>
                  </a:lnTo>
                  <a:lnTo>
                    <a:pt x="147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4" y="93"/>
                  </a:lnTo>
                  <a:lnTo>
                    <a:pt x="142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0" y="93"/>
                  </a:lnTo>
                  <a:lnTo>
                    <a:pt x="142" y="95"/>
                  </a:lnTo>
                  <a:lnTo>
                    <a:pt x="142" y="95"/>
                  </a:lnTo>
                  <a:lnTo>
                    <a:pt x="142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5"/>
                  </a:lnTo>
                  <a:lnTo>
                    <a:pt x="140" y="97"/>
                  </a:lnTo>
                  <a:lnTo>
                    <a:pt x="140" y="97"/>
                  </a:lnTo>
                  <a:lnTo>
                    <a:pt x="140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5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8" y="102"/>
                  </a:lnTo>
                  <a:lnTo>
                    <a:pt x="138" y="102"/>
                  </a:lnTo>
                  <a:lnTo>
                    <a:pt x="138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8" y="106"/>
                  </a:lnTo>
                  <a:lnTo>
                    <a:pt x="135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6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08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8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5" y="111"/>
                  </a:lnTo>
                  <a:lnTo>
                    <a:pt x="133" y="111"/>
                  </a:lnTo>
                  <a:lnTo>
                    <a:pt x="133" y="111"/>
                  </a:lnTo>
                  <a:lnTo>
                    <a:pt x="133" y="111"/>
                  </a:lnTo>
                  <a:lnTo>
                    <a:pt x="133" y="111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06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6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8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20" y="106"/>
                  </a:lnTo>
                  <a:lnTo>
                    <a:pt x="120" y="106"/>
                  </a:lnTo>
                  <a:lnTo>
                    <a:pt x="120" y="106"/>
                  </a:lnTo>
                  <a:lnTo>
                    <a:pt x="120" y="106"/>
                  </a:lnTo>
                  <a:lnTo>
                    <a:pt x="120" y="106"/>
                  </a:lnTo>
                  <a:lnTo>
                    <a:pt x="120" y="106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117" y="106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7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5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106"/>
                  </a:lnTo>
                  <a:lnTo>
                    <a:pt x="113" y="106"/>
                  </a:lnTo>
                  <a:lnTo>
                    <a:pt x="113" y="106"/>
                  </a:lnTo>
                  <a:lnTo>
                    <a:pt x="113" y="106"/>
                  </a:lnTo>
                  <a:lnTo>
                    <a:pt x="113" y="106"/>
                  </a:lnTo>
                  <a:lnTo>
                    <a:pt x="113" y="106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08" y="102"/>
                  </a:lnTo>
                  <a:lnTo>
                    <a:pt x="108" y="102"/>
                  </a:lnTo>
                  <a:lnTo>
                    <a:pt x="108" y="104"/>
                  </a:lnTo>
                  <a:lnTo>
                    <a:pt x="108" y="104"/>
                  </a:lnTo>
                  <a:lnTo>
                    <a:pt x="108" y="104"/>
                  </a:lnTo>
                  <a:lnTo>
                    <a:pt x="108" y="104"/>
                  </a:lnTo>
                  <a:lnTo>
                    <a:pt x="106" y="104"/>
                  </a:lnTo>
                  <a:lnTo>
                    <a:pt x="106" y="104"/>
                  </a:lnTo>
                  <a:lnTo>
                    <a:pt x="106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6"/>
                  </a:lnTo>
                  <a:lnTo>
                    <a:pt x="104" y="106"/>
                  </a:lnTo>
                  <a:lnTo>
                    <a:pt x="104" y="106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4" y="106"/>
                  </a:lnTo>
                  <a:lnTo>
                    <a:pt x="104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6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99" y="104"/>
                  </a:lnTo>
                  <a:lnTo>
                    <a:pt x="99" y="104"/>
                  </a:lnTo>
                  <a:lnTo>
                    <a:pt x="97" y="104"/>
                  </a:lnTo>
                  <a:lnTo>
                    <a:pt x="97" y="104"/>
                  </a:lnTo>
                  <a:lnTo>
                    <a:pt x="97" y="104"/>
                  </a:lnTo>
                  <a:lnTo>
                    <a:pt x="97" y="104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4"/>
                  </a:lnTo>
                  <a:lnTo>
                    <a:pt x="95" y="102"/>
                  </a:lnTo>
                  <a:lnTo>
                    <a:pt x="95" y="102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3" y="102"/>
                  </a:lnTo>
                  <a:lnTo>
                    <a:pt x="93" y="104"/>
                  </a:lnTo>
                  <a:lnTo>
                    <a:pt x="93" y="104"/>
                  </a:lnTo>
                  <a:lnTo>
                    <a:pt x="93" y="104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6" y="106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7" y="104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102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0" y="99"/>
                  </a:lnTo>
                  <a:lnTo>
                    <a:pt x="68" y="99"/>
                  </a:lnTo>
                  <a:lnTo>
                    <a:pt x="66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57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2" y="97"/>
                  </a:lnTo>
                  <a:lnTo>
                    <a:pt x="48" y="95"/>
                  </a:lnTo>
                  <a:lnTo>
                    <a:pt x="48" y="97"/>
                  </a:lnTo>
                  <a:lnTo>
                    <a:pt x="41" y="97"/>
                  </a:lnTo>
                  <a:lnTo>
                    <a:pt x="39" y="95"/>
                  </a:lnTo>
                  <a:lnTo>
                    <a:pt x="36" y="95"/>
                  </a:lnTo>
                  <a:lnTo>
                    <a:pt x="36" y="95"/>
                  </a:lnTo>
                  <a:lnTo>
                    <a:pt x="34" y="97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27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1" y="102"/>
                  </a:lnTo>
                  <a:lnTo>
                    <a:pt x="21" y="102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2" y="102"/>
                  </a:lnTo>
                  <a:lnTo>
                    <a:pt x="12" y="102"/>
                  </a:lnTo>
                  <a:lnTo>
                    <a:pt x="12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5" y="90"/>
                  </a:lnTo>
                  <a:lnTo>
                    <a:pt x="3" y="90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3" y="86"/>
                  </a:lnTo>
                  <a:lnTo>
                    <a:pt x="3" y="84"/>
                  </a:lnTo>
                  <a:lnTo>
                    <a:pt x="5" y="81"/>
                  </a:lnTo>
                  <a:lnTo>
                    <a:pt x="7" y="81"/>
                  </a:lnTo>
                  <a:lnTo>
                    <a:pt x="9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7" y="66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3" y="57"/>
                  </a:lnTo>
                  <a:lnTo>
                    <a:pt x="3" y="57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3" y="50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8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1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4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6" name="Freeform 645"/>
            <p:cNvSpPr>
              <a:spLocks/>
            </p:cNvSpPr>
            <p:nvPr/>
          </p:nvSpPr>
          <p:spPr bwMode="auto">
            <a:xfrm>
              <a:off x="3499799" y="3262083"/>
              <a:ext cx="8358" cy="8357"/>
            </a:xfrm>
            <a:custGeom>
              <a:avLst/>
              <a:gdLst>
                <a:gd name="T0" fmla="*/ 2 w 5"/>
                <a:gd name="T1" fmla="*/ 0 h 5"/>
                <a:gd name="T2" fmla="*/ 2 w 5"/>
                <a:gd name="T3" fmla="*/ 0 h 5"/>
                <a:gd name="T4" fmla="*/ 2 w 5"/>
                <a:gd name="T5" fmla="*/ 0 h 5"/>
                <a:gd name="T6" fmla="*/ 2 w 5"/>
                <a:gd name="T7" fmla="*/ 0 h 5"/>
                <a:gd name="T8" fmla="*/ 2 w 5"/>
                <a:gd name="T9" fmla="*/ 0 h 5"/>
                <a:gd name="T10" fmla="*/ 2 w 5"/>
                <a:gd name="T11" fmla="*/ 0 h 5"/>
                <a:gd name="T12" fmla="*/ 2 w 5"/>
                <a:gd name="T13" fmla="*/ 3 h 5"/>
                <a:gd name="T14" fmla="*/ 5 w 5"/>
                <a:gd name="T15" fmla="*/ 3 h 5"/>
                <a:gd name="T16" fmla="*/ 5 w 5"/>
                <a:gd name="T17" fmla="*/ 3 h 5"/>
                <a:gd name="T18" fmla="*/ 5 w 5"/>
                <a:gd name="T19" fmla="*/ 3 h 5"/>
                <a:gd name="T20" fmla="*/ 5 w 5"/>
                <a:gd name="T21" fmla="*/ 3 h 5"/>
                <a:gd name="T22" fmla="*/ 2 w 5"/>
                <a:gd name="T23" fmla="*/ 5 h 5"/>
                <a:gd name="T24" fmla="*/ 2 w 5"/>
                <a:gd name="T25" fmla="*/ 5 h 5"/>
                <a:gd name="T26" fmla="*/ 2 w 5"/>
                <a:gd name="T27" fmla="*/ 5 h 5"/>
                <a:gd name="T28" fmla="*/ 2 w 5"/>
                <a:gd name="T29" fmla="*/ 5 h 5"/>
                <a:gd name="T30" fmla="*/ 2 w 5"/>
                <a:gd name="T31" fmla="*/ 5 h 5"/>
                <a:gd name="T32" fmla="*/ 2 w 5"/>
                <a:gd name="T33" fmla="*/ 3 h 5"/>
                <a:gd name="T34" fmla="*/ 2 w 5"/>
                <a:gd name="T35" fmla="*/ 3 h 5"/>
                <a:gd name="T36" fmla="*/ 0 w 5"/>
                <a:gd name="T37" fmla="*/ 3 h 5"/>
                <a:gd name="T38" fmla="*/ 0 w 5"/>
                <a:gd name="T39" fmla="*/ 3 h 5"/>
                <a:gd name="T40" fmla="*/ 0 w 5"/>
                <a:gd name="T41" fmla="*/ 3 h 5"/>
                <a:gd name="T42" fmla="*/ 0 w 5"/>
                <a:gd name="T43" fmla="*/ 3 h 5"/>
                <a:gd name="T44" fmla="*/ 0 w 5"/>
                <a:gd name="T45" fmla="*/ 0 h 5"/>
                <a:gd name="T46" fmla="*/ 0 w 5"/>
                <a:gd name="T47" fmla="*/ 0 h 5"/>
                <a:gd name="T48" fmla="*/ 0 w 5"/>
                <a:gd name="T49" fmla="*/ 0 h 5"/>
                <a:gd name="T50" fmla="*/ 0 w 5"/>
                <a:gd name="T51" fmla="*/ 0 h 5"/>
                <a:gd name="T52" fmla="*/ 0 w 5"/>
                <a:gd name="T53" fmla="*/ 0 h 5"/>
                <a:gd name="T54" fmla="*/ 0 w 5"/>
                <a:gd name="T55" fmla="*/ 0 h 5"/>
                <a:gd name="T56" fmla="*/ 0 w 5"/>
                <a:gd name="T57" fmla="*/ 0 h 5"/>
                <a:gd name="T58" fmla="*/ 2 w 5"/>
                <a:gd name="T59" fmla="*/ 0 h 5"/>
                <a:gd name="T60" fmla="*/ 2 w 5"/>
                <a:gd name="T61" fmla="*/ 3 h 5"/>
                <a:gd name="T62" fmla="*/ 2 w 5"/>
                <a:gd name="T63" fmla="*/ 3 h 5"/>
                <a:gd name="T64" fmla="*/ 2 w 5"/>
                <a:gd name="T65" fmla="*/ 3 h 5"/>
                <a:gd name="T66" fmla="*/ 2 w 5"/>
                <a:gd name="T67" fmla="*/ 3 h 5"/>
                <a:gd name="T68" fmla="*/ 2 w 5"/>
                <a:gd name="T69" fmla="*/ 3 h 5"/>
                <a:gd name="T70" fmla="*/ 2 w 5"/>
                <a:gd name="T71" fmla="*/ 3 h 5"/>
                <a:gd name="T72" fmla="*/ 2 w 5"/>
                <a:gd name="T73" fmla="*/ 3 h 5"/>
                <a:gd name="T74" fmla="*/ 2 w 5"/>
                <a:gd name="T75" fmla="*/ 0 h 5"/>
                <a:gd name="T76" fmla="*/ 2 w 5"/>
                <a:gd name="T77" fmla="*/ 0 h 5"/>
                <a:gd name="T78" fmla="*/ 0 w 5"/>
                <a:gd name="T79" fmla="*/ 0 h 5"/>
                <a:gd name="T80" fmla="*/ 2 w 5"/>
                <a:gd name="T81" fmla="*/ 0 h 5"/>
                <a:gd name="T82" fmla="*/ 2 w 5"/>
                <a:gd name="T83" fmla="*/ 0 h 5"/>
                <a:gd name="T84" fmla="*/ 2 w 5"/>
                <a:gd name="T85" fmla="*/ 0 h 5"/>
                <a:gd name="T86" fmla="*/ 2 w 5"/>
                <a:gd name="T87" fmla="*/ 0 h 5"/>
                <a:gd name="T88" fmla="*/ 2 w 5"/>
                <a:gd name="T8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" h="5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7" name="Freeform 646"/>
            <p:cNvSpPr>
              <a:spLocks/>
            </p:cNvSpPr>
            <p:nvPr/>
          </p:nvSpPr>
          <p:spPr bwMode="auto">
            <a:xfrm>
              <a:off x="3563313" y="3435911"/>
              <a:ext cx="8358" cy="10029"/>
            </a:xfrm>
            <a:custGeom>
              <a:avLst/>
              <a:gdLst>
                <a:gd name="T0" fmla="*/ 5 w 5"/>
                <a:gd name="T1" fmla="*/ 6 h 6"/>
                <a:gd name="T2" fmla="*/ 5 w 5"/>
                <a:gd name="T3" fmla="*/ 6 h 6"/>
                <a:gd name="T4" fmla="*/ 5 w 5"/>
                <a:gd name="T5" fmla="*/ 6 h 6"/>
                <a:gd name="T6" fmla="*/ 2 w 5"/>
                <a:gd name="T7" fmla="*/ 6 h 6"/>
                <a:gd name="T8" fmla="*/ 2 w 5"/>
                <a:gd name="T9" fmla="*/ 6 h 6"/>
                <a:gd name="T10" fmla="*/ 2 w 5"/>
                <a:gd name="T11" fmla="*/ 6 h 6"/>
                <a:gd name="T12" fmla="*/ 2 w 5"/>
                <a:gd name="T13" fmla="*/ 6 h 6"/>
                <a:gd name="T14" fmla="*/ 2 w 5"/>
                <a:gd name="T15" fmla="*/ 6 h 6"/>
                <a:gd name="T16" fmla="*/ 2 w 5"/>
                <a:gd name="T17" fmla="*/ 6 h 6"/>
                <a:gd name="T18" fmla="*/ 2 w 5"/>
                <a:gd name="T19" fmla="*/ 6 h 6"/>
                <a:gd name="T20" fmla="*/ 2 w 5"/>
                <a:gd name="T21" fmla="*/ 6 h 6"/>
                <a:gd name="T22" fmla="*/ 0 w 5"/>
                <a:gd name="T23" fmla="*/ 4 h 6"/>
                <a:gd name="T24" fmla="*/ 0 w 5"/>
                <a:gd name="T25" fmla="*/ 2 h 6"/>
                <a:gd name="T26" fmla="*/ 0 w 5"/>
                <a:gd name="T27" fmla="*/ 2 h 6"/>
                <a:gd name="T28" fmla="*/ 2 w 5"/>
                <a:gd name="T29" fmla="*/ 0 h 6"/>
                <a:gd name="T30" fmla="*/ 2 w 5"/>
                <a:gd name="T31" fmla="*/ 0 h 6"/>
                <a:gd name="T32" fmla="*/ 2 w 5"/>
                <a:gd name="T33" fmla="*/ 0 h 6"/>
                <a:gd name="T34" fmla="*/ 2 w 5"/>
                <a:gd name="T35" fmla="*/ 0 h 6"/>
                <a:gd name="T36" fmla="*/ 2 w 5"/>
                <a:gd name="T37" fmla="*/ 2 h 6"/>
                <a:gd name="T38" fmla="*/ 2 w 5"/>
                <a:gd name="T39" fmla="*/ 2 h 6"/>
                <a:gd name="T40" fmla="*/ 2 w 5"/>
                <a:gd name="T41" fmla="*/ 2 h 6"/>
                <a:gd name="T42" fmla="*/ 5 w 5"/>
                <a:gd name="T43" fmla="*/ 4 h 6"/>
                <a:gd name="T44" fmla="*/ 5 w 5"/>
                <a:gd name="T45" fmla="*/ 4 h 6"/>
                <a:gd name="T46" fmla="*/ 5 w 5"/>
                <a:gd name="T47" fmla="*/ 4 h 6"/>
                <a:gd name="T48" fmla="*/ 5 w 5"/>
                <a:gd name="T49" fmla="*/ 4 h 6"/>
                <a:gd name="T50" fmla="*/ 5 w 5"/>
                <a:gd name="T51" fmla="*/ 4 h 6"/>
                <a:gd name="T52" fmla="*/ 5 w 5"/>
                <a:gd name="T53" fmla="*/ 6 h 6"/>
                <a:gd name="T54" fmla="*/ 5 w 5"/>
                <a:gd name="T55" fmla="*/ 6 h 6"/>
                <a:gd name="T56" fmla="*/ 5 w 5"/>
                <a:gd name="T57" fmla="*/ 6 h 6"/>
                <a:gd name="T58" fmla="*/ 5 w 5"/>
                <a:gd name="T5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" h="6">
                  <a:moveTo>
                    <a:pt x="5" y="6"/>
                  </a:moveTo>
                  <a:lnTo>
                    <a:pt x="5" y="6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8" name="Freeform 647"/>
            <p:cNvSpPr>
              <a:spLocks noEditPoints="1"/>
            </p:cNvSpPr>
            <p:nvPr/>
          </p:nvSpPr>
          <p:spPr bwMode="auto">
            <a:xfrm>
              <a:off x="8647788" y="2909411"/>
              <a:ext cx="183857" cy="232328"/>
            </a:xfrm>
            <a:custGeom>
              <a:avLst/>
              <a:gdLst>
                <a:gd name="T0" fmla="*/ 94 w 110"/>
                <a:gd name="T1" fmla="*/ 115 h 139"/>
                <a:gd name="T2" fmla="*/ 92 w 110"/>
                <a:gd name="T3" fmla="*/ 112 h 139"/>
                <a:gd name="T4" fmla="*/ 68 w 110"/>
                <a:gd name="T5" fmla="*/ 110 h 139"/>
                <a:gd name="T6" fmla="*/ 63 w 110"/>
                <a:gd name="T7" fmla="*/ 108 h 139"/>
                <a:gd name="T8" fmla="*/ 72 w 110"/>
                <a:gd name="T9" fmla="*/ 103 h 139"/>
                <a:gd name="T10" fmla="*/ 65 w 110"/>
                <a:gd name="T11" fmla="*/ 99 h 139"/>
                <a:gd name="T12" fmla="*/ 77 w 110"/>
                <a:gd name="T13" fmla="*/ 99 h 139"/>
                <a:gd name="T14" fmla="*/ 77 w 110"/>
                <a:gd name="T15" fmla="*/ 99 h 139"/>
                <a:gd name="T16" fmla="*/ 83 w 110"/>
                <a:gd name="T17" fmla="*/ 99 h 139"/>
                <a:gd name="T18" fmla="*/ 65 w 110"/>
                <a:gd name="T19" fmla="*/ 97 h 139"/>
                <a:gd name="T20" fmla="*/ 65 w 110"/>
                <a:gd name="T21" fmla="*/ 88 h 139"/>
                <a:gd name="T22" fmla="*/ 65 w 110"/>
                <a:gd name="T23" fmla="*/ 85 h 139"/>
                <a:gd name="T24" fmla="*/ 61 w 110"/>
                <a:gd name="T25" fmla="*/ 76 h 139"/>
                <a:gd name="T26" fmla="*/ 11 w 110"/>
                <a:gd name="T27" fmla="*/ 7 h 139"/>
                <a:gd name="T28" fmla="*/ 16 w 110"/>
                <a:gd name="T29" fmla="*/ 4 h 139"/>
                <a:gd name="T30" fmla="*/ 25 w 110"/>
                <a:gd name="T31" fmla="*/ 13 h 139"/>
                <a:gd name="T32" fmla="*/ 29 w 110"/>
                <a:gd name="T33" fmla="*/ 11 h 139"/>
                <a:gd name="T34" fmla="*/ 36 w 110"/>
                <a:gd name="T35" fmla="*/ 13 h 139"/>
                <a:gd name="T36" fmla="*/ 56 w 110"/>
                <a:gd name="T37" fmla="*/ 34 h 139"/>
                <a:gd name="T38" fmla="*/ 77 w 110"/>
                <a:gd name="T39" fmla="*/ 34 h 139"/>
                <a:gd name="T40" fmla="*/ 92 w 110"/>
                <a:gd name="T41" fmla="*/ 38 h 139"/>
                <a:gd name="T42" fmla="*/ 88 w 110"/>
                <a:gd name="T43" fmla="*/ 49 h 139"/>
                <a:gd name="T44" fmla="*/ 81 w 110"/>
                <a:gd name="T45" fmla="*/ 58 h 139"/>
                <a:gd name="T46" fmla="*/ 72 w 110"/>
                <a:gd name="T47" fmla="*/ 70 h 139"/>
                <a:gd name="T48" fmla="*/ 77 w 110"/>
                <a:gd name="T49" fmla="*/ 79 h 139"/>
                <a:gd name="T50" fmla="*/ 83 w 110"/>
                <a:gd name="T51" fmla="*/ 85 h 139"/>
                <a:gd name="T52" fmla="*/ 88 w 110"/>
                <a:gd name="T53" fmla="*/ 67 h 139"/>
                <a:gd name="T54" fmla="*/ 97 w 110"/>
                <a:gd name="T55" fmla="*/ 79 h 139"/>
                <a:gd name="T56" fmla="*/ 108 w 110"/>
                <a:gd name="T57" fmla="*/ 115 h 139"/>
                <a:gd name="T58" fmla="*/ 101 w 110"/>
                <a:gd name="T59" fmla="*/ 128 h 139"/>
                <a:gd name="T60" fmla="*/ 99 w 110"/>
                <a:gd name="T61" fmla="*/ 126 h 139"/>
                <a:gd name="T62" fmla="*/ 97 w 110"/>
                <a:gd name="T63" fmla="*/ 117 h 139"/>
                <a:gd name="T64" fmla="*/ 94 w 110"/>
                <a:gd name="T65" fmla="*/ 112 h 139"/>
                <a:gd name="T66" fmla="*/ 92 w 110"/>
                <a:gd name="T67" fmla="*/ 101 h 139"/>
                <a:gd name="T68" fmla="*/ 81 w 110"/>
                <a:gd name="T69" fmla="*/ 90 h 139"/>
                <a:gd name="T70" fmla="*/ 77 w 110"/>
                <a:gd name="T71" fmla="*/ 92 h 139"/>
                <a:gd name="T72" fmla="*/ 72 w 110"/>
                <a:gd name="T73" fmla="*/ 94 h 139"/>
                <a:gd name="T74" fmla="*/ 63 w 110"/>
                <a:gd name="T75" fmla="*/ 79 h 139"/>
                <a:gd name="T76" fmla="*/ 61 w 110"/>
                <a:gd name="T77" fmla="*/ 72 h 139"/>
                <a:gd name="T78" fmla="*/ 59 w 110"/>
                <a:gd name="T79" fmla="*/ 76 h 139"/>
                <a:gd name="T80" fmla="*/ 61 w 110"/>
                <a:gd name="T81" fmla="*/ 88 h 139"/>
                <a:gd name="T82" fmla="*/ 61 w 110"/>
                <a:gd name="T83" fmla="*/ 94 h 139"/>
                <a:gd name="T84" fmla="*/ 63 w 110"/>
                <a:gd name="T85" fmla="*/ 108 h 139"/>
                <a:gd name="T86" fmla="*/ 61 w 110"/>
                <a:gd name="T87" fmla="*/ 108 h 139"/>
                <a:gd name="T88" fmla="*/ 54 w 110"/>
                <a:gd name="T89" fmla="*/ 112 h 139"/>
                <a:gd name="T90" fmla="*/ 54 w 110"/>
                <a:gd name="T91" fmla="*/ 110 h 139"/>
                <a:gd name="T92" fmla="*/ 52 w 110"/>
                <a:gd name="T93" fmla="*/ 103 h 139"/>
                <a:gd name="T94" fmla="*/ 52 w 110"/>
                <a:gd name="T95" fmla="*/ 108 h 139"/>
                <a:gd name="T96" fmla="*/ 47 w 110"/>
                <a:gd name="T97" fmla="*/ 112 h 139"/>
                <a:gd name="T98" fmla="*/ 45 w 110"/>
                <a:gd name="T99" fmla="*/ 103 h 139"/>
                <a:gd name="T100" fmla="*/ 43 w 110"/>
                <a:gd name="T101" fmla="*/ 106 h 139"/>
                <a:gd name="T102" fmla="*/ 43 w 110"/>
                <a:gd name="T103" fmla="*/ 115 h 139"/>
                <a:gd name="T104" fmla="*/ 38 w 110"/>
                <a:gd name="T105" fmla="*/ 117 h 139"/>
                <a:gd name="T106" fmla="*/ 32 w 110"/>
                <a:gd name="T107" fmla="*/ 99 h 139"/>
                <a:gd name="T108" fmla="*/ 27 w 110"/>
                <a:gd name="T109" fmla="*/ 81 h 139"/>
                <a:gd name="T110" fmla="*/ 18 w 110"/>
                <a:gd name="T111" fmla="*/ 72 h 139"/>
                <a:gd name="T112" fmla="*/ 20 w 110"/>
                <a:gd name="T113" fmla="*/ 61 h 139"/>
                <a:gd name="T114" fmla="*/ 5 w 110"/>
                <a:gd name="T115" fmla="*/ 47 h 139"/>
                <a:gd name="T116" fmla="*/ 11 w 110"/>
                <a:gd name="T117" fmla="*/ 38 h 139"/>
                <a:gd name="T118" fmla="*/ 20 w 110"/>
                <a:gd name="T119" fmla="*/ 31 h 139"/>
                <a:gd name="T120" fmla="*/ 11 w 110"/>
                <a:gd name="T121" fmla="*/ 27 h 139"/>
                <a:gd name="T122" fmla="*/ 0 w 110"/>
                <a:gd name="T123" fmla="*/ 11 h 139"/>
                <a:gd name="T124" fmla="*/ 2 w 110"/>
                <a:gd name="T12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0" h="139">
                  <a:moveTo>
                    <a:pt x="94" y="117"/>
                  </a:moveTo>
                  <a:lnTo>
                    <a:pt x="97" y="117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19"/>
                  </a:lnTo>
                  <a:lnTo>
                    <a:pt x="94" y="119"/>
                  </a:lnTo>
                  <a:lnTo>
                    <a:pt x="94" y="119"/>
                  </a:lnTo>
                  <a:lnTo>
                    <a:pt x="94" y="119"/>
                  </a:lnTo>
                  <a:lnTo>
                    <a:pt x="92" y="117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7"/>
                  </a:lnTo>
                  <a:close/>
                  <a:moveTo>
                    <a:pt x="38" y="115"/>
                  </a:moveTo>
                  <a:lnTo>
                    <a:pt x="36" y="117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6" y="110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8" y="115"/>
                  </a:lnTo>
                  <a:close/>
                  <a:moveTo>
                    <a:pt x="92" y="115"/>
                  </a:moveTo>
                  <a:lnTo>
                    <a:pt x="92" y="115"/>
                  </a:lnTo>
                  <a:lnTo>
                    <a:pt x="92" y="115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5"/>
                  </a:lnTo>
                  <a:lnTo>
                    <a:pt x="92" y="115"/>
                  </a:lnTo>
                  <a:close/>
                  <a:moveTo>
                    <a:pt x="65" y="110"/>
                  </a:move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5" y="110"/>
                  </a:lnTo>
                  <a:close/>
                  <a:moveTo>
                    <a:pt x="61" y="112"/>
                  </a:moveTo>
                  <a:lnTo>
                    <a:pt x="61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1" y="110"/>
                  </a:lnTo>
                  <a:lnTo>
                    <a:pt x="61" y="112"/>
                  </a:lnTo>
                  <a:lnTo>
                    <a:pt x="61" y="112"/>
                  </a:lnTo>
                  <a:close/>
                  <a:moveTo>
                    <a:pt x="61" y="110"/>
                  </a:moveTo>
                  <a:lnTo>
                    <a:pt x="61" y="110"/>
                  </a:lnTo>
                  <a:lnTo>
                    <a:pt x="61" y="110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10"/>
                  </a:lnTo>
                  <a:lnTo>
                    <a:pt x="61" y="110"/>
                  </a:lnTo>
                  <a:close/>
                  <a:moveTo>
                    <a:pt x="63" y="112"/>
                  </a:moveTo>
                  <a:lnTo>
                    <a:pt x="63" y="112"/>
                  </a:lnTo>
                  <a:lnTo>
                    <a:pt x="63" y="112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0"/>
                  </a:lnTo>
                  <a:lnTo>
                    <a:pt x="63" y="112"/>
                  </a:lnTo>
                  <a:close/>
                  <a:moveTo>
                    <a:pt x="65" y="106"/>
                  </a:move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close/>
                  <a:moveTo>
                    <a:pt x="72" y="103"/>
                  </a:move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4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2" y="106"/>
                  </a:lnTo>
                  <a:lnTo>
                    <a:pt x="72" y="103"/>
                  </a:lnTo>
                  <a:close/>
                  <a:moveTo>
                    <a:pt x="74" y="103"/>
                  </a:moveTo>
                  <a:lnTo>
                    <a:pt x="74" y="106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4" y="103"/>
                  </a:lnTo>
                  <a:close/>
                  <a:moveTo>
                    <a:pt x="74" y="103"/>
                  </a:move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3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2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103"/>
                  </a:lnTo>
                  <a:close/>
                  <a:moveTo>
                    <a:pt x="65" y="99"/>
                  </a:moveTo>
                  <a:lnTo>
                    <a:pt x="65" y="99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99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close/>
                  <a:moveTo>
                    <a:pt x="77" y="99"/>
                  </a:move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close/>
                  <a:moveTo>
                    <a:pt x="65" y="99"/>
                  </a:moveTo>
                  <a:lnTo>
                    <a:pt x="65" y="99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close/>
                  <a:moveTo>
                    <a:pt x="74" y="108"/>
                  </a:moveTo>
                  <a:lnTo>
                    <a:pt x="74" y="108"/>
                  </a:lnTo>
                  <a:lnTo>
                    <a:pt x="74" y="108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6"/>
                  </a:lnTo>
                  <a:lnTo>
                    <a:pt x="74" y="103"/>
                  </a:lnTo>
                  <a:lnTo>
                    <a:pt x="74" y="101"/>
                  </a:lnTo>
                  <a:lnTo>
                    <a:pt x="74" y="101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7" y="106"/>
                  </a:lnTo>
                  <a:lnTo>
                    <a:pt x="74" y="106"/>
                  </a:lnTo>
                  <a:lnTo>
                    <a:pt x="74" y="108"/>
                  </a:lnTo>
                  <a:lnTo>
                    <a:pt x="74" y="108"/>
                  </a:lnTo>
                  <a:close/>
                  <a:moveTo>
                    <a:pt x="86" y="99"/>
                  </a:move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1" y="99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1" y="94"/>
                  </a:lnTo>
                  <a:lnTo>
                    <a:pt x="83" y="99"/>
                  </a:lnTo>
                  <a:lnTo>
                    <a:pt x="86" y="99"/>
                  </a:lnTo>
                  <a:close/>
                  <a:moveTo>
                    <a:pt x="70" y="106"/>
                  </a:move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70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6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6"/>
                  </a:lnTo>
                  <a:lnTo>
                    <a:pt x="68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8" y="103"/>
                  </a:lnTo>
                  <a:lnTo>
                    <a:pt x="68" y="103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5" y="99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2"/>
                  </a:lnTo>
                  <a:lnTo>
                    <a:pt x="65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0" y="106"/>
                  </a:lnTo>
                  <a:lnTo>
                    <a:pt x="70" y="106"/>
                  </a:lnTo>
                  <a:close/>
                  <a:moveTo>
                    <a:pt x="63" y="88"/>
                  </a:moveTo>
                  <a:lnTo>
                    <a:pt x="63" y="88"/>
                  </a:lnTo>
                  <a:lnTo>
                    <a:pt x="63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close/>
                  <a:moveTo>
                    <a:pt x="63" y="85"/>
                  </a:moveTo>
                  <a:lnTo>
                    <a:pt x="65" y="85"/>
                  </a:lnTo>
                  <a:lnTo>
                    <a:pt x="65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close/>
                  <a:moveTo>
                    <a:pt x="61" y="85"/>
                  </a:moveTo>
                  <a:lnTo>
                    <a:pt x="61" y="85"/>
                  </a:lnTo>
                  <a:lnTo>
                    <a:pt x="61" y="83"/>
                  </a:lnTo>
                  <a:lnTo>
                    <a:pt x="59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5"/>
                  </a:lnTo>
                  <a:lnTo>
                    <a:pt x="61" y="85"/>
                  </a:lnTo>
                  <a:close/>
                  <a:moveTo>
                    <a:pt x="61" y="76"/>
                  </a:move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6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59" y="79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61" y="76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1" y="4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2" y="13"/>
                  </a:lnTo>
                  <a:lnTo>
                    <a:pt x="32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4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8" y="25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41" y="31"/>
                  </a:lnTo>
                  <a:lnTo>
                    <a:pt x="45" y="34"/>
                  </a:lnTo>
                  <a:lnTo>
                    <a:pt x="47" y="34"/>
                  </a:lnTo>
                  <a:lnTo>
                    <a:pt x="50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4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1" y="34"/>
                  </a:lnTo>
                  <a:lnTo>
                    <a:pt x="63" y="34"/>
                  </a:lnTo>
                  <a:lnTo>
                    <a:pt x="65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6" y="52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3" y="58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3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4" y="76"/>
                  </a:lnTo>
                  <a:lnTo>
                    <a:pt x="74" y="79"/>
                  </a:lnTo>
                  <a:lnTo>
                    <a:pt x="77" y="79"/>
                  </a:lnTo>
                  <a:lnTo>
                    <a:pt x="77" y="79"/>
                  </a:lnTo>
                  <a:lnTo>
                    <a:pt x="77" y="81"/>
                  </a:lnTo>
                  <a:lnTo>
                    <a:pt x="77" y="83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9" y="83"/>
                  </a:lnTo>
                  <a:lnTo>
                    <a:pt x="79" y="81"/>
                  </a:lnTo>
                  <a:lnTo>
                    <a:pt x="77" y="81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3"/>
                  </a:lnTo>
                  <a:lnTo>
                    <a:pt x="81" y="83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8"/>
                  </a:lnTo>
                  <a:lnTo>
                    <a:pt x="83" y="88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5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6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1"/>
                  </a:lnTo>
                  <a:lnTo>
                    <a:pt x="86" y="81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8" y="76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2"/>
                  </a:lnTo>
                  <a:lnTo>
                    <a:pt x="88" y="70"/>
                  </a:lnTo>
                  <a:lnTo>
                    <a:pt x="88" y="70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67"/>
                  </a:lnTo>
                  <a:lnTo>
                    <a:pt x="88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2" y="70"/>
                  </a:lnTo>
                  <a:lnTo>
                    <a:pt x="94" y="70"/>
                  </a:lnTo>
                  <a:lnTo>
                    <a:pt x="94" y="67"/>
                  </a:lnTo>
                  <a:lnTo>
                    <a:pt x="94" y="67"/>
                  </a:lnTo>
                  <a:lnTo>
                    <a:pt x="94" y="67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2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7" y="79"/>
                  </a:lnTo>
                  <a:lnTo>
                    <a:pt x="99" y="79"/>
                  </a:lnTo>
                  <a:lnTo>
                    <a:pt x="99" y="79"/>
                  </a:lnTo>
                  <a:lnTo>
                    <a:pt x="97" y="79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9" y="85"/>
                  </a:lnTo>
                  <a:lnTo>
                    <a:pt x="99" y="85"/>
                  </a:lnTo>
                  <a:lnTo>
                    <a:pt x="99" y="88"/>
                  </a:lnTo>
                  <a:lnTo>
                    <a:pt x="99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103" y="92"/>
                  </a:lnTo>
                  <a:lnTo>
                    <a:pt x="103" y="92"/>
                  </a:lnTo>
                  <a:lnTo>
                    <a:pt x="103" y="92"/>
                  </a:lnTo>
                  <a:lnTo>
                    <a:pt x="103" y="94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3" y="97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2"/>
                  </a:lnTo>
                  <a:lnTo>
                    <a:pt x="108" y="115"/>
                  </a:lnTo>
                  <a:lnTo>
                    <a:pt x="108" y="121"/>
                  </a:lnTo>
                  <a:lnTo>
                    <a:pt x="110" y="121"/>
                  </a:lnTo>
                  <a:lnTo>
                    <a:pt x="110" y="124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6"/>
                  </a:lnTo>
                  <a:lnTo>
                    <a:pt x="110" y="128"/>
                  </a:lnTo>
                  <a:lnTo>
                    <a:pt x="110" y="128"/>
                  </a:lnTo>
                  <a:lnTo>
                    <a:pt x="110" y="126"/>
                  </a:lnTo>
                  <a:lnTo>
                    <a:pt x="108" y="126"/>
                  </a:lnTo>
                  <a:lnTo>
                    <a:pt x="108" y="126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6" y="124"/>
                  </a:lnTo>
                  <a:lnTo>
                    <a:pt x="103" y="121"/>
                  </a:lnTo>
                  <a:lnTo>
                    <a:pt x="103" y="121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28"/>
                  </a:lnTo>
                  <a:lnTo>
                    <a:pt x="101" y="130"/>
                  </a:lnTo>
                  <a:lnTo>
                    <a:pt x="103" y="130"/>
                  </a:lnTo>
                  <a:lnTo>
                    <a:pt x="103" y="130"/>
                  </a:lnTo>
                  <a:lnTo>
                    <a:pt x="103" y="130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3" y="135"/>
                  </a:lnTo>
                  <a:lnTo>
                    <a:pt x="103" y="135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06" y="137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9"/>
                  </a:lnTo>
                  <a:lnTo>
                    <a:pt x="106" y="137"/>
                  </a:lnTo>
                  <a:lnTo>
                    <a:pt x="103" y="135"/>
                  </a:lnTo>
                  <a:lnTo>
                    <a:pt x="103" y="133"/>
                  </a:lnTo>
                  <a:lnTo>
                    <a:pt x="103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0"/>
                  </a:lnTo>
                  <a:lnTo>
                    <a:pt x="101" y="130"/>
                  </a:lnTo>
                  <a:lnTo>
                    <a:pt x="99" y="130"/>
                  </a:lnTo>
                  <a:lnTo>
                    <a:pt x="99" y="128"/>
                  </a:lnTo>
                  <a:lnTo>
                    <a:pt x="99" y="128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4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21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9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7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5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4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10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88" y="101"/>
                  </a:lnTo>
                  <a:lnTo>
                    <a:pt x="88" y="99"/>
                  </a:lnTo>
                  <a:lnTo>
                    <a:pt x="88" y="97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88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2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3" y="85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6"/>
                  </a:lnTo>
                  <a:lnTo>
                    <a:pt x="63" y="79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4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59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56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6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3" y="79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1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3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1" y="94"/>
                  </a:lnTo>
                  <a:lnTo>
                    <a:pt x="61" y="94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4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5" y="97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6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3" y="108"/>
                  </a:lnTo>
                  <a:lnTo>
                    <a:pt x="61" y="108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3" y="106"/>
                  </a:lnTo>
                  <a:lnTo>
                    <a:pt x="63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6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08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0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9" y="115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9" y="106"/>
                  </a:lnTo>
                  <a:lnTo>
                    <a:pt x="59" y="106"/>
                  </a:lnTo>
                  <a:lnTo>
                    <a:pt x="59" y="106"/>
                  </a:lnTo>
                  <a:lnTo>
                    <a:pt x="59" y="106"/>
                  </a:lnTo>
                  <a:lnTo>
                    <a:pt x="59" y="106"/>
                  </a:lnTo>
                  <a:lnTo>
                    <a:pt x="59" y="103"/>
                  </a:lnTo>
                  <a:lnTo>
                    <a:pt x="59" y="106"/>
                  </a:lnTo>
                  <a:lnTo>
                    <a:pt x="59" y="106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2" y="110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2" y="101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2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50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0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50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5" y="117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5" y="110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6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5" y="108"/>
                  </a:lnTo>
                  <a:lnTo>
                    <a:pt x="43" y="106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3" y="103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12"/>
                  </a:lnTo>
                  <a:lnTo>
                    <a:pt x="45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1" y="115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2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8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2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2" y="103"/>
                  </a:lnTo>
                  <a:lnTo>
                    <a:pt x="34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29" y="97"/>
                  </a:lnTo>
                  <a:lnTo>
                    <a:pt x="32" y="97"/>
                  </a:lnTo>
                  <a:lnTo>
                    <a:pt x="32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6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4" y="54"/>
                  </a:lnTo>
                  <a:lnTo>
                    <a:pt x="14" y="52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7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9" name="Freeform 648"/>
            <p:cNvSpPr>
              <a:spLocks/>
            </p:cNvSpPr>
            <p:nvPr/>
          </p:nvSpPr>
          <p:spPr bwMode="auto">
            <a:xfrm>
              <a:off x="7364134" y="2924455"/>
              <a:ext cx="6686" cy="15042"/>
            </a:xfrm>
            <a:custGeom>
              <a:avLst/>
              <a:gdLst>
                <a:gd name="T0" fmla="*/ 0 w 4"/>
                <a:gd name="T1" fmla="*/ 0 h 9"/>
                <a:gd name="T2" fmla="*/ 2 w 4"/>
                <a:gd name="T3" fmla="*/ 0 h 9"/>
                <a:gd name="T4" fmla="*/ 2 w 4"/>
                <a:gd name="T5" fmla="*/ 0 h 9"/>
                <a:gd name="T6" fmla="*/ 2 w 4"/>
                <a:gd name="T7" fmla="*/ 0 h 9"/>
                <a:gd name="T8" fmla="*/ 2 w 4"/>
                <a:gd name="T9" fmla="*/ 0 h 9"/>
                <a:gd name="T10" fmla="*/ 2 w 4"/>
                <a:gd name="T11" fmla="*/ 0 h 9"/>
                <a:gd name="T12" fmla="*/ 2 w 4"/>
                <a:gd name="T13" fmla="*/ 0 h 9"/>
                <a:gd name="T14" fmla="*/ 2 w 4"/>
                <a:gd name="T15" fmla="*/ 0 h 9"/>
                <a:gd name="T16" fmla="*/ 2 w 4"/>
                <a:gd name="T17" fmla="*/ 0 h 9"/>
                <a:gd name="T18" fmla="*/ 2 w 4"/>
                <a:gd name="T19" fmla="*/ 0 h 9"/>
                <a:gd name="T20" fmla="*/ 2 w 4"/>
                <a:gd name="T21" fmla="*/ 0 h 9"/>
                <a:gd name="T22" fmla="*/ 2 w 4"/>
                <a:gd name="T23" fmla="*/ 2 h 9"/>
                <a:gd name="T24" fmla="*/ 4 w 4"/>
                <a:gd name="T25" fmla="*/ 2 h 9"/>
                <a:gd name="T26" fmla="*/ 4 w 4"/>
                <a:gd name="T27" fmla="*/ 4 h 9"/>
                <a:gd name="T28" fmla="*/ 4 w 4"/>
                <a:gd name="T29" fmla="*/ 7 h 9"/>
                <a:gd name="T30" fmla="*/ 4 w 4"/>
                <a:gd name="T31" fmla="*/ 9 h 9"/>
                <a:gd name="T32" fmla="*/ 4 w 4"/>
                <a:gd name="T33" fmla="*/ 9 h 9"/>
                <a:gd name="T34" fmla="*/ 2 w 4"/>
                <a:gd name="T35" fmla="*/ 9 h 9"/>
                <a:gd name="T36" fmla="*/ 2 w 4"/>
                <a:gd name="T37" fmla="*/ 9 h 9"/>
                <a:gd name="T38" fmla="*/ 2 w 4"/>
                <a:gd name="T39" fmla="*/ 9 h 9"/>
                <a:gd name="T40" fmla="*/ 2 w 4"/>
                <a:gd name="T41" fmla="*/ 7 h 9"/>
                <a:gd name="T42" fmla="*/ 2 w 4"/>
                <a:gd name="T43" fmla="*/ 7 h 9"/>
                <a:gd name="T44" fmla="*/ 0 w 4"/>
                <a:gd name="T45" fmla="*/ 7 h 9"/>
                <a:gd name="T46" fmla="*/ 0 w 4"/>
                <a:gd name="T47" fmla="*/ 4 h 9"/>
                <a:gd name="T48" fmla="*/ 0 w 4"/>
                <a:gd name="T49" fmla="*/ 4 h 9"/>
                <a:gd name="T50" fmla="*/ 0 w 4"/>
                <a:gd name="T51" fmla="*/ 4 h 9"/>
                <a:gd name="T52" fmla="*/ 0 w 4"/>
                <a:gd name="T53" fmla="*/ 2 h 9"/>
                <a:gd name="T54" fmla="*/ 0 w 4"/>
                <a:gd name="T55" fmla="*/ 2 h 9"/>
                <a:gd name="T56" fmla="*/ 0 w 4"/>
                <a:gd name="T57" fmla="*/ 2 h 9"/>
                <a:gd name="T58" fmla="*/ 0 w 4"/>
                <a:gd name="T59" fmla="*/ 0 h 9"/>
                <a:gd name="T60" fmla="*/ 0 w 4"/>
                <a:gd name="T61" fmla="*/ 0 h 9"/>
                <a:gd name="T62" fmla="*/ 0 w 4"/>
                <a:gd name="T63" fmla="*/ 0 h 9"/>
                <a:gd name="T64" fmla="*/ 0 w 4"/>
                <a:gd name="T65" fmla="*/ 0 h 9"/>
                <a:gd name="T66" fmla="*/ 0 w 4"/>
                <a:gd name="T67" fmla="*/ 0 h 9"/>
                <a:gd name="T68" fmla="*/ 0 w 4"/>
                <a:gd name="T69" fmla="*/ 0 h 9"/>
                <a:gd name="T70" fmla="*/ 0 w 4"/>
                <a:gd name="T71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0" name="Freeform 649"/>
            <p:cNvSpPr>
              <a:spLocks noEditPoints="1"/>
            </p:cNvSpPr>
            <p:nvPr/>
          </p:nvSpPr>
          <p:spPr bwMode="auto">
            <a:xfrm>
              <a:off x="2954914" y="2894369"/>
              <a:ext cx="188872" cy="240685"/>
            </a:xfrm>
            <a:custGeom>
              <a:avLst/>
              <a:gdLst>
                <a:gd name="T0" fmla="*/ 90 w 113"/>
                <a:gd name="T1" fmla="*/ 144 h 144"/>
                <a:gd name="T2" fmla="*/ 95 w 113"/>
                <a:gd name="T3" fmla="*/ 137 h 144"/>
                <a:gd name="T4" fmla="*/ 106 w 113"/>
                <a:gd name="T5" fmla="*/ 135 h 144"/>
                <a:gd name="T6" fmla="*/ 108 w 113"/>
                <a:gd name="T7" fmla="*/ 130 h 144"/>
                <a:gd name="T8" fmla="*/ 113 w 113"/>
                <a:gd name="T9" fmla="*/ 108 h 144"/>
                <a:gd name="T10" fmla="*/ 108 w 113"/>
                <a:gd name="T11" fmla="*/ 110 h 144"/>
                <a:gd name="T12" fmla="*/ 106 w 113"/>
                <a:gd name="T13" fmla="*/ 108 h 144"/>
                <a:gd name="T14" fmla="*/ 92 w 113"/>
                <a:gd name="T15" fmla="*/ 103 h 144"/>
                <a:gd name="T16" fmla="*/ 83 w 113"/>
                <a:gd name="T17" fmla="*/ 112 h 144"/>
                <a:gd name="T18" fmla="*/ 86 w 113"/>
                <a:gd name="T19" fmla="*/ 110 h 144"/>
                <a:gd name="T20" fmla="*/ 88 w 113"/>
                <a:gd name="T21" fmla="*/ 103 h 144"/>
                <a:gd name="T22" fmla="*/ 90 w 113"/>
                <a:gd name="T23" fmla="*/ 101 h 144"/>
                <a:gd name="T24" fmla="*/ 88 w 113"/>
                <a:gd name="T25" fmla="*/ 101 h 144"/>
                <a:gd name="T26" fmla="*/ 83 w 113"/>
                <a:gd name="T27" fmla="*/ 99 h 144"/>
                <a:gd name="T28" fmla="*/ 56 w 113"/>
                <a:gd name="T29" fmla="*/ 83 h 144"/>
                <a:gd name="T30" fmla="*/ 56 w 113"/>
                <a:gd name="T31" fmla="*/ 83 h 144"/>
                <a:gd name="T32" fmla="*/ 50 w 113"/>
                <a:gd name="T33" fmla="*/ 79 h 144"/>
                <a:gd name="T34" fmla="*/ 68 w 113"/>
                <a:gd name="T35" fmla="*/ 90 h 144"/>
                <a:gd name="T36" fmla="*/ 70 w 113"/>
                <a:gd name="T37" fmla="*/ 94 h 144"/>
                <a:gd name="T38" fmla="*/ 65 w 113"/>
                <a:gd name="T39" fmla="*/ 90 h 144"/>
                <a:gd name="T40" fmla="*/ 68 w 113"/>
                <a:gd name="T41" fmla="*/ 85 h 144"/>
                <a:gd name="T42" fmla="*/ 65 w 113"/>
                <a:gd name="T43" fmla="*/ 79 h 144"/>
                <a:gd name="T44" fmla="*/ 74 w 113"/>
                <a:gd name="T45" fmla="*/ 79 h 144"/>
                <a:gd name="T46" fmla="*/ 81 w 113"/>
                <a:gd name="T47" fmla="*/ 72 h 144"/>
                <a:gd name="T48" fmla="*/ 16 w 113"/>
                <a:gd name="T49" fmla="*/ 65 h 144"/>
                <a:gd name="T50" fmla="*/ 14 w 113"/>
                <a:gd name="T51" fmla="*/ 65 h 144"/>
                <a:gd name="T52" fmla="*/ 16 w 113"/>
                <a:gd name="T53" fmla="*/ 67 h 144"/>
                <a:gd name="T54" fmla="*/ 21 w 113"/>
                <a:gd name="T55" fmla="*/ 67 h 144"/>
                <a:gd name="T56" fmla="*/ 21 w 113"/>
                <a:gd name="T57" fmla="*/ 72 h 144"/>
                <a:gd name="T58" fmla="*/ 16 w 113"/>
                <a:gd name="T59" fmla="*/ 76 h 144"/>
                <a:gd name="T60" fmla="*/ 16 w 113"/>
                <a:gd name="T61" fmla="*/ 74 h 144"/>
                <a:gd name="T62" fmla="*/ 14 w 113"/>
                <a:gd name="T63" fmla="*/ 70 h 144"/>
                <a:gd name="T64" fmla="*/ 16 w 113"/>
                <a:gd name="T65" fmla="*/ 65 h 144"/>
                <a:gd name="T66" fmla="*/ 16 w 113"/>
                <a:gd name="T67" fmla="*/ 67 h 144"/>
                <a:gd name="T68" fmla="*/ 16 w 113"/>
                <a:gd name="T69" fmla="*/ 63 h 144"/>
                <a:gd name="T70" fmla="*/ 63 w 113"/>
                <a:gd name="T71" fmla="*/ 67 h 144"/>
                <a:gd name="T72" fmla="*/ 61 w 113"/>
                <a:gd name="T73" fmla="*/ 56 h 144"/>
                <a:gd name="T74" fmla="*/ 63 w 113"/>
                <a:gd name="T75" fmla="*/ 58 h 144"/>
                <a:gd name="T76" fmla="*/ 25 w 113"/>
                <a:gd name="T77" fmla="*/ 47 h 144"/>
                <a:gd name="T78" fmla="*/ 14 w 113"/>
                <a:gd name="T79" fmla="*/ 43 h 144"/>
                <a:gd name="T80" fmla="*/ 18 w 113"/>
                <a:gd name="T81" fmla="*/ 56 h 144"/>
                <a:gd name="T82" fmla="*/ 12 w 113"/>
                <a:gd name="T83" fmla="*/ 63 h 144"/>
                <a:gd name="T84" fmla="*/ 5 w 113"/>
                <a:gd name="T85" fmla="*/ 56 h 144"/>
                <a:gd name="T86" fmla="*/ 7 w 113"/>
                <a:gd name="T87" fmla="*/ 56 h 144"/>
                <a:gd name="T88" fmla="*/ 9 w 113"/>
                <a:gd name="T89" fmla="*/ 56 h 144"/>
                <a:gd name="T90" fmla="*/ 7 w 113"/>
                <a:gd name="T91" fmla="*/ 52 h 144"/>
                <a:gd name="T92" fmla="*/ 12 w 113"/>
                <a:gd name="T93" fmla="*/ 45 h 144"/>
                <a:gd name="T94" fmla="*/ 43 w 113"/>
                <a:gd name="T95" fmla="*/ 36 h 144"/>
                <a:gd name="T96" fmla="*/ 52 w 113"/>
                <a:gd name="T97" fmla="*/ 49 h 144"/>
                <a:gd name="T98" fmla="*/ 50 w 113"/>
                <a:gd name="T99" fmla="*/ 52 h 144"/>
                <a:gd name="T100" fmla="*/ 50 w 113"/>
                <a:gd name="T101" fmla="*/ 43 h 144"/>
                <a:gd name="T102" fmla="*/ 14 w 113"/>
                <a:gd name="T103" fmla="*/ 7 h 144"/>
                <a:gd name="T104" fmla="*/ 23 w 113"/>
                <a:gd name="T105" fmla="*/ 7 h 144"/>
                <a:gd name="T106" fmla="*/ 0 w 113"/>
                <a:gd name="T107" fmla="*/ 7 h 144"/>
                <a:gd name="T108" fmla="*/ 9 w 113"/>
                <a:gd name="T109" fmla="*/ 7 h 144"/>
                <a:gd name="T110" fmla="*/ 36 w 113"/>
                <a:gd name="T111" fmla="*/ 7 h 144"/>
                <a:gd name="T112" fmla="*/ 38 w 113"/>
                <a:gd name="T113" fmla="*/ 13 h 144"/>
                <a:gd name="T114" fmla="*/ 34 w 113"/>
                <a:gd name="T115" fmla="*/ 20 h 144"/>
                <a:gd name="T116" fmla="*/ 34 w 113"/>
                <a:gd name="T117" fmla="*/ 20 h 144"/>
                <a:gd name="T118" fmla="*/ 36 w 113"/>
                <a:gd name="T119" fmla="*/ 11 h 144"/>
                <a:gd name="T120" fmla="*/ 34 w 113"/>
                <a:gd name="T121" fmla="*/ 7 h 144"/>
                <a:gd name="T122" fmla="*/ 25 w 113"/>
                <a:gd name="T123" fmla="*/ 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" h="144">
                  <a:moveTo>
                    <a:pt x="104" y="137"/>
                  </a:move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9" y="144"/>
                  </a:lnTo>
                  <a:lnTo>
                    <a:pt x="97" y="144"/>
                  </a:lnTo>
                  <a:lnTo>
                    <a:pt x="95" y="144"/>
                  </a:lnTo>
                  <a:lnTo>
                    <a:pt x="95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2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4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0" y="142"/>
                  </a:lnTo>
                  <a:lnTo>
                    <a:pt x="92" y="142"/>
                  </a:lnTo>
                  <a:lnTo>
                    <a:pt x="92" y="142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0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2" y="139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7" y="137"/>
                  </a:lnTo>
                  <a:lnTo>
                    <a:pt x="99" y="137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99" y="139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4" y="137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5"/>
                  </a:lnTo>
                  <a:lnTo>
                    <a:pt x="106" y="137"/>
                  </a:lnTo>
                  <a:lnTo>
                    <a:pt x="104" y="137"/>
                  </a:lnTo>
                  <a:close/>
                  <a:moveTo>
                    <a:pt x="106" y="130"/>
                  </a:moveTo>
                  <a:lnTo>
                    <a:pt x="106" y="133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28"/>
                  </a:lnTo>
                  <a:lnTo>
                    <a:pt x="106" y="130"/>
                  </a:lnTo>
                  <a:lnTo>
                    <a:pt x="106" y="130"/>
                  </a:lnTo>
                  <a:lnTo>
                    <a:pt x="108" y="130"/>
                  </a:lnTo>
                  <a:lnTo>
                    <a:pt x="108" y="130"/>
                  </a:lnTo>
                  <a:lnTo>
                    <a:pt x="108" y="130"/>
                  </a:lnTo>
                  <a:lnTo>
                    <a:pt x="108" y="130"/>
                  </a:lnTo>
                  <a:lnTo>
                    <a:pt x="108" y="130"/>
                  </a:lnTo>
                  <a:lnTo>
                    <a:pt x="106" y="130"/>
                  </a:lnTo>
                  <a:lnTo>
                    <a:pt x="106" y="130"/>
                  </a:lnTo>
                  <a:close/>
                  <a:moveTo>
                    <a:pt x="106" y="108"/>
                  </a:moveTo>
                  <a:lnTo>
                    <a:pt x="106" y="108"/>
                  </a:lnTo>
                  <a:lnTo>
                    <a:pt x="106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0" y="108"/>
                  </a:lnTo>
                  <a:lnTo>
                    <a:pt x="113" y="108"/>
                  </a:lnTo>
                  <a:lnTo>
                    <a:pt x="113" y="108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3" y="112"/>
                  </a:lnTo>
                  <a:lnTo>
                    <a:pt x="113" y="110"/>
                  </a:lnTo>
                  <a:lnTo>
                    <a:pt x="113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10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8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10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lnTo>
                    <a:pt x="106" y="108"/>
                  </a:lnTo>
                  <a:close/>
                  <a:moveTo>
                    <a:pt x="81" y="106"/>
                  </a:moveTo>
                  <a:lnTo>
                    <a:pt x="81" y="106"/>
                  </a:lnTo>
                  <a:lnTo>
                    <a:pt x="81" y="103"/>
                  </a:lnTo>
                  <a:lnTo>
                    <a:pt x="81" y="103"/>
                  </a:lnTo>
                  <a:lnTo>
                    <a:pt x="83" y="103"/>
                  </a:lnTo>
                  <a:lnTo>
                    <a:pt x="83" y="101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81" y="106"/>
                  </a:lnTo>
                  <a:close/>
                  <a:moveTo>
                    <a:pt x="92" y="101"/>
                  </a:move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2" y="103"/>
                  </a:lnTo>
                  <a:lnTo>
                    <a:pt x="92" y="101"/>
                  </a:lnTo>
                  <a:lnTo>
                    <a:pt x="92" y="103"/>
                  </a:lnTo>
                  <a:lnTo>
                    <a:pt x="92" y="103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0" y="106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8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1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0"/>
                  </a:lnTo>
                  <a:lnTo>
                    <a:pt x="83" y="110"/>
                  </a:lnTo>
                  <a:lnTo>
                    <a:pt x="83" y="110"/>
                  </a:lnTo>
                  <a:lnTo>
                    <a:pt x="83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88" y="108"/>
                  </a:lnTo>
                  <a:lnTo>
                    <a:pt x="90" y="108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6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0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lnTo>
                    <a:pt x="92" y="101"/>
                  </a:lnTo>
                  <a:close/>
                  <a:moveTo>
                    <a:pt x="86" y="101"/>
                  </a:moveTo>
                  <a:lnTo>
                    <a:pt x="86" y="101"/>
                  </a:lnTo>
                  <a:lnTo>
                    <a:pt x="86" y="99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8" y="101"/>
                  </a:lnTo>
                  <a:lnTo>
                    <a:pt x="86" y="101"/>
                  </a:lnTo>
                  <a:lnTo>
                    <a:pt x="86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3" y="101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6" y="99"/>
                  </a:lnTo>
                  <a:lnTo>
                    <a:pt x="86" y="99"/>
                  </a:lnTo>
                  <a:lnTo>
                    <a:pt x="86" y="99"/>
                  </a:lnTo>
                  <a:lnTo>
                    <a:pt x="86" y="99"/>
                  </a:lnTo>
                  <a:lnTo>
                    <a:pt x="86" y="101"/>
                  </a:lnTo>
                  <a:close/>
                  <a:moveTo>
                    <a:pt x="95" y="92"/>
                  </a:moveTo>
                  <a:lnTo>
                    <a:pt x="95" y="92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5" y="92"/>
                  </a:lnTo>
                  <a:lnTo>
                    <a:pt x="95" y="92"/>
                  </a:lnTo>
                  <a:lnTo>
                    <a:pt x="95" y="92"/>
                  </a:lnTo>
                  <a:close/>
                  <a:moveTo>
                    <a:pt x="59" y="83"/>
                  </a:moveTo>
                  <a:lnTo>
                    <a:pt x="59" y="85"/>
                  </a:lnTo>
                  <a:lnTo>
                    <a:pt x="59" y="85"/>
                  </a:lnTo>
                  <a:lnTo>
                    <a:pt x="59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3"/>
                  </a:lnTo>
                  <a:close/>
                  <a:moveTo>
                    <a:pt x="52" y="79"/>
                  </a:move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close/>
                  <a:moveTo>
                    <a:pt x="65" y="79"/>
                  </a:move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8" y="81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3"/>
                  </a:lnTo>
                  <a:lnTo>
                    <a:pt x="68" y="8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2" y="92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4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2" y="97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8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8" y="90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5" y="85"/>
                  </a:lnTo>
                  <a:lnTo>
                    <a:pt x="68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close/>
                  <a:moveTo>
                    <a:pt x="77" y="79"/>
                  </a:move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7" y="76"/>
                  </a:lnTo>
                  <a:lnTo>
                    <a:pt x="77" y="79"/>
                  </a:lnTo>
                  <a:lnTo>
                    <a:pt x="77" y="79"/>
                  </a:lnTo>
                  <a:close/>
                  <a:moveTo>
                    <a:pt x="83" y="70"/>
                  </a:moveTo>
                  <a:lnTo>
                    <a:pt x="83" y="72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2"/>
                  </a:lnTo>
                  <a:lnTo>
                    <a:pt x="83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70"/>
                  </a:lnTo>
                  <a:lnTo>
                    <a:pt x="81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close/>
                  <a:moveTo>
                    <a:pt x="16" y="65"/>
                  </a:move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close/>
                  <a:moveTo>
                    <a:pt x="14" y="65"/>
                  </a:moveTo>
                  <a:lnTo>
                    <a:pt x="14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close/>
                  <a:moveTo>
                    <a:pt x="16" y="67"/>
                  </a:moveTo>
                  <a:lnTo>
                    <a:pt x="16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21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6" y="65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close/>
                  <a:moveTo>
                    <a:pt x="16" y="63"/>
                  </a:move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close/>
                  <a:moveTo>
                    <a:pt x="18" y="63"/>
                  </a:move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3"/>
                  </a:lnTo>
                  <a:lnTo>
                    <a:pt x="18" y="63"/>
                  </a:lnTo>
                  <a:close/>
                  <a:moveTo>
                    <a:pt x="65" y="65"/>
                  </a:moveTo>
                  <a:lnTo>
                    <a:pt x="68" y="65"/>
                  </a:lnTo>
                  <a:lnTo>
                    <a:pt x="68" y="67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close/>
                  <a:moveTo>
                    <a:pt x="27" y="45"/>
                  </a:move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close/>
                  <a:moveTo>
                    <a:pt x="12" y="43"/>
                  </a:move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6" y="43"/>
                  </a:lnTo>
                  <a:lnTo>
                    <a:pt x="14" y="43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6" y="45"/>
                  </a:lnTo>
                  <a:lnTo>
                    <a:pt x="14" y="45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9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3"/>
                  </a:lnTo>
                  <a:lnTo>
                    <a:pt x="9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3" y="34"/>
                  </a:move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5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40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0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close/>
                  <a:moveTo>
                    <a:pt x="12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1" y="7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18" y="7"/>
                  </a:lnTo>
                  <a:lnTo>
                    <a:pt x="14" y="7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3" y="11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3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2" y="7"/>
                  </a:lnTo>
                  <a:close/>
                  <a:moveTo>
                    <a:pt x="25" y="0"/>
                  </a:moveTo>
                  <a:lnTo>
                    <a:pt x="27" y="2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2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4" y="13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1" name="Freeform 650"/>
            <p:cNvSpPr>
              <a:spLocks noEditPoints="1"/>
            </p:cNvSpPr>
            <p:nvPr/>
          </p:nvSpPr>
          <p:spPr bwMode="auto">
            <a:xfrm>
              <a:off x="7090020" y="2301013"/>
              <a:ext cx="183857" cy="138728"/>
            </a:xfrm>
            <a:custGeom>
              <a:avLst/>
              <a:gdLst>
                <a:gd name="T0" fmla="*/ 16 w 110"/>
                <a:gd name="T1" fmla="*/ 56 h 83"/>
                <a:gd name="T2" fmla="*/ 22 w 110"/>
                <a:gd name="T3" fmla="*/ 56 h 83"/>
                <a:gd name="T4" fmla="*/ 27 w 110"/>
                <a:gd name="T5" fmla="*/ 60 h 83"/>
                <a:gd name="T6" fmla="*/ 31 w 110"/>
                <a:gd name="T7" fmla="*/ 69 h 83"/>
                <a:gd name="T8" fmla="*/ 20 w 110"/>
                <a:gd name="T9" fmla="*/ 69 h 83"/>
                <a:gd name="T10" fmla="*/ 18 w 110"/>
                <a:gd name="T11" fmla="*/ 65 h 83"/>
                <a:gd name="T12" fmla="*/ 13 w 110"/>
                <a:gd name="T13" fmla="*/ 63 h 83"/>
                <a:gd name="T14" fmla="*/ 9 w 110"/>
                <a:gd name="T15" fmla="*/ 58 h 83"/>
                <a:gd name="T16" fmla="*/ 7 w 110"/>
                <a:gd name="T17" fmla="*/ 54 h 83"/>
                <a:gd name="T18" fmla="*/ 7 w 110"/>
                <a:gd name="T19" fmla="*/ 51 h 83"/>
                <a:gd name="T20" fmla="*/ 2 w 110"/>
                <a:gd name="T21" fmla="*/ 20 h 83"/>
                <a:gd name="T22" fmla="*/ 29 w 110"/>
                <a:gd name="T23" fmla="*/ 2 h 83"/>
                <a:gd name="T24" fmla="*/ 34 w 110"/>
                <a:gd name="T25" fmla="*/ 4 h 83"/>
                <a:gd name="T26" fmla="*/ 40 w 110"/>
                <a:gd name="T27" fmla="*/ 9 h 83"/>
                <a:gd name="T28" fmla="*/ 42 w 110"/>
                <a:gd name="T29" fmla="*/ 13 h 83"/>
                <a:gd name="T30" fmla="*/ 54 w 110"/>
                <a:gd name="T31" fmla="*/ 18 h 83"/>
                <a:gd name="T32" fmla="*/ 58 w 110"/>
                <a:gd name="T33" fmla="*/ 13 h 83"/>
                <a:gd name="T34" fmla="*/ 67 w 110"/>
                <a:gd name="T35" fmla="*/ 2 h 83"/>
                <a:gd name="T36" fmla="*/ 76 w 110"/>
                <a:gd name="T37" fmla="*/ 11 h 83"/>
                <a:gd name="T38" fmla="*/ 83 w 110"/>
                <a:gd name="T39" fmla="*/ 20 h 83"/>
                <a:gd name="T40" fmla="*/ 90 w 110"/>
                <a:gd name="T41" fmla="*/ 29 h 83"/>
                <a:gd name="T42" fmla="*/ 94 w 110"/>
                <a:gd name="T43" fmla="*/ 31 h 83"/>
                <a:gd name="T44" fmla="*/ 103 w 110"/>
                <a:gd name="T45" fmla="*/ 33 h 83"/>
                <a:gd name="T46" fmla="*/ 110 w 110"/>
                <a:gd name="T47" fmla="*/ 40 h 83"/>
                <a:gd name="T48" fmla="*/ 103 w 110"/>
                <a:gd name="T49" fmla="*/ 36 h 83"/>
                <a:gd name="T50" fmla="*/ 99 w 110"/>
                <a:gd name="T51" fmla="*/ 38 h 83"/>
                <a:gd name="T52" fmla="*/ 92 w 110"/>
                <a:gd name="T53" fmla="*/ 45 h 83"/>
                <a:gd name="T54" fmla="*/ 92 w 110"/>
                <a:gd name="T55" fmla="*/ 47 h 83"/>
                <a:gd name="T56" fmla="*/ 92 w 110"/>
                <a:gd name="T57" fmla="*/ 51 h 83"/>
                <a:gd name="T58" fmla="*/ 92 w 110"/>
                <a:gd name="T59" fmla="*/ 56 h 83"/>
                <a:gd name="T60" fmla="*/ 94 w 110"/>
                <a:gd name="T61" fmla="*/ 60 h 83"/>
                <a:gd name="T62" fmla="*/ 92 w 110"/>
                <a:gd name="T63" fmla="*/ 65 h 83"/>
                <a:gd name="T64" fmla="*/ 90 w 110"/>
                <a:gd name="T65" fmla="*/ 67 h 83"/>
                <a:gd name="T66" fmla="*/ 87 w 110"/>
                <a:gd name="T67" fmla="*/ 65 h 83"/>
                <a:gd name="T68" fmla="*/ 87 w 110"/>
                <a:gd name="T69" fmla="*/ 69 h 83"/>
                <a:gd name="T70" fmla="*/ 85 w 110"/>
                <a:gd name="T71" fmla="*/ 83 h 83"/>
                <a:gd name="T72" fmla="*/ 78 w 110"/>
                <a:gd name="T73" fmla="*/ 78 h 83"/>
                <a:gd name="T74" fmla="*/ 69 w 110"/>
                <a:gd name="T75" fmla="*/ 69 h 83"/>
                <a:gd name="T76" fmla="*/ 74 w 110"/>
                <a:gd name="T77" fmla="*/ 67 h 83"/>
                <a:gd name="T78" fmla="*/ 74 w 110"/>
                <a:gd name="T79" fmla="*/ 58 h 83"/>
                <a:gd name="T80" fmla="*/ 58 w 110"/>
                <a:gd name="T81" fmla="*/ 56 h 83"/>
                <a:gd name="T82" fmla="*/ 49 w 110"/>
                <a:gd name="T83" fmla="*/ 63 h 83"/>
                <a:gd name="T84" fmla="*/ 45 w 110"/>
                <a:gd name="T85" fmla="*/ 67 h 83"/>
                <a:gd name="T86" fmla="*/ 40 w 110"/>
                <a:gd name="T87" fmla="*/ 72 h 83"/>
                <a:gd name="T88" fmla="*/ 38 w 110"/>
                <a:gd name="T89" fmla="*/ 65 h 83"/>
                <a:gd name="T90" fmla="*/ 38 w 110"/>
                <a:gd name="T91" fmla="*/ 63 h 83"/>
                <a:gd name="T92" fmla="*/ 38 w 110"/>
                <a:gd name="T93" fmla="*/ 56 h 83"/>
                <a:gd name="T94" fmla="*/ 34 w 110"/>
                <a:gd name="T95" fmla="*/ 54 h 83"/>
                <a:gd name="T96" fmla="*/ 22 w 110"/>
                <a:gd name="T97" fmla="*/ 49 h 83"/>
                <a:gd name="T98" fmla="*/ 25 w 110"/>
                <a:gd name="T99" fmla="*/ 42 h 83"/>
                <a:gd name="T100" fmla="*/ 16 w 110"/>
                <a:gd name="T101" fmla="*/ 36 h 83"/>
                <a:gd name="T102" fmla="*/ 11 w 110"/>
                <a:gd name="T103" fmla="*/ 29 h 83"/>
                <a:gd name="T104" fmla="*/ 11 w 110"/>
                <a:gd name="T105" fmla="*/ 22 h 83"/>
                <a:gd name="T106" fmla="*/ 4 w 110"/>
                <a:gd name="T107" fmla="*/ 20 h 83"/>
                <a:gd name="T108" fmla="*/ 0 w 110"/>
                <a:gd name="T109" fmla="*/ 15 h 83"/>
                <a:gd name="T110" fmla="*/ 16 w 110"/>
                <a:gd name="T111" fmla="*/ 13 h 83"/>
                <a:gd name="T112" fmla="*/ 25 w 110"/>
                <a:gd name="T113" fmla="*/ 18 h 83"/>
                <a:gd name="T114" fmla="*/ 31 w 110"/>
                <a:gd name="T115" fmla="*/ 20 h 83"/>
                <a:gd name="T116" fmla="*/ 34 w 110"/>
                <a:gd name="T117" fmla="*/ 15 h 83"/>
                <a:gd name="T118" fmla="*/ 25 w 110"/>
                <a:gd name="T119" fmla="*/ 9 h 83"/>
                <a:gd name="T120" fmla="*/ 22 w 110"/>
                <a:gd name="T121" fmla="*/ 4 h 83"/>
                <a:gd name="T122" fmla="*/ 13 w 110"/>
                <a:gd name="T123" fmla="*/ 2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83">
                  <a:moveTo>
                    <a:pt x="9" y="51"/>
                  </a:moveTo>
                  <a:lnTo>
                    <a:pt x="11" y="51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8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7"/>
                  </a:lnTo>
                  <a:lnTo>
                    <a:pt x="31" y="67"/>
                  </a:lnTo>
                  <a:lnTo>
                    <a:pt x="31" y="69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7" y="22"/>
                  </a:move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close/>
                  <a:moveTo>
                    <a:pt x="2" y="20"/>
                  </a:move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close/>
                  <a:moveTo>
                    <a:pt x="25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6" y="18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0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4" y="6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6" y="9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81" y="13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3" y="22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3" y="31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5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2" y="40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4" y="47"/>
                  </a:lnTo>
                  <a:lnTo>
                    <a:pt x="94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2" y="51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8"/>
                  </a:lnTo>
                  <a:lnTo>
                    <a:pt x="94" y="58"/>
                  </a:lnTo>
                  <a:lnTo>
                    <a:pt x="94" y="58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2" y="60"/>
                  </a:lnTo>
                  <a:lnTo>
                    <a:pt x="92" y="60"/>
                  </a:lnTo>
                  <a:lnTo>
                    <a:pt x="92" y="60"/>
                  </a:lnTo>
                  <a:lnTo>
                    <a:pt x="92" y="63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7" y="67"/>
                  </a:lnTo>
                  <a:lnTo>
                    <a:pt x="87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5" y="72"/>
                  </a:lnTo>
                  <a:lnTo>
                    <a:pt x="85" y="72"/>
                  </a:lnTo>
                  <a:lnTo>
                    <a:pt x="85" y="74"/>
                  </a:lnTo>
                  <a:lnTo>
                    <a:pt x="87" y="74"/>
                  </a:lnTo>
                  <a:lnTo>
                    <a:pt x="87" y="74"/>
                  </a:lnTo>
                  <a:lnTo>
                    <a:pt x="90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5" y="83"/>
                  </a:lnTo>
                  <a:lnTo>
                    <a:pt x="83" y="83"/>
                  </a:lnTo>
                  <a:lnTo>
                    <a:pt x="83" y="83"/>
                  </a:lnTo>
                  <a:lnTo>
                    <a:pt x="83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78"/>
                  </a:lnTo>
                  <a:lnTo>
                    <a:pt x="81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4" y="76"/>
                  </a:lnTo>
                  <a:lnTo>
                    <a:pt x="72" y="74"/>
                  </a:lnTo>
                  <a:lnTo>
                    <a:pt x="69" y="74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58"/>
                  </a:lnTo>
                  <a:lnTo>
                    <a:pt x="72" y="58"/>
                  </a:lnTo>
                  <a:lnTo>
                    <a:pt x="72" y="56"/>
                  </a:lnTo>
                  <a:lnTo>
                    <a:pt x="67" y="54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4"/>
                  </a:lnTo>
                  <a:lnTo>
                    <a:pt x="60" y="54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58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1" y="60"/>
                  </a:lnTo>
                  <a:lnTo>
                    <a:pt x="49" y="60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2" y="49"/>
                  </a:lnTo>
                  <a:lnTo>
                    <a:pt x="22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8" y="47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16" y="36"/>
                  </a:lnTo>
                  <a:lnTo>
                    <a:pt x="16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9" y="20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7" y="22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1" y="11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3" y="13"/>
                  </a:lnTo>
                  <a:lnTo>
                    <a:pt x="13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8" y="15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9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0"/>
                  </a:lnTo>
                  <a:close/>
                  <a:moveTo>
                    <a:pt x="13" y="31"/>
                  </a:moveTo>
                  <a:lnTo>
                    <a:pt x="13" y="31"/>
                  </a:lnTo>
                  <a:lnTo>
                    <a:pt x="13" y="31"/>
                  </a:lnTo>
                  <a:lnTo>
                    <a:pt x="16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31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2" name="Freeform 651"/>
            <p:cNvSpPr>
              <a:spLocks/>
            </p:cNvSpPr>
            <p:nvPr/>
          </p:nvSpPr>
          <p:spPr bwMode="auto">
            <a:xfrm>
              <a:off x="5940080" y="2021885"/>
              <a:ext cx="234000" cy="101956"/>
            </a:xfrm>
            <a:custGeom>
              <a:avLst/>
              <a:gdLst>
                <a:gd name="T0" fmla="*/ 108 w 140"/>
                <a:gd name="T1" fmla="*/ 3 h 61"/>
                <a:gd name="T2" fmla="*/ 115 w 140"/>
                <a:gd name="T3" fmla="*/ 5 h 61"/>
                <a:gd name="T4" fmla="*/ 124 w 140"/>
                <a:gd name="T5" fmla="*/ 7 h 61"/>
                <a:gd name="T6" fmla="*/ 131 w 140"/>
                <a:gd name="T7" fmla="*/ 7 h 61"/>
                <a:gd name="T8" fmla="*/ 135 w 140"/>
                <a:gd name="T9" fmla="*/ 14 h 61"/>
                <a:gd name="T10" fmla="*/ 135 w 140"/>
                <a:gd name="T11" fmla="*/ 16 h 61"/>
                <a:gd name="T12" fmla="*/ 137 w 140"/>
                <a:gd name="T13" fmla="*/ 21 h 61"/>
                <a:gd name="T14" fmla="*/ 140 w 140"/>
                <a:gd name="T15" fmla="*/ 25 h 61"/>
                <a:gd name="T16" fmla="*/ 137 w 140"/>
                <a:gd name="T17" fmla="*/ 27 h 61"/>
                <a:gd name="T18" fmla="*/ 135 w 140"/>
                <a:gd name="T19" fmla="*/ 32 h 61"/>
                <a:gd name="T20" fmla="*/ 128 w 140"/>
                <a:gd name="T21" fmla="*/ 30 h 61"/>
                <a:gd name="T22" fmla="*/ 131 w 140"/>
                <a:gd name="T23" fmla="*/ 34 h 61"/>
                <a:gd name="T24" fmla="*/ 128 w 140"/>
                <a:gd name="T25" fmla="*/ 39 h 61"/>
                <a:gd name="T26" fmla="*/ 128 w 140"/>
                <a:gd name="T27" fmla="*/ 43 h 61"/>
                <a:gd name="T28" fmla="*/ 128 w 140"/>
                <a:gd name="T29" fmla="*/ 45 h 61"/>
                <a:gd name="T30" fmla="*/ 128 w 140"/>
                <a:gd name="T31" fmla="*/ 48 h 61"/>
                <a:gd name="T32" fmla="*/ 124 w 140"/>
                <a:gd name="T33" fmla="*/ 50 h 61"/>
                <a:gd name="T34" fmla="*/ 119 w 140"/>
                <a:gd name="T35" fmla="*/ 52 h 61"/>
                <a:gd name="T36" fmla="*/ 115 w 140"/>
                <a:gd name="T37" fmla="*/ 54 h 61"/>
                <a:gd name="T38" fmla="*/ 104 w 140"/>
                <a:gd name="T39" fmla="*/ 56 h 61"/>
                <a:gd name="T40" fmla="*/ 97 w 140"/>
                <a:gd name="T41" fmla="*/ 59 h 61"/>
                <a:gd name="T42" fmla="*/ 95 w 140"/>
                <a:gd name="T43" fmla="*/ 61 h 61"/>
                <a:gd name="T44" fmla="*/ 83 w 140"/>
                <a:gd name="T45" fmla="*/ 59 h 61"/>
                <a:gd name="T46" fmla="*/ 70 w 140"/>
                <a:gd name="T47" fmla="*/ 59 h 61"/>
                <a:gd name="T48" fmla="*/ 57 w 140"/>
                <a:gd name="T49" fmla="*/ 54 h 61"/>
                <a:gd name="T50" fmla="*/ 52 w 140"/>
                <a:gd name="T51" fmla="*/ 50 h 61"/>
                <a:gd name="T52" fmla="*/ 48 w 140"/>
                <a:gd name="T53" fmla="*/ 48 h 61"/>
                <a:gd name="T54" fmla="*/ 41 w 140"/>
                <a:gd name="T55" fmla="*/ 48 h 61"/>
                <a:gd name="T56" fmla="*/ 36 w 140"/>
                <a:gd name="T57" fmla="*/ 48 h 61"/>
                <a:gd name="T58" fmla="*/ 30 w 140"/>
                <a:gd name="T59" fmla="*/ 52 h 61"/>
                <a:gd name="T60" fmla="*/ 25 w 140"/>
                <a:gd name="T61" fmla="*/ 52 h 61"/>
                <a:gd name="T62" fmla="*/ 18 w 140"/>
                <a:gd name="T63" fmla="*/ 50 h 61"/>
                <a:gd name="T64" fmla="*/ 14 w 140"/>
                <a:gd name="T65" fmla="*/ 50 h 61"/>
                <a:gd name="T66" fmla="*/ 7 w 140"/>
                <a:gd name="T67" fmla="*/ 50 h 61"/>
                <a:gd name="T68" fmla="*/ 0 w 140"/>
                <a:gd name="T69" fmla="*/ 43 h 61"/>
                <a:gd name="T70" fmla="*/ 3 w 140"/>
                <a:gd name="T71" fmla="*/ 36 h 61"/>
                <a:gd name="T72" fmla="*/ 5 w 140"/>
                <a:gd name="T73" fmla="*/ 34 h 61"/>
                <a:gd name="T74" fmla="*/ 7 w 140"/>
                <a:gd name="T75" fmla="*/ 36 h 61"/>
                <a:gd name="T76" fmla="*/ 12 w 140"/>
                <a:gd name="T77" fmla="*/ 39 h 61"/>
                <a:gd name="T78" fmla="*/ 12 w 140"/>
                <a:gd name="T79" fmla="*/ 41 h 61"/>
                <a:gd name="T80" fmla="*/ 16 w 140"/>
                <a:gd name="T81" fmla="*/ 36 h 61"/>
                <a:gd name="T82" fmla="*/ 16 w 140"/>
                <a:gd name="T83" fmla="*/ 34 h 61"/>
                <a:gd name="T84" fmla="*/ 25 w 140"/>
                <a:gd name="T85" fmla="*/ 36 h 61"/>
                <a:gd name="T86" fmla="*/ 30 w 140"/>
                <a:gd name="T87" fmla="*/ 39 h 61"/>
                <a:gd name="T88" fmla="*/ 36 w 140"/>
                <a:gd name="T89" fmla="*/ 36 h 61"/>
                <a:gd name="T90" fmla="*/ 43 w 140"/>
                <a:gd name="T91" fmla="*/ 34 h 61"/>
                <a:gd name="T92" fmla="*/ 50 w 140"/>
                <a:gd name="T93" fmla="*/ 30 h 61"/>
                <a:gd name="T94" fmla="*/ 54 w 140"/>
                <a:gd name="T95" fmla="*/ 32 h 61"/>
                <a:gd name="T96" fmla="*/ 61 w 140"/>
                <a:gd name="T97" fmla="*/ 34 h 61"/>
                <a:gd name="T98" fmla="*/ 63 w 140"/>
                <a:gd name="T99" fmla="*/ 36 h 61"/>
                <a:gd name="T100" fmla="*/ 65 w 140"/>
                <a:gd name="T101" fmla="*/ 34 h 61"/>
                <a:gd name="T102" fmla="*/ 63 w 140"/>
                <a:gd name="T103" fmla="*/ 30 h 61"/>
                <a:gd name="T104" fmla="*/ 59 w 140"/>
                <a:gd name="T105" fmla="*/ 23 h 61"/>
                <a:gd name="T106" fmla="*/ 61 w 140"/>
                <a:gd name="T107" fmla="*/ 18 h 61"/>
                <a:gd name="T108" fmla="*/ 70 w 140"/>
                <a:gd name="T109" fmla="*/ 12 h 61"/>
                <a:gd name="T110" fmla="*/ 77 w 140"/>
                <a:gd name="T111" fmla="*/ 12 h 61"/>
                <a:gd name="T112" fmla="*/ 77 w 140"/>
                <a:gd name="T113" fmla="*/ 7 h 61"/>
                <a:gd name="T114" fmla="*/ 81 w 140"/>
                <a:gd name="T115" fmla="*/ 9 h 61"/>
                <a:gd name="T116" fmla="*/ 88 w 140"/>
                <a:gd name="T117" fmla="*/ 9 h 61"/>
                <a:gd name="T118" fmla="*/ 92 w 140"/>
                <a:gd name="T119" fmla="*/ 12 h 61"/>
                <a:gd name="T120" fmla="*/ 97 w 140"/>
                <a:gd name="T121" fmla="*/ 7 h 61"/>
                <a:gd name="T122" fmla="*/ 101 w 140"/>
                <a:gd name="T123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0" h="61">
                  <a:moveTo>
                    <a:pt x="101" y="3"/>
                  </a:moveTo>
                  <a:lnTo>
                    <a:pt x="101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7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3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40" y="23"/>
                  </a:lnTo>
                  <a:lnTo>
                    <a:pt x="140" y="23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30"/>
                  </a:lnTo>
                  <a:lnTo>
                    <a:pt x="140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40" y="30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37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2"/>
                  </a:lnTo>
                  <a:lnTo>
                    <a:pt x="133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6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3"/>
                  </a:lnTo>
                  <a:lnTo>
                    <a:pt x="131" y="43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31" y="48"/>
                  </a:lnTo>
                  <a:lnTo>
                    <a:pt x="131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2" y="50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22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3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10" y="56"/>
                  </a:lnTo>
                  <a:lnTo>
                    <a:pt x="106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0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68" y="56"/>
                  </a:lnTo>
                  <a:lnTo>
                    <a:pt x="65" y="56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0" y="48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48" y="45"/>
                  </a:lnTo>
                  <a:lnTo>
                    <a:pt x="48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0" y="48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7" y="34"/>
                  </a:lnTo>
                  <a:lnTo>
                    <a:pt x="7" y="36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6" y="41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9" y="36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1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2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5" y="18"/>
                  </a:lnTo>
                  <a:lnTo>
                    <a:pt x="68" y="18"/>
                  </a:lnTo>
                  <a:lnTo>
                    <a:pt x="68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12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5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5" y="9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1" y="0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close/>
                </a:path>
              </a:pathLst>
            </a:custGeom>
            <a:solidFill>
              <a:srgbClr val="FF6200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3" name="Freeform 652"/>
            <p:cNvSpPr>
              <a:spLocks noEditPoints="1"/>
            </p:cNvSpPr>
            <p:nvPr/>
          </p:nvSpPr>
          <p:spPr bwMode="auto">
            <a:xfrm>
              <a:off x="9463444" y="4333466"/>
              <a:ext cx="1422383" cy="1368897"/>
            </a:xfrm>
            <a:custGeom>
              <a:avLst/>
              <a:gdLst>
                <a:gd name="T0" fmla="*/ 528 w 851"/>
                <a:gd name="T1" fmla="*/ 758 h 819"/>
                <a:gd name="T2" fmla="*/ 555 w 851"/>
                <a:gd name="T3" fmla="*/ 785 h 819"/>
                <a:gd name="T4" fmla="*/ 532 w 851"/>
                <a:gd name="T5" fmla="*/ 805 h 819"/>
                <a:gd name="T6" fmla="*/ 494 w 851"/>
                <a:gd name="T7" fmla="*/ 816 h 819"/>
                <a:gd name="T8" fmla="*/ 498 w 851"/>
                <a:gd name="T9" fmla="*/ 789 h 819"/>
                <a:gd name="T10" fmla="*/ 584 w 851"/>
                <a:gd name="T11" fmla="*/ 742 h 819"/>
                <a:gd name="T12" fmla="*/ 507 w 851"/>
                <a:gd name="T13" fmla="*/ 733 h 819"/>
                <a:gd name="T14" fmla="*/ 415 w 851"/>
                <a:gd name="T15" fmla="*/ 639 h 819"/>
                <a:gd name="T16" fmla="*/ 833 w 851"/>
                <a:gd name="T17" fmla="*/ 432 h 819"/>
                <a:gd name="T18" fmla="*/ 815 w 851"/>
                <a:gd name="T19" fmla="*/ 344 h 819"/>
                <a:gd name="T20" fmla="*/ 790 w 851"/>
                <a:gd name="T21" fmla="*/ 263 h 819"/>
                <a:gd name="T22" fmla="*/ 611 w 851"/>
                <a:gd name="T23" fmla="*/ 176 h 819"/>
                <a:gd name="T24" fmla="*/ 559 w 851"/>
                <a:gd name="T25" fmla="*/ 151 h 819"/>
                <a:gd name="T26" fmla="*/ 321 w 851"/>
                <a:gd name="T27" fmla="*/ 128 h 819"/>
                <a:gd name="T28" fmla="*/ 564 w 851"/>
                <a:gd name="T29" fmla="*/ 122 h 819"/>
                <a:gd name="T30" fmla="*/ 559 w 851"/>
                <a:gd name="T31" fmla="*/ 68 h 819"/>
                <a:gd name="T32" fmla="*/ 435 w 851"/>
                <a:gd name="T33" fmla="*/ 61 h 819"/>
                <a:gd name="T34" fmla="*/ 440 w 851"/>
                <a:gd name="T35" fmla="*/ 56 h 819"/>
                <a:gd name="T36" fmla="*/ 698 w 851"/>
                <a:gd name="T37" fmla="*/ 61 h 819"/>
                <a:gd name="T38" fmla="*/ 732 w 851"/>
                <a:gd name="T39" fmla="*/ 131 h 819"/>
                <a:gd name="T40" fmla="*/ 741 w 851"/>
                <a:gd name="T41" fmla="*/ 205 h 819"/>
                <a:gd name="T42" fmla="*/ 781 w 851"/>
                <a:gd name="T43" fmla="*/ 261 h 819"/>
                <a:gd name="T44" fmla="*/ 793 w 851"/>
                <a:gd name="T45" fmla="*/ 295 h 819"/>
                <a:gd name="T46" fmla="*/ 811 w 851"/>
                <a:gd name="T47" fmla="*/ 328 h 819"/>
                <a:gd name="T48" fmla="*/ 840 w 851"/>
                <a:gd name="T49" fmla="*/ 387 h 819"/>
                <a:gd name="T50" fmla="*/ 813 w 851"/>
                <a:gd name="T51" fmla="*/ 484 h 819"/>
                <a:gd name="T52" fmla="*/ 737 w 851"/>
                <a:gd name="T53" fmla="*/ 574 h 819"/>
                <a:gd name="T54" fmla="*/ 701 w 851"/>
                <a:gd name="T55" fmla="*/ 616 h 819"/>
                <a:gd name="T56" fmla="*/ 613 w 851"/>
                <a:gd name="T57" fmla="*/ 681 h 819"/>
                <a:gd name="T58" fmla="*/ 541 w 851"/>
                <a:gd name="T59" fmla="*/ 697 h 819"/>
                <a:gd name="T60" fmla="*/ 480 w 851"/>
                <a:gd name="T61" fmla="*/ 693 h 819"/>
                <a:gd name="T62" fmla="*/ 471 w 851"/>
                <a:gd name="T63" fmla="*/ 623 h 819"/>
                <a:gd name="T64" fmla="*/ 431 w 851"/>
                <a:gd name="T65" fmla="*/ 618 h 819"/>
                <a:gd name="T66" fmla="*/ 469 w 851"/>
                <a:gd name="T67" fmla="*/ 560 h 819"/>
                <a:gd name="T68" fmla="*/ 402 w 851"/>
                <a:gd name="T69" fmla="*/ 612 h 819"/>
                <a:gd name="T70" fmla="*/ 395 w 851"/>
                <a:gd name="T71" fmla="*/ 560 h 819"/>
                <a:gd name="T72" fmla="*/ 323 w 851"/>
                <a:gd name="T73" fmla="*/ 533 h 819"/>
                <a:gd name="T74" fmla="*/ 137 w 851"/>
                <a:gd name="T75" fmla="*/ 587 h 819"/>
                <a:gd name="T76" fmla="*/ 51 w 851"/>
                <a:gd name="T77" fmla="*/ 616 h 819"/>
                <a:gd name="T78" fmla="*/ 27 w 851"/>
                <a:gd name="T79" fmla="*/ 558 h 819"/>
                <a:gd name="T80" fmla="*/ 29 w 851"/>
                <a:gd name="T81" fmla="*/ 407 h 819"/>
                <a:gd name="T82" fmla="*/ 45 w 851"/>
                <a:gd name="T83" fmla="*/ 398 h 819"/>
                <a:gd name="T84" fmla="*/ 67 w 851"/>
                <a:gd name="T85" fmla="*/ 313 h 819"/>
                <a:gd name="T86" fmla="*/ 161 w 851"/>
                <a:gd name="T87" fmla="*/ 265 h 819"/>
                <a:gd name="T88" fmla="*/ 258 w 851"/>
                <a:gd name="T89" fmla="*/ 182 h 819"/>
                <a:gd name="T90" fmla="*/ 287 w 851"/>
                <a:gd name="T91" fmla="*/ 182 h 819"/>
                <a:gd name="T92" fmla="*/ 303 w 851"/>
                <a:gd name="T93" fmla="*/ 171 h 819"/>
                <a:gd name="T94" fmla="*/ 312 w 851"/>
                <a:gd name="T95" fmla="*/ 146 h 819"/>
                <a:gd name="T96" fmla="*/ 323 w 851"/>
                <a:gd name="T97" fmla="*/ 140 h 819"/>
                <a:gd name="T98" fmla="*/ 332 w 851"/>
                <a:gd name="T99" fmla="*/ 126 h 819"/>
                <a:gd name="T100" fmla="*/ 346 w 851"/>
                <a:gd name="T101" fmla="*/ 117 h 819"/>
                <a:gd name="T102" fmla="*/ 370 w 851"/>
                <a:gd name="T103" fmla="*/ 115 h 819"/>
                <a:gd name="T104" fmla="*/ 400 w 851"/>
                <a:gd name="T105" fmla="*/ 135 h 819"/>
                <a:gd name="T106" fmla="*/ 420 w 851"/>
                <a:gd name="T107" fmla="*/ 110 h 819"/>
                <a:gd name="T108" fmla="*/ 444 w 851"/>
                <a:gd name="T109" fmla="*/ 77 h 819"/>
                <a:gd name="T110" fmla="*/ 474 w 851"/>
                <a:gd name="T111" fmla="*/ 52 h 819"/>
                <a:gd name="T112" fmla="*/ 494 w 851"/>
                <a:gd name="T113" fmla="*/ 52 h 819"/>
                <a:gd name="T114" fmla="*/ 539 w 851"/>
                <a:gd name="T115" fmla="*/ 72 h 819"/>
                <a:gd name="T116" fmla="*/ 559 w 851"/>
                <a:gd name="T117" fmla="*/ 70 h 819"/>
                <a:gd name="T118" fmla="*/ 559 w 851"/>
                <a:gd name="T119" fmla="*/ 95 h 819"/>
                <a:gd name="T120" fmla="*/ 548 w 851"/>
                <a:gd name="T121" fmla="*/ 151 h 819"/>
                <a:gd name="T122" fmla="*/ 649 w 851"/>
                <a:gd name="T123" fmla="*/ 171 h 819"/>
                <a:gd name="T124" fmla="*/ 674 w 851"/>
                <a:gd name="T125" fmla="*/ 72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1" h="819">
                  <a:moveTo>
                    <a:pt x="516" y="812"/>
                  </a:moveTo>
                  <a:lnTo>
                    <a:pt x="516" y="812"/>
                  </a:lnTo>
                  <a:lnTo>
                    <a:pt x="516" y="814"/>
                  </a:lnTo>
                  <a:lnTo>
                    <a:pt x="516" y="814"/>
                  </a:lnTo>
                  <a:lnTo>
                    <a:pt x="516" y="814"/>
                  </a:lnTo>
                  <a:lnTo>
                    <a:pt x="516" y="814"/>
                  </a:lnTo>
                  <a:lnTo>
                    <a:pt x="516" y="814"/>
                  </a:lnTo>
                  <a:lnTo>
                    <a:pt x="516" y="814"/>
                  </a:lnTo>
                  <a:lnTo>
                    <a:pt x="514" y="814"/>
                  </a:lnTo>
                  <a:lnTo>
                    <a:pt x="514" y="816"/>
                  </a:lnTo>
                  <a:lnTo>
                    <a:pt x="514" y="816"/>
                  </a:lnTo>
                  <a:lnTo>
                    <a:pt x="514" y="816"/>
                  </a:lnTo>
                  <a:lnTo>
                    <a:pt x="514" y="816"/>
                  </a:lnTo>
                  <a:lnTo>
                    <a:pt x="514" y="816"/>
                  </a:lnTo>
                  <a:lnTo>
                    <a:pt x="514" y="816"/>
                  </a:lnTo>
                  <a:lnTo>
                    <a:pt x="514" y="816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4" y="814"/>
                  </a:lnTo>
                  <a:lnTo>
                    <a:pt x="512" y="814"/>
                  </a:lnTo>
                  <a:lnTo>
                    <a:pt x="512" y="816"/>
                  </a:lnTo>
                  <a:lnTo>
                    <a:pt x="512" y="816"/>
                  </a:lnTo>
                  <a:lnTo>
                    <a:pt x="512" y="816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2" y="814"/>
                  </a:lnTo>
                  <a:lnTo>
                    <a:pt x="514" y="814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6" y="812"/>
                  </a:lnTo>
                  <a:lnTo>
                    <a:pt x="516" y="812"/>
                  </a:lnTo>
                  <a:lnTo>
                    <a:pt x="516" y="812"/>
                  </a:lnTo>
                  <a:lnTo>
                    <a:pt x="516" y="812"/>
                  </a:lnTo>
                  <a:lnTo>
                    <a:pt x="516" y="812"/>
                  </a:lnTo>
                  <a:lnTo>
                    <a:pt x="519" y="810"/>
                  </a:lnTo>
                  <a:lnTo>
                    <a:pt x="519" y="810"/>
                  </a:lnTo>
                  <a:lnTo>
                    <a:pt x="519" y="810"/>
                  </a:lnTo>
                  <a:lnTo>
                    <a:pt x="516" y="812"/>
                  </a:lnTo>
                  <a:lnTo>
                    <a:pt x="516" y="812"/>
                  </a:lnTo>
                  <a:lnTo>
                    <a:pt x="516" y="812"/>
                  </a:lnTo>
                  <a:lnTo>
                    <a:pt x="516" y="812"/>
                  </a:lnTo>
                  <a:close/>
                  <a:moveTo>
                    <a:pt x="521" y="810"/>
                  </a:moveTo>
                  <a:lnTo>
                    <a:pt x="521" y="810"/>
                  </a:lnTo>
                  <a:lnTo>
                    <a:pt x="521" y="810"/>
                  </a:lnTo>
                  <a:lnTo>
                    <a:pt x="521" y="810"/>
                  </a:lnTo>
                  <a:lnTo>
                    <a:pt x="521" y="810"/>
                  </a:lnTo>
                  <a:lnTo>
                    <a:pt x="519" y="810"/>
                  </a:lnTo>
                  <a:lnTo>
                    <a:pt x="519" y="810"/>
                  </a:lnTo>
                  <a:lnTo>
                    <a:pt x="519" y="810"/>
                  </a:lnTo>
                  <a:lnTo>
                    <a:pt x="519" y="810"/>
                  </a:lnTo>
                  <a:lnTo>
                    <a:pt x="521" y="810"/>
                  </a:lnTo>
                  <a:lnTo>
                    <a:pt x="521" y="810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19" y="807"/>
                  </a:lnTo>
                  <a:lnTo>
                    <a:pt x="519" y="807"/>
                  </a:lnTo>
                  <a:lnTo>
                    <a:pt x="519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3" y="805"/>
                  </a:lnTo>
                  <a:lnTo>
                    <a:pt x="521" y="805"/>
                  </a:lnTo>
                  <a:lnTo>
                    <a:pt x="523" y="807"/>
                  </a:lnTo>
                  <a:lnTo>
                    <a:pt x="523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07"/>
                  </a:lnTo>
                  <a:lnTo>
                    <a:pt x="521" y="810"/>
                  </a:lnTo>
                  <a:lnTo>
                    <a:pt x="521" y="810"/>
                  </a:lnTo>
                  <a:close/>
                  <a:moveTo>
                    <a:pt x="546" y="796"/>
                  </a:moveTo>
                  <a:lnTo>
                    <a:pt x="543" y="796"/>
                  </a:lnTo>
                  <a:lnTo>
                    <a:pt x="543" y="796"/>
                  </a:lnTo>
                  <a:lnTo>
                    <a:pt x="543" y="796"/>
                  </a:lnTo>
                  <a:lnTo>
                    <a:pt x="541" y="796"/>
                  </a:lnTo>
                  <a:lnTo>
                    <a:pt x="543" y="796"/>
                  </a:lnTo>
                  <a:lnTo>
                    <a:pt x="541" y="796"/>
                  </a:lnTo>
                  <a:lnTo>
                    <a:pt x="541" y="798"/>
                  </a:lnTo>
                  <a:lnTo>
                    <a:pt x="541" y="798"/>
                  </a:lnTo>
                  <a:lnTo>
                    <a:pt x="539" y="798"/>
                  </a:lnTo>
                  <a:lnTo>
                    <a:pt x="539" y="798"/>
                  </a:lnTo>
                  <a:lnTo>
                    <a:pt x="541" y="798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3" y="794"/>
                  </a:lnTo>
                  <a:lnTo>
                    <a:pt x="543" y="794"/>
                  </a:lnTo>
                  <a:lnTo>
                    <a:pt x="543" y="794"/>
                  </a:lnTo>
                  <a:lnTo>
                    <a:pt x="543" y="794"/>
                  </a:lnTo>
                  <a:lnTo>
                    <a:pt x="543" y="794"/>
                  </a:lnTo>
                  <a:lnTo>
                    <a:pt x="543" y="794"/>
                  </a:lnTo>
                  <a:lnTo>
                    <a:pt x="546" y="794"/>
                  </a:lnTo>
                  <a:lnTo>
                    <a:pt x="546" y="794"/>
                  </a:lnTo>
                  <a:lnTo>
                    <a:pt x="543" y="794"/>
                  </a:lnTo>
                  <a:lnTo>
                    <a:pt x="543" y="796"/>
                  </a:lnTo>
                  <a:lnTo>
                    <a:pt x="543" y="796"/>
                  </a:lnTo>
                  <a:lnTo>
                    <a:pt x="546" y="796"/>
                  </a:lnTo>
                  <a:close/>
                  <a:moveTo>
                    <a:pt x="552" y="789"/>
                  </a:moveTo>
                  <a:lnTo>
                    <a:pt x="552" y="789"/>
                  </a:lnTo>
                  <a:lnTo>
                    <a:pt x="552" y="789"/>
                  </a:lnTo>
                  <a:lnTo>
                    <a:pt x="552" y="789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0" y="787"/>
                  </a:lnTo>
                  <a:lnTo>
                    <a:pt x="550" y="787"/>
                  </a:lnTo>
                  <a:lnTo>
                    <a:pt x="550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9"/>
                  </a:lnTo>
                  <a:lnTo>
                    <a:pt x="552" y="789"/>
                  </a:lnTo>
                  <a:close/>
                  <a:moveTo>
                    <a:pt x="507" y="751"/>
                  </a:moveTo>
                  <a:lnTo>
                    <a:pt x="507" y="751"/>
                  </a:lnTo>
                  <a:lnTo>
                    <a:pt x="510" y="751"/>
                  </a:lnTo>
                  <a:lnTo>
                    <a:pt x="510" y="749"/>
                  </a:lnTo>
                  <a:lnTo>
                    <a:pt x="510" y="749"/>
                  </a:lnTo>
                  <a:lnTo>
                    <a:pt x="510" y="751"/>
                  </a:lnTo>
                  <a:lnTo>
                    <a:pt x="510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4" y="751"/>
                  </a:lnTo>
                  <a:lnTo>
                    <a:pt x="514" y="751"/>
                  </a:lnTo>
                  <a:lnTo>
                    <a:pt x="514" y="751"/>
                  </a:lnTo>
                  <a:lnTo>
                    <a:pt x="514" y="751"/>
                  </a:lnTo>
                  <a:lnTo>
                    <a:pt x="514" y="753"/>
                  </a:lnTo>
                  <a:lnTo>
                    <a:pt x="514" y="753"/>
                  </a:lnTo>
                  <a:lnTo>
                    <a:pt x="514" y="751"/>
                  </a:lnTo>
                  <a:lnTo>
                    <a:pt x="514" y="751"/>
                  </a:lnTo>
                  <a:lnTo>
                    <a:pt x="516" y="751"/>
                  </a:lnTo>
                  <a:lnTo>
                    <a:pt x="516" y="751"/>
                  </a:lnTo>
                  <a:lnTo>
                    <a:pt x="516" y="751"/>
                  </a:lnTo>
                  <a:lnTo>
                    <a:pt x="519" y="751"/>
                  </a:lnTo>
                  <a:lnTo>
                    <a:pt x="519" y="751"/>
                  </a:lnTo>
                  <a:lnTo>
                    <a:pt x="519" y="749"/>
                  </a:lnTo>
                  <a:lnTo>
                    <a:pt x="519" y="751"/>
                  </a:lnTo>
                  <a:lnTo>
                    <a:pt x="519" y="751"/>
                  </a:lnTo>
                  <a:lnTo>
                    <a:pt x="519" y="751"/>
                  </a:lnTo>
                  <a:lnTo>
                    <a:pt x="519" y="751"/>
                  </a:lnTo>
                  <a:lnTo>
                    <a:pt x="516" y="751"/>
                  </a:lnTo>
                  <a:lnTo>
                    <a:pt x="516" y="751"/>
                  </a:lnTo>
                  <a:lnTo>
                    <a:pt x="516" y="751"/>
                  </a:lnTo>
                  <a:lnTo>
                    <a:pt x="516" y="751"/>
                  </a:lnTo>
                  <a:lnTo>
                    <a:pt x="519" y="753"/>
                  </a:lnTo>
                  <a:lnTo>
                    <a:pt x="519" y="753"/>
                  </a:lnTo>
                  <a:lnTo>
                    <a:pt x="519" y="753"/>
                  </a:lnTo>
                  <a:lnTo>
                    <a:pt x="519" y="753"/>
                  </a:lnTo>
                  <a:lnTo>
                    <a:pt x="519" y="753"/>
                  </a:lnTo>
                  <a:lnTo>
                    <a:pt x="519" y="753"/>
                  </a:lnTo>
                  <a:lnTo>
                    <a:pt x="519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21" y="753"/>
                  </a:lnTo>
                  <a:lnTo>
                    <a:pt x="521" y="756"/>
                  </a:lnTo>
                  <a:lnTo>
                    <a:pt x="521" y="756"/>
                  </a:lnTo>
                  <a:lnTo>
                    <a:pt x="523" y="756"/>
                  </a:lnTo>
                  <a:lnTo>
                    <a:pt x="523" y="756"/>
                  </a:lnTo>
                  <a:lnTo>
                    <a:pt x="523" y="756"/>
                  </a:lnTo>
                  <a:lnTo>
                    <a:pt x="523" y="756"/>
                  </a:lnTo>
                  <a:lnTo>
                    <a:pt x="523" y="756"/>
                  </a:lnTo>
                  <a:lnTo>
                    <a:pt x="523" y="758"/>
                  </a:lnTo>
                  <a:lnTo>
                    <a:pt x="523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5" y="758"/>
                  </a:lnTo>
                  <a:lnTo>
                    <a:pt x="528" y="758"/>
                  </a:lnTo>
                  <a:lnTo>
                    <a:pt x="528" y="758"/>
                  </a:lnTo>
                  <a:lnTo>
                    <a:pt x="528" y="758"/>
                  </a:lnTo>
                  <a:lnTo>
                    <a:pt x="528" y="760"/>
                  </a:lnTo>
                  <a:lnTo>
                    <a:pt x="528" y="760"/>
                  </a:lnTo>
                  <a:lnTo>
                    <a:pt x="528" y="760"/>
                  </a:lnTo>
                  <a:lnTo>
                    <a:pt x="528" y="760"/>
                  </a:lnTo>
                  <a:lnTo>
                    <a:pt x="530" y="760"/>
                  </a:lnTo>
                  <a:lnTo>
                    <a:pt x="532" y="760"/>
                  </a:lnTo>
                  <a:lnTo>
                    <a:pt x="534" y="760"/>
                  </a:lnTo>
                  <a:lnTo>
                    <a:pt x="534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7" y="760"/>
                  </a:lnTo>
                  <a:lnTo>
                    <a:pt x="539" y="760"/>
                  </a:lnTo>
                  <a:lnTo>
                    <a:pt x="539" y="760"/>
                  </a:lnTo>
                  <a:lnTo>
                    <a:pt x="539" y="760"/>
                  </a:lnTo>
                  <a:lnTo>
                    <a:pt x="539" y="758"/>
                  </a:lnTo>
                  <a:lnTo>
                    <a:pt x="539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58"/>
                  </a:lnTo>
                  <a:lnTo>
                    <a:pt x="541" y="760"/>
                  </a:lnTo>
                  <a:lnTo>
                    <a:pt x="541" y="760"/>
                  </a:lnTo>
                  <a:lnTo>
                    <a:pt x="541" y="760"/>
                  </a:lnTo>
                  <a:lnTo>
                    <a:pt x="541" y="760"/>
                  </a:lnTo>
                  <a:lnTo>
                    <a:pt x="541" y="760"/>
                  </a:lnTo>
                  <a:lnTo>
                    <a:pt x="541" y="760"/>
                  </a:lnTo>
                  <a:lnTo>
                    <a:pt x="541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60"/>
                  </a:lnTo>
                  <a:lnTo>
                    <a:pt x="543" y="758"/>
                  </a:lnTo>
                  <a:lnTo>
                    <a:pt x="543" y="758"/>
                  </a:lnTo>
                  <a:lnTo>
                    <a:pt x="546" y="758"/>
                  </a:lnTo>
                  <a:lnTo>
                    <a:pt x="546" y="758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48" y="756"/>
                  </a:lnTo>
                  <a:lnTo>
                    <a:pt x="550" y="758"/>
                  </a:lnTo>
                  <a:lnTo>
                    <a:pt x="552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6"/>
                  </a:lnTo>
                  <a:lnTo>
                    <a:pt x="555" y="758"/>
                  </a:lnTo>
                  <a:lnTo>
                    <a:pt x="557" y="758"/>
                  </a:lnTo>
                  <a:lnTo>
                    <a:pt x="557" y="756"/>
                  </a:lnTo>
                  <a:lnTo>
                    <a:pt x="559" y="756"/>
                  </a:lnTo>
                  <a:lnTo>
                    <a:pt x="561" y="753"/>
                  </a:lnTo>
                  <a:lnTo>
                    <a:pt x="561" y="753"/>
                  </a:lnTo>
                  <a:lnTo>
                    <a:pt x="561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4" y="753"/>
                  </a:lnTo>
                  <a:lnTo>
                    <a:pt x="566" y="753"/>
                  </a:lnTo>
                  <a:lnTo>
                    <a:pt x="566" y="753"/>
                  </a:lnTo>
                  <a:lnTo>
                    <a:pt x="566" y="753"/>
                  </a:lnTo>
                  <a:lnTo>
                    <a:pt x="568" y="753"/>
                  </a:lnTo>
                  <a:lnTo>
                    <a:pt x="568" y="753"/>
                  </a:lnTo>
                  <a:lnTo>
                    <a:pt x="568" y="753"/>
                  </a:lnTo>
                  <a:lnTo>
                    <a:pt x="568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0" y="751"/>
                  </a:lnTo>
                  <a:lnTo>
                    <a:pt x="573" y="751"/>
                  </a:lnTo>
                  <a:lnTo>
                    <a:pt x="573" y="751"/>
                  </a:lnTo>
                  <a:lnTo>
                    <a:pt x="573" y="751"/>
                  </a:lnTo>
                  <a:lnTo>
                    <a:pt x="573" y="751"/>
                  </a:lnTo>
                  <a:lnTo>
                    <a:pt x="573" y="753"/>
                  </a:lnTo>
                  <a:lnTo>
                    <a:pt x="573" y="753"/>
                  </a:lnTo>
                  <a:lnTo>
                    <a:pt x="573" y="753"/>
                  </a:lnTo>
                  <a:lnTo>
                    <a:pt x="573" y="753"/>
                  </a:lnTo>
                  <a:lnTo>
                    <a:pt x="573" y="753"/>
                  </a:lnTo>
                  <a:lnTo>
                    <a:pt x="573" y="756"/>
                  </a:lnTo>
                  <a:lnTo>
                    <a:pt x="573" y="756"/>
                  </a:lnTo>
                  <a:lnTo>
                    <a:pt x="573" y="756"/>
                  </a:lnTo>
                  <a:lnTo>
                    <a:pt x="573" y="756"/>
                  </a:lnTo>
                  <a:lnTo>
                    <a:pt x="573" y="758"/>
                  </a:lnTo>
                  <a:lnTo>
                    <a:pt x="573" y="758"/>
                  </a:lnTo>
                  <a:lnTo>
                    <a:pt x="573" y="758"/>
                  </a:lnTo>
                  <a:lnTo>
                    <a:pt x="573" y="758"/>
                  </a:lnTo>
                  <a:lnTo>
                    <a:pt x="570" y="758"/>
                  </a:lnTo>
                  <a:lnTo>
                    <a:pt x="570" y="758"/>
                  </a:lnTo>
                  <a:lnTo>
                    <a:pt x="573" y="758"/>
                  </a:lnTo>
                  <a:lnTo>
                    <a:pt x="573" y="758"/>
                  </a:lnTo>
                  <a:lnTo>
                    <a:pt x="573" y="758"/>
                  </a:lnTo>
                  <a:lnTo>
                    <a:pt x="570" y="760"/>
                  </a:lnTo>
                  <a:lnTo>
                    <a:pt x="570" y="760"/>
                  </a:lnTo>
                  <a:lnTo>
                    <a:pt x="570" y="760"/>
                  </a:lnTo>
                  <a:lnTo>
                    <a:pt x="570" y="760"/>
                  </a:lnTo>
                  <a:lnTo>
                    <a:pt x="568" y="760"/>
                  </a:lnTo>
                  <a:lnTo>
                    <a:pt x="568" y="762"/>
                  </a:lnTo>
                  <a:lnTo>
                    <a:pt x="568" y="762"/>
                  </a:lnTo>
                  <a:lnTo>
                    <a:pt x="568" y="762"/>
                  </a:lnTo>
                  <a:lnTo>
                    <a:pt x="568" y="762"/>
                  </a:lnTo>
                  <a:lnTo>
                    <a:pt x="568" y="762"/>
                  </a:lnTo>
                  <a:lnTo>
                    <a:pt x="568" y="762"/>
                  </a:lnTo>
                  <a:lnTo>
                    <a:pt x="568" y="765"/>
                  </a:lnTo>
                  <a:lnTo>
                    <a:pt x="566" y="765"/>
                  </a:lnTo>
                  <a:lnTo>
                    <a:pt x="566" y="765"/>
                  </a:lnTo>
                  <a:lnTo>
                    <a:pt x="568" y="765"/>
                  </a:lnTo>
                  <a:lnTo>
                    <a:pt x="568" y="765"/>
                  </a:lnTo>
                  <a:lnTo>
                    <a:pt x="568" y="765"/>
                  </a:lnTo>
                  <a:lnTo>
                    <a:pt x="566" y="767"/>
                  </a:lnTo>
                  <a:lnTo>
                    <a:pt x="566" y="767"/>
                  </a:lnTo>
                  <a:lnTo>
                    <a:pt x="566" y="769"/>
                  </a:lnTo>
                  <a:lnTo>
                    <a:pt x="564" y="769"/>
                  </a:lnTo>
                  <a:lnTo>
                    <a:pt x="564" y="769"/>
                  </a:lnTo>
                  <a:lnTo>
                    <a:pt x="564" y="769"/>
                  </a:lnTo>
                  <a:lnTo>
                    <a:pt x="564" y="769"/>
                  </a:lnTo>
                  <a:lnTo>
                    <a:pt x="564" y="769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4" y="771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61" y="774"/>
                  </a:lnTo>
                  <a:lnTo>
                    <a:pt x="559" y="776"/>
                  </a:lnTo>
                  <a:lnTo>
                    <a:pt x="559" y="776"/>
                  </a:lnTo>
                  <a:lnTo>
                    <a:pt x="559" y="776"/>
                  </a:lnTo>
                  <a:lnTo>
                    <a:pt x="559" y="776"/>
                  </a:lnTo>
                  <a:lnTo>
                    <a:pt x="559" y="776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9" y="778"/>
                  </a:lnTo>
                  <a:lnTo>
                    <a:pt x="557" y="780"/>
                  </a:lnTo>
                  <a:lnTo>
                    <a:pt x="557" y="780"/>
                  </a:lnTo>
                  <a:lnTo>
                    <a:pt x="557" y="783"/>
                  </a:lnTo>
                  <a:lnTo>
                    <a:pt x="557" y="783"/>
                  </a:lnTo>
                  <a:lnTo>
                    <a:pt x="557" y="783"/>
                  </a:lnTo>
                  <a:lnTo>
                    <a:pt x="557" y="783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7"/>
                  </a:lnTo>
                  <a:lnTo>
                    <a:pt x="555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7"/>
                  </a:lnTo>
                  <a:lnTo>
                    <a:pt x="552" y="785"/>
                  </a:lnTo>
                  <a:lnTo>
                    <a:pt x="552" y="785"/>
                  </a:lnTo>
                  <a:lnTo>
                    <a:pt x="552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5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3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7" y="780"/>
                  </a:lnTo>
                  <a:lnTo>
                    <a:pt x="557" y="780"/>
                  </a:lnTo>
                  <a:lnTo>
                    <a:pt x="557" y="780"/>
                  </a:lnTo>
                  <a:lnTo>
                    <a:pt x="557" y="780"/>
                  </a:lnTo>
                  <a:lnTo>
                    <a:pt x="557" y="778"/>
                  </a:lnTo>
                  <a:lnTo>
                    <a:pt x="557" y="778"/>
                  </a:lnTo>
                  <a:lnTo>
                    <a:pt x="555" y="778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5" y="780"/>
                  </a:lnTo>
                  <a:lnTo>
                    <a:pt x="552" y="780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5" y="783"/>
                  </a:lnTo>
                  <a:lnTo>
                    <a:pt x="552" y="783"/>
                  </a:lnTo>
                  <a:lnTo>
                    <a:pt x="552" y="783"/>
                  </a:lnTo>
                  <a:lnTo>
                    <a:pt x="550" y="783"/>
                  </a:lnTo>
                  <a:lnTo>
                    <a:pt x="550" y="783"/>
                  </a:lnTo>
                  <a:lnTo>
                    <a:pt x="550" y="785"/>
                  </a:lnTo>
                  <a:lnTo>
                    <a:pt x="550" y="785"/>
                  </a:lnTo>
                  <a:lnTo>
                    <a:pt x="548" y="785"/>
                  </a:lnTo>
                  <a:lnTo>
                    <a:pt x="548" y="785"/>
                  </a:lnTo>
                  <a:lnTo>
                    <a:pt x="548" y="787"/>
                  </a:lnTo>
                  <a:lnTo>
                    <a:pt x="548" y="787"/>
                  </a:lnTo>
                  <a:lnTo>
                    <a:pt x="548" y="787"/>
                  </a:lnTo>
                  <a:lnTo>
                    <a:pt x="548" y="787"/>
                  </a:lnTo>
                  <a:lnTo>
                    <a:pt x="548" y="787"/>
                  </a:lnTo>
                  <a:lnTo>
                    <a:pt x="546" y="787"/>
                  </a:lnTo>
                  <a:lnTo>
                    <a:pt x="546" y="789"/>
                  </a:lnTo>
                  <a:lnTo>
                    <a:pt x="546" y="787"/>
                  </a:lnTo>
                  <a:lnTo>
                    <a:pt x="546" y="787"/>
                  </a:lnTo>
                  <a:lnTo>
                    <a:pt x="546" y="787"/>
                  </a:lnTo>
                  <a:lnTo>
                    <a:pt x="548" y="787"/>
                  </a:lnTo>
                  <a:lnTo>
                    <a:pt x="548" y="787"/>
                  </a:lnTo>
                  <a:lnTo>
                    <a:pt x="546" y="789"/>
                  </a:lnTo>
                  <a:lnTo>
                    <a:pt x="546" y="789"/>
                  </a:lnTo>
                  <a:lnTo>
                    <a:pt x="546" y="789"/>
                  </a:lnTo>
                  <a:lnTo>
                    <a:pt x="546" y="792"/>
                  </a:lnTo>
                  <a:lnTo>
                    <a:pt x="543" y="792"/>
                  </a:lnTo>
                  <a:lnTo>
                    <a:pt x="543" y="792"/>
                  </a:lnTo>
                  <a:lnTo>
                    <a:pt x="543" y="792"/>
                  </a:lnTo>
                  <a:lnTo>
                    <a:pt x="543" y="794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2"/>
                  </a:lnTo>
                  <a:lnTo>
                    <a:pt x="541" y="792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4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41" y="796"/>
                  </a:lnTo>
                  <a:lnTo>
                    <a:pt x="539" y="796"/>
                  </a:lnTo>
                  <a:lnTo>
                    <a:pt x="539" y="796"/>
                  </a:lnTo>
                  <a:lnTo>
                    <a:pt x="539" y="796"/>
                  </a:lnTo>
                  <a:lnTo>
                    <a:pt x="539" y="796"/>
                  </a:lnTo>
                  <a:lnTo>
                    <a:pt x="539" y="798"/>
                  </a:lnTo>
                  <a:lnTo>
                    <a:pt x="539" y="798"/>
                  </a:lnTo>
                  <a:lnTo>
                    <a:pt x="537" y="798"/>
                  </a:lnTo>
                  <a:lnTo>
                    <a:pt x="537" y="798"/>
                  </a:lnTo>
                  <a:lnTo>
                    <a:pt x="537" y="798"/>
                  </a:lnTo>
                  <a:lnTo>
                    <a:pt x="537" y="798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4" y="801"/>
                  </a:lnTo>
                  <a:lnTo>
                    <a:pt x="534" y="801"/>
                  </a:lnTo>
                  <a:lnTo>
                    <a:pt x="534" y="801"/>
                  </a:lnTo>
                  <a:lnTo>
                    <a:pt x="534" y="801"/>
                  </a:lnTo>
                  <a:lnTo>
                    <a:pt x="534" y="801"/>
                  </a:lnTo>
                  <a:lnTo>
                    <a:pt x="534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4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1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7" y="803"/>
                  </a:lnTo>
                  <a:lnTo>
                    <a:pt x="534" y="803"/>
                  </a:lnTo>
                  <a:lnTo>
                    <a:pt x="534" y="805"/>
                  </a:lnTo>
                  <a:lnTo>
                    <a:pt x="534" y="805"/>
                  </a:lnTo>
                  <a:lnTo>
                    <a:pt x="534" y="805"/>
                  </a:lnTo>
                  <a:lnTo>
                    <a:pt x="534" y="805"/>
                  </a:lnTo>
                  <a:lnTo>
                    <a:pt x="534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2" y="810"/>
                  </a:lnTo>
                  <a:lnTo>
                    <a:pt x="532" y="810"/>
                  </a:lnTo>
                  <a:lnTo>
                    <a:pt x="532" y="810"/>
                  </a:lnTo>
                  <a:lnTo>
                    <a:pt x="532" y="810"/>
                  </a:lnTo>
                  <a:lnTo>
                    <a:pt x="532" y="810"/>
                  </a:lnTo>
                  <a:lnTo>
                    <a:pt x="532" y="810"/>
                  </a:lnTo>
                  <a:lnTo>
                    <a:pt x="530" y="807"/>
                  </a:lnTo>
                  <a:lnTo>
                    <a:pt x="530" y="807"/>
                  </a:lnTo>
                  <a:lnTo>
                    <a:pt x="530" y="807"/>
                  </a:lnTo>
                  <a:lnTo>
                    <a:pt x="532" y="807"/>
                  </a:lnTo>
                  <a:lnTo>
                    <a:pt x="532" y="807"/>
                  </a:lnTo>
                  <a:lnTo>
                    <a:pt x="530" y="807"/>
                  </a:lnTo>
                  <a:lnTo>
                    <a:pt x="530" y="807"/>
                  </a:lnTo>
                  <a:lnTo>
                    <a:pt x="530" y="807"/>
                  </a:lnTo>
                  <a:lnTo>
                    <a:pt x="530" y="807"/>
                  </a:lnTo>
                  <a:lnTo>
                    <a:pt x="530" y="810"/>
                  </a:lnTo>
                  <a:lnTo>
                    <a:pt x="530" y="810"/>
                  </a:lnTo>
                  <a:lnTo>
                    <a:pt x="528" y="810"/>
                  </a:lnTo>
                  <a:lnTo>
                    <a:pt x="528" y="810"/>
                  </a:lnTo>
                  <a:lnTo>
                    <a:pt x="528" y="810"/>
                  </a:lnTo>
                  <a:lnTo>
                    <a:pt x="528" y="810"/>
                  </a:lnTo>
                  <a:lnTo>
                    <a:pt x="528" y="807"/>
                  </a:lnTo>
                  <a:lnTo>
                    <a:pt x="528" y="807"/>
                  </a:lnTo>
                  <a:lnTo>
                    <a:pt x="528" y="807"/>
                  </a:lnTo>
                  <a:lnTo>
                    <a:pt x="528" y="807"/>
                  </a:lnTo>
                  <a:lnTo>
                    <a:pt x="530" y="807"/>
                  </a:lnTo>
                  <a:lnTo>
                    <a:pt x="528" y="805"/>
                  </a:lnTo>
                  <a:lnTo>
                    <a:pt x="528" y="805"/>
                  </a:lnTo>
                  <a:lnTo>
                    <a:pt x="528" y="805"/>
                  </a:lnTo>
                  <a:lnTo>
                    <a:pt x="528" y="805"/>
                  </a:lnTo>
                  <a:lnTo>
                    <a:pt x="528" y="805"/>
                  </a:lnTo>
                  <a:lnTo>
                    <a:pt x="528" y="805"/>
                  </a:lnTo>
                  <a:lnTo>
                    <a:pt x="528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2" y="803"/>
                  </a:lnTo>
                  <a:lnTo>
                    <a:pt x="532" y="803"/>
                  </a:lnTo>
                  <a:lnTo>
                    <a:pt x="532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3"/>
                  </a:lnTo>
                  <a:lnTo>
                    <a:pt x="530" y="805"/>
                  </a:lnTo>
                  <a:lnTo>
                    <a:pt x="530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4" y="805"/>
                  </a:lnTo>
                  <a:lnTo>
                    <a:pt x="532" y="805"/>
                  </a:lnTo>
                  <a:lnTo>
                    <a:pt x="532" y="805"/>
                  </a:lnTo>
                  <a:lnTo>
                    <a:pt x="532" y="803"/>
                  </a:lnTo>
                  <a:lnTo>
                    <a:pt x="532" y="803"/>
                  </a:lnTo>
                  <a:lnTo>
                    <a:pt x="532" y="803"/>
                  </a:lnTo>
                  <a:lnTo>
                    <a:pt x="534" y="803"/>
                  </a:lnTo>
                  <a:lnTo>
                    <a:pt x="534" y="803"/>
                  </a:lnTo>
                  <a:lnTo>
                    <a:pt x="534" y="803"/>
                  </a:lnTo>
                  <a:lnTo>
                    <a:pt x="534" y="803"/>
                  </a:lnTo>
                  <a:lnTo>
                    <a:pt x="534" y="803"/>
                  </a:lnTo>
                  <a:lnTo>
                    <a:pt x="534" y="803"/>
                  </a:lnTo>
                  <a:lnTo>
                    <a:pt x="534" y="801"/>
                  </a:lnTo>
                  <a:lnTo>
                    <a:pt x="534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2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30" y="801"/>
                  </a:lnTo>
                  <a:lnTo>
                    <a:pt x="528" y="801"/>
                  </a:lnTo>
                  <a:lnTo>
                    <a:pt x="528" y="801"/>
                  </a:lnTo>
                  <a:lnTo>
                    <a:pt x="528" y="803"/>
                  </a:lnTo>
                  <a:lnTo>
                    <a:pt x="528" y="803"/>
                  </a:lnTo>
                  <a:lnTo>
                    <a:pt x="528" y="803"/>
                  </a:lnTo>
                  <a:lnTo>
                    <a:pt x="525" y="805"/>
                  </a:lnTo>
                  <a:lnTo>
                    <a:pt x="525" y="805"/>
                  </a:lnTo>
                  <a:lnTo>
                    <a:pt x="525" y="805"/>
                  </a:lnTo>
                  <a:lnTo>
                    <a:pt x="523" y="805"/>
                  </a:lnTo>
                  <a:lnTo>
                    <a:pt x="523" y="805"/>
                  </a:lnTo>
                  <a:lnTo>
                    <a:pt x="523" y="805"/>
                  </a:lnTo>
                  <a:lnTo>
                    <a:pt x="523" y="805"/>
                  </a:lnTo>
                  <a:lnTo>
                    <a:pt x="523" y="803"/>
                  </a:lnTo>
                  <a:lnTo>
                    <a:pt x="525" y="803"/>
                  </a:lnTo>
                  <a:lnTo>
                    <a:pt x="525" y="803"/>
                  </a:lnTo>
                  <a:lnTo>
                    <a:pt x="525" y="805"/>
                  </a:lnTo>
                  <a:lnTo>
                    <a:pt x="525" y="805"/>
                  </a:lnTo>
                  <a:lnTo>
                    <a:pt x="525" y="805"/>
                  </a:lnTo>
                  <a:lnTo>
                    <a:pt x="525" y="803"/>
                  </a:lnTo>
                  <a:lnTo>
                    <a:pt x="525" y="803"/>
                  </a:lnTo>
                  <a:lnTo>
                    <a:pt x="525" y="803"/>
                  </a:lnTo>
                  <a:lnTo>
                    <a:pt x="525" y="803"/>
                  </a:lnTo>
                  <a:lnTo>
                    <a:pt x="525" y="803"/>
                  </a:lnTo>
                  <a:lnTo>
                    <a:pt x="528" y="801"/>
                  </a:lnTo>
                  <a:lnTo>
                    <a:pt x="528" y="803"/>
                  </a:lnTo>
                  <a:lnTo>
                    <a:pt x="525" y="803"/>
                  </a:lnTo>
                  <a:lnTo>
                    <a:pt x="525" y="803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798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801"/>
                  </a:lnTo>
                  <a:lnTo>
                    <a:pt x="525" y="803"/>
                  </a:lnTo>
                  <a:lnTo>
                    <a:pt x="523" y="803"/>
                  </a:lnTo>
                  <a:lnTo>
                    <a:pt x="523" y="803"/>
                  </a:lnTo>
                  <a:lnTo>
                    <a:pt x="523" y="803"/>
                  </a:lnTo>
                  <a:lnTo>
                    <a:pt x="523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21" y="805"/>
                  </a:lnTo>
                  <a:lnTo>
                    <a:pt x="519" y="807"/>
                  </a:lnTo>
                  <a:lnTo>
                    <a:pt x="519" y="807"/>
                  </a:lnTo>
                  <a:lnTo>
                    <a:pt x="519" y="807"/>
                  </a:lnTo>
                  <a:lnTo>
                    <a:pt x="519" y="807"/>
                  </a:lnTo>
                  <a:lnTo>
                    <a:pt x="519" y="807"/>
                  </a:lnTo>
                  <a:lnTo>
                    <a:pt x="519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4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6" y="810"/>
                  </a:lnTo>
                  <a:lnTo>
                    <a:pt x="514" y="810"/>
                  </a:lnTo>
                  <a:lnTo>
                    <a:pt x="514" y="810"/>
                  </a:lnTo>
                  <a:lnTo>
                    <a:pt x="514" y="810"/>
                  </a:lnTo>
                  <a:lnTo>
                    <a:pt x="516" y="807"/>
                  </a:lnTo>
                  <a:lnTo>
                    <a:pt x="516" y="807"/>
                  </a:lnTo>
                  <a:lnTo>
                    <a:pt x="516" y="807"/>
                  </a:lnTo>
                  <a:lnTo>
                    <a:pt x="516" y="807"/>
                  </a:lnTo>
                  <a:lnTo>
                    <a:pt x="516" y="807"/>
                  </a:lnTo>
                  <a:lnTo>
                    <a:pt x="514" y="807"/>
                  </a:lnTo>
                  <a:lnTo>
                    <a:pt x="514" y="810"/>
                  </a:lnTo>
                  <a:lnTo>
                    <a:pt x="514" y="810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4" y="807"/>
                  </a:lnTo>
                  <a:lnTo>
                    <a:pt x="512" y="807"/>
                  </a:lnTo>
                  <a:lnTo>
                    <a:pt x="512" y="807"/>
                  </a:lnTo>
                  <a:lnTo>
                    <a:pt x="512" y="810"/>
                  </a:lnTo>
                  <a:lnTo>
                    <a:pt x="512" y="810"/>
                  </a:lnTo>
                  <a:lnTo>
                    <a:pt x="514" y="810"/>
                  </a:lnTo>
                  <a:lnTo>
                    <a:pt x="514" y="810"/>
                  </a:lnTo>
                  <a:lnTo>
                    <a:pt x="514" y="810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4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0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2" y="812"/>
                  </a:lnTo>
                  <a:lnTo>
                    <a:pt x="510" y="812"/>
                  </a:lnTo>
                  <a:lnTo>
                    <a:pt x="510" y="814"/>
                  </a:lnTo>
                  <a:lnTo>
                    <a:pt x="510" y="814"/>
                  </a:lnTo>
                  <a:lnTo>
                    <a:pt x="510" y="814"/>
                  </a:lnTo>
                  <a:lnTo>
                    <a:pt x="510" y="814"/>
                  </a:lnTo>
                  <a:lnTo>
                    <a:pt x="507" y="814"/>
                  </a:lnTo>
                  <a:lnTo>
                    <a:pt x="507" y="814"/>
                  </a:lnTo>
                  <a:lnTo>
                    <a:pt x="510" y="814"/>
                  </a:lnTo>
                  <a:lnTo>
                    <a:pt x="510" y="814"/>
                  </a:lnTo>
                  <a:lnTo>
                    <a:pt x="507" y="814"/>
                  </a:lnTo>
                  <a:lnTo>
                    <a:pt x="507" y="814"/>
                  </a:lnTo>
                  <a:lnTo>
                    <a:pt x="507" y="816"/>
                  </a:lnTo>
                  <a:lnTo>
                    <a:pt x="507" y="816"/>
                  </a:lnTo>
                  <a:lnTo>
                    <a:pt x="507" y="816"/>
                  </a:lnTo>
                  <a:lnTo>
                    <a:pt x="507" y="816"/>
                  </a:lnTo>
                  <a:lnTo>
                    <a:pt x="507" y="816"/>
                  </a:lnTo>
                  <a:lnTo>
                    <a:pt x="507" y="816"/>
                  </a:lnTo>
                  <a:lnTo>
                    <a:pt x="507" y="816"/>
                  </a:lnTo>
                  <a:lnTo>
                    <a:pt x="505" y="816"/>
                  </a:lnTo>
                  <a:lnTo>
                    <a:pt x="505" y="816"/>
                  </a:lnTo>
                  <a:lnTo>
                    <a:pt x="505" y="816"/>
                  </a:lnTo>
                  <a:lnTo>
                    <a:pt x="505" y="816"/>
                  </a:lnTo>
                  <a:lnTo>
                    <a:pt x="505" y="816"/>
                  </a:lnTo>
                  <a:lnTo>
                    <a:pt x="505" y="816"/>
                  </a:lnTo>
                  <a:lnTo>
                    <a:pt x="505" y="819"/>
                  </a:lnTo>
                  <a:lnTo>
                    <a:pt x="505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3" y="819"/>
                  </a:lnTo>
                  <a:lnTo>
                    <a:pt x="501" y="819"/>
                  </a:lnTo>
                  <a:lnTo>
                    <a:pt x="501" y="819"/>
                  </a:lnTo>
                  <a:lnTo>
                    <a:pt x="501" y="819"/>
                  </a:lnTo>
                  <a:lnTo>
                    <a:pt x="501" y="819"/>
                  </a:lnTo>
                  <a:lnTo>
                    <a:pt x="501" y="816"/>
                  </a:lnTo>
                  <a:lnTo>
                    <a:pt x="501" y="816"/>
                  </a:lnTo>
                  <a:lnTo>
                    <a:pt x="501" y="816"/>
                  </a:lnTo>
                  <a:lnTo>
                    <a:pt x="501" y="816"/>
                  </a:lnTo>
                  <a:lnTo>
                    <a:pt x="501" y="814"/>
                  </a:lnTo>
                  <a:lnTo>
                    <a:pt x="501" y="814"/>
                  </a:lnTo>
                  <a:lnTo>
                    <a:pt x="501" y="814"/>
                  </a:lnTo>
                  <a:lnTo>
                    <a:pt x="501" y="816"/>
                  </a:lnTo>
                  <a:lnTo>
                    <a:pt x="501" y="816"/>
                  </a:lnTo>
                  <a:lnTo>
                    <a:pt x="498" y="816"/>
                  </a:lnTo>
                  <a:lnTo>
                    <a:pt x="498" y="816"/>
                  </a:lnTo>
                  <a:lnTo>
                    <a:pt x="498" y="816"/>
                  </a:lnTo>
                  <a:lnTo>
                    <a:pt x="498" y="816"/>
                  </a:lnTo>
                  <a:lnTo>
                    <a:pt x="496" y="816"/>
                  </a:lnTo>
                  <a:lnTo>
                    <a:pt x="496" y="816"/>
                  </a:lnTo>
                  <a:lnTo>
                    <a:pt x="496" y="816"/>
                  </a:lnTo>
                  <a:lnTo>
                    <a:pt x="496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4"/>
                  </a:lnTo>
                  <a:lnTo>
                    <a:pt x="494" y="814"/>
                  </a:lnTo>
                  <a:lnTo>
                    <a:pt x="494" y="814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4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92" y="816"/>
                  </a:lnTo>
                  <a:lnTo>
                    <a:pt x="489" y="816"/>
                  </a:lnTo>
                  <a:lnTo>
                    <a:pt x="489" y="816"/>
                  </a:lnTo>
                  <a:lnTo>
                    <a:pt x="489" y="816"/>
                  </a:lnTo>
                  <a:lnTo>
                    <a:pt x="489" y="816"/>
                  </a:lnTo>
                  <a:lnTo>
                    <a:pt x="489" y="814"/>
                  </a:lnTo>
                  <a:lnTo>
                    <a:pt x="492" y="814"/>
                  </a:lnTo>
                  <a:lnTo>
                    <a:pt x="492" y="814"/>
                  </a:lnTo>
                  <a:lnTo>
                    <a:pt x="489" y="812"/>
                  </a:lnTo>
                  <a:lnTo>
                    <a:pt x="489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4"/>
                  </a:lnTo>
                  <a:lnTo>
                    <a:pt x="494" y="814"/>
                  </a:lnTo>
                  <a:lnTo>
                    <a:pt x="494" y="814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4"/>
                  </a:lnTo>
                  <a:lnTo>
                    <a:pt x="496" y="814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2"/>
                  </a:lnTo>
                  <a:lnTo>
                    <a:pt x="496" y="810"/>
                  </a:lnTo>
                  <a:lnTo>
                    <a:pt x="496" y="810"/>
                  </a:lnTo>
                  <a:lnTo>
                    <a:pt x="496" y="810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4" y="810"/>
                  </a:lnTo>
                  <a:lnTo>
                    <a:pt x="492" y="807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0"/>
                  </a:lnTo>
                  <a:lnTo>
                    <a:pt x="492" y="812"/>
                  </a:lnTo>
                  <a:lnTo>
                    <a:pt x="492" y="812"/>
                  </a:lnTo>
                  <a:lnTo>
                    <a:pt x="489" y="812"/>
                  </a:lnTo>
                  <a:lnTo>
                    <a:pt x="489" y="812"/>
                  </a:lnTo>
                  <a:lnTo>
                    <a:pt x="489" y="810"/>
                  </a:lnTo>
                  <a:lnTo>
                    <a:pt x="489" y="810"/>
                  </a:lnTo>
                  <a:lnTo>
                    <a:pt x="489" y="810"/>
                  </a:lnTo>
                  <a:lnTo>
                    <a:pt x="489" y="810"/>
                  </a:lnTo>
                  <a:lnTo>
                    <a:pt x="489" y="810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92" y="805"/>
                  </a:lnTo>
                  <a:lnTo>
                    <a:pt x="489" y="805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7"/>
                  </a:lnTo>
                  <a:lnTo>
                    <a:pt x="489" y="805"/>
                  </a:lnTo>
                  <a:lnTo>
                    <a:pt x="489" y="805"/>
                  </a:lnTo>
                  <a:lnTo>
                    <a:pt x="489" y="805"/>
                  </a:lnTo>
                  <a:lnTo>
                    <a:pt x="489" y="805"/>
                  </a:lnTo>
                  <a:lnTo>
                    <a:pt x="492" y="805"/>
                  </a:lnTo>
                  <a:lnTo>
                    <a:pt x="492" y="805"/>
                  </a:lnTo>
                  <a:lnTo>
                    <a:pt x="492" y="805"/>
                  </a:lnTo>
                  <a:lnTo>
                    <a:pt x="489" y="805"/>
                  </a:lnTo>
                  <a:lnTo>
                    <a:pt x="489" y="805"/>
                  </a:lnTo>
                  <a:lnTo>
                    <a:pt x="489" y="805"/>
                  </a:lnTo>
                  <a:lnTo>
                    <a:pt x="489" y="803"/>
                  </a:lnTo>
                  <a:lnTo>
                    <a:pt x="489" y="803"/>
                  </a:lnTo>
                  <a:lnTo>
                    <a:pt x="489" y="803"/>
                  </a:lnTo>
                  <a:lnTo>
                    <a:pt x="489" y="803"/>
                  </a:lnTo>
                  <a:lnTo>
                    <a:pt x="489" y="803"/>
                  </a:lnTo>
                  <a:lnTo>
                    <a:pt x="489" y="801"/>
                  </a:lnTo>
                  <a:lnTo>
                    <a:pt x="489" y="801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8"/>
                  </a:lnTo>
                  <a:lnTo>
                    <a:pt x="489" y="796"/>
                  </a:lnTo>
                  <a:lnTo>
                    <a:pt x="489" y="796"/>
                  </a:lnTo>
                  <a:lnTo>
                    <a:pt x="489" y="796"/>
                  </a:lnTo>
                  <a:lnTo>
                    <a:pt x="492" y="796"/>
                  </a:lnTo>
                  <a:lnTo>
                    <a:pt x="492" y="796"/>
                  </a:lnTo>
                  <a:lnTo>
                    <a:pt x="489" y="796"/>
                  </a:lnTo>
                  <a:lnTo>
                    <a:pt x="489" y="796"/>
                  </a:lnTo>
                  <a:lnTo>
                    <a:pt x="489" y="796"/>
                  </a:lnTo>
                  <a:lnTo>
                    <a:pt x="489" y="794"/>
                  </a:lnTo>
                  <a:lnTo>
                    <a:pt x="489" y="794"/>
                  </a:lnTo>
                  <a:lnTo>
                    <a:pt x="489" y="794"/>
                  </a:lnTo>
                  <a:lnTo>
                    <a:pt x="489" y="794"/>
                  </a:lnTo>
                  <a:lnTo>
                    <a:pt x="489" y="794"/>
                  </a:lnTo>
                  <a:lnTo>
                    <a:pt x="492" y="794"/>
                  </a:lnTo>
                  <a:lnTo>
                    <a:pt x="492" y="794"/>
                  </a:lnTo>
                  <a:lnTo>
                    <a:pt x="492" y="792"/>
                  </a:lnTo>
                  <a:lnTo>
                    <a:pt x="492" y="792"/>
                  </a:lnTo>
                  <a:lnTo>
                    <a:pt x="492" y="789"/>
                  </a:lnTo>
                  <a:lnTo>
                    <a:pt x="492" y="789"/>
                  </a:lnTo>
                  <a:lnTo>
                    <a:pt x="492" y="787"/>
                  </a:lnTo>
                  <a:lnTo>
                    <a:pt x="494" y="787"/>
                  </a:lnTo>
                  <a:lnTo>
                    <a:pt x="494" y="787"/>
                  </a:lnTo>
                  <a:lnTo>
                    <a:pt x="494" y="785"/>
                  </a:lnTo>
                  <a:lnTo>
                    <a:pt x="494" y="785"/>
                  </a:lnTo>
                  <a:lnTo>
                    <a:pt x="494" y="785"/>
                  </a:lnTo>
                  <a:lnTo>
                    <a:pt x="494" y="785"/>
                  </a:lnTo>
                  <a:lnTo>
                    <a:pt x="494" y="785"/>
                  </a:lnTo>
                  <a:lnTo>
                    <a:pt x="494" y="785"/>
                  </a:lnTo>
                  <a:lnTo>
                    <a:pt x="494" y="787"/>
                  </a:lnTo>
                  <a:lnTo>
                    <a:pt x="494" y="787"/>
                  </a:lnTo>
                  <a:lnTo>
                    <a:pt x="494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7"/>
                  </a:lnTo>
                  <a:lnTo>
                    <a:pt x="496" y="789"/>
                  </a:lnTo>
                  <a:lnTo>
                    <a:pt x="496" y="789"/>
                  </a:lnTo>
                  <a:lnTo>
                    <a:pt x="496" y="789"/>
                  </a:lnTo>
                  <a:lnTo>
                    <a:pt x="496" y="789"/>
                  </a:lnTo>
                  <a:lnTo>
                    <a:pt x="496" y="792"/>
                  </a:lnTo>
                  <a:lnTo>
                    <a:pt x="496" y="792"/>
                  </a:lnTo>
                  <a:lnTo>
                    <a:pt x="496" y="792"/>
                  </a:lnTo>
                  <a:lnTo>
                    <a:pt x="496" y="792"/>
                  </a:lnTo>
                  <a:lnTo>
                    <a:pt x="496" y="792"/>
                  </a:lnTo>
                  <a:lnTo>
                    <a:pt x="496" y="789"/>
                  </a:lnTo>
                  <a:lnTo>
                    <a:pt x="496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7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9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7"/>
                  </a:lnTo>
                  <a:lnTo>
                    <a:pt x="498" y="785"/>
                  </a:lnTo>
                  <a:lnTo>
                    <a:pt x="496" y="785"/>
                  </a:lnTo>
                  <a:lnTo>
                    <a:pt x="498" y="785"/>
                  </a:lnTo>
                  <a:lnTo>
                    <a:pt x="498" y="785"/>
                  </a:lnTo>
                  <a:lnTo>
                    <a:pt x="498" y="785"/>
                  </a:lnTo>
                  <a:lnTo>
                    <a:pt x="498" y="783"/>
                  </a:lnTo>
                  <a:lnTo>
                    <a:pt x="498" y="783"/>
                  </a:lnTo>
                  <a:lnTo>
                    <a:pt x="498" y="783"/>
                  </a:lnTo>
                  <a:lnTo>
                    <a:pt x="498" y="785"/>
                  </a:lnTo>
                  <a:lnTo>
                    <a:pt x="498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5"/>
                  </a:lnTo>
                  <a:lnTo>
                    <a:pt x="496" y="783"/>
                  </a:lnTo>
                  <a:lnTo>
                    <a:pt x="498" y="780"/>
                  </a:lnTo>
                  <a:lnTo>
                    <a:pt x="498" y="780"/>
                  </a:lnTo>
                  <a:lnTo>
                    <a:pt x="498" y="778"/>
                  </a:lnTo>
                  <a:lnTo>
                    <a:pt x="498" y="776"/>
                  </a:lnTo>
                  <a:lnTo>
                    <a:pt x="498" y="776"/>
                  </a:lnTo>
                  <a:lnTo>
                    <a:pt x="498" y="776"/>
                  </a:lnTo>
                  <a:lnTo>
                    <a:pt x="498" y="776"/>
                  </a:lnTo>
                  <a:lnTo>
                    <a:pt x="498" y="776"/>
                  </a:lnTo>
                  <a:lnTo>
                    <a:pt x="498" y="776"/>
                  </a:lnTo>
                  <a:lnTo>
                    <a:pt x="498" y="776"/>
                  </a:lnTo>
                  <a:lnTo>
                    <a:pt x="498" y="774"/>
                  </a:lnTo>
                  <a:lnTo>
                    <a:pt x="498" y="774"/>
                  </a:lnTo>
                  <a:lnTo>
                    <a:pt x="498" y="774"/>
                  </a:lnTo>
                  <a:lnTo>
                    <a:pt x="498" y="774"/>
                  </a:lnTo>
                  <a:lnTo>
                    <a:pt x="498" y="774"/>
                  </a:lnTo>
                  <a:lnTo>
                    <a:pt x="496" y="774"/>
                  </a:lnTo>
                  <a:lnTo>
                    <a:pt x="496" y="774"/>
                  </a:lnTo>
                  <a:lnTo>
                    <a:pt x="496" y="774"/>
                  </a:lnTo>
                  <a:lnTo>
                    <a:pt x="496" y="774"/>
                  </a:lnTo>
                  <a:lnTo>
                    <a:pt x="496" y="774"/>
                  </a:lnTo>
                  <a:lnTo>
                    <a:pt x="498" y="771"/>
                  </a:lnTo>
                  <a:lnTo>
                    <a:pt x="498" y="769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7"/>
                  </a:lnTo>
                  <a:lnTo>
                    <a:pt x="498" y="765"/>
                  </a:lnTo>
                  <a:lnTo>
                    <a:pt x="498" y="765"/>
                  </a:lnTo>
                  <a:lnTo>
                    <a:pt x="498" y="762"/>
                  </a:lnTo>
                  <a:lnTo>
                    <a:pt x="498" y="762"/>
                  </a:lnTo>
                  <a:lnTo>
                    <a:pt x="501" y="762"/>
                  </a:lnTo>
                  <a:lnTo>
                    <a:pt x="501" y="760"/>
                  </a:lnTo>
                  <a:lnTo>
                    <a:pt x="501" y="760"/>
                  </a:lnTo>
                  <a:lnTo>
                    <a:pt x="501" y="760"/>
                  </a:lnTo>
                  <a:lnTo>
                    <a:pt x="501" y="758"/>
                  </a:lnTo>
                  <a:lnTo>
                    <a:pt x="501" y="758"/>
                  </a:lnTo>
                  <a:lnTo>
                    <a:pt x="501" y="756"/>
                  </a:lnTo>
                  <a:lnTo>
                    <a:pt x="501" y="756"/>
                  </a:lnTo>
                  <a:lnTo>
                    <a:pt x="503" y="756"/>
                  </a:lnTo>
                  <a:lnTo>
                    <a:pt x="503" y="756"/>
                  </a:lnTo>
                  <a:lnTo>
                    <a:pt x="503" y="756"/>
                  </a:lnTo>
                  <a:lnTo>
                    <a:pt x="503" y="756"/>
                  </a:lnTo>
                  <a:lnTo>
                    <a:pt x="503" y="756"/>
                  </a:lnTo>
                  <a:lnTo>
                    <a:pt x="503" y="756"/>
                  </a:lnTo>
                  <a:lnTo>
                    <a:pt x="503" y="756"/>
                  </a:lnTo>
                  <a:lnTo>
                    <a:pt x="503" y="753"/>
                  </a:lnTo>
                  <a:lnTo>
                    <a:pt x="503" y="753"/>
                  </a:lnTo>
                  <a:lnTo>
                    <a:pt x="505" y="753"/>
                  </a:lnTo>
                  <a:lnTo>
                    <a:pt x="505" y="753"/>
                  </a:lnTo>
                  <a:lnTo>
                    <a:pt x="505" y="753"/>
                  </a:lnTo>
                  <a:lnTo>
                    <a:pt x="505" y="753"/>
                  </a:lnTo>
                  <a:lnTo>
                    <a:pt x="505" y="751"/>
                  </a:lnTo>
                  <a:lnTo>
                    <a:pt x="507" y="749"/>
                  </a:lnTo>
                  <a:lnTo>
                    <a:pt x="507" y="749"/>
                  </a:lnTo>
                  <a:lnTo>
                    <a:pt x="507" y="749"/>
                  </a:lnTo>
                  <a:lnTo>
                    <a:pt x="510" y="749"/>
                  </a:lnTo>
                  <a:lnTo>
                    <a:pt x="510" y="749"/>
                  </a:lnTo>
                  <a:lnTo>
                    <a:pt x="510" y="749"/>
                  </a:lnTo>
                  <a:lnTo>
                    <a:pt x="510" y="749"/>
                  </a:lnTo>
                  <a:lnTo>
                    <a:pt x="510" y="749"/>
                  </a:lnTo>
                  <a:lnTo>
                    <a:pt x="507" y="749"/>
                  </a:lnTo>
                  <a:lnTo>
                    <a:pt x="507" y="751"/>
                  </a:lnTo>
                  <a:close/>
                  <a:moveTo>
                    <a:pt x="514" y="749"/>
                  </a:move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2" y="749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2" y="751"/>
                  </a:lnTo>
                  <a:lnTo>
                    <a:pt x="510" y="751"/>
                  </a:lnTo>
                  <a:lnTo>
                    <a:pt x="510" y="751"/>
                  </a:lnTo>
                  <a:lnTo>
                    <a:pt x="510" y="751"/>
                  </a:lnTo>
                  <a:lnTo>
                    <a:pt x="510" y="749"/>
                  </a:lnTo>
                  <a:lnTo>
                    <a:pt x="512" y="749"/>
                  </a:lnTo>
                  <a:lnTo>
                    <a:pt x="512" y="749"/>
                  </a:lnTo>
                  <a:lnTo>
                    <a:pt x="512" y="747"/>
                  </a:lnTo>
                  <a:lnTo>
                    <a:pt x="514" y="747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lnTo>
                    <a:pt x="514" y="749"/>
                  </a:lnTo>
                  <a:close/>
                  <a:moveTo>
                    <a:pt x="577" y="747"/>
                  </a:moveTo>
                  <a:lnTo>
                    <a:pt x="577" y="747"/>
                  </a:lnTo>
                  <a:lnTo>
                    <a:pt x="577" y="747"/>
                  </a:lnTo>
                  <a:lnTo>
                    <a:pt x="577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5" y="747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7" y="744"/>
                  </a:lnTo>
                  <a:lnTo>
                    <a:pt x="577" y="747"/>
                  </a:lnTo>
                  <a:lnTo>
                    <a:pt x="577" y="747"/>
                  </a:lnTo>
                  <a:lnTo>
                    <a:pt x="577" y="747"/>
                  </a:lnTo>
                  <a:lnTo>
                    <a:pt x="577" y="747"/>
                  </a:lnTo>
                  <a:lnTo>
                    <a:pt x="577" y="747"/>
                  </a:lnTo>
                  <a:close/>
                  <a:moveTo>
                    <a:pt x="514" y="742"/>
                  </a:moveTo>
                  <a:lnTo>
                    <a:pt x="512" y="744"/>
                  </a:lnTo>
                  <a:lnTo>
                    <a:pt x="512" y="744"/>
                  </a:lnTo>
                  <a:lnTo>
                    <a:pt x="512" y="744"/>
                  </a:lnTo>
                  <a:lnTo>
                    <a:pt x="510" y="747"/>
                  </a:lnTo>
                  <a:lnTo>
                    <a:pt x="510" y="747"/>
                  </a:lnTo>
                  <a:lnTo>
                    <a:pt x="510" y="747"/>
                  </a:lnTo>
                  <a:lnTo>
                    <a:pt x="510" y="747"/>
                  </a:lnTo>
                  <a:lnTo>
                    <a:pt x="510" y="744"/>
                  </a:lnTo>
                  <a:lnTo>
                    <a:pt x="510" y="744"/>
                  </a:lnTo>
                  <a:lnTo>
                    <a:pt x="510" y="744"/>
                  </a:lnTo>
                  <a:lnTo>
                    <a:pt x="510" y="744"/>
                  </a:lnTo>
                  <a:lnTo>
                    <a:pt x="512" y="744"/>
                  </a:lnTo>
                  <a:lnTo>
                    <a:pt x="512" y="744"/>
                  </a:lnTo>
                  <a:lnTo>
                    <a:pt x="512" y="744"/>
                  </a:lnTo>
                  <a:lnTo>
                    <a:pt x="512" y="744"/>
                  </a:lnTo>
                  <a:lnTo>
                    <a:pt x="512" y="744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close/>
                  <a:moveTo>
                    <a:pt x="514" y="744"/>
                  </a:moveTo>
                  <a:lnTo>
                    <a:pt x="514" y="744"/>
                  </a:lnTo>
                  <a:lnTo>
                    <a:pt x="514" y="744"/>
                  </a:lnTo>
                  <a:lnTo>
                    <a:pt x="514" y="744"/>
                  </a:lnTo>
                  <a:lnTo>
                    <a:pt x="514" y="744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4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4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2"/>
                  </a:lnTo>
                  <a:lnTo>
                    <a:pt x="516" y="744"/>
                  </a:lnTo>
                  <a:lnTo>
                    <a:pt x="516" y="744"/>
                  </a:lnTo>
                  <a:lnTo>
                    <a:pt x="516" y="744"/>
                  </a:lnTo>
                  <a:lnTo>
                    <a:pt x="516" y="744"/>
                  </a:lnTo>
                  <a:lnTo>
                    <a:pt x="514" y="744"/>
                  </a:lnTo>
                  <a:lnTo>
                    <a:pt x="514" y="744"/>
                  </a:lnTo>
                  <a:close/>
                  <a:moveTo>
                    <a:pt x="584" y="742"/>
                  </a:moveTo>
                  <a:lnTo>
                    <a:pt x="584" y="742"/>
                  </a:lnTo>
                  <a:lnTo>
                    <a:pt x="584" y="742"/>
                  </a:lnTo>
                  <a:lnTo>
                    <a:pt x="584" y="742"/>
                  </a:lnTo>
                  <a:lnTo>
                    <a:pt x="584" y="742"/>
                  </a:lnTo>
                  <a:lnTo>
                    <a:pt x="584" y="744"/>
                  </a:lnTo>
                  <a:lnTo>
                    <a:pt x="584" y="744"/>
                  </a:lnTo>
                  <a:lnTo>
                    <a:pt x="584" y="744"/>
                  </a:lnTo>
                  <a:lnTo>
                    <a:pt x="584" y="742"/>
                  </a:lnTo>
                  <a:lnTo>
                    <a:pt x="584" y="744"/>
                  </a:lnTo>
                  <a:lnTo>
                    <a:pt x="584" y="744"/>
                  </a:lnTo>
                  <a:lnTo>
                    <a:pt x="584" y="744"/>
                  </a:lnTo>
                  <a:lnTo>
                    <a:pt x="584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82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9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7" y="744"/>
                  </a:lnTo>
                  <a:lnTo>
                    <a:pt x="575" y="744"/>
                  </a:lnTo>
                  <a:lnTo>
                    <a:pt x="575" y="742"/>
                  </a:lnTo>
                  <a:lnTo>
                    <a:pt x="575" y="742"/>
                  </a:lnTo>
                  <a:lnTo>
                    <a:pt x="575" y="742"/>
                  </a:lnTo>
                  <a:lnTo>
                    <a:pt x="575" y="742"/>
                  </a:lnTo>
                  <a:lnTo>
                    <a:pt x="575" y="742"/>
                  </a:lnTo>
                  <a:lnTo>
                    <a:pt x="575" y="742"/>
                  </a:lnTo>
                  <a:lnTo>
                    <a:pt x="577" y="742"/>
                  </a:lnTo>
                  <a:lnTo>
                    <a:pt x="577" y="742"/>
                  </a:lnTo>
                  <a:lnTo>
                    <a:pt x="577" y="742"/>
                  </a:lnTo>
                  <a:lnTo>
                    <a:pt x="579" y="742"/>
                  </a:lnTo>
                  <a:lnTo>
                    <a:pt x="579" y="742"/>
                  </a:lnTo>
                  <a:lnTo>
                    <a:pt x="579" y="742"/>
                  </a:lnTo>
                  <a:lnTo>
                    <a:pt x="579" y="742"/>
                  </a:lnTo>
                  <a:lnTo>
                    <a:pt x="579" y="742"/>
                  </a:lnTo>
                  <a:lnTo>
                    <a:pt x="582" y="740"/>
                  </a:lnTo>
                  <a:lnTo>
                    <a:pt x="582" y="740"/>
                  </a:lnTo>
                  <a:lnTo>
                    <a:pt x="582" y="740"/>
                  </a:lnTo>
                  <a:lnTo>
                    <a:pt x="582" y="740"/>
                  </a:lnTo>
                  <a:lnTo>
                    <a:pt x="582" y="740"/>
                  </a:lnTo>
                  <a:lnTo>
                    <a:pt x="584" y="740"/>
                  </a:lnTo>
                  <a:lnTo>
                    <a:pt x="584" y="740"/>
                  </a:lnTo>
                  <a:lnTo>
                    <a:pt x="584" y="740"/>
                  </a:lnTo>
                  <a:lnTo>
                    <a:pt x="584" y="740"/>
                  </a:lnTo>
                  <a:lnTo>
                    <a:pt x="584" y="742"/>
                  </a:lnTo>
                  <a:lnTo>
                    <a:pt x="584" y="742"/>
                  </a:lnTo>
                  <a:close/>
                  <a:moveTo>
                    <a:pt x="584" y="726"/>
                  </a:moveTo>
                  <a:lnTo>
                    <a:pt x="586" y="731"/>
                  </a:lnTo>
                  <a:lnTo>
                    <a:pt x="586" y="731"/>
                  </a:lnTo>
                  <a:lnTo>
                    <a:pt x="586" y="731"/>
                  </a:lnTo>
                  <a:lnTo>
                    <a:pt x="586" y="731"/>
                  </a:lnTo>
                  <a:lnTo>
                    <a:pt x="588" y="733"/>
                  </a:lnTo>
                  <a:lnTo>
                    <a:pt x="588" y="733"/>
                  </a:lnTo>
                  <a:lnTo>
                    <a:pt x="586" y="735"/>
                  </a:lnTo>
                  <a:lnTo>
                    <a:pt x="586" y="735"/>
                  </a:lnTo>
                  <a:lnTo>
                    <a:pt x="584" y="735"/>
                  </a:lnTo>
                  <a:lnTo>
                    <a:pt x="584" y="735"/>
                  </a:lnTo>
                  <a:lnTo>
                    <a:pt x="584" y="735"/>
                  </a:lnTo>
                  <a:lnTo>
                    <a:pt x="584" y="735"/>
                  </a:lnTo>
                  <a:lnTo>
                    <a:pt x="586" y="735"/>
                  </a:lnTo>
                  <a:lnTo>
                    <a:pt x="586" y="735"/>
                  </a:lnTo>
                  <a:lnTo>
                    <a:pt x="586" y="735"/>
                  </a:lnTo>
                  <a:lnTo>
                    <a:pt x="586" y="735"/>
                  </a:lnTo>
                  <a:lnTo>
                    <a:pt x="586" y="738"/>
                  </a:lnTo>
                  <a:lnTo>
                    <a:pt x="586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4" y="738"/>
                  </a:lnTo>
                  <a:lnTo>
                    <a:pt x="582" y="738"/>
                  </a:lnTo>
                  <a:lnTo>
                    <a:pt x="582" y="738"/>
                  </a:lnTo>
                  <a:lnTo>
                    <a:pt x="582" y="738"/>
                  </a:lnTo>
                  <a:lnTo>
                    <a:pt x="582" y="740"/>
                  </a:lnTo>
                  <a:lnTo>
                    <a:pt x="582" y="740"/>
                  </a:lnTo>
                  <a:lnTo>
                    <a:pt x="582" y="740"/>
                  </a:lnTo>
                  <a:lnTo>
                    <a:pt x="579" y="740"/>
                  </a:lnTo>
                  <a:lnTo>
                    <a:pt x="579" y="740"/>
                  </a:lnTo>
                  <a:lnTo>
                    <a:pt x="579" y="740"/>
                  </a:lnTo>
                  <a:lnTo>
                    <a:pt x="579" y="738"/>
                  </a:lnTo>
                  <a:lnTo>
                    <a:pt x="579" y="738"/>
                  </a:lnTo>
                  <a:lnTo>
                    <a:pt x="579" y="738"/>
                  </a:lnTo>
                  <a:lnTo>
                    <a:pt x="579" y="738"/>
                  </a:lnTo>
                  <a:lnTo>
                    <a:pt x="579" y="738"/>
                  </a:lnTo>
                  <a:lnTo>
                    <a:pt x="579" y="738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5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3"/>
                  </a:lnTo>
                  <a:lnTo>
                    <a:pt x="579" y="731"/>
                  </a:lnTo>
                  <a:lnTo>
                    <a:pt x="582" y="731"/>
                  </a:lnTo>
                  <a:lnTo>
                    <a:pt x="582" y="731"/>
                  </a:lnTo>
                  <a:lnTo>
                    <a:pt x="579" y="731"/>
                  </a:lnTo>
                  <a:lnTo>
                    <a:pt x="579" y="731"/>
                  </a:lnTo>
                  <a:lnTo>
                    <a:pt x="579" y="731"/>
                  </a:lnTo>
                  <a:lnTo>
                    <a:pt x="579" y="731"/>
                  </a:lnTo>
                  <a:lnTo>
                    <a:pt x="579" y="731"/>
                  </a:lnTo>
                  <a:lnTo>
                    <a:pt x="579" y="729"/>
                  </a:lnTo>
                  <a:lnTo>
                    <a:pt x="579" y="729"/>
                  </a:lnTo>
                  <a:lnTo>
                    <a:pt x="582" y="729"/>
                  </a:lnTo>
                  <a:lnTo>
                    <a:pt x="582" y="729"/>
                  </a:lnTo>
                  <a:lnTo>
                    <a:pt x="582" y="729"/>
                  </a:lnTo>
                  <a:lnTo>
                    <a:pt x="582" y="729"/>
                  </a:lnTo>
                  <a:lnTo>
                    <a:pt x="582" y="729"/>
                  </a:lnTo>
                  <a:lnTo>
                    <a:pt x="582" y="729"/>
                  </a:lnTo>
                  <a:lnTo>
                    <a:pt x="582" y="726"/>
                  </a:lnTo>
                  <a:lnTo>
                    <a:pt x="582" y="726"/>
                  </a:lnTo>
                  <a:lnTo>
                    <a:pt x="582" y="726"/>
                  </a:lnTo>
                  <a:lnTo>
                    <a:pt x="582" y="726"/>
                  </a:lnTo>
                  <a:lnTo>
                    <a:pt x="584" y="726"/>
                  </a:lnTo>
                  <a:lnTo>
                    <a:pt x="584" y="726"/>
                  </a:lnTo>
                  <a:lnTo>
                    <a:pt x="584" y="726"/>
                  </a:lnTo>
                  <a:lnTo>
                    <a:pt x="584" y="726"/>
                  </a:lnTo>
                  <a:close/>
                  <a:moveTo>
                    <a:pt x="505" y="733"/>
                  </a:moveTo>
                  <a:lnTo>
                    <a:pt x="505" y="735"/>
                  </a:lnTo>
                  <a:lnTo>
                    <a:pt x="505" y="735"/>
                  </a:lnTo>
                  <a:lnTo>
                    <a:pt x="503" y="735"/>
                  </a:lnTo>
                  <a:lnTo>
                    <a:pt x="503" y="735"/>
                  </a:lnTo>
                  <a:lnTo>
                    <a:pt x="503" y="735"/>
                  </a:lnTo>
                  <a:lnTo>
                    <a:pt x="501" y="735"/>
                  </a:lnTo>
                  <a:lnTo>
                    <a:pt x="501" y="735"/>
                  </a:lnTo>
                  <a:lnTo>
                    <a:pt x="501" y="735"/>
                  </a:lnTo>
                  <a:lnTo>
                    <a:pt x="501" y="735"/>
                  </a:lnTo>
                  <a:lnTo>
                    <a:pt x="501" y="733"/>
                  </a:lnTo>
                  <a:lnTo>
                    <a:pt x="501" y="733"/>
                  </a:lnTo>
                  <a:lnTo>
                    <a:pt x="501" y="733"/>
                  </a:lnTo>
                  <a:lnTo>
                    <a:pt x="503" y="733"/>
                  </a:lnTo>
                  <a:lnTo>
                    <a:pt x="503" y="733"/>
                  </a:lnTo>
                  <a:lnTo>
                    <a:pt x="503" y="733"/>
                  </a:lnTo>
                  <a:lnTo>
                    <a:pt x="501" y="731"/>
                  </a:lnTo>
                  <a:lnTo>
                    <a:pt x="501" y="731"/>
                  </a:lnTo>
                  <a:lnTo>
                    <a:pt x="503" y="731"/>
                  </a:lnTo>
                  <a:lnTo>
                    <a:pt x="503" y="731"/>
                  </a:lnTo>
                  <a:lnTo>
                    <a:pt x="503" y="729"/>
                  </a:lnTo>
                  <a:lnTo>
                    <a:pt x="503" y="729"/>
                  </a:lnTo>
                  <a:lnTo>
                    <a:pt x="503" y="729"/>
                  </a:lnTo>
                  <a:lnTo>
                    <a:pt x="505" y="729"/>
                  </a:lnTo>
                  <a:lnTo>
                    <a:pt x="505" y="729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5" y="726"/>
                  </a:lnTo>
                  <a:lnTo>
                    <a:pt x="507" y="726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07" y="724"/>
                  </a:lnTo>
                  <a:lnTo>
                    <a:pt x="510" y="724"/>
                  </a:lnTo>
                  <a:lnTo>
                    <a:pt x="510" y="724"/>
                  </a:lnTo>
                  <a:lnTo>
                    <a:pt x="510" y="722"/>
                  </a:lnTo>
                  <a:lnTo>
                    <a:pt x="510" y="722"/>
                  </a:lnTo>
                  <a:lnTo>
                    <a:pt x="510" y="722"/>
                  </a:lnTo>
                  <a:lnTo>
                    <a:pt x="510" y="724"/>
                  </a:lnTo>
                  <a:lnTo>
                    <a:pt x="510" y="724"/>
                  </a:lnTo>
                  <a:lnTo>
                    <a:pt x="510" y="724"/>
                  </a:lnTo>
                  <a:lnTo>
                    <a:pt x="510" y="724"/>
                  </a:lnTo>
                  <a:lnTo>
                    <a:pt x="510" y="724"/>
                  </a:lnTo>
                  <a:lnTo>
                    <a:pt x="510" y="724"/>
                  </a:lnTo>
                  <a:lnTo>
                    <a:pt x="510" y="726"/>
                  </a:lnTo>
                  <a:lnTo>
                    <a:pt x="510" y="726"/>
                  </a:lnTo>
                  <a:lnTo>
                    <a:pt x="510" y="726"/>
                  </a:lnTo>
                  <a:lnTo>
                    <a:pt x="510" y="729"/>
                  </a:lnTo>
                  <a:lnTo>
                    <a:pt x="510" y="729"/>
                  </a:lnTo>
                  <a:lnTo>
                    <a:pt x="510" y="729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1"/>
                  </a:lnTo>
                  <a:lnTo>
                    <a:pt x="507" y="733"/>
                  </a:lnTo>
                  <a:lnTo>
                    <a:pt x="507" y="733"/>
                  </a:lnTo>
                  <a:lnTo>
                    <a:pt x="507" y="733"/>
                  </a:lnTo>
                  <a:lnTo>
                    <a:pt x="505" y="733"/>
                  </a:lnTo>
                  <a:lnTo>
                    <a:pt x="505" y="733"/>
                  </a:lnTo>
                  <a:lnTo>
                    <a:pt x="505" y="733"/>
                  </a:lnTo>
                  <a:lnTo>
                    <a:pt x="505" y="733"/>
                  </a:lnTo>
                  <a:lnTo>
                    <a:pt x="505" y="733"/>
                  </a:lnTo>
                  <a:lnTo>
                    <a:pt x="505" y="733"/>
                  </a:lnTo>
                  <a:lnTo>
                    <a:pt x="505" y="733"/>
                  </a:lnTo>
                  <a:close/>
                  <a:moveTo>
                    <a:pt x="570" y="704"/>
                  </a:moveTo>
                  <a:lnTo>
                    <a:pt x="570" y="704"/>
                  </a:lnTo>
                  <a:lnTo>
                    <a:pt x="570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3" y="704"/>
                  </a:lnTo>
                  <a:lnTo>
                    <a:pt x="570" y="704"/>
                  </a:lnTo>
                  <a:lnTo>
                    <a:pt x="570" y="704"/>
                  </a:lnTo>
                  <a:lnTo>
                    <a:pt x="570" y="704"/>
                  </a:lnTo>
                  <a:lnTo>
                    <a:pt x="570" y="704"/>
                  </a:lnTo>
                  <a:lnTo>
                    <a:pt x="570" y="704"/>
                  </a:lnTo>
                  <a:lnTo>
                    <a:pt x="570" y="704"/>
                  </a:lnTo>
                  <a:lnTo>
                    <a:pt x="570" y="704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70" y="704"/>
                  </a:lnTo>
                  <a:close/>
                  <a:moveTo>
                    <a:pt x="550" y="697"/>
                  </a:moveTo>
                  <a:lnTo>
                    <a:pt x="550" y="697"/>
                  </a:lnTo>
                  <a:lnTo>
                    <a:pt x="550" y="697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8" y="699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6" y="697"/>
                  </a:lnTo>
                  <a:lnTo>
                    <a:pt x="546" y="697"/>
                  </a:lnTo>
                  <a:lnTo>
                    <a:pt x="546" y="697"/>
                  </a:lnTo>
                  <a:lnTo>
                    <a:pt x="546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48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0" y="697"/>
                  </a:lnTo>
                  <a:close/>
                  <a:moveTo>
                    <a:pt x="552" y="693"/>
                  </a:moveTo>
                  <a:lnTo>
                    <a:pt x="555" y="693"/>
                  </a:lnTo>
                  <a:lnTo>
                    <a:pt x="555" y="693"/>
                  </a:lnTo>
                  <a:lnTo>
                    <a:pt x="555" y="693"/>
                  </a:lnTo>
                  <a:lnTo>
                    <a:pt x="555" y="693"/>
                  </a:lnTo>
                  <a:lnTo>
                    <a:pt x="555" y="693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2" y="695"/>
                  </a:lnTo>
                  <a:lnTo>
                    <a:pt x="552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close/>
                  <a:moveTo>
                    <a:pt x="435" y="627"/>
                  </a:moveTo>
                  <a:lnTo>
                    <a:pt x="435" y="627"/>
                  </a:lnTo>
                  <a:lnTo>
                    <a:pt x="435" y="630"/>
                  </a:lnTo>
                  <a:lnTo>
                    <a:pt x="435" y="630"/>
                  </a:lnTo>
                  <a:lnTo>
                    <a:pt x="433" y="630"/>
                  </a:lnTo>
                  <a:lnTo>
                    <a:pt x="433" y="630"/>
                  </a:lnTo>
                  <a:lnTo>
                    <a:pt x="433" y="630"/>
                  </a:lnTo>
                  <a:lnTo>
                    <a:pt x="433" y="630"/>
                  </a:lnTo>
                  <a:lnTo>
                    <a:pt x="433" y="630"/>
                  </a:lnTo>
                  <a:lnTo>
                    <a:pt x="435" y="630"/>
                  </a:lnTo>
                  <a:lnTo>
                    <a:pt x="435" y="630"/>
                  </a:lnTo>
                  <a:lnTo>
                    <a:pt x="433" y="630"/>
                  </a:lnTo>
                  <a:lnTo>
                    <a:pt x="433" y="632"/>
                  </a:lnTo>
                  <a:lnTo>
                    <a:pt x="433" y="632"/>
                  </a:lnTo>
                  <a:lnTo>
                    <a:pt x="433" y="632"/>
                  </a:lnTo>
                  <a:lnTo>
                    <a:pt x="433" y="632"/>
                  </a:lnTo>
                  <a:lnTo>
                    <a:pt x="433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2"/>
                  </a:lnTo>
                  <a:lnTo>
                    <a:pt x="435" y="634"/>
                  </a:lnTo>
                  <a:lnTo>
                    <a:pt x="435" y="634"/>
                  </a:lnTo>
                  <a:lnTo>
                    <a:pt x="435" y="634"/>
                  </a:lnTo>
                  <a:lnTo>
                    <a:pt x="438" y="634"/>
                  </a:lnTo>
                  <a:lnTo>
                    <a:pt x="438" y="634"/>
                  </a:lnTo>
                  <a:lnTo>
                    <a:pt x="438" y="632"/>
                  </a:lnTo>
                  <a:lnTo>
                    <a:pt x="438" y="632"/>
                  </a:lnTo>
                  <a:lnTo>
                    <a:pt x="438" y="632"/>
                  </a:lnTo>
                  <a:lnTo>
                    <a:pt x="438" y="632"/>
                  </a:lnTo>
                  <a:lnTo>
                    <a:pt x="440" y="632"/>
                  </a:lnTo>
                  <a:lnTo>
                    <a:pt x="440" y="632"/>
                  </a:lnTo>
                  <a:lnTo>
                    <a:pt x="440" y="632"/>
                  </a:lnTo>
                  <a:lnTo>
                    <a:pt x="442" y="632"/>
                  </a:lnTo>
                  <a:lnTo>
                    <a:pt x="442" y="632"/>
                  </a:lnTo>
                  <a:lnTo>
                    <a:pt x="442" y="632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2" y="634"/>
                  </a:lnTo>
                  <a:lnTo>
                    <a:pt x="440" y="634"/>
                  </a:lnTo>
                  <a:lnTo>
                    <a:pt x="440" y="634"/>
                  </a:lnTo>
                  <a:lnTo>
                    <a:pt x="440" y="636"/>
                  </a:lnTo>
                  <a:lnTo>
                    <a:pt x="440" y="636"/>
                  </a:lnTo>
                  <a:lnTo>
                    <a:pt x="440" y="636"/>
                  </a:lnTo>
                  <a:lnTo>
                    <a:pt x="438" y="636"/>
                  </a:lnTo>
                  <a:lnTo>
                    <a:pt x="438" y="636"/>
                  </a:lnTo>
                  <a:lnTo>
                    <a:pt x="438" y="634"/>
                  </a:lnTo>
                  <a:lnTo>
                    <a:pt x="438" y="634"/>
                  </a:lnTo>
                  <a:lnTo>
                    <a:pt x="438" y="634"/>
                  </a:lnTo>
                  <a:lnTo>
                    <a:pt x="438" y="634"/>
                  </a:lnTo>
                  <a:lnTo>
                    <a:pt x="435" y="634"/>
                  </a:lnTo>
                  <a:lnTo>
                    <a:pt x="435" y="634"/>
                  </a:lnTo>
                  <a:lnTo>
                    <a:pt x="435" y="634"/>
                  </a:lnTo>
                  <a:lnTo>
                    <a:pt x="435" y="634"/>
                  </a:lnTo>
                  <a:lnTo>
                    <a:pt x="433" y="634"/>
                  </a:lnTo>
                  <a:lnTo>
                    <a:pt x="433" y="636"/>
                  </a:lnTo>
                  <a:lnTo>
                    <a:pt x="431" y="636"/>
                  </a:lnTo>
                  <a:lnTo>
                    <a:pt x="431" y="636"/>
                  </a:lnTo>
                  <a:lnTo>
                    <a:pt x="431" y="636"/>
                  </a:lnTo>
                  <a:lnTo>
                    <a:pt x="431" y="636"/>
                  </a:lnTo>
                  <a:lnTo>
                    <a:pt x="431" y="636"/>
                  </a:lnTo>
                  <a:lnTo>
                    <a:pt x="431" y="639"/>
                  </a:lnTo>
                  <a:lnTo>
                    <a:pt x="431" y="639"/>
                  </a:lnTo>
                  <a:lnTo>
                    <a:pt x="431" y="639"/>
                  </a:lnTo>
                  <a:lnTo>
                    <a:pt x="431" y="639"/>
                  </a:lnTo>
                  <a:lnTo>
                    <a:pt x="429" y="639"/>
                  </a:lnTo>
                  <a:lnTo>
                    <a:pt x="429" y="639"/>
                  </a:lnTo>
                  <a:lnTo>
                    <a:pt x="429" y="639"/>
                  </a:lnTo>
                  <a:lnTo>
                    <a:pt x="429" y="639"/>
                  </a:lnTo>
                  <a:lnTo>
                    <a:pt x="429" y="639"/>
                  </a:lnTo>
                  <a:lnTo>
                    <a:pt x="427" y="639"/>
                  </a:lnTo>
                  <a:lnTo>
                    <a:pt x="427" y="641"/>
                  </a:lnTo>
                  <a:lnTo>
                    <a:pt x="427" y="639"/>
                  </a:lnTo>
                  <a:lnTo>
                    <a:pt x="424" y="639"/>
                  </a:lnTo>
                  <a:lnTo>
                    <a:pt x="424" y="639"/>
                  </a:lnTo>
                  <a:lnTo>
                    <a:pt x="424" y="639"/>
                  </a:lnTo>
                  <a:lnTo>
                    <a:pt x="424" y="639"/>
                  </a:lnTo>
                  <a:lnTo>
                    <a:pt x="422" y="639"/>
                  </a:lnTo>
                  <a:lnTo>
                    <a:pt x="422" y="639"/>
                  </a:lnTo>
                  <a:lnTo>
                    <a:pt x="422" y="639"/>
                  </a:lnTo>
                  <a:lnTo>
                    <a:pt x="422" y="639"/>
                  </a:lnTo>
                  <a:lnTo>
                    <a:pt x="422" y="639"/>
                  </a:lnTo>
                  <a:lnTo>
                    <a:pt x="420" y="639"/>
                  </a:lnTo>
                  <a:lnTo>
                    <a:pt x="420" y="639"/>
                  </a:lnTo>
                  <a:lnTo>
                    <a:pt x="420" y="639"/>
                  </a:lnTo>
                  <a:lnTo>
                    <a:pt x="420" y="639"/>
                  </a:lnTo>
                  <a:lnTo>
                    <a:pt x="420" y="639"/>
                  </a:lnTo>
                  <a:lnTo>
                    <a:pt x="418" y="639"/>
                  </a:lnTo>
                  <a:lnTo>
                    <a:pt x="418" y="639"/>
                  </a:lnTo>
                  <a:lnTo>
                    <a:pt x="418" y="639"/>
                  </a:lnTo>
                  <a:lnTo>
                    <a:pt x="415" y="639"/>
                  </a:lnTo>
                  <a:lnTo>
                    <a:pt x="415" y="639"/>
                  </a:lnTo>
                  <a:lnTo>
                    <a:pt x="415" y="639"/>
                  </a:lnTo>
                  <a:lnTo>
                    <a:pt x="415" y="639"/>
                  </a:lnTo>
                  <a:lnTo>
                    <a:pt x="415" y="639"/>
                  </a:lnTo>
                  <a:lnTo>
                    <a:pt x="415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3" y="639"/>
                  </a:lnTo>
                  <a:lnTo>
                    <a:pt x="411" y="639"/>
                  </a:lnTo>
                  <a:lnTo>
                    <a:pt x="411" y="639"/>
                  </a:lnTo>
                  <a:lnTo>
                    <a:pt x="411" y="639"/>
                  </a:lnTo>
                  <a:lnTo>
                    <a:pt x="411" y="639"/>
                  </a:lnTo>
                  <a:lnTo>
                    <a:pt x="411" y="639"/>
                  </a:lnTo>
                  <a:lnTo>
                    <a:pt x="411" y="639"/>
                  </a:lnTo>
                  <a:lnTo>
                    <a:pt x="411" y="636"/>
                  </a:lnTo>
                  <a:lnTo>
                    <a:pt x="411" y="636"/>
                  </a:lnTo>
                  <a:lnTo>
                    <a:pt x="411" y="636"/>
                  </a:lnTo>
                  <a:lnTo>
                    <a:pt x="411" y="636"/>
                  </a:lnTo>
                  <a:lnTo>
                    <a:pt x="409" y="636"/>
                  </a:lnTo>
                  <a:lnTo>
                    <a:pt x="411" y="636"/>
                  </a:lnTo>
                  <a:lnTo>
                    <a:pt x="411" y="636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1" y="634"/>
                  </a:lnTo>
                  <a:lnTo>
                    <a:pt x="413" y="632"/>
                  </a:lnTo>
                  <a:lnTo>
                    <a:pt x="413" y="632"/>
                  </a:lnTo>
                  <a:lnTo>
                    <a:pt x="413" y="632"/>
                  </a:lnTo>
                  <a:lnTo>
                    <a:pt x="413" y="632"/>
                  </a:lnTo>
                  <a:lnTo>
                    <a:pt x="415" y="632"/>
                  </a:lnTo>
                  <a:lnTo>
                    <a:pt x="415" y="632"/>
                  </a:lnTo>
                  <a:lnTo>
                    <a:pt x="415" y="632"/>
                  </a:lnTo>
                  <a:lnTo>
                    <a:pt x="418" y="632"/>
                  </a:lnTo>
                  <a:lnTo>
                    <a:pt x="418" y="632"/>
                  </a:lnTo>
                  <a:lnTo>
                    <a:pt x="418" y="632"/>
                  </a:lnTo>
                  <a:lnTo>
                    <a:pt x="422" y="630"/>
                  </a:lnTo>
                  <a:lnTo>
                    <a:pt x="424" y="630"/>
                  </a:lnTo>
                  <a:lnTo>
                    <a:pt x="424" y="630"/>
                  </a:lnTo>
                  <a:lnTo>
                    <a:pt x="429" y="630"/>
                  </a:lnTo>
                  <a:lnTo>
                    <a:pt x="429" y="630"/>
                  </a:lnTo>
                  <a:lnTo>
                    <a:pt x="429" y="627"/>
                  </a:lnTo>
                  <a:lnTo>
                    <a:pt x="429" y="627"/>
                  </a:lnTo>
                  <a:lnTo>
                    <a:pt x="429" y="627"/>
                  </a:lnTo>
                  <a:lnTo>
                    <a:pt x="429" y="627"/>
                  </a:lnTo>
                  <a:lnTo>
                    <a:pt x="431" y="630"/>
                  </a:lnTo>
                  <a:lnTo>
                    <a:pt x="431" y="630"/>
                  </a:lnTo>
                  <a:lnTo>
                    <a:pt x="431" y="630"/>
                  </a:lnTo>
                  <a:lnTo>
                    <a:pt x="431" y="627"/>
                  </a:lnTo>
                  <a:lnTo>
                    <a:pt x="431" y="627"/>
                  </a:lnTo>
                  <a:lnTo>
                    <a:pt x="433" y="630"/>
                  </a:lnTo>
                  <a:lnTo>
                    <a:pt x="433" y="627"/>
                  </a:lnTo>
                  <a:lnTo>
                    <a:pt x="433" y="627"/>
                  </a:lnTo>
                  <a:lnTo>
                    <a:pt x="433" y="627"/>
                  </a:lnTo>
                  <a:lnTo>
                    <a:pt x="433" y="627"/>
                  </a:lnTo>
                  <a:lnTo>
                    <a:pt x="435" y="627"/>
                  </a:lnTo>
                  <a:close/>
                  <a:moveTo>
                    <a:pt x="418" y="618"/>
                  </a:moveTo>
                  <a:lnTo>
                    <a:pt x="418" y="618"/>
                  </a:lnTo>
                  <a:lnTo>
                    <a:pt x="418" y="618"/>
                  </a:lnTo>
                  <a:lnTo>
                    <a:pt x="418" y="618"/>
                  </a:lnTo>
                  <a:lnTo>
                    <a:pt x="415" y="618"/>
                  </a:lnTo>
                  <a:lnTo>
                    <a:pt x="415" y="618"/>
                  </a:lnTo>
                  <a:lnTo>
                    <a:pt x="418" y="618"/>
                  </a:lnTo>
                  <a:lnTo>
                    <a:pt x="418" y="618"/>
                  </a:lnTo>
                  <a:lnTo>
                    <a:pt x="418" y="618"/>
                  </a:lnTo>
                  <a:lnTo>
                    <a:pt x="418" y="618"/>
                  </a:lnTo>
                  <a:lnTo>
                    <a:pt x="418" y="618"/>
                  </a:lnTo>
                  <a:close/>
                  <a:moveTo>
                    <a:pt x="413" y="616"/>
                  </a:moveTo>
                  <a:lnTo>
                    <a:pt x="413" y="616"/>
                  </a:lnTo>
                  <a:lnTo>
                    <a:pt x="413" y="616"/>
                  </a:lnTo>
                  <a:lnTo>
                    <a:pt x="411" y="616"/>
                  </a:lnTo>
                  <a:lnTo>
                    <a:pt x="411" y="616"/>
                  </a:lnTo>
                  <a:lnTo>
                    <a:pt x="413" y="614"/>
                  </a:lnTo>
                  <a:lnTo>
                    <a:pt x="413" y="614"/>
                  </a:lnTo>
                  <a:lnTo>
                    <a:pt x="411" y="614"/>
                  </a:lnTo>
                  <a:lnTo>
                    <a:pt x="411" y="614"/>
                  </a:lnTo>
                  <a:lnTo>
                    <a:pt x="413" y="614"/>
                  </a:lnTo>
                  <a:lnTo>
                    <a:pt x="413" y="614"/>
                  </a:lnTo>
                  <a:lnTo>
                    <a:pt x="413" y="614"/>
                  </a:lnTo>
                  <a:lnTo>
                    <a:pt x="413" y="614"/>
                  </a:lnTo>
                  <a:lnTo>
                    <a:pt x="413" y="614"/>
                  </a:lnTo>
                  <a:lnTo>
                    <a:pt x="413" y="616"/>
                  </a:lnTo>
                  <a:lnTo>
                    <a:pt x="413" y="616"/>
                  </a:lnTo>
                  <a:lnTo>
                    <a:pt x="413" y="616"/>
                  </a:lnTo>
                  <a:lnTo>
                    <a:pt x="413" y="616"/>
                  </a:lnTo>
                  <a:close/>
                  <a:moveTo>
                    <a:pt x="442" y="603"/>
                  </a:moveTo>
                  <a:lnTo>
                    <a:pt x="442" y="603"/>
                  </a:lnTo>
                  <a:lnTo>
                    <a:pt x="440" y="603"/>
                  </a:lnTo>
                  <a:lnTo>
                    <a:pt x="442" y="603"/>
                  </a:lnTo>
                  <a:lnTo>
                    <a:pt x="442" y="603"/>
                  </a:lnTo>
                  <a:lnTo>
                    <a:pt x="442" y="603"/>
                  </a:lnTo>
                  <a:lnTo>
                    <a:pt x="442" y="603"/>
                  </a:lnTo>
                  <a:lnTo>
                    <a:pt x="442" y="603"/>
                  </a:lnTo>
                  <a:close/>
                  <a:moveTo>
                    <a:pt x="393" y="585"/>
                  </a:moveTo>
                  <a:lnTo>
                    <a:pt x="393" y="585"/>
                  </a:lnTo>
                  <a:lnTo>
                    <a:pt x="393" y="585"/>
                  </a:lnTo>
                  <a:lnTo>
                    <a:pt x="393" y="585"/>
                  </a:lnTo>
                  <a:lnTo>
                    <a:pt x="393" y="585"/>
                  </a:lnTo>
                  <a:lnTo>
                    <a:pt x="393" y="585"/>
                  </a:lnTo>
                  <a:lnTo>
                    <a:pt x="393" y="585"/>
                  </a:lnTo>
                  <a:lnTo>
                    <a:pt x="393" y="582"/>
                  </a:lnTo>
                  <a:lnTo>
                    <a:pt x="395" y="582"/>
                  </a:lnTo>
                  <a:lnTo>
                    <a:pt x="395" y="582"/>
                  </a:lnTo>
                  <a:lnTo>
                    <a:pt x="395" y="582"/>
                  </a:lnTo>
                  <a:lnTo>
                    <a:pt x="395" y="582"/>
                  </a:lnTo>
                  <a:lnTo>
                    <a:pt x="395" y="585"/>
                  </a:lnTo>
                  <a:lnTo>
                    <a:pt x="395" y="585"/>
                  </a:lnTo>
                  <a:lnTo>
                    <a:pt x="393" y="585"/>
                  </a:lnTo>
                  <a:lnTo>
                    <a:pt x="393" y="585"/>
                  </a:lnTo>
                  <a:lnTo>
                    <a:pt x="393" y="585"/>
                  </a:lnTo>
                  <a:lnTo>
                    <a:pt x="393" y="585"/>
                  </a:lnTo>
                  <a:close/>
                  <a:moveTo>
                    <a:pt x="388" y="551"/>
                  </a:moveTo>
                  <a:lnTo>
                    <a:pt x="388" y="551"/>
                  </a:lnTo>
                  <a:lnTo>
                    <a:pt x="388" y="551"/>
                  </a:lnTo>
                  <a:lnTo>
                    <a:pt x="388" y="551"/>
                  </a:lnTo>
                  <a:lnTo>
                    <a:pt x="388" y="549"/>
                  </a:lnTo>
                  <a:lnTo>
                    <a:pt x="388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49"/>
                  </a:lnTo>
                  <a:lnTo>
                    <a:pt x="391" y="551"/>
                  </a:lnTo>
                  <a:lnTo>
                    <a:pt x="391" y="551"/>
                  </a:lnTo>
                  <a:lnTo>
                    <a:pt x="391" y="551"/>
                  </a:lnTo>
                  <a:lnTo>
                    <a:pt x="388" y="551"/>
                  </a:lnTo>
                  <a:close/>
                  <a:moveTo>
                    <a:pt x="31" y="549"/>
                  </a:moveTo>
                  <a:lnTo>
                    <a:pt x="31" y="549"/>
                  </a:lnTo>
                  <a:lnTo>
                    <a:pt x="31" y="549"/>
                  </a:lnTo>
                  <a:lnTo>
                    <a:pt x="31" y="549"/>
                  </a:lnTo>
                  <a:lnTo>
                    <a:pt x="31" y="549"/>
                  </a:lnTo>
                  <a:lnTo>
                    <a:pt x="31" y="547"/>
                  </a:lnTo>
                  <a:lnTo>
                    <a:pt x="31" y="547"/>
                  </a:lnTo>
                  <a:lnTo>
                    <a:pt x="31" y="547"/>
                  </a:lnTo>
                  <a:lnTo>
                    <a:pt x="31" y="547"/>
                  </a:lnTo>
                  <a:lnTo>
                    <a:pt x="31" y="549"/>
                  </a:lnTo>
                  <a:close/>
                  <a:moveTo>
                    <a:pt x="835" y="434"/>
                  </a:moveTo>
                  <a:lnTo>
                    <a:pt x="835" y="434"/>
                  </a:lnTo>
                  <a:lnTo>
                    <a:pt x="835" y="434"/>
                  </a:lnTo>
                  <a:lnTo>
                    <a:pt x="835" y="434"/>
                  </a:lnTo>
                  <a:lnTo>
                    <a:pt x="835" y="436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41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9"/>
                  </a:lnTo>
                  <a:lnTo>
                    <a:pt x="831" y="436"/>
                  </a:lnTo>
                  <a:lnTo>
                    <a:pt x="833" y="436"/>
                  </a:lnTo>
                  <a:lnTo>
                    <a:pt x="833" y="436"/>
                  </a:lnTo>
                  <a:lnTo>
                    <a:pt x="833" y="436"/>
                  </a:lnTo>
                  <a:lnTo>
                    <a:pt x="833" y="436"/>
                  </a:lnTo>
                  <a:lnTo>
                    <a:pt x="833" y="434"/>
                  </a:lnTo>
                  <a:lnTo>
                    <a:pt x="833" y="434"/>
                  </a:lnTo>
                  <a:lnTo>
                    <a:pt x="833" y="434"/>
                  </a:lnTo>
                  <a:lnTo>
                    <a:pt x="833" y="434"/>
                  </a:lnTo>
                  <a:lnTo>
                    <a:pt x="833" y="434"/>
                  </a:lnTo>
                  <a:lnTo>
                    <a:pt x="835" y="434"/>
                  </a:lnTo>
                  <a:lnTo>
                    <a:pt x="835" y="434"/>
                  </a:lnTo>
                  <a:lnTo>
                    <a:pt x="835" y="434"/>
                  </a:lnTo>
                  <a:lnTo>
                    <a:pt x="835" y="434"/>
                  </a:lnTo>
                  <a:close/>
                  <a:moveTo>
                    <a:pt x="833" y="432"/>
                  </a:moveTo>
                  <a:lnTo>
                    <a:pt x="833" y="432"/>
                  </a:lnTo>
                  <a:lnTo>
                    <a:pt x="833" y="432"/>
                  </a:lnTo>
                  <a:lnTo>
                    <a:pt x="833" y="432"/>
                  </a:lnTo>
                  <a:lnTo>
                    <a:pt x="833" y="432"/>
                  </a:lnTo>
                  <a:lnTo>
                    <a:pt x="833" y="430"/>
                  </a:lnTo>
                  <a:lnTo>
                    <a:pt x="833" y="430"/>
                  </a:lnTo>
                  <a:lnTo>
                    <a:pt x="833" y="430"/>
                  </a:lnTo>
                  <a:lnTo>
                    <a:pt x="833" y="430"/>
                  </a:lnTo>
                  <a:lnTo>
                    <a:pt x="835" y="427"/>
                  </a:lnTo>
                  <a:lnTo>
                    <a:pt x="835" y="427"/>
                  </a:lnTo>
                  <a:lnTo>
                    <a:pt x="835" y="425"/>
                  </a:lnTo>
                  <a:lnTo>
                    <a:pt x="835" y="425"/>
                  </a:lnTo>
                  <a:lnTo>
                    <a:pt x="835" y="425"/>
                  </a:lnTo>
                  <a:lnTo>
                    <a:pt x="835" y="425"/>
                  </a:lnTo>
                  <a:lnTo>
                    <a:pt x="835" y="425"/>
                  </a:lnTo>
                  <a:lnTo>
                    <a:pt x="838" y="425"/>
                  </a:lnTo>
                  <a:lnTo>
                    <a:pt x="838" y="425"/>
                  </a:lnTo>
                  <a:lnTo>
                    <a:pt x="838" y="425"/>
                  </a:lnTo>
                  <a:lnTo>
                    <a:pt x="838" y="425"/>
                  </a:lnTo>
                  <a:lnTo>
                    <a:pt x="838" y="425"/>
                  </a:lnTo>
                  <a:lnTo>
                    <a:pt x="835" y="427"/>
                  </a:lnTo>
                  <a:lnTo>
                    <a:pt x="835" y="430"/>
                  </a:lnTo>
                  <a:lnTo>
                    <a:pt x="835" y="430"/>
                  </a:lnTo>
                  <a:lnTo>
                    <a:pt x="835" y="430"/>
                  </a:lnTo>
                  <a:lnTo>
                    <a:pt x="835" y="432"/>
                  </a:lnTo>
                  <a:lnTo>
                    <a:pt x="835" y="432"/>
                  </a:lnTo>
                  <a:lnTo>
                    <a:pt x="833" y="432"/>
                  </a:lnTo>
                  <a:lnTo>
                    <a:pt x="833" y="432"/>
                  </a:lnTo>
                  <a:close/>
                  <a:moveTo>
                    <a:pt x="22" y="387"/>
                  </a:moveTo>
                  <a:lnTo>
                    <a:pt x="22" y="389"/>
                  </a:lnTo>
                  <a:lnTo>
                    <a:pt x="22" y="387"/>
                  </a:lnTo>
                  <a:lnTo>
                    <a:pt x="22" y="387"/>
                  </a:lnTo>
                  <a:lnTo>
                    <a:pt x="22" y="389"/>
                  </a:lnTo>
                  <a:lnTo>
                    <a:pt x="22" y="389"/>
                  </a:lnTo>
                  <a:lnTo>
                    <a:pt x="22" y="389"/>
                  </a:lnTo>
                  <a:lnTo>
                    <a:pt x="22" y="389"/>
                  </a:lnTo>
                  <a:lnTo>
                    <a:pt x="22" y="389"/>
                  </a:lnTo>
                  <a:lnTo>
                    <a:pt x="22" y="389"/>
                  </a:lnTo>
                  <a:lnTo>
                    <a:pt x="22" y="391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2" y="394"/>
                  </a:lnTo>
                  <a:lnTo>
                    <a:pt x="22" y="396"/>
                  </a:lnTo>
                  <a:lnTo>
                    <a:pt x="22" y="396"/>
                  </a:lnTo>
                  <a:lnTo>
                    <a:pt x="22" y="398"/>
                  </a:lnTo>
                  <a:lnTo>
                    <a:pt x="24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400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2" y="398"/>
                  </a:lnTo>
                  <a:lnTo>
                    <a:pt x="24" y="398"/>
                  </a:lnTo>
                  <a:lnTo>
                    <a:pt x="24" y="398"/>
                  </a:lnTo>
                  <a:lnTo>
                    <a:pt x="24" y="400"/>
                  </a:lnTo>
                  <a:lnTo>
                    <a:pt x="24" y="400"/>
                  </a:lnTo>
                  <a:lnTo>
                    <a:pt x="24" y="400"/>
                  </a:lnTo>
                  <a:lnTo>
                    <a:pt x="24" y="400"/>
                  </a:lnTo>
                  <a:lnTo>
                    <a:pt x="24" y="400"/>
                  </a:lnTo>
                  <a:lnTo>
                    <a:pt x="24" y="400"/>
                  </a:lnTo>
                  <a:lnTo>
                    <a:pt x="24" y="400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0"/>
                  </a:lnTo>
                  <a:lnTo>
                    <a:pt x="22" y="400"/>
                  </a:lnTo>
                  <a:lnTo>
                    <a:pt x="22" y="400"/>
                  </a:lnTo>
                  <a:lnTo>
                    <a:pt x="22" y="398"/>
                  </a:lnTo>
                  <a:lnTo>
                    <a:pt x="20" y="396"/>
                  </a:lnTo>
                  <a:lnTo>
                    <a:pt x="20" y="396"/>
                  </a:lnTo>
                  <a:lnTo>
                    <a:pt x="20" y="394"/>
                  </a:lnTo>
                  <a:lnTo>
                    <a:pt x="20" y="394"/>
                  </a:lnTo>
                  <a:lnTo>
                    <a:pt x="20" y="394"/>
                  </a:lnTo>
                  <a:lnTo>
                    <a:pt x="20" y="394"/>
                  </a:lnTo>
                  <a:lnTo>
                    <a:pt x="20" y="391"/>
                  </a:lnTo>
                  <a:lnTo>
                    <a:pt x="20" y="389"/>
                  </a:lnTo>
                  <a:lnTo>
                    <a:pt x="20" y="389"/>
                  </a:lnTo>
                  <a:lnTo>
                    <a:pt x="22" y="389"/>
                  </a:lnTo>
                  <a:lnTo>
                    <a:pt x="22" y="389"/>
                  </a:lnTo>
                  <a:lnTo>
                    <a:pt x="22" y="387"/>
                  </a:lnTo>
                  <a:lnTo>
                    <a:pt x="22" y="387"/>
                  </a:lnTo>
                  <a:close/>
                  <a:moveTo>
                    <a:pt x="842" y="385"/>
                  </a:moveTo>
                  <a:lnTo>
                    <a:pt x="840" y="385"/>
                  </a:lnTo>
                  <a:lnTo>
                    <a:pt x="840" y="382"/>
                  </a:lnTo>
                  <a:lnTo>
                    <a:pt x="840" y="382"/>
                  </a:lnTo>
                  <a:lnTo>
                    <a:pt x="840" y="382"/>
                  </a:lnTo>
                  <a:lnTo>
                    <a:pt x="842" y="382"/>
                  </a:lnTo>
                  <a:lnTo>
                    <a:pt x="842" y="385"/>
                  </a:lnTo>
                  <a:close/>
                  <a:moveTo>
                    <a:pt x="27" y="382"/>
                  </a:moveTo>
                  <a:lnTo>
                    <a:pt x="24" y="382"/>
                  </a:lnTo>
                  <a:lnTo>
                    <a:pt x="24" y="382"/>
                  </a:lnTo>
                  <a:lnTo>
                    <a:pt x="24" y="382"/>
                  </a:lnTo>
                  <a:lnTo>
                    <a:pt x="24" y="382"/>
                  </a:lnTo>
                  <a:lnTo>
                    <a:pt x="27" y="380"/>
                  </a:lnTo>
                  <a:lnTo>
                    <a:pt x="27" y="380"/>
                  </a:lnTo>
                  <a:lnTo>
                    <a:pt x="27" y="378"/>
                  </a:lnTo>
                  <a:lnTo>
                    <a:pt x="27" y="378"/>
                  </a:lnTo>
                  <a:lnTo>
                    <a:pt x="29" y="376"/>
                  </a:lnTo>
                  <a:lnTo>
                    <a:pt x="27" y="378"/>
                  </a:lnTo>
                  <a:lnTo>
                    <a:pt x="27" y="378"/>
                  </a:lnTo>
                  <a:lnTo>
                    <a:pt x="27" y="378"/>
                  </a:lnTo>
                  <a:lnTo>
                    <a:pt x="27" y="378"/>
                  </a:lnTo>
                  <a:lnTo>
                    <a:pt x="27" y="378"/>
                  </a:lnTo>
                  <a:lnTo>
                    <a:pt x="27" y="380"/>
                  </a:lnTo>
                  <a:lnTo>
                    <a:pt x="27" y="380"/>
                  </a:lnTo>
                  <a:lnTo>
                    <a:pt x="27" y="380"/>
                  </a:lnTo>
                  <a:lnTo>
                    <a:pt x="27" y="380"/>
                  </a:lnTo>
                  <a:lnTo>
                    <a:pt x="27" y="382"/>
                  </a:lnTo>
                  <a:lnTo>
                    <a:pt x="27" y="382"/>
                  </a:lnTo>
                  <a:lnTo>
                    <a:pt x="27" y="382"/>
                  </a:lnTo>
                  <a:close/>
                  <a:moveTo>
                    <a:pt x="29" y="376"/>
                  </a:moveTo>
                  <a:lnTo>
                    <a:pt x="29" y="376"/>
                  </a:lnTo>
                  <a:lnTo>
                    <a:pt x="29" y="376"/>
                  </a:lnTo>
                  <a:lnTo>
                    <a:pt x="29" y="376"/>
                  </a:lnTo>
                  <a:lnTo>
                    <a:pt x="29" y="376"/>
                  </a:lnTo>
                  <a:lnTo>
                    <a:pt x="29" y="376"/>
                  </a:lnTo>
                  <a:lnTo>
                    <a:pt x="29" y="371"/>
                  </a:lnTo>
                  <a:lnTo>
                    <a:pt x="29" y="371"/>
                  </a:lnTo>
                  <a:lnTo>
                    <a:pt x="29" y="371"/>
                  </a:lnTo>
                  <a:lnTo>
                    <a:pt x="29" y="371"/>
                  </a:lnTo>
                  <a:lnTo>
                    <a:pt x="29" y="373"/>
                  </a:lnTo>
                  <a:lnTo>
                    <a:pt x="29" y="373"/>
                  </a:lnTo>
                  <a:lnTo>
                    <a:pt x="29" y="376"/>
                  </a:lnTo>
                  <a:lnTo>
                    <a:pt x="29" y="376"/>
                  </a:lnTo>
                  <a:lnTo>
                    <a:pt x="29" y="376"/>
                  </a:lnTo>
                  <a:close/>
                  <a:moveTo>
                    <a:pt x="851" y="369"/>
                  </a:moveTo>
                  <a:lnTo>
                    <a:pt x="851" y="373"/>
                  </a:lnTo>
                  <a:lnTo>
                    <a:pt x="851" y="373"/>
                  </a:lnTo>
                  <a:lnTo>
                    <a:pt x="851" y="376"/>
                  </a:lnTo>
                  <a:lnTo>
                    <a:pt x="851" y="376"/>
                  </a:lnTo>
                  <a:lnTo>
                    <a:pt x="851" y="376"/>
                  </a:lnTo>
                  <a:lnTo>
                    <a:pt x="851" y="376"/>
                  </a:lnTo>
                  <a:lnTo>
                    <a:pt x="851" y="376"/>
                  </a:lnTo>
                  <a:lnTo>
                    <a:pt x="851" y="376"/>
                  </a:lnTo>
                  <a:lnTo>
                    <a:pt x="851" y="378"/>
                  </a:lnTo>
                  <a:lnTo>
                    <a:pt x="851" y="378"/>
                  </a:lnTo>
                  <a:lnTo>
                    <a:pt x="851" y="378"/>
                  </a:lnTo>
                  <a:lnTo>
                    <a:pt x="849" y="378"/>
                  </a:lnTo>
                  <a:lnTo>
                    <a:pt x="847" y="382"/>
                  </a:lnTo>
                  <a:lnTo>
                    <a:pt x="844" y="387"/>
                  </a:lnTo>
                  <a:lnTo>
                    <a:pt x="840" y="391"/>
                  </a:lnTo>
                  <a:lnTo>
                    <a:pt x="840" y="394"/>
                  </a:lnTo>
                  <a:lnTo>
                    <a:pt x="840" y="394"/>
                  </a:lnTo>
                  <a:lnTo>
                    <a:pt x="840" y="394"/>
                  </a:lnTo>
                  <a:lnTo>
                    <a:pt x="840" y="396"/>
                  </a:lnTo>
                  <a:lnTo>
                    <a:pt x="840" y="396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1"/>
                  </a:lnTo>
                  <a:lnTo>
                    <a:pt x="838" y="391"/>
                  </a:lnTo>
                  <a:lnTo>
                    <a:pt x="838" y="391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40" y="389"/>
                  </a:lnTo>
                  <a:lnTo>
                    <a:pt x="840" y="389"/>
                  </a:lnTo>
                  <a:lnTo>
                    <a:pt x="840" y="389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2" y="387"/>
                  </a:lnTo>
                  <a:lnTo>
                    <a:pt x="842" y="387"/>
                  </a:lnTo>
                  <a:lnTo>
                    <a:pt x="842" y="385"/>
                  </a:lnTo>
                  <a:lnTo>
                    <a:pt x="842" y="385"/>
                  </a:lnTo>
                  <a:lnTo>
                    <a:pt x="842" y="385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2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7" y="378"/>
                  </a:lnTo>
                  <a:lnTo>
                    <a:pt x="847" y="378"/>
                  </a:lnTo>
                  <a:lnTo>
                    <a:pt x="847" y="378"/>
                  </a:lnTo>
                  <a:lnTo>
                    <a:pt x="849" y="378"/>
                  </a:lnTo>
                  <a:lnTo>
                    <a:pt x="849" y="376"/>
                  </a:lnTo>
                  <a:lnTo>
                    <a:pt x="849" y="376"/>
                  </a:lnTo>
                  <a:lnTo>
                    <a:pt x="849" y="373"/>
                  </a:lnTo>
                  <a:lnTo>
                    <a:pt x="849" y="373"/>
                  </a:lnTo>
                  <a:lnTo>
                    <a:pt x="849" y="373"/>
                  </a:lnTo>
                  <a:lnTo>
                    <a:pt x="849" y="371"/>
                  </a:lnTo>
                  <a:lnTo>
                    <a:pt x="847" y="371"/>
                  </a:lnTo>
                  <a:lnTo>
                    <a:pt x="849" y="371"/>
                  </a:lnTo>
                  <a:lnTo>
                    <a:pt x="849" y="371"/>
                  </a:lnTo>
                  <a:lnTo>
                    <a:pt x="849" y="369"/>
                  </a:lnTo>
                  <a:lnTo>
                    <a:pt x="851" y="369"/>
                  </a:lnTo>
                  <a:lnTo>
                    <a:pt x="851" y="369"/>
                  </a:lnTo>
                  <a:lnTo>
                    <a:pt x="851" y="369"/>
                  </a:lnTo>
                  <a:close/>
                  <a:moveTo>
                    <a:pt x="817" y="349"/>
                  </a:moveTo>
                  <a:lnTo>
                    <a:pt x="817" y="349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49"/>
                  </a:lnTo>
                  <a:close/>
                  <a:moveTo>
                    <a:pt x="813" y="340"/>
                  </a:move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5" y="340"/>
                  </a:lnTo>
                  <a:lnTo>
                    <a:pt x="815" y="340"/>
                  </a:lnTo>
                  <a:lnTo>
                    <a:pt x="815" y="340"/>
                  </a:lnTo>
                  <a:lnTo>
                    <a:pt x="815" y="340"/>
                  </a:lnTo>
                  <a:lnTo>
                    <a:pt x="815" y="342"/>
                  </a:lnTo>
                  <a:lnTo>
                    <a:pt x="815" y="342"/>
                  </a:lnTo>
                  <a:lnTo>
                    <a:pt x="815" y="342"/>
                  </a:lnTo>
                  <a:lnTo>
                    <a:pt x="815" y="342"/>
                  </a:lnTo>
                  <a:lnTo>
                    <a:pt x="817" y="340"/>
                  </a:lnTo>
                  <a:lnTo>
                    <a:pt x="817" y="340"/>
                  </a:lnTo>
                  <a:lnTo>
                    <a:pt x="817" y="342"/>
                  </a:lnTo>
                  <a:lnTo>
                    <a:pt x="815" y="342"/>
                  </a:lnTo>
                  <a:lnTo>
                    <a:pt x="815" y="342"/>
                  </a:lnTo>
                  <a:lnTo>
                    <a:pt x="815" y="344"/>
                  </a:lnTo>
                  <a:lnTo>
                    <a:pt x="815" y="344"/>
                  </a:lnTo>
                  <a:lnTo>
                    <a:pt x="815" y="344"/>
                  </a:lnTo>
                  <a:lnTo>
                    <a:pt x="817" y="344"/>
                  </a:lnTo>
                  <a:lnTo>
                    <a:pt x="817" y="344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7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5" y="346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2"/>
                  </a:lnTo>
                  <a:lnTo>
                    <a:pt x="813" y="342"/>
                  </a:lnTo>
                  <a:lnTo>
                    <a:pt x="813" y="342"/>
                  </a:lnTo>
                  <a:lnTo>
                    <a:pt x="813" y="342"/>
                  </a:lnTo>
                  <a:lnTo>
                    <a:pt x="813" y="342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3" y="340"/>
                  </a:lnTo>
                  <a:close/>
                  <a:moveTo>
                    <a:pt x="793" y="315"/>
                  </a:move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close/>
                  <a:moveTo>
                    <a:pt x="811" y="313"/>
                  </a:moveTo>
                  <a:lnTo>
                    <a:pt x="811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3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08" y="310"/>
                  </a:lnTo>
                  <a:lnTo>
                    <a:pt x="811" y="310"/>
                  </a:lnTo>
                  <a:lnTo>
                    <a:pt x="811" y="310"/>
                  </a:lnTo>
                  <a:lnTo>
                    <a:pt x="811" y="313"/>
                  </a:lnTo>
                  <a:lnTo>
                    <a:pt x="811" y="313"/>
                  </a:lnTo>
                  <a:close/>
                  <a:moveTo>
                    <a:pt x="797" y="310"/>
                  </a:moveTo>
                  <a:lnTo>
                    <a:pt x="797" y="310"/>
                  </a:lnTo>
                  <a:lnTo>
                    <a:pt x="797" y="310"/>
                  </a:lnTo>
                  <a:lnTo>
                    <a:pt x="797" y="310"/>
                  </a:lnTo>
                  <a:lnTo>
                    <a:pt x="797" y="310"/>
                  </a:lnTo>
                  <a:lnTo>
                    <a:pt x="797" y="310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6"/>
                  </a:lnTo>
                  <a:lnTo>
                    <a:pt x="797" y="306"/>
                  </a:lnTo>
                  <a:lnTo>
                    <a:pt x="797" y="306"/>
                  </a:lnTo>
                  <a:lnTo>
                    <a:pt x="797" y="306"/>
                  </a:lnTo>
                  <a:lnTo>
                    <a:pt x="797" y="306"/>
                  </a:lnTo>
                  <a:lnTo>
                    <a:pt x="797" y="306"/>
                  </a:lnTo>
                  <a:lnTo>
                    <a:pt x="797" y="306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08"/>
                  </a:lnTo>
                  <a:lnTo>
                    <a:pt x="797" y="310"/>
                  </a:lnTo>
                  <a:lnTo>
                    <a:pt x="797" y="310"/>
                  </a:lnTo>
                  <a:close/>
                  <a:moveTo>
                    <a:pt x="808" y="299"/>
                  </a:move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lnTo>
                    <a:pt x="808" y="299"/>
                  </a:lnTo>
                  <a:close/>
                  <a:moveTo>
                    <a:pt x="808" y="297"/>
                  </a:move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6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lnTo>
                    <a:pt x="808" y="297"/>
                  </a:lnTo>
                  <a:close/>
                  <a:moveTo>
                    <a:pt x="790" y="268"/>
                  </a:moveTo>
                  <a:lnTo>
                    <a:pt x="790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88" y="270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lnTo>
                    <a:pt x="790" y="268"/>
                  </a:lnTo>
                  <a:close/>
                  <a:moveTo>
                    <a:pt x="790" y="263"/>
                  </a:moveTo>
                  <a:lnTo>
                    <a:pt x="790" y="263"/>
                  </a:lnTo>
                  <a:lnTo>
                    <a:pt x="790" y="263"/>
                  </a:lnTo>
                  <a:lnTo>
                    <a:pt x="790" y="265"/>
                  </a:lnTo>
                  <a:lnTo>
                    <a:pt x="790" y="265"/>
                  </a:lnTo>
                  <a:lnTo>
                    <a:pt x="790" y="265"/>
                  </a:lnTo>
                  <a:lnTo>
                    <a:pt x="790" y="263"/>
                  </a:lnTo>
                  <a:lnTo>
                    <a:pt x="788" y="265"/>
                  </a:lnTo>
                  <a:lnTo>
                    <a:pt x="788" y="265"/>
                  </a:lnTo>
                  <a:lnTo>
                    <a:pt x="788" y="265"/>
                  </a:lnTo>
                  <a:lnTo>
                    <a:pt x="788" y="265"/>
                  </a:lnTo>
                  <a:lnTo>
                    <a:pt x="788" y="265"/>
                  </a:lnTo>
                  <a:lnTo>
                    <a:pt x="788" y="265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3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90" y="261"/>
                  </a:lnTo>
                  <a:lnTo>
                    <a:pt x="790" y="261"/>
                  </a:lnTo>
                  <a:lnTo>
                    <a:pt x="790" y="261"/>
                  </a:lnTo>
                  <a:lnTo>
                    <a:pt x="790" y="261"/>
                  </a:lnTo>
                  <a:lnTo>
                    <a:pt x="788" y="263"/>
                  </a:lnTo>
                  <a:lnTo>
                    <a:pt x="790" y="263"/>
                  </a:lnTo>
                  <a:lnTo>
                    <a:pt x="790" y="263"/>
                  </a:lnTo>
                  <a:lnTo>
                    <a:pt x="790" y="263"/>
                  </a:lnTo>
                  <a:lnTo>
                    <a:pt x="790" y="263"/>
                  </a:lnTo>
                  <a:close/>
                  <a:moveTo>
                    <a:pt x="790" y="259"/>
                  </a:moveTo>
                  <a:lnTo>
                    <a:pt x="790" y="259"/>
                  </a:lnTo>
                  <a:lnTo>
                    <a:pt x="788" y="259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61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88" y="259"/>
                  </a:lnTo>
                  <a:lnTo>
                    <a:pt x="790" y="259"/>
                  </a:lnTo>
                  <a:lnTo>
                    <a:pt x="790" y="259"/>
                  </a:lnTo>
                  <a:lnTo>
                    <a:pt x="790" y="259"/>
                  </a:lnTo>
                  <a:close/>
                  <a:moveTo>
                    <a:pt x="779" y="259"/>
                  </a:move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6"/>
                  </a:lnTo>
                  <a:lnTo>
                    <a:pt x="779" y="256"/>
                  </a:lnTo>
                  <a:lnTo>
                    <a:pt x="779" y="256"/>
                  </a:lnTo>
                  <a:lnTo>
                    <a:pt x="779" y="256"/>
                  </a:lnTo>
                  <a:lnTo>
                    <a:pt x="779" y="256"/>
                  </a:lnTo>
                  <a:lnTo>
                    <a:pt x="779" y="256"/>
                  </a:lnTo>
                  <a:lnTo>
                    <a:pt x="779" y="259"/>
                  </a:lnTo>
                  <a:close/>
                  <a:moveTo>
                    <a:pt x="752" y="236"/>
                  </a:moveTo>
                  <a:lnTo>
                    <a:pt x="752" y="236"/>
                  </a:lnTo>
                  <a:lnTo>
                    <a:pt x="752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8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0" y="236"/>
                  </a:lnTo>
                  <a:lnTo>
                    <a:pt x="752" y="236"/>
                  </a:lnTo>
                  <a:lnTo>
                    <a:pt x="752" y="236"/>
                  </a:lnTo>
                  <a:lnTo>
                    <a:pt x="752" y="236"/>
                  </a:lnTo>
                  <a:close/>
                  <a:moveTo>
                    <a:pt x="743" y="216"/>
                  </a:move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18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3" y="220"/>
                  </a:lnTo>
                  <a:lnTo>
                    <a:pt x="741" y="220"/>
                  </a:lnTo>
                  <a:lnTo>
                    <a:pt x="741" y="220"/>
                  </a:lnTo>
                  <a:lnTo>
                    <a:pt x="741" y="220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16"/>
                  </a:lnTo>
                  <a:lnTo>
                    <a:pt x="739" y="216"/>
                  </a:lnTo>
                  <a:lnTo>
                    <a:pt x="739" y="216"/>
                  </a:lnTo>
                  <a:lnTo>
                    <a:pt x="739" y="216"/>
                  </a:lnTo>
                  <a:lnTo>
                    <a:pt x="739" y="216"/>
                  </a:lnTo>
                  <a:lnTo>
                    <a:pt x="741" y="216"/>
                  </a:lnTo>
                  <a:lnTo>
                    <a:pt x="741" y="216"/>
                  </a:lnTo>
                  <a:lnTo>
                    <a:pt x="741" y="216"/>
                  </a:lnTo>
                  <a:lnTo>
                    <a:pt x="743" y="216"/>
                  </a:lnTo>
                  <a:lnTo>
                    <a:pt x="743" y="216"/>
                  </a:lnTo>
                  <a:lnTo>
                    <a:pt x="743" y="214"/>
                  </a:lnTo>
                  <a:lnTo>
                    <a:pt x="743" y="216"/>
                  </a:lnTo>
                  <a:close/>
                  <a:moveTo>
                    <a:pt x="611" y="189"/>
                  </a:moveTo>
                  <a:lnTo>
                    <a:pt x="611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8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9"/>
                  </a:lnTo>
                  <a:lnTo>
                    <a:pt x="606" y="187"/>
                  </a:lnTo>
                  <a:lnTo>
                    <a:pt x="606" y="187"/>
                  </a:lnTo>
                  <a:lnTo>
                    <a:pt x="608" y="187"/>
                  </a:lnTo>
                  <a:lnTo>
                    <a:pt x="608" y="187"/>
                  </a:lnTo>
                  <a:lnTo>
                    <a:pt x="608" y="187"/>
                  </a:lnTo>
                  <a:lnTo>
                    <a:pt x="608" y="187"/>
                  </a:lnTo>
                  <a:lnTo>
                    <a:pt x="608" y="185"/>
                  </a:lnTo>
                  <a:lnTo>
                    <a:pt x="608" y="185"/>
                  </a:lnTo>
                  <a:lnTo>
                    <a:pt x="611" y="187"/>
                  </a:lnTo>
                  <a:lnTo>
                    <a:pt x="611" y="187"/>
                  </a:lnTo>
                  <a:lnTo>
                    <a:pt x="611" y="187"/>
                  </a:lnTo>
                  <a:lnTo>
                    <a:pt x="611" y="187"/>
                  </a:lnTo>
                  <a:lnTo>
                    <a:pt x="611" y="187"/>
                  </a:lnTo>
                  <a:lnTo>
                    <a:pt x="611" y="187"/>
                  </a:lnTo>
                  <a:lnTo>
                    <a:pt x="611" y="189"/>
                  </a:lnTo>
                  <a:close/>
                  <a:moveTo>
                    <a:pt x="602" y="182"/>
                  </a:move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lnTo>
                    <a:pt x="602" y="182"/>
                  </a:lnTo>
                  <a:close/>
                  <a:moveTo>
                    <a:pt x="615" y="173"/>
                  </a:move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6"/>
                  </a:lnTo>
                  <a:lnTo>
                    <a:pt x="615" y="176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3" y="176"/>
                  </a:lnTo>
                  <a:lnTo>
                    <a:pt x="613" y="176"/>
                  </a:lnTo>
                  <a:lnTo>
                    <a:pt x="613" y="176"/>
                  </a:lnTo>
                  <a:lnTo>
                    <a:pt x="613" y="176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3" y="173"/>
                  </a:lnTo>
                  <a:lnTo>
                    <a:pt x="611" y="173"/>
                  </a:lnTo>
                  <a:lnTo>
                    <a:pt x="611" y="173"/>
                  </a:lnTo>
                  <a:lnTo>
                    <a:pt x="611" y="173"/>
                  </a:lnTo>
                  <a:lnTo>
                    <a:pt x="611" y="173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6"/>
                  </a:lnTo>
                  <a:lnTo>
                    <a:pt x="611" y="178"/>
                  </a:lnTo>
                  <a:lnTo>
                    <a:pt x="608" y="178"/>
                  </a:lnTo>
                  <a:lnTo>
                    <a:pt x="611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6" y="178"/>
                  </a:lnTo>
                  <a:lnTo>
                    <a:pt x="606" y="180"/>
                  </a:lnTo>
                  <a:lnTo>
                    <a:pt x="606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4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2" y="178"/>
                  </a:lnTo>
                  <a:lnTo>
                    <a:pt x="602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8"/>
                  </a:lnTo>
                  <a:lnTo>
                    <a:pt x="604" y="176"/>
                  </a:lnTo>
                  <a:lnTo>
                    <a:pt x="604" y="176"/>
                  </a:lnTo>
                  <a:lnTo>
                    <a:pt x="604" y="176"/>
                  </a:lnTo>
                  <a:lnTo>
                    <a:pt x="604" y="176"/>
                  </a:lnTo>
                  <a:lnTo>
                    <a:pt x="604" y="176"/>
                  </a:lnTo>
                  <a:lnTo>
                    <a:pt x="606" y="176"/>
                  </a:lnTo>
                  <a:lnTo>
                    <a:pt x="606" y="176"/>
                  </a:lnTo>
                  <a:lnTo>
                    <a:pt x="606" y="173"/>
                  </a:lnTo>
                  <a:lnTo>
                    <a:pt x="606" y="173"/>
                  </a:lnTo>
                  <a:lnTo>
                    <a:pt x="606" y="173"/>
                  </a:lnTo>
                  <a:lnTo>
                    <a:pt x="606" y="173"/>
                  </a:lnTo>
                  <a:lnTo>
                    <a:pt x="606" y="173"/>
                  </a:lnTo>
                  <a:lnTo>
                    <a:pt x="606" y="173"/>
                  </a:lnTo>
                  <a:lnTo>
                    <a:pt x="606" y="173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11" y="173"/>
                  </a:lnTo>
                  <a:lnTo>
                    <a:pt x="613" y="171"/>
                  </a:lnTo>
                  <a:lnTo>
                    <a:pt x="613" y="171"/>
                  </a:lnTo>
                  <a:lnTo>
                    <a:pt x="613" y="171"/>
                  </a:lnTo>
                  <a:lnTo>
                    <a:pt x="613" y="171"/>
                  </a:lnTo>
                  <a:lnTo>
                    <a:pt x="613" y="171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lnTo>
                    <a:pt x="615" y="173"/>
                  </a:lnTo>
                  <a:close/>
                  <a:moveTo>
                    <a:pt x="557" y="155"/>
                  </a:moveTo>
                  <a:lnTo>
                    <a:pt x="555" y="158"/>
                  </a:lnTo>
                  <a:lnTo>
                    <a:pt x="555" y="158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7" y="153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close/>
                  <a:moveTo>
                    <a:pt x="559" y="153"/>
                  </a:moveTo>
                  <a:lnTo>
                    <a:pt x="559" y="153"/>
                  </a:lnTo>
                  <a:lnTo>
                    <a:pt x="559" y="153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9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5"/>
                  </a:lnTo>
                  <a:lnTo>
                    <a:pt x="557" y="153"/>
                  </a:lnTo>
                  <a:lnTo>
                    <a:pt x="557" y="153"/>
                  </a:lnTo>
                  <a:lnTo>
                    <a:pt x="559" y="153"/>
                  </a:lnTo>
                  <a:lnTo>
                    <a:pt x="559" y="153"/>
                  </a:lnTo>
                  <a:close/>
                  <a:moveTo>
                    <a:pt x="564" y="153"/>
                  </a:moveTo>
                  <a:lnTo>
                    <a:pt x="564" y="155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4" y="158"/>
                  </a:lnTo>
                  <a:lnTo>
                    <a:pt x="561" y="158"/>
                  </a:lnTo>
                  <a:lnTo>
                    <a:pt x="561" y="158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5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lnTo>
                    <a:pt x="564" y="153"/>
                  </a:lnTo>
                  <a:close/>
                  <a:moveTo>
                    <a:pt x="555" y="153"/>
                  </a:moveTo>
                  <a:lnTo>
                    <a:pt x="555" y="153"/>
                  </a:lnTo>
                  <a:lnTo>
                    <a:pt x="555" y="153"/>
                  </a:lnTo>
                  <a:lnTo>
                    <a:pt x="555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3"/>
                  </a:lnTo>
                  <a:lnTo>
                    <a:pt x="552" y="151"/>
                  </a:lnTo>
                  <a:lnTo>
                    <a:pt x="552" y="151"/>
                  </a:lnTo>
                  <a:lnTo>
                    <a:pt x="552" y="151"/>
                  </a:lnTo>
                  <a:lnTo>
                    <a:pt x="552" y="151"/>
                  </a:lnTo>
                  <a:lnTo>
                    <a:pt x="552" y="151"/>
                  </a:lnTo>
                  <a:lnTo>
                    <a:pt x="552" y="151"/>
                  </a:lnTo>
                  <a:lnTo>
                    <a:pt x="555" y="151"/>
                  </a:lnTo>
                  <a:lnTo>
                    <a:pt x="555" y="151"/>
                  </a:lnTo>
                  <a:lnTo>
                    <a:pt x="555" y="151"/>
                  </a:lnTo>
                  <a:lnTo>
                    <a:pt x="555" y="151"/>
                  </a:lnTo>
                  <a:lnTo>
                    <a:pt x="555" y="151"/>
                  </a:lnTo>
                  <a:lnTo>
                    <a:pt x="555" y="151"/>
                  </a:lnTo>
                  <a:lnTo>
                    <a:pt x="555" y="153"/>
                  </a:lnTo>
                  <a:close/>
                  <a:moveTo>
                    <a:pt x="559" y="153"/>
                  </a:move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3"/>
                  </a:lnTo>
                  <a:lnTo>
                    <a:pt x="559" y="151"/>
                  </a:lnTo>
                  <a:lnTo>
                    <a:pt x="559" y="151"/>
                  </a:lnTo>
                  <a:lnTo>
                    <a:pt x="559" y="151"/>
                  </a:lnTo>
                  <a:lnTo>
                    <a:pt x="559" y="151"/>
                  </a:lnTo>
                  <a:lnTo>
                    <a:pt x="559" y="151"/>
                  </a:lnTo>
                  <a:lnTo>
                    <a:pt x="559" y="151"/>
                  </a:lnTo>
                  <a:lnTo>
                    <a:pt x="561" y="151"/>
                  </a:lnTo>
                  <a:lnTo>
                    <a:pt x="561" y="151"/>
                  </a:lnTo>
                  <a:lnTo>
                    <a:pt x="561" y="151"/>
                  </a:lnTo>
                  <a:lnTo>
                    <a:pt x="561" y="151"/>
                  </a:lnTo>
                  <a:lnTo>
                    <a:pt x="561" y="151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61" y="153"/>
                  </a:lnTo>
                  <a:lnTo>
                    <a:pt x="559" y="153"/>
                  </a:lnTo>
                  <a:lnTo>
                    <a:pt x="559" y="153"/>
                  </a:lnTo>
                  <a:close/>
                  <a:moveTo>
                    <a:pt x="303" y="146"/>
                  </a:move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6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4"/>
                  </a:lnTo>
                  <a:lnTo>
                    <a:pt x="303" y="146"/>
                  </a:lnTo>
                  <a:close/>
                  <a:moveTo>
                    <a:pt x="305" y="144"/>
                  </a:move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7" y="146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5" y="149"/>
                  </a:lnTo>
                  <a:lnTo>
                    <a:pt x="305" y="149"/>
                  </a:lnTo>
                  <a:lnTo>
                    <a:pt x="305" y="149"/>
                  </a:lnTo>
                  <a:lnTo>
                    <a:pt x="303" y="149"/>
                  </a:lnTo>
                  <a:lnTo>
                    <a:pt x="305" y="149"/>
                  </a:lnTo>
                  <a:lnTo>
                    <a:pt x="305" y="149"/>
                  </a:lnTo>
                  <a:lnTo>
                    <a:pt x="305" y="149"/>
                  </a:lnTo>
                  <a:lnTo>
                    <a:pt x="305" y="149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3" y="146"/>
                  </a:lnTo>
                  <a:lnTo>
                    <a:pt x="305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3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6"/>
                  </a:lnTo>
                  <a:lnTo>
                    <a:pt x="305" y="144"/>
                  </a:lnTo>
                  <a:lnTo>
                    <a:pt x="303" y="144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5" y="144"/>
                  </a:lnTo>
                  <a:lnTo>
                    <a:pt x="305" y="144"/>
                  </a:lnTo>
                  <a:close/>
                  <a:moveTo>
                    <a:pt x="382" y="142"/>
                  </a:move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close/>
                  <a:moveTo>
                    <a:pt x="314" y="137"/>
                  </a:move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2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7"/>
                  </a:lnTo>
                  <a:close/>
                  <a:moveTo>
                    <a:pt x="386" y="140"/>
                  </a:moveTo>
                  <a:lnTo>
                    <a:pt x="386" y="140"/>
                  </a:lnTo>
                  <a:lnTo>
                    <a:pt x="386" y="140"/>
                  </a:lnTo>
                  <a:lnTo>
                    <a:pt x="386" y="137"/>
                  </a:lnTo>
                  <a:lnTo>
                    <a:pt x="386" y="137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6" y="137"/>
                  </a:lnTo>
                  <a:lnTo>
                    <a:pt x="386" y="137"/>
                  </a:lnTo>
                  <a:lnTo>
                    <a:pt x="386" y="137"/>
                  </a:lnTo>
                  <a:lnTo>
                    <a:pt x="386" y="137"/>
                  </a:lnTo>
                  <a:lnTo>
                    <a:pt x="386" y="140"/>
                  </a:lnTo>
                  <a:close/>
                  <a:moveTo>
                    <a:pt x="541" y="135"/>
                  </a:moveTo>
                  <a:lnTo>
                    <a:pt x="541" y="135"/>
                  </a:lnTo>
                  <a:lnTo>
                    <a:pt x="541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39" y="135"/>
                  </a:lnTo>
                  <a:lnTo>
                    <a:pt x="541" y="135"/>
                  </a:lnTo>
                  <a:lnTo>
                    <a:pt x="541" y="135"/>
                  </a:lnTo>
                  <a:close/>
                  <a:moveTo>
                    <a:pt x="413" y="135"/>
                  </a:move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1" y="135"/>
                  </a:lnTo>
                  <a:lnTo>
                    <a:pt x="411" y="135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3" y="133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close/>
                  <a:moveTo>
                    <a:pt x="411" y="135"/>
                  </a:move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5"/>
                  </a:lnTo>
                  <a:lnTo>
                    <a:pt x="411" y="135"/>
                  </a:lnTo>
                  <a:lnTo>
                    <a:pt x="411" y="135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1" y="133"/>
                  </a:lnTo>
                  <a:lnTo>
                    <a:pt x="411" y="135"/>
                  </a:lnTo>
                  <a:lnTo>
                    <a:pt x="411" y="135"/>
                  </a:lnTo>
                  <a:lnTo>
                    <a:pt x="411" y="135"/>
                  </a:lnTo>
                  <a:close/>
                  <a:moveTo>
                    <a:pt x="321" y="126"/>
                  </a:moveTo>
                  <a:lnTo>
                    <a:pt x="321" y="126"/>
                  </a:lnTo>
                  <a:lnTo>
                    <a:pt x="321" y="126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31"/>
                  </a:lnTo>
                  <a:lnTo>
                    <a:pt x="319" y="131"/>
                  </a:lnTo>
                  <a:lnTo>
                    <a:pt x="319" y="131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19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4"/>
                  </a:lnTo>
                  <a:lnTo>
                    <a:pt x="321" y="124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lnTo>
                    <a:pt x="321" y="126"/>
                  </a:lnTo>
                  <a:close/>
                  <a:moveTo>
                    <a:pt x="352" y="113"/>
                  </a:move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0" y="110"/>
                  </a:lnTo>
                  <a:lnTo>
                    <a:pt x="350" y="110"/>
                  </a:lnTo>
                  <a:lnTo>
                    <a:pt x="352" y="110"/>
                  </a:lnTo>
                  <a:lnTo>
                    <a:pt x="352" y="113"/>
                  </a:lnTo>
                  <a:lnTo>
                    <a:pt x="352" y="113"/>
                  </a:lnTo>
                  <a:close/>
                  <a:moveTo>
                    <a:pt x="566" y="110"/>
                  </a:move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close/>
                  <a:moveTo>
                    <a:pt x="555" y="108"/>
                  </a:move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10"/>
                  </a:lnTo>
                  <a:lnTo>
                    <a:pt x="555" y="110"/>
                  </a:lnTo>
                  <a:lnTo>
                    <a:pt x="555" y="110"/>
                  </a:lnTo>
                  <a:lnTo>
                    <a:pt x="555" y="110"/>
                  </a:lnTo>
                  <a:lnTo>
                    <a:pt x="555" y="110"/>
                  </a:lnTo>
                  <a:lnTo>
                    <a:pt x="555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08"/>
                  </a:lnTo>
                  <a:lnTo>
                    <a:pt x="552" y="108"/>
                  </a:lnTo>
                  <a:lnTo>
                    <a:pt x="552" y="108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2" y="110"/>
                  </a:lnTo>
                  <a:lnTo>
                    <a:pt x="550" y="110"/>
                  </a:lnTo>
                  <a:lnTo>
                    <a:pt x="552" y="108"/>
                  </a:lnTo>
                  <a:lnTo>
                    <a:pt x="552" y="108"/>
                  </a:lnTo>
                  <a:lnTo>
                    <a:pt x="552" y="108"/>
                  </a:lnTo>
                  <a:lnTo>
                    <a:pt x="552" y="108"/>
                  </a:lnTo>
                  <a:lnTo>
                    <a:pt x="552" y="108"/>
                  </a:lnTo>
                  <a:lnTo>
                    <a:pt x="552" y="106"/>
                  </a:lnTo>
                  <a:lnTo>
                    <a:pt x="552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lnTo>
                    <a:pt x="555" y="108"/>
                  </a:lnTo>
                  <a:close/>
                  <a:moveTo>
                    <a:pt x="566" y="110"/>
                  </a:moveTo>
                  <a:lnTo>
                    <a:pt x="566" y="110"/>
                  </a:lnTo>
                  <a:lnTo>
                    <a:pt x="566" y="110"/>
                  </a:lnTo>
                  <a:lnTo>
                    <a:pt x="566" y="108"/>
                  </a:lnTo>
                  <a:lnTo>
                    <a:pt x="566" y="108"/>
                  </a:lnTo>
                  <a:lnTo>
                    <a:pt x="568" y="108"/>
                  </a:lnTo>
                  <a:lnTo>
                    <a:pt x="568" y="108"/>
                  </a:lnTo>
                  <a:lnTo>
                    <a:pt x="568" y="108"/>
                  </a:lnTo>
                  <a:lnTo>
                    <a:pt x="568" y="108"/>
                  </a:lnTo>
                  <a:lnTo>
                    <a:pt x="568" y="110"/>
                  </a:lnTo>
                  <a:lnTo>
                    <a:pt x="568" y="110"/>
                  </a:lnTo>
                  <a:lnTo>
                    <a:pt x="568" y="110"/>
                  </a:lnTo>
                  <a:lnTo>
                    <a:pt x="568" y="110"/>
                  </a:lnTo>
                  <a:lnTo>
                    <a:pt x="566" y="110"/>
                  </a:lnTo>
                  <a:lnTo>
                    <a:pt x="566" y="113"/>
                  </a:lnTo>
                  <a:lnTo>
                    <a:pt x="566" y="113"/>
                  </a:lnTo>
                  <a:lnTo>
                    <a:pt x="566" y="113"/>
                  </a:lnTo>
                  <a:lnTo>
                    <a:pt x="564" y="113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6" y="115"/>
                  </a:lnTo>
                  <a:lnTo>
                    <a:pt x="566" y="115"/>
                  </a:lnTo>
                  <a:lnTo>
                    <a:pt x="566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7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5"/>
                  </a:lnTo>
                  <a:lnTo>
                    <a:pt x="564" y="117"/>
                  </a:lnTo>
                  <a:lnTo>
                    <a:pt x="564" y="117"/>
                  </a:lnTo>
                  <a:lnTo>
                    <a:pt x="564" y="117"/>
                  </a:lnTo>
                  <a:lnTo>
                    <a:pt x="561" y="117"/>
                  </a:lnTo>
                  <a:lnTo>
                    <a:pt x="561" y="119"/>
                  </a:lnTo>
                  <a:lnTo>
                    <a:pt x="561" y="119"/>
                  </a:lnTo>
                  <a:lnTo>
                    <a:pt x="564" y="119"/>
                  </a:lnTo>
                  <a:lnTo>
                    <a:pt x="564" y="119"/>
                  </a:lnTo>
                  <a:lnTo>
                    <a:pt x="564" y="119"/>
                  </a:lnTo>
                  <a:lnTo>
                    <a:pt x="564" y="119"/>
                  </a:lnTo>
                  <a:lnTo>
                    <a:pt x="564" y="119"/>
                  </a:lnTo>
                  <a:lnTo>
                    <a:pt x="564" y="119"/>
                  </a:lnTo>
                  <a:lnTo>
                    <a:pt x="564" y="119"/>
                  </a:lnTo>
                  <a:lnTo>
                    <a:pt x="564" y="117"/>
                  </a:lnTo>
                  <a:lnTo>
                    <a:pt x="564" y="117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6" y="117"/>
                  </a:lnTo>
                  <a:lnTo>
                    <a:pt x="566" y="117"/>
                  </a:lnTo>
                  <a:lnTo>
                    <a:pt x="568" y="117"/>
                  </a:lnTo>
                  <a:lnTo>
                    <a:pt x="568" y="117"/>
                  </a:lnTo>
                  <a:lnTo>
                    <a:pt x="568" y="117"/>
                  </a:lnTo>
                  <a:lnTo>
                    <a:pt x="568" y="117"/>
                  </a:lnTo>
                  <a:lnTo>
                    <a:pt x="568" y="117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8" y="119"/>
                  </a:lnTo>
                  <a:lnTo>
                    <a:pt x="566" y="119"/>
                  </a:lnTo>
                  <a:lnTo>
                    <a:pt x="566" y="119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6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1" y="122"/>
                  </a:lnTo>
                  <a:lnTo>
                    <a:pt x="561" y="122"/>
                  </a:lnTo>
                  <a:lnTo>
                    <a:pt x="561" y="122"/>
                  </a:lnTo>
                  <a:lnTo>
                    <a:pt x="561" y="122"/>
                  </a:lnTo>
                  <a:lnTo>
                    <a:pt x="557" y="119"/>
                  </a:lnTo>
                  <a:lnTo>
                    <a:pt x="557" y="119"/>
                  </a:lnTo>
                  <a:lnTo>
                    <a:pt x="557" y="119"/>
                  </a:lnTo>
                  <a:lnTo>
                    <a:pt x="557" y="119"/>
                  </a:lnTo>
                  <a:lnTo>
                    <a:pt x="557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5" y="119"/>
                  </a:lnTo>
                  <a:lnTo>
                    <a:pt x="557" y="119"/>
                  </a:lnTo>
                  <a:lnTo>
                    <a:pt x="557" y="119"/>
                  </a:lnTo>
                  <a:lnTo>
                    <a:pt x="557" y="117"/>
                  </a:lnTo>
                  <a:lnTo>
                    <a:pt x="557" y="117"/>
                  </a:lnTo>
                  <a:lnTo>
                    <a:pt x="557" y="117"/>
                  </a:lnTo>
                  <a:lnTo>
                    <a:pt x="557" y="117"/>
                  </a:lnTo>
                  <a:lnTo>
                    <a:pt x="557" y="117"/>
                  </a:lnTo>
                  <a:lnTo>
                    <a:pt x="557" y="115"/>
                  </a:lnTo>
                  <a:lnTo>
                    <a:pt x="557" y="115"/>
                  </a:lnTo>
                  <a:lnTo>
                    <a:pt x="557" y="113"/>
                  </a:lnTo>
                  <a:lnTo>
                    <a:pt x="557" y="113"/>
                  </a:lnTo>
                  <a:lnTo>
                    <a:pt x="557" y="110"/>
                  </a:lnTo>
                  <a:lnTo>
                    <a:pt x="557" y="110"/>
                  </a:lnTo>
                  <a:lnTo>
                    <a:pt x="557" y="110"/>
                  </a:lnTo>
                  <a:lnTo>
                    <a:pt x="557" y="110"/>
                  </a:lnTo>
                  <a:lnTo>
                    <a:pt x="557" y="110"/>
                  </a:lnTo>
                  <a:lnTo>
                    <a:pt x="557" y="110"/>
                  </a:lnTo>
                  <a:lnTo>
                    <a:pt x="557" y="110"/>
                  </a:lnTo>
                  <a:lnTo>
                    <a:pt x="559" y="110"/>
                  </a:lnTo>
                  <a:lnTo>
                    <a:pt x="559" y="110"/>
                  </a:lnTo>
                  <a:lnTo>
                    <a:pt x="559" y="110"/>
                  </a:lnTo>
                  <a:lnTo>
                    <a:pt x="559" y="110"/>
                  </a:lnTo>
                  <a:lnTo>
                    <a:pt x="559" y="110"/>
                  </a:lnTo>
                  <a:lnTo>
                    <a:pt x="559" y="110"/>
                  </a:lnTo>
                  <a:lnTo>
                    <a:pt x="559" y="108"/>
                  </a:lnTo>
                  <a:lnTo>
                    <a:pt x="559" y="110"/>
                  </a:lnTo>
                  <a:lnTo>
                    <a:pt x="559" y="110"/>
                  </a:lnTo>
                  <a:lnTo>
                    <a:pt x="561" y="110"/>
                  </a:lnTo>
                  <a:lnTo>
                    <a:pt x="561" y="110"/>
                  </a:lnTo>
                  <a:lnTo>
                    <a:pt x="561" y="110"/>
                  </a:lnTo>
                  <a:lnTo>
                    <a:pt x="561" y="110"/>
                  </a:lnTo>
                  <a:lnTo>
                    <a:pt x="561" y="110"/>
                  </a:lnTo>
                  <a:lnTo>
                    <a:pt x="561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61" y="106"/>
                  </a:lnTo>
                  <a:lnTo>
                    <a:pt x="561" y="106"/>
                  </a:lnTo>
                  <a:lnTo>
                    <a:pt x="561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1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6"/>
                  </a:lnTo>
                  <a:lnTo>
                    <a:pt x="564" y="106"/>
                  </a:lnTo>
                  <a:lnTo>
                    <a:pt x="564" y="106"/>
                  </a:lnTo>
                  <a:lnTo>
                    <a:pt x="564" y="106"/>
                  </a:lnTo>
                  <a:lnTo>
                    <a:pt x="564" y="106"/>
                  </a:lnTo>
                  <a:lnTo>
                    <a:pt x="564" y="106"/>
                  </a:lnTo>
                  <a:lnTo>
                    <a:pt x="564" y="106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10"/>
                  </a:lnTo>
                  <a:lnTo>
                    <a:pt x="564" y="110"/>
                  </a:lnTo>
                  <a:lnTo>
                    <a:pt x="564" y="110"/>
                  </a:lnTo>
                  <a:lnTo>
                    <a:pt x="564" y="110"/>
                  </a:lnTo>
                  <a:lnTo>
                    <a:pt x="564" y="110"/>
                  </a:lnTo>
                  <a:lnTo>
                    <a:pt x="564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close/>
                  <a:moveTo>
                    <a:pt x="555" y="101"/>
                  </a:moveTo>
                  <a:lnTo>
                    <a:pt x="555" y="101"/>
                  </a:lnTo>
                  <a:lnTo>
                    <a:pt x="555" y="101"/>
                  </a:lnTo>
                  <a:lnTo>
                    <a:pt x="552" y="101"/>
                  </a:lnTo>
                  <a:lnTo>
                    <a:pt x="552" y="101"/>
                  </a:lnTo>
                  <a:lnTo>
                    <a:pt x="552" y="101"/>
                  </a:lnTo>
                  <a:lnTo>
                    <a:pt x="552" y="101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1"/>
                  </a:lnTo>
                  <a:lnTo>
                    <a:pt x="552" y="101"/>
                  </a:lnTo>
                  <a:lnTo>
                    <a:pt x="552" y="101"/>
                  </a:lnTo>
                  <a:lnTo>
                    <a:pt x="552" y="101"/>
                  </a:lnTo>
                  <a:lnTo>
                    <a:pt x="552" y="99"/>
                  </a:lnTo>
                  <a:lnTo>
                    <a:pt x="552" y="99"/>
                  </a:lnTo>
                  <a:lnTo>
                    <a:pt x="552" y="99"/>
                  </a:lnTo>
                  <a:lnTo>
                    <a:pt x="552" y="99"/>
                  </a:lnTo>
                  <a:lnTo>
                    <a:pt x="552" y="99"/>
                  </a:lnTo>
                  <a:lnTo>
                    <a:pt x="552" y="99"/>
                  </a:lnTo>
                  <a:lnTo>
                    <a:pt x="552" y="101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55" y="101"/>
                  </a:lnTo>
                  <a:lnTo>
                    <a:pt x="555" y="101"/>
                  </a:lnTo>
                  <a:close/>
                  <a:moveTo>
                    <a:pt x="478" y="70"/>
                  </a:moveTo>
                  <a:lnTo>
                    <a:pt x="478" y="70"/>
                  </a:lnTo>
                  <a:lnTo>
                    <a:pt x="478" y="70"/>
                  </a:lnTo>
                  <a:lnTo>
                    <a:pt x="478" y="70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78" y="68"/>
                  </a:lnTo>
                  <a:lnTo>
                    <a:pt x="480" y="70"/>
                  </a:lnTo>
                  <a:lnTo>
                    <a:pt x="478" y="70"/>
                  </a:lnTo>
                  <a:close/>
                  <a:moveTo>
                    <a:pt x="570" y="70"/>
                  </a:moveTo>
                  <a:lnTo>
                    <a:pt x="570" y="70"/>
                  </a:lnTo>
                  <a:lnTo>
                    <a:pt x="570" y="70"/>
                  </a:lnTo>
                  <a:lnTo>
                    <a:pt x="570" y="70"/>
                  </a:lnTo>
                  <a:lnTo>
                    <a:pt x="570" y="70"/>
                  </a:lnTo>
                  <a:lnTo>
                    <a:pt x="570" y="70"/>
                  </a:lnTo>
                  <a:lnTo>
                    <a:pt x="573" y="68"/>
                  </a:lnTo>
                  <a:lnTo>
                    <a:pt x="573" y="70"/>
                  </a:lnTo>
                  <a:lnTo>
                    <a:pt x="573" y="70"/>
                  </a:lnTo>
                  <a:lnTo>
                    <a:pt x="573" y="70"/>
                  </a:lnTo>
                  <a:lnTo>
                    <a:pt x="570" y="70"/>
                  </a:lnTo>
                  <a:close/>
                  <a:moveTo>
                    <a:pt x="532" y="70"/>
                  </a:moveTo>
                  <a:lnTo>
                    <a:pt x="532" y="70"/>
                  </a:lnTo>
                  <a:lnTo>
                    <a:pt x="530" y="70"/>
                  </a:lnTo>
                  <a:lnTo>
                    <a:pt x="530" y="70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70"/>
                  </a:lnTo>
                  <a:lnTo>
                    <a:pt x="532" y="70"/>
                  </a:lnTo>
                  <a:close/>
                  <a:moveTo>
                    <a:pt x="532" y="68"/>
                  </a:move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2" y="68"/>
                  </a:lnTo>
                  <a:lnTo>
                    <a:pt x="534" y="68"/>
                  </a:lnTo>
                  <a:lnTo>
                    <a:pt x="532" y="68"/>
                  </a:lnTo>
                  <a:close/>
                  <a:moveTo>
                    <a:pt x="561" y="68"/>
                  </a:move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7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59" y="68"/>
                  </a:lnTo>
                  <a:lnTo>
                    <a:pt x="561" y="65"/>
                  </a:lnTo>
                  <a:lnTo>
                    <a:pt x="561" y="65"/>
                  </a:lnTo>
                  <a:lnTo>
                    <a:pt x="561" y="65"/>
                  </a:lnTo>
                  <a:lnTo>
                    <a:pt x="561" y="68"/>
                  </a:lnTo>
                  <a:close/>
                  <a:moveTo>
                    <a:pt x="534" y="65"/>
                  </a:moveTo>
                  <a:lnTo>
                    <a:pt x="534" y="65"/>
                  </a:lnTo>
                  <a:lnTo>
                    <a:pt x="534" y="65"/>
                  </a:lnTo>
                  <a:lnTo>
                    <a:pt x="537" y="65"/>
                  </a:lnTo>
                  <a:lnTo>
                    <a:pt x="537" y="65"/>
                  </a:lnTo>
                  <a:lnTo>
                    <a:pt x="537" y="65"/>
                  </a:lnTo>
                  <a:lnTo>
                    <a:pt x="537" y="65"/>
                  </a:lnTo>
                  <a:lnTo>
                    <a:pt x="537" y="65"/>
                  </a:lnTo>
                  <a:lnTo>
                    <a:pt x="534" y="65"/>
                  </a:lnTo>
                  <a:close/>
                  <a:moveTo>
                    <a:pt x="564" y="65"/>
                  </a:moveTo>
                  <a:lnTo>
                    <a:pt x="564" y="65"/>
                  </a:lnTo>
                  <a:lnTo>
                    <a:pt x="564" y="65"/>
                  </a:lnTo>
                  <a:lnTo>
                    <a:pt x="564" y="63"/>
                  </a:lnTo>
                  <a:lnTo>
                    <a:pt x="564" y="63"/>
                  </a:lnTo>
                  <a:lnTo>
                    <a:pt x="566" y="63"/>
                  </a:lnTo>
                  <a:lnTo>
                    <a:pt x="566" y="63"/>
                  </a:lnTo>
                  <a:lnTo>
                    <a:pt x="566" y="61"/>
                  </a:lnTo>
                  <a:lnTo>
                    <a:pt x="566" y="63"/>
                  </a:lnTo>
                  <a:lnTo>
                    <a:pt x="566" y="63"/>
                  </a:lnTo>
                  <a:lnTo>
                    <a:pt x="566" y="63"/>
                  </a:lnTo>
                  <a:lnTo>
                    <a:pt x="566" y="63"/>
                  </a:lnTo>
                  <a:lnTo>
                    <a:pt x="566" y="63"/>
                  </a:lnTo>
                  <a:lnTo>
                    <a:pt x="566" y="65"/>
                  </a:lnTo>
                  <a:lnTo>
                    <a:pt x="564" y="65"/>
                  </a:lnTo>
                  <a:close/>
                  <a:moveTo>
                    <a:pt x="568" y="61"/>
                  </a:moveTo>
                  <a:lnTo>
                    <a:pt x="568" y="61"/>
                  </a:lnTo>
                  <a:lnTo>
                    <a:pt x="568" y="61"/>
                  </a:lnTo>
                  <a:lnTo>
                    <a:pt x="566" y="61"/>
                  </a:lnTo>
                  <a:lnTo>
                    <a:pt x="566" y="61"/>
                  </a:lnTo>
                  <a:lnTo>
                    <a:pt x="566" y="61"/>
                  </a:lnTo>
                  <a:lnTo>
                    <a:pt x="566" y="61"/>
                  </a:lnTo>
                  <a:lnTo>
                    <a:pt x="566" y="61"/>
                  </a:lnTo>
                  <a:lnTo>
                    <a:pt x="566" y="61"/>
                  </a:lnTo>
                  <a:lnTo>
                    <a:pt x="568" y="61"/>
                  </a:lnTo>
                  <a:lnTo>
                    <a:pt x="568" y="61"/>
                  </a:lnTo>
                  <a:lnTo>
                    <a:pt x="568" y="61"/>
                  </a:lnTo>
                  <a:lnTo>
                    <a:pt x="568" y="61"/>
                  </a:lnTo>
                  <a:lnTo>
                    <a:pt x="568" y="61"/>
                  </a:lnTo>
                  <a:lnTo>
                    <a:pt x="568" y="61"/>
                  </a:lnTo>
                  <a:lnTo>
                    <a:pt x="568" y="61"/>
                  </a:lnTo>
                  <a:lnTo>
                    <a:pt x="568" y="61"/>
                  </a:lnTo>
                  <a:close/>
                  <a:moveTo>
                    <a:pt x="555" y="61"/>
                  </a:moveTo>
                  <a:lnTo>
                    <a:pt x="555" y="61"/>
                  </a:lnTo>
                  <a:lnTo>
                    <a:pt x="555" y="59"/>
                  </a:lnTo>
                  <a:lnTo>
                    <a:pt x="555" y="59"/>
                  </a:lnTo>
                  <a:lnTo>
                    <a:pt x="557" y="59"/>
                  </a:lnTo>
                  <a:lnTo>
                    <a:pt x="557" y="59"/>
                  </a:lnTo>
                  <a:lnTo>
                    <a:pt x="557" y="59"/>
                  </a:lnTo>
                  <a:lnTo>
                    <a:pt x="557" y="59"/>
                  </a:lnTo>
                  <a:lnTo>
                    <a:pt x="555" y="61"/>
                  </a:lnTo>
                  <a:close/>
                  <a:moveTo>
                    <a:pt x="485" y="59"/>
                  </a:move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61"/>
                  </a:lnTo>
                  <a:lnTo>
                    <a:pt x="485" y="61"/>
                  </a:lnTo>
                  <a:lnTo>
                    <a:pt x="485" y="61"/>
                  </a:lnTo>
                  <a:lnTo>
                    <a:pt x="483" y="61"/>
                  </a:lnTo>
                  <a:lnTo>
                    <a:pt x="483" y="61"/>
                  </a:lnTo>
                  <a:lnTo>
                    <a:pt x="483" y="59"/>
                  </a:lnTo>
                  <a:lnTo>
                    <a:pt x="483" y="59"/>
                  </a:lnTo>
                  <a:lnTo>
                    <a:pt x="483" y="59"/>
                  </a:lnTo>
                  <a:lnTo>
                    <a:pt x="483" y="59"/>
                  </a:lnTo>
                  <a:lnTo>
                    <a:pt x="483" y="59"/>
                  </a:lnTo>
                  <a:lnTo>
                    <a:pt x="483" y="59"/>
                  </a:lnTo>
                  <a:lnTo>
                    <a:pt x="485" y="59"/>
                  </a:lnTo>
                  <a:lnTo>
                    <a:pt x="485" y="59"/>
                  </a:lnTo>
                  <a:close/>
                  <a:moveTo>
                    <a:pt x="501" y="59"/>
                  </a:move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6"/>
                  </a:lnTo>
                  <a:lnTo>
                    <a:pt x="501" y="56"/>
                  </a:lnTo>
                  <a:lnTo>
                    <a:pt x="503" y="56"/>
                  </a:lnTo>
                  <a:lnTo>
                    <a:pt x="503" y="56"/>
                  </a:lnTo>
                  <a:lnTo>
                    <a:pt x="503" y="56"/>
                  </a:lnTo>
                  <a:lnTo>
                    <a:pt x="503" y="56"/>
                  </a:lnTo>
                  <a:lnTo>
                    <a:pt x="503" y="56"/>
                  </a:lnTo>
                  <a:lnTo>
                    <a:pt x="503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close/>
                  <a:moveTo>
                    <a:pt x="566" y="56"/>
                  </a:move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59" y="59"/>
                  </a:lnTo>
                  <a:lnTo>
                    <a:pt x="561" y="59"/>
                  </a:lnTo>
                  <a:lnTo>
                    <a:pt x="561" y="59"/>
                  </a:lnTo>
                  <a:lnTo>
                    <a:pt x="561" y="56"/>
                  </a:lnTo>
                  <a:lnTo>
                    <a:pt x="561" y="56"/>
                  </a:lnTo>
                  <a:lnTo>
                    <a:pt x="561" y="56"/>
                  </a:lnTo>
                  <a:lnTo>
                    <a:pt x="561" y="56"/>
                  </a:lnTo>
                  <a:lnTo>
                    <a:pt x="561" y="56"/>
                  </a:lnTo>
                  <a:lnTo>
                    <a:pt x="561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4" y="56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6"/>
                  </a:lnTo>
                  <a:close/>
                  <a:moveTo>
                    <a:pt x="503" y="54"/>
                  </a:move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6"/>
                  </a:lnTo>
                  <a:lnTo>
                    <a:pt x="501" y="56"/>
                  </a:lnTo>
                  <a:lnTo>
                    <a:pt x="501" y="56"/>
                  </a:lnTo>
                  <a:lnTo>
                    <a:pt x="501" y="56"/>
                  </a:lnTo>
                  <a:lnTo>
                    <a:pt x="501" y="56"/>
                  </a:lnTo>
                  <a:lnTo>
                    <a:pt x="501" y="56"/>
                  </a:lnTo>
                  <a:lnTo>
                    <a:pt x="501" y="54"/>
                  </a:lnTo>
                  <a:lnTo>
                    <a:pt x="501" y="54"/>
                  </a:lnTo>
                  <a:lnTo>
                    <a:pt x="501" y="54"/>
                  </a:lnTo>
                  <a:lnTo>
                    <a:pt x="501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lnTo>
                    <a:pt x="503" y="54"/>
                  </a:lnTo>
                  <a:close/>
                  <a:moveTo>
                    <a:pt x="438" y="54"/>
                  </a:moveTo>
                  <a:lnTo>
                    <a:pt x="438" y="54"/>
                  </a:lnTo>
                  <a:lnTo>
                    <a:pt x="438" y="56"/>
                  </a:lnTo>
                  <a:lnTo>
                    <a:pt x="438" y="56"/>
                  </a:lnTo>
                  <a:lnTo>
                    <a:pt x="440" y="56"/>
                  </a:lnTo>
                  <a:lnTo>
                    <a:pt x="440" y="56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2" y="59"/>
                  </a:lnTo>
                  <a:lnTo>
                    <a:pt x="442" y="59"/>
                  </a:lnTo>
                  <a:lnTo>
                    <a:pt x="442" y="61"/>
                  </a:lnTo>
                  <a:lnTo>
                    <a:pt x="442" y="61"/>
                  </a:lnTo>
                  <a:lnTo>
                    <a:pt x="442" y="61"/>
                  </a:lnTo>
                  <a:lnTo>
                    <a:pt x="442" y="61"/>
                  </a:lnTo>
                  <a:lnTo>
                    <a:pt x="442" y="61"/>
                  </a:lnTo>
                  <a:lnTo>
                    <a:pt x="442" y="63"/>
                  </a:lnTo>
                  <a:lnTo>
                    <a:pt x="442" y="63"/>
                  </a:lnTo>
                  <a:lnTo>
                    <a:pt x="442" y="63"/>
                  </a:lnTo>
                  <a:lnTo>
                    <a:pt x="440" y="63"/>
                  </a:lnTo>
                  <a:lnTo>
                    <a:pt x="440" y="63"/>
                  </a:lnTo>
                  <a:lnTo>
                    <a:pt x="440" y="63"/>
                  </a:lnTo>
                  <a:lnTo>
                    <a:pt x="440" y="63"/>
                  </a:lnTo>
                  <a:lnTo>
                    <a:pt x="438" y="63"/>
                  </a:lnTo>
                  <a:lnTo>
                    <a:pt x="438" y="61"/>
                  </a:lnTo>
                  <a:lnTo>
                    <a:pt x="438" y="61"/>
                  </a:lnTo>
                  <a:lnTo>
                    <a:pt x="438" y="61"/>
                  </a:lnTo>
                  <a:lnTo>
                    <a:pt x="435" y="61"/>
                  </a:lnTo>
                  <a:lnTo>
                    <a:pt x="435" y="61"/>
                  </a:lnTo>
                  <a:lnTo>
                    <a:pt x="435" y="61"/>
                  </a:lnTo>
                  <a:lnTo>
                    <a:pt x="435" y="61"/>
                  </a:lnTo>
                  <a:lnTo>
                    <a:pt x="433" y="63"/>
                  </a:lnTo>
                  <a:lnTo>
                    <a:pt x="433" y="63"/>
                  </a:lnTo>
                  <a:lnTo>
                    <a:pt x="431" y="63"/>
                  </a:lnTo>
                  <a:lnTo>
                    <a:pt x="431" y="63"/>
                  </a:lnTo>
                  <a:lnTo>
                    <a:pt x="431" y="63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61"/>
                  </a:lnTo>
                  <a:lnTo>
                    <a:pt x="431" y="59"/>
                  </a:lnTo>
                  <a:lnTo>
                    <a:pt x="431" y="59"/>
                  </a:lnTo>
                  <a:lnTo>
                    <a:pt x="431" y="59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3" y="59"/>
                  </a:lnTo>
                  <a:lnTo>
                    <a:pt x="435" y="59"/>
                  </a:lnTo>
                  <a:lnTo>
                    <a:pt x="433" y="59"/>
                  </a:lnTo>
                  <a:lnTo>
                    <a:pt x="433" y="56"/>
                  </a:lnTo>
                  <a:lnTo>
                    <a:pt x="435" y="56"/>
                  </a:lnTo>
                  <a:lnTo>
                    <a:pt x="435" y="56"/>
                  </a:lnTo>
                  <a:lnTo>
                    <a:pt x="435" y="54"/>
                  </a:lnTo>
                  <a:lnTo>
                    <a:pt x="435" y="54"/>
                  </a:lnTo>
                  <a:lnTo>
                    <a:pt x="435" y="54"/>
                  </a:lnTo>
                  <a:lnTo>
                    <a:pt x="433" y="54"/>
                  </a:lnTo>
                  <a:lnTo>
                    <a:pt x="433" y="54"/>
                  </a:lnTo>
                  <a:lnTo>
                    <a:pt x="433" y="54"/>
                  </a:lnTo>
                  <a:lnTo>
                    <a:pt x="433" y="54"/>
                  </a:lnTo>
                  <a:lnTo>
                    <a:pt x="435" y="54"/>
                  </a:lnTo>
                  <a:lnTo>
                    <a:pt x="435" y="54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8" y="52"/>
                  </a:lnTo>
                  <a:lnTo>
                    <a:pt x="438" y="52"/>
                  </a:lnTo>
                  <a:lnTo>
                    <a:pt x="438" y="52"/>
                  </a:lnTo>
                  <a:lnTo>
                    <a:pt x="438" y="52"/>
                  </a:lnTo>
                  <a:lnTo>
                    <a:pt x="438" y="50"/>
                  </a:lnTo>
                  <a:lnTo>
                    <a:pt x="438" y="52"/>
                  </a:lnTo>
                  <a:lnTo>
                    <a:pt x="438" y="52"/>
                  </a:lnTo>
                  <a:lnTo>
                    <a:pt x="438" y="52"/>
                  </a:lnTo>
                  <a:lnTo>
                    <a:pt x="440" y="54"/>
                  </a:lnTo>
                  <a:lnTo>
                    <a:pt x="440" y="54"/>
                  </a:lnTo>
                  <a:lnTo>
                    <a:pt x="438" y="54"/>
                  </a:lnTo>
                  <a:close/>
                  <a:moveTo>
                    <a:pt x="442" y="50"/>
                  </a:moveTo>
                  <a:lnTo>
                    <a:pt x="442" y="50"/>
                  </a:lnTo>
                  <a:lnTo>
                    <a:pt x="442" y="50"/>
                  </a:lnTo>
                  <a:lnTo>
                    <a:pt x="442" y="50"/>
                  </a:lnTo>
                  <a:lnTo>
                    <a:pt x="442" y="50"/>
                  </a:lnTo>
                  <a:lnTo>
                    <a:pt x="442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4" y="50"/>
                  </a:lnTo>
                  <a:lnTo>
                    <a:pt x="444" y="50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2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2"/>
                  </a:lnTo>
                  <a:lnTo>
                    <a:pt x="444" y="54"/>
                  </a:lnTo>
                  <a:lnTo>
                    <a:pt x="447" y="52"/>
                  </a:lnTo>
                  <a:lnTo>
                    <a:pt x="447" y="52"/>
                  </a:lnTo>
                  <a:lnTo>
                    <a:pt x="449" y="52"/>
                  </a:lnTo>
                  <a:lnTo>
                    <a:pt x="449" y="52"/>
                  </a:lnTo>
                  <a:lnTo>
                    <a:pt x="449" y="50"/>
                  </a:lnTo>
                  <a:lnTo>
                    <a:pt x="451" y="50"/>
                  </a:lnTo>
                  <a:lnTo>
                    <a:pt x="451" y="50"/>
                  </a:lnTo>
                  <a:lnTo>
                    <a:pt x="451" y="50"/>
                  </a:lnTo>
                  <a:lnTo>
                    <a:pt x="451" y="52"/>
                  </a:lnTo>
                  <a:lnTo>
                    <a:pt x="451" y="52"/>
                  </a:lnTo>
                  <a:lnTo>
                    <a:pt x="451" y="52"/>
                  </a:lnTo>
                  <a:lnTo>
                    <a:pt x="451" y="52"/>
                  </a:lnTo>
                  <a:lnTo>
                    <a:pt x="451" y="52"/>
                  </a:lnTo>
                  <a:lnTo>
                    <a:pt x="453" y="52"/>
                  </a:lnTo>
                  <a:lnTo>
                    <a:pt x="453" y="50"/>
                  </a:lnTo>
                  <a:lnTo>
                    <a:pt x="453" y="50"/>
                  </a:lnTo>
                  <a:lnTo>
                    <a:pt x="453" y="50"/>
                  </a:lnTo>
                  <a:lnTo>
                    <a:pt x="453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47"/>
                  </a:lnTo>
                  <a:lnTo>
                    <a:pt x="458" y="47"/>
                  </a:lnTo>
                  <a:lnTo>
                    <a:pt x="458" y="47"/>
                  </a:lnTo>
                  <a:lnTo>
                    <a:pt x="458" y="47"/>
                  </a:lnTo>
                  <a:lnTo>
                    <a:pt x="458" y="47"/>
                  </a:lnTo>
                  <a:lnTo>
                    <a:pt x="458" y="47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0" y="50"/>
                  </a:lnTo>
                  <a:lnTo>
                    <a:pt x="462" y="50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2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2" y="54"/>
                  </a:lnTo>
                  <a:lnTo>
                    <a:pt x="460" y="54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60" y="56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3" y="63"/>
                  </a:lnTo>
                  <a:lnTo>
                    <a:pt x="449" y="65"/>
                  </a:lnTo>
                  <a:lnTo>
                    <a:pt x="449" y="65"/>
                  </a:lnTo>
                  <a:lnTo>
                    <a:pt x="449" y="65"/>
                  </a:lnTo>
                  <a:lnTo>
                    <a:pt x="449" y="65"/>
                  </a:lnTo>
                  <a:lnTo>
                    <a:pt x="449" y="63"/>
                  </a:lnTo>
                  <a:lnTo>
                    <a:pt x="447" y="63"/>
                  </a:lnTo>
                  <a:lnTo>
                    <a:pt x="447" y="63"/>
                  </a:lnTo>
                  <a:lnTo>
                    <a:pt x="444" y="63"/>
                  </a:lnTo>
                  <a:lnTo>
                    <a:pt x="444" y="63"/>
                  </a:lnTo>
                  <a:lnTo>
                    <a:pt x="444" y="63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4" y="61"/>
                  </a:lnTo>
                  <a:lnTo>
                    <a:pt x="442" y="61"/>
                  </a:lnTo>
                  <a:lnTo>
                    <a:pt x="442" y="59"/>
                  </a:lnTo>
                  <a:lnTo>
                    <a:pt x="442" y="59"/>
                  </a:lnTo>
                  <a:lnTo>
                    <a:pt x="442" y="59"/>
                  </a:lnTo>
                  <a:lnTo>
                    <a:pt x="442" y="59"/>
                  </a:lnTo>
                  <a:lnTo>
                    <a:pt x="442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9"/>
                  </a:lnTo>
                  <a:lnTo>
                    <a:pt x="440" y="56"/>
                  </a:lnTo>
                  <a:lnTo>
                    <a:pt x="440" y="56"/>
                  </a:lnTo>
                  <a:lnTo>
                    <a:pt x="440" y="56"/>
                  </a:lnTo>
                  <a:lnTo>
                    <a:pt x="440" y="56"/>
                  </a:lnTo>
                  <a:lnTo>
                    <a:pt x="440" y="56"/>
                  </a:lnTo>
                  <a:lnTo>
                    <a:pt x="440" y="54"/>
                  </a:lnTo>
                  <a:lnTo>
                    <a:pt x="440" y="54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0"/>
                  </a:lnTo>
                  <a:lnTo>
                    <a:pt x="440" y="50"/>
                  </a:lnTo>
                  <a:lnTo>
                    <a:pt x="440" y="50"/>
                  </a:lnTo>
                  <a:lnTo>
                    <a:pt x="440" y="50"/>
                  </a:lnTo>
                  <a:lnTo>
                    <a:pt x="440" y="50"/>
                  </a:lnTo>
                  <a:lnTo>
                    <a:pt x="440" y="50"/>
                  </a:lnTo>
                  <a:lnTo>
                    <a:pt x="440" y="47"/>
                  </a:lnTo>
                  <a:lnTo>
                    <a:pt x="440" y="47"/>
                  </a:lnTo>
                  <a:lnTo>
                    <a:pt x="440" y="47"/>
                  </a:lnTo>
                  <a:lnTo>
                    <a:pt x="440" y="47"/>
                  </a:lnTo>
                  <a:lnTo>
                    <a:pt x="440" y="47"/>
                  </a:lnTo>
                  <a:lnTo>
                    <a:pt x="440" y="47"/>
                  </a:lnTo>
                  <a:lnTo>
                    <a:pt x="442" y="50"/>
                  </a:lnTo>
                  <a:close/>
                  <a:moveTo>
                    <a:pt x="573" y="43"/>
                  </a:moveTo>
                  <a:lnTo>
                    <a:pt x="573" y="43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0" y="47"/>
                  </a:lnTo>
                  <a:lnTo>
                    <a:pt x="570" y="50"/>
                  </a:lnTo>
                  <a:lnTo>
                    <a:pt x="570" y="50"/>
                  </a:lnTo>
                  <a:lnTo>
                    <a:pt x="570" y="50"/>
                  </a:lnTo>
                  <a:lnTo>
                    <a:pt x="570" y="52"/>
                  </a:lnTo>
                  <a:lnTo>
                    <a:pt x="568" y="52"/>
                  </a:lnTo>
                  <a:lnTo>
                    <a:pt x="568" y="54"/>
                  </a:lnTo>
                  <a:lnTo>
                    <a:pt x="568" y="54"/>
                  </a:lnTo>
                  <a:lnTo>
                    <a:pt x="568" y="54"/>
                  </a:lnTo>
                  <a:lnTo>
                    <a:pt x="568" y="54"/>
                  </a:lnTo>
                  <a:lnTo>
                    <a:pt x="568" y="54"/>
                  </a:lnTo>
                  <a:lnTo>
                    <a:pt x="568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4"/>
                  </a:lnTo>
                  <a:lnTo>
                    <a:pt x="566" y="52"/>
                  </a:lnTo>
                  <a:lnTo>
                    <a:pt x="566" y="52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8" y="50"/>
                  </a:lnTo>
                  <a:lnTo>
                    <a:pt x="568" y="50"/>
                  </a:lnTo>
                  <a:lnTo>
                    <a:pt x="570" y="50"/>
                  </a:lnTo>
                  <a:lnTo>
                    <a:pt x="570" y="50"/>
                  </a:lnTo>
                  <a:lnTo>
                    <a:pt x="570" y="47"/>
                  </a:lnTo>
                  <a:lnTo>
                    <a:pt x="573" y="47"/>
                  </a:lnTo>
                  <a:lnTo>
                    <a:pt x="573" y="47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5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lnTo>
                    <a:pt x="573" y="43"/>
                  </a:lnTo>
                  <a:close/>
                  <a:moveTo>
                    <a:pt x="485" y="43"/>
                  </a:moveTo>
                  <a:lnTo>
                    <a:pt x="487" y="45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7" y="45"/>
                  </a:lnTo>
                  <a:lnTo>
                    <a:pt x="487" y="45"/>
                  </a:lnTo>
                  <a:lnTo>
                    <a:pt x="487" y="45"/>
                  </a:lnTo>
                  <a:lnTo>
                    <a:pt x="487" y="45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5" y="47"/>
                  </a:lnTo>
                  <a:lnTo>
                    <a:pt x="485" y="47"/>
                  </a:lnTo>
                  <a:lnTo>
                    <a:pt x="487" y="47"/>
                  </a:lnTo>
                  <a:lnTo>
                    <a:pt x="487" y="47"/>
                  </a:lnTo>
                  <a:lnTo>
                    <a:pt x="485" y="47"/>
                  </a:lnTo>
                  <a:lnTo>
                    <a:pt x="485" y="47"/>
                  </a:lnTo>
                  <a:lnTo>
                    <a:pt x="487" y="47"/>
                  </a:lnTo>
                  <a:lnTo>
                    <a:pt x="487" y="50"/>
                  </a:lnTo>
                  <a:lnTo>
                    <a:pt x="485" y="50"/>
                  </a:lnTo>
                  <a:lnTo>
                    <a:pt x="485" y="50"/>
                  </a:lnTo>
                  <a:lnTo>
                    <a:pt x="485" y="52"/>
                  </a:lnTo>
                  <a:lnTo>
                    <a:pt x="485" y="50"/>
                  </a:lnTo>
                  <a:lnTo>
                    <a:pt x="485" y="50"/>
                  </a:lnTo>
                  <a:lnTo>
                    <a:pt x="485" y="50"/>
                  </a:lnTo>
                  <a:lnTo>
                    <a:pt x="485" y="47"/>
                  </a:lnTo>
                  <a:lnTo>
                    <a:pt x="483" y="47"/>
                  </a:lnTo>
                  <a:lnTo>
                    <a:pt x="483" y="47"/>
                  </a:lnTo>
                  <a:lnTo>
                    <a:pt x="483" y="47"/>
                  </a:lnTo>
                  <a:lnTo>
                    <a:pt x="483" y="47"/>
                  </a:lnTo>
                  <a:lnTo>
                    <a:pt x="485" y="47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5" y="45"/>
                  </a:lnTo>
                  <a:lnTo>
                    <a:pt x="483" y="45"/>
                  </a:lnTo>
                  <a:lnTo>
                    <a:pt x="483" y="45"/>
                  </a:lnTo>
                  <a:lnTo>
                    <a:pt x="483" y="43"/>
                  </a:lnTo>
                  <a:lnTo>
                    <a:pt x="483" y="43"/>
                  </a:lnTo>
                  <a:lnTo>
                    <a:pt x="483" y="43"/>
                  </a:lnTo>
                  <a:lnTo>
                    <a:pt x="485" y="43"/>
                  </a:lnTo>
                  <a:lnTo>
                    <a:pt x="485" y="45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7" y="43"/>
                  </a:lnTo>
                  <a:lnTo>
                    <a:pt x="487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lnTo>
                    <a:pt x="485" y="43"/>
                  </a:lnTo>
                  <a:close/>
                  <a:moveTo>
                    <a:pt x="696" y="36"/>
                  </a:moveTo>
                  <a:lnTo>
                    <a:pt x="696" y="36"/>
                  </a:lnTo>
                  <a:lnTo>
                    <a:pt x="696" y="36"/>
                  </a:lnTo>
                  <a:lnTo>
                    <a:pt x="696" y="36"/>
                  </a:lnTo>
                  <a:lnTo>
                    <a:pt x="696" y="36"/>
                  </a:lnTo>
                  <a:lnTo>
                    <a:pt x="696" y="38"/>
                  </a:lnTo>
                  <a:lnTo>
                    <a:pt x="696" y="38"/>
                  </a:lnTo>
                  <a:lnTo>
                    <a:pt x="696" y="38"/>
                  </a:lnTo>
                  <a:lnTo>
                    <a:pt x="696" y="38"/>
                  </a:lnTo>
                  <a:lnTo>
                    <a:pt x="696" y="38"/>
                  </a:lnTo>
                  <a:lnTo>
                    <a:pt x="696" y="38"/>
                  </a:lnTo>
                  <a:lnTo>
                    <a:pt x="696" y="38"/>
                  </a:lnTo>
                  <a:lnTo>
                    <a:pt x="694" y="38"/>
                  </a:lnTo>
                  <a:lnTo>
                    <a:pt x="694" y="38"/>
                  </a:lnTo>
                  <a:lnTo>
                    <a:pt x="694" y="38"/>
                  </a:lnTo>
                  <a:lnTo>
                    <a:pt x="694" y="38"/>
                  </a:lnTo>
                  <a:lnTo>
                    <a:pt x="694" y="38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4" y="41"/>
                  </a:lnTo>
                  <a:lnTo>
                    <a:pt x="696" y="41"/>
                  </a:lnTo>
                  <a:lnTo>
                    <a:pt x="696" y="41"/>
                  </a:lnTo>
                  <a:lnTo>
                    <a:pt x="696" y="41"/>
                  </a:lnTo>
                  <a:lnTo>
                    <a:pt x="696" y="41"/>
                  </a:lnTo>
                  <a:lnTo>
                    <a:pt x="696" y="41"/>
                  </a:lnTo>
                  <a:lnTo>
                    <a:pt x="696" y="41"/>
                  </a:lnTo>
                  <a:lnTo>
                    <a:pt x="696" y="41"/>
                  </a:lnTo>
                  <a:lnTo>
                    <a:pt x="696" y="43"/>
                  </a:lnTo>
                  <a:lnTo>
                    <a:pt x="696" y="43"/>
                  </a:lnTo>
                  <a:lnTo>
                    <a:pt x="696" y="43"/>
                  </a:lnTo>
                  <a:lnTo>
                    <a:pt x="696" y="43"/>
                  </a:lnTo>
                  <a:lnTo>
                    <a:pt x="698" y="43"/>
                  </a:lnTo>
                  <a:lnTo>
                    <a:pt x="698" y="43"/>
                  </a:lnTo>
                  <a:lnTo>
                    <a:pt x="698" y="43"/>
                  </a:lnTo>
                  <a:lnTo>
                    <a:pt x="698" y="43"/>
                  </a:lnTo>
                  <a:lnTo>
                    <a:pt x="698" y="43"/>
                  </a:lnTo>
                  <a:lnTo>
                    <a:pt x="698" y="43"/>
                  </a:lnTo>
                  <a:lnTo>
                    <a:pt x="698" y="43"/>
                  </a:lnTo>
                  <a:lnTo>
                    <a:pt x="698" y="45"/>
                  </a:lnTo>
                  <a:lnTo>
                    <a:pt x="698" y="45"/>
                  </a:lnTo>
                  <a:lnTo>
                    <a:pt x="698" y="45"/>
                  </a:lnTo>
                  <a:lnTo>
                    <a:pt x="698" y="47"/>
                  </a:lnTo>
                  <a:lnTo>
                    <a:pt x="698" y="47"/>
                  </a:lnTo>
                  <a:lnTo>
                    <a:pt x="698" y="47"/>
                  </a:lnTo>
                  <a:lnTo>
                    <a:pt x="698" y="47"/>
                  </a:lnTo>
                  <a:lnTo>
                    <a:pt x="698" y="47"/>
                  </a:lnTo>
                  <a:lnTo>
                    <a:pt x="698" y="47"/>
                  </a:lnTo>
                  <a:lnTo>
                    <a:pt x="698" y="50"/>
                  </a:lnTo>
                  <a:lnTo>
                    <a:pt x="698" y="50"/>
                  </a:lnTo>
                  <a:lnTo>
                    <a:pt x="698" y="50"/>
                  </a:lnTo>
                  <a:lnTo>
                    <a:pt x="698" y="50"/>
                  </a:lnTo>
                  <a:lnTo>
                    <a:pt x="698" y="50"/>
                  </a:lnTo>
                  <a:lnTo>
                    <a:pt x="698" y="50"/>
                  </a:lnTo>
                  <a:lnTo>
                    <a:pt x="701" y="52"/>
                  </a:lnTo>
                  <a:lnTo>
                    <a:pt x="701" y="52"/>
                  </a:lnTo>
                  <a:lnTo>
                    <a:pt x="701" y="52"/>
                  </a:lnTo>
                  <a:lnTo>
                    <a:pt x="701" y="52"/>
                  </a:lnTo>
                  <a:lnTo>
                    <a:pt x="701" y="52"/>
                  </a:lnTo>
                  <a:lnTo>
                    <a:pt x="701" y="52"/>
                  </a:lnTo>
                  <a:lnTo>
                    <a:pt x="698" y="52"/>
                  </a:lnTo>
                  <a:lnTo>
                    <a:pt x="698" y="54"/>
                  </a:lnTo>
                  <a:lnTo>
                    <a:pt x="698" y="54"/>
                  </a:lnTo>
                  <a:lnTo>
                    <a:pt x="698" y="54"/>
                  </a:lnTo>
                  <a:lnTo>
                    <a:pt x="698" y="54"/>
                  </a:lnTo>
                  <a:lnTo>
                    <a:pt x="698" y="56"/>
                  </a:lnTo>
                  <a:lnTo>
                    <a:pt x="698" y="56"/>
                  </a:lnTo>
                  <a:lnTo>
                    <a:pt x="698" y="56"/>
                  </a:lnTo>
                  <a:lnTo>
                    <a:pt x="698" y="56"/>
                  </a:lnTo>
                  <a:lnTo>
                    <a:pt x="698" y="56"/>
                  </a:lnTo>
                  <a:lnTo>
                    <a:pt x="698" y="61"/>
                  </a:lnTo>
                  <a:lnTo>
                    <a:pt x="698" y="63"/>
                  </a:lnTo>
                  <a:lnTo>
                    <a:pt x="698" y="63"/>
                  </a:lnTo>
                  <a:lnTo>
                    <a:pt x="698" y="63"/>
                  </a:lnTo>
                  <a:lnTo>
                    <a:pt x="698" y="63"/>
                  </a:lnTo>
                  <a:lnTo>
                    <a:pt x="701" y="63"/>
                  </a:lnTo>
                  <a:lnTo>
                    <a:pt x="701" y="65"/>
                  </a:lnTo>
                  <a:lnTo>
                    <a:pt x="701" y="65"/>
                  </a:lnTo>
                  <a:lnTo>
                    <a:pt x="701" y="65"/>
                  </a:lnTo>
                  <a:lnTo>
                    <a:pt x="701" y="65"/>
                  </a:lnTo>
                  <a:lnTo>
                    <a:pt x="703" y="65"/>
                  </a:lnTo>
                  <a:lnTo>
                    <a:pt x="703" y="65"/>
                  </a:lnTo>
                  <a:lnTo>
                    <a:pt x="703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5" y="65"/>
                  </a:lnTo>
                  <a:lnTo>
                    <a:pt x="703" y="70"/>
                  </a:lnTo>
                  <a:lnTo>
                    <a:pt x="703" y="70"/>
                  </a:lnTo>
                  <a:lnTo>
                    <a:pt x="703" y="70"/>
                  </a:lnTo>
                  <a:lnTo>
                    <a:pt x="703" y="70"/>
                  </a:lnTo>
                  <a:lnTo>
                    <a:pt x="703" y="70"/>
                  </a:lnTo>
                  <a:lnTo>
                    <a:pt x="703" y="70"/>
                  </a:lnTo>
                  <a:lnTo>
                    <a:pt x="703" y="72"/>
                  </a:lnTo>
                  <a:lnTo>
                    <a:pt x="703" y="72"/>
                  </a:lnTo>
                  <a:lnTo>
                    <a:pt x="703" y="72"/>
                  </a:lnTo>
                  <a:lnTo>
                    <a:pt x="701" y="72"/>
                  </a:lnTo>
                  <a:lnTo>
                    <a:pt x="701" y="72"/>
                  </a:lnTo>
                  <a:lnTo>
                    <a:pt x="701" y="72"/>
                  </a:lnTo>
                  <a:lnTo>
                    <a:pt x="701" y="72"/>
                  </a:lnTo>
                  <a:lnTo>
                    <a:pt x="701" y="72"/>
                  </a:lnTo>
                  <a:lnTo>
                    <a:pt x="701" y="72"/>
                  </a:lnTo>
                  <a:lnTo>
                    <a:pt x="701" y="74"/>
                  </a:lnTo>
                  <a:lnTo>
                    <a:pt x="701" y="74"/>
                  </a:lnTo>
                  <a:lnTo>
                    <a:pt x="701" y="74"/>
                  </a:lnTo>
                  <a:lnTo>
                    <a:pt x="701" y="74"/>
                  </a:lnTo>
                  <a:lnTo>
                    <a:pt x="703" y="74"/>
                  </a:lnTo>
                  <a:lnTo>
                    <a:pt x="703" y="74"/>
                  </a:lnTo>
                  <a:lnTo>
                    <a:pt x="703" y="74"/>
                  </a:lnTo>
                  <a:lnTo>
                    <a:pt x="703" y="74"/>
                  </a:lnTo>
                  <a:lnTo>
                    <a:pt x="703" y="74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5" y="77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5" y="79"/>
                  </a:lnTo>
                  <a:lnTo>
                    <a:pt x="705" y="81"/>
                  </a:lnTo>
                  <a:lnTo>
                    <a:pt x="707" y="81"/>
                  </a:lnTo>
                  <a:lnTo>
                    <a:pt x="707" y="81"/>
                  </a:lnTo>
                  <a:lnTo>
                    <a:pt x="707" y="81"/>
                  </a:lnTo>
                  <a:lnTo>
                    <a:pt x="707" y="81"/>
                  </a:lnTo>
                  <a:lnTo>
                    <a:pt x="707" y="81"/>
                  </a:lnTo>
                  <a:lnTo>
                    <a:pt x="707" y="81"/>
                  </a:lnTo>
                  <a:lnTo>
                    <a:pt x="707" y="81"/>
                  </a:lnTo>
                  <a:lnTo>
                    <a:pt x="707" y="83"/>
                  </a:lnTo>
                  <a:lnTo>
                    <a:pt x="707" y="83"/>
                  </a:lnTo>
                  <a:lnTo>
                    <a:pt x="707" y="83"/>
                  </a:lnTo>
                  <a:lnTo>
                    <a:pt x="705" y="83"/>
                  </a:lnTo>
                  <a:lnTo>
                    <a:pt x="705" y="86"/>
                  </a:lnTo>
                  <a:lnTo>
                    <a:pt x="705" y="86"/>
                  </a:lnTo>
                  <a:lnTo>
                    <a:pt x="705" y="88"/>
                  </a:lnTo>
                  <a:lnTo>
                    <a:pt x="705" y="88"/>
                  </a:lnTo>
                  <a:lnTo>
                    <a:pt x="705" y="88"/>
                  </a:lnTo>
                  <a:lnTo>
                    <a:pt x="705" y="88"/>
                  </a:lnTo>
                  <a:lnTo>
                    <a:pt x="705" y="88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07" y="88"/>
                  </a:lnTo>
                  <a:lnTo>
                    <a:pt x="710" y="88"/>
                  </a:lnTo>
                  <a:lnTo>
                    <a:pt x="710" y="86"/>
                  </a:lnTo>
                  <a:lnTo>
                    <a:pt x="710" y="86"/>
                  </a:lnTo>
                  <a:lnTo>
                    <a:pt x="707" y="88"/>
                  </a:lnTo>
                  <a:lnTo>
                    <a:pt x="707" y="90"/>
                  </a:lnTo>
                  <a:lnTo>
                    <a:pt x="707" y="90"/>
                  </a:lnTo>
                  <a:lnTo>
                    <a:pt x="707" y="92"/>
                  </a:lnTo>
                  <a:lnTo>
                    <a:pt x="707" y="95"/>
                  </a:lnTo>
                  <a:lnTo>
                    <a:pt x="707" y="99"/>
                  </a:lnTo>
                  <a:lnTo>
                    <a:pt x="707" y="99"/>
                  </a:lnTo>
                  <a:lnTo>
                    <a:pt x="707" y="99"/>
                  </a:lnTo>
                  <a:lnTo>
                    <a:pt x="707" y="99"/>
                  </a:lnTo>
                  <a:lnTo>
                    <a:pt x="707" y="99"/>
                  </a:lnTo>
                  <a:lnTo>
                    <a:pt x="707" y="99"/>
                  </a:lnTo>
                  <a:lnTo>
                    <a:pt x="707" y="101"/>
                  </a:lnTo>
                  <a:lnTo>
                    <a:pt x="707" y="101"/>
                  </a:lnTo>
                  <a:lnTo>
                    <a:pt x="707" y="101"/>
                  </a:lnTo>
                  <a:lnTo>
                    <a:pt x="707" y="101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4"/>
                  </a:lnTo>
                  <a:lnTo>
                    <a:pt x="707" y="106"/>
                  </a:lnTo>
                  <a:lnTo>
                    <a:pt x="707" y="106"/>
                  </a:lnTo>
                  <a:lnTo>
                    <a:pt x="707" y="108"/>
                  </a:lnTo>
                  <a:lnTo>
                    <a:pt x="705" y="108"/>
                  </a:lnTo>
                  <a:lnTo>
                    <a:pt x="705" y="108"/>
                  </a:lnTo>
                  <a:lnTo>
                    <a:pt x="705" y="108"/>
                  </a:lnTo>
                  <a:lnTo>
                    <a:pt x="705" y="110"/>
                  </a:lnTo>
                  <a:lnTo>
                    <a:pt x="705" y="110"/>
                  </a:lnTo>
                  <a:lnTo>
                    <a:pt x="705" y="110"/>
                  </a:lnTo>
                  <a:lnTo>
                    <a:pt x="707" y="110"/>
                  </a:lnTo>
                  <a:lnTo>
                    <a:pt x="707" y="113"/>
                  </a:lnTo>
                  <a:lnTo>
                    <a:pt x="707" y="113"/>
                  </a:lnTo>
                  <a:lnTo>
                    <a:pt x="707" y="113"/>
                  </a:lnTo>
                  <a:lnTo>
                    <a:pt x="707" y="113"/>
                  </a:lnTo>
                  <a:lnTo>
                    <a:pt x="707" y="113"/>
                  </a:lnTo>
                  <a:lnTo>
                    <a:pt x="707" y="113"/>
                  </a:lnTo>
                  <a:lnTo>
                    <a:pt x="707" y="115"/>
                  </a:lnTo>
                  <a:lnTo>
                    <a:pt x="707" y="115"/>
                  </a:lnTo>
                  <a:lnTo>
                    <a:pt x="707" y="117"/>
                  </a:lnTo>
                  <a:lnTo>
                    <a:pt x="707" y="117"/>
                  </a:lnTo>
                  <a:lnTo>
                    <a:pt x="707" y="117"/>
                  </a:lnTo>
                  <a:lnTo>
                    <a:pt x="707" y="119"/>
                  </a:lnTo>
                  <a:lnTo>
                    <a:pt x="707" y="122"/>
                  </a:lnTo>
                  <a:lnTo>
                    <a:pt x="710" y="124"/>
                  </a:lnTo>
                  <a:lnTo>
                    <a:pt x="710" y="124"/>
                  </a:lnTo>
                  <a:lnTo>
                    <a:pt x="710" y="126"/>
                  </a:lnTo>
                  <a:lnTo>
                    <a:pt x="710" y="126"/>
                  </a:lnTo>
                  <a:lnTo>
                    <a:pt x="710" y="126"/>
                  </a:lnTo>
                  <a:lnTo>
                    <a:pt x="710" y="126"/>
                  </a:lnTo>
                  <a:lnTo>
                    <a:pt x="710" y="126"/>
                  </a:lnTo>
                  <a:lnTo>
                    <a:pt x="712" y="126"/>
                  </a:lnTo>
                  <a:lnTo>
                    <a:pt x="712" y="126"/>
                  </a:lnTo>
                  <a:lnTo>
                    <a:pt x="712" y="126"/>
                  </a:lnTo>
                  <a:lnTo>
                    <a:pt x="712" y="126"/>
                  </a:lnTo>
                  <a:lnTo>
                    <a:pt x="712" y="126"/>
                  </a:lnTo>
                  <a:lnTo>
                    <a:pt x="712" y="126"/>
                  </a:lnTo>
                  <a:lnTo>
                    <a:pt x="714" y="126"/>
                  </a:lnTo>
                  <a:lnTo>
                    <a:pt x="714" y="126"/>
                  </a:lnTo>
                  <a:lnTo>
                    <a:pt x="716" y="124"/>
                  </a:lnTo>
                  <a:lnTo>
                    <a:pt x="716" y="124"/>
                  </a:lnTo>
                  <a:lnTo>
                    <a:pt x="716" y="124"/>
                  </a:lnTo>
                  <a:lnTo>
                    <a:pt x="716" y="124"/>
                  </a:lnTo>
                  <a:lnTo>
                    <a:pt x="716" y="124"/>
                  </a:lnTo>
                  <a:lnTo>
                    <a:pt x="716" y="122"/>
                  </a:lnTo>
                  <a:lnTo>
                    <a:pt x="716" y="122"/>
                  </a:lnTo>
                  <a:lnTo>
                    <a:pt x="716" y="122"/>
                  </a:lnTo>
                  <a:lnTo>
                    <a:pt x="719" y="122"/>
                  </a:lnTo>
                  <a:lnTo>
                    <a:pt x="719" y="119"/>
                  </a:lnTo>
                  <a:lnTo>
                    <a:pt x="719" y="119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19"/>
                  </a:lnTo>
                  <a:lnTo>
                    <a:pt x="719" y="119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19" y="122"/>
                  </a:lnTo>
                  <a:lnTo>
                    <a:pt x="721" y="122"/>
                  </a:lnTo>
                  <a:lnTo>
                    <a:pt x="723" y="119"/>
                  </a:lnTo>
                  <a:lnTo>
                    <a:pt x="723" y="119"/>
                  </a:lnTo>
                  <a:lnTo>
                    <a:pt x="723" y="119"/>
                  </a:lnTo>
                  <a:lnTo>
                    <a:pt x="723" y="119"/>
                  </a:lnTo>
                  <a:lnTo>
                    <a:pt x="723" y="119"/>
                  </a:lnTo>
                  <a:lnTo>
                    <a:pt x="723" y="119"/>
                  </a:lnTo>
                  <a:lnTo>
                    <a:pt x="723" y="119"/>
                  </a:lnTo>
                  <a:lnTo>
                    <a:pt x="723" y="117"/>
                  </a:lnTo>
                  <a:lnTo>
                    <a:pt x="725" y="117"/>
                  </a:lnTo>
                  <a:lnTo>
                    <a:pt x="725" y="119"/>
                  </a:lnTo>
                  <a:lnTo>
                    <a:pt x="725" y="119"/>
                  </a:lnTo>
                  <a:lnTo>
                    <a:pt x="725" y="119"/>
                  </a:lnTo>
                  <a:lnTo>
                    <a:pt x="725" y="119"/>
                  </a:lnTo>
                  <a:lnTo>
                    <a:pt x="725" y="119"/>
                  </a:lnTo>
                  <a:lnTo>
                    <a:pt x="725" y="119"/>
                  </a:lnTo>
                  <a:lnTo>
                    <a:pt x="725" y="122"/>
                  </a:lnTo>
                  <a:lnTo>
                    <a:pt x="725" y="122"/>
                  </a:lnTo>
                  <a:lnTo>
                    <a:pt x="725" y="122"/>
                  </a:lnTo>
                  <a:lnTo>
                    <a:pt x="725" y="122"/>
                  </a:lnTo>
                  <a:lnTo>
                    <a:pt x="725" y="124"/>
                  </a:lnTo>
                  <a:lnTo>
                    <a:pt x="725" y="124"/>
                  </a:lnTo>
                  <a:lnTo>
                    <a:pt x="725" y="124"/>
                  </a:lnTo>
                  <a:lnTo>
                    <a:pt x="728" y="122"/>
                  </a:lnTo>
                  <a:lnTo>
                    <a:pt x="728" y="124"/>
                  </a:lnTo>
                  <a:lnTo>
                    <a:pt x="728" y="124"/>
                  </a:lnTo>
                  <a:lnTo>
                    <a:pt x="725" y="124"/>
                  </a:lnTo>
                  <a:lnTo>
                    <a:pt x="725" y="124"/>
                  </a:lnTo>
                  <a:lnTo>
                    <a:pt x="725" y="124"/>
                  </a:lnTo>
                  <a:lnTo>
                    <a:pt x="725" y="126"/>
                  </a:lnTo>
                  <a:lnTo>
                    <a:pt x="725" y="126"/>
                  </a:lnTo>
                  <a:lnTo>
                    <a:pt x="725" y="126"/>
                  </a:lnTo>
                  <a:lnTo>
                    <a:pt x="725" y="126"/>
                  </a:lnTo>
                  <a:lnTo>
                    <a:pt x="728" y="126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28" y="128"/>
                  </a:lnTo>
                  <a:lnTo>
                    <a:pt x="730" y="128"/>
                  </a:lnTo>
                  <a:lnTo>
                    <a:pt x="730" y="128"/>
                  </a:lnTo>
                  <a:lnTo>
                    <a:pt x="730" y="128"/>
                  </a:lnTo>
                  <a:lnTo>
                    <a:pt x="730" y="128"/>
                  </a:lnTo>
                  <a:lnTo>
                    <a:pt x="732" y="128"/>
                  </a:lnTo>
                  <a:lnTo>
                    <a:pt x="732" y="128"/>
                  </a:lnTo>
                  <a:lnTo>
                    <a:pt x="732" y="128"/>
                  </a:lnTo>
                  <a:lnTo>
                    <a:pt x="732" y="131"/>
                  </a:lnTo>
                  <a:lnTo>
                    <a:pt x="732" y="131"/>
                  </a:lnTo>
                  <a:lnTo>
                    <a:pt x="732" y="131"/>
                  </a:lnTo>
                  <a:lnTo>
                    <a:pt x="732" y="131"/>
                  </a:lnTo>
                  <a:lnTo>
                    <a:pt x="732" y="131"/>
                  </a:lnTo>
                  <a:lnTo>
                    <a:pt x="732" y="131"/>
                  </a:lnTo>
                  <a:lnTo>
                    <a:pt x="732" y="133"/>
                  </a:lnTo>
                  <a:lnTo>
                    <a:pt x="732" y="133"/>
                  </a:lnTo>
                  <a:lnTo>
                    <a:pt x="732" y="133"/>
                  </a:lnTo>
                  <a:lnTo>
                    <a:pt x="732" y="133"/>
                  </a:lnTo>
                  <a:lnTo>
                    <a:pt x="734" y="133"/>
                  </a:lnTo>
                  <a:lnTo>
                    <a:pt x="734" y="133"/>
                  </a:lnTo>
                  <a:lnTo>
                    <a:pt x="734" y="133"/>
                  </a:lnTo>
                  <a:lnTo>
                    <a:pt x="734" y="135"/>
                  </a:lnTo>
                  <a:lnTo>
                    <a:pt x="734" y="135"/>
                  </a:lnTo>
                  <a:lnTo>
                    <a:pt x="737" y="135"/>
                  </a:lnTo>
                  <a:lnTo>
                    <a:pt x="737" y="135"/>
                  </a:lnTo>
                  <a:lnTo>
                    <a:pt x="737" y="135"/>
                  </a:lnTo>
                  <a:lnTo>
                    <a:pt x="737" y="135"/>
                  </a:lnTo>
                  <a:lnTo>
                    <a:pt x="737" y="135"/>
                  </a:lnTo>
                  <a:lnTo>
                    <a:pt x="737" y="135"/>
                  </a:lnTo>
                  <a:lnTo>
                    <a:pt x="737" y="135"/>
                  </a:lnTo>
                  <a:lnTo>
                    <a:pt x="739" y="137"/>
                  </a:lnTo>
                  <a:lnTo>
                    <a:pt x="739" y="137"/>
                  </a:lnTo>
                  <a:lnTo>
                    <a:pt x="739" y="137"/>
                  </a:lnTo>
                  <a:lnTo>
                    <a:pt x="739" y="137"/>
                  </a:lnTo>
                  <a:lnTo>
                    <a:pt x="739" y="137"/>
                  </a:lnTo>
                  <a:lnTo>
                    <a:pt x="737" y="140"/>
                  </a:lnTo>
                  <a:lnTo>
                    <a:pt x="737" y="140"/>
                  </a:lnTo>
                  <a:lnTo>
                    <a:pt x="737" y="142"/>
                  </a:lnTo>
                  <a:lnTo>
                    <a:pt x="737" y="142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7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37" y="144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7" y="146"/>
                  </a:lnTo>
                  <a:lnTo>
                    <a:pt x="734" y="146"/>
                  </a:lnTo>
                  <a:lnTo>
                    <a:pt x="734" y="149"/>
                  </a:lnTo>
                  <a:lnTo>
                    <a:pt x="734" y="149"/>
                  </a:lnTo>
                  <a:lnTo>
                    <a:pt x="734" y="149"/>
                  </a:lnTo>
                  <a:lnTo>
                    <a:pt x="734" y="149"/>
                  </a:lnTo>
                  <a:lnTo>
                    <a:pt x="734" y="149"/>
                  </a:lnTo>
                  <a:lnTo>
                    <a:pt x="737" y="149"/>
                  </a:lnTo>
                  <a:lnTo>
                    <a:pt x="737" y="151"/>
                  </a:lnTo>
                  <a:lnTo>
                    <a:pt x="734" y="151"/>
                  </a:lnTo>
                  <a:lnTo>
                    <a:pt x="734" y="151"/>
                  </a:lnTo>
                  <a:lnTo>
                    <a:pt x="734" y="151"/>
                  </a:lnTo>
                  <a:lnTo>
                    <a:pt x="734" y="151"/>
                  </a:lnTo>
                  <a:lnTo>
                    <a:pt x="734" y="151"/>
                  </a:lnTo>
                  <a:lnTo>
                    <a:pt x="734" y="151"/>
                  </a:lnTo>
                  <a:lnTo>
                    <a:pt x="737" y="151"/>
                  </a:lnTo>
                  <a:lnTo>
                    <a:pt x="737" y="151"/>
                  </a:lnTo>
                  <a:lnTo>
                    <a:pt x="737" y="153"/>
                  </a:lnTo>
                  <a:lnTo>
                    <a:pt x="737" y="153"/>
                  </a:lnTo>
                  <a:lnTo>
                    <a:pt x="737" y="153"/>
                  </a:lnTo>
                  <a:lnTo>
                    <a:pt x="737" y="153"/>
                  </a:lnTo>
                  <a:lnTo>
                    <a:pt x="737" y="153"/>
                  </a:lnTo>
                  <a:lnTo>
                    <a:pt x="737" y="153"/>
                  </a:lnTo>
                  <a:lnTo>
                    <a:pt x="737" y="155"/>
                  </a:lnTo>
                  <a:lnTo>
                    <a:pt x="737" y="155"/>
                  </a:lnTo>
                  <a:lnTo>
                    <a:pt x="737" y="155"/>
                  </a:lnTo>
                  <a:lnTo>
                    <a:pt x="737" y="158"/>
                  </a:lnTo>
                  <a:lnTo>
                    <a:pt x="737" y="158"/>
                  </a:lnTo>
                  <a:lnTo>
                    <a:pt x="737" y="158"/>
                  </a:lnTo>
                  <a:lnTo>
                    <a:pt x="737" y="158"/>
                  </a:lnTo>
                  <a:lnTo>
                    <a:pt x="737" y="158"/>
                  </a:lnTo>
                  <a:lnTo>
                    <a:pt x="737" y="158"/>
                  </a:lnTo>
                  <a:lnTo>
                    <a:pt x="737" y="158"/>
                  </a:lnTo>
                  <a:lnTo>
                    <a:pt x="737" y="160"/>
                  </a:lnTo>
                  <a:lnTo>
                    <a:pt x="734" y="160"/>
                  </a:lnTo>
                  <a:lnTo>
                    <a:pt x="734" y="160"/>
                  </a:lnTo>
                  <a:lnTo>
                    <a:pt x="737" y="160"/>
                  </a:lnTo>
                  <a:lnTo>
                    <a:pt x="737" y="160"/>
                  </a:lnTo>
                  <a:lnTo>
                    <a:pt x="737" y="162"/>
                  </a:lnTo>
                  <a:lnTo>
                    <a:pt x="737" y="162"/>
                  </a:lnTo>
                  <a:lnTo>
                    <a:pt x="737" y="164"/>
                  </a:lnTo>
                  <a:lnTo>
                    <a:pt x="737" y="164"/>
                  </a:lnTo>
                  <a:lnTo>
                    <a:pt x="737" y="167"/>
                  </a:lnTo>
                  <a:lnTo>
                    <a:pt x="737" y="167"/>
                  </a:lnTo>
                  <a:lnTo>
                    <a:pt x="737" y="167"/>
                  </a:lnTo>
                  <a:lnTo>
                    <a:pt x="737" y="167"/>
                  </a:lnTo>
                  <a:lnTo>
                    <a:pt x="737" y="167"/>
                  </a:lnTo>
                  <a:lnTo>
                    <a:pt x="737" y="169"/>
                  </a:lnTo>
                  <a:lnTo>
                    <a:pt x="737" y="169"/>
                  </a:lnTo>
                  <a:lnTo>
                    <a:pt x="737" y="169"/>
                  </a:lnTo>
                  <a:lnTo>
                    <a:pt x="734" y="169"/>
                  </a:lnTo>
                  <a:lnTo>
                    <a:pt x="734" y="169"/>
                  </a:lnTo>
                  <a:lnTo>
                    <a:pt x="734" y="171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3"/>
                  </a:lnTo>
                  <a:lnTo>
                    <a:pt x="734" y="176"/>
                  </a:lnTo>
                  <a:lnTo>
                    <a:pt x="737" y="176"/>
                  </a:lnTo>
                  <a:lnTo>
                    <a:pt x="737" y="176"/>
                  </a:lnTo>
                  <a:lnTo>
                    <a:pt x="737" y="178"/>
                  </a:lnTo>
                  <a:lnTo>
                    <a:pt x="737" y="178"/>
                  </a:lnTo>
                  <a:lnTo>
                    <a:pt x="737" y="178"/>
                  </a:lnTo>
                  <a:lnTo>
                    <a:pt x="737" y="178"/>
                  </a:lnTo>
                  <a:lnTo>
                    <a:pt x="737" y="178"/>
                  </a:lnTo>
                  <a:lnTo>
                    <a:pt x="737" y="178"/>
                  </a:lnTo>
                  <a:lnTo>
                    <a:pt x="737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0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2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39" y="185"/>
                  </a:lnTo>
                  <a:lnTo>
                    <a:pt x="741" y="185"/>
                  </a:lnTo>
                  <a:lnTo>
                    <a:pt x="741" y="182"/>
                  </a:lnTo>
                  <a:lnTo>
                    <a:pt x="741" y="182"/>
                  </a:lnTo>
                  <a:lnTo>
                    <a:pt x="741" y="182"/>
                  </a:lnTo>
                  <a:lnTo>
                    <a:pt x="741" y="185"/>
                  </a:lnTo>
                  <a:lnTo>
                    <a:pt x="741" y="185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2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3" y="185"/>
                  </a:lnTo>
                  <a:lnTo>
                    <a:pt x="741" y="185"/>
                  </a:lnTo>
                  <a:lnTo>
                    <a:pt x="741" y="187"/>
                  </a:lnTo>
                  <a:lnTo>
                    <a:pt x="741" y="187"/>
                  </a:lnTo>
                  <a:lnTo>
                    <a:pt x="741" y="187"/>
                  </a:lnTo>
                  <a:lnTo>
                    <a:pt x="741" y="187"/>
                  </a:lnTo>
                  <a:lnTo>
                    <a:pt x="741" y="187"/>
                  </a:lnTo>
                  <a:lnTo>
                    <a:pt x="741" y="187"/>
                  </a:lnTo>
                  <a:lnTo>
                    <a:pt x="741" y="187"/>
                  </a:lnTo>
                  <a:lnTo>
                    <a:pt x="741" y="189"/>
                  </a:lnTo>
                  <a:lnTo>
                    <a:pt x="741" y="189"/>
                  </a:lnTo>
                  <a:lnTo>
                    <a:pt x="741" y="191"/>
                  </a:lnTo>
                  <a:lnTo>
                    <a:pt x="741" y="191"/>
                  </a:lnTo>
                  <a:lnTo>
                    <a:pt x="741" y="191"/>
                  </a:lnTo>
                  <a:lnTo>
                    <a:pt x="743" y="194"/>
                  </a:lnTo>
                  <a:lnTo>
                    <a:pt x="743" y="194"/>
                  </a:lnTo>
                  <a:lnTo>
                    <a:pt x="743" y="194"/>
                  </a:lnTo>
                  <a:lnTo>
                    <a:pt x="743" y="196"/>
                  </a:lnTo>
                  <a:lnTo>
                    <a:pt x="743" y="196"/>
                  </a:lnTo>
                  <a:lnTo>
                    <a:pt x="743" y="196"/>
                  </a:lnTo>
                  <a:lnTo>
                    <a:pt x="743" y="196"/>
                  </a:lnTo>
                  <a:lnTo>
                    <a:pt x="743" y="198"/>
                  </a:lnTo>
                  <a:lnTo>
                    <a:pt x="743" y="198"/>
                  </a:lnTo>
                  <a:lnTo>
                    <a:pt x="743" y="198"/>
                  </a:lnTo>
                  <a:lnTo>
                    <a:pt x="743" y="200"/>
                  </a:lnTo>
                  <a:lnTo>
                    <a:pt x="743" y="200"/>
                  </a:lnTo>
                  <a:lnTo>
                    <a:pt x="743" y="200"/>
                  </a:lnTo>
                  <a:lnTo>
                    <a:pt x="743" y="200"/>
                  </a:lnTo>
                  <a:lnTo>
                    <a:pt x="743" y="200"/>
                  </a:lnTo>
                  <a:lnTo>
                    <a:pt x="743" y="202"/>
                  </a:lnTo>
                  <a:lnTo>
                    <a:pt x="743" y="202"/>
                  </a:lnTo>
                  <a:lnTo>
                    <a:pt x="743" y="202"/>
                  </a:lnTo>
                  <a:lnTo>
                    <a:pt x="743" y="205"/>
                  </a:lnTo>
                  <a:lnTo>
                    <a:pt x="743" y="205"/>
                  </a:lnTo>
                  <a:lnTo>
                    <a:pt x="741" y="205"/>
                  </a:lnTo>
                  <a:lnTo>
                    <a:pt x="741" y="205"/>
                  </a:lnTo>
                  <a:lnTo>
                    <a:pt x="741" y="205"/>
                  </a:lnTo>
                  <a:lnTo>
                    <a:pt x="741" y="205"/>
                  </a:lnTo>
                  <a:lnTo>
                    <a:pt x="741" y="205"/>
                  </a:lnTo>
                  <a:lnTo>
                    <a:pt x="741" y="205"/>
                  </a:lnTo>
                  <a:lnTo>
                    <a:pt x="741" y="205"/>
                  </a:lnTo>
                  <a:lnTo>
                    <a:pt x="741" y="207"/>
                  </a:lnTo>
                  <a:lnTo>
                    <a:pt x="741" y="207"/>
                  </a:lnTo>
                  <a:lnTo>
                    <a:pt x="741" y="207"/>
                  </a:lnTo>
                  <a:lnTo>
                    <a:pt x="741" y="207"/>
                  </a:lnTo>
                  <a:lnTo>
                    <a:pt x="741" y="207"/>
                  </a:lnTo>
                  <a:lnTo>
                    <a:pt x="741" y="207"/>
                  </a:lnTo>
                  <a:lnTo>
                    <a:pt x="741" y="209"/>
                  </a:lnTo>
                  <a:lnTo>
                    <a:pt x="739" y="211"/>
                  </a:lnTo>
                  <a:lnTo>
                    <a:pt x="739" y="211"/>
                  </a:lnTo>
                  <a:lnTo>
                    <a:pt x="739" y="214"/>
                  </a:lnTo>
                  <a:lnTo>
                    <a:pt x="739" y="214"/>
                  </a:lnTo>
                  <a:lnTo>
                    <a:pt x="739" y="214"/>
                  </a:lnTo>
                  <a:lnTo>
                    <a:pt x="739" y="214"/>
                  </a:lnTo>
                  <a:lnTo>
                    <a:pt x="739" y="214"/>
                  </a:lnTo>
                  <a:lnTo>
                    <a:pt x="739" y="214"/>
                  </a:lnTo>
                  <a:lnTo>
                    <a:pt x="739" y="216"/>
                  </a:lnTo>
                  <a:lnTo>
                    <a:pt x="739" y="216"/>
                  </a:lnTo>
                  <a:lnTo>
                    <a:pt x="739" y="218"/>
                  </a:lnTo>
                  <a:lnTo>
                    <a:pt x="739" y="218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18"/>
                  </a:lnTo>
                  <a:lnTo>
                    <a:pt x="741" y="220"/>
                  </a:lnTo>
                  <a:lnTo>
                    <a:pt x="741" y="220"/>
                  </a:lnTo>
                  <a:lnTo>
                    <a:pt x="741" y="223"/>
                  </a:lnTo>
                  <a:lnTo>
                    <a:pt x="741" y="220"/>
                  </a:lnTo>
                  <a:lnTo>
                    <a:pt x="741" y="223"/>
                  </a:lnTo>
                  <a:lnTo>
                    <a:pt x="741" y="223"/>
                  </a:lnTo>
                  <a:lnTo>
                    <a:pt x="741" y="223"/>
                  </a:lnTo>
                  <a:lnTo>
                    <a:pt x="743" y="223"/>
                  </a:lnTo>
                  <a:lnTo>
                    <a:pt x="743" y="223"/>
                  </a:lnTo>
                  <a:lnTo>
                    <a:pt x="743" y="223"/>
                  </a:lnTo>
                  <a:lnTo>
                    <a:pt x="743" y="223"/>
                  </a:lnTo>
                  <a:lnTo>
                    <a:pt x="743" y="225"/>
                  </a:lnTo>
                  <a:lnTo>
                    <a:pt x="743" y="225"/>
                  </a:lnTo>
                  <a:lnTo>
                    <a:pt x="741" y="227"/>
                  </a:lnTo>
                  <a:lnTo>
                    <a:pt x="741" y="229"/>
                  </a:lnTo>
                  <a:lnTo>
                    <a:pt x="741" y="229"/>
                  </a:lnTo>
                  <a:lnTo>
                    <a:pt x="741" y="229"/>
                  </a:lnTo>
                  <a:lnTo>
                    <a:pt x="741" y="229"/>
                  </a:lnTo>
                  <a:lnTo>
                    <a:pt x="741" y="229"/>
                  </a:lnTo>
                  <a:lnTo>
                    <a:pt x="741" y="229"/>
                  </a:lnTo>
                  <a:lnTo>
                    <a:pt x="741" y="232"/>
                  </a:lnTo>
                  <a:lnTo>
                    <a:pt x="741" y="232"/>
                  </a:lnTo>
                  <a:lnTo>
                    <a:pt x="741" y="232"/>
                  </a:lnTo>
                  <a:lnTo>
                    <a:pt x="741" y="232"/>
                  </a:lnTo>
                  <a:lnTo>
                    <a:pt x="741" y="232"/>
                  </a:lnTo>
                  <a:lnTo>
                    <a:pt x="741" y="232"/>
                  </a:lnTo>
                  <a:lnTo>
                    <a:pt x="743" y="234"/>
                  </a:lnTo>
                  <a:lnTo>
                    <a:pt x="743" y="234"/>
                  </a:lnTo>
                  <a:lnTo>
                    <a:pt x="743" y="234"/>
                  </a:lnTo>
                  <a:lnTo>
                    <a:pt x="743" y="236"/>
                  </a:lnTo>
                  <a:lnTo>
                    <a:pt x="743" y="236"/>
                  </a:lnTo>
                  <a:lnTo>
                    <a:pt x="743" y="236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6" y="236"/>
                  </a:lnTo>
                  <a:lnTo>
                    <a:pt x="746" y="238"/>
                  </a:lnTo>
                  <a:lnTo>
                    <a:pt x="748" y="238"/>
                  </a:lnTo>
                  <a:lnTo>
                    <a:pt x="748" y="238"/>
                  </a:lnTo>
                  <a:lnTo>
                    <a:pt x="748" y="238"/>
                  </a:lnTo>
                  <a:lnTo>
                    <a:pt x="748" y="238"/>
                  </a:lnTo>
                  <a:lnTo>
                    <a:pt x="750" y="238"/>
                  </a:lnTo>
                  <a:lnTo>
                    <a:pt x="750" y="238"/>
                  </a:lnTo>
                  <a:lnTo>
                    <a:pt x="750" y="238"/>
                  </a:lnTo>
                  <a:lnTo>
                    <a:pt x="750" y="241"/>
                  </a:lnTo>
                  <a:lnTo>
                    <a:pt x="750" y="241"/>
                  </a:lnTo>
                  <a:lnTo>
                    <a:pt x="750" y="241"/>
                  </a:lnTo>
                  <a:lnTo>
                    <a:pt x="752" y="241"/>
                  </a:lnTo>
                  <a:lnTo>
                    <a:pt x="752" y="241"/>
                  </a:lnTo>
                  <a:lnTo>
                    <a:pt x="752" y="241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38"/>
                  </a:lnTo>
                  <a:lnTo>
                    <a:pt x="755" y="241"/>
                  </a:lnTo>
                  <a:lnTo>
                    <a:pt x="755" y="241"/>
                  </a:lnTo>
                  <a:lnTo>
                    <a:pt x="755" y="241"/>
                  </a:lnTo>
                  <a:lnTo>
                    <a:pt x="755" y="241"/>
                  </a:lnTo>
                  <a:lnTo>
                    <a:pt x="755" y="241"/>
                  </a:lnTo>
                  <a:lnTo>
                    <a:pt x="755" y="243"/>
                  </a:lnTo>
                  <a:lnTo>
                    <a:pt x="755" y="243"/>
                  </a:lnTo>
                  <a:lnTo>
                    <a:pt x="757" y="243"/>
                  </a:lnTo>
                  <a:lnTo>
                    <a:pt x="757" y="243"/>
                  </a:lnTo>
                  <a:lnTo>
                    <a:pt x="757" y="243"/>
                  </a:lnTo>
                  <a:lnTo>
                    <a:pt x="757" y="243"/>
                  </a:lnTo>
                  <a:lnTo>
                    <a:pt x="757" y="243"/>
                  </a:lnTo>
                  <a:lnTo>
                    <a:pt x="759" y="243"/>
                  </a:lnTo>
                  <a:lnTo>
                    <a:pt x="761" y="243"/>
                  </a:lnTo>
                  <a:lnTo>
                    <a:pt x="761" y="243"/>
                  </a:lnTo>
                  <a:lnTo>
                    <a:pt x="761" y="243"/>
                  </a:lnTo>
                  <a:lnTo>
                    <a:pt x="761" y="243"/>
                  </a:lnTo>
                  <a:lnTo>
                    <a:pt x="761" y="241"/>
                  </a:lnTo>
                  <a:lnTo>
                    <a:pt x="761" y="241"/>
                  </a:lnTo>
                  <a:lnTo>
                    <a:pt x="761" y="241"/>
                  </a:lnTo>
                  <a:lnTo>
                    <a:pt x="761" y="241"/>
                  </a:lnTo>
                  <a:lnTo>
                    <a:pt x="761" y="241"/>
                  </a:lnTo>
                  <a:lnTo>
                    <a:pt x="761" y="241"/>
                  </a:lnTo>
                  <a:lnTo>
                    <a:pt x="761" y="243"/>
                  </a:lnTo>
                  <a:lnTo>
                    <a:pt x="763" y="245"/>
                  </a:lnTo>
                  <a:lnTo>
                    <a:pt x="763" y="245"/>
                  </a:lnTo>
                  <a:lnTo>
                    <a:pt x="763" y="247"/>
                  </a:lnTo>
                  <a:lnTo>
                    <a:pt x="763" y="247"/>
                  </a:lnTo>
                  <a:lnTo>
                    <a:pt x="763" y="247"/>
                  </a:lnTo>
                  <a:lnTo>
                    <a:pt x="763" y="247"/>
                  </a:lnTo>
                  <a:lnTo>
                    <a:pt x="763" y="250"/>
                  </a:lnTo>
                  <a:lnTo>
                    <a:pt x="763" y="250"/>
                  </a:lnTo>
                  <a:lnTo>
                    <a:pt x="763" y="250"/>
                  </a:lnTo>
                  <a:lnTo>
                    <a:pt x="763" y="250"/>
                  </a:lnTo>
                  <a:lnTo>
                    <a:pt x="763" y="250"/>
                  </a:lnTo>
                  <a:lnTo>
                    <a:pt x="763" y="250"/>
                  </a:lnTo>
                  <a:lnTo>
                    <a:pt x="763" y="252"/>
                  </a:lnTo>
                  <a:lnTo>
                    <a:pt x="763" y="252"/>
                  </a:lnTo>
                  <a:lnTo>
                    <a:pt x="766" y="254"/>
                  </a:lnTo>
                  <a:lnTo>
                    <a:pt x="766" y="254"/>
                  </a:lnTo>
                  <a:lnTo>
                    <a:pt x="766" y="252"/>
                  </a:lnTo>
                  <a:lnTo>
                    <a:pt x="766" y="252"/>
                  </a:lnTo>
                  <a:lnTo>
                    <a:pt x="766" y="252"/>
                  </a:lnTo>
                  <a:lnTo>
                    <a:pt x="766" y="250"/>
                  </a:lnTo>
                  <a:lnTo>
                    <a:pt x="768" y="250"/>
                  </a:lnTo>
                  <a:lnTo>
                    <a:pt x="768" y="250"/>
                  </a:lnTo>
                  <a:lnTo>
                    <a:pt x="768" y="252"/>
                  </a:lnTo>
                  <a:lnTo>
                    <a:pt x="768" y="254"/>
                  </a:lnTo>
                  <a:lnTo>
                    <a:pt x="768" y="254"/>
                  </a:lnTo>
                  <a:lnTo>
                    <a:pt x="768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2" y="254"/>
                  </a:lnTo>
                  <a:lnTo>
                    <a:pt x="772" y="254"/>
                  </a:lnTo>
                  <a:lnTo>
                    <a:pt x="772" y="254"/>
                  </a:lnTo>
                  <a:lnTo>
                    <a:pt x="772" y="254"/>
                  </a:lnTo>
                  <a:lnTo>
                    <a:pt x="772" y="254"/>
                  </a:lnTo>
                  <a:lnTo>
                    <a:pt x="772" y="254"/>
                  </a:lnTo>
                  <a:lnTo>
                    <a:pt x="772" y="256"/>
                  </a:lnTo>
                  <a:lnTo>
                    <a:pt x="772" y="256"/>
                  </a:lnTo>
                  <a:lnTo>
                    <a:pt x="775" y="256"/>
                  </a:lnTo>
                  <a:lnTo>
                    <a:pt x="775" y="256"/>
                  </a:lnTo>
                  <a:lnTo>
                    <a:pt x="775" y="256"/>
                  </a:lnTo>
                  <a:lnTo>
                    <a:pt x="775" y="256"/>
                  </a:lnTo>
                  <a:lnTo>
                    <a:pt x="775" y="256"/>
                  </a:lnTo>
                  <a:lnTo>
                    <a:pt x="777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5" y="259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7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9" y="261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79" y="259"/>
                  </a:lnTo>
                  <a:lnTo>
                    <a:pt x="781" y="259"/>
                  </a:lnTo>
                  <a:lnTo>
                    <a:pt x="781" y="259"/>
                  </a:lnTo>
                  <a:lnTo>
                    <a:pt x="781" y="259"/>
                  </a:lnTo>
                  <a:lnTo>
                    <a:pt x="781" y="259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3"/>
                  </a:lnTo>
                  <a:lnTo>
                    <a:pt x="781" y="263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1" y="261"/>
                  </a:lnTo>
                  <a:lnTo>
                    <a:pt x="784" y="261"/>
                  </a:lnTo>
                  <a:lnTo>
                    <a:pt x="784" y="261"/>
                  </a:lnTo>
                  <a:lnTo>
                    <a:pt x="784" y="261"/>
                  </a:lnTo>
                  <a:lnTo>
                    <a:pt x="784" y="261"/>
                  </a:lnTo>
                  <a:lnTo>
                    <a:pt x="784" y="263"/>
                  </a:lnTo>
                  <a:lnTo>
                    <a:pt x="781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1" y="263"/>
                  </a:lnTo>
                  <a:lnTo>
                    <a:pt x="781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6" y="263"/>
                  </a:lnTo>
                  <a:lnTo>
                    <a:pt x="784" y="263"/>
                  </a:lnTo>
                  <a:lnTo>
                    <a:pt x="784" y="263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5"/>
                  </a:lnTo>
                  <a:lnTo>
                    <a:pt x="786" y="268"/>
                  </a:lnTo>
                  <a:lnTo>
                    <a:pt x="786" y="268"/>
                  </a:lnTo>
                  <a:lnTo>
                    <a:pt x="786" y="268"/>
                  </a:lnTo>
                  <a:lnTo>
                    <a:pt x="786" y="268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6" y="270"/>
                  </a:lnTo>
                  <a:lnTo>
                    <a:pt x="784" y="270"/>
                  </a:lnTo>
                  <a:lnTo>
                    <a:pt x="784" y="270"/>
                  </a:lnTo>
                  <a:lnTo>
                    <a:pt x="784" y="270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4" y="268"/>
                  </a:lnTo>
                  <a:lnTo>
                    <a:pt x="781" y="268"/>
                  </a:lnTo>
                  <a:lnTo>
                    <a:pt x="781" y="268"/>
                  </a:lnTo>
                  <a:lnTo>
                    <a:pt x="781" y="268"/>
                  </a:lnTo>
                  <a:lnTo>
                    <a:pt x="781" y="268"/>
                  </a:lnTo>
                  <a:lnTo>
                    <a:pt x="781" y="270"/>
                  </a:lnTo>
                  <a:lnTo>
                    <a:pt x="781" y="270"/>
                  </a:lnTo>
                  <a:lnTo>
                    <a:pt x="781" y="270"/>
                  </a:lnTo>
                  <a:lnTo>
                    <a:pt x="781" y="270"/>
                  </a:lnTo>
                  <a:lnTo>
                    <a:pt x="781" y="270"/>
                  </a:lnTo>
                  <a:lnTo>
                    <a:pt x="781" y="270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2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1" y="274"/>
                  </a:lnTo>
                  <a:lnTo>
                    <a:pt x="784" y="274"/>
                  </a:lnTo>
                  <a:lnTo>
                    <a:pt x="784" y="274"/>
                  </a:lnTo>
                  <a:lnTo>
                    <a:pt x="784" y="274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1" y="277"/>
                  </a:lnTo>
                  <a:lnTo>
                    <a:pt x="781" y="279"/>
                  </a:lnTo>
                  <a:lnTo>
                    <a:pt x="781" y="279"/>
                  </a:lnTo>
                  <a:lnTo>
                    <a:pt x="781" y="279"/>
                  </a:lnTo>
                  <a:lnTo>
                    <a:pt x="781" y="279"/>
                  </a:lnTo>
                  <a:lnTo>
                    <a:pt x="781" y="279"/>
                  </a:lnTo>
                  <a:lnTo>
                    <a:pt x="784" y="279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4" y="277"/>
                  </a:lnTo>
                  <a:lnTo>
                    <a:pt x="784" y="279"/>
                  </a:lnTo>
                  <a:lnTo>
                    <a:pt x="784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79"/>
                  </a:lnTo>
                  <a:lnTo>
                    <a:pt x="786" y="281"/>
                  </a:lnTo>
                  <a:lnTo>
                    <a:pt x="786" y="281"/>
                  </a:lnTo>
                  <a:lnTo>
                    <a:pt x="786" y="281"/>
                  </a:lnTo>
                  <a:lnTo>
                    <a:pt x="786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88" y="281"/>
                  </a:lnTo>
                  <a:lnTo>
                    <a:pt x="790" y="283"/>
                  </a:lnTo>
                  <a:lnTo>
                    <a:pt x="788" y="283"/>
                  </a:lnTo>
                  <a:lnTo>
                    <a:pt x="788" y="286"/>
                  </a:lnTo>
                  <a:lnTo>
                    <a:pt x="788" y="286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88" y="288"/>
                  </a:lnTo>
                  <a:lnTo>
                    <a:pt x="790" y="288"/>
                  </a:lnTo>
                  <a:lnTo>
                    <a:pt x="790" y="288"/>
                  </a:lnTo>
                  <a:lnTo>
                    <a:pt x="790" y="288"/>
                  </a:lnTo>
                  <a:lnTo>
                    <a:pt x="790" y="288"/>
                  </a:lnTo>
                  <a:lnTo>
                    <a:pt x="790" y="288"/>
                  </a:lnTo>
                  <a:lnTo>
                    <a:pt x="790" y="288"/>
                  </a:lnTo>
                  <a:lnTo>
                    <a:pt x="790" y="288"/>
                  </a:lnTo>
                  <a:lnTo>
                    <a:pt x="790" y="290"/>
                  </a:lnTo>
                  <a:lnTo>
                    <a:pt x="790" y="290"/>
                  </a:lnTo>
                  <a:lnTo>
                    <a:pt x="788" y="290"/>
                  </a:lnTo>
                  <a:lnTo>
                    <a:pt x="788" y="290"/>
                  </a:lnTo>
                  <a:lnTo>
                    <a:pt x="788" y="290"/>
                  </a:lnTo>
                  <a:lnTo>
                    <a:pt x="788" y="290"/>
                  </a:lnTo>
                  <a:lnTo>
                    <a:pt x="790" y="290"/>
                  </a:lnTo>
                  <a:lnTo>
                    <a:pt x="790" y="290"/>
                  </a:lnTo>
                  <a:lnTo>
                    <a:pt x="790" y="292"/>
                  </a:lnTo>
                  <a:lnTo>
                    <a:pt x="788" y="292"/>
                  </a:lnTo>
                  <a:lnTo>
                    <a:pt x="788" y="292"/>
                  </a:lnTo>
                  <a:lnTo>
                    <a:pt x="788" y="292"/>
                  </a:lnTo>
                  <a:lnTo>
                    <a:pt x="788" y="292"/>
                  </a:lnTo>
                  <a:lnTo>
                    <a:pt x="788" y="292"/>
                  </a:lnTo>
                  <a:lnTo>
                    <a:pt x="790" y="292"/>
                  </a:lnTo>
                  <a:lnTo>
                    <a:pt x="790" y="292"/>
                  </a:lnTo>
                  <a:lnTo>
                    <a:pt x="790" y="292"/>
                  </a:lnTo>
                  <a:lnTo>
                    <a:pt x="790" y="292"/>
                  </a:lnTo>
                  <a:lnTo>
                    <a:pt x="790" y="292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0" y="295"/>
                  </a:lnTo>
                  <a:lnTo>
                    <a:pt x="793" y="295"/>
                  </a:lnTo>
                  <a:lnTo>
                    <a:pt x="793" y="292"/>
                  </a:lnTo>
                  <a:lnTo>
                    <a:pt x="793" y="295"/>
                  </a:lnTo>
                  <a:lnTo>
                    <a:pt x="793" y="295"/>
                  </a:lnTo>
                  <a:lnTo>
                    <a:pt x="793" y="295"/>
                  </a:lnTo>
                  <a:lnTo>
                    <a:pt x="790" y="295"/>
                  </a:lnTo>
                  <a:lnTo>
                    <a:pt x="790" y="297"/>
                  </a:lnTo>
                  <a:lnTo>
                    <a:pt x="790" y="297"/>
                  </a:lnTo>
                  <a:lnTo>
                    <a:pt x="790" y="297"/>
                  </a:lnTo>
                  <a:lnTo>
                    <a:pt x="790" y="297"/>
                  </a:lnTo>
                  <a:lnTo>
                    <a:pt x="790" y="297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299"/>
                  </a:lnTo>
                  <a:lnTo>
                    <a:pt x="790" y="301"/>
                  </a:lnTo>
                  <a:lnTo>
                    <a:pt x="790" y="301"/>
                  </a:lnTo>
                  <a:lnTo>
                    <a:pt x="790" y="301"/>
                  </a:lnTo>
                  <a:lnTo>
                    <a:pt x="790" y="301"/>
                  </a:lnTo>
                  <a:lnTo>
                    <a:pt x="790" y="301"/>
                  </a:lnTo>
                  <a:lnTo>
                    <a:pt x="790" y="301"/>
                  </a:lnTo>
                  <a:lnTo>
                    <a:pt x="790" y="301"/>
                  </a:lnTo>
                  <a:lnTo>
                    <a:pt x="790" y="304"/>
                  </a:lnTo>
                  <a:lnTo>
                    <a:pt x="790" y="304"/>
                  </a:lnTo>
                  <a:lnTo>
                    <a:pt x="790" y="304"/>
                  </a:lnTo>
                  <a:lnTo>
                    <a:pt x="790" y="306"/>
                  </a:lnTo>
                  <a:lnTo>
                    <a:pt x="790" y="306"/>
                  </a:lnTo>
                  <a:lnTo>
                    <a:pt x="790" y="306"/>
                  </a:lnTo>
                  <a:lnTo>
                    <a:pt x="790" y="306"/>
                  </a:lnTo>
                  <a:lnTo>
                    <a:pt x="790" y="308"/>
                  </a:lnTo>
                  <a:lnTo>
                    <a:pt x="790" y="308"/>
                  </a:lnTo>
                  <a:lnTo>
                    <a:pt x="790" y="308"/>
                  </a:lnTo>
                  <a:lnTo>
                    <a:pt x="790" y="308"/>
                  </a:lnTo>
                  <a:lnTo>
                    <a:pt x="790" y="310"/>
                  </a:lnTo>
                  <a:lnTo>
                    <a:pt x="790" y="310"/>
                  </a:lnTo>
                  <a:lnTo>
                    <a:pt x="790" y="310"/>
                  </a:lnTo>
                  <a:lnTo>
                    <a:pt x="790" y="310"/>
                  </a:lnTo>
                  <a:lnTo>
                    <a:pt x="790" y="310"/>
                  </a:lnTo>
                  <a:lnTo>
                    <a:pt x="790" y="310"/>
                  </a:lnTo>
                  <a:lnTo>
                    <a:pt x="790" y="310"/>
                  </a:lnTo>
                  <a:lnTo>
                    <a:pt x="790" y="313"/>
                  </a:lnTo>
                  <a:lnTo>
                    <a:pt x="790" y="313"/>
                  </a:lnTo>
                  <a:lnTo>
                    <a:pt x="790" y="313"/>
                  </a:lnTo>
                  <a:lnTo>
                    <a:pt x="790" y="313"/>
                  </a:lnTo>
                  <a:lnTo>
                    <a:pt x="790" y="313"/>
                  </a:lnTo>
                  <a:lnTo>
                    <a:pt x="790" y="313"/>
                  </a:lnTo>
                  <a:lnTo>
                    <a:pt x="790" y="313"/>
                  </a:lnTo>
                  <a:lnTo>
                    <a:pt x="793" y="313"/>
                  </a:lnTo>
                  <a:lnTo>
                    <a:pt x="793" y="313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0" y="315"/>
                  </a:lnTo>
                  <a:lnTo>
                    <a:pt x="790" y="315"/>
                  </a:lnTo>
                  <a:lnTo>
                    <a:pt x="790" y="317"/>
                  </a:lnTo>
                  <a:lnTo>
                    <a:pt x="790" y="317"/>
                  </a:lnTo>
                  <a:lnTo>
                    <a:pt x="790" y="317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3" y="315"/>
                  </a:lnTo>
                  <a:lnTo>
                    <a:pt x="795" y="315"/>
                  </a:lnTo>
                  <a:lnTo>
                    <a:pt x="795" y="313"/>
                  </a:lnTo>
                  <a:lnTo>
                    <a:pt x="795" y="315"/>
                  </a:lnTo>
                  <a:lnTo>
                    <a:pt x="795" y="315"/>
                  </a:lnTo>
                  <a:lnTo>
                    <a:pt x="795" y="315"/>
                  </a:lnTo>
                  <a:lnTo>
                    <a:pt x="795" y="315"/>
                  </a:lnTo>
                  <a:lnTo>
                    <a:pt x="795" y="315"/>
                  </a:lnTo>
                  <a:lnTo>
                    <a:pt x="797" y="317"/>
                  </a:lnTo>
                  <a:lnTo>
                    <a:pt x="797" y="317"/>
                  </a:lnTo>
                  <a:lnTo>
                    <a:pt x="797" y="319"/>
                  </a:lnTo>
                  <a:lnTo>
                    <a:pt x="797" y="319"/>
                  </a:lnTo>
                  <a:lnTo>
                    <a:pt x="797" y="319"/>
                  </a:lnTo>
                  <a:lnTo>
                    <a:pt x="797" y="319"/>
                  </a:lnTo>
                  <a:lnTo>
                    <a:pt x="797" y="317"/>
                  </a:lnTo>
                  <a:lnTo>
                    <a:pt x="797" y="315"/>
                  </a:lnTo>
                  <a:lnTo>
                    <a:pt x="797" y="315"/>
                  </a:lnTo>
                  <a:lnTo>
                    <a:pt x="797" y="313"/>
                  </a:lnTo>
                  <a:lnTo>
                    <a:pt x="797" y="313"/>
                  </a:lnTo>
                  <a:lnTo>
                    <a:pt x="797" y="313"/>
                  </a:lnTo>
                  <a:lnTo>
                    <a:pt x="797" y="313"/>
                  </a:lnTo>
                  <a:lnTo>
                    <a:pt x="797" y="313"/>
                  </a:lnTo>
                  <a:lnTo>
                    <a:pt x="797" y="313"/>
                  </a:lnTo>
                  <a:lnTo>
                    <a:pt x="797" y="310"/>
                  </a:lnTo>
                  <a:lnTo>
                    <a:pt x="797" y="310"/>
                  </a:lnTo>
                  <a:lnTo>
                    <a:pt x="797" y="310"/>
                  </a:lnTo>
                  <a:lnTo>
                    <a:pt x="799" y="308"/>
                  </a:lnTo>
                  <a:lnTo>
                    <a:pt x="799" y="308"/>
                  </a:lnTo>
                  <a:lnTo>
                    <a:pt x="799" y="308"/>
                  </a:lnTo>
                  <a:lnTo>
                    <a:pt x="799" y="308"/>
                  </a:lnTo>
                  <a:lnTo>
                    <a:pt x="799" y="308"/>
                  </a:lnTo>
                  <a:lnTo>
                    <a:pt x="799" y="308"/>
                  </a:lnTo>
                  <a:lnTo>
                    <a:pt x="799" y="308"/>
                  </a:lnTo>
                  <a:lnTo>
                    <a:pt x="802" y="308"/>
                  </a:lnTo>
                  <a:lnTo>
                    <a:pt x="802" y="308"/>
                  </a:lnTo>
                  <a:lnTo>
                    <a:pt x="802" y="308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0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3"/>
                  </a:lnTo>
                  <a:lnTo>
                    <a:pt x="802" y="315"/>
                  </a:lnTo>
                  <a:lnTo>
                    <a:pt x="804" y="315"/>
                  </a:lnTo>
                  <a:lnTo>
                    <a:pt x="804" y="315"/>
                  </a:lnTo>
                  <a:lnTo>
                    <a:pt x="804" y="315"/>
                  </a:lnTo>
                  <a:lnTo>
                    <a:pt x="804" y="315"/>
                  </a:lnTo>
                  <a:lnTo>
                    <a:pt x="806" y="315"/>
                  </a:lnTo>
                  <a:lnTo>
                    <a:pt x="806" y="315"/>
                  </a:lnTo>
                  <a:lnTo>
                    <a:pt x="806" y="317"/>
                  </a:lnTo>
                  <a:lnTo>
                    <a:pt x="806" y="317"/>
                  </a:lnTo>
                  <a:lnTo>
                    <a:pt x="806" y="317"/>
                  </a:lnTo>
                  <a:lnTo>
                    <a:pt x="806" y="317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08" y="319"/>
                  </a:lnTo>
                  <a:lnTo>
                    <a:pt x="808" y="319"/>
                  </a:lnTo>
                  <a:lnTo>
                    <a:pt x="808" y="319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08" y="317"/>
                  </a:lnTo>
                  <a:lnTo>
                    <a:pt x="808" y="315"/>
                  </a:lnTo>
                  <a:lnTo>
                    <a:pt x="808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3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5"/>
                  </a:lnTo>
                  <a:lnTo>
                    <a:pt x="811" y="313"/>
                  </a:lnTo>
                  <a:lnTo>
                    <a:pt x="813" y="313"/>
                  </a:lnTo>
                  <a:lnTo>
                    <a:pt x="813" y="313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5"/>
                  </a:lnTo>
                  <a:lnTo>
                    <a:pt x="813" y="317"/>
                  </a:lnTo>
                  <a:lnTo>
                    <a:pt x="813" y="317"/>
                  </a:lnTo>
                  <a:lnTo>
                    <a:pt x="813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7"/>
                  </a:lnTo>
                  <a:lnTo>
                    <a:pt x="811" y="319"/>
                  </a:lnTo>
                  <a:lnTo>
                    <a:pt x="811" y="319"/>
                  </a:lnTo>
                  <a:lnTo>
                    <a:pt x="811" y="319"/>
                  </a:lnTo>
                  <a:lnTo>
                    <a:pt x="811" y="319"/>
                  </a:lnTo>
                  <a:lnTo>
                    <a:pt x="813" y="319"/>
                  </a:lnTo>
                  <a:lnTo>
                    <a:pt x="813" y="319"/>
                  </a:lnTo>
                  <a:lnTo>
                    <a:pt x="813" y="319"/>
                  </a:lnTo>
                  <a:lnTo>
                    <a:pt x="813" y="319"/>
                  </a:lnTo>
                  <a:lnTo>
                    <a:pt x="813" y="317"/>
                  </a:lnTo>
                  <a:lnTo>
                    <a:pt x="813" y="317"/>
                  </a:lnTo>
                  <a:lnTo>
                    <a:pt x="813" y="317"/>
                  </a:lnTo>
                  <a:lnTo>
                    <a:pt x="813" y="317"/>
                  </a:lnTo>
                  <a:lnTo>
                    <a:pt x="813" y="319"/>
                  </a:lnTo>
                  <a:lnTo>
                    <a:pt x="813" y="319"/>
                  </a:lnTo>
                  <a:lnTo>
                    <a:pt x="813" y="319"/>
                  </a:lnTo>
                  <a:lnTo>
                    <a:pt x="813" y="319"/>
                  </a:lnTo>
                  <a:lnTo>
                    <a:pt x="813" y="322"/>
                  </a:lnTo>
                  <a:lnTo>
                    <a:pt x="813" y="322"/>
                  </a:lnTo>
                  <a:lnTo>
                    <a:pt x="813" y="322"/>
                  </a:lnTo>
                  <a:lnTo>
                    <a:pt x="813" y="322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1" y="324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6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11" y="328"/>
                  </a:lnTo>
                  <a:lnTo>
                    <a:pt x="808" y="331"/>
                  </a:lnTo>
                  <a:lnTo>
                    <a:pt x="808" y="333"/>
                  </a:lnTo>
                  <a:lnTo>
                    <a:pt x="811" y="333"/>
                  </a:lnTo>
                  <a:lnTo>
                    <a:pt x="808" y="333"/>
                  </a:lnTo>
                  <a:lnTo>
                    <a:pt x="808" y="333"/>
                  </a:lnTo>
                  <a:lnTo>
                    <a:pt x="808" y="333"/>
                  </a:lnTo>
                  <a:lnTo>
                    <a:pt x="811" y="335"/>
                  </a:lnTo>
                  <a:lnTo>
                    <a:pt x="811" y="335"/>
                  </a:lnTo>
                  <a:lnTo>
                    <a:pt x="811" y="335"/>
                  </a:lnTo>
                  <a:lnTo>
                    <a:pt x="811" y="333"/>
                  </a:lnTo>
                  <a:lnTo>
                    <a:pt x="811" y="335"/>
                  </a:lnTo>
                  <a:lnTo>
                    <a:pt x="811" y="335"/>
                  </a:lnTo>
                  <a:lnTo>
                    <a:pt x="808" y="335"/>
                  </a:lnTo>
                  <a:lnTo>
                    <a:pt x="808" y="335"/>
                  </a:lnTo>
                  <a:lnTo>
                    <a:pt x="808" y="337"/>
                  </a:lnTo>
                  <a:lnTo>
                    <a:pt x="808" y="340"/>
                  </a:lnTo>
                  <a:lnTo>
                    <a:pt x="808" y="340"/>
                  </a:lnTo>
                  <a:lnTo>
                    <a:pt x="811" y="340"/>
                  </a:lnTo>
                  <a:lnTo>
                    <a:pt x="808" y="340"/>
                  </a:lnTo>
                  <a:lnTo>
                    <a:pt x="808" y="340"/>
                  </a:lnTo>
                  <a:lnTo>
                    <a:pt x="808" y="340"/>
                  </a:lnTo>
                  <a:lnTo>
                    <a:pt x="808" y="340"/>
                  </a:lnTo>
                  <a:lnTo>
                    <a:pt x="808" y="340"/>
                  </a:lnTo>
                  <a:lnTo>
                    <a:pt x="808" y="342"/>
                  </a:lnTo>
                  <a:lnTo>
                    <a:pt x="808" y="342"/>
                  </a:lnTo>
                  <a:lnTo>
                    <a:pt x="808" y="342"/>
                  </a:lnTo>
                  <a:lnTo>
                    <a:pt x="808" y="342"/>
                  </a:lnTo>
                  <a:lnTo>
                    <a:pt x="811" y="342"/>
                  </a:lnTo>
                  <a:lnTo>
                    <a:pt x="811" y="342"/>
                  </a:lnTo>
                  <a:lnTo>
                    <a:pt x="811" y="342"/>
                  </a:lnTo>
                  <a:lnTo>
                    <a:pt x="811" y="342"/>
                  </a:lnTo>
                  <a:lnTo>
                    <a:pt x="811" y="342"/>
                  </a:lnTo>
                  <a:lnTo>
                    <a:pt x="813" y="342"/>
                  </a:lnTo>
                  <a:lnTo>
                    <a:pt x="813" y="342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4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6"/>
                  </a:lnTo>
                  <a:lnTo>
                    <a:pt x="813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5" y="349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49"/>
                  </a:lnTo>
                  <a:lnTo>
                    <a:pt x="817" y="351"/>
                  </a:lnTo>
                  <a:lnTo>
                    <a:pt x="817" y="351"/>
                  </a:lnTo>
                  <a:lnTo>
                    <a:pt x="817" y="351"/>
                  </a:lnTo>
                  <a:lnTo>
                    <a:pt x="817" y="353"/>
                  </a:lnTo>
                  <a:lnTo>
                    <a:pt x="817" y="353"/>
                  </a:lnTo>
                  <a:lnTo>
                    <a:pt x="817" y="353"/>
                  </a:lnTo>
                  <a:lnTo>
                    <a:pt x="817" y="353"/>
                  </a:lnTo>
                  <a:lnTo>
                    <a:pt x="817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5"/>
                  </a:lnTo>
                  <a:lnTo>
                    <a:pt x="820" y="355"/>
                  </a:lnTo>
                  <a:lnTo>
                    <a:pt x="820" y="355"/>
                  </a:lnTo>
                  <a:lnTo>
                    <a:pt x="820" y="355"/>
                  </a:lnTo>
                  <a:lnTo>
                    <a:pt x="820" y="355"/>
                  </a:lnTo>
                  <a:lnTo>
                    <a:pt x="820" y="355"/>
                  </a:lnTo>
                  <a:lnTo>
                    <a:pt x="820" y="355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0" y="353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5"/>
                  </a:lnTo>
                  <a:lnTo>
                    <a:pt x="822" y="355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3"/>
                  </a:lnTo>
                  <a:lnTo>
                    <a:pt x="822" y="351"/>
                  </a:lnTo>
                  <a:lnTo>
                    <a:pt x="822" y="351"/>
                  </a:lnTo>
                  <a:lnTo>
                    <a:pt x="822" y="351"/>
                  </a:lnTo>
                  <a:lnTo>
                    <a:pt x="822" y="351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3"/>
                  </a:lnTo>
                  <a:lnTo>
                    <a:pt x="824" y="355"/>
                  </a:lnTo>
                  <a:lnTo>
                    <a:pt x="824" y="355"/>
                  </a:lnTo>
                  <a:lnTo>
                    <a:pt x="824" y="355"/>
                  </a:lnTo>
                  <a:lnTo>
                    <a:pt x="824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5"/>
                  </a:lnTo>
                  <a:lnTo>
                    <a:pt x="826" y="358"/>
                  </a:lnTo>
                  <a:lnTo>
                    <a:pt x="826" y="358"/>
                  </a:lnTo>
                  <a:lnTo>
                    <a:pt x="826" y="358"/>
                  </a:lnTo>
                  <a:lnTo>
                    <a:pt x="826" y="358"/>
                  </a:lnTo>
                  <a:lnTo>
                    <a:pt x="826" y="358"/>
                  </a:lnTo>
                  <a:lnTo>
                    <a:pt x="826" y="358"/>
                  </a:lnTo>
                  <a:lnTo>
                    <a:pt x="826" y="362"/>
                  </a:lnTo>
                  <a:lnTo>
                    <a:pt x="826" y="364"/>
                  </a:lnTo>
                  <a:lnTo>
                    <a:pt x="829" y="364"/>
                  </a:lnTo>
                  <a:lnTo>
                    <a:pt x="829" y="367"/>
                  </a:lnTo>
                  <a:lnTo>
                    <a:pt x="829" y="367"/>
                  </a:lnTo>
                  <a:lnTo>
                    <a:pt x="831" y="369"/>
                  </a:lnTo>
                  <a:lnTo>
                    <a:pt x="831" y="369"/>
                  </a:lnTo>
                  <a:lnTo>
                    <a:pt x="831" y="369"/>
                  </a:lnTo>
                  <a:lnTo>
                    <a:pt x="833" y="371"/>
                  </a:lnTo>
                  <a:lnTo>
                    <a:pt x="833" y="371"/>
                  </a:lnTo>
                  <a:lnTo>
                    <a:pt x="833" y="371"/>
                  </a:lnTo>
                  <a:lnTo>
                    <a:pt x="833" y="373"/>
                  </a:lnTo>
                  <a:lnTo>
                    <a:pt x="833" y="373"/>
                  </a:lnTo>
                  <a:lnTo>
                    <a:pt x="833" y="376"/>
                  </a:lnTo>
                  <a:lnTo>
                    <a:pt x="833" y="376"/>
                  </a:lnTo>
                  <a:lnTo>
                    <a:pt x="835" y="378"/>
                  </a:lnTo>
                  <a:lnTo>
                    <a:pt x="835" y="378"/>
                  </a:lnTo>
                  <a:lnTo>
                    <a:pt x="835" y="380"/>
                  </a:lnTo>
                  <a:lnTo>
                    <a:pt x="835" y="380"/>
                  </a:lnTo>
                  <a:lnTo>
                    <a:pt x="835" y="380"/>
                  </a:lnTo>
                  <a:lnTo>
                    <a:pt x="835" y="380"/>
                  </a:lnTo>
                  <a:lnTo>
                    <a:pt x="835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3" y="380"/>
                  </a:lnTo>
                  <a:lnTo>
                    <a:pt x="835" y="380"/>
                  </a:lnTo>
                  <a:lnTo>
                    <a:pt x="835" y="380"/>
                  </a:lnTo>
                  <a:lnTo>
                    <a:pt x="835" y="382"/>
                  </a:lnTo>
                  <a:lnTo>
                    <a:pt x="835" y="382"/>
                  </a:lnTo>
                  <a:lnTo>
                    <a:pt x="835" y="382"/>
                  </a:lnTo>
                  <a:lnTo>
                    <a:pt x="835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38" y="382"/>
                  </a:lnTo>
                  <a:lnTo>
                    <a:pt x="840" y="382"/>
                  </a:lnTo>
                  <a:lnTo>
                    <a:pt x="840" y="382"/>
                  </a:lnTo>
                  <a:lnTo>
                    <a:pt x="840" y="382"/>
                  </a:lnTo>
                  <a:lnTo>
                    <a:pt x="840" y="385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38" y="387"/>
                  </a:lnTo>
                  <a:lnTo>
                    <a:pt x="838" y="387"/>
                  </a:lnTo>
                  <a:lnTo>
                    <a:pt x="838" y="387"/>
                  </a:lnTo>
                  <a:lnTo>
                    <a:pt x="838" y="387"/>
                  </a:lnTo>
                  <a:lnTo>
                    <a:pt x="838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7"/>
                  </a:lnTo>
                  <a:lnTo>
                    <a:pt x="840" y="389"/>
                  </a:lnTo>
                  <a:lnTo>
                    <a:pt x="840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89"/>
                  </a:lnTo>
                  <a:lnTo>
                    <a:pt x="838" y="391"/>
                  </a:lnTo>
                  <a:lnTo>
                    <a:pt x="838" y="391"/>
                  </a:lnTo>
                  <a:lnTo>
                    <a:pt x="835" y="391"/>
                  </a:lnTo>
                  <a:lnTo>
                    <a:pt x="835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4"/>
                  </a:lnTo>
                  <a:lnTo>
                    <a:pt x="838" y="396"/>
                  </a:lnTo>
                  <a:lnTo>
                    <a:pt x="838" y="396"/>
                  </a:lnTo>
                  <a:lnTo>
                    <a:pt x="838" y="398"/>
                  </a:lnTo>
                  <a:lnTo>
                    <a:pt x="838" y="398"/>
                  </a:lnTo>
                  <a:lnTo>
                    <a:pt x="838" y="398"/>
                  </a:lnTo>
                  <a:lnTo>
                    <a:pt x="838" y="398"/>
                  </a:lnTo>
                  <a:lnTo>
                    <a:pt x="838" y="398"/>
                  </a:lnTo>
                  <a:lnTo>
                    <a:pt x="838" y="398"/>
                  </a:lnTo>
                  <a:lnTo>
                    <a:pt x="838" y="400"/>
                  </a:lnTo>
                  <a:lnTo>
                    <a:pt x="838" y="400"/>
                  </a:lnTo>
                  <a:lnTo>
                    <a:pt x="838" y="398"/>
                  </a:lnTo>
                  <a:lnTo>
                    <a:pt x="838" y="398"/>
                  </a:lnTo>
                  <a:lnTo>
                    <a:pt x="838" y="396"/>
                  </a:lnTo>
                  <a:lnTo>
                    <a:pt x="838" y="396"/>
                  </a:lnTo>
                  <a:lnTo>
                    <a:pt x="840" y="396"/>
                  </a:lnTo>
                  <a:lnTo>
                    <a:pt x="840" y="396"/>
                  </a:lnTo>
                  <a:lnTo>
                    <a:pt x="840" y="396"/>
                  </a:lnTo>
                  <a:lnTo>
                    <a:pt x="840" y="396"/>
                  </a:lnTo>
                  <a:lnTo>
                    <a:pt x="840" y="396"/>
                  </a:lnTo>
                  <a:lnTo>
                    <a:pt x="840" y="396"/>
                  </a:lnTo>
                  <a:lnTo>
                    <a:pt x="840" y="398"/>
                  </a:lnTo>
                  <a:lnTo>
                    <a:pt x="840" y="398"/>
                  </a:lnTo>
                  <a:lnTo>
                    <a:pt x="840" y="398"/>
                  </a:lnTo>
                  <a:lnTo>
                    <a:pt x="840" y="398"/>
                  </a:lnTo>
                  <a:lnTo>
                    <a:pt x="840" y="398"/>
                  </a:lnTo>
                  <a:lnTo>
                    <a:pt x="840" y="398"/>
                  </a:lnTo>
                  <a:lnTo>
                    <a:pt x="840" y="400"/>
                  </a:lnTo>
                  <a:lnTo>
                    <a:pt x="840" y="400"/>
                  </a:lnTo>
                  <a:lnTo>
                    <a:pt x="840" y="400"/>
                  </a:lnTo>
                  <a:lnTo>
                    <a:pt x="840" y="400"/>
                  </a:lnTo>
                  <a:lnTo>
                    <a:pt x="838" y="400"/>
                  </a:lnTo>
                  <a:lnTo>
                    <a:pt x="838" y="403"/>
                  </a:lnTo>
                  <a:lnTo>
                    <a:pt x="838" y="403"/>
                  </a:lnTo>
                  <a:lnTo>
                    <a:pt x="838" y="405"/>
                  </a:lnTo>
                  <a:lnTo>
                    <a:pt x="838" y="405"/>
                  </a:lnTo>
                  <a:lnTo>
                    <a:pt x="835" y="407"/>
                  </a:lnTo>
                  <a:lnTo>
                    <a:pt x="835" y="407"/>
                  </a:lnTo>
                  <a:lnTo>
                    <a:pt x="835" y="407"/>
                  </a:lnTo>
                  <a:lnTo>
                    <a:pt x="835" y="409"/>
                  </a:lnTo>
                  <a:lnTo>
                    <a:pt x="835" y="409"/>
                  </a:lnTo>
                  <a:lnTo>
                    <a:pt x="835" y="409"/>
                  </a:lnTo>
                  <a:lnTo>
                    <a:pt x="835" y="409"/>
                  </a:lnTo>
                  <a:lnTo>
                    <a:pt x="835" y="409"/>
                  </a:lnTo>
                  <a:lnTo>
                    <a:pt x="835" y="409"/>
                  </a:lnTo>
                  <a:lnTo>
                    <a:pt x="835" y="409"/>
                  </a:lnTo>
                  <a:lnTo>
                    <a:pt x="835" y="412"/>
                  </a:lnTo>
                  <a:lnTo>
                    <a:pt x="833" y="416"/>
                  </a:lnTo>
                  <a:lnTo>
                    <a:pt x="833" y="416"/>
                  </a:lnTo>
                  <a:lnTo>
                    <a:pt x="833" y="416"/>
                  </a:lnTo>
                  <a:lnTo>
                    <a:pt x="833" y="416"/>
                  </a:lnTo>
                  <a:lnTo>
                    <a:pt x="833" y="416"/>
                  </a:lnTo>
                  <a:lnTo>
                    <a:pt x="833" y="418"/>
                  </a:lnTo>
                  <a:lnTo>
                    <a:pt x="833" y="418"/>
                  </a:lnTo>
                  <a:lnTo>
                    <a:pt x="833" y="418"/>
                  </a:lnTo>
                  <a:lnTo>
                    <a:pt x="833" y="418"/>
                  </a:lnTo>
                  <a:lnTo>
                    <a:pt x="833" y="418"/>
                  </a:lnTo>
                  <a:lnTo>
                    <a:pt x="833" y="418"/>
                  </a:lnTo>
                  <a:lnTo>
                    <a:pt x="833" y="421"/>
                  </a:lnTo>
                  <a:lnTo>
                    <a:pt x="833" y="421"/>
                  </a:lnTo>
                  <a:lnTo>
                    <a:pt x="833" y="421"/>
                  </a:lnTo>
                  <a:lnTo>
                    <a:pt x="833" y="421"/>
                  </a:lnTo>
                  <a:lnTo>
                    <a:pt x="833" y="421"/>
                  </a:lnTo>
                  <a:lnTo>
                    <a:pt x="833" y="423"/>
                  </a:lnTo>
                  <a:lnTo>
                    <a:pt x="833" y="425"/>
                  </a:lnTo>
                  <a:lnTo>
                    <a:pt x="831" y="425"/>
                  </a:lnTo>
                  <a:lnTo>
                    <a:pt x="831" y="425"/>
                  </a:lnTo>
                  <a:lnTo>
                    <a:pt x="831" y="425"/>
                  </a:lnTo>
                  <a:lnTo>
                    <a:pt x="831" y="425"/>
                  </a:lnTo>
                  <a:lnTo>
                    <a:pt x="829" y="427"/>
                  </a:lnTo>
                  <a:lnTo>
                    <a:pt x="829" y="427"/>
                  </a:lnTo>
                  <a:lnTo>
                    <a:pt x="829" y="427"/>
                  </a:lnTo>
                  <a:lnTo>
                    <a:pt x="829" y="427"/>
                  </a:lnTo>
                  <a:lnTo>
                    <a:pt x="829" y="427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9" y="427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9" y="430"/>
                  </a:lnTo>
                  <a:lnTo>
                    <a:pt x="826" y="432"/>
                  </a:lnTo>
                  <a:lnTo>
                    <a:pt x="826" y="432"/>
                  </a:lnTo>
                  <a:lnTo>
                    <a:pt x="826" y="432"/>
                  </a:lnTo>
                  <a:lnTo>
                    <a:pt x="826" y="432"/>
                  </a:lnTo>
                  <a:lnTo>
                    <a:pt x="829" y="432"/>
                  </a:lnTo>
                  <a:lnTo>
                    <a:pt x="829" y="432"/>
                  </a:lnTo>
                  <a:lnTo>
                    <a:pt x="829" y="432"/>
                  </a:lnTo>
                  <a:lnTo>
                    <a:pt x="829" y="432"/>
                  </a:lnTo>
                  <a:lnTo>
                    <a:pt x="829" y="434"/>
                  </a:lnTo>
                  <a:lnTo>
                    <a:pt x="829" y="434"/>
                  </a:lnTo>
                  <a:lnTo>
                    <a:pt x="829" y="434"/>
                  </a:lnTo>
                  <a:lnTo>
                    <a:pt x="829" y="434"/>
                  </a:lnTo>
                  <a:lnTo>
                    <a:pt x="829" y="434"/>
                  </a:lnTo>
                  <a:lnTo>
                    <a:pt x="829" y="434"/>
                  </a:lnTo>
                  <a:lnTo>
                    <a:pt x="829" y="436"/>
                  </a:lnTo>
                  <a:lnTo>
                    <a:pt x="829" y="436"/>
                  </a:lnTo>
                  <a:lnTo>
                    <a:pt x="829" y="436"/>
                  </a:lnTo>
                  <a:lnTo>
                    <a:pt x="829" y="436"/>
                  </a:lnTo>
                  <a:lnTo>
                    <a:pt x="829" y="436"/>
                  </a:lnTo>
                  <a:lnTo>
                    <a:pt x="829" y="436"/>
                  </a:lnTo>
                  <a:lnTo>
                    <a:pt x="831" y="436"/>
                  </a:lnTo>
                  <a:lnTo>
                    <a:pt x="831" y="439"/>
                  </a:lnTo>
                  <a:lnTo>
                    <a:pt x="829" y="439"/>
                  </a:lnTo>
                  <a:lnTo>
                    <a:pt x="829" y="439"/>
                  </a:lnTo>
                  <a:lnTo>
                    <a:pt x="829" y="439"/>
                  </a:lnTo>
                  <a:lnTo>
                    <a:pt x="829" y="441"/>
                  </a:lnTo>
                  <a:lnTo>
                    <a:pt x="829" y="441"/>
                  </a:lnTo>
                  <a:lnTo>
                    <a:pt x="829" y="441"/>
                  </a:lnTo>
                  <a:lnTo>
                    <a:pt x="829" y="441"/>
                  </a:lnTo>
                  <a:lnTo>
                    <a:pt x="829" y="441"/>
                  </a:lnTo>
                  <a:lnTo>
                    <a:pt x="829" y="441"/>
                  </a:lnTo>
                  <a:lnTo>
                    <a:pt x="829" y="441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3"/>
                  </a:lnTo>
                  <a:lnTo>
                    <a:pt x="831" y="445"/>
                  </a:lnTo>
                  <a:lnTo>
                    <a:pt x="829" y="445"/>
                  </a:lnTo>
                  <a:lnTo>
                    <a:pt x="829" y="445"/>
                  </a:lnTo>
                  <a:lnTo>
                    <a:pt x="829" y="445"/>
                  </a:lnTo>
                  <a:lnTo>
                    <a:pt x="829" y="445"/>
                  </a:lnTo>
                  <a:lnTo>
                    <a:pt x="829" y="445"/>
                  </a:lnTo>
                  <a:lnTo>
                    <a:pt x="829" y="448"/>
                  </a:lnTo>
                  <a:lnTo>
                    <a:pt x="829" y="448"/>
                  </a:lnTo>
                  <a:lnTo>
                    <a:pt x="829" y="448"/>
                  </a:lnTo>
                  <a:lnTo>
                    <a:pt x="829" y="448"/>
                  </a:lnTo>
                  <a:lnTo>
                    <a:pt x="829" y="448"/>
                  </a:lnTo>
                  <a:lnTo>
                    <a:pt x="829" y="445"/>
                  </a:lnTo>
                  <a:lnTo>
                    <a:pt x="829" y="448"/>
                  </a:lnTo>
                  <a:lnTo>
                    <a:pt x="829" y="450"/>
                  </a:lnTo>
                  <a:lnTo>
                    <a:pt x="829" y="450"/>
                  </a:lnTo>
                  <a:lnTo>
                    <a:pt x="829" y="450"/>
                  </a:lnTo>
                  <a:lnTo>
                    <a:pt x="829" y="452"/>
                  </a:lnTo>
                  <a:lnTo>
                    <a:pt x="829" y="452"/>
                  </a:lnTo>
                  <a:lnTo>
                    <a:pt x="831" y="452"/>
                  </a:lnTo>
                  <a:lnTo>
                    <a:pt x="831" y="452"/>
                  </a:lnTo>
                  <a:lnTo>
                    <a:pt x="829" y="454"/>
                  </a:lnTo>
                  <a:lnTo>
                    <a:pt x="829" y="454"/>
                  </a:lnTo>
                  <a:lnTo>
                    <a:pt x="829" y="454"/>
                  </a:lnTo>
                  <a:lnTo>
                    <a:pt x="826" y="459"/>
                  </a:lnTo>
                  <a:lnTo>
                    <a:pt x="826" y="459"/>
                  </a:lnTo>
                  <a:lnTo>
                    <a:pt x="826" y="461"/>
                  </a:lnTo>
                  <a:lnTo>
                    <a:pt x="826" y="461"/>
                  </a:lnTo>
                  <a:lnTo>
                    <a:pt x="826" y="463"/>
                  </a:lnTo>
                  <a:lnTo>
                    <a:pt x="826" y="463"/>
                  </a:lnTo>
                  <a:lnTo>
                    <a:pt x="826" y="463"/>
                  </a:lnTo>
                  <a:lnTo>
                    <a:pt x="826" y="463"/>
                  </a:lnTo>
                  <a:lnTo>
                    <a:pt x="826" y="463"/>
                  </a:lnTo>
                  <a:lnTo>
                    <a:pt x="826" y="463"/>
                  </a:lnTo>
                  <a:lnTo>
                    <a:pt x="826" y="466"/>
                  </a:lnTo>
                  <a:lnTo>
                    <a:pt x="826" y="466"/>
                  </a:lnTo>
                  <a:lnTo>
                    <a:pt x="826" y="466"/>
                  </a:lnTo>
                  <a:lnTo>
                    <a:pt x="824" y="466"/>
                  </a:lnTo>
                  <a:lnTo>
                    <a:pt x="824" y="468"/>
                  </a:lnTo>
                  <a:lnTo>
                    <a:pt x="824" y="468"/>
                  </a:lnTo>
                  <a:lnTo>
                    <a:pt x="824" y="470"/>
                  </a:lnTo>
                  <a:lnTo>
                    <a:pt x="822" y="470"/>
                  </a:lnTo>
                  <a:lnTo>
                    <a:pt x="820" y="472"/>
                  </a:lnTo>
                  <a:lnTo>
                    <a:pt x="820" y="472"/>
                  </a:lnTo>
                  <a:lnTo>
                    <a:pt x="820" y="472"/>
                  </a:lnTo>
                  <a:lnTo>
                    <a:pt x="820" y="475"/>
                  </a:lnTo>
                  <a:lnTo>
                    <a:pt x="820" y="475"/>
                  </a:lnTo>
                  <a:lnTo>
                    <a:pt x="820" y="475"/>
                  </a:lnTo>
                  <a:lnTo>
                    <a:pt x="820" y="475"/>
                  </a:lnTo>
                  <a:lnTo>
                    <a:pt x="820" y="475"/>
                  </a:lnTo>
                  <a:lnTo>
                    <a:pt x="817" y="475"/>
                  </a:lnTo>
                  <a:lnTo>
                    <a:pt x="817" y="475"/>
                  </a:lnTo>
                  <a:lnTo>
                    <a:pt x="817" y="475"/>
                  </a:lnTo>
                  <a:lnTo>
                    <a:pt x="817" y="477"/>
                  </a:lnTo>
                  <a:lnTo>
                    <a:pt x="815" y="479"/>
                  </a:lnTo>
                  <a:lnTo>
                    <a:pt x="815" y="479"/>
                  </a:lnTo>
                  <a:lnTo>
                    <a:pt x="815" y="479"/>
                  </a:lnTo>
                  <a:lnTo>
                    <a:pt x="815" y="481"/>
                  </a:lnTo>
                  <a:lnTo>
                    <a:pt x="815" y="481"/>
                  </a:lnTo>
                  <a:lnTo>
                    <a:pt x="815" y="481"/>
                  </a:lnTo>
                  <a:lnTo>
                    <a:pt x="815" y="481"/>
                  </a:lnTo>
                  <a:lnTo>
                    <a:pt x="815" y="481"/>
                  </a:lnTo>
                  <a:lnTo>
                    <a:pt x="815" y="481"/>
                  </a:lnTo>
                  <a:lnTo>
                    <a:pt x="815" y="484"/>
                  </a:lnTo>
                  <a:lnTo>
                    <a:pt x="813" y="484"/>
                  </a:lnTo>
                  <a:lnTo>
                    <a:pt x="813" y="484"/>
                  </a:lnTo>
                  <a:lnTo>
                    <a:pt x="813" y="486"/>
                  </a:lnTo>
                  <a:lnTo>
                    <a:pt x="813" y="486"/>
                  </a:lnTo>
                  <a:lnTo>
                    <a:pt x="813" y="486"/>
                  </a:lnTo>
                  <a:lnTo>
                    <a:pt x="813" y="486"/>
                  </a:lnTo>
                  <a:lnTo>
                    <a:pt x="813" y="486"/>
                  </a:lnTo>
                  <a:lnTo>
                    <a:pt x="813" y="486"/>
                  </a:lnTo>
                  <a:lnTo>
                    <a:pt x="813" y="486"/>
                  </a:lnTo>
                  <a:lnTo>
                    <a:pt x="811" y="486"/>
                  </a:lnTo>
                  <a:lnTo>
                    <a:pt x="811" y="486"/>
                  </a:lnTo>
                  <a:lnTo>
                    <a:pt x="811" y="488"/>
                  </a:lnTo>
                  <a:lnTo>
                    <a:pt x="811" y="488"/>
                  </a:lnTo>
                  <a:lnTo>
                    <a:pt x="811" y="488"/>
                  </a:lnTo>
                  <a:lnTo>
                    <a:pt x="811" y="488"/>
                  </a:lnTo>
                  <a:lnTo>
                    <a:pt x="811" y="490"/>
                  </a:lnTo>
                  <a:lnTo>
                    <a:pt x="811" y="490"/>
                  </a:lnTo>
                  <a:lnTo>
                    <a:pt x="811" y="490"/>
                  </a:lnTo>
                  <a:lnTo>
                    <a:pt x="808" y="490"/>
                  </a:lnTo>
                  <a:lnTo>
                    <a:pt x="808" y="490"/>
                  </a:lnTo>
                  <a:lnTo>
                    <a:pt x="808" y="493"/>
                  </a:lnTo>
                  <a:lnTo>
                    <a:pt x="808" y="493"/>
                  </a:lnTo>
                  <a:lnTo>
                    <a:pt x="808" y="493"/>
                  </a:lnTo>
                  <a:lnTo>
                    <a:pt x="808" y="493"/>
                  </a:lnTo>
                  <a:lnTo>
                    <a:pt x="808" y="495"/>
                  </a:lnTo>
                  <a:lnTo>
                    <a:pt x="806" y="495"/>
                  </a:lnTo>
                  <a:lnTo>
                    <a:pt x="806" y="495"/>
                  </a:lnTo>
                  <a:lnTo>
                    <a:pt x="806" y="495"/>
                  </a:lnTo>
                  <a:lnTo>
                    <a:pt x="806" y="495"/>
                  </a:lnTo>
                  <a:lnTo>
                    <a:pt x="806" y="497"/>
                  </a:lnTo>
                  <a:lnTo>
                    <a:pt x="806" y="497"/>
                  </a:lnTo>
                  <a:lnTo>
                    <a:pt x="806" y="497"/>
                  </a:lnTo>
                  <a:lnTo>
                    <a:pt x="804" y="499"/>
                  </a:lnTo>
                  <a:lnTo>
                    <a:pt x="804" y="499"/>
                  </a:lnTo>
                  <a:lnTo>
                    <a:pt x="802" y="502"/>
                  </a:lnTo>
                  <a:lnTo>
                    <a:pt x="802" y="502"/>
                  </a:lnTo>
                  <a:lnTo>
                    <a:pt x="802" y="504"/>
                  </a:lnTo>
                  <a:lnTo>
                    <a:pt x="799" y="504"/>
                  </a:lnTo>
                  <a:lnTo>
                    <a:pt x="799" y="506"/>
                  </a:lnTo>
                  <a:lnTo>
                    <a:pt x="799" y="506"/>
                  </a:lnTo>
                  <a:lnTo>
                    <a:pt x="797" y="506"/>
                  </a:lnTo>
                  <a:lnTo>
                    <a:pt x="797" y="506"/>
                  </a:lnTo>
                  <a:lnTo>
                    <a:pt x="795" y="511"/>
                  </a:lnTo>
                  <a:lnTo>
                    <a:pt x="795" y="511"/>
                  </a:lnTo>
                  <a:lnTo>
                    <a:pt x="795" y="511"/>
                  </a:lnTo>
                  <a:lnTo>
                    <a:pt x="795" y="511"/>
                  </a:lnTo>
                  <a:lnTo>
                    <a:pt x="795" y="511"/>
                  </a:lnTo>
                  <a:lnTo>
                    <a:pt x="793" y="515"/>
                  </a:lnTo>
                  <a:lnTo>
                    <a:pt x="793" y="515"/>
                  </a:lnTo>
                  <a:lnTo>
                    <a:pt x="793" y="515"/>
                  </a:lnTo>
                  <a:lnTo>
                    <a:pt x="793" y="515"/>
                  </a:lnTo>
                  <a:lnTo>
                    <a:pt x="793" y="517"/>
                  </a:lnTo>
                  <a:lnTo>
                    <a:pt x="793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5" y="517"/>
                  </a:lnTo>
                  <a:lnTo>
                    <a:pt x="793" y="520"/>
                  </a:lnTo>
                  <a:lnTo>
                    <a:pt x="793" y="520"/>
                  </a:lnTo>
                  <a:lnTo>
                    <a:pt x="793" y="520"/>
                  </a:lnTo>
                  <a:lnTo>
                    <a:pt x="793" y="520"/>
                  </a:lnTo>
                  <a:lnTo>
                    <a:pt x="793" y="520"/>
                  </a:lnTo>
                  <a:lnTo>
                    <a:pt x="793" y="520"/>
                  </a:lnTo>
                  <a:lnTo>
                    <a:pt x="793" y="522"/>
                  </a:lnTo>
                  <a:lnTo>
                    <a:pt x="793" y="522"/>
                  </a:lnTo>
                  <a:lnTo>
                    <a:pt x="790" y="522"/>
                  </a:lnTo>
                  <a:lnTo>
                    <a:pt x="790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788" y="526"/>
                  </a:lnTo>
                  <a:lnTo>
                    <a:pt x="788" y="526"/>
                  </a:lnTo>
                  <a:lnTo>
                    <a:pt x="786" y="529"/>
                  </a:lnTo>
                  <a:lnTo>
                    <a:pt x="786" y="529"/>
                  </a:lnTo>
                  <a:lnTo>
                    <a:pt x="786" y="529"/>
                  </a:lnTo>
                  <a:lnTo>
                    <a:pt x="786" y="529"/>
                  </a:lnTo>
                  <a:lnTo>
                    <a:pt x="786" y="529"/>
                  </a:lnTo>
                  <a:lnTo>
                    <a:pt x="786" y="531"/>
                  </a:lnTo>
                  <a:lnTo>
                    <a:pt x="786" y="531"/>
                  </a:lnTo>
                  <a:lnTo>
                    <a:pt x="786" y="531"/>
                  </a:lnTo>
                  <a:lnTo>
                    <a:pt x="784" y="531"/>
                  </a:lnTo>
                  <a:lnTo>
                    <a:pt x="784" y="533"/>
                  </a:lnTo>
                  <a:lnTo>
                    <a:pt x="784" y="533"/>
                  </a:lnTo>
                  <a:lnTo>
                    <a:pt x="784" y="533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81" y="535"/>
                  </a:lnTo>
                  <a:lnTo>
                    <a:pt x="779" y="538"/>
                  </a:lnTo>
                  <a:lnTo>
                    <a:pt x="779" y="538"/>
                  </a:lnTo>
                  <a:lnTo>
                    <a:pt x="779" y="538"/>
                  </a:lnTo>
                  <a:lnTo>
                    <a:pt x="779" y="540"/>
                  </a:lnTo>
                  <a:lnTo>
                    <a:pt x="777" y="540"/>
                  </a:lnTo>
                  <a:lnTo>
                    <a:pt x="777" y="540"/>
                  </a:lnTo>
                  <a:lnTo>
                    <a:pt x="775" y="540"/>
                  </a:lnTo>
                  <a:lnTo>
                    <a:pt x="772" y="544"/>
                  </a:lnTo>
                  <a:lnTo>
                    <a:pt x="772" y="544"/>
                  </a:lnTo>
                  <a:lnTo>
                    <a:pt x="772" y="544"/>
                  </a:lnTo>
                  <a:lnTo>
                    <a:pt x="770" y="544"/>
                  </a:lnTo>
                  <a:lnTo>
                    <a:pt x="770" y="547"/>
                  </a:lnTo>
                  <a:lnTo>
                    <a:pt x="770" y="547"/>
                  </a:lnTo>
                  <a:lnTo>
                    <a:pt x="770" y="547"/>
                  </a:lnTo>
                  <a:lnTo>
                    <a:pt x="770" y="547"/>
                  </a:lnTo>
                  <a:lnTo>
                    <a:pt x="770" y="547"/>
                  </a:lnTo>
                  <a:lnTo>
                    <a:pt x="770" y="547"/>
                  </a:lnTo>
                  <a:lnTo>
                    <a:pt x="770" y="549"/>
                  </a:lnTo>
                  <a:lnTo>
                    <a:pt x="770" y="549"/>
                  </a:lnTo>
                  <a:lnTo>
                    <a:pt x="770" y="549"/>
                  </a:lnTo>
                  <a:lnTo>
                    <a:pt x="770" y="549"/>
                  </a:lnTo>
                  <a:lnTo>
                    <a:pt x="770" y="549"/>
                  </a:lnTo>
                  <a:lnTo>
                    <a:pt x="770" y="549"/>
                  </a:lnTo>
                  <a:lnTo>
                    <a:pt x="768" y="549"/>
                  </a:lnTo>
                  <a:lnTo>
                    <a:pt x="768" y="549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1"/>
                  </a:lnTo>
                  <a:lnTo>
                    <a:pt x="768" y="553"/>
                  </a:lnTo>
                  <a:lnTo>
                    <a:pt x="768" y="553"/>
                  </a:lnTo>
                  <a:lnTo>
                    <a:pt x="768" y="553"/>
                  </a:lnTo>
                  <a:lnTo>
                    <a:pt x="768" y="553"/>
                  </a:lnTo>
                  <a:lnTo>
                    <a:pt x="763" y="556"/>
                  </a:lnTo>
                  <a:lnTo>
                    <a:pt x="763" y="556"/>
                  </a:lnTo>
                  <a:lnTo>
                    <a:pt x="761" y="556"/>
                  </a:lnTo>
                  <a:lnTo>
                    <a:pt x="761" y="558"/>
                  </a:lnTo>
                  <a:lnTo>
                    <a:pt x="761" y="558"/>
                  </a:lnTo>
                  <a:lnTo>
                    <a:pt x="759" y="558"/>
                  </a:lnTo>
                  <a:lnTo>
                    <a:pt x="759" y="558"/>
                  </a:lnTo>
                  <a:lnTo>
                    <a:pt x="759" y="558"/>
                  </a:lnTo>
                  <a:lnTo>
                    <a:pt x="759" y="560"/>
                  </a:lnTo>
                  <a:lnTo>
                    <a:pt x="759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58"/>
                  </a:lnTo>
                  <a:lnTo>
                    <a:pt x="757" y="558"/>
                  </a:lnTo>
                  <a:lnTo>
                    <a:pt x="757" y="558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5" y="560"/>
                  </a:lnTo>
                  <a:lnTo>
                    <a:pt x="755" y="560"/>
                  </a:lnTo>
                  <a:lnTo>
                    <a:pt x="755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0"/>
                  </a:lnTo>
                  <a:lnTo>
                    <a:pt x="757" y="562"/>
                  </a:lnTo>
                  <a:lnTo>
                    <a:pt x="757" y="562"/>
                  </a:lnTo>
                  <a:lnTo>
                    <a:pt x="757" y="562"/>
                  </a:lnTo>
                  <a:lnTo>
                    <a:pt x="755" y="562"/>
                  </a:lnTo>
                  <a:lnTo>
                    <a:pt x="755" y="562"/>
                  </a:lnTo>
                  <a:lnTo>
                    <a:pt x="755" y="562"/>
                  </a:lnTo>
                  <a:lnTo>
                    <a:pt x="755" y="562"/>
                  </a:lnTo>
                  <a:lnTo>
                    <a:pt x="755" y="562"/>
                  </a:lnTo>
                  <a:lnTo>
                    <a:pt x="755" y="562"/>
                  </a:lnTo>
                  <a:lnTo>
                    <a:pt x="752" y="562"/>
                  </a:lnTo>
                  <a:lnTo>
                    <a:pt x="750" y="562"/>
                  </a:lnTo>
                  <a:lnTo>
                    <a:pt x="750" y="562"/>
                  </a:lnTo>
                  <a:lnTo>
                    <a:pt x="748" y="565"/>
                  </a:lnTo>
                  <a:lnTo>
                    <a:pt x="748" y="565"/>
                  </a:lnTo>
                  <a:lnTo>
                    <a:pt x="748" y="565"/>
                  </a:lnTo>
                  <a:lnTo>
                    <a:pt x="748" y="565"/>
                  </a:lnTo>
                  <a:lnTo>
                    <a:pt x="746" y="565"/>
                  </a:lnTo>
                  <a:lnTo>
                    <a:pt x="748" y="565"/>
                  </a:lnTo>
                  <a:lnTo>
                    <a:pt x="746" y="565"/>
                  </a:lnTo>
                  <a:lnTo>
                    <a:pt x="746" y="567"/>
                  </a:lnTo>
                  <a:lnTo>
                    <a:pt x="746" y="567"/>
                  </a:lnTo>
                  <a:lnTo>
                    <a:pt x="746" y="567"/>
                  </a:lnTo>
                  <a:lnTo>
                    <a:pt x="746" y="567"/>
                  </a:lnTo>
                  <a:lnTo>
                    <a:pt x="746" y="567"/>
                  </a:lnTo>
                  <a:lnTo>
                    <a:pt x="743" y="567"/>
                  </a:lnTo>
                  <a:lnTo>
                    <a:pt x="743" y="567"/>
                  </a:lnTo>
                  <a:lnTo>
                    <a:pt x="743" y="569"/>
                  </a:lnTo>
                  <a:lnTo>
                    <a:pt x="743" y="569"/>
                  </a:lnTo>
                  <a:lnTo>
                    <a:pt x="743" y="569"/>
                  </a:lnTo>
                  <a:lnTo>
                    <a:pt x="741" y="569"/>
                  </a:lnTo>
                  <a:lnTo>
                    <a:pt x="741" y="569"/>
                  </a:lnTo>
                  <a:lnTo>
                    <a:pt x="741" y="571"/>
                  </a:lnTo>
                  <a:lnTo>
                    <a:pt x="741" y="571"/>
                  </a:lnTo>
                  <a:lnTo>
                    <a:pt x="741" y="571"/>
                  </a:lnTo>
                  <a:lnTo>
                    <a:pt x="741" y="571"/>
                  </a:lnTo>
                  <a:lnTo>
                    <a:pt x="741" y="571"/>
                  </a:lnTo>
                  <a:lnTo>
                    <a:pt x="739" y="571"/>
                  </a:lnTo>
                  <a:lnTo>
                    <a:pt x="739" y="574"/>
                  </a:lnTo>
                  <a:lnTo>
                    <a:pt x="739" y="574"/>
                  </a:lnTo>
                  <a:lnTo>
                    <a:pt x="739" y="574"/>
                  </a:lnTo>
                  <a:lnTo>
                    <a:pt x="739" y="574"/>
                  </a:lnTo>
                  <a:lnTo>
                    <a:pt x="737" y="574"/>
                  </a:lnTo>
                  <a:lnTo>
                    <a:pt x="737" y="576"/>
                  </a:lnTo>
                  <a:lnTo>
                    <a:pt x="737" y="574"/>
                  </a:lnTo>
                  <a:lnTo>
                    <a:pt x="737" y="574"/>
                  </a:lnTo>
                  <a:lnTo>
                    <a:pt x="739" y="574"/>
                  </a:lnTo>
                  <a:lnTo>
                    <a:pt x="737" y="574"/>
                  </a:lnTo>
                  <a:lnTo>
                    <a:pt x="737" y="574"/>
                  </a:lnTo>
                  <a:lnTo>
                    <a:pt x="737" y="574"/>
                  </a:lnTo>
                  <a:lnTo>
                    <a:pt x="737" y="574"/>
                  </a:lnTo>
                  <a:lnTo>
                    <a:pt x="737" y="574"/>
                  </a:lnTo>
                  <a:lnTo>
                    <a:pt x="737" y="574"/>
                  </a:lnTo>
                  <a:lnTo>
                    <a:pt x="737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7" y="576"/>
                  </a:lnTo>
                  <a:lnTo>
                    <a:pt x="737" y="576"/>
                  </a:lnTo>
                  <a:lnTo>
                    <a:pt x="737" y="576"/>
                  </a:lnTo>
                  <a:lnTo>
                    <a:pt x="737" y="576"/>
                  </a:lnTo>
                  <a:lnTo>
                    <a:pt x="734" y="576"/>
                  </a:lnTo>
                  <a:lnTo>
                    <a:pt x="734" y="576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4" y="578"/>
                  </a:lnTo>
                  <a:lnTo>
                    <a:pt x="732" y="578"/>
                  </a:lnTo>
                  <a:lnTo>
                    <a:pt x="732" y="578"/>
                  </a:lnTo>
                  <a:lnTo>
                    <a:pt x="732" y="580"/>
                  </a:lnTo>
                  <a:lnTo>
                    <a:pt x="732" y="580"/>
                  </a:lnTo>
                  <a:lnTo>
                    <a:pt x="732" y="580"/>
                  </a:lnTo>
                  <a:lnTo>
                    <a:pt x="732" y="580"/>
                  </a:lnTo>
                  <a:lnTo>
                    <a:pt x="732" y="580"/>
                  </a:lnTo>
                  <a:lnTo>
                    <a:pt x="732" y="580"/>
                  </a:lnTo>
                  <a:lnTo>
                    <a:pt x="732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28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30" y="580"/>
                  </a:lnTo>
                  <a:lnTo>
                    <a:pt x="728" y="582"/>
                  </a:lnTo>
                  <a:lnTo>
                    <a:pt x="728" y="582"/>
                  </a:lnTo>
                  <a:lnTo>
                    <a:pt x="728" y="582"/>
                  </a:lnTo>
                  <a:lnTo>
                    <a:pt x="730" y="582"/>
                  </a:lnTo>
                  <a:lnTo>
                    <a:pt x="730" y="582"/>
                  </a:lnTo>
                  <a:lnTo>
                    <a:pt x="730" y="580"/>
                  </a:lnTo>
                  <a:lnTo>
                    <a:pt x="730" y="582"/>
                  </a:lnTo>
                  <a:lnTo>
                    <a:pt x="730" y="582"/>
                  </a:lnTo>
                  <a:lnTo>
                    <a:pt x="728" y="582"/>
                  </a:lnTo>
                  <a:lnTo>
                    <a:pt x="728" y="585"/>
                  </a:lnTo>
                  <a:lnTo>
                    <a:pt x="728" y="585"/>
                  </a:lnTo>
                  <a:lnTo>
                    <a:pt x="728" y="585"/>
                  </a:lnTo>
                  <a:lnTo>
                    <a:pt x="728" y="585"/>
                  </a:lnTo>
                  <a:lnTo>
                    <a:pt x="728" y="585"/>
                  </a:lnTo>
                  <a:lnTo>
                    <a:pt x="728" y="585"/>
                  </a:lnTo>
                  <a:lnTo>
                    <a:pt x="728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7"/>
                  </a:lnTo>
                  <a:lnTo>
                    <a:pt x="725" y="589"/>
                  </a:lnTo>
                  <a:lnTo>
                    <a:pt x="725" y="589"/>
                  </a:lnTo>
                  <a:lnTo>
                    <a:pt x="723" y="589"/>
                  </a:lnTo>
                  <a:lnTo>
                    <a:pt x="723" y="591"/>
                  </a:lnTo>
                  <a:lnTo>
                    <a:pt x="723" y="591"/>
                  </a:lnTo>
                  <a:lnTo>
                    <a:pt x="723" y="591"/>
                  </a:lnTo>
                  <a:lnTo>
                    <a:pt x="723" y="589"/>
                  </a:lnTo>
                  <a:lnTo>
                    <a:pt x="723" y="589"/>
                  </a:lnTo>
                  <a:lnTo>
                    <a:pt x="723" y="589"/>
                  </a:lnTo>
                  <a:lnTo>
                    <a:pt x="723" y="589"/>
                  </a:lnTo>
                  <a:lnTo>
                    <a:pt x="723" y="589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3" y="591"/>
                  </a:lnTo>
                  <a:lnTo>
                    <a:pt x="723" y="591"/>
                  </a:lnTo>
                  <a:lnTo>
                    <a:pt x="723" y="591"/>
                  </a:lnTo>
                  <a:lnTo>
                    <a:pt x="723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1"/>
                  </a:lnTo>
                  <a:lnTo>
                    <a:pt x="721" y="594"/>
                  </a:lnTo>
                  <a:lnTo>
                    <a:pt x="721" y="594"/>
                  </a:lnTo>
                  <a:lnTo>
                    <a:pt x="721" y="594"/>
                  </a:lnTo>
                  <a:lnTo>
                    <a:pt x="721" y="594"/>
                  </a:lnTo>
                  <a:lnTo>
                    <a:pt x="719" y="594"/>
                  </a:lnTo>
                  <a:lnTo>
                    <a:pt x="719" y="594"/>
                  </a:lnTo>
                  <a:lnTo>
                    <a:pt x="719" y="594"/>
                  </a:lnTo>
                  <a:lnTo>
                    <a:pt x="719" y="594"/>
                  </a:lnTo>
                  <a:lnTo>
                    <a:pt x="716" y="596"/>
                  </a:lnTo>
                  <a:lnTo>
                    <a:pt x="716" y="596"/>
                  </a:lnTo>
                  <a:lnTo>
                    <a:pt x="716" y="596"/>
                  </a:lnTo>
                  <a:lnTo>
                    <a:pt x="714" y="598"/>
                  </a:lnTo>
                  <a:lnTo>
                    <a:pt x="714" y="598"/>
                  </a:lnTo>
                  <a:lnTo>
                    <a:pt x="712" y="600"/>
                  </a:lnTo>
                  <a:lnTo>
                    <a:pt x="712" y="603"/>
                  </a:lnTo>
                  <a:lnTo>
                    <a:pt x="712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10" y="603"/>
                  </a:lnTo>
                  <a:lnTo>
                    <a:pt x="707" y="603"/>
                  </a:lnTo>
                  <a:lnTo>
                    <a:pt x="707" y="603"/>
                  </a:lnTo>
                  <a:lnTo>
                    <a:pt x="707" y="605"/>
                  </a:lnTo>
                  <a:lnTo>
                    <a:pt x="707" y="605"/>
                  </a:lnTo>
                  <a:lnTo>
                    <a:pt x="710" y="605"/>
                  </a:lnTo>
                  <a:lnTo>
                    <a:pt x="710" y="605"/>
                  </a:lnTo>
                  <a:lnTo>
                    <a:pt x="710" y="605"/>
                  </a:lnTo>
                  <a:lnTo>
                    <a:pt x="710" y="605"/>
                  </a:lnTo>
                  <a:lnTo>
                    <a:pt x="710" y="605"/>
                  </a:lnTo>
                  <a:lnTo>
                    <a:pt x="710" y="605"/>
                  </a:lnTo>
                  <a:lnTo>
                    <a:pt x="710" y="605"/>
                  </a:lnTo>
                  <a:lnTo>
                    <a:pt x="707" y="609"/>
                  </a:lnTo>
                  <a:lnTo>
                    <a:pt x="705" y="609"/>
                  </a:lnTo>
                  <a:lnTo>
                    <a:pt x="705" y="609"/>
                  </a:lnTo>
                  <a:lnTo>
                    <a:pt x="705" y="609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2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6"/>
                  </a:lnTo>
                  <a:lnTo>
                    <a:pt x="703" y="616"/>
                  </a:lnTo>
                  <a:lnTo>
                    <a:pt x="703" y="616"/>
                  </a:lnTo>
                  <a:lnTo>
                    <a:pt x="701" y="616"/>
                  </a:lnTo>
                  <a:lnTo>
                    <a:pt x="701" y="616"/>
                  </a:lnTo>
                  <a:lnTo>
                    <a:pt x="701" y="616"/>
                  </a:lnTo>
                  <a:lnTo>
                    <a:pt x="701" y="616"/>
                  </a:lnTo>
                  <a:lnTo>
                    <a:pt x="701" y="616"/>
                  </a:lnTo>
                  <a:lnTo>
                    <a:pt x="703" y="616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3" y="614"/>
                  </a:lnTo>
                  <a:lnTo>
                    <a:pt x="701" y="614"/>
                  </a:lnTo>
                  <a:lnTo>
                    <a:pt x="701" y="614"/>
                  </a:lnTo>
                  <a:lnTo>
                    <a:pt x="701" y="614"/>
                  </a:lnTo>
                  <a:lnTo>
                    <a:pt x="701" y="616"/>
                  </a:lnTo>
                  <a:lnTo>
                    <a:pt x="698" y="616"/>
                  </a:lnTo>
                  <a:lnTo>
                    <a:pt x="701" y="616"/>
                  </a:lnTo>
                  <a:lnTo>
                    <a:pt x="698" y="616"/>
                  </a:lnTo>
                  <a:lnTo>
                    <a:pt x="698" y="616"/>
                  </a:lnTo>
                  <a:lnTo>
                    <a:pt x="698" y="616"/>
                  </a:lnTo>
                  <a:lnTo>
                    <a:pt x="698" y="618"/>
                  </a:lnTo>
                  <a:lnTo>
                    <a:pt x="701" y="618"/>
                  </a:lnTo>
                  <a:lnTo>
                    <a:pt x="701" y="616"/>
                  </a:lnTo>
                  <a:lnTo>
                    <a:pt x="701" y="616"/>
                  </a:lnTo>
                  <a:lnTo>
                    <a:pt x="701" y="618"/>
                  </a:lnTo>
                  <a:lnTo>
                    <a:pt x="701" y="618"/>
                  </a:lnTo>
                  <a:lnTo>
                    <a:pt x="701" y="618"/>
                  </a:lnTo>
                  <a:lnTo>
                    <a:pt x="701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8" y="618"/>
                  </a:lnTo>
                  <a:lnTo>
                    <a:pt x="696" y="618"/>
                  </a:lnTo>
                  <a:lnTo>
                    <a:pt x="696" y="618"/>
                  </a:lnTo>
                  <a:lnTo>
                    <a:pt x="696" y="618"/>
                  </a:lnTo>
                  <a:lnTo>
                    <a:pt x="694" y="621"/>
                  </a:lnTo>
                  <a:lnTo>
                    <a:pt x="694" y="621"/>
                  </a:lnTo>
                  <a:lnTo>
                    <a:pt x="694" y="621"/>
                  </a:lnTo>
                  <a:lnTo>
                    <a:pt x="694" y="621"/>
                  </a:lnTo>
                  <a:lnTo>
                    <a:pt x="694" y="621"/>
                  </a:lnTo>
                  <a:lnTo>
                    <a:pt x="694" y="621"/>
                  </a:lnTo>
                  <a:lnTo>
                    <a:pt x="692" y="621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92" y="623"/>
                  </a:lnTo>
                  <a:lnTo>
                    <a:pt x="689" y="625"/>
                  </a:lnTo>
                  <a:lnTo>
                    <a:pt x="689" y="625"/>
                  </a:lnTo>
                  <a:lnTo>
                    <a:pt x="689" y="625"/>
                  </a:lnTo>
                  <a:lnTo>
                    <a:pt x="689" y="625"/>
                  </a:lnTo>
                  <a:lnTo>
                    <a:pt x="689" y="625"/>
                  </a:lnTo>
                  <a:lnTo>
                    <a:pt x="687" y="627"/>
                  </a:lnTo>
                  <a:lnTo>
                    <a:pt x="687" y="627"/>
                  </a:lnTo>
                  <a:lnTo>
                    <a:pt x="687" y="627"/>
                  </a:lnTo>
                  <a:lnTo>
                    <a:pt x="687" y="627"/>
                  </a:lnTo>
                  <a:lnTo>
                    <a:pt x="685" y="630"/>
                  </a:lnTo>
                  <a:lnTo>
                    <a:pt x="685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2"/>
                  </a:lnTo>
                  <a:lnTo>
                    <a:pt x="683" y="634"/>
                  </a:lnTo>
                  <a:lnTo>
                    <a:pt x="680" y="634"/>
                  </a:lnTo>
                  <a:lnTo>
                    <a:pt x="680" y="634"/>
                  </a:lnTo>
                  <a:lnTo>
                    <a:pt x="680" y="634"/>
                  </a:lnTo>
                  <a:lnTo>
                    <a:pt x="680" y="634"/>
                  </a:lnTo>
                  <a:lnTo>
                    <a:pt x="680" y="634"/>
                  </a:lnTo>
                  <a:lnTo>
                    <a:pt x="680" y="634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9"/>
                  </a:lnTo>
                  <a:lnTo>
                    <a:pt x="676" y="639"/>
                  </a:lnTo>
                  <a:lnTo>
                    <a:pt x="676" y="639"/>
                  </a:lnTo>
                  <a:lnTo>
                    <a:pt x="676" y="639"/>
                  </a:lnTo>
                  <a:lnTo>
                    <a:pt x="676" y="639"/>
                  </a:lnTo>
                  <a:lnTo>
                    <a:pt x="676" y="639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6" y="641"/>
                  </a:lnTo>
                  <a:lnTo>
                    <a:pt x="674" y="643"/>
                  </a:lnTo>
                  <a:lnTo>
                    <a:pt x="674" y="643"/>
                  </a:lnTo>
                  <a:lnTo>
                    <a:pt x="674" y="643"/>
                  </a:lnTo>
                  <a:lnTo>
                    <a:pt x="674" y="645"/>
                  </a:lnTo>
                  <a:lnTo>
                    <a:pt x="674" y="645"/>
                  </a:lnTo>
                  <a:lnTo>
                    <a:pt x="674" y="645"/>
                  </a:lnTo>
                  <a:lnTo>
                    <a:pt x="674" y="645"/>
                  </a:lnTo>
                  <a:lnTo>
                    <a:pt x="674" y="645"/>
                  </a:lnTo>
                  <a:lnTo>
                    <a:pt x="674" y="645"/>
                  </a:lnTo>
                  <a:lnTo>
                    <a:pt x="674" y="645"/>
                  </a:lnTo>
                  <a:lnTo>
                    <a:pt x="671" y="645"/>
                  </a:lnTo>
                  <a:lnTo>
                    <a:pt x="671" y="648"/>
                  </a:lnTo>
                  <a:lnTo>
                    <a:pt x="671" y="648"/>
                  </a:lnTo>
                  <a:lnTo>
                    <a:pt x="671" y="648"/>
                  </a:lnTo>
                  <a:lnTo>
                    <a:pt x="669" y="648"/>
                  </a:lnTo>
                  <a:lnTo>
                    <a:pt x="669" y="650"/>
                  </a:lnTo>
                  <a:lnTo>
                    <a:pt x="669" y="650"/>
                  </a:lnTo>
                  <a:lnTo>
                    <a:pt x="669" y="650"/>
                  </a:lnTo>
                  <a:lnTo>
                    <a:pt x="669" y="650"/>
                  </a:lnTo>
                  <a:lnTo>
                    <a:pt x="669" y="650"/>
                  </a:lnTo>
                  <a:lnTo>
                    <a:pt x="669" y="650"/>
                  </a:lnTo>
                  <a:lnTo>
                    <a:pt x="669" y="652"/>
                  </a:lnTo>
                  <a:lnTo>
                    <a:pt x="667" y="652"/>
                  </a:lnTo>
                  <a:lnTo>
                    <a:pt x="667" y="652"/>
                  </a:lnTo>
                  <a:lnTo>
                    <a:pt x="665" y="654"/>
                  </a:lnTo>
                  <a:lnTo>
                    <a:pt x="665" y="654"/>
                  </a:lnTo>
                  <a:lnTo>
                    <a:pt x="665" y="654"/>
                  </a:lnTo>
                  <a:lnTo>
                    <a:pt x="665" y="657"/>
                  </a:lnTo>
                  <a:lnTo>
                    <a:pt x="665" y="657"/>
                  </a:lnTo>
                  <a:lnTo>
                    <a:pt x="665" y="657"/>
                  </a:lnTo>
                  <a:lnTo>
                    <a:pt x="662" y="657"/>
                  </a:lnTo>
                  <a:lnTo>
                    <a:pt x="662" y="659"/>
                  </a:lnTo>
                  <a:lnTo>
                    <a:pt x="662" y="659"/>
                  </a:lnTo>
                  <a:lnTo>
                    <a:pt x="662" y="659"/>
                  </a:lnTo>
                  <a:lnTo>
                    <a:pt x="660" y="659"/>
                  </a:lnTo>
                  <a:lnTo>
                    <a:pt x="660" y="661"/>
                  </a:lnTo>
                  <a:lnTo>
                    <a:pt x="660" y="661"/>
                  </a:lnTo>
                  <a:lnTo>
                    <a:pt x="660" y="661"/>
                  </a:lnTo>
                  <a:lnTo>
                    <a:pt x="660" y="661"/>
                  </a:lnTo>
                  <a:lnTo>
                    <a:pt x="660" y="661"/>
                  </a:lnTo>
                  <a:lnTo>
                    <a:pt x="660" y="661"/>
                  </a:lnTo>
                  <a:lnTo>
                    <a:pt x="660" y="661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60" y="663"/>
                  </a:lnTo>
                  <a:lnTo>
                    <a:pt x="658" y="663"/>
                  </a:lnTo>
                  <a:lnTo>
                    <a:pt x="658" y="663"/>
                  </a:lnTo>
                  <a:lnTo>
                    <a:pt x="658" y="663"/>
                  </a:lnTo>
                  <a:lnTo>
                    <a:pt x="658" y="663"/>
                  </a:lnTo>
                  <a:lnTo>
                    <a:pt x="658" y="663"/>
                  </a:lnTo>
                  <a:lnTo>
                    <a:pt x="658" y="666"/>
                  </a:lnTo>
                  <a:lnTo>
                    <a:pt x="658" y="666"/>
                  </a:lnTo>
                  <a:lnTo>
                    <a:pt x="658" y="666"/>
                  </a:lnTo>
                  <a:lnTo>
                    <a:pt x="658" y="666"/>
                  </a:lnTo>
                  <a:lnTo>
                    <a:pt x="658" y="666"/>
                  </a:lnTo>
                  <a:lnTo>
                    <a:pt x="660" y="666"/>
                  </a:lnTo>
                  <a:lnTo>
                    <a:pt x="660" y="666"/>
                  </a:lnTo>
                  <a:lnTo>
                    <a:pt x="660" y="666"/>
                  </a:lnTo>
                  <a:lnTo>
                    <a:pt x="660" y="666"/>
                  </a:lnTo>
                  <a:lnTo>
                    <a:pt x="660" y="666"/>
                  </a:lnTo>
                  <a:lnTo>
                    <a:pt x="658" y="668"/>
                  </a:lnTo>
                  <a:lnTo>
                    <a:pt x="660" y="668"/>
                  </a:lnTo>
                  <a:lnTo>
                    <a:pt x="658" y="668"/>
                  </a:lnTo>
                  <a:lnTo>
                    <a:pt x="658" y="668"/>
                  </a:lnTo>
                  <a:lnTo>
                    <a:pt x="658" y="668"/>
                  </a:lnTo>
                  <a:lnTo>
                    <a:pt x="658" y="668"/>
                  </a:lnTo>
                  <a:lnTo>
                    <a:pt x="658" y="668"/>
                  </a:lnTo>
                  <a:lnTo>
                    <a:pt x="658" y="668"/>
                  </a:lnTo>
                  <a:lnTo>
                    <a:pt x="656" y="668"/>
                  </a:lnTo>
                  <a:lnTo>
                    <a:pt x="656" y="670"/>
                  </a:lnTo>
                  <a:lnTo>
                    <a:pt x="656" y="670"/>
                  </a:lnTo>
                  <a:lnTo>
                    <a:pt x="656" y="672"/>
                  </a:lnTo>
                  <a:lnTo>
                    <a:pt x="656" y="672"/>
                  </a:lnTo>
                  <a:lnTo>
                    <a:pt x="656" y="675"/>
                  </a:lnTo>
                  <a:lnTo>
                    <a:pt x="653" y="675"/>
                  </a:lnTo>
                  <a:lnTo>
                    <a:pt x="651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51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5"/>
                  </a:lnTo>
                  <a:lnTo>
                    <a:pt x="649" y="677"/>
                  </a:lnTo>
                  <a:lnTo>
                    <a:pt x="649" y="677"/>
                  </a:lnTo>
                  <a:lnTo>
                    <a:pt x="647" y="677"/>
                  </a:lnTo>
                  <a:lnTo>
                    <a:pt x="647" y="679"/>
                  </a:lnTo>
                  <a:lnTo>
                    <a:pt x="647" y="679"/>
                  </a:lnTo>
                  <a:lnTo>
                    <a:pt x="644" y="679"/>
                  </a:lnTo>
                  <a:lnTo>
                    <a:pt x="644" y="679"/>
                  </a:lnTo>
                  <a:lnTo>
                    <a:pt x="644" y="679"/>
                  </a:lnTo>
                  <a:lnTo>
                    <a:pt x="644" y="679"/>
                  </a:lnTo>
                  <a:lnTo>
                    <a:pt x="644" y="679"/>
                  </a:lnTo>
                  <a:lnTo>
                    <a:pt x="642" y="679"/>
                  </a:lnTo>
                  <a:lnTo>
                    <a:pt x="642" y="679"/>
                  </a:lnTo>
                  <a:lnTo>
                    <a:pt x="642" y="679"/>
                  </a:lnTo>
                  <a:lnTo>
                    <a:pt x="642" y="681"/>
                  </a:lnTo>
                  <a:lnTo>
                    <a:pt x="642" y="681"/>
                  </a:lnTo>
                  <a:lnTo>
                    <a:pt x="640" y="681"/>
                  </a:lnTo>
                  <a:lnTo>
                    <a:pt x="638" y="681"/>
                  </a:lnTo>
                  <a:lnTo>
                    <a:pt x="638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5" y="681"/>
                  </a:lnTo>
                  <a:lnTo>
                    <a:pt x="633" y="679"/>
                  </a:lnTo>
                  <a:lnTo>
                    <a:pt x="633" y="681"/>
                  </a:lnTo>
                  <a:lnTo>
                    <a:pt x="631" y="681"/>
                  </a:lnTo>
                  <a:lnTo>
                    <a:pt x="629" y="681"/>
                  </a:lnTo>
                  <a:lnTo>
                    <a:pt x="626" y="681"/>
                  </a:lnTo>
                  <a:lnTo>
                    <a:pt x="626" y="681"/>
                  </a:lnTo>
                  <a:lnTo>
                    <a:pt x="626" y="681"/>
                  </a:lnTo>
                  <a:lnTo>
                    <a:pt x="626" y="681"/>
                  </a:lnTo>
                  <a:lnTo>
                    <a:pt x="624" y="681"/>
                  </a:lnTo>
                  <a:lnTo>
                    <a:pt x="617" y="681"/>
                  </a:lnTo>
                  <a:lnTo>
                    <a:pt x="613" y="681"/>
                  </a:lnTo>
                  <a:lnTo>
                    <a:pt x="608" y="684"/>
                  </a:lnTo>
                  <a:lnTo>
                    <a:pt x="604" y="686"/>
                  </a:lnTo>
                  <a:lnTo>
                    <a:pt x="599" y="688"/>
                  </a:lnTo>
                  <a:lnTo>
                    <a:pt x="595" y="690"/>
                  </a:lnTo>
                  <a:lnTo>
                    <a:pt x="588" y="695"/>
                  </a:lnTo>
                  <a:lnTo>
                    <a:pt x="584" y="697"/>
                  </a:lnTo>
                  <a:lnTo>
                    <a:pt x="582" y="699"/>
                  </a:lnTo>
                  <a:lnTo>
                    <a:pt x="579" y="702"/>
                  </a:lnTo>
                  <a:lnTo>
                    <a:pt x="579" y="702"/>
                  </a:lnTo>
                  <a:lnTo>
                    <a:pt x="579" y="702"/>
                  </a:lnTo>
                  <a:lnTo>
                    <a:pt x="577" y="702"/>
                  </a:lnTo>
                  <a:lnTo>
                    <a:pt x="577" y="702"/>
                  </a:lnTo>
                  <a:lnTo>
                    <a:pt x="577" y="702"/>
                  </a:lnTo>
                  <a:lnTo>
                    <a:pt x="577" y="702"/>
                  </a:lnTo>
                  <a:lnTo>
                    <a:pt x="577" y="702"/>
                  </a:lnTo>
                  <a:lnTo>
                    <a:pt x="575" y="702"/>
                  </a:lnTo>
                  <a:lnTo>
                    <a:pt x="573" y="702"/>
                  </a:lnTo>
                  <a:lnTo>
                    <a:pt x="573" y="702"/>
                  </a:lnTo>
                  <a:lnTo>
                    <a:pt x="573" y="702"/>
                  </a:lnTo>
                  <a:lnTo>
                    <a:pt x="570" y="702"/>
                  </a:lnTo>
                  <a:lnTo>
                    <a:pt x="570" y="702"/>
                  </a:lnTo>
                  <a:lnTo>
                    <a:pt x="570" y="702"/>
                  </a:lnTo>
                  <a:lnTo>
                    <a:pt x="570" y="702"/>
                  </a:lnTo>
                  <a:lnTo>
                    <a:pt x="568" y="702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68" y="702"/>
                  </a:lnTo>
                  <a:lnTo>
                    <a:pt x="568" y="702"/>
                  </a:lnTo>
                  <a:lnTo>
                    <a:pt x="568" y="702"/>
                  </a:lnTo>
                  <a:lnTo>
                    <a:pt x="566" y="702"/>
                  </a:lnTo>
                  <a:lnTo>
                    <a:pt x="566" y="702"/>
                  </a:lnTo>
                  <a:lnTo>
                    <a:pt x="566" y="702"/>
                  </a:lnTo>
                  <a:lnTo>
                    <a:pt x="564" y="704"/>
                  </a:lnTo>
                  <a:lnTo>
                    <a:pt x="564" y="704"/>
                  </a:lnTo>
                  <a:lnTo>
                    <a:pt x="564" y="704"/>
                  </a:lnTo>
                  <a:lnTo>
                    <a:pt x="564" y="704"/>
                  </a:lnTo>
                  <a:lnTo>
                    <a:pt x="564" y="704"/>
                  </a:lnTo>
                  <a:lnTo>
                    <a:pt x="564" y="704"/>
                  </a:lnTo>
                  <a:lnTo>
                    <a:pt x="564" y="704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4" y="706"/>
                  </a:lnTo>
                  <a:lnTo>
                    <a:pt x="566" y="706"/>
                  </a:lnTo>
                  <a:lnTo>
                    <a:pt x="566" y="706"/>
                  </a:lnTo>
                  <a:lnTo>
                    <a:pt x="566" y="706"/>
                  </a:lnTo>
                  <a:lnTo>
                    <a:pt x="566" y="706"/>
                  </a:lnTo>
                  <a:lnTo>
                    <a:pt x="566" y="706"/>
                  </a:lnTo>
                  <a:lnTo>
                    <a:pt x="566" y="706"/>
                  </a:lnTo>
                  <a:lnTo>
                    <a:pt x="566" y="706"/>
                  </a:lnTo>
                  <a:lnTo>
                    <a:pt x="568" y="706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68" y="704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6"/>
                  </a:lnTo>
                  <a:lnTo>
                    <a:pt x="568" y="708"/>
                  </a:lnTo>
                  <a:lnTo>
                    <a:pt x="568" y="708"/>
                  </a:lnTo>
                  <a:lnTo>
                    <a:pt x="566" y="708"/>
                  </a:lnTo>
                  <a:lnTo>
                    <a:pt x="566" y="708"/>
                  </a:lnTo>
                  <a:lnTo>
                    <a:pt x="566" y="708"/>
                  </a:lnTo>
                  <a:lnTo>
                    <a:pt x="566" y="708"/>
                  </a:lnTo>
                  <a:lnTo>
                    <a:pt x="566" y="708"/>
                  </a:lnTo>
                  <a:lnTo>
                    <a:pt x="566" y="708"/>
                  </a:lnTo>
                  <a:lnTo>
                    <a:pt x="566" y="711"/>
                  </a:lnTo>
                  <a:lnTo>
                    <a:pt x="564" y="711"/>
                  </a:lnTo>
                  <a:lnTo>
                    <a:pt x="566" y="711"/>
                  </a:lnTo>
                  <a:lnTo>
                    <a:pt x="566" y="711"/>
                  </a:lnTo>
                  <a:lnTo>
                    <a:pt x="566" y="711"/>
                  </a:lnTo>
                  <a:lnTo>
                    <a:pt x="566" y="711"/>
                  </a:lnTo>
                  <a:lnTo>
                    <a:pt x="566" y="711"/>
                  </a:lnTo>
                  <a:lnTo>
                    <a:pt x="566" y="711"/>
                  </a:lnTo>
                  <a:lnTo>
                    <a:pt x="564" y="711"/>
                  </a:lnTo>
                  <a:lnTo>
                    <a:pt x="564" y="711"/>
                  </a:lnTo>
                  <a:lnTo>
                    <a:pt x="564" y="711"/>
                  </a:lnTo>
                  <a:lnTo>
                    <a:pt x="564" y="711"/>
                  </a:lnTo>
                  <a:lnTo>
                    <a:pt x="564" y="713"/>
                  </a:lnTo>
                  <a:lnTo>
                    <a:pt x="564" y="713"/>
                  </a:lnTo>
                  <a:lnTo>
                    <a:pt x="564" y="713"/>
                  </a:lnTo>
                  <a:lnTo>
                    <a:pt x="564" y="713"/>
                  </a:lnTo>
                  <a:lnTo>
                    <a:pt x="561" y="713"/>
                  </a:lnTo>
                  <a:lnTo>
                    <a:pt x="561" y="713"/>
                  </a:lnTo>
                  <a:lnTo>
                    <a:pt x="561" y="713"/>
                  </a:lnTo>
                  <a:lnTo>
                    <a:pt x="561" y="713"/>
                  </a:lnTo>
                  <a:lnTo>
                    <a:pt x="561" y="713"/>
                  </a:lnTo>
                  <a:lnTo>
                    <a:pt x="561" y="711"/>
                  </a:lnTo>
                  <a:lnTo>
                    <a:pt x="561" y="711"/>
                  </a:lnTo>
                  <a:lnTo>
                    <a:pt x="561" y="711"/>
                  </a:lnTo>
                  <a:lnTo>
                    <a:pt x="561" y="711"/>
                  </a:lnTo>
                  <a:lnTo>
                    <a:pt x="561" y="711"/>
                  </a:lnTo>
                  <a:lnTo>
                    <a:pt x="561" y="711"/>
                  </a:lnTo>
                  <a:lnTo>
                    <a:pt x="561" y="711"/>
                  </a:lnTo>
                  <a:lnTo>
                    <a:pt x="561" y="708"/>
                  </a:lnTo>
                  <a:lnTo>
                    <a:pt x="561" y="708"/>
                  </a:lnTo>
                  <a:lnTo>
                    <a:pt x="561" y="706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6"/>
                  </a:lnTo>
                  <a:lnTo>
                    <a:pt x="559" y="706"/>
                  </a:lnTo>
                  <a:lnTo>
                    <a:pt x="559" y="706"/>
                  </a:lnTo>
                  <a:lnTo>
                    <a:pt x="557" y="706"/>
                  </a:lnTo>
                  <a:lnTo>
                    <a:pt x="557" y="706"/>
                  </a:lnTo>
                  <a:lnTo>
                    <a:pt x="557" y="706"/>
                  </a:lnTo>
                  <a:lnTo>
                    <a:pt x="557" y="706"/>
                  </a:lnTo>
                  <a:lnTo>
                    <a:pt x="557" y="706"/>
                  </a:lnTo>
                  <a:lnTo>
                    <a:pt x="557" y="704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7" y="702"/>
                  </a:lnTo>
                  <a:lnTo>
                    <a:pt x="555" y="702"/>
                  </a:lnTo>
                  <a:lnTo>
                    <a:pt x="555" y="702"/>
                  </a:lnTo>
                  <a:lnTo>
                    <a:pt x="552" y="702"/>
                  </a:lnTo>
                  <a:lnTo>
                    <a:pt x="552" y="702"/>
                  </a:lnTo>
                  <a:lnTo>
                    <a:pt x="552" y="699"/>
                  </a:lnTo>
                  <a:lnTo>
                    <a:pt x="552" y="699"/>
                  </a:lnTo>
                  <a:lnTo>
                    <a:pt x="552" y="699"/>
                  </a:lnTo>
                  <a:lnTo>
                    <a:pt x="552" y="699"/>
                  </a:lnTo>
                  <a:lnTo>
                    <a:pt x="550" y="699"/>
                  </a:lnTo>
                  <a:lnTo>
                    <a:pt x="550" y="699"/>
                  </a:lnTo>
                  <a:lnTo>
                    <a:pt x="550" y="697"/>
                  </a:lnTo>
                  <a:lnTo>
                    <a:pt x="550" y="697"/>
                  </a:lnTo>
                  <a:lnTo>
                    <a:pt x="552" y="697"/>
                  </a:lnTo>
                  <a:lnTo>
                    <a:pt x="552" y="697"/>
                  </a:lnTo>
                  <a:lnTo>
                    <a:pt x="552" y="697"/>
                  </a:lnTo>
                  <a:lnTo>
                    <a:pt x="552" y="697"/>
                  </a:lnTo>
                  <a:lnTo>
                    <a:pt x="552" y="697"/>
                  </a:lnTo>
                  <a:lnTo>
                    <a:pt x="552" y="697"/>
                  </a:lnTo>
                  <a:lnTo>
                    <a:pt x="552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5" y="695"/>
                  </a:lnTo>
                  <a:lnTo>
                    <a:pt x="557" y="695"/>
                  </a:lnTo>
                  <a:lnTo>
                    <a:pt x="557" y="695"/>
                  </a:lnTo>
                  <a:lnTo>
                    <a:pt x="557" y="695"/>
                  </a:lnTo>
                  <a:lnTo>
                    <a:pt x="557" y="695"/>
                  </a:lnTo>
                  <a:lnTo>
                    <a:pt x="557" y="693"/>
                  </a:lnTo>
                  <a:lnTo>
                    <a:pt x="557" y="693"/>
                  </a:lnTo>
                  <a:lnTo>
                    <a:pt x="557" y="693"/>
                  </a:lnTo>
                  <a:lnTo>
                    <a:pt x="557" y="693"/>
                  </a:lnTo>
                  <a:lnTo>
                    <a:pt x="557" y="693"/>
                  </a:lnTo>
                  <a:lnTo>
                    <a:pt x="557" y="693"/>
                  </a:lnTo>
                  <a:lnTo>
                    <a:pt x="557" y="690"/>
                  </a:lnTo>
                  <a:lnTo>
                    <a:pt x="557" y="690"/>
                  </a:lnTo>
                  <a:lnTo>
                    <a:pt x="557" y="690"/>
                  </a:lnTo>
                  <a:lnTo>
                    <a:pt x="557" y="690"/>
                  </a:lnTo>
                  <a:lnTo>
                    <a:pt x="555" y="690"/>
                  </a:lnTo>
                  <a:lnTo>
                    <a:pt x="555" y="690"/>
                  </a:lnTo>
                  <a:lnTo>
                    <a:pt x="555" y="690"/>
                  </a:lnTo>
                  <a:lnTo>
                    <a:pt x="555" y="690"/>
                  </a:lnTo>
                  <a:lnTo>
                    <a:pt x="555" y="690"/>
                  </a:lnTo>
                  <a:lnTo>
                    <a:pt x="552" y="690"/>
                  </a:lnTo>
                  <a:lnTo>
                    <a:pt x="552" y="690"/>
                  </a:lnTo>
                  <a:lnTo>
                    <a:pt x="552" y="690"/>
                  </a:lnTo>
                  <a:lnTo>
                    <a:pt x="552" y="690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2" y="693"/>
                  </a:lnTo>
                  <a:lnTo>
                    <a:pt x="550" y="693"/>
                  </a:lnTo>
                  <a:lnTo>
                    <a:pt x="550" y="693"/>
                  </a:lnTo>
                  <a:lnTo>
                    <a:pt x="550" y="693"/>
                  </a:lnTo>
                  <a:lnTo>
                    <a:pt x="550" y="693"/>
                  </a:lnTo>
                  <a:lnTo>
                    <a:pt x="550" y="693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50" y="695"/>
                  </a:lnTo>
                  <a:lnTo>
                    <a:pt x="548" y="695"/>
                  </a:lnTo>
                  <a:lnTo>
                    <a:pt x="548" y="695"/>
                  </a:lnTo>
                  <a:lnTo>
                    <a:pt x="548" y="695"/>
                  </a:lnTo>
                  <a:lnTo>
                    <a:pt x="548" y="695"/>
                  </a:lnTo>
                  <a:lnTo>
                    <a:pt x="546" y="695"/>
                  </a:lnTo>
                  <a:lnTo>
                    <a:pt x="546" y="697"/>
                  </a:lnTo>
                  <a:lnTo>
                    <a:pt x="546" y="697"/>
                  </a:lnTo>
                  <a:lnTo>
                    <a:pt x="546" y="697"/>
                  </a:lnTo>
                  <a:lnTo>
                    <a:pt x="546" y="697"/>
                  </a:lnTo>
                  <a:lnTo>
                    <a:pt x="543" y="697"/>
                  </a:lnTo>
                  <a:lnTo>
                    <a:pt x="543" y="697"/>
                  </a:lnTo>
                  <a:lnTo>
                    <a:pt x="543" y="697"/>
                  </a:lnTo>
                  <a:lnTo>
                    <a:pt x="543" y="697"/>
                  </a:lnTo>
                  <a:lnTo>
                    <a:pt x="541" y="697"/>
                  </a:lnTo>
                  <a:lnTo>
                    <a:pt x="541" y="695"/>
                  </a:lnTo>
                  <a:lnTo>
                    <a:pt x="541" y="693"/>
                  </a:lnTo>
                  <a:lnTo>
                    <a:pt x="539" y="693"/>
                  </a:lnTo>
                  <a:lnTo>
                    <a:pt x="539" y="693"/>
                  </a:lnTo>
                  <a:lnTo>
                    <a:pt x="539" y="693"/>
                  </a:lnTo>
                  <a:lnTo>
                    <a:pt x="539" y="693"/>
                  </a:lnTo>
                  <a:lnTo>
                    <a:pt x="541" y="693"/>
                  </a:lnTo>
                  <a:lnTo>
                    <a:pt x="541" y="693"/>
                  </a:lnTo>
                  <a:lnTo>
                    <a:pt x="541" y="693"/>
                  </a:lnTo>
                  <a:lnTo>
                    <a:pt x="541" y="693"/>
                  </a:lnTo>
                  <a:lnTo>
                    <a:pt x="541" y="695"/>
                  </a:lnTo>
                  <a:lnTo>
                    <a:pt x="541" y="695"/>
                  </a:lnTo>
                  <a:lnTo>
                    <a:pt x="543" y="695"/>
                  </a:lnTo>
                  <a:lnTo>
                    <a:pt x="543" y="695"/>
                  </a:lnTo>
                  <a:lnTo>
                    <a:pt x="546" y="695"/>
                  </a:lnTo>
                  <a:lnTo>
                    <a:pt x="546" y="693"/>
                  </a:lnTo>
                  <a:lnTo>
                    <a:pt x="546" y="693"/>
                  </a:lnTo>
                  <a:lnTo>
                    <a:pt x="546" y="693"/>
                  </a:lnTo>
                  <a:lnTo>
                    <a:pt x="546" y="693"/>
                  </a:lnTo>
                  <a:lnTo>
                    <a:pt x="546" y="693"/>
                  </a:lnTo>
                  <a:lnTo>
                    <a:pt x="546" y="693"/>
                  </a:lnTo>
                  <a:lnTo>
                    <a:pt x="548" y="693"/>
                  </a:lnTo>
                  <a:lnTo>
                    <a:pt x="548" y="693"/>
                  </a:lnTo>
                  <a:lnTo>
                    <a:pt x="548" y="693"/>
                  </a:lnTo>
                  <a:lnTo>
                    <a:pt x="548" y="690"/>
                  </a:lnTo>
                  <a:lnTo>
                    <a:pt x="548" y="690"/>
                  </a:lnTo>
                  <a:lnTo>
                    <a:pt x="548" y="690"/>
                  </a:lnTo>
                  <a:lnTo>
                    <a:pt x="550" y="690"/>
                  </a:lnTo>
                  <a:lnTo>
                    <a:pt x="550" y="690"/>
                  </a:lnTo>
                  <a:lnTo>
                    <a:pt x="552" y="688"/>
                  </a:lnTo>
                  <a:lnTo>
                    <a:pt x="552" y="688"/>
                  </a:lnTo>
                  <a:lnTo>
                    <a:pt x="552" y="686"/>
                  </a:lnTo>
                  <a:lnTo>
                    <a:pt x="552" y="686"/>
                  </a:lnTo>
                  <a:lnTo>
                    <a:pt x="552" y="686"/>
                  </a:lnTo>
                  <a:lnTo>
                    <a:pt x="550" y="686"/>
                  </a:lnTo>
                  <a:lnTo>
                    <a:pt x="550" y="686"/>
                  </a:lnTo>
                  <a:lnTo>
                    <a:pt x="550" y="686"/>
                  </a:lnTo>
                  <a:lnTo>
                    <a:pt x="550" y="684"/>
                  </a:lnTo>
                  <a:lnTo>
                    <a:pt x="552" y="684"/>
                  </a:lnTo>
                  <a:lnTo>
                    <a:pt x="552" y="684"/>
                  </a:lnTo>
                  <a:lnTo>
                    <a:pt x="550" y="684"/>
                  </a:lnTo>
                  <a:lnTo>
                    <a:pt x="550" y="681"/>
                  </a:lnTo>
                  <a:lnTo>
                    <a:pt x="550" y="681"/>
                  </a:lnTo>
                  <a:lnTo>
                    <a:pt x="550" y="684"/>
                  </a:lnTo>
                  <a:lnTo>
                    <a:pt x="548" y="684"/>
                  </a:lnTo>
                  <a:lnTo>
                    <a:pt x="548" y="684"/>
                  </a:lnTo>
                  <a:lnTo>
                    <a:pt x="548" y="684"/>
                  </a:lnTo>
                  <a:lnTo>
                    <a:pt x="548" y="684"/>
                  </a:lnTo>
                  <a:lnTo>
                    <a:pt x="548" y="684"/>
                  </a:lnTo>
                  <a:lnTo>
                    <a:pt x="548" y="684"/>
                  </a:lnTo>
                  <a:lnTo>
                    <a:pt x="546" y="684"/>
                  </a:lnTo>
                  <a:lnTo>
                    <a:pt x="546" y="684"/>
                  </a:lnTo>
                  <a:lnTo>
                    <a:pt x="546" y="684"/>
                  </a:lnTo>
                  <a:lnTo>
                    <a:pt x="546" y="686"/>
                  </a:lnTo>
                  <a:lnTo>
                    <a:pt x="543" y="686"/>
                  </a:lnTo>
                  <a:lnTo>
                    <a:pt x="543" y="686"/>
                  </a:lnTo>
                  <a:lnTo>
                    <a:pt x="543" y="686"/>
                  </a:lnTo>
                  <a:lnTo>
                    <a:pt x="541" y="686"/>
                  </a:lnTo>
                  <a:lnTo>
                    <a:pt x="541" y="686"/>
                  </a:lnTo>
                  <a:lnTo>
                    <a:pt x="541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9" y="688"/>
                  </a:lnTo>
                  <a:lnTo>
                    <a:pt x="537" y="688"/>
                  </a:lnTo>
                  <a:lnTo>
                    <a:pt x="537" y="688"/>
                  </a:lnTo>
                  <a:lnTo>
                    <a:pt x="537" y="688"/>
                  </a:lnTo>
                  <a:lnTo>
                    <a:pt x="537" y="690"/>
                  </a:lnTo>
                  <a:lnTo>
                    <a:pt x="537" y="690"/>
                  </a:lnTo>
                  <a:lnTo>
                    <a:pt x="539" y="690"/>
                  </a:lnTo>
                  <a:lnTo>
                    <a:pt x="539" y="690"/>
                  </a:lnTo>
                  <a:lnTo>
                    <a:pt x="541" y="690"/>
                  </a:lnTo>
                  <a:lnTo>
                    <a:pt x="541" y="688"/>
                  </a:lnTo>
                  <a:lnTo>
                    <a:pt x="543" y="688"/>
                  </a:lnTo>
                  <a:lnTo>
                    <a:pt x="543" y="690"/>
                  </a:lnTo>
                  <a:lnTo>
                    <a:pt x="543" y="690"/>
                  </a:lnTo>
                  <a:lnTo>
                    <a:pt x="543" y="690"/>
                  </a:lnTo>
                  <a:lnTo>
                    <a:pt x="541" y="690"/>
                  </a:lnTo>
                  <a:lnTo>
                    <a:pt x="541" y="690"/>
                  </a:lnTo>
                  <a:lnTo>
                    <a:pt x="541" y="690"/>
                  </a:lnTo>
                  <a:lnTo>
                    <a:pt x="541" y="690"/>
                  </a:lnTo>
                  <a:lnTo>
                    <a:pt x="541" y="690"/>
                  </a:lnTo>
                  <a:lnTo>
                    <a:pt x="541" y="690"/>
                  </a:lnTo>
                  <a:lnTo>
                    <a:pt x="541" y="690"/>
                  </a:lnTo>
                  <a:lnTo>
                    <a:pt x="541" y="693"/>
                  </a:lnTo>
                  <a:lnTo>
                    <a:pt x="539" y="693"/>
                  </a:lnTo>
                  <a:lnTo>
                    <a:pt x="539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7" y="693"/>
                  </a:lnTo>
                  <a:lnTo>
                    <a:pt x="534" y="693"/>
                  </a:lnTo>
                  <a:lnTo>
                    <a:pt x="534" y="693"/>
                  </a:lnTo>
                  <a:lnTo>
                    <a:pt x="532" y="695"/>
                  </a:lnTo>
                  <a:lnTo>
                    <a:pt x="530" y="695"/>
                  </a:lnTo>
                  <a:lnTo>
                    <a:pt x="530" y="695"/>
                  </a:lnTo>
                  <a:lnTo>
                    <a:pt x="530" y="695"/>
                  </a:lnTo>
                  <a:lnTo>
                    <a:pt x="530" y="695"/>
                  </a:lnTo>
                  <a:lnTo>
                    <a:pt x="530" y="695"/>
                  </a:lnTo>
                  <a:lnTo>
                    <a:pt x="530" y="695"/>
                  </a:lnTo>
                  <a:lnTo>
                    <a:pt x="530" y="695"/>
                  </a:lnTo>
                  <a:lnTo>
                    <a:pt x="528" y="697"/>
                  </a:lnTo>
                  <a:lnTo>
                    <a:pt x="528" y="697"/>
                  </a:lnTo>
                  <a:lnTo>
                    <a:pt x="528" y="697"/>
                  </a:lnTo>
                  <a:lnTo>
                    <a:pt x="528" y="697"/>
                  </a:lnTo>
                  <a:lnTo>
                    <a:pt x="525" y="697"/>
                  </a:lnTo>
                  <a:lnTo>
                    <a:pt x="525" y="697"/>
                  </a:lnTo>
                  <a:lnTo>
                    <a:pt x="523" y="699"/>
                  </a:lnTo>
                  <a:lnTo>
                    <a:pt x="523" y="699"/>
                  </a:lnTo>
                  <a:lnTo>
                    <a:pt x="523" y="699"/>
                  </a:lnTo>
                  <a:lnTo>
                    <a:pt x="523" y="699"/>
                  </a:lnTo>
                  <a:lnTo>
                    <a:pt x="523" y="699"/>
                  </a:lnTo>
                  <a:lnTo>
                    <a:pt x="523" y="699"/>
                  </a:lnTo>
                  <a:lnTo>
                    <a:pt x="523" y="699"/>
                  </a:lnTo>
                  <a:lnTo>
                    <a:pt x="521" y="699"/>
                  </a:lnTo>
                  <a:lnTo>
                    <a:pt x="521" y="699"/>
                  </a:lnTo>
                  <a:lnTo>
                    <a:pt x="521" y="702"/>
                  </a:lnTo>
                  <a:lnTo>
                    <a:pt x="521" y="702"/>
                  </a:lnTo>
                  <a:lnTo>
                    <a:pt x="521" y="702"/>
                  </a:lnTo>
                  <a:lnTo>
                    <a:pt x="519" y="702"/>
                  </a:lnTo>
                  <a:lnTo>
                    <a:pt x="519" y="702"/>
                  </a:lnTo>
                  <a:lnTo>
                    <a:pt x="519" y="702"/>
                  </a:lnTo>
                  <a:lnTo>
                    <a:pt x="516" y="702"/>
                  </a:lnTo>
                  <a:lnTo>
                    <a:pt x="516" y="702"/>
                  </a:lnTo>
                  <a:lnTo>
                    <a:pt x="516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4" y="704"/>
                  </a:lnTo>
                  <a:lnTo>
                    <a:pt x="512" y="704"/>
                  </a:lnTo>
                  <a:lnTo>
                    <a:pt x="512" y="704"/>
                  </a:lnTo>
                  <a:lnTo>
                    <a:pt x="512" y="706"/>
                  </a:lnTo>
                  <a:lnTo>
                    <a:pt x="512" y="706"/>
                  </a:lnTo>
                  <a:lnTo>
                    <a:pt x="510" y="706"/>
                  </a:lnTo>
                  <a:lnTo>
                    <a:pt x="510" y="706"/>
                  </a:lnTo>
                  <a:lnTo>
                    <a:pt x="510" y="706"/>
                  </a:lnTo>
                  <a:lnTo>
                    <a:pt x="510" y="706"/>
                  </a:lnTo>
                  <a:lnTo>
                    <a:pt x="510" y="704"/>
                  </a:lnTo>
                  <a:lnTo>
                    <a:pt x="510" y="704"/>
                  </a:lnTo>
                  <a:lnTo>
                    <a:pt x="510" y="704"/>
                  </a:lnTo>
                  <a:lnTo>
                    <a:pt x="510" y="704"/>
                  </a:lnTo>
                  <a:lnTo>
                    <a:pt x="510" y="704"/>
                  </a:lnTo>
                  <a:lnTo>
                    <a:pt x="507" y="704"/>
                  </a:lnTo>
                  <a:lnTo>
                    <a:pt x="507" y="704"/>
                  </a:lnTo>
                  <a:lnTo>
                    <a:pt x="505" y="704"/>
                  </a:lnTo>
                  <a:lnTo>
                    <a:pt x="505" y="704"/>
                  </a:lnTo>
                  <a:lnTo>
                    <a:pt x="505" y="704"/>
                  </a:lnTo>
                  <a:lnTo>
                    <a:pt x="505" y="704"/>
                  </a:lnTo>
                  <a:lnTo>
                    <a:pt x="505" y="702"/>
                  </a:lnTo>
                  <a:lnTo>
                    <a:pt x="505" y="702"/>
                  </a:lnTo>
                  <a:lnTo>
                    <a:pt x="505" y="702"/>
                  </a:lnTo>
                  <a:lnTo>
                    <a:pt x="505" y="702"/>
                  </a:lnTo>
                  <a:lnTo>
                    <a:pt x="503" y="699"/>
                  </a:lnTo>
                  <a:lnTo>
                    <a:pt x="501" y="699"/>
                  </a:lnTo>
                  <a:lnTo>
                    <a:pt x="501" y="699"/>
                  </a:lnTo>
                  <a:lnTo>
                    <a:pt x="501" y="699"/>
                  </a:lnTo>
                  <a:lnTo>
                    <a:pt x="501" y="699"/>
                  </a:lnTo>
                  <a:lnTo>
                    <a:pt x="501" y="699"/>
                  </a:lnTo>
                  <a:lnTo>
                    <a:pt x="501" y="699"/>
                  </a:lnTo>
                  <a:lnTo>
                    <a:pt x="498" y="697"/>
                  </a:lnTo>
                  <a:lnTo>
                    <a:pt x="498" y="697"/>
                  </a:lnTo>
                  <a:lnTo>
                    <a:pt x="498" y="697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6" y="695"/>
                  </a:lnTo>
                  <a:lnTo>
                    <a:pt x="494" y="695"/>
                  </a:lnTo>
                  <a:lnTo>
                    <a:pt x="494" y="695"/>
                  </a:lnTo>
                  <a:lnTo>
                    <a:pt x="494" y="695"/>
                  </a:lnTo>
                  <a:lnTo>
                    <a:pt x="492" y="695"/>
                  </a:lnTo>
                  <a:lnTo>
                    <a:pt x="492" y="695"/>
                  </a:lnTo>
                  <a:lnTo>
                    <a:pt x="492" y="695"/>
                  </a:lnTo>
                  <a:lnTo>
                    <a:pt x="489" y="695"/>
                  </a:lnTo>
                  <a:lnTo>
                    <a:pt x="489" y="695"/>
                  </a:lnTo>
                  <a:lnTo>
                    <a:pt x="487" y="693"/>
                  </a:lnTo>
                  <a:lnTo>
                    <a:pt x="487" y="693"/>
                  </a:lnTo>
                  <a:lnTo>
                    <a:pt x="487" y="693"/>
                  </a:lnTo>
                  <a:lnTo>
                    <a:pt x="487" y="693"/>
                  </a:lnTo>
                  <a:lnTo>
                    <a:pt x="485" y="693"/>
                  </a:lnTo>
                  <a:lnTo>
                    <a:pt x="485" y="693"/>
                  </a:lnTo>
                  <a:lnTo>
                    <a:pt x="483" y="693"/>
                  </a:lnTo>
                  <a:lnTo>
                    <a:pt x="483" y="693"/>
                  </a:lnTo>
                  <a:lnTo>
                    <a:pt x="483" y="693"/>
                  </a:lnTo>
                  <a:lnTo>
                    <a:pt x="480" y="693"/>
                  </a:lnTo>
                  <a:lnTo>
                    <a:pt x="480" y="693"/>
                  </a:lnTo>
                  <a:lnTo>
                    <a:pt x="480" y="695"/>
                  </a:lnTo>
                  <a:lnTo>
                    <a:pt x="480" y="695"/>
                  </a:lnTo>
                  <a:lnTo>
                    <a:pt x="480" y="695"/>
                  </a:lnTo>
                  <a:lnTo>
                    <a:pt x="480" y="695"/>
                  </a:lnTo>
                  <a:lnTo>
                    <a:pt x="480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7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8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6" y="695"/>
                  </a:lnTo>
                  <a:lnTo>
                    <a:pt x="474" y="695"/>
                  </a:lnTo>
                  <a:lnTo>
                    <a:pt x="474" y="695"/>
                  </a:lnTo>
                  <a:lnTo>
                    <a:pt x="474" y="695"/>
                  </a:lnTo>
                  <a:lnTo>
                    <a:pt x="474" y="695"/>
                  </a:lnTo>
                  <a:lnTo>
                    <a:pt x="476" y="695"/>
                  </a:lnTo>
                  <a:lnTo>
                    <a:pt x="476" y="693"/>
                  </a:lnTo>
                  <a:lnTo>
                    <a:pt x="476" y="693"/>
                  </a:lnTo>
                  <a:lnTo>
                    <a:pt x="476" y="693"/>
                  </a:lnTo>
                  <a:lnTo>
                    <a:pt x="476" y="693"/>
                  </a:lnTo>
                  <a:lnTo>
                    <a:pt x="476" y="693"/>
                  </a:lnTo>
                  <a:lnTo>
                    <a:pt x="474" y="690"/>
                  </a:lnTo>
                  <a:lnTo>
                    <a:pt x="474" y="688"/>
                  </a:lnTo>
                  <a:lnTo>
                    <a:pt x="471" y="688"/>
                  </a:lnTo>
                  <a:lnTo>
                    <a:pt x="471" y="688"/>
                  </a:lnTo>
                  <a:lnTo>
                    <a:pt x="471" y="686"/>
                  </a:lnTo>
                  <a:lnTo>
                    <a:pt x="465" y="688"/>
                  </a:lnTo>
                  <a:lnTo>
                    <a:pt x="465" y="688"/>
                  </a:lnTo>
                  <a:lnTo>
                    <a:pt x="465" y="688"/>
                  </a:lnTo>
                  <a:lnTo>
                    <a:pt x="465" y="686"/>
                  </a:lnTo>
                  <a:lnTo>
                    <a:pt x="465" y="686"/>
                  </a:lnTo>
                  <a:lnTo>
                    <a:pt x="465" y="686"/>
                  </a:lnTo>
                  <a:lnTo>
                    <a:pt x="465" y="686"/>
                  </a:lnTo>
                  <a:lnTo>
                    <a:pt x="465" y="686"/>
                  </a:lnTo>
                  <a:lnTo>
                    <a:pt x="465" y="686"/>
                  </a:lnTo>
                  <a:lnTo>
                    <a:pt x="465" y="686"/>
                  </a:lnTo>
                  <a:lnTo>
                    <a:pt x="462" y="686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2" y="684"/>
                  </a:lnTo>
                  <a:lnTo>
                    <a:pt x="460" y="684"/>
                  </a:lnTo>
                  <a:lnTo>
                    <a:pt x="460" y="684"/>
                  </a:lnTo>
                  <a:lnTo>
                    <a:pt x="460" y="684"/>
                  </a:lnTo>
                  <a:lnTo>
                    <a:pt x="460" y="684"/>
                  </a:lnTo>
                  <a:lnTo>
                    <a:pt x="460" y="681"/>
                  </a:lnTo>
                  <a:lnTo>
                    <a:pt x="462" y="681"/>
                  </a:lnTo>
                  <a:lnTo>
                    <a:pt x="462" y="681"/>
                  </a:lnTo>
                  <a:lnTo>
                    <a:pt x="462" y="679"/>
                  </a:lnTo>
                  <a:lnTo>
                    <a:pt x="462" y="679"/>
                  </a:lnTo>
                  <a:lnTo>
                    <a:pt x="462" y="677"/>
                  </a:lnTo>
                  <a:lnTo>
                    <a:pt x="460" y="677"/>
                  </a:lnTo>
                  <a:lnTo>
                    <a:pt x="460" y="677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60" y="672"/>
                  </a:lnTo>
                  <a:lnTo>
                    <a:pt x="460" y="672"/>
                  </a:lnTo>
                  <a:lnTo>
                    <a:pt x="460" y="672"/>
                  </a:lnTo>
                  <a:lnTo>
                    <a:pt x="460" y="672"/>
                  </a:lnTo>
                  <a:lnTo>
                    <a:pt x="460" y="672"/>
                  </a:lnTo>
                  <a:lnTo>
                    <a:pt x="460" y="672"/>
                  </a:lnTo>
                  <a:lnTo>
                    <a:pt x="460" y="672"/>
                  </a:lnTo>
                  <a:lnTo>
                    <a:pt x="460" y="675"/>
                  </a:lnTo>
                  <a:lnTo>
                    <a:pt x="460" y="675"/>
                  </a:lnTo>
                  <a:lnTo>
                    <a:pt x="458" y="672"/>
                  </a:lnTo>
                  <a:lnTo>
                    <a:pt x="458" y="668"/>
                  </a:lnTo>
                  <a:lnTo>
                    <a:pt x="458" y="668"/>
                  </a:lnTo>
                  <a:lnTo>
                    <a:pt x="458" y="666"/>
                  </a:lnTo>
                  <a:lnTo>
                    <a:pt x="458" y="666"/>
                  </a:lnTo>
                  <a:lnTo>
                    <a:pt x="458" y="666"/>
                  </a:lnTo>
                  <a:lnTo>
                    <a:pt x="458" y="666"/>
                  </a:lnTo>
                  <a:lnTo>
                    <a:pt x="460" y="666"/>
                  </a:lnTo>
                  <a:lnTo>
                    <a:pt x="460" y="663"/>
                  </a:lnTo>
                  <a:lnTo>
                    <a:pt x="460" y="663"/>
                  </a:lnTo>
                  <a:lnTo>
                    <a:pt x="460" y="663"/>
                  </a:lnTo>
                  <a:lnTo>
                    <a:pt x="460" y="663"/>
                  </a:lnTo>
                  <a:lnTo>
                    <a:pt x="460" y="661"/>
                  </a:lnTo>
                  <a:lnTo>
                    <a:pt x="460" y="661"/>
                  </a:lnTo>
                  <a:lnTo>
                    <a:pt x="458" y="661"/>
                  </a:lnTo>
                  <a:lnTo>
                    <a:pt x="458" y="661"/>
                  </a:lnTo>
                  <a:lnTo>
                    <a:pt x="458" y="661"/>
                  </a:lnTo>
                  <a:lnTo>
                    <a:pt x="462" y="659"/>
                  </a:lnTo>
                  <a:lnTo>
                    <a:pt x="462" y="659"/>
                  </a:lnTo>
                  <a:lnTo>
                    <a:pt x="465" y="659"/>
                  </a:lnTo>
                  <a:lnTo>
                    <a:pt x="465" y="657"/>
                  </a:lnTo>
                  <a:lnTo>
                    <a:pt x="465" y="657"/>
                  </a:lnTo>
                  <a:lnTo>
                    <a:pt x="467" y="652"/>
                  </a:lnTo>
                  <a:lnTo>
                    <a:pt x="467" y="652"/>
                  </a:lnTo>
                  <a:lnTo>
                    <a:pt x="467" y="648"/>
                  </a:lnTo>
                  <a:lnTo>
                    <a:pt x="467" y="643"/>
                  </a:lnTo>
                  <a:lnTo>
                    <a:pt x="467" y="641"/>
                  </a:lnTo>
                  <a:lnTo>
                    <a:pt x="467" y="639"/>
                  </a:lnTo>
                  <a:lnTo>
                    <a:pt x="467" y="639"/>
                  </a:lnTo>
                  <a:lnTo>
                    <a:pt x="467" y="639"/>
                  </a:lnTo>
                  <a:lnTo>
                    <a:pt x="467" y="636"/>
                  </a:lnTo>
                  <a:lnTo>
                    <a:pt x="467" y="636"/>
                  </a:lnTo>
                  <a:lnTo>
                    <a:pt x="465" y="634"/>
                  </a:lnTo>
                  <a:lnTo>
                    <a:pt x="465" y="632"/>
                  </a:lnTo>
                  <a:lnTo>
                    <a:pt x="462" y="632"/>
                  </a:lnTo>
                  <a:lnTo>
                    <a:pt x="462" y="632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0" y="630"/>
                  </a:lnTo>
                  <a:lnTo>
                    <a:pt x="460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7" y="634"/>
                  </a:lnTo>
                  <a:lnTo>
                    <a:pt x="467" y="636"/>
                  </a:lnTo>
                  <a:lnTo>
                    <a:pt x="467" y="639"/>
                  </a:lnTo>
                  <a:lnTo>
                    <a:pt x="467" y="639"/>
                  </a:lnTo>
                  <a:lnTo>
                    <a:pt x="467" y="641"/>
                  </a:lnTo>
                  <a:lnTo>
                    <a:pt x="467" y="643"/>
                  </a:lnTo>
                  <a:lnTo>
                    <a:pt x="467" y="643"/>
                  </a:lnTo>
                  <a:lnTo>
                    <a:pt x="469" y="643"/>
                  </a:lnTo>
                  <a:lnTo>
                    <a:pt x="469" y="641"/>
                  </a:lnTo>
                  <a:lnTo>
                    <a:pt x="469" y="639"/>
                  </a:lnTo>
                  <a:lnTo>
                    <a:pt x="469" y="639"/>
                  </a:lnTo>
                  <a:lnTo>
                    <a:pt x="467" y="636"/>
                  </a:lnTo>
                  <a:lnTo>
                    <a:pt x="467" y="636"/>
                  </a:lnTo>
                  <a:lnTo>
                    <a:pt x="467" y="634"/>
                  </a:lnTo>
                  <a:lnTo>
                    <a:pt x="467" y="634"/>
                  </a:lnTo>
                  <a:lnTo>
                    <a:pt x="467" y="634"/>
                  </a:lnTo>
                  <a:lnTo>
                    <a:pt x="465" y="630"/>
                  </a:lnTo>
                  <a:lnTo>
                    <a:pt x="465" y="630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2" y="630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5" y="627"/>
                  </a:lnTo>
                  <a:lnTo>
                    <a:pt x="465" y="627"/>
                  </a:lnTo>
                  <a:lnTo>
                    <a:pt x="465" y="627"/>
                  </a:lnTo>
                  <a:lnTo>
                    <a:pt x="465" y="627"/>
                  </a:lnTo>
                  <a:lnTo>
                    <a:pt x="465" y="625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5" y="630"/>
                  </a:lnTo>
                  <a:lnTo>
                    <a:pt x="465" y="630"/>
                  </a:lnTo>
                  <a:lnTo>
                    <a:pt x="465" y="630"/>
                  </a:lnTo>
                  <a:lnTo>
                    <a:pt x="465" y="632"/>
                  </a:lnTo>
                  <a:lnTo>
                    <a:pt x="467" y="632"/>
                  </a:lnTo>
                  <a:lnTo>
                    <a:pt x="467" y="632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7" y="630"/>
                  </a:lnTo>
                  <a:lnTo>
                    <a:pt x="469" y="630"/>
                  </a:lnTo>
                  <a:lnTo>
                    <a:pt x="469" y="630"/>
                  </a:lnTo>
                  <a:lnTo>
                    <a:pt x="469" y="627"/>
                  </a:lnTo>
                  <a:lnTo>
                    <a:pt x="469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7"/>
                  </a:lnTo>
                  <a:lnTo>
                    <a:pt x="467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69" y="625"/>
                  </a:lnTo>
                  <a:lnTo>
                    <a:pt x="471" y="625"/>
                  </a:lnTo>
                  <a:lnTo>
                    <a:pt x="471" y="625"/>
                  </a:lnTo>
                  <a:lnTo>
                    <a:pt x="471" y="625"/>
                  </a:lnTo>
                  <a:lnTo>
                    <a:pt x="471" y="625"/>
                  </a:lnTo>
                  <a:lnTo>
                    <a:pt x="471" y="625"/>
                  </a:lnTo>
                  <a:lnTo>
                    <a:pt x="471" y="623"/>
                  </a:lnTo>
                  <a:lnTo>
                    <a:pt x="471" y="623"/>
                  </a:lnTo>
                  <a:lnTo>
                    <a:pt x="471" y="623"/>
                  </a:lnTo>
                  <a:lnTo>
                    <a:pt x="471" y="623"/>
                  </a:lnTo>
                  <a:lnTo>
                    <a:pt x="471" y="623"/>
                  </a:lnTo>
                  <a:lnTo>
                    <a:pt x="471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9" y="623"/>
                  </a:lnTo>
                  <a:lnTo>
                    <a:pt x="467" y="623"/>
                  </a:lnTo>
                  <a:lnTo>
                    <a:pt x="467" y="623"/>
                  </a:lnTo>
                  <a:lnTo>
                    <a:pt x="467" y="623"/>
                  </a:lnTo>
                  <a:lnTo>
                    <a:pt x="465" y="623"/>
                  </a:lnTo>
                  <a:lnTo>
                    <a:pt x="465" y="623"/>
                  </a:lnTo>
                  <a:lnTo>
                    <a:pt x="465" y="623"/>
                  </a:lnTo>
                  <a:lnTo>
                    <a:pt x="465" y="623"/>
                  </a:lnTo>
                  <a:lnTo>
                    <a:pt x="462" y="625"/>
                  </a:lnTo>
                  <a:lnTo>
                    <a:pt x="462" y="625"/>
                  </a:lnTo>
                  <a:lnTo>
                    <a:pt x="462" y="625"/>
                  </a:lnTo>
                  <a:lnTo>
                    <a:pt x="462" y="625"/>
                  </a:lnTo>
                  <a:lnTo>
                    <a:pt x="462" y="625"/>
                  </a:lnTo>
                  <a:lnTo>
                    <a:pt x="465" y="625"/>
                  </a:lnTo>
                  <a:lnTo>
                    <a:pt x="465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60" y="625"/>
                  </a:lnTo>
                  <a:lnTo>
                    <a:pt x="458" y="625"/>
                  </a:lnTo>
                  <a:lnTo>
                    <a:pt x="460" y="625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2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60" y="627"/>
                  </a:lnTo>
                  <a:lnTo>
                    <a:pt x="458" y="627"/>
                  </a:lnTo>
                  <a:lnTo>
                    <a:pt x="458" y="627"/>
                  </a:lnTo>
                  <a:lnTo>
                    <a:pt x="458" y="627"/>
                  </a:lnTo>
                  <a:lnTo>
                    <a:pt x="456" y="627"/>
                  </a:lnTo>
                  <a:lnTo>
                    <a:pt x="456" y="627"/>
                  </a:lnTo>
                  <a:lnTo>
                    <a:pt x="456" y="627"/>
                  </a:lnTo>
                  <a:lnTo>
                    <a:pt x="453" y="627"/>
                  </a:lnTo>
                  <a:lnTo>
                    <a:pt x="453" y="630"/>
                  </a:lnTo>
                  <a:lnTo>
                    <a:pt x="453" y="630"/>
                  </a:lnTo>
                  <a:lnTo>
                    <a:pt x="451" y="630"/>
                  </a:lnTo>
                  <a:lnTo>
                    <a:pt x="449" y="630"/>
                  </a:lnTo>
                  <a:lnTo>
                    <a:pt x="447" y="630"/>
                  </a:lnTo>
                  <a:lnTo>
                    <a:pt x="447" y="630"/>
                  </a:lnTo>
                  <a:lnTo>
                    <a:pt x="447" y="630"/>
                  </a:lnTo>
                  <a:lnTo>
                    <a:pt x="447" y="630"/>
                  </a:lnTo>
                  <a:lnTo>
                    <a:pt x="447" y="630"/>
                  </a:lnTo>
                  <a:lnTo>
                    <a:pt x="444" y="630"/>
                  </a:lnTo>
                  <a:lnTo>
                    <a:pt x="444" y="630"/>
                  </a:lnTo>
                  <a:lnTo>
                    <a:pt x="444" y="630"/>
                  </a:lnTo>
                  <a:lnTo>
                    <a:pt x="444" y="630"/>
                  </a:lnTo>
                  <a:lnTo>
                    <a:pt x="444" y="630"/>
                  </a:lnTo>
                  <a:lnTo>
                    <a:pt x="444" y="627"/>
                  </a:lnTo>
                  <a:lnTo>
                    <a:pt x="444" y="627"/>
                  </a:lnTo>
                  <a:lnTo>
                    <a:pt x="444" y="627"/>
                  </a:lnTo>
                  <a:lnTo>
                    <a:pt x="444" y="627"/>
                  </a:lnTo>
                  <a:lnTo>
                    <a:pt x="447" y="627"/>
                  </a:lnTo>
                  <a:lnTo>
                    <a:pt x="449" y="625"/>
                  </a:lnTo>
                  <a:lnTo>
                    <a:pt x="449" y="625"/>
                  </a:lnTo>
                  <a:lnTo>
                    <a:pt x="451" y="625"/>
                  </a:lnTo>
                  <a:lnTo>
                    <a:pt x="451" y="623"/>
                  </a:lnTo>
                  <a:lnTo>
                    <a:pt x="451" y="623"/>
                  </a:lnTo>
                  <a:lnTo>
                    <a:pt x="451" y="623"/>
                  </a:lnTo>
                  <a:lnTo>
                    <a:pt x="451" y="623"/>
                  </a:lnTo>
                  <a:lnTo>
                    <a:pt x="453" y="623"/>
                  </a:lnTo>
                  <a:lnTo>
                    <a:pt x="453" y="623"/>
                  </a:lnTo>
                  <a:lnTo>
                    <a:pt x="453" y="623"/>
                  </a:lnTo>
                  <a:lnTo>
                    <a:pt x="453" y="623"/>
                  </a:lnTo>
                  <a:lnTo>
                    <a:pt x="453" y="621"/>
                  </a:lnTo>
                  <a:lnTo>
                    <a:pt x="456" y="621"/>
                  </a:lnTo>
                  <a:lnTo>
                    <a:pt x="456" y="621"/>
                  </a:lnTo>
                  <a:lnTo>
                    <a:pt x="456" y="621"/>
                  </a:lnTo>
                  <a:lnTo>
                    <a:pt x="456" y="621"/>
                  </a:lnTo>
                  <a:lnTo>
                    <a:pt x="456" y="621"/>
                  </a:lnTo>
                  <a:lnTo>
                    <a:pt x="456" y="618"/>
                  </a:lnTo>
                  <a:lnTo>
                    <a:pt x="456" y="618"/>
                  </a:lnTo>
                  <a:lnTo>
                    <a:pt x="456" y="618"/>
                  </a:lnTo>
                  <a:lnTo>
                    <a:pt x="456" y="618"/>
                  </a:lnTo>
                  <a:lnTo>
                    <a:pt x="456" y="618"/>
                  </a:lnTo>
                  <a:lnTo>
                    <a:pt x="456" y="616"/>
                  </a:lnTo>
                  <a:lnTo>
                    <a:pt x="458" y="616"/>
                  </a:lnTo>
                  <a:lnTo>
                    <a:pt x="458" y="616"/>
                  </a:lnTo>
                  <a:lnTo>
                    <a:pt x="458" y="616"/>
                  </a:lnTo>
                  <a:lnTo>
                    <a:pt x="458" y="614"/>
                  </a:lnTo>
                  <a:lnTo>
                    <a:pt x="460" y="612"/>
                  </a:lnTo>
                  <a:lnTo>
                    <a:pt x="460" y="612"/>
                  </a:lnTo>
                  <a:lnTo>
                    <a:pt x="460" y="609"/>
                  </a:lnTo>
                  <a:lnTo>
                    <a:pt x="460" y="609"/>
                  </a:lnTo>
                  <a:lnTo>
                    <a:pt x="462" y="609"/>
                  </a:lnTo>
                  <a:lnTo>
                    <a:pt x="462" y="609"/>
                  </a:lnTo>
                  <a:lnTo>
                    <a:pt x="462" y="609"/>
                  </a:lnTo>
                  <a:lnTo>
                    <a:pt x="462" y="609"/>
                  </a:lnTo>
                  <a:lnTo>
                    <a:pt x="462" y="609"/>
                  </a:lnTo>
                  <a:lnTo>
                    <a:pt x="462" y="607"/>
                  </a:lnTo>
                  <a:lnTo>
                    <a:pt x="462" y="607"/>
                  </a:lnTo>
                  <a:lnTo>
                    <a:pt x="462" y="607"/>
                  </a:lnTo>
                  <a:lnTo>
                    <a:pt x="462" y="607"/>
                  </a:lnTo>
                  <a:lnTo>
                    <a:pt x="462" y="607"/>
                  </a:lnTo>
                  <a:lnTo>
                    <a:pt x="462" y="607"/>
                  </a:lnTo>
                  <a:lnTo>
                    <a:pt x="462" y="607"/>
                  </a:lnTo>
                  <a:lnTo>
                    <a:pt x="460" y="607"/>
                  </a:lnTo>
                  <a:lnTo>
                    <a:pt x="460" y="607"/>
                  </a:lnTo>
                  <a:lnTo>
                    <a:pt x="460" y="607"/>
                  </a:lnTo>
                  <a:lnTo>
                    <a:pt x="460" y="607"/>
                  </a:lnTo>
                  <a:lnTo>
                    <a:pt x="462" y="607"/>
                  </a:lnTo>
                  <a:lnTo>
                    <a:pt x="462" y="605"/>
                  </a:lnTo>
                  <a:lnTo>
                    <a:pt x="462" y="605"/>
                  </a:lnTo>
                  <a:lnTo>
                    <a:pt x="460" y="605"/>
                  </a:lnTo>
                  <a:lnTo>
                    <a:pt x="460" y="605"/>
                  </a:lnTo>
                  <a:lnTo>
                    <a:pt x="460" y="605"/>
                  </a:lnTo>
                  <a:lnTo>
                    <a:pt x="460" y="603"/>
                  </a:lnTo>
                  <a:lnTo>
                    <a:pt x="460" y="603"/>
                  </a:lnTo>
                  <a:lnTo>
                    <a:pt x="460" y="603"/>
                  </a:lnTo>
                  <a:lnTo>
                    <a:pt x="460" y="603"/>
                  </a:lnTo>
                  <a:lnTo>
                    <a:pt x="460" y="600"/>
                  </a:lnTo>
                  <a:lnTo>
                    <a:pt x="460" y="598"/>
                  </a:lnTo>
                  <a:lnTo>
                    <a:pt x="460" y="598"/>
                  </a:lnTo>
                  <a:lnTo>
                    <a:pt x="460" y="596"/>
                  </a:lnTo>
                  <a:lnTo>
                    <a:pt x="460" y="596"/>
                  </a:lnTo>
                  <a:lnTo>
                    <a:pt x="460" y="596"/>
                  </a:lnTo>
                  <a:lnTo>
                    <a:pt x="460" y="596"/>
                  </a:lnTo>
                  <a:lnTo>
                    <a:pt x="460" y="596"/>
                  </a:lnTo>
                  <a:lnTo>
                    <a:pt x="460" y="594"/>
                  </a:lnTo>
                  <a:lnTo>
                    <a:pt x="460" y="594"/>
                  </a:lnTo>
                  <a:lnTo>
                    <a:pt x="460" y="594"/>
                  </a:lnTo>
                  <a:lnTo>
                    <a:pt x="460" y="594"/>
                  </a:lnTo>
                  <a:lnTo>
                    <a:pt x="458" y="596"/>
                  </a:lnTo>
                  <a:lnTo>
                    <a:pt x="458" y="596"/>
                  </a:lnTo>
                  <a:lnTo>
                    <a:pt x="458" y="596"/>
                  </a:lnTo>
                  <a:lnTo>
                    <a:pt x="458" y="596"/>
                  </a:lnTo>
                  <a:lnTo>
                    <a:pt x="458" y="598"/>
                  </a:lnTo>
                  <a:lnTo>
                    <a:pt x="458" y="598"/>
                  </a:lnTo>
                  <a:lnTo>
                    <a:pt x="458" y="598"/>
                  </a:lnTo>
                  <a:lnTo>
                    <a:pt x="458" y="598"/>
                  </a:lnTo>
                  <a:lnTo>
                    <a:pt x="456" y="598"/>
                  </a:lnTo>
                  <a:lnTo>
                    <a:pt x="453" y="600"/>
                  </a:lnTo>
                  <a:lnTo>
                    <a:pt x="453" y="600"/>
                  </a:lnTo>
                  <a:lnTo>
                    <a:pt x="451" y="603"/>
                  </a:lnTo>
                  <a:lnTo>
                    <a:pt x="451" y="603"/>
                  </a:lnTo>
                  <a:lnTo>
                    <a:pt x="451" y="605"/>
                  </a:lnTo>
                  <a:lnTo>
                    <a:pt x="451" y="605"/>
                  </a:lnTo>
                  <a:lnTo>
                    <a:pt x="451" y="605"/>
                  </a:lnTo>
                  <a:lnTo>
                    <a:pt x="451" y="605"/>
                  </a:lnTo>
                  <a:lnTo>
                    <a:pt x="451" y="605"/>
                  </a:lnTo>
                  <a:lnTo>
                    <a:pt x="451" y="607"/>
                  </a:lnTo>
                  <a:lnTo>
                    <a:pt x="449" y="607"/>
                  </a:lnTo>
                  <a:lnTo>
                    <a:pt x="449" y="609"/>
                  </a:lnTo>
                  <a:lnTo>
                    <a:pt x="449" y="609"/>
                  </a:lnTo>
                  <a:lnTo>
                    <a:pt x="449" y="609"/>
                  </a:lnTo>
                  <a:lnTo>
                    <a:pt x="449" y="609"/>
                  </a:lnTo>
                  <a:lnTo>
                    <a:pt x="447" y="609"/>
                  </a:lnTo>
                  <a:lnTo>
                    <a:pt x="447" y="609"/>
                  </a:lnTo>
                  <a:lnTo>
                    <a:pt x="447" y="612"/>
                  </a:lnTo>
                  <a:lnTo>
                    <a:pt x="447" y="612"/>
                  </a:lnTo>
                  <a:lnTo>
                    <a:pt x="447" y="612"/>
                  </a:lnTo>
                  <a:lnTo>
                    <a:pt x="447" y="612"/>
                  </a:lnTo>
                  <a:lnTo>
                    <a:pt x="444" y="614"/>
                  </a:lnTo>
                  <a:lnTo>
                    <a:pt x="444" y="614"/>
                  </a:lnTo>
                  <a:lnTo>
                    <a:pt x="444" y="616"/>
                  </a:lnTo>
                  <a:lnTo>
                    <a:pt x="442" y="616"/>
                  </a:lnTo>
                  <a:lnTo>
                    <a:pt x="442" y="616"/>
                  </a:lnTo>
                  <a:lnTo>
                    <a:pt x="442" y="616"/>
                  </a:lnTo>
                  <a:lnTo>
                    <a:pt x="442" y="618"/>
                  </a:lnTo>
                  <a:lnTo>
                    <a:pt x="442" y="618"/>
                  </a:lnTo>
                  <a:lnTo>
                    <a:pt x="442" y="618"/>
                  </a:lnTo>
                  <a:lnTo>
                    <a:pt x="442" y="618"/>
                  </a:lnTo>
                  <a:lnTo>
                    <a:pt x="440" y="618"/>
                  </a:lnTo>
                  <a:lnTo>
                    <a:pt x="440" y="618"/>
                  </a:lnTo>
                  <a:lnTo>
                    <a:pt x="440" y="618"/>
                  </a:lnTo>
                  <a:lnTo>
                    <a:pt x="440" y="618"/>
                  </a:lnTo>
                  <a:lnTo>
                    <a:pt x="440" y="618"/>
                  </a:lnTo>
                  <a:lnTo>
                    <a:pt x="438" y="618"/>
                  </a:lnTo>
                  <a:lnTo>
                    <a:pt x="438" y="618"/>
                  </a:lnTo>
                  <a:lnTo>
                    <a:pt x="438" y="618"/>
                  </a:lnTo>
                  <a:lnTo>
                    <a:pt x="438" y="618"/>
                  </a:lnTo>
                  <a:lnTo>
                    <a:pt x="438" y="616"/>
                  </a:lnTo>
                  <a:lnTo>
                    <a:pt x="438" y="616"/>
                  </a:lnTo>
                  <a:lnTo>
                    <a:pt x="435" y="616"/>
                  </a:lnTo>
                  <a:lnTo>
                    <a:pt x="435" y="616"/>
                  </a:lnTo>
                  <a:lnTo>
                    <a:pt x="435" y="616"/>
                  </a:lnTo>
                  <a:lnTo>
                    <a:pt x="435" y="618"/>
                  </a:lnTo>
                  <a:lnTo>
                    <a:pt x="433" y="618"/>
                  </a:lnTo>
                  <a:lnTo>
                    <a:pt x="433" y="618"/>
                  </a:lnTo>
                  <a:lnTo>
                    <a:pt x="433" y="618"/>
                  </a:lnTo>
                  <a:lnTo>
                    <a:pt x="431" y="618"/>
                  </a:lnTo>
                  <a:lnTo>
                    <a:pt x="431" y="618"/>
                  </a:lnTo>
                  <a:lnTo>
                    <a:pt x="431" y="621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29" y="621"/>
                  </a:lnTo>
                  <a:lnTo>
                    <a:pt x="427" y="621"/>
                  </a:lnTo>
                  <a:lnTo>
                    <a:pt x="427" y="621"/>
                  </a:lnTo>
                  <a:lnTo>
                    <a:pt x="424" y="621"/>
                  </a:lnTo>
                  <a:lnTo>
                    <a:pt x="424" y="621"/>
                  </a:lnTo>
                  <a:lnTo>
                    <a:pt x="424" y="621"/>
                  </a:lnTo>
                  <a:lnTo>
                    <a:pt x="422" y="621"/>
                  </a:lnTo>
                  <a:lnTo>
                    <a:pt x="422" y="621"/>
                  </a:lnTo>
                  <a:lnTo>
                    <a:pt x="422" y="621"/>
                  </a:lnTo>
                  <a:lnTo>
                    <a:pt x="422" y="621"/>
                  </a:lnTo>
                  <a:lnTo>
                    <a:pt x="422" y="621"/>
                  </a:lnTo>
                  <a:lnTo>
                    <a:pt x="424" y="621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4" y="618"/>
                  </a:lnTo>
                  <a:lnTo>
                    <a:pt x="427" y="618"/>
                  </a:lnTo>
                  <a:lnTo>
                    <a:pt x="427" y="618"/>
                  </a:lnTo>
                  <a:lnTo>
                    <a:pt x="427" y="618"/>
                  </a:lnTo>
                  <a:lnTo>
                    <a:pt x="427" y="618"/>
                  </a:lnTo>
                  <a:lnTo>
                    <a:pt x="427" y="616"/>
                  </a:lnTo>
                  <a:lnTo>
                    <a:pt x="427" y="616"/>
                  </a:lnTo>
                  <a:lnTo>
                    <a:pt x="427" y="616"/>
                  </a:lnTo>
                  <a:lnTo>
                    <a:pt x="427" y="616"/>
                  </a:lnTo>
                  <a:lnTo>
                    <a:pt x="427" y="616"/>
                  </a:lnTo>
                  <a:lnTo>
                    <a:pt x="427" y="614"/>
                  </a:lnTo>
                  <a:lnTo>
                    <a:pt x="429" y="614"/>
                  </a:lnTo>
                  <a:lnTo>
                    <a:pt x="429" y="614"/>
                  </a:lnTo>
                  <a:lnTo>
                    <a:pt x="429" y="614"/>
                  </a:lnTo>
                  <a:lnTo>
                    <a:pt x="429" y="614"/>
                  </a:lnTo>
                  <a:lnTo>
                    <a:pt x="431" y="612"/>
                  </a:lnTo>
                  <a:lnTo>
                    <a:pt x="431" y="612"/>
                  </a:lnTo>
                  <a:lnTo>
                    <a:pt x="431" y="612"/>
                  </a:lnTo>
                  <a:lnTo>
                    <a:pt x="431" y="612"/>
                  </a:lnTo>
                  <a:lnTo>
                    <a:pt x="433" y="612"/>
                  </a:lnTo>
                  <a:lnTo>
                    <a:pt x="435" y="612"/>
                  </a:lnTo>
                  <a:lnTo>
                    <a:pt x="435" y="612"/>
                  </a:lnTo>
                  <a:lnTo>
                    <a:pt x="435" y="612"/>
                  </a:lnTo>
                  <a:lnTo>
                    <a:pt x="435" y="612"/>
                  </a:lnTo>
                  <a:lnTo>
                    <a:pt x="435" y="612"/>
                  </a:lnTo>
                  <a:lnTo>
                    <a:pt x="438" y="614"/>
                  </a:lnTo>
                  <a:lnTo>
                    <a:pt x="438" y="614"/>
                  </a:lnTo>
                  <a:lnTo>
                    <a:pt x="438" y="614"/>
                  </a:lnTo>
                  <a:lnTo>
                    <a:pt x="438" y="614"/>
                  </a:lnTo>
                  <a:lnTo>
                    <a:pt x="438" y="612"/>
                  </a:lnTo>
                  <a:lnTo>
                    <a:pt x="440" y="612"/>
                  </a:lnTo>
                  <a:lnTo>
                    <a:pt x="440" y="612"/>
                  </a:lnTo>
                  <a:lnTo>
                    <a:pt x="440" y="609"/>
                  </a:lnTo>
                  <a:lnTo>
                    <a:pt x="440" y="609"/>
                  </a:lnTo>
                  <a:lnTo>
                    <a:pt x="442" y="609"/>
                  </a:lnTo>
                  <a:lnTo>
                    <a:pt x="442" y="609"/>
                  </a:lnTo>
                  <a:lnTo>
                    <a:pt x="442" y="607"/>
                  </a:lnTo>
                  <a:lnTo>
                    <a:pt x="442" y="607"/>
                  </a:lnTo>
                  <a:lnTo>
                    <a:pt x="444" y="605"/>
                  </a:lnTo>
                  <a:lnTo>
                    <a:pt x="444" y="605"/>
                  </a:lnTo>
                  <a:lnTo>
                    <a:pt x="444" y="603"/>
                  </a:lnTo>
                  <a:lnTo>
                    <a:pt x="444" y="603"/>
                  </a:lnTo>
                  <a:lnTo>
                    <a:pt x="444" y="603"/>
                  </a:lnTo>
                  <a:lnTo>
                    <a:pt x="444" y="603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3"/>
                  </a:lnTo>
                  <a:lnTo>
                    <a:pt x="442" y="603"/>
                  </a:lnTo>
                  <a:lnTo>
                    <a:pt x="442" y="603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4" y="600"/>
                  </a:lnTo>
                  <a:lnTo>
                    <a:pt x="447" y="598"/>
                  </a:lnTo>
                  <a:lnTo>
                    <a:pt x="447" y="598"/>
                  </a:lnTo>
                  <a:lnTo>
                    <a:pt x="447" y="596"/>
                  </a:lnTo>
                  <a:lnTo>
                    <a:pt x="447" y="596"/>
                  </a:lnTo>
                  <a:lnTo>
                    <a:pt x="447" y="596"/>
                  </a:lnTo>
                  <a:lnTo>
                    <a:pt x="447" y="596"/>
                  </a:lnTo>
                  <a:lnTo>
                    <a:pt x="447" y="594"/>
                  </a:lnTo>
                  <a:lnTo>
                    <a:pt x="447" y="594"/>
                  </a:lnTo>
                  <a:lnTo>
                    <a:pt x="447" y="594"/>
                  </a:lnTo>
                  <a:lnTo>
                    <a:pt x="447" y="594"/>
                  </a:lnTo>
                  <a:lnTo>
                    <a:pt x="447" y="594"/>
                  </a:lnTo>
                  <a:lnTo>
                    <a:pt x="449" y="594"/>
                  </a:lnTo>
                  <a:lnTo>
                    <a:pt x="449" y="594"/>
                  </a:lnTo>
                  <a:lnTo>
                    <a:pt x="449" y="594"/>
                  </a:lnTo>
                  <a:lnTo>
                    <a:pt x="449" y="594"/>
                  </a:lnTo>
                  <a:lnTo>
                    <a:pt x="451" y="591"/>
                  </a:lnTo>
                  <a:lnTo>
                    <a:pt x="451" y="591"/>
                  </a:lnTo>
                  <a:lnTo>
                    <a:pt x="451" y="591"/>
                  </a:lnTo>
                  <a:lnTo>
                    <a:pt x="451" y="591"/>
                  </a:lnTo>
                  <a:lnTo>
                    <a:pt x="451" y="591"/>
                  </a:lnTo>
                  <a:lnTo>
                    <a:pt x="451" y="591"/>
                  </a:lnTo>
                  <a:lnTo>
                    <a:pt x="451" y="591"/>
                  </a:lnTo>
                  <a:lnTo>
                    <a:pt x="451" y="589"/>
                  </a:lnTo>
                  <a:lnTo>
                    <a:pt x="451" y="589"/>
                  </a:lnTo>
                  <a:lnTo>
                    <a:pt x="451" y="589"/>
                  </a:lnTo>
                  <a:lnTo>
                    <a:pt x="453" y="589"/>
                  </a:lnTo>
                  <a:lnTo>
                    <a:pt x="453" y="589"/>
                  </a:lnTo>
                  <a:lnTo>
                    <a:pt x="453" y="589"/>
                  </a:lnTo>
                  <a:lnTo>
                    <a:pt x="453" y="589"/>
                  </a:lnTo>
                  <a:lnTo>
                    <a:pt x="453" y="589"/>
                  </a:lnTo>
                  <a:lnTo>
                    <a:pt x="453" y="587"/>
                  </a:lnTo>
                  <a:lnTo>
                    <a:pt x="453" y="587"/>
                  </a:lnTo>
                  <a:lnTo>
                    <a:pt x="453" y="587"/>
                  </a:lnTo>
                  <a:lnTo>
                    <a:pt x="453" y="587"/>
                  </a:lnTo>
                  <a:lnTo>
                    <a:pt x="453" y="587"/>
                  </a:lnTo>
                  <a:lnTo>
                    <a:pt x="456" y="587"/>
                  </a:lnTo>
                  <a:lnTo>
                    <a:pt x="456" y="585"/>
                  </a:lnTo>
                  <a:lnTo>
                    <a:pt x="456" y="585"/>
                  </a:lnTo>
                  <a:lnTo>
                    <a:pt x="458" y="585"/>
                  </a:lnTo>
                  <a:lnTo>
                    <a:pt x="458" y="582"/>
                  </a:lnTo>
                  <a:lnTo>
                    <a:pt x="458" y="582"/>
                  </a:lnTo>
                  <a:lnTo>
                    <a:pt x="458" y="582"/>
                  </a:lnTo>
                  <a:lnTo>
                    <a:pt x="460" y="582"/>
                  </a:lnTo>
                  <a:lnTo>
                    <a:pt x="462" y="580"/>
                  </a:lnTo>
                  <a:lnTo>
                    <a:pt x="462" y="582"/>
                  </a:lnTo>
                  <a:lnTo>
                    <a:pt x="462" y="580"/>
                  </a:lnTo>
                  <a:lnTo>
                    <a:pt x="462" y="580"/>
                  </a:lnTo>
                  <a:lnTo>
                    <a:pt x="462" y="580"/>
                  </a:lnTo>
                  <a:lnTo>
                    <a:pt x="465" y="578"/>
                  </a:lnTo>
                  <a:lnTo>
                    <a:pt x="465" y="578"/>
                  </a:lnTo>
                  <a:lnTo>
                    <a:pt x="465" y="578"/>
                  </a:lnTo>
                  <a:lnTo>
                    <a:pt x="465" y="578"/>
                  </a:lnTo>
                  <a:lnTo>
                    <a:pt x="465" y="578"/>
                  </a:lnTo>
                  <a:lnTo>
                    <a:pt x="465" y="576"/>
                  </a:lnTo>
                  <a:lnTo>
                    <a:pt x="465" y="576"/>
                  </a:lnTo>
                  <a:lnTo>
                    <a:pt x="465" y="576"/>
                  </a:lnTo>
                  <a:lnTo>
                    <a:pt x="465" y="576"/>
                  </a:lnTo>
                  <a:lnTo>
                    <a:pt x="465" y="576"/>
                  </a:lnTo>
                  <a:lnTo>
                    <a:pt x="465" y="576"/>
                  </a:lnTo>
                  <a:lnTo>
                    <a:pt x="465" y="574"/>
                  </a:lnTo>
                  <a:lnTo>
                    <a:pt x="465" y="574"/>
                  </a:lnTo>
                  <a:lnTo>
                    <a:pt x="465" y="574"/>
                  </a:lnTo>
                  <a:lnTo>
                    <a:pt x="465" y="574"/>
                  </a:lnTo>
                  <a:lnTo>
                    <a:pt x="465" y="571"/>
                  </a:lnTo>
                  <a:lnTo>
                    <a:pt x="465" y="571"/>
                  </a:lnTo>
                  <a:lnTo>
                    <a:pt x="465" y="571"/>
                  </a:lnTo>
                  <a:lnTo>
                    <a:pt x="467" y="571"/>
                  </a:lnTo>
                  <a:lnTo>
                    <a:pt x="467" y="571"/>
                  </a:lnTo>
                  <a:lnTo>
                    <a:pt x="467" y="571"/>
                  </a:lnTo>
                  <a:lnTo>
                    <a:pt x="469" y="571"/>
                  </a:lnTo>
                  <a:lnTo>
                    <a:pt x="469" y="571"/>
                  </a:lnTo>
                  <a:lnTo>
                    <a:pt x="469" y="571"/>
                  </a:lnTo>
                  <a:lnTo>
                    <a:pt x="469" y="569"/>
                  </a:lnTo>
                  <a:lnTo>
                    <a:pt x="469" y="569"/>
                  </a:lnTo>
                  <a:lnTo>
                    <a:pt x="469" y="569"/>
                  </a:lnTo>
                  <a:lnTo>
                    <a:pt x="469" y="571"/>
                  </a:lnTo>
                  <a:lnTo>
                    <a:pt x="469" y="571"/>
                  </a:lnTo>
                  <a:lnTo>
                    <a:pt x="469" y="571"/>
                  </a:lnTo>
                  <a:lnTo>
                    <a:pt x="469" y="569"/>
                  </a:lnTo>
                  <a:lnTo>
                    <a:pt x="469" y="569"/>
                  </a:lnTo>
                  <a:lnTo>
                    <a:pt x="469" y="569"/>
                  </a:lnTo>
                  <a:lnTo>
                    <a:pt x="469" y="569"/>
                  </a:lnTo>
                  <a:lnTo>
                    <a:pt x="469" y="569"/>
                  </a:lnTo>
                  <a:lnTo>
                    <a:pt x="471" y="569"/>
                  </a:lnTo>
                  <a:lnTo>
                    <a:pt x="471" y="569"/>
                  </a:lnTo>
                  <a:lnTo>
                    <a:pt x="471" y="569"/>
                  </a:lnTo>
                  <a:lnTo>
                    <a:pt x="471" y="567"/>
                  </a:lnTo>
                  <a:lnTo>
                    <a:pt x="469" y="567"/>
                  </a:lnTo>
                  <a:lnTo>
                    <a:pt x="469" y="567"/>
                  </a:lnTo>
                  <a:lnTo>
                    <a:pt x="469" y="567"/>
                  </a:lnTo>
                  <a:lnTo>
                    <a:pt x="469" y="567"/>
                  </a:lnTo>
                  <a:lnTo>
                    <a:pt x="469" y="567"/>
                  </a:lnTo>
                  <a:lnTo>
                    <a:pt x="469" y="567"/>
                  </a:lnTo>
                  <a:lnTo>
                    <a:pt x="471" y="562"/>
                  </a:lnTo>
                  <a:lnTo>
                    <a:pt x="471" y="562"/>
                  </a:lnTo>
                  <a:lnTo>
                    <a:pt x="471" y="562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60"/>
                  </a:lnTo>
                  <a:lnTo>
                    <a:pt x="471" y="558"/>
                  </a:lnTo>
                  <a:lnTo>
                    <a:pt x="471" y="558"/>
                  </a:lnTo>
                  <a:lnTo>
                    <a:pt x="471" y="558"/>
                  </a:lnTo>
                  <a:lnTo>
                    <a:pt x="471" y="558"/>
                  </a:lnTo>
                  <a:lnTo>
                    <a:pt x="471" y="558"/>
                  </a:lnTo>
                  <a:lnTo>
                    <a:pt x="471" y="558"/>
                  </a:lnTo>
                  <a:lnTo>
                    <a:pt x="471" y="558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71" y="556"/>
                  </a:lnTo>
                  <a:lnTo>
                    <a:pt x="469" y="556"/>
                  </a:lnTo>
                  <a:lnTo>
                    <a:pt x="469" y="556"/>
                  </a:lnTo>
                  <a:lnTo>
                    <a:pt x="469" y="558"/>
                  </a:lnTo>
                  <a:lnTo>
                    <a:pt x="469" y="558"/>
                  </a:lnTo>
                  <a:lnTo>
                    <a:pt x="469" y="558"/>
                  </a:lnTo>
                  <a:lnTo>
                    <a:pt x="469" y="558"/>
                  </a:lnTo>
                  <a:lnTo>
                    <a:pt x="469" y="560"/>
                  </a:lnTo>
                  <a:lnTo>
                    <a:pt x="469" y="560"/>
                  </a:lnTo>
                  <a:lnTo>
                    <a:pt x="469" y="560"/>
                  </a:lnTo>
                  <a:lnTo>
                    <a:pt x="469" y="560"/>
                  </a:lnTo>
                  <a:lnTo>
                    <a:pt x="469" y="560"/>
                  </a:lnTo>
                  <a:lnTo>
                    <a:pt x="469" y="560"/>
                  </a:lnTo>
                  <a:lnTo>
                    <a:pt x="469" y="562"/>
                  </a:lnTo>
                  <a:lnTo>
                    <a:pt x="469" y="562"/>
                  </a:lnTo>
                  <a:lnTo>
                    <a:pt x="467" y="562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5"/>
                  </a:lnTo>
                  <a:lnTo>
                    <a:pt x="467" y="567"/>
                  </a:lnTo>
                  <a:lnTo>
                    <a:pt x="467" y="567"/>
                  </a:lnTo>
                  <a:lnTo>
                    <a:pt x="467" y="567"/>
                  </a:lnTo>
                  <a:lnTo>
                    <a:pt x="465" y="567"/>
                  </a:lnTo>
                  <a:lnTo>
                    <a:pt x="465" y="567"/>
                  </a:lnTo>
                  <a:lnTo>
                    <a:pt x="465" y="567"/>
                  </a:lnTo>
                  <a:lnTo>
                    <a:pt x="465" y="567"/>
                  </a:lnTo>
                  <a:lnTo>
                    <a:pt x="465" y="567"/>
                  </a:lnTo>
                  <a:lnTo>
                    <a:pt x="465" y="565"/>
                  </a:lnTo>
                  <a:lnTo>
                    <a:pt x="462" y="567"/>
                  </a:lnTo>
                  <a:lnTo>
                    <a:pt x="462" y="567"/>
                  </a:lnTo>
                  <a:lnTo>
                    <a:pt x="462" y="567"/>
                  </a:lnTo>
                  <a:lnTo>
                    <a:pt x="462" y="567"/>
                  </a:lnTo>
                  <a:lnTo>
                    <a:pt x="462" y="567"/>
                  </a:lnTo>
                  <a:lnTo>
                    <a:pt x="462" y="567"/>
                  </a:lnTo>
                  <a:lnTo>
                    <a:pt x="462" y="567"/>
                  </a:lnTo>
                  <a:lnTo>
                    <a:pt x="460" y="569"/>
                  </a:lnTo>
                  <a:lnTo>
                    <a:pt x="458" y="569"/>
                  </a:lnTo>
                  <a:lnTo>
                    <a:pt x="458" y="569"/>
                  </a:lnTo>
                  <a:lnTo>
                    <a:pt x="458" y="569"/>
                  </a:lnTo>
                  <a:lnTo>
                    <a:pt x="458" y="571"/>
                  </a:lnTo>
                  <a:lnTo>
                    <a:pt x="458" y="571"/>
                  </a:lnTo>
                  <a:lnTo>
                    <a:pt x="458" y="571"/>
                  </a:lnTo>
                  <a:lnTo>
                    <a:pt x="456" y="571"/>
                  </a:lnTo>
                  <a:lnTo>
                    <a:pt x="456" y="574"/>
                  </a:lnTo>
                  <a:lnTo>
                    <a:pt x="456" y="574"/>
                  </a:lnTo>
                  <a:lnTo>
                    <a:pt x="453" y="576"/>
                  </a:lnTo>
                  <a:lnTo>
                    <a:pt x="453" y="576"/>
                  </a:lnTo>
                  <a:lnTo>
                    <a:pt x="453" y="578"/>
                  </a:lnTo>
                  <a:lnTo>
                    <a:pt x="451" y="578"/>
                  </a:lnTo>
                  <a:lnTo>
                    <a:pt x="451" y="578"/>
                  </a:lnTo>
                  <a:lnTo>
                    <a:pt x="449" y="580"/>
                  </a:lnTo>
                  <a:lnTo>
                    <a:pt x="449" y="582"/>
                  </a:lnTo>
                  <a:lnTo>
                    <a:pt x="447" y="582"/>
                  </a:lnTo>
                  <a:lnTo>
                    <a:pt x="447" y="582"/>
                  </a:lnTo>
                  <a:lnTo>
                    <a:pt x="447" y="582"/>
                  </a:lnTo>
                  <a:lnTo>
                    <a:pt x="447" y="585"/>
                  </a:lnTo>
                  <a:lnTo>
                    <a:pt x="444" y="585"/>
                  </a:lnTo>
                  <a:lnTo>
                    <a:pt x="442" y="585"/>
                  </a:lnTo>
                  <a:lnTo>
                    <a:pt x="442" y="585"/>
                  </a:lnTo>
                  <a:lnTo>
                    <a:pt x="442" y="585"/>
                  </a:lnTo>
                  <a:lnTo>
                    <a:pt x="442" y="585"/>
                  </a:lnTo>
                  <a:lnTo>
                    <a:pt x="442" y="585"/>
                  </a:lnTo>
                  <a:lnTo>
                    <a:pt x="442" y="582"/>
                  </a:lnTo>
                  <a:lnTo>
                    <a:pt x="442" y="582"/>
                  </a:lnTo>
                  <a:lnTo>
                    <a:pt x="442" y="582"/>
                  </a:lnTo>
                  <a:lnTo>
                    <a:pt x="442" y="582"/>
                  </a:lnTo>
                  <a:lnTo>
                    <a:pt x="442" y="582"/>
                  </a:lnTo>
                  <a:lnTo>
                    <a:pt x="442" y="585"/>
                  </a:lnTo>
                  <a:lnTo>
                    <a:pt x="442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2" y="585"/>
                  </a:lnTo>
                  <a:lnTo>
                    <a:pt x="442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5"/>
                  </a:lnTo>
                  <a:lnTo>
                    <a:pt x="440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8" y="587"/>
                  </a:lnTo>
                  <a:lnTo>
                    <a:pt x="435" y="587"/>
                  </a:lnTo>
                  <a:lnTo>
                    <a:pt x="435" y="587"/>
                  </a:lnTo>
                  <a:lnTo>
                    <a:pt x="435" y="587"/>
                  </a:lnTo>
                  <a:lnTo>
                    <a:pt x="435" y="587"/>
                  </a:lnTo>
                  <a:lnTo>
                    <a:pt x="435" y="587"/>
                  </a:lnTo>
                  <a:lnTo>
                    <a:pt x="435" y="587"/>
                  </a:lnTo>
                  <a:lnTo>
                    <a:pt x="433" y="589"/>
                  </a:lnTo>
                  <a:lnTo>
                    <a:pt x="433" y="589"/>
                  </a:lnTo>
                  <a:lnTo>
                    <a:pt x="433" y="589"/>
                  </a:lnTo>
                  <a:lnTo>
                    <a:pt x="433" y="589"/>
                  </a:lnTo>
                  <a:lnTo>
                    <a:pt x="433" y="589"/>
                  </a:lnTo>
                  <a:lnTo>
                    <a:pt x="431" y="589"/>
                  </a:lnTo>
                  <a:lnTo>
                    <a:pt x="431" y="591"/>
                  </a:lnTo>
                  <a:lnTo>
                    <a:pt x="429" y="591"/>
                  </a:lnTo>
                  <a:lnTo>
                    <a:pt x="429" y="591"/>
                  </a:lnTo>
                  <a:lnTo>
                    <a:pt x="429" y="591"/>
                  </a:lnTo>
                  <a:lnTo>
                    <a:pt x="427" y="591"/>
                  </a:lnTo>
                  <a:lnTo>
                    <a:pt x="427" y="591"/>
                  </a:lnTo>
                  <a:lnTo>
                    <a:pt x="427" y="594"/>
                  </a:lnTo>
                  <a:lnTo>
                    <a:pt x="427" y="594"/>
                  </a:lnTo>
                  <a:lnTo>
                    <a:pt x="427" y="594"/>
                  </a:lnTo>
                  <a:lnTo>
                    <a:pt x="427" y="594"/>
                  </a:lnTo>
                  <a:lnTo>
                    <a:pt x="424" y="594"/>
                  </a:lnTo>
                  <a:lnTo>
                    <a:pt x="424" y="594"/>
                  </a:lnTo>
                  <a:lnTo>
                    <a:pt x="424" y="596"/>
                  </a:lnTo>
                  <a:lnTo>
                    <a:pt x="424" y="596"/>
                  </a:lnTo>
                  <a:lnTo>
                    <a:pt x="422" y="598"/>
                  </a:lnTo>
                  <a:lnTo>
                    <a:pt x="420" y="598"/>
                  </a:lnTo>
                  <a:lnTo>
                    <a:pt x="420" y="598"/>
                  </a:lnTo>
                  <a:lnTo>
                    <a:pt x="418" y="600"/>
                  </a:lnTo>
                  <a:lnTo>
                    <a:pt x="418" y="600"/>
                  </a:lnTo>
                  <a:lnTo>
                    <a:pt x="418" y="600"/>
                  </a:lnTo>
                  <a:lnTo>
                    <a:pt x="418" y="600"/>
                  </a:lnTo>
                  <a:lnTo>
                    <a:pt x="418" y="600"/>
                  </a:lnTo>
                  <a:lnTo>
                    <a:pt x="418" y="600"/>
                  </a:lnTo>
                  <a:lnTo>
                    <a:pt x="418" y="600"/>
                  </a:lnTo>
                  <a:lnTo>
                    <a:pt x="418" y="603"/>
                  </a:lnTo>
                  <a:lnTo>
                    <a:pt x="418" y="603"/>
                  </a:lnTo>
                  <a:lnTo>
                    <a:pt x="415" y="603"/>
                  </a:lnTo>
                  <a:lnTo>
                    <a:pt x="415" y="603"/>
                  </a:lnTo>
                  <a:lnTo>
                    <a:pt x="415" y="603"/>
                  </a:lnTo>
                  <a:lnTo>
                    <a:pt x="415" y="603"/>
                  </a:lnTo>
                  <a:lnTo>
                    <a:pt x="415" y="603"/>
                  </a:lnTo>
                  <a:lnTo>
                    <a:pt x="415" y="603"/>
                  </a:lnTo>
                  <a:lnTo>
                    <a:pt x="413" y="603"/>
                  </a:lnTo>
                  <a:lnTo>
                    <a:pt x="413" y="603"/>
                  </a:lnTo>
                  <a:lnTo>
                    <a:pt x="413" y="603"/>
                  </a:lnTo>
                  <a:lnTo>
                    <a:pt x="413" y="603"/>
                  </a:lnTo>
                  <a:lnTo>
                    <a:pt x="413" y="605"/>
                  </a:lnTo>
                  <a:lnTo>
                    <a:pt x="413" y="605"/>
                  </a:lnTo>
                  <a:lnTo>
                    <a:pt x="413" y="605"/>
                  </a:lnTo>
                  <a:lnTo>
                    <a:pt x="413" y="605"/>
                  </a:lnTo>
                  <a:lnTo>
                    <a:pt x="411" y="605"/>
                  </a:lnTo>
                  <a:lnTo>
                    <a:pt x="411" y="605"/>
                  </a:lnTo>
                  <a:lnTo>
                    <a:pt x="411" y="605"/>
                  </a:lnTo>
                  <a:lnTo>
                    <a:pt x="411" y="605"/>
                  </a:lnTo>
                  <a:lnTo>
                    <a:pt x="411" y="607"/>
                  </a:lnTo>
                  <a:lnTo>
                    <a:pt x="411" y="607"/>
                  </a:lnTo>
                  <a:lnTo>
                    <a:pt x="411" y="607"/>
                  </a:lnTo>
                  <a:lnTo>
                    <a:pt x="409" y="607"/>
                  </a:lnTo>
                  <a:lnTo>
                    <a:pt x="409" y="607"/>
                  </a:lnTo>
                  <a:lnTo>
                    <a:pt x="411" y="607"/>
                  </a:lnTo>
                  <a:lnTo>
                    <a:pt x="411" y="607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6" y="609"/>
                  </a:lnTo>
                  <a:lnTo>
                    <a:pt x="406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7"/>
                  </a:lnTo>
                  <a:lnTo>
                    <a:pt x="411" y="607"/>
                  </a:lnTo>
                  <a:lnTo>
                    <a:pt x="413" y="607"/>
                  </a:lnTo>
                  <a:lnTo>
                    <a:pt x="413" y="607"/>
                  </a:lnTo>
                  <a:lnTo>
                    <a:pt x="413" y="607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09"/>
                  </a:lnTo>
                  <a:lnTo>
                    <a:pt x="411" y="612"/>
                  </a:lnTo>
                  <a:lnTo>
                    <a:pt x="411" y="612"/>
                  </a:lnTo>
                  <a:lnTo>
                    <a:pt x="411" y="612"/>
                  </a:lnTo>
                  <a:lnTo>
                    <a:pt x="411" y="614"/>
                  </a:lnTo>
                  <a:lnTo>
                    <a:pt x="411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4"/>
                  </a:lnTo>
                  <a:lnTo>
                    <a:pt x="409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6" y="612"/>
                  </a:lnTo>
                  <a:lnTo>
                    <a:pt x="404" y="612"/>
                  </a:lnTo>
                  <a:lnTo>
                    <a:pt x="404" y="612"/>
                  </a:lnTo>
                  <a:lnTo>
                    <a:pt x="404" y="612"/>
                  </a:lnTo>
                  <a:lnTo>
                    <a:pt x="404" y="612"/>
                  </a:lnTo>
                  <a:lnTo>
                    <a:pt x="404" y="612"/>
                  </a:lnTo>
                  <a:lnTo>
                    <a:pt x="404" y="612"/>
                  </a:lnTo>
                  <a:lnTo>
                    <a:pt x="404" y="612"/>
                  </a:lnTo>
                  <a:lnTo>
                    <a:pt x="404" y="614"/>
                  </a:lnTo>
                  <a:lnTo>
                    <a:pt x="404" y="614"/>
                  </a:lnTo>
                  <a:lnTo>
                    <a:pt x="402" y="614"/>
                  </a:lnTo>
                  <a:lnTo>
                    <a:pt x="402" y="614"/>
                  </a:lnTo>
                  <a:lnTo>
                    <a:pt x="402" y="612"/>
                  </a:lnTo>
                  <a:lnTo>
                    <a:pt x="402" y="612"/>
                  </a:lnTo>
                  <a:lnTo>
                    <a:pt x="402" y="612"/>
                  </a:lnTo>
                  <a:lnTo>
                    <a:pt x="402" y="612"/>
                  </a:lnTo>
                  <a:lnTo>
                    <a:pt x="402" y="609"/>
                  </a:lnTo>
                  <a:lnTo>
                    <a:pt x="402" y="607"/>
                  </a:lnTo>
                  <a:lnTo>
                    <a:pt x="402" y="607"/>
                  </a:lnTo>
                  <a:lnTo>
                    <a:pt x="402" y="607"/>
                  </a:lnTo>
                  <a:lnTo>
                    <a:pt x="400" y="607"/>
                  </a:lnTo>
                  <a:lnTo>
                    <a:pt x="400" y="607"/>
                  </a:lnTo>
                  <a:lnTo>
                    <a:pt x="400" y="607"/>
                  </a:lnTo>
                  <a:lnTo>
                    <a:pt x="400" y="607"/>
                  </a:lnTo>
                  <a:lnTo>
                    <a:pt x="400" y="607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397" y="605"/>
                  </a:lnTo>
                  <a:lnTo>
                    <a:pt x="397" y="605"/>
                  </a:lnTo>
                  <a:lnTo>
                    <a:pt x="397" y="605"/>
                  </a:lnTo>
                  <a:lnTo>
                    <a:pt x="397" y="605"/>
                  </a:lnTo>
                  <a:lnTo>
                    <a:pt x="397" y="605"/>
                  </a:lnTo>
                  <a:lnTo>
                    <a:pt x="395" y="605"/>
                  </a:lnTo>
                  <a:lnTo>
                    <a:pt x="395" y="605"/>
                  </a:lnTo>
                  <a:lnTo>
                    <a:pt x="395" y="605"/>
                  </a:lnTo>
                  <a:lnTo>
                    <a:pt x="397" y="603"/>
                  </a:lnTo>
                  <a:lnTo>
                    <a:pt x="397" y="603"/>
                  </a:lnTo>
                  <a:lnTo>
                    <a:pt x="397" y="603"/>
                  </a:lnTo>
                  <a:lnTo>
                    <a:pt x="397" y="603"/>
                  </a:lnTo>
                  <a:lnTo>
                    <a:pt x="400" y="603"/>
                  </a:lnTo>
                  <a:lnTo>
                    <a:pt x="400" y="600"/>
                  </a:lnTo>
                  <a:lnTo>
                    <a:pt x="400" y="600"/>
                  </a:lnTo>
                  <a:lnTo>
                    <a:pt x="400" y="600"/>
                  </a:lnTo>
                  <a:lnTo>
                    <a:pt x="400" y="600"/>
                  </a:lnTo>
                  <a:lnTo>
                    <a:pt x="400" y="600"/>
                  </a:lnTo>
                  <a:lnTo>
                    <a:pt x="400" y="600"/>
                  </a:lnTo>
                  <a:lnTo>
                    <a:pt x="400" y="600"/>
                  </a:lnTo>
                  <a:lnTo>
                    <a:pt x="400" y="603"/>
                  </a:lnTo>
                  <a:lnTo>
                    <a:pt x="400" y="603"/>
                  </a:lnTo>
                  <a:lnTo>
                    <a:pt x="400" y="603"/>
                  </a:lnTo>
                  <a:lnTo>
                    <a:pt x="400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0" y="603"/>
                  </a:lnTo>
                  <a:lnTo>
                    <a:pt x="400" y="603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0" y="605"/>
                  </a:lnTo>
                  <a:lnTo>
                    <a:pt x="400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4" y="605"/>
                  </a:lnTo>
                  <a:lnTo>
                    <a:pt x="404" y="605"/>
                  </a:lnTo>
                  <a:lnTo>
                    <a:pt x="404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3"/>
                  </a:lnTo>
                  <a:lnTo>
                    <a:pt x="404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5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2" y="603"/>
                  </a:lnTo>
                  <a:lnTo>
                    <a:pt x="404" y="600"/>
                  </a:lnTo>
                  <a:lnTo>
                    <a:pt x="402" y="600"/>
                  </a:lnTo>
                  <a:lnTo>
                    <a:pt x="404" y="600"/>
                  </a:lnTo>
                  <a:lnTo>
                    <a:pt x="404" y="596"/>
                  </a:lnTo>
                  <a:lnTo>
                    <a:pt x="404" y="596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4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6" y="591"/>
                  </a:lnTo>
                  <a:lnTo>
                    <a:pt x="406" y="591"/>
                  </a:lnTo>
                  <a:lnTo>
                    <a:pt x="406" y="589"/>
                  </a:lnTo>
                  <a:lnTo>
                    <a:pt x="404" y="589"/>
                  </a:lnTo>
                  <a:lnTo>
                    <a:pt x="404" y="587"/>
                  </a:lnTo>
                  <a:lnTo>
                    <a:pt x="404" y="587"/>
                  </a:lnTo>
                  <a:lnTo>
                    <a:pt x="404" y="587"/>
                  </a:lnTo>
                  <a:lnTo>
                    <a:pt x="404" y="587"/>
                  </a:lnTo>
                  <a:lnTo>
                    <a:pt x="404" y="585"/>
                  </a:lnTo>
                  <a:lnTo>
                    <a:pt x="402" y="585"/>
                  </a:lnTo>
                  <a:lnTo>
                    <a:pt x="402" y="585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2"/>
                  </a:lnTo>
                  <a:lnTo>
                    <a:pt x="402" y="580"/>
                  </a:lnTo>
                  <a:lnTo>
                    <a:pt x="402" y="580"/>
                  </a:lnTo>
                  <a:lnTo>
                    <a:pt x="402" y="580"/>
                  </a:lnTo>
                  <a:lnTo>
                    <a:pt x="402" y="580"/>
                  </a:lnTo>
                  <a:lnTo>
                    <a:pt x="402" y="578"/>
                  </a:lnTo>
                  <a:lnTo>
                    <a:pt x="402" y="578"/>
                  </a:lnTo>
                  <a:lnTo>
                    <a:pt x="404" y="578"/>
                  </a:lnTo>
                  <a:lnTo>
                    <a:pt x="404" y="576"/>
                  </a:lnTo>
                  <a:lnTo>
                    <a:pt x="404" y="576"/>
                  </a:lnTo>
                  <a:lnTo>
                    <a:pt x="404" y="576"/>
                  </a:lnTo>
                  <a:lnTo>
                    <a:pt x="402" y="574"/>
                  </a:lnTo>
                  <a:lnTo>
                    <a:pt x="402" y="574"/>
                  </a:lnTo>
                  <a:lnTo>
                    <a:pt x="402" y="574"/>
                  </a:lnTo>
                  <a:lnTo>
                    <a:pt x="402" y="574"/>
                  </a:lnTo>
                  <a:lnTo>
                    <a:pt x="402" y="574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4" y="571"/>
                  </a:lnTo>
                  <a:lnTo>
                    <a:pt x="404" y="571"/>
                  </a:lnTo>
                  <a:lnTo>
                    <a:pt x="404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0" y="571"/>
                  </a:lnTo>
                  <a:lnTo>
                    <a:pt x="400" y="571"/>
                  </a:lnTo>
                  <a:lnTo>
                    <a:pt x="400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1"/>
                  </a:lnTo>
                  <a:lnTo>
                    <a:pt x="402" y="574"/>
                  </a:lnTo>
                  <a:lnTo>
                    <a:pt x="400" y="574"/>
                  </a:lnTo>
                  <a:lnTo>
                    <a:pt x="400" y="571"/>
                  </a:lnTo>
                  <a:lnTo>
                    <a:pt x="400" y="571"/>
                  </a:lnTo>
                  <a:lnTo>
                    <a:pt x="400" y="571"/>
                  </a:lnTo>
                  <a:lnTo>
                    <a:pt x="400" y="571"/>
                  </a:lnTo>
                  <a:lnTo>
                    <a:pt x="397" y="571"/>
                  </a:lnTo>
                  <a:lnTo>
                    <a:pt x="397" y="571"/>
                  </a:lnTo>
                  <a:lnTo>
                    <a:pt x="397" y="571"/>
                  </a:lnTo>
                  <a:lnTo>
                    <a:pt x="397" y="571"/>
                  </a:lnTo>
                  <a:lnTo>
                    <a:pt x="397" y="571"/>
                  </a:lnTo>
                  <a:lnTo>
                    <a:pt x="397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71"/>
                  </a:lnTo>
                  <a:lnTo>
                    <a:pt x="395" y="569"/>
                  </a:lnTo>
                  <a:lnTo>
                    <a:pt x="395" y="569"/>
                  </a:lnTo>
                  <a:lnTo>
                    <a:pt x="395" y="569"/>
                  </a:lnTo>
                  <a:lnTo>
                    <a:pt x="395" y="567"/>
                  </a:lnTo>
                  <a:lnTo>
                    <a:pt x="395" y="567"/>
                  </a:lnTo>
                  <a:lnTo>
                    <a:pt x="395" y="567"/>
                  </a:lnTo>
                  <a:lnTo>
                    <a:pt x="393" y="567"/>
                  </a:lnTo>
                  <a:lnTo>
                    <a:pt x="393" y="567"/>
                  </a:lnTo>
                  <a:lnTo>
                    <a:pt x="393" y="567"/>
                  </a:lnTo>
                  <a:lnTo>
                    <a:pt x="393" y="567"/>
                  </a:lnTo>
                  <a:lnTo>
                    <a:pt x="395" y="567"/>
                  </a:lnTo>
                  <a:lnTo>
                    <a:pt x="395" y="567"/>
                  </a:lnTo>
                  <a:lnTo>
                    <a:pt x="395" y="567"/>
                  </a:lnTo>
                  <a:lnTo>
                    <a:pt x="395" y="567"/>
                  </a:lnTo>
                  <a:lnTo>
                    <a:pt x="395" y="565"/>
                  </a:lnTo>
                  <a:lnTo>
                    <a:pt x="395" y="565"/>
                  </a:lnTo>
                  <a:lnTo>
                    <a:pt x="395" y="565"/>
                  </a:lnTo>
                  <a:lnTo>
                    <a:pt x="395" y="565"/>
                  </a:lnTo>
                  <a:lnTo>
                    <a:pt x="395" y="565"/>
                  </a:lnTo>
                  <a:lnTo>
                    <a:pt x="395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3" y="565"/>
                  </a:lnTo>
                  <a:lnTo>
                    <a:pt x="395" y="565"/>
                  </a:lnTo>
                  <a:lnTo>
                    <a:pt x="395" y="562"/>
                  </a:lnTo>
                  <a:lnTo>
                    <a:pt x="395" y="562"/>
                  </a:lnTo>
                  <a:lnTo>
                    <a:pt x="395" y="562"/>
                  </a:lnTo>
                  <a:lnTo>
                    <a:pt x="395" y="562"/>
                  </a:lnTo>
                  <a:lnTo>
                    <a:pt x="395" y="560"/>
                  </a:lnTo>
                  <a:lnTo>
                    <a:pt x="395" y="560"/>
                  </a:lnTo>
                  <a:lnTo>
                    <a:pt x="395" y="560"/>
                  </a:lnTo>
                  <a:lnTo>
                    <a:pt x="395" y="560"/>
                  </a:lnTo>
                  <a:lnTo>
                    <a:pt x="395" y="560"/>
                  </a:lnTo>
                  <a:lnTo>
                    <a:pt x="397" y="560"/>
                  </a:lnTo>
                  <a:lnTo>
                    <a:pt x="397" y="560"/>
                  </a:lnTo>
                  <a:lnTo>
                    <a:pt x="397" y="560"/>
                  </a:lnTo>
                  <a:lnTo>
                    <a:pt x="397" y="560"/>
                  </a:lnTo>
                  <a:lnTo>
                    <a:pt x="397" y="560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2"/>
                  </a:lnTo>
                  <a:lnTo>
                    <a:pt x="397" y="560"/>
                  </a:lnTo>
                  <a:lnTo>
                    <a:pt x="397" y="560"/>
                  </a:lnTo>
                  <a:lnTo>
                    <a:pt x="400" y="560"/>
                  </a:lnTo>
                  <a:lnTo>
                    <a:pt x="400" y="560"/>
                  </a:lnTo>
                  <a:lnTo>
                    <a:pt x="400" y="560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58"/>
                  </a:lnTo>
                  <a:lnTo>
                    <a:pt x="400" y="556"/>
                  </a:lnTo>
                  <a:lnTo>
                    <a:pt x="400" y="556"/>
                  </a:lnTo>
                  <a:lnTo>
                    <a:pt x="400" y="556"/>
                  </a:lnTo>
                  <a:lnTo>
                    <a:pt x="400" y="553"/>
                  </a:lnTo>
                  <a:lnTo>
                    <a:pt x="400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7" y="553"/>
                  </a:lnTo>
                  <a:lnTo>
                    <a:pt x="395" y="556"/>
                  </a:lnTo>
                  <a:lnTo>
                    <a:pt x="395" y="556"/>
                  </a:lnTo>
                  <a:lnTo>
                    <a:pt x="395" y="556"/>
                  </a:lnTo>
                  <a:lnTo>
                    <a:pt x="395" y="556"/>
                  </a:lnTo>
                  <a:lnTo>
                    <a:pt x="395" y="556"/>
                  </a:lnTo>
                  <a:lnTo>
                    <a:pt x="395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6"/>
                  </a:lnTo>
                  <a:lnTo>
                    <a:pt x="393" y="553"/>
                  </a:lnTo>
                  <a:lnTo>
                    <a:pt x="393" y="553"/>
                  </a:lnTo>
                  <a:lnTo>
                    <a:pt x="393" y="553"/>
                  </a:lnTo>
                  <a:lnTo>
                    <a:pt x="395" y="553"/>
                  </a:lnTo>
                  <a:lnTo>
                    <a:pt x="395" y="553"/>
                  </a:lnTo>
                  <a:lnTo>
                    <a:pt x="395" y="553"/>
                  </a:lnTo>
                  <a:lnTo>
                    <a:pt x="395" y="553"/>
                  </a:lnTo>
                  <a:lnTo>
                    <a:pt x="395" y="553"/>
                  </a:lnTo>
                  <a:lnTo>
                    <a:pt x="395" y="553"/>
                  </a:lnTo>
                  <a:lnTo>
                    <a:pt x="395" y="553"/>
                  </a:lnTo>
                  <a:lnTo>
                    <a:pt x="395" y="551"/>
                  </a:lnTo>
                  <a:lnTo>
                    <a:pt x="395" y="551"/>
                  </a:lnTo>
                  <a:lnTo>
                    <a:pt x="395" y="551"/>
                  </a:lnTo>
                  <a:lnTo>
                    <a:pt x="395" y="551"/>
                  </a:lnTo>
                  <a:lnTo>
                    <a:pt x="395" y="549"/>
                  </a:lnTo>
                  <a:lnTo>
                    <a:pt x="395" y="549"/>
                  </a:lnTo>
                  <a:lnTo>
                    <a:pt x="395" y="549"/>
                  </a:lnTo>
                  <a:lnTo>
                    <a:pt x="395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9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7"/>
                  </a:lnTo>
                  <a:lnTo>
                    <a:pt x="393" y="544"/>
                  </a:lnTo>
                  <a:lnTo>
                    <a:pt x="393" y="544"/>
                  </a:lnTo>
                  <a:lnTo>
                    <a:pt x="391" y="544"/>
                  </a:lnTo>
                  <a:lnTo>
                    <a:pt x="391" y="544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91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6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8" y="549"/>
                  </a:lnTo>
                  <a:lnTo>
                    <a:pt x="388" y="549"/>
                  </a:lnTo>
                  <a:lnTo>
                    <a:pt x="388" y="549"/>
                  </a:lnTo>
                  <a:lnTo>
                    <a:pt x="388" y="547"/>
                  </a:lnTo>
                  <a:lnTo>
                    <a:pt x="388" y="547"/>
                  </a:lnTo>
                  <a:lnTo>
                    <a:pt x="386" y="547"/>
                  </a:lnTo>
                  <a:lnTo>
                    <a:pt x="386" y="549"/>
                  </a:lnTo>
                  <a:lnTo>
                    <a:pt x="386" y="549"/>
                  </a:lnTo>
                  <a:lnTo>
                    <a:pt x="386" y="549"/>
                  </a:lnTo>
                  <a:lnTo>
                    <a:pt x="386" y="549"/>
                  </a:lnTo>
                  <a:lnTo>
                    <a:pt x="384" y="549"/>
                  </a:lnTo>
                  <a:lnTo>
                    <a:pt x="384" y="547"/>
                  </a:lnTo>
                  <a:lnTo>
                    <a:pt x="384" y="549"/>
                  </a:lnTo>
                  <a:lnTo>
                    <a:pt x="384" y="549"/>
                  </a:lnTo>
                  <a:lnTo>
                    <a:pt x="384" y="549"/>
                  </a:lnTo>
                  <a:lnTo>
                    <a:pt x="384" y="549"/>
                  </a:lnTo>
                  <a:lnTo>
                    <a:pt x="384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82" y="547"/>
                  </a:lnTo>
                  <a:lnTo>
                    <a:pt x="379" y="547"/>
                  </a:lnTo>
                  <a:lnTo>
                    <a:pt x="379" y="544"/>
                  </a:lnTo>
                  <a:lnTo>
                    <a:pt x="379" y="544"/>
                  </a:lnTo>
                  <a:lnTo>
                    <a:pt x="379" y="544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7"/>
                  </a:lnTo>
                  <a:lnTo>
                    <a:pt x="379" y="544"/>
                  </a:lnTo>
                  <a:lnTo>
                    <a:pt x="379" y="544"/>
                  </a:lnTo>
                  <a:lnTo>
                    <a:pt x="379" y="544"/>
                  </a:lnTo>
                  <a:lnTo>
                    <a:pt x="379" y="544"/>
                  </a:lnTo>
                  <a:lnTo>
                    <a:pt x="379" y="544"/>
                  </a:lnTo>
                  <a:lnTo>
                    <a:pt x="377" y="544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7" y="542"/>
                  </a:lnTo>
                  <a:lnTo>
                    <a:pt x="375" y="542"/>
                  </a:lnTo>
                  <a:lnTo>
                    <a:pt x="375" y="542"/>
                  </a:lnTo>
                  <a:lnTo>
                    <a:pt x="375" y="542"/>
                  </a:lnTo>
                  <a:lnTo>
                    <a:pt x="373" y="542"/>
                  </a:lnTo>
                  <a:lnTo>
                    <a:pt x="373" y="542"/>
                  </a:lnTo>
                  <a:lnTo>
                    <a:pt x="370" y="542"/>
                  </a:lnTo>
                  <a:lnTo>
                    <a:pt x="370" y="542"/>
                  </a:lnTo>
                  <a:lnTo>
                    <a:pt x="370" y="542"/>
                  </a:lnTo>
                  <a:lnTo>
                    <a:pt x="370" y="542"/>
                  </a:lnTo>
                  <a:lnTo>
                    <a:pt x="370" y="542"/>
                  </a:lnTo>
                  <a:lnTo>
                    <a:pt x="370" y="542"/>
                  </a:lnTo>
                  <a:lnTo>
                    <a:pt x="370" y="544"/>
                  </a:lnTo>
                  <a:lnTo>
                    <a:pt x="370" y="544"/>
                  </a:lnTo>
                  <a:lnTo>
                    <a:pt x="370" y="544"/>
                  </a:lnTo>
                  <a:lnTo>
                    <a:pt x="370" y="544"/>
                  </a:lnTo>
                  <a:lnTo>
                    <a:pt x="368" y="544"/>
                  </a:lnTo>
                  <a:lnTo>
                    <a:pt x="368" y="544"/>
                  </a:lnTo>
                  <a:lnTo>
                    <a:pt x="368" y="544"/>
                  </a:lnTo>
                  <a:lnTo>
                    <a:pt x="368" y="544"/>
                  </a:lnTo>
                  <a:lnTo>
                    <a:pt x="366" y="544"/>
                  </a:lnTo>
                  <a:lnTo>
                    <a:pt x="366" y="544"/>
                  </a:lnTo>
                  <a:lnTo>
                    <a:pt x="364" y="544"/>
                  </a:lnTo>
                  <a:lnTo>
                    <a:pt x="364" y="544"/>
                  </a:lnTo>
                  <a:lnTo>
                    <a:pt x="364" y="542"/>
                  </a:lnTo>
                  <a:lnTo>
                    <a:pt x="364" y="542"/>
                  </a:lnTo>
                  <a:lnTo>
                    <a:pt x="364" y="540"/>
                  </a:lnTo>
                  <a:lnTo>
                    <a:pt x="361" y="540"/>
                  </a:lnTo>
                  <a:lnTo>
                    <a:pt x="359" y="538"/>
                  </a:lnTo>
                  <a:lnTo>
                    <a:pt x="355" y="533"/>
                  </a:lnTo>
                  <a:lnTo>
                    <a:pt x="352" y="531"/>
                  </a:lnTo>
                  <a:lnTo>
                    <a:pt x="348" y="531"/>
                  </a:lnTo>
                  <a:lnTo>
                    <a:pt x="348" y="531"/>
                  </a:lnTo>
                  <a:lnTo>
                    <a:pt x="346" y="531"/>
                  </a:lnTo>
                  <a:lnTo>
                    <a:pt x="343" y="533"/>
                  </a:lnTo>
                  <a:lnTo>
                    <a:pt x="341" y="533"/>
                  </a:lnTo>
                  <a:lnTo>
                    <a:pt x="339" y="533"/>
                  </a:lnTo>
                  <a:lnTo>
                    <a:pt x="337" y="533"/>
                  </a:lnTo>
                  <a:lnTo>
                    <a:pt x="334" y="533"/>
                  </a:lnTo>
                  <a:lnTo>
                    <a:pt x="330" y="533"/>
                  </a:lnTo>
                  <a:lnTo>
                    <a:pt x="330" y="533"/>
                  </a:lnTo>
                  <a:lnTo>
                    <a:pt x="328" y="533"/>
                  </a:lnTo>
                  <a:lnTo>
                    <a:pt x="328" y="533"/>
                  </a:lnTo>
                  <a:lnTo>
                    <a:pt x="325" y="533"/>
                  </a:lnTo>
                  <a:lnTo>
                    <a:pt x="323" y="533"/>
                  </a:lnTo>
                  <a:lnTo>
                    <a:pt x="319" y="533"/>
                  </a:lnTo>
                  <a:lnTo>
                    <a:pt x="314" y="533"/>
                  </a:lnTo>
                  <a:lnTo>
                    <a:pt x="312" y="535"/>
                  </a:lnTo>
                  <a:lnTo>
                    <a:pt x="312" y="535"/>
                  </a:lnTo>
                  <a:lnTo>
                    <a:pt x="310" y="535"/>
                  </a:lnTo>
                  <a:lnTo>
                    <a:pt x="310" y="535"/>
                  </a:lnTo>
                  <a:lnTo>
                    <a:pt x="310" y="535"/>
                  </a:lnTo>
                  <a:lnTo>
                    <a:pt x="307" y="535"/>
                  </a:lnTo>
                  <a:lnTo>
                    <a:pt x="307" y="535"/>
                  </a:lnTo>
                  <a:lnTo>
                    <a:pt x="305" y="535"/>
                  </a:lnTo>
                  <a:lnTo>
                    <a:pt x="305" y="535"/>
                  </a:lnTo>
                  <a:lnTo>
                    <a:pt x="305" y="535"/>
                  </a:lnTo>
                  <a:lnTo>
                    <a:pt x="303" y="535"/>
                  </a:lnTo>
                  <a:lnTo>
                    <a:pt x="301" y="535"/>
                  </a:lnTo>
                  <a:lnTo>
                    <a:pt x="298" y="538"/>
                  </a:lnTo>
                  <a:lnTo>
                    <a:pt x="296" y="538"/>
                  </a:lnTo>
                  <a:lnTo>
                    <a:pt x="296" y="538"/>
                  </a:lnTo>
                  <a:lnTo>
                    <a:pt x="294" y="540"/>
                  </a:lnTo>
                  <a:lnTo>
                    <a:pt x="285" y="544"/>
                  </a:lnTo>
                  <a:lnTo>
                    <a:pt x="280" y="544"/>
                  </a:lnTo>
                  <a:lnTo>
                    <a:pt x="274" y="547"/>
                  </a:lnTo>
                  <a:lnTo>
                    <a:pt x="269" y="547"/>
                  </a:lnTo>
                  <a:lnTo>
                    <a:pt x="269" y="547"/>
                  </a:lnTo>
                  <a:lnTo>
                    <a:pt x="269" y="547"/>
                  </a:lnTo>
                  <a:lnTo>
                    <a:pt x="269" y="549"/>
                  </a:lnTo>
                  <a:lnTo>
                    <a:pt x="269" y="549"/>
                  </a:lnTo>
                  <a:lnTo>
                    <a:pt x="263" y="549"/>
                  </a:lnTo>
                  <a:lnTo>
                    <a:pt x="260" y="551"/>
                  </a:lnTo>
                  <a:lnTo>
                    <a:pt x="258" y="551"/>
                  </a:lnTo>
                  <a:lnTo>
                    <a:pt x="258" y="551"/>
                  </a:lnTo>
                  <a:lnTo>
                    <a:pt x="258" y="551"/>
                  </a:lnTo>
                  <a:lnTo>
                    <a:pt x="256" y="551"/>
                  </a:lnTo>
                  <a:lnTo>
                    <a:pt x="254" y="551"/>
                  </a:lnTo>
                  <a:lnTo>
                    <a:pt x="254" y="551"/>
                  </a:lnTo>
                  <a:lnTo>
                    <a:pt x="251" y="551"/>
                  </a:lnTo>
                  <a:lnTo>
                    <a:pt x="251" y="551"/>
                  </a:lnTo>
                  <a:lnTo>
                    <a:pt x="245" y="549"/>
                  </a:lnTo>
                  <a:lnTo>
                    <a:pt x="242" y="549"/>
                  </a:lnTo>
                  <a:lnTo>
                    <a:pt x="242" y="549"/>
                  </a:lnTo>
                  <a:lnTo>
                    <a:pt x="242" y="549"/>
                  </a:lnTo>
                  <a:lnTo>
                    <a:pt x="242" y="549"/>
                  </a:lnTo>
                  <a:lnTo>
                    <a:pt x="242" y="549"/>
                  </a:lnTo>
                  <a:lnTo>
                    <a:pt x="240" y="549"/>
                  </a:lnTo>
                  <a:lnTo>
                    <a:pt x="240" y="549"/>
                  </a:lnTo>
                  <a:lnTo>
                    <a:pt x="240" y="549"/>
                  </a:lnTo>
                  <a:lnTo>
                    <a:pt x="240" y="549"/>
                  </a:lnTo>
                  <a:lnTo>
                    <a:pt x="240" y="549"/>
                  </a:lnTo>
                  <a:lnTo>
                    <a:pt x="238" y="549"/>
                  </a:lnTo>
                  <a:lnTo>
                    <a:pt x="238" y="549"/>
                  </a:lnTo>
                  <a:lnTo>
                    <a:pt x="236" y="549"/>
                  </a:lnTo>
                  <a:lnTo>
                    <a:pt x="233" y="551"/>
                  </a:lnTo>
                  <a:lnTo>
                    <a:pt x="233" y="551"/>
                  </a:lnTo>
                  <a:lnTo>
                    <a:pt x="229" y="553"/>
                  </a:lnTo>
                  <a:lnTo>
                    <a:pt x="227" y="556"/>
                  </a:lnTo>
                  <a:lnTo>
                    <a:pt x="224" y="556"/>
                  </a:lnTo>
                  <a:lnTo>
                    <a:pt x="222" y="558"/>
                  </a:lnTo>
                  <a:lnTo>
                    <a:pt x="220" y="558"/>
                  </a:lnTo>
                  <a:lnTo>
                    <a:pt x="215" y="560"/>
                  </a:lnTo>
                  <a:lnTo>
                    <a:pt x="213" y="560"/>
                  </a:lnTo>
                  <a:lnTo>
                    <a:pt x="213" y="560"/>
                  </a:lnTo>
                  <a:lnTo>
                    <a:pt x="213" y="560"/>
                  </a:lnTo>
                  <a:lnTo>
                    <a:pt x="211" y="562"/>
                  </a:lnTo>
                  <a:lnTo>
                    <a:pt x="209" y="562"/>
                  </a:lnTo>
                  <a:lnTo>
                    <a:pt x="206" y="565"/>
                  </a:lnTo>
                  <a:lnTo>
                    <a:pt x="206" y="565"/>
                  </a:lnTo>
                  <a:lnTo>
                    <a:pt x="202" y="565"/>
                  </a:lnTo>
                  <a:lnTo>
                    <a:pt x="197" y="565"/>
                  </a:lnTo>
                  <a:lnTo>
                    <a:pt x="197" y="567"/>
                  </a:lnTo>
                  <a:lnTo>
                    <a:pt x="197" y="567"/>
                  </a:lnTo>
                  <a:lnTo>
                    <a:pt x="195" y="567"/>
                  </a:lnTo>
                  <a:lnTo>
                    <a:pt x="195" y="567"/>
                  </a:lnTo>
                  <a:lnTo>
                    <a:pt x="195" y="567"/>
                  </a:lnTo>
                  <a:lnTo>
                    <a:pt x="195" y="567"/>
                  </a:lnTo>
                  <a:lnTo>
                    <a:pt x="193" y="569"/>
                  </a:lnTo>
                  <a:lnTo>
                    <a:pt x="193" y="569"/>
                  </a:lnTo>
                  <a:lnTo>
                    <a:pt x="191" y="571"/>
                  </a:lnTo>
                  <a:lnTo>
                    <a:pt x="191" y="571"/>
                  </a:lnTo>
                  <a:lnTo>
                    <a:pt x="191" y="571"/>
                  </a:lnTo>
                  <a:lnTo>
                    <a:pt x="191" y="574"/>
                  </a:lnTo>
                  <a:lnTo>
                    <a:pt x="191" y="574"/>
                  </a:lnTo>
                  <a:lnTo>
                    <a:pt x="188" y="574"/>
                  </a:lnTo>
                  <a:lnTo>
                    <a:pt x="188" y="576"/>
                  </a:lnTo>
                  <a:lnTo>
                    <a:pt x="188" y="576"/>
                  </a:lnTo>
                  <a:lnTo>
                    <a:pt x="188" y="576"/>
                  </a:lnTo>
                  <a:lnTo>
                    <a:pt x="188" y="576"/>
                  </a:lnTo>
                  <a:lnTo>
                    <a:pt x="188" y="576"/>
                  </a:lnTo>
                  <a:lnTo>
                    <a:pt x="186" y="576"/>
                  </a:lnTo>
                  <a:lnTo>
                    <a:pt x="186" y="578"/>
                  </a:lnTo>
                  <a:lnTo>
                    <a:pt x="186" y="578"/>
                  </a:lnTo>
                  <a:lnTo>
                    <a:pt x="186" y="578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4" y="580"/>
                  </a:lnTo>
                  <a:lnTo>
                    <a:pt x="182" y="580"/>
                  </a:lnTo>
                  <a:lnTo>
                    <a:pt x="182" y="582"/>
                  </a:lnTo>
                  <a:lnTo>
                    <a:pt x="182" y="582"/>
                  </a:lnTo>
                  <a:lnTo>
                    <a:pt x="182" y="582"/>
                  </a:lnTo>
                  <a:lnTo>
                    <a:pt x="182" y="582"/>
                  </a:lnTo>
                  <a:lnTo>
                    <a:pt x="182" y="582"/>
                  </a:lnTo>
                  <a:lnTo>
                    <a:pt x="182" y="582"/>
                  </a:lnTo>
                  <a:lnTo>
                    <a:pt x="182" y="582"/>
                  </a:lnTo>
                  <a:lnTo>
                    <a:pt x="179" y="585"/>
                  </a:lnTo>
                  <a:lnTo>
                    <a:pt x="179" y="585"/>
                  </a:lnTo>
                  <a:lnTo>
                    <a:pt x="179" y="585"/>
                  </a:lnTo>
                  <a:lnTo>
                    <a:pt x="179" y="585"/>
                  </a:lnTo>
                  <a:lnTo>
                    <a:pt x="177" y="585"/>
                  </a:lnTo>
                  <a:lnTo>
                    <a:pt x="177" y="585"/>
                  </a:lnTo>
                  <a:lnTo>
                    <a:pt x="177" y="585"/>
                  </a:lnTo>
                  <a:lnTo>
                    <a:pt x="177" y="587"/>
                  </a:lnTo>
                  <a:lnTo>
                    <a:pt x="177" y="587"/>
                  </a:lnTo>
                  <a:lnTo>
                    <a:pt x="177" y="587"/>
                  </a:lnTo>
                  <a:lnTo>
                    <a:pt x="175" y="587"/>
                  </a:lnTo>
                  <a:lnTo>
                    <a:pt x="175" y="587"/>
                  </a:lnTo>
                  <a:lnTo>
                    <a:pt x="175" y="587"/>
                  </a:lnTo>
                  <a:lnTo>
                    <a:pt x="175" y="587"/>
                  </a:lnTo>
                  <a:lnTo>
                    <a:pt x="175" y="587"/>
                  </a:lnTo>
                  <a:lnTo>
                    <a:pt x="175" y="587"/>
                  </a:lnTo>
                  <a:lnTo>
                    <a:pt x="175" y="587"/>
                  </a:lnTo>
                  <a:lnTo>
                    <a:pt x="173" y="589"/>
                  </a:lnTo>
                  <a:lnTo>
                    <a:pt x="173" y="589"/>
                  </a:lnTo>
                  <a:lnTo>
                    <a:pt x="173" y="589"/>
                  </a:lnTo>
                  <a:lnTo>
                    <a:pt x="173" y="589"/>
                  </a:lnTo>
                  <a:lnTo>
                    <a:pt x="173" y="589"/>
                  </a:lnTo>
                  <a:lnTo>
                    <a:pt x="173" y="589"/>
                  </a:lnTo>
                  <a:lnTo>
                    <a:pt x="170" y="587"/>
                  </a:lnTo>
                  <a:lnTo>
                    <a:pt x="168" y="589"/>
                  </a:lnTo>
                  <a:lnTo>
                    <a:pt x="168" y="589"/>
                  </a:lnTo>
                  <a:lnTo>
                    <a:pt x="166" y="589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6" y="591"/>
                  </a:lnTo>
                  <a:lnTo>
                    <a:pt x="164" y="591"/>
                  </a:lnTo>
                  <a:lnTo>
                    <a:pt x="164" y="591"/>
                  </a:lnTo>
                  <a:lnTo>
                    <a:pt x="164" y="589"/>
                  </a:lnTo>
                  <a:lnTo>
                    <a:pt x="164" y="589"/>
                  </a:lnTo>
                  <a:lnTo>
                    <a:pt x="164" y="587"/>
                  </a:lnTo>
                  <a:lnTo>
                    <a:pt x="164" y="587"/>
                  </a:lnTo>
                  <a:lnTo>
                    <a:pt x="164" y="587"/>
                  </a:lnTo>
                  <a:lnTo>
                    <a:pt x="164" y="587"/>
                  </a:lnTo>
                  <a:lnTo>
                    <a:pt x="164" y="587"/>
                  </a:lnTo>
                  <a:lnTo>
                    <a:pt x="161" y="587"/>
                  </a:lnTo>
                  <a:lnTo>
                    <a:pt x="159" y="587"/>
                  </a:lnTo>
                  <a:lnTo>
                    <a:pt x="159" y="589"/>
                  </a:lnTo>
                  <a:lnTo>
                    <a:pt x="159" y="589"/>
                  </a:lnTo>
                  <a:lnTo>
                    <a:pt x="159" y="589"/>
                  </a:lnTo>
                  <a:lnTo>
                    <a:pt x="159" y="587"/>
                  </a:lnTo>
                  <a:lnTo>
                    <a:pt x="159" y="587"/>
                  </a:lnTo>
                  <a:lnTo>
                    <a:pt x="157" y="587"/>
                  </a:lnTo>
                  <a:lnTo>
                    <a:pt x="157" y="587"/>
                  </a:lnTo>
                  <a:lnTo>
                    <a:pt x="155" y="587"/>
                  </a:lnTo>
                  <a:lnTo>
                    <a:pt x="155" y="587"/>
                  </a:lnTo>
                  <a:lnTo>
                    <a:pt x="155" y="589"/>
                  </a:lnTo>
                  <a:lnTo>
                    <a:pt x="155" y="589"/>
                  </a:lnTo>
                  <a:lnTo>
                    <a:pt x="155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2" y="589"/>
                  </a:lnTo>
                  <a:lnTo>
                    <a:pt x="150" y="589"/>
                  </a:lnTo>
                  <a:lnTo>
                    <a:pt x="150" y="589"/>
                  </a:lnTo>
                  <a:lnTo>
                    <a:pt x="148" y="589"/>
                  </a:lnTo>
                  <a:lnTo>
                    <a:pt x="148" y="589"/>
                  </a:lnTo>
                  <a:lnTo>
                    <a:pt x="148" y="589"/>
                  </a:lnTo>
                  <a:lnTo>
                    <a:pt x="148" y="589"/>
                  </a:lnTo>
                  <a:lnTo>
                    <a:pt x="148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6" y="591"/>
                  </a:lnTo>
                  <a:lnTo>
                    <a:pt x="143" y="591"/>
                  </a:lnTo>
                  <a:lnTo>
                    <a:pt x="143" y="591"/>
                  </a:lnTo>
                  <a:lnTo>
                    <a:pt x="143" y="591"/>
                  </a:lnTo>
                  <a:lnTo>
                    <a:pt x="143" y="589"/>
                  </a:lnTo>
                  <a:lnTo>
                    <a:pt x="143" y="589"/>
                  </a:lnTo>
                  <a:lnTo>
                    <a:pt x="143" y="589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3" y="587"/>
                  </a:lnTo>
                  <a:lnTo>
                    <a:pt x="141" y="587"/>
                  </a:lnTo>
                  <a:lnTo>
                    <a:pt x="141" y="587"/>
                  </a:lnTo>
                  <a:lnTo>
                    <a:pt x="141" y="587"/>
                  </a:lnTo>
                  <a:lnTo>
                    <a:pt x="139" y="587"/>
                  </a:lnTo>
                  <a:lnTo>
                    <a:pt x="139" y="587"/>
                  </a:lnTo>
                  <a:lnTo>
                    <a:pt x="139" y="587"/>
                  </a:lnTo>
                  <a:lnTo>
                    <a:pt x="139" y="587"/>
                  </a:lnTo>
                  <a:lnTo>
                    <a:pt x="139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7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4" y="587"/>
                  </a:lnTo>
                  <a:lnTo>
                    <a:pt x="132" y="587"/>
                  </a:lnTo>
                  <a:lnTo>
                    <a:pt x="130" y="587"/>
                  </a:lnTo>
                  <a:lnTo>
                    <a:pt x="130" y="587"/>
                  </a:lnTo>
                  <a:lnTo>
                    <a:pt x="128" y="587"/>
                  </a:lnTo>
                  <a:lnTo>
                    <a:pt x="128" y="587"/>
                  </a:lnTo>
                  <a:lnTo>
                    <a:pt x="128" y="587"/>
                  </a:lnTo>
                  <a:lnTo>
                    <a:pt x="125" y="587"/>
                  </a:lnTo>
                  <a:lnTo>
                    <a:pt x="125" y="587"/>
                  </a:lnTo>
                  <a:lnTo>
                    <a:pt x="125" y="587"/>
                  </a:lnTo>
                  <a:lnTo>
                    <a:pt x="125" y="587"/>
                  </a:lnTo>
                  <a:lnTo>
                    <a:pt x="125" y="587"/>
                  </a:lnTo>
                  <a:lnTo>
                    <a:pt x="125" y="587"/>
                  </a:lnTo>
                  <a:lnTo>
                    <a:pt x="125" y="587"/>
                  </a:lnTo>
                  <a:lnTo>
                    <a:pt x="123" y="587"/>
                  </a:lnTo>
                  <a:lnTo>
                    <a:pt x="123" y="587"/>
                  </a:lnTo>
                  <a:lnTo>
                    <a:pt x="123" y="587"/>
                  </a:lnTo>
                  <a:lnTo>
                    <a:pt x="123" y="587"/>
                  </a:lnTo>
                  <a:lnTo>
                    <a:pt x="123" y="587"/>
                  </a:lnTo>
                  <a:lnTo>
                    <a:pt x="121" y="587"/>
                  </a:lnTo>
                  <a:lnTo>
                    <a:pt x="121" y="587"/>
                  </a:lnTo>
                  <a:lnTo>
                    <a:pt x="121" y="587"/>
                  </a:lnTo>
                  <a:lnTo>
                    <a:pt x="119" y="587"/>
                  </a:lnTo>
                  <a:lnTo>
                    <a:pt x="119" y="587"/>
                  </a:lnTo>
                  <a:lnTo>
                    <a:pt x="119" y="587"/>
                  </a:lnTo>
                  <a:lnTo>
                    <a:pt x="119" y="587"/>
                  </a:lnTo>
                  <a:lnTo>
                    <a:pt x="119" y="587"/>
                  </a:lnTo>
                  <a:lnTo>
                    <a:pt x="114" y="587"/>
                  </a:lnTo>
                  <a:lnTo>
                    <a:pt x="114" y="587"/>
                  </a:lnTo>
                  <a:lnTo>
                    <a:pt x="114" y="587"/>
                  </a:lnTo>
                  <a:lnTo>
                    <a:pt x="114" y="589"/>
                  </a:lnTo>
                  <a:lnTo>
                    <a:pt x="114" y="589"/>
                  </a:lnTo>
                  <a:lnTo>
                    <a:pt x="114" y="589"/>
                  </a:lnTo>
                  <a:lnTo>
                    <a:pt x="114" y="589"/>
                  </a:lnTo>
                  <a:lnTo>
                    <a:pt x="112" y="589"/>
                  </a:lnTo>
                  <a:lnTo>
                    <a:pt x="110" y="589"/>
                  </a:lnTo>
                  <a:lnTo>
                    <a:pt x="110" y="589"/>
                  </a:lnTo>
                  <a:lnTo>
                    <a:pt x="110" y="589"/>
                  </a:lnTo>
                  <a:lnTo>
                    <a:pt x="107" y="589"/>
                  </a:lnTo>
                  <a:lnTo>
                    <a:pt x="105" y="589"/>
                  </a:lnTo>
                  <a:lnTo>
                    <a:pt x="105" y="589"/>
                  </a:lnTo>
                  <a:lnTo>
                    <a:pt x="105" y="589"/>
                  </a:lnTo>
                  <a:lnTo>
                    <a:pt x="105" y="589"/>
                  </a:lnTo>
                  <a:lnTo>
                    <a:pt x="103" y="589"/>
                  </a:lnTo>
                  <a:lnTo>
                    <a:pt x="103" y="589"/>
                  </a:lnTo>
                  <a:lnTo>
                    <a:pt x="103" y="589"/>
                  </a:lnTo>
                  <a:lnTo>
                    <a:pt x="103" y="589"/>
                  </a:lnTo>
                  <a:lnTo>
                    <a:pt x="103" y="589"/>
                  </a:lnTo>
                  <a:lnTo>
                    <a:pt x="103" y="589"/>
                  </a:lnTo>
                  <a:lnTo>
                    <a:pt x="101" y="589"/>
                  </a:lnTo>
                  <a:lnTo>
                    <a:pt x="101" y="589"/>
                  </a:lnTo>
                  <a:lnTo>
                    <a:pt x="101" y="589"/>
                  </a:lnTo>
                  <a:lnTo>
                    <a:pt x="101" y="589"/>
                  </a:lnTo>
                  <a:lnTo>
                    <a:pt x="99" y="589"/>
                  </a:lnTo>
                  <a:lnTo>
                    <a:pt x="99" y="589"/>
                  </a:lnTo>
                  <a:lnTo>
                    <a:pt x="99" y="591"/>
                  </a:lnTo>
                  <a:lnTo>
                    <a:pt x="96" y="591"/>
                  </a:lnTo>
                  <a:lnTo>
                    <a:pt x="96" y="591"/>
                  </a:lnTo>
                  <a:lnTo>
                    <a:pt x="94" y="591"/>
                  </a:lnTo>
                  <a:lnTo>
                    <a:pt x="94" y="594"/>
                  </a:lnTo>
                  <a:lnTo>
                    <a:pt x="94" y="594"/>
                  </a:lnTo>
                  <a:lnTo>
                    <a:pt x="94" y="594"/>
                  </a:lnTo>
                  <a:lnTo>
                    <a:pt x="92" y="594"/>
                  </a:lnTo>
                  <a:lnTo>
                    <a:pt x="92" y="594"/>
                  </a:lnTo>
                  <a:lnTo>
                    <a:pt x="92" y="594"/>
                  </a:lnTo>
                  <a:lnTo>
                    <a:pt x="92" y="596"/>
                  </a:lnTo>
                  <a:lnTo>
                    <a:pt x="90" y="596"/>
                  </a:lnTo>
                  <a:lnTo>
                    <a:pt x="90" y="596"/>
                  </a:lnTo>
                  <a:lnTo>
                    <a:pt x="90" y="596"/>
                  </a:lnTo>
                  <a:lnTo>
                    <a:pt x="90" y="598"/>
                  </a:lnTo>
                  <a:lnTo>
                    <a:pt x="87" y="598"/>
                  </a:lnTo>
                  <a:lnTo>
                    <a:pt x="87" y="598"/>
                  </a:lnTo>
                  <a:lnTo>
                    <a:pt x="87" y="598"/>
                  </a:lnTo>
                  <a:lnTo>
                    <a:pt x="90" y="598"/>
                  </a:lnTo>
                  <a:lnTo>
                    <a:pt x="90" y="600"/>
                  </a:lnTo>
                  <a:lnTo>
                    <a:pt x="90" y="600"/>
                  </a:lnTo>
                  <a:lnTo>
                    <a:pt x="90" y="600"/>
                  </a:lnTo>
                  <a:lnTo>
                    <a:pt x="90" y="600"/>
                  </a:lnTo>
                  <a:lnTo>
                    <a:pt x="87" y="600"/>
                  </a:lnTo>
                  <a:lnTo>
                    <a:pt x="87" y="600"/>
                  </a:lnTo>
                  <a:lnTo>
                    <a:pt x="87" y="600"/>
                  </a:lnTo>
                  <a:lnTo>
                    <a:pt x="87" y="600"/>
                  </a:lnTo>
                  <a:lnTo>
                    <a:pt x="85" y="600"/>
                  </a:lnTo>
                  <a:lnTo>
                    <a:pt x="85" y="600"/>
                  </a:lnTo>
                  <a:lnTo>
                    <a:pt x="85" y="600"/>
                  </a:lnTo>
                  <a:lnTo>
                    <a:pt x="85" y="600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3"/>
                  </a:lnTo>
                  <a:lnTo>
                    <a:pt x="85" y="600"/>
                  </a:lnTo>
                  <a:lnTo>
                    <a:pt x="85" y="600"/>
                  </a:lnTo>
                  <a:lnTo>
                    <a:pt x="83" y="600"/>
                  </a:lnTo>
                  <a:lnTo>
                    <a:pt x="83" y="600"/>
                  </a:lnTo>
                  <a:lnTo>
                    <a:pt x="83" y="600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76" y="600"/>
                  </a:lnTo>
                  <a:lnTo>
                    <a:pt x="76" y="600"/>
                  </a:lnTo>
                  <a:lnTo>
                    <a:pt x="76" y="600"/>
                  </a:lnTo>
                  <a:lnTo>
                    <a:pt x="76" y="600"/>
                  </a:lnTo>
                  <a:lnTo>
                    <a:pt x="74" y="600"/>
                  </a:lnTo>
                  <a:lnTo>
                    <a:pt x="74" y="600"/>
                  </a:lnTo>
                  <a:lnTo>
                    <a:pt x="76" y="603"/>
                  </a:lnTo>
                  <a:lnTo>
                    <a:pt x="76" y="603"/>
                  </a:lnTo>
                  <a:lnTo>
                    <a:pt x="74" y="603"/>
                  </a:lnTo>
                  <a:lnTo>
                    <a:pt x="74" y="603"/>
                  </a:lnTo>
                  <a:lnTo>
                    <a:pt x="74" y="603"/>
                  </a:lnTo>
                  <a:lnTo>
                    <a:pt x="72" y="603"/>
                  </a:lnTo>
                  <a:lnTo>
                    <a:pt x="72" y="603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72" y="605"/>
                  </a:lnTo>
                  <a:lnTo>
                    <a:pt x="69" y="605"/>
                  </a:lnTo>
                  <a:lnTo>
                    <a:pt x="69" y="607"/>
                  </a:lnTo>
                  <a:lnTo>
                    <a:pt x="69" y="607"/>
                  </a:lnTo>
                  <a:lnTo>
                    <a:pt x="67" y="607"/>
                  </a:lnTo>
                  <a:lnTo>
                    <a:pt x="65" y="607"/>
                  </a:lnTo>
                  <a:lnTo>
                    <a:pt x="65" y="607"/>
                  </a:lnTo>
                  <a:lnTo>
                    <a:pt x="65" y="607"/>
                  </a:lnTo>
                  <a:lnTo>
                    <a:pt x="63" y="609"/>
                  </a:lnTo>
                  <a:lnTo>
                    <a:pt x="63" y="609"/>
                  </a:lnTo>
                  <a:lnTo>
                    <a:pt x="63" y="609"/>
                  </a:lnTo>
                  <a:lnTo>
                    <a:pt x="63" y="609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3" y="612"/>
                  </a:lnTo>
                  <a:lnTo>
                    <a:pt x="60" y="612"/>
                  </a:lnTo>
                  <a:lnTo>
                    <a:pt x="60" y="612"/>
                  </a:lnTo>
                  <a:lnTo>
                    <a:pt x="58" y="612"/>
                  </a:lnTo>
                  <a:lnTo>
                    <a:pt x="58" y="612"/>
                  </a:lnTo>
                  <a:lnTo>
                    <a:pt x="58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6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4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51" y="614"/>
                  </a:lnTo>
                  <a:lnTo>
                    <a:pt x="49" y="614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51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9" y="616"/>
                  </a:lnTo>
                  <a:lnTo>
                    <a:pt x="47" y="616"/>
                  </a:lnTo>
                  <a:lnTo>
                    <a:pt x="47" y="616"/>
                  </a:lnTo>
                  <a:lnTo>
                    <a:pt x="45" y="616"/>
                  </a:lnTo>
                  <a:lnTo>
                    <a:pt x="45" y="616"/>
                  </a:lnTo>
                  <a:lnTo>
                    <a:pt x="45" y="616"/>
                  </a:lnTo>
                  <a:lnTo>
                    <a:pt x="45" y="616"/>
                  </a:lnTo>
                  <a:lnTo>
                    <a:pt x="45" y="618"/>
                  </a:lnTo>
                  <a:lnTo>
                    <a:pt x="42" y="618"/>
                  </a:lnTo>
                  <a:lnTo>
                    <a:pt x="42" y="616"/>
                  </a:lnTo>
                  <a:lnTo>
                    <a:pt x="42" y="616"/>
                  </a:lnTo>
                  <a:lnTo>
                    <a:pt x="42" y="616"/>
                  </a:lnTo>
                  <a:lnTo>
                    <a:pt x="40" y="616"/>
                  </a:lnTo>
                  <a:lnTo>
                    <a:pt x="40" y="616"/>
                  </a:lnTo>
                  <a:lnTo>
                    <a:pt x="40" y="616"/>
                  </a:lnTo>
                  <a:lnTo>
                    <a:pt x="40" y="614"/>
                  </a:lnTo>
                  <a:lnTo>
                    <a:pt x="40" y="614"/>
                  </a:lnTo>
                  <a:lnTo>
                    <a:pt x="40" y="614"/>
                  </a:lnTo>
                  <a:lnTo>
                    <a:pt x="38" y="616"/>
                  </a:lnTo>
                  <a:lnTo>
                    <a:pt x="38" y="616"/>
                  </a:lnTo>
                  <a:lnTo>
                    <a:pt x="38" y="614"/>
                  </a:lnTo>
                  <a:lnTo>
                    <a:pt x="38" y="614"/>
                  </a:lnTo>
                  <a:lnTo>
                    <a:pt x="38" y="614"/>
                  </a:lnTo>
                  <a:lnTo>
                    <a:pt x="38" y="614"/>
                  </a:lnTo>
                  <a:lnTo>
                    <a:pt x="38" y="614"/>
                  </a:lnTo>
                  <a:lnTo>
                    <a:pt x="38" y="614"/>
                  </a:lnTo>
                  <a:lnTo>
                    <a:pt x="36" y="614"/>
                  </a:lnTo>
                  <a:lnTo>
                    <a:pt x="36" y="614"/>
                  </a:lnTo>
                  <a:lnTo>
                    <a:pt x="36" y="614"/>
                  </a:lnTo>
                  <a:lnTo>
                    <a:pt x="36" y="616"/>
                  </a:lnTo>
                  <a:lnTo>
                    <a:pt x="36" y="616"/>
                  </a:lnTo>
                  <a:lnTo>
                    <a:pt x="36" y="616"/>
                  </a:lnTo>
                  <a:lnTo>
                    <a:pt x="36" y="616"/>
                  </a:lnTo>
                  <a:lnTo>
                    <a:pt x="33" y="616"/>
                  </a:lnTo>
                  <a:lnTo>
                    <a:pt x="33" y="616"/>
                  </a:lnTo>
                  <a:lnTo>
                    <a:pt x="33" y="614"/>
                  </a:lnTo>
                  <a:lnTo>
                    <a:pt x="33" y="614"/>
                  </a:lnTo>
                  <a:lnTo>
                    <a:pt x="33" y="614"/>
                  </a:lnTo>
                  <a:lnTo>
                    <a:pt x="33" y="616"/>
                  </a:lnTo>
                  <a:lnTo>
                    <a:pt x="33" y="616"/>
                  </a:lnTo>
                  <a:lnTo>
                    <a:pt x="33" y="614"/>
                  </a:lnTo>
                  <a:lnTo>
                    <a:pt x="33" y="614"/>
                  </a:lnTo>
                  <a:lnTo>
                    <a:pt x="31" y="614"/>
                  </a:lnTo>
                  <a:lnTo>
                    <a:pt x="31" y="614"/>
                  </a:lnTo>
                  <a:lnTo>
                    <a:pt x="31" y="614"/>
                  </a:lnTo>
                  <a:lnTo>
                    <a:pt x="31" y="616"/>
                  </a:lnTo>
                  <a:lnTo>
                    <a:pt x="31" y="616"/>
                  </a:lnTo>
                  <a:lnTo>
                    <a:pt x="29" y="616"/>
                  </a:lnTo>
                  <a:lnTo>
                    <a:pt x="29" y="616"/>
                  </a:lnTo>
                  <a:lnTo>
                    <a:pt x="29" y="616"/>
                  </a:lnTo>
                  <a:lnTo>
                    <a:pt x="29" y="614"/>
                  </a:lnTo>
                  <a:lnTo>
                    <a:pt x="27" y="614"/>
                  </a:lnTo>
                  <a:lnTo>
                    <a:pt x="27" y="614"/>
                  </a:lnTo>
                  <a:lnTo>
                    <a:pt x="27" y="614"/>
                  </a:lnTo>
                  <a:lnTo>
                    <a:pt x="27" y="614"/>
                  </a:lnTo>
                  <a:lnTo>
                    <a:pt x="27" y="614"/>
                  </a:lnTo>
                  <a:lnTo>
                    <a:pt x="27" y="616"/>
                  </a:lnTo>
                  <a:lnTo>
                    <a:pt x="27" y="616"/>
                  </a:lnTo>
                  <a:lnTo>
                    <a:pt x="24" y="616"/>
                  </a:lnTo>
                  <a:lnTo>
                    <a:pt x="24" y="616"/>
                  </a:lnTo>
                  <a:lnTo>
                    <a:pt x="24" y="616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2"/>
                  </a:lnTo>
                  <a:lnTo>
                    <a:pt x="24" y="612"/>
                  </a:lnTo>
                  <a:lnTo>
                    <a:pt x="24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2" y="612"/>
                  </a:lnTo>
                  <a:lnTo>
                    <a:pt x="20" y="612"/>
                  </a:lnTo>
                  <a:lnTo>
                    <a:pt x="20" y="612"/>
                  </a:lnTo>
                  <a:lnTo>
                    <a:pt x="20" y="612"/>
                  </a:lnTo>
                  <a:lnTo>
                    <a:pt x="15" y="609"/>
                  </a:lnTo>
                  <a:lnTo>
                    <a:pt x="15" y="609"/>
                  </a:lnTo>
                  <a:lnTo>
                    <a:pt x="15" y="609"/>
                  </a:lnTo>
                  <a:lnTo>
                    <a:pt x="15" y="609"/>
                  </a:lnTo>
                  <a:lnTo>
                    <a:pt x="13" y="609"/>
                  </a:lnTo>
                  <a:lnTo>
                    <a:pt x="13" y="609"/>
                  </a:lnTo>
                  <a:lnTo>
                    <a:pt x="13" y="609"/>
                  </a:lnTo>
                  <a:lnTo>
                    <a:pt x="15" y="609"/>
                  </a:lnTo>
                  <a:lnTo>
                    <a:pt x="15" y="609"/>
                  </a:lnTo>
                  <a:lnTo>
                    <a:pt x="13" y="609"/>
                  </a:lnTo>
                  <a:lnTo>
                    <a:pt x="15" y="607"/>
                  </a:lnTo>
                  <a:lnTo>
                    <a:pt x="13" y="607"/>
                  </a:lnTo>
                  <a:lnTo>
                    <a:pt x="13" y="607"/>
                  </a:lnTo>
                  <a:lnTo>
                    <a:pt x="13" y="603"/>
                  </a:lnTo>
                  <a:lnTo>
                    <a:pt x="11" y="600"/>
                  </a:lnTo>
                  <a:lnTo>
                    <a:pt x="11" y="600"/>
                  </a:lnTo>
                  <a:lnTo>
                    <a:pt x="9" y="600"/>
                  </a:lnTo>
                  <a:lnTo>
                    <a:pt x="9" y="600"/>
                  </a:lnTo>
                  <a:lnTo>
                    <a:pt x="9" y="600"/>
                  </a:lnTo>
                  <a:lnTo>
                    <a:pt x="9" y="600"/>
                  </a:lnTo>
                  <a:lnTo>
                    <a:pt x="9" y="600"/>
                  </a:lnTo>
                  <a:lnTo>
                    <a:pt x="9" y="600"/>
                  </a:lnTo>
                  <a:lnTo>
                    <a:pt x="9" y="600"/>
                  </a:lnTo>
                  <a:lnTo>
                    <a:pt x="6" y="598"/>
                  </a:lnTo>
                  <a:lnTo>
                    <a:pt x="6" y="598"/>
                  </a:lnTo>
                  <a:lnTo>
                    <a:pt x="4" y="598"/>
                  </a:lnTo>
                  <a:lnTo>
                    <a:pt x="4" y="598"/>
                  </a:lnTo>
                  <a:lnTo>
                    <a:pt x="2" y="598"/>
                  </a:lnTo>
                  <a:lnTo>
                    <a:pt x="2" y="598"/>
                  </a:lnTo>
                  <a:lnTo>
                    <a:pt x="2" y="598"/>
                  </a:lnTo>
                  <a:lnTo>
                    <a:pt x="2" y="598"/>
                  </a:lnTo>
                  <a:lnTo>
                    <a:pt x="0" y="596"/>
                  </a:lnTo>
                  <a:lnTo>
                    <a:pt x="0" y="596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4"/>
                  </a:lnTo>
                  <a:lnTo>
                    <a:pt x="2" y="594"/>
                  </a:lnTo>
                  <a:lnTo>
                    <a:pt x="2" y="591"/>
                  </a:lnTo>
                  <a:lnTo>
                    <a:pt x="2" y="591"/>
                  </a:lnTo>
                  <a:lnTo>
                    <a:pt x="2" y="589"/>
                  </a:lnTo>
                  <a:lnTo>
                    <a:pt x="2" y="587"/>
                  </a:lnTo>
                  <a:lnTo>
                    <a:pt x="2" y="587"/>
                  </a:lnTo>
                  <a:lnTo>
                    <a:pt x="4" y="587"/>
                  </a:lnTo>
                  <a:lnTo>
                    <a:pt x="4" y="585"/>
                  </a:lnTo>
                  <a:lnTo>
                    <a:pt x="4" y="585"/>
                  </a:lnTo>
                  <a:lnTo>
                    <a:pt x="4" y="585"/>
                  </a:lnTo>
                  <a:lnTo>
                    <a:pt x="4" y="585"/>
                  </a:lnTo>
                  <a:lnTo>
                    <a:pt x="4" y="582"/>
                  </a:lnTo>
                  <a:lnTo>
                    <a:pt x="4" y="582"/>
                  </a:lnTo>
                  <a:lnTo>
                    <a:pt x="6" y="582"/>
                  </a:lnTo>
                  <a:lnTo>
                    <a:pt x="6" y="582"/>
                  </a:lnTo>
                  <a:lnTo>
                    <a:pt x="6" y="580"/>
                  </a:lnTo>
                  <a:lnTo>
                    <a:pt x="6" y="580"/>
                  </a:lnTo>
                  <a:lnTo>
                    <a:pt x="6" y="580"/>
                  </a:lnTo>
                  <a:lnTo>
                    <a:pt x="6" y="580"/>
                  </a:lnTo>
                  <a:lnTo>
                    <a:pt x="6" y="580"/>
                  </a:lnTo>
                  <a:lnTo>
                    <a:pt x="9" y="580"/>
                  </a:lnTo>
                  <a:lnTo>
                    <a:pt x="9" y="580"/>
                  </a:lnTo>
                  <a:lnTo>
                    <a:pt x="9" y="582"/>
                  </a:lnTo>
                  <a:lnTo>
                    <a:pt x="9" y="582"/>
                  </a:lnTo>
                  <a:lnTo>
                    <a:pt x="9" y="582"/>
                  </a:lnTo>
                  <a:lnTo>
                    <a:pt x="11" y="582"/>
                  </a:lnTo>
                  <a:lnTo>
                    <a:pt x="11" y="582"/>
                  </a:lnTo>
                  <a:lnTo>
                    <a:pt x="11" y="582"/>
                  </a:lnTo>
                  <a:lnTo>
                    <a:pt x="13" y="582"/>
                  </a:lnTo>
                  <a:lnTo>
                    <a:pt x="13" y="582"/>
                  </a:lnTo>
                  <a:lnTo>
                    <a:pt x="15" y="580"/>
                  </a:lnTo>
                  <a:lnTo>
                    <a:pt x="18" y="578"/>
                  </a:lnTo>
                  <a:lnTo>
                    <a:pt x="20" y="578"/>
                  </a:lnTo>
                  <a:lnTo>
                    <a:pt x="20" y="576"/>
                  </a:lnTo>
                  <a:lnTo>
                    <a:pt x="20" y="574"/>
                  </a:lnTo>
                  <a:lnTo>
                    <a:pt x="20" y="574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4" y="571"/>
                  </a:lnTo>
                  <a:lnTo>
                    <a:pt x="24" y="571"/>
                  </a:lnTo>
                  <a:lnTo>
                    <a:pt x="24" y="571"/>
                  </a:lnTo>
                  <a:lnTo>
                    <a:pt x="22" y="571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2" y="574"/>
                  </a:lnTo>
                  <a:lnTo>
                    <a:pt x="24" y="569"/>
                  </a:lnTo>
                  <a:lnTo>
                    <a:pt x="24" y="567"/>
                  </a:lnTo>
                  <a:lnTo>
                    <a:pt x="24" y="565"/>
                  </a:lnTo>
                  <a:lnTo>
                    <a:pt x="24" y="562"/>
                  </a:lnTo>
                  <a:lnTo>
                    <a:pt x="27" y="560"/>
                  </a:lnTo>
                  <a:lnTo>
                    <a:pt x="27" y="560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7" y="560"/>
                  </a:lnTo>
                  <a:lnTo>
                    <a:pt x="27" y="562"/>
                  </a:lnTo>
                  <a:lnTo>
                    <a:pt x="27" y="562"/>
                  </a:lnTo>
                  <a:lnTo>
                    <a:pt x="27" y="560"/>
                  </a:lnTo>
                  <a:lnTo>
                    <a:pt x="27" y="560"/>
                  </a:lnTo>
                  <a:lnTo>
                    <a:pt x="27" y="560"/>
                  </a:lnTo>
                  <a:lnTo>
                    <a:pt x="27" y="560"/>
                  </a:lnTo>
                  <a:lnTo>
                    <a:pt x="27" y="560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7" y="558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58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29" y="556"/>
                  </a:lnTo>
                  <a:lnTo>
                    <a:pt x="31" y="556"/>
                  </a:lnTo>
                  <a:lnTo>
                    <a:pt x="31" y="553"/>
                  </a:lnTo>
                  <a:lnTo>
                    <a:pt x="31" y="553"/>
                  </a:lnTo>
                  <a:lnTo>
                    <a:pt x="31" y="553"/>
                  </a:lnTo>
                  <a:lnTo>
                    <a:pt x="31" y="551"/>
                  </a:lnTo>
                  <a:lnTo>
                    <a:pt x="31" y="551"/>
                  </a:lnTo>
                  <a:lnTo>
                    <a:pt x="31" y="551"/>
                  </a:lnTo>
                  <a:lnTo>
                    <a:pt x="31" y="551"/>
                  </a:lnTo>
                  <a:lnTo>
                    <a:pt x="31" y="551"/>
                  </a:lnTo>
                  <a:lnTo>
                    <a:pt x="31" y="549"/>
                  </a:lnTo>
                  <a:lnTo>
                    <a:pt x="31" y="549"/>
                  </a:lnTo>
                  <a:lnTo>
                    <a:pt x="31" y="549"/>
                  </a:lnTo>
                  <a:lnTo>
                    <a:pt x="31" y="549"/>
                  </a:lnTo>
                  <a:lnTo>
                    <a:pt x="33" y="549"/>
                  </a:lnTo>
                  <a:lnTo>
                    <a:pt x="33" y="549"/>
                  </a:lnTo>
                  <a:lnTo>
                    <a:pt x="33" y="547"/>
                  </a:lnTo>
                  <a:lnTo>
                    <a:pt x="33" y="547"/>
                  </a:lnTo>
                  <a:lnTo>
                    <a:pt x="33" y="547"/>
                  </a:lnTo>
                  <a:lnTo>
                    <a:pt x="33" y="547"/>
                  </a:lnTo>
                  <a:lnTo>
                    <a:pt x="33" y="547"/>
                  </a:lnTo>
                  <a:lnTo>
                    <a:pt x="33" y="547"/>
                  </a:lnTo>
                  <a:lnTo>
                    <a:pt x="33" y="544"/>
                  </a:lnTo>
                  <a:lnTo>
                    <a:pt x="33" y="544"/>
                  </a:lnTo>
                  <a:lnTo>
                    <a:pt x="33" y="544"/>
                  </a:lnTo>
                  <a:lnTo>
                    <a:pt x="33" y="544"/>
                  </a:lnTo>
                  <a:lnTo>
                    <a:pt x="36" y="542"/>
                  </a:lnTo>
                  <a:lnTo>
                    <a:pt x="36" y="538"/>
                  </a:lnTo>
                  <a:lnTo>
                    <a:pt x="36" y="535"/>
                  </a:lnTo>
                  <a:lnTo>
                    <a:pt x="36" y="535"/>
                  </a:lnTo>
                  <a:lnTo>
                    <a:pt x="36" y="533"/>
                  </a:lnTo>
                  <a:lnTo>
                    <a:pt x="36" y="529"/>
                  </a:lnTo>
                  <a:lnTo>
                    <a:pt x="33" y="526"/>
                  </a:lnTo>
                  <a:lnTo>
                    <a:pt x="33" y="522"/>
                  </a:lnTo>
                  <a:lnTo>
                    <a:pt x="33" y="520"/>
                  </a:lnTo>
                  <a:lnTo>
                    <a:pt x="33" y="517"/>
                  </a:lnTo>
                  <a:lnTo>
                    <a:pt x="33" y="515"/>
                  </a:lnTo>
                  <a:lnTo>
                    <a:pt x="33" y="513"/>
                  </a:lnTo>
                  <a:lnTo>
                    <a:pt x="33" y="513"/>
                  </a:lnTo>
                  <a:lnTo>
                    <a:pt x="33" y="513"/>
                  </a:lnTo>
                  <a:lnTo>
                    <a:pt x="33" y="511"/>
                  </a:lnTo>
                  <a:lnTo>
                    <a:pt x="33" y="511"/>
                  </a:lnTo>
                  <a:lnTo>
                    <a:pt x="33" y="511"/>
                  </a:lnTo>
                  <a:lnTo>
                    <a:pt x="33" y="508"/>
                  </a:lnTo>
                  <a:lnTo>
                    <a:pt x="33" y="508"/>
                  </a:lnTo>
                  <a:lnTo>
                    <a:pt x="33" y="506"/>
                  </a:lnTo>
                  <a:lnTo>
                    <a:pt x="33" y="506"/>
                  </a:lnTo>
                  <a:lnTo>
                    <a:pt x="33" y="504"/>
                  </a:lnTo>
                  <a:lnTo>
                    <a:pt x="33" y="504"/>
                  </a:lnTo>
                  <a:lnTo>
                    <a:pt x="33" y="504"/>
                  </a:lnTo>
                  <a:lnTo>
                    <a:pt x="33" y="504"/>
                  </a:lnTo>
                  <a:lnTo>
                    <a:pt x="33" y="504"/>
                  </a:lnTo>
                  <a:lnTo>
                    <a:pt x="33" y="504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502"/>
                  </a:lnTo>
                  <a:lnTo>
                    <a:pt x="33" y="499"/>
                  </a:lnTo>
                  <a:lnTo>
                    <a:pt x="33" y="499"/>
                  </a:lnTo>
                  <a:lnTo>
                    <a:pt x="33" y="499"/>
                  </a:lnTo>
                  <a:lnTo>
                    <a:pt x="33" y="499"/>
                  </a:lnTo>
                  <a:lnTo>
                    <a:pt x="33" y="499"/>
                  </a:lnTo>
                  <a:lnTo>
                    <a:pt x="33" y="497"/>
                  </a:lnTo>
                  <a:lnTo>
                    <a:pt x="33" y="497"/>
                  </a:lnTo>
                  <a:lnTo>
                    <a:pt x="33" y="497"/>
                  </a:lnTo>
                  <a:lnTo>
                    <a:pt x="33" y="497"/>
                  </a:lnTo>
                  <a:lnTo>
                    <a:pt x="33" y="497"/>
                  </a:lnTo>
                  <a:lnTo>
                    <a:pt x="33" y="497"/>
                  </a:lnTo>
                  <a:lnTo>
                    <a:pt x="36" y="493"/>
                  </a:lnTo>
                  <a:lnTo>
                    <a:pt x="36" y="493"/>
                  </a:lnTo>
                  <a:lnTo>
                    <a:pt x="36" y="493"/>
                  </a:lnTo>
                  <a:lnTo>
                    <a:pt x="36" y="490"/>
                  </a:lnTo>
                  <a:lnTo>
                    <a:pt x="36" y="488"/>
                  </a:lnTo>
                  <a:lnTo>
                    <a:pt x="36" y="488"/>
                  </a:lnTo>
                  <a:lnTo>
                    <a:pt x="38" y="486"/>
                  </a:lnTo>
                  <a:lnTo>
                    <a:pt x="38" y="484"/>
                  </a:lnTo>
                  <a:lnTo>
                    <a:pt x="38" y="484"/>
                  </a:lnTo>
                  <a:lnTo>
                    <a:pt x="38" y="484"/>
                  </a:lnTo>
                  <a:lnTo>
                    <a:pt x="38" y="481"/>
                  </a:lnTo>
                  <a:lnTo>
                    <a:pt x="38" y="481"/>
                  </a:lnTo>
                  <a:lnTo>
                    <a:pt x="38" y="479"/>
                  </a:lnTo>
                  <a:lnTo>
                    <a:pt x="38" y="479"/>
                  </a:lnTo>
                  <a:lnTo>
                    <a:pt x="38" y="479"/>
                  </a:lnTo>
                  <a:lnTo>
                    <a:pt x="38" y="479"/>
                  </a:lnTo>
                  <a:lnTo>
                    <a:pt x="38" y="477"/>
                  </a:lnTo>
                  <a:lnTo>
                    <a:pt x="38" y="475"/>
                  </a:lnTo>
                  <a:lnTo>
                    <a:pt x="38" y="475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8"/>
                  </a:lnTo>
                  <a:lnTo>
                    <a:pt x="36" y="468"/>
                  </a:lnTo>
                  <a:lnTo>
                    <a:pt x="36" y="466"/>
                  </a:lnTo>
                  <a:lnTo>
                    <a:pt x="36" y="466"/>
                  </a:lnTo>
                  <a:lnTo>
                    <a:pt x="36" y="466"/>
                  </a:lnTo>
                  <a:lnTo>
                    <a:pt x="36" y="463"/>
                  </a:lnTo>
                  <a:lnTo>
                    <a:pt x="36" y="463"/>
                  </a:lnTo>
                  <a:lnTo>
                    <a:pt x="36" y="461"/>
                  </a:lnTo>
                  <a:lnTo>
                    <a:pt x="36" y="459"/>
                  </a:lnTo>
                  <a:lnTo>
                    <a:pt x="33" y="457"/>
                  </a:lnTo>
                  <a:lnTo>
                    <a:pt x="33" y="454"/>
                  </a:lnTo>
                  <a:lnTo>
                    <a:pt x="33" y="454"/>
                  </a:lnTo>
                  <a:lnTo>
                    <a:pt x="33" y="454"/>
                  </a:lnTo>
                  <a:lnTo>
                    <a:pt x="33" y="452"/>
                  </a:lnTo>
                  <a:lnTo>
                    <a:pt x="33" y="452"/>
                  </a:lnTo>
                  <a:lnTo>
                    <a:pt x="33" y="452"/>
                  </a:lnTo>
                  <a:lnTo>
                    <a:pt x="31" y="452"/>
                  </a:lnTo>
                  <a:lnTo>
                    <a:pt x="31" y="450"/>
                  </a:lnTo>
                  <a:lnTo>
                    <a:pt x="31" y="450"/>
                  </a:lnTo>
                  <a:lnTo>
                    <a:pt x="31" y="450"/>
                  </a:lnTo>
                  <a:lnTo>
                    <a:pt x="31" y="450"/>
                  </a:lnTo>
                  <a:lnTo>
                    <a:pt x="31" y="448"/>
                  </a:lnTo>
                  <a:lnTo>
                    <a:pt x="31" y="448"/>
                  </a:lnTo>
                  <a:lnTo>
                    <a:pt x="31" y="445"/>
                  </a:lnTo>
                  <a:lnTo>
                    <a:pt x="31" y="445"/>
                  </a:lnTo>
                  <a:lnTo>
                    <a:pt x="31" y="443"/>
                  </a:lnTo>
                  <a:lnTo>
                    <a:pt x="31" y="443"/>
                  </a:lnTo>
                  <a:lnTo>
                    <a:pt x="33" y="441"/>
                  </a:lnTo>
                  <a:lnTo>
                    <a:pt x="33" y="441"/>
                  </a:lnTo>
                  <a:lnTo>
                    <a:pt x="33" y="441"/>
                  </a:lnTo>
                  <a:lnTo>
                    <a:pt x="33" y="441"/>
                  </a:lnTo>
                  <a:lnTo>
                    <a:pt x="33" y="441"/>
                  </a:lnTo>
                  <a:lnTo>
                    <a:pt x="33" y="441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27"/>
                  </a:lnTo>
                  <a:lnTo>
                    <a:pt x="31" y="423"/>
                  </a:lnTo>
                  <a:lnTo>
                    <a:pt x="29" y="418"/>
                  </a:lnTo>
                  <a:lnTo>
                    <a:pt x="27" y="416"/>
                  </a:lnTo>
                  <a:lnTo>
                    <a:pt x="27" y="416"/>
                  </a:lnTo>
                  <a:lnTo>
                    <a:pt x="27" y="414"/>
                  </a:lnTo>
                  <a:lnTo>
                    <a:pt x="27" y="414"/>
                  </a:lnTo>
                  <a:lnTo>
                    <a:pt x="24" y="412"/>
                  </a:lnTo>
                  <a:lnTo>
                    <a:pt x="24" y="412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5"/>
                  </a:lnTo>
                  <a:lnTo>
                    <a:pt x="22" y="405"/>
                  </a:lnTo>
                  <a:lnTo>
                    <a:pt x="22" y="403"/>
                  </a:lnTo>
                  <a:lnTo>
                    <a:pt x="22" y="403"/>
                  </a:lnTo>
                  <a:lnTo>
                    <a:pt x="22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5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4" y="403"/>
                  </a:lnTo>
                  <a:lnTo>
                    <a:pt x="24" y="400"/>
                  </a:lnTo>
                  <a:lnTo>
                    <a:pt x="27" y="400"/>
                  </a:lnTo>
                  <a:lnTo>
                    <a:pt x="27" y="400"/>
                  </a:lnTo>
                  <a:lnTo>
                    <a:pt x="27" y="400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7" y="409"/>
                  </a:lnTo>
                  <a:lnTo>
                    <a:pt x="27" y="409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7" y="407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7" y="400"/>
                  </a:lnTo>
                  <a:lnTo>
                    <a:pt x="27" y="400"/>
                  </a:lnTo>
                  <a:lnTo>
                    <a:pt x="27" y="400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27" y="403"/>
                  </a:lnTo>
                  <a:lnTo>
                    <a:pt x="27" y="405"/>
                  </a:lnTo>
                  <a:lnTo>
                    <a:pt x="29" y="405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7" y="407"/>
                  </a:lnTo>
                  <a:lnTo>
                    <a:pt x="27" y="409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09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2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4"/>
                  </a:lnTo>
                  <a:lnTo>
                    <a:pt x="29" y="416"/>
                  </a:lnTo>
                  <a:lnTo>
                    <a:pt x="29" y="416"/>
                  </a:lnTo>
                  <a:lnTo>
                    <a:pt x="29" y="416"/>
                  </a:lnTo>
                  <a:lnTo>
                    <a:pt x="31" y="416"/>
                  </a:lnTo>
                  <a:lnTo>
                    <a:pt x="31" y="416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1" y="414"/>
                  </a:lnTo>
                  <a:lnTo>
                    <a:pt x="33" y="414"/>
                  </a:lnTo>
                  <a:lnTo>
                    <a:pt x="33" y="414"/>
                  </a:lnTo>
                  <a:lnTo>
                    <a:pt x="33" y="414"/>
                  </a:lnTo>
                  <a:lnTo>
                    <a:pt x="33" y="414"/>
                  </a:lnTo>
                  <a:lnTo>
                    <a:pt x="33" y="414"/>
                  </a:lnTo>
                  <a:lnTo>
                    <a:pt x="33" y="414"/>
                  </a:lnTo>
                  <a:lnTo>
                    <a:pt x="33" y="412"/>
                  </a:lnTo>
                  <a:lnTo>
                    <a:pt x="36" y="412"/>
                  </a:lnTo>
                  <a:lnTo>
                    <a:pt x="36" y="412"/>
                  </a:lnTo>
                  <a:lnTo>
                    <a:pt x="36" y="412"/>
                  </a:lnTo>
                  <a:lnTo>
                    <a:pt x="36" y="409"/>
                  </a:lnTo>
                  <a:lnTo>
                    <a:pt x="36" y="409"/>
                  </a:lnTo>
                  <a:lnTo>
                    <a:pt x="36" y="409"/>
                  </a:lnTo>
                  <a:lnTo>
                    <a:pt x="36" y="409"/>
                  </a:lnTo>
                  <a:lnTo>
                    <a:pt x="36" y="407"/>
                  </a:lnTo>
                  <a:lnTo>
                    <a:pt x="36" y="407"/>
                  </a:lnTo>
                  <a:lnTo>
                    <a:pt x="36" y="407"/>
                  </a:lnTo>
                  <a:lnTo>
                    <a:pt x="36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1" y="403"/>
                  </a:lnTo>
                  <a:lnTo>
                    <a:pt x="31" y="403"/>
                  </a:lnTo>
                  <a:lnTo>
                    <a:pt x="31" y="403"/>
                  </a:lnTo>
                  <a:lnTo>
                    <a:pt x="31" y="403"/>
                  </a:lnTo>
                  <a:lnTo>
                    <a:pt x="31" y="403"/>
                  </a:lnTo>
                  <a:lnTo>
                    <a:pt x="31" y="398"/>
                  </a:lnTo>
                  <a:lnTo>
                    <a:pt x="31" y="398"/>
                  </a:lnTo>
                  <a:lnTo>
                    <a:pt x="31" y="398"/>
                  </a:lnTo>
                  <a:lnTo>
                    <a:pt x="31" y="398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6"/>
                  </a:lnTo>
                  <a:lnTo>
                    <a:pt x="31" y="394"/>
                  </a:lnTo>
                  <a:lnTo>
                    <a:pt x="29" y="394"/>
                  </a:lnTo>
                  <a:lnTo>
                    <a:pt x="29" y="394"/>
                  </a:lnTo>
                  <a:lnTo>
                    <a:pt x="29" y="394"/>
                  </a:lnTo>
                  <a:lnTo>
                    <a:pt x="29" y="391"/>
                  </a:lnTo>
                  <a:lnTo>
                    <a:pt x="31" y="391"/>
                  </a:lnTo>
                  <a:lnTo>
                    <a:pt x="31" y="391"/>
                  </a:lnTo>
                  <a:lnTo>
                    <a:pt x="31" y="391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3" y="389"/>
                  </a:lnTo>
                  <a:lnTo>
                    <a:pt x="33" y="389"/>
                  </a:lnTo>
                  <a:lnTo>
                    <a:pt x="33" y="389"/>
                  </a:lnTo>
                  <a:lnTo>
                    <a:pt x="33" y="389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1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6" y="394"/>
                  </a:lnTo>
                  <a:lnTo>
                    <a:pt x="36" y="396"/>
                  </a:lnTo>
                  <a:lnTo>
                    <a:pt x="36" y="396"/>
                  </a:lnTo>
                  <a:lnTo>
                    <a:pt x="36" y="396"/>
                  </a:lnTo>
                  <a:lnTo>
                    <a:pt x="36" y="396"/>
                  </a:lnTo>
                  <a:lnTo>
                    <a:pt x="36" y="396"/>
                  </a:lnTo>
                  <a:lnTo>
                    <a:pt x="36" y="396"/>
                  </a:lnTo>
                  <a:lnTo>
                    <a:pt x="36" y="396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3" y="400"/>
                  </a:lnTo>
                  <a:lnTo>
                    <a:pt x="33" y="400"/>
                  </a:lnTo>
                  <a:lnTo>
                    <a:pt x="33" y="403"/>
                  </a:lnTo>
                  <a:lnTo>
                    <a:pt x="33" y="403"/>
                  </a:lnTo>
                  <a:lnTo>
                    <a:pt x="33" y="403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3" y="405"/>
                  </a:lnTo>
                  <a:lnTo>
                    <a:pt x="36" y="405"/>
                  </a:lnTo>
                  <a:lnTo>
                    <a:pt x="36" y="403"/>
                  </a:lnTo>
                  <a:lnTo>
                    <a:pt x="38" y="403"/>
                  </a:lnTo>
                  <a:lnTo>
                    <a:pt x="38" y="400"/>
                  </a:lnTo>
                  <a:lnTo>
                    <a:pt x="38" y="400"/>
                  </a:lnTo>
                  <a:lnTo>
                    <a:pt x="38" y="400"/>
                  </a:lnTo>
                  <a:lnTo>
                    <a:pt x="38" y="400"/>
                  </a:lnTo>
                  <a:lnTo>
                    <a:pt x="38" y="398"/>
                  </a:lnTo>
                  <a:lnTo>
                    <a:pt x="38" y="398"/>
                  </a:lnTo>
                  <a:lnTo>
                    <a:pt x="38" y="398"/>
                  </a:lnTo>
                  <a:lnTo>
                    <a:pt x="38" y="398"/>
                  </a:lnTo>
                  <a:lnTo>
                    <a:pt x="38" y="398"/>
                  </a:lnTo>
                  <a:lnTo>
                    <a:pt x="38" y="398"/>
                  </a:lnTo>
                  <a:lnTo>
                    <a:pt x="38" y="398"/>
                  </a:lnTo>
                  <a:lnTo>
                    <a:pt x="38" y="400"/>
                  </a:lnTo>
                  <a:lnTo>
                    <a:pt x="38" y="400"/>
                  </a:lnTo>
                  <a:lnTo>
                    <a:pt x="38" y="403"/>
                  </a:lnTo>
                  <a:lnTo>
                    <a:pt x="38" y="403"/>
                  </a:lnTo>
                  <a:lnTo>
                    <a:pt x="38" y="403"/>
                  </a:lnTo>
                  <a:lnTo>
                    <a:pt x="38" y="403"/>
                  </a:lnTo>
                  <a:lnTo>
                    <a:pt x="38" y="405"/>
                  </a:lnTo>
                  <a:lnTo>
                    <a:pt x="38" y="405"/>
                  </a:lnTo>
                  <a:lnTo>
                    <a:pt x="38" y="407"/>
                  </a:lnTo>
                  <a:lnTo>
                    <a:pt x="38" y="407"/>
                  </a:lnTo>
                  <a:lnTo>
                    <a:pt x="38" y="407"/>
                  </a:lnTo>
                  <a:lnTo>
                    <a:pt x="38" y="407"/>
                  </a:lnTo>
                  <a:lnTo>
                    <a:pt x="38" y="409"/>
                  </a:lnTo>
                  <a:lnTo>
                    <a:pt x="40" y="412"/>
                  </a:lnTo>
                  <a:lnTo>
                    <a:pt x="40" y="412"/>
                  </a:lnTo>
                  <a:lnTo>
                    <a:pt x="40" y="412"/>
                  </a:lnTo>
                  <a:lnTo>
                    <a:pt x="40" y="409"/>
                  </a:lnTo>
                  <a:lnTo>
                    <a:pt x="40" y="409"/>
                  </a:lnTo>
                  <a:lnTo>
                    <a:pt x="40" y="409"/>
                  </a:lnTo>
                  <a:lnTo>
                    <a:pt x="40" y="409"/>
                  </a:lnTo>
                  <a:lnTo>
                    <a:pt x="42" y="409"/>
                  </a:lnTo>
                  <a:lnTo>
                    <a:pt x="42" y="409"/>
                  </a:lnTo>
                  <a:lnTo>
                    <a:pt x="42" y="409"/>
                  </a:lnTo>
                  <a:lnTo>
                    <a:pt x="42" y="409"/>
                  </a:lnTo>
                  <a:lnTo>
                    <a:pt x="42" y="407"/>
                  </a:lnTo>
                  <a:lnTo>
                    <a:pt x="42" y="407"/>
                  </a:lnTo>
                  <a:lnTo>
                    <a:pt x="42" y="405"/>
                  </a:lnTo>
                  <a:lnTo>
                    <a:pt x="42" y="405"/>
                  </a:lnTo>
                  <a:lnTo>
                    <a:pt x="42" y="405"/>
                  </a:lnTo>
                  <a:lnTo>
                    <a:pt x="42" y="405"/>
                  </a:lnTo>
                  <a:lnTo>
                    <a:pt x="42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3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5" y="400"/>
                  </a:lnTo>
                  <a:lnTo>
                    <a:pt x="47" y="400"/>
                  </a:lnTo>
                  <a:lnTo>
                    <a:pt x="47" y="400"/>
                  </a:lnTo>
                  <a:lnTo>
                    <a:pt x="47" y="400"/>
                  </a:lnTo>
                  <a:lnTo>
                    <a:pt x="47" y="400"/>
                  </a:lnTo>
                  <a:lnTo>
                    <a:pt x="47" y="398"/>
                  </a:lnTo>
                  <a:lnTo>
                    <a:pt x="45" y="398"/>
                  </a:lnTo>
                  <a:lnTo>
                    <a:pt x="45" y="398"/>
                  </a:lnTo>
                  <a:lnTo>
                    <a:pt x="47" y="398"/>
                  </a:lnTo>
                  <a:lnTo>
                    <a:pt x="47" y="398"/>
                  </a:lnTo>
                  <a:lnTo>
                    <a:pt x="47" y="396"/>
                  </a:lnTo>
                  <a:lnTo>
                    <a:pt x="47" y="396"/>
                  </a:lnTo>
                  <a:lnTo>
                    <a:pt x="47" y="396"/>
                  </a:lnTo>
                  <a:lnTo>
                    <a:pt x="45" y="396"/>
                  </a:lnTo>
                  <a:lnTo>
                    <a:pt x="45" y="396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4"/>
                  </a:lnTo>
                  <a:lnTo>
                    <a:pt x="45" y="391"/>
                  </a:lnTo>
                  <a:lnTo>
                    <a:pt x="45" y="391"/>
                  </a:lnTo>
                  <a:lnTo>
                    <a:pt x="45" y="391"/>
                  </a:lnTo>
                  <a:lnTo>
                    <a:pt x="42" y="391"/>
                  </a:lnTo>
                  <a:lnTo>
                    <a:pt x="42" y="389"/>
                  </a:lnTo>
                  <a:lnTo>
                    <a:pt x="42" y="387"/>
                  </a:lnTo>
                  <a:lnTo>
                    <a:pt x="42" y="387"/>
                  </a:lnTo>
                  <a:lnTo>
                    <a:pt x="42" y="385"/>
                  </a:lnTo>
                  <a:lnTo>
                    <a:pt x="42" y="382"/>
                  </a:lnTo>
                  <a:lnTo>
                    <a:pt x="42" y="382"/>
                  </a:lnTo>
                  <a:lnTo>
                    <a:pt x="40" y="382"/>
                  </a:lnTo>
                  <a:lnTo>
                    <a:pt x="40" y="380"/>
                  </a:lnTo>
                  <a:lnTo>
                    <a:pt x="40" y="380"/>
                  </a:lnTo>
                  <a:lnTo>
                    <a:pt x="40" y="380"/>
                  </a:lnTo>
                  <a:lnTo>
                    <a:pt x="40" y="380"/>
                  </a:lnTo>
                  <a:lnTo>
                    <a:pt x="40" y="380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40" y="378"/>
                  </a:lnTo>
                  <a:lnTo>
                    <a:pt x="38" y="378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38" y="376"/>
                  </a:lnTo>
                  <a:lnTo>
                    <a:pt x="40" y="376"/>
                  </a:lnTo>
                  <a:lnTo>
                    <a:pt x="40" y="376"/>
                  </a:lnTo>
                  <a:lnTo>
                    <a:pt x="40" y="376"/>
                  </a:lnTo>
                  <a:lnTo>
                    <a:pt x="40" y="373"/>
                  </a:lnTo>
                  <a:lnTo>
                    <a:pt x="40" y="373"/>
                  </a:lnTo>
                  <a:lnTo>
                    <a:pt x="38" y="373"/>
                  </a:lnTo>
                  <a:lnTo>
                    <a:pt x="38" y="373"/>
                  </a:lnTo>
                  <a:lnTo>
                    <a:pt x="38" y="373"/>
                  </a:lnTo>
                  <a:lnTo>
                    <a:pt x="38" y="371"/>
                  </a:lnTo>
                  <a:lnTo>
                    <a:pt x="40" y="371"/>
                  </a:lnTo>
                  <a:lnTo>
                    <a:pt x="40" y="371"/>
                  </a:lnTo>
                  <a:lnTo>
                    <a:pt x="40" y="371"/>
                  </a:lnTo>
                  <a:lnTo>
                    <a:pt x="40" y="371"/>
                  </a:lnTo>
                  <a:lnTo>
                    <a:pt x="40" y="369"/>
                  </a:lnTo>
                  <a:lnTo>
                    <a:pt x="38" y="369"/>
                  </a:lnTo>
                  <a:lnTo>
                    <a:pt x="38" y="364"/>
                  </a:lnTo>
                  <a:lnTo>
                    <a:pt x="36" y="364"/>
                  </a:lnTo>
                  <a:lnTo>
                    <a:pt x="36" y="364"/>
                  </a:lnTo>
                  <a:lnTo>
                    <a:pt x="36" y="362"/>
                  </a:lnTo>
                  <a:lnTo>
                    <a:pt x="38" y="358"/>
                  </a:lnTo>
                  <a:lnTo>
                    <a:pt x="38" y="358"/>
                  </a:lnTo>
                  <a:lnTo>
                    <a:pt x="38" y="358"/>
                  </a:lnTo>
                  <a:lnTo>
                    <a:pt x="38" y="358"/>
                  </a:lnTo>
                  <a:lnTo>
                    <a:pt x="38" y="358"/>
                  </a:lnTo>
                  <a:lnTo>
                    <a:pt x="38" y="355"/>
                  </a:lnTo>
                  <a:lnTo>
                    <a:pt x="38" y="355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38" y="353"/>
                  </a:lnTo>
                  <a:lnTo>
                    <a:pt x="40" y="353"/>
                  </a:lnTo>
                  <a:lnTo>
                    <a:pt x="40" y="353"/>
                  </a:lnTo>
                  <a:lnTo>
                    <a:pt x="40" y="353"/>
                  </a:lnTo>
                  <a:lnTo>
                    <a:pt x="40" y="351"/>
                  </a:lnTo>
                  <a:lnTo>
                    <a:pt x="40" y="351"/>
                  </a:lnTo>
                  <a:lnTo>
                    <a:pt x="40" y="351"/>
                  </a:lnTo>
                  <a:lnTo>
                    <a:pt x="40" y="351"/>
                  </a:lnTo>
                  <a:lnTo>
                    <a:pt x="40" y="349"/>
                  </a:lnTo>
                  <a:lnTo>
                    <a:pt x="40" y="349"/>
                  </a:lnTo>
                  <a:lnTo>
                    <a:pt x="42" y="346"/>
                  </a:lnTo>
                  <a:lnTo>
                    <a:pt x="42" y="346"/>
                  </a:lnTo>
                  <a:lnTo>
                    <a:pt x="42" y="346"/>
                  </a:lnTo>
                  <a:lnTo>
                    <a:pt x="45" y="344"/>
                  </a:lnTo>
                  <a:lnTo>
                    <a:pt x="45" y="344"/>
                  </a:lnTo>
                  <a:lnTo>
                    <a:pt x="45" y="344"/>
                  </a:lnTo>
                  <a:lnTo>
                    <a:pt x="45" y="344"/>
                  </a:lnTo>
                  <a:lnTo>
                    <a:pt x="45" y="344"/>
                  </a:lnTo>
                  <a:lnTo>
                    <a:pt x="45" y="342"/>
                  </a:lnTo>
                  <a:lnTo>
                    <a:pt x="45" y="342"/>
                  </a:lnTo>
                  <a:lnTo>
                    <a:pt x="45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7" y="342"/>
                  </a:lnTo>
                  <a:lnTo>
                    <a:pt x="49" y="340"/>
                  </a:lnTo>
                  <a:lnTo>
                    <a:pt x="49" y="340"/>
                  </a:lnTo>
                  <a:lnTo>
                    <a:pt x="49" y="340"/>
                  </a:lnTo>
                  <a:lnTo>
                    <a:pt x="49" y="340"/>
                  </a:lnTo>
                  <a:lnTo>
                    <a:pt x="49" y="337"/>
                  </a:lnTo>
                  <a:lnTo>
                    <a:pt x="49" y="337"/>
                  </a:lnTo>
                  <a:lnTo>
                    <a:pt x="49" y="337"/>
                  </a:lnTo>
                  <a:lnTo>
                    <a:pt x="49" y="335"/>
                  </a:lnTo>
                  <a:lnTo>
                    <a:pt x="49" y="333"/>
                  </a:lnTo>
                  <a:lnTo>
                    <a:pt x="49" y="333"/>
                  </a:lnTo>
                  <a:lnTo>
                    <a:pt x="49" y="333"/>
                  </a:lnTo>
                  <a:lnTo>
                    <a:pt x="49" y="331"/>
                  </a:lnTo>
                  <a:lnTo>
                    <a:pt x="49" y="331"/>
                  </a:lnTo>
                  <a:lnTo>
                    <a:pt x="49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31"/>
                  </a:lnTo>
                  <a:lnTo>
                    <a:pt x="51" y="326"/>
                  </a:lnTo>
                  <a:lnTo>
                    <a:pt x="51" y="326"/>
                  </a:lnTo>
                  <a:lnTo>
                    <a:pt x="51" y="326"/>
                  </a:lnTo>
                  <a:lnTo>
                    <a:pt x="51" y="326"/>
                  </a:lnTo>
                  <a:lnTo>
                    <a:pt x="51" y="324"/>
                  </a:lnTo>
                  <a:lnTo>
                    <a:pt x="51" y="322"/>
                  </a:lnTo>
                  <a:lnTo>
                    <a:pt x="51" y="322"/>
                  </a:lnTo>
                  <a:lnTo>
                    <a:pt x="49" y="322"/>
                  </a:lnTo>
                  <a:lnTo>
                    <a:pt x="49" y="322"/>
                  </a:lnTo>
                  <a:lnTo>
                    <a:pt x="49" y="322"/>
                  </a:lnTo>
                  <a:lnTo>
                    <a:pt x="49" y="322"/>
                  </a:lnTo>
                  <a:lnTo>
                    <a:pt x="49" y="322"/>
                  </a:lnTo>
                  <a:lnTo>
                    <a:pt x="49" y="319"/>
                  </a:lnTo>
                  <a:lnTo>
                    <a:pt x="49" y="319"/>
                  </a:lnTo>
                  <a:lnTo>
                    <a:pt x="49" y="319"/>
                  </a:lnTo>
                  <a:lnTo>
                    <a:pt x="49" y="319"/>
                  </a:lnTo>
                  <a:lnTo>
                    <a:pt x="49" y="319"/>
                  </a:lnTo>
                  <a:lnTo>
                    <a:pt x="49" y="319"/>
                  </a:lnTo>
                  <a:lnTo>
                    <a:pt x="49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5"/>
                  </a:lnTo>
                  <a:lnTo>
                    <a:pt x="54" y="315"/>
                  </a:lnTo>
                  <a:lnTo>
                    <a:pt x="54" y="315"/>
                  </a:lnTo>
                  <a:lnTo>
                    <a:pt x="54" y="315"/>
                  </a:lnTo>
                  <a:lnTo>
                    <a:pt x="54" y="313"/>
                  </a:lnTo>
                  <a:lnTo>
                    <a:pt x="54" y="313"/>
                  </a:lnTo>
                  <a:lnTo>
                    <a:pt x="56" y="308"/>
                  </a:lnTo>
                  <a:lnTo>
                    <a:pt x="58" y="306"/>
                  </a:lnTo>
                  <a:lnTo>
                    <a:pt x="58" y="306"/>
                  </a:lnTo>
                  <a:lnTo>
                    <a:pt x="58" y="306"/>
                  </a:lnTo>
                  <a:lnTo>
                    <a:pt x="58" y="306"/>
                  </a:lnTo>
                  <a:lnTo>
                    <a:pt x="58" y="304"/>
                  </a:lnTo>
                  <a:lnTo>
                    <a:pt x="60" y="301"/>
                  </a:lnTo>
                  <a:lnTo>
                    <a:pt x="60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3" y="299"/>
                  </a:lnTo>
                  <a:lnTo>
                    <a:pt x="65" y="299"/>
                  </a:lnTo>
                  <a:lnTo>
                    <a:pt x="65" y="299"/>
                  </a:lnTo>
                  <a:lnTo>
                    <a:pt x="65" y="301"/>
                  </a:lnTo>
                  <a:lnTo>
                    <a:pt x="65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1"/>
                  </a:lnTo>
                  <a:lnTo>
                    <a:pt x="63" y="304"/>
                  </a:lnTo>
                  <a:lnTo>
                    <a:pt x="60" y="308"/>
                  </a:lnTo>
                  <a:lnTo>
                    <a:pt x="60" y="308"/>
                  </a:lnTo>
                  <a:lnTo>
                    <a:pt x="60" y="308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60" y="310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0" y="313"/>
                  </a:lnTo>
                  <a:lnTo>
                    <a:pt x="63" y="313"/>
                  </a:lnTo>
                  <a:lnTo>
                    <a:pt x="63" y="313"/>
                  </a:lnTo>
                  <a:lnTo>
                    <a:pt x="63" y="313"/>
                  </a:lnTo>
                  <a:lnTo>
                    <a:pt x="63" y="313"/>
                  </a:lnTo>
                  <a:lnTo>
                    <a:pt x="60" y="313"/>
                  </a:lnTo>
                  <a:lnTo>
                    <a:pt x="60" y="315"/>
                  </a:lnTo>
                  <a:lnTo>
                    <a:pt x="60" y="315"/>
                  </a:lnTo>
                  <a:lnTo>
                    <a:pt x="60" y="315"/>
                  </a:lnTo>
                  <a:lnTo>
                    <a:pt x="60" y="315"/>
                  </a:lnTo>
                  <a:lnTo>
                    <a:pt x="60" y="317"/>
                  </a:lnTo>
                  <a:lnTo>
                    <a:pt x="60" y="317"/>
                  </a:lnTo>
                  <a:lnTo>
                    <a:pt x="60" y="317"/>
                  </a:lnTo>
                  <a:lnTo>
                    <a:pt x="60" y="317"/>
                  </a:lnTo>
                  <a:lnTo>
                    <a:pt x="63" y="317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3" y="315"/>
                  </a:lnTo>
                  <a:lnTo>
                    <a:pt x="63" y="315"/>
                  </a:lnTo>
                  <a:lnTo>
                    <a:pt x="63" y="315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7"/>
                  </a:lnTo>
                  <a:lnTo>
                    <a:pt x="65" y="317"/>
                  </a:lnTo>
                  <a:lnTo>
                    <a:pt x="65" y="317"/>
                  </a:lnTo>
                  <a:lnTo>
                    <a:pt x="65" y="317"/>
                  </a:lnTo>
                  <a:lnTo>
                    <a:pt x="65" y="317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3"/>
                  </a:lnTo>
                  <a:lnTo>
                    <a:pt x="67" y="310"/>
                  </a:lnTo>
                  <a:lnTo>
                    <a:pt x="67" y="310"/>
                  </a:lnTo>
                  <a:lnTo>
                    <a:pt x="67" y="310"/>
                  </a:lnTo>
                  <a:lnTo>
                    <a:pt x="69" y="310"/>
                  </a:lnTo>
                  <a:lnTo>
                    <a:pt x="69" y="310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8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6"/>
                  </a:lnTo>
                  <a:lnTo>
                    <a:pt x="69" y="304"/>
                  </a:lnTo>
                  <a:lnTo>
                    <a:pt x="69" y="306"/>
                  </a:lnTo>
                  <a:lnTo>
                    <a:pt x="72" y="306"/>
                  </a:lnTo>
                  <a:lnTo>
                    <a:pt x="72" y="306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2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4"/>
                  </a:lnTo>
                  <a:lnTo>
                    <a:pt x="74" y="301"/>
                  </a:lnTo>
                  <a:lnTo>
                    <a:pt x="74" y="301"/>
                  </a:lnTo>
                  <a:lnTo>
                    <a:pt x="74" y="301"/>
                  </a:lnTo>
                  <a:lnTo>
                    <a:pt x="74" y="301"/>
                  </a:lnTo>
                  <a:lnTo>
                    <a:pt x="74" y="301"/>
                  </a:lnTo>
                  <a:lnTo>
                    <a:pt x="74" y="301"/>
                  </a:lnTo>
                  <a:lnTo>
                    <a:pt x="74" y="299"/>
                  </a:lnTo>
                  <a:lnTo>
                    <a:pt x="76" y="299"/>
                  </a:lnTo>
                  <a:lnTo>
                    <a:pt x="81" y="297"/>
                  </a:lnTo>
                  <a:lnTo>
                    <a:pt x="81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3" y="297"/>
                  </a:lnTo>
                  <a:lnTo>
                    <a:pt x="87" y="295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2" y="292"/>
                  </a:lnTo>
                  <a:lnTo>
                    <a:pt x="94" y="292"/>
                  </a:lnTo>
                  <a:lnTo>
                    <a:pt x="94" y="290"/>
                  </a:lnTo>
                  <a:lnTo>
                    <a:pt x="96" y="290"/>
                  </a:lnTo>
                  <a:lnTo>
                    <a:pt x="96" y="288"/>
                  </a:lnTo>
                  <a:lnTo>
                    <a:pt x="96" y="288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103" y="283"/>
                  </a:lnTo>
                  <a:lnTo>
                    <a:pt x="103" y="283"/>
                  </a:lnTo>
                  <a:lnTo>
                    <a:pt x="103" y="283"/>
                  </a:lnTo>
                  <a:lnTo>
                    <a:pt x="103" y="281"/>
                  </a:lnTo>
                  <a:lnTo>
                    <a:pt x="105" y="281"/>
                  </a:lnTo>
                  <a:lnTo>
                    <a:pt x="105" y="281"/>
                  </a:lnTo>
                  <a:lnTo>
                    <a:pt x="105" y="281"/>
                  </a:lnTo>
                  <a:lnTo>
                    <a:pt x="107" y="281"/>
                  </a:lnTo>
                  <a:lnTo>
                    <a:pt x="107" y="281"/>
                  </a:lnTo>
                  <a:lnTo>
                    <a:pt x="107" y="281"/>
                  </a:lnTo>
                  <a:lnTo>
                    <a:pt x="107" y="281"/>
                  </a:lnTo>
                  <a:lnTo>
                    <a:pt x="110" y="279"/>
                  </a:lnTo>
                  <a:lnTo>
                    <a:pt x="110" y="279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0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2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4" y="277"/>
                  </a:lnTo>
                  <a:lnTo>
                    <a:pt x="116" y="277"/>
                  </a:lnTo>
                  <a:lnTo>
                    <a:pt x="116" y="277"/>
                  </a:lnTo>
                  <a:lnTo>
                    <a:pt x="116" y="277"/>
                  </a:lnTo>
                  <a:lnTo>
                    <a:pt x="116" y="277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6" y="274"/>
                  </a:lnTo>
                  <a:lnTo>
                    <a:pt x="119" y="274"/>
                  </a:lnTo>
                  <a:lnTo>
                    <a:pt x="121" y="272"/>
                  </a:lnTo>
                  <a:lnTo>
                    <a:pt x="121" y="272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5" y="270"/>
                  </a:lnTo>
                  <a:lnTo>
                    <a:pt x="125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0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2"/>
                  </a:lnTo>
                  <a:lnTo>
                    <a:pt x="123" y="274"/>
                  </a:lnTo>
                  <a:lnTo>
                    <a:pt x="123" y="274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5" y="272"/>
                  </a:lnTo>
                  <a:lnTo>
                    <a:pt x="125" y="272"/>
                  </a:lnTo>
                  <a:lnTo>
                    <a:pt x="128" y="272"/>
                  </a:lnTo>
                  <a:lnTo>
                    <a:pt x="128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0" y="272"/>
                  </a:lnTo>
                  <a:lnTo>
                    <a:pt x="132" y="274"/>
                  </a:lnTo>
                  <a:lnTo>
                    <a:pt x="132" y="274"/>
                  </a:lnTo>
                  <a:lnTo>
                    <a:pt x="132" y="274"/>
                  </a:lnTo>
                  <a:lnTo>
                    <a:pt x="134" y="274"/>
                  </a:lnTo>
                  <a:lnTo>
                    <a:pt x="137" y="274"/>
                  </a:lnTo>
                  <a:lnTo>
                    <a:pt x="137" y="274"/>
                  </a:lnTo>
                  <a:lnTo>
                    <a:pt x="139" y="274"/>
                  </a:lnTo>
                  <a:lnTo>
                    <a:pt x="139" y="272"/>
                  </a:lnTo>
                  <a:lnTo>
                    <a:pt x="139" y="272"/>
                  </a:lnTo>
                  <a:lnTo>
                    <a:pt x="139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1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3" y="272"/>
                  </a:lnTo>
                  <a:lnTo>
                    <a:pt x="146" y="272"/>
                  </a:lnTo>
                  <a:lnTo>
                    <a:pt x="146" y="272"/>
                  </a:lnTo>
                  <a:lnTo>
                    <a:pt x="146" y="272"/>
                  </a:lnTo>
                  <a:lnTo>
                    <a:pt x="146" y="270"/>
                  </a:lnTo>
                  <a:lnTo>
                    <a:pt x="146" y="270"/>
                  </a:lnTo>
                  <a:lnTo>
                    <a:pt x="146" y="270"/>
                  </a:lnTo>
                  <a:lnTo>
                    <a:pt x="146" y="270"/>
                  </a:lnTo>
                  <a:lnTo>
                    <a:pt x="146" y="27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48" y="270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2" y="265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5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57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1" y="265"/>
                  </a:lnTo>
                  <a:lnTo>
                    <a:pt x="164" y="265"/>
                  </a:lnTo>
                  <a:lnTo>
                    <a:pt x="164" y="265"/>
                  </a:lnTo>
                  <a:lnTo>
                    <a:pt x="164" y="265"/>
                  </a:lnTo>
                  <a:lnTo>
                    <a:pt x="164" y="265"/>
                  </a:lnTo>
                  <a:lnTo>
                    <a:pt x="164" y="263"/>
                  </a:lnTo>
                  <a:lnTo>
                    <a:pt x="166" y="263"/>
                  </a:lnTo>
                  <a:lnTo>
                    <a:pt x="166" y="263"/>
                  </a:lnTo>
                  <a:lnTo>
                    <a:pt x="166" y="263"/>
                  </a:lnTo>
                  <a:lnTo>
                    <a:pt x="166" y="263"/>
                  </a:lnTo>
                  <a:lnTo>
                    <a:pt x="168" y="263"/>
                  </a:lnTo>
                  <a:lnTo>
                    <a:pt x="168" y="261"/>
                  </a:lnTo>
                  <a:lnTo>
                    <a:pt x="170" y="259"/>
                  </a:lnTo>
                  <a:lnTo>
                    <a:pt x="170" y="259"/>
                  </a:lnTo>
                  <a:lnTo>
                    <a:pt x="170" y="259"/>
                  </a:lnTo>
                  <a:lnTo>
                    <a:pt x="170" y="259"/>
                  </a:lnTo>
                  <a:lnTo>
                    <a:pt x="170" y="259"/>
                  </a:lnTo>
                  <a:lnTo>
                    <a:pt x="170" y="259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3" y="256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5" y="256"/>
                  </a:lnTo>
                  <a:lnTo>
                    <a:pt x="177" y="256"/>
                  </a:lnTo>
                  <a:lnTo>
                    <a:pt x="177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79" y="256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2" y="256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2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9"/>
                  </a:lnTo>
                  <a:lnTo>
                    <a:pt x="184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6" y="256"/>
                  </a:lnTo>
                  <a:lnTo>
                    <a:pt x="188" y="256"/>
                  </a:lnTo>
                  <a:lnTo>
                    <a:pt x="191" y="256"/>
                  </a:lnTo>
                  <a:lnTo>
                    <a:pt x="193" y="256"/>
                  </a:lnTo>
                  <a:lnTo>
                    <a:pt x="197" y="254"/>
                  </a:lnTo>
                  <a:lnTo>
                    <a:pt x="200" y="254"/>
                  </a:lnTo>
                  <a:lnTo>
                    <a:pt x="206" y="252"/>
                  </a:lnTo>
                  <a:lnTo>
                    <a:pt x="211" y="250"/>
                  </a:lnTo>
                  <a:lnTo>
                    <a:pt x="213" y="247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18" y="245"/>
                  </a:lnTo>
                  <a:lnTo>
                    <a:pt x="220" y="245"/>
                  </a:lnTo>
                  <a:lnTo>
                    <a:pt x="222" y="241"/>
                  </a:lnTo>
                  <a:lnTo>
                    <a:pt x="224" y="238"/>
                  </a:lnTo>
                  <a:lnTo>
                    <a:pt x="227" y="234"/>
                  </a:lnTo>
                  <a:lnTo>
                    <a:pt x="229" y="234"/>
                  </a:lnTo>
                  <a:lnTo>
                    <a:pt x="229" y="234"/>
                  </a:lnTo>
                  <a:lnTo>
                    <a:pt x="229" y="232"/>
                  </a:lnTo>
                  <a:lnTo>
                    <a:pt x="229" y="232"/>
                  </a:lnTo>
                  <a:lnTo>
                    <a:pt x="229" y="232"/>
                  </a:lnTo>
                  <a:lnTo>
                    <a:pt x="229" y="232"/>
                  </a:lnTo>
                  <a:lnTo>
                    <a:pt x="229" y="232"/>
                  </a:lnTo>
                  <a:lnTo>
                    <a:pt x="229" y="232"/>
                  </a:lnTo>
                  <a:lnTo>
                    <a:pt x="231" y="229"/>
                  </a:lnTo>
                  <a:lnTo>
                    <a:pt x="231" y="229"/>
                  </a:lnTo>
                  <a:lnTo>
                    <a:pt x="231" y="229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1" y="227"/>
                  </a:lnTo>
                  <a:lnTo>
                    <a:pt x="233" y="227"/>
                  </a:lnTo>
                  <a:lnTo>
                    <a:pt x="233" y="227"/>
                  </a:lnTo>
                  <a:lnTo>
                    <a:pt x="233" y="227"/>
                  </a:lnTo>
                  <a:lnTo>
                    <a:pt x="233" y="225"/>
                  </a:lnTo>
                  <a:lnTo>
                    <a:pt x="236" y="225"/>
                  </a:lnTo>
                  <a:lnTo>
                    <a:pt x="236" y="225"/>
                  </a:lnTo>
                  <a:lnTo>
                    <a:pt x="236" y="225"/>
                  </a:lnTo>
                  <a:lnTo>
                    <a:pt x="236" y="223"/>
                  </a:lnTo>
                  <a:lnTo>
                    <a:pt x="233" y="223"/>
                  </a:lnTo>
                  <a:lnTo>
                    <a:pt x="236" y="223"/>
                  </a:lnTo>
                  <a:lnTo>
                    <a:pt x="236" y="223"/>
                  </a:lnTo>
                  <a:lnTo>
                    <a:pt x="236" y="220"/>
                  </a:lnTo>
                  <a:lnTo>
                    <a:pt x="236" y="220"/>
                  </a:lnTo>
                  <a:lnTo>
                    <a:pt x="236" y="220"/>
                  </a:lnTo>
                  <a:lnTo>
                    <a:pt x="236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38" y="220"/>
                  </a:lnTo>
                  <a:lnTo>
                    <a:pt x="240" y="218"/>
                  </a:lnTo>
                  <a:lnTo>
                    <a:pt x="242" y="218"/>
                  </a:lnTo>
                  <a:lnTo>
                    <a:pt x="242" y="218"/>
                  </a:lnTo>
                  <a:lnTo>
                    <a:pt x="242" y="218"/>
                  </a:lnTo>
                  <a:lnTo>
                    <a:pt x="242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5" y="216"/>
                  </a:lnTo>
                  <a:lnTo>
                    <a:pt x="245" y="214"/>
                  </a:lnTo>
                  <a:lnTo>
                    <a:pt x="247" y="214"/>
                  </a:lnTo>
                  <a:lnTo>
                    <a:pt x="247" y="214"/>
                  </a:lnTo>
                  <a:lnTo>
                    <a:pt x="249" y="214"/>
                  </a:lnTo>
                  <a:lnTo>
                    <a:pt x="249" y="211"/>
                  </a:lnTo>
                  <a:lnTo>
                    <a:pt x="249" y="211"/>
                  </a:lnTo>
                  <a:lnTo>
                    <a:pt x="249" y="211"/>
                  </a:lnTo>
                  <a:lnTo>
                    <a:pt x="249" y="209"/>
                  </a:lnTo>
                  <a:lnTo>
                    <a:pt x="249" y="209"/>
                  </a:lnTo>
                  <a:lnTo>
                    <a:pt x="249" y="209"/>
                  </a:lnTo>
                  <a:lnTo>
                    <a:pt x="249" y="209"/>
                  </a:lnTo>
                  <a:lnTo>
                    <a:pt x="249" y="209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7" y="209"/>
                  </a:lnTo>
                  <a:lnTo>
                    <a:pt x="245" y="209"/>
                  </a:lnTo>
                  <a:lnTo>
                    <a:pt x="245" y="209"/>
                  </a:lnTo>
                  <a:lnTo>
                    <a:pt x="247" y="209"/>
                  </a:lnTo>
                  <a:lnTo>
                    <a:pt x="247" y="207"/>
                  </a:lnTo>
                  <a:lnTo>
                    <a:pt x="247" y="207"/>
                  </a:lnTo>
                  <a:lnTo>
                    <a:pt x="247" y="205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2"/>
                  </a:lnTo>
                  <a:lnTo>
                    <a:pt x="247" y="200"/>
                  </a:lnTo>
                  <a:lnTo>
                    <a:pt x="247" y="200"/>
                  </a:lnTo>
                  <a:lnTo>
                    <a:pt x="247" y="200"/>
                  </a:lnTo>
                  <a:lnTo>
                    <a:pt x="247" y="200"/>
                  </a:lnTo>
                  <a:lnTo>
                    <a:pt x="247" y="200"/>
                  </a:lnTo>
                  <a:lnTo>
                    <a:pt x="247" y="196"/>
                  </a:lnTo>
                  <a:lnTo>
                    <a:pt x="247" y="194"/>
                  </a:lnTo>
                  <a:lnTo>
                    <a:pt x="249" y="194"/>
                  </a:lnTo>
                  <a:lnTo>
                    <a:pt x="249" y="191"/>
                  </a:lnTo>
                  <a:lnTo>
                    <a:pt x="249" y="191"/>
                  </a:lnTo>
                  <a:lnTo>
                    <a:pt x="249" y="191"/>
                  </a:lnTo>
                  <a:lnTo>
                    <a:pt x="249" y="191"/>
                  </a:lnTo>
                  <a:lnTo>
                    <a:pt x="249" y="191"/>
                  </a:lnTo>
                  <a:lnTo>
                    <a:pt x="251" y="189"/>
                  </a:lnTo>
                  <a:lnTo>
                    <a:pt x="251" y="189"/>
                  </a:lnTo>
                  <a:lnTo>
                    <a:pt x="251" y="189"/>
                  </a:lnTo>
                  <a:lnTo>
                    <a:pt x="251" y="189"/>
                  </a:lnTo>
                  <a:lnTo>
                    <a:pt x="251" y="189"/>
                  </a:lnTo>
                  <a:lnTo>
                    <a:pt x="251" y="189"/>
                  </a:lnTo>
                  <a:lnTo>
                    <a:pt x="251" y="189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5"/>
                  </a:lnTo>
                  <a:lnTo>
                    <a:pt x="258" y="185"/>
                  </a:lnTo>
                  <a:lnTo>
                    <a:pt x="258" y="185"/>
                  </a:lnTo>
                  <a:lnTo>
                    <a:pt x="258" y="185"/>
                  </a:lnTo>
                  <a:lnTo>
                    <a:pt x="258" y="185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80"/>
                  </a:lnTo>
                  <a:lnTo>
                    <a:pt x="258" y="180"/>
                  </a:lnTo>
                  <a:lnTo>
                    <a:pt x="258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0" y="180"/>
                  </a:lnTo>
                  <a:lnTo>
                    <a:pt x="263" y="180"/>
                  </a:lnTo>
                  <a:lnTo>
                    <a:pt x="263" y="180"/>
                  </a:lnTo>
                  <a:lnTo>
                    <a:pt x="263" y="180"/>
                  </a:lnTo>
                  <a:lnTo>
                    <a:pt x="263" y="180"/>
                  </a:lnTo>
                  <a:lnTo>
                    <a:pt x="263" y="180"/>
                  </a:lnTo>
                  <a:lnTo>
                    <a:pt x="265" y="180"/>
                  </a:lnTo>
                  <a:lnTo>
                    <a:pt x="263" y="180"/>
                  </a:lnTo>
                  <a:lnTo>
                    <a:pt x="263" y="178"/>
                  </a:lnTo>
                  <a:lnTo>
                    <a:pt x="263" y="178"/>
                  </a:lnTo>
                  <a:lnTo>
                    <a:pt x="263" y="178"/>
                  </a:lnTo>
                  <a:lnTo>
                    <a:pt x="263" y="178"/>
                  </a:lnTo>
                  <a:lnTo>
                    <a:pt x="263" y="178"/>
                  </a:lnTo>
                  <a:lnTo>
                    <a:pt x="263" y="176"/>
                  </a:lnTo>
                  <a:lnTo>
                    <a:pt x="263" y="176"/>
                  </a:lnTo>
                  <a:lnTo>
                    <a:pt x="263" y="176"/>
                  </a:lnTo>
                  <a:lnTo>
                    <a:pt x="265" y="176"/>
                  </a:lnTo>
                  <a:lnTo>
                    <a:pt x="265" y="176"/>
                  </a:lnTo>
                  <a:lnTo>
                    <a:pt x="265" y="176"/>
                  </a:lnTo>
                  <a:lnTo>
                    <a:pt x="265" y="176"/>
                  </a:lnTo>
                  <a:lnTo>
                    <a:pt x="265" y="176"/>
                  </a:lnTo>
                  <a:lnTo>
                    <a:pt x="265" y="176"/>
                  </a:lnTo>
                  <a:lnTo>
                    <a:pt x="265" y="176"/>
                  </a:lnTo>
                  <a:lnTo>
                    <a:pt x="265" y="173"/>
                  </a:lnTo>
                  <a:lnTo>
                    <a:pt x="267" y="173"/>
                  </a:lnTo>
                  <a:lnTo>
                    <a:pt x="267" y="173"/>
                  </a:lnTo>
                  <a:lnTo>
                    <a:pt x="267" y="173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9" y="171"/>
                  </a:lnTo>
                  <a:lnTo>
                    <a:pt x="269" y="171"/>
                  </a:lnTo>
                  <a:lnTo>
                    <a:pt x="269" y="171"/>
                  </a:lnTo>
                  <a:lnTo>
                    <a:pt x="269" y="171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9" y="173"/>
                  </a:lnTo>
                  <a:lnTo>
                    <a:pt x="267" y="173"/>
                  </a:lnTo>
                  <a:lnTo>
                    <a:pt x="269" y="176"/>
                  </a:lnTo>
                  <a:lnTo>
                    <a:pt x="267" y="176"/>
                  </a:lnTo>
                  <a:lnTo>
                    <a:pt x="267" y="176"/>
                  </a:lnTo>
                  <a:lnTo>
                    <a:pt x="267" y="178"/>
                  </a:lnTo>
                  <a:lnTo>
                    <a:pt x="267" y="178"/>
                  </a:lnTo>
                  <a:lnTo>
                    <a:pt x="267" y="178"/>
                  </a:lnTo>
                  <a:lnTo>
                    <a:pt x="269" y="178"/>
                  </a:lnTo>
                  <a:lnTo>
                    <a:pt x="269" y="176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80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69" y="178"/>
                  </a:lnTo>
                  <a:lnTo>
                    <a:pt x="271" y="178"/>
                  </a:lnTo>
                  <a:lnTo>
                    <a:pt x="271" y="178"/>
                  </a:lnTo>
                  <a:lnTo>
                    <a:pt x="271" y="178"/>
                  </a:lnTo>
                  <a:lnTo>
                    <a:pt x="271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69" y="180"/>
                  </a:lnTo>
                  <a:lnTo>
                    <a:pt x="271" y="182"/>
                  </a:lnTo>
                  <a:lnTo>
                    <a:pt x="271" y="182"/>
                  </a:lnTo>
                  <a:lnTo>
                    <a:pt x="271" y="182"/>
                  </a:lnTo>
                  <a:lnTo>
                    <a:pt x="271" y="182"/>
                  </a:lnTo>
                  <a:lnTo>
                    <a:pt x="269" y="182"/>
                  </a:lnTo>
                  <a:lnTo>
                    <a:pt x="269" y="185"/>
                  </a:lnTo>
                  <a:lnTo>
                    <a:pt x="269" y="185"/>
                  </a:lnTo>
                  <a:lnTo>
                    <a:pt x="271" y="185"/>
                  </a:lnTo>
                  <a:lnTo>
                    <a:pt x="271" y="185"/>
                  </a:lnTo>
                  <a:lnTo>
                    <a:pt x="271" y="185"/>
                  </a:lnTo>
                  <a:lnTo>
                    <a:pt x="271" y="187"/>
                  </a:lnTo>
                  <a:lnTo>
                    <a:pt x="271" y="187"/>
                  </a:lnTo>
                  <a:lnTo>
                    <a:pt x="271" y="187"/>
                  </a:lnTo>
                  <a:lnTo>
                    <a:pt x="271" y="187"/>
                  </a:lnTo>
                  <a:lnTo>
                    <a:pt x="271" y="189"/>
                  </a:lnTo>
                  <a:lnTo>
                    <a:pt x="274" y="189"/>
                  </a:lnTo>
                  <a:lnTo>
                    <a:pt x="274" y="189"/>
                  </a:lnTo>
                  <a:lnTo>
                    <a:pt x="274" y="191"/>
                  </a:lnTo>
                  <a:lnTo>
                    <a:pt x="274" y="191"/>
                  </a:lnTo>
                  <a:lnTo>
                    <a:pt x="274" y="191"/>
                  </a:lnTo>
                  <a:lnTo>
                    <a:pt x="274" y="191"/>
                  </a:lnTo>
                  <a:lnTo>
                    <a:pt x="274" y="194"/>
                  </a:lnTo>
                  <a:lnTo>
                    <a:pt x="274" y="194"/>
                  </a:lnTo>
                  <a:lnTo>
                    <a:pt x="274" y="194"/>
                  </a:lnTo>
                  <a:lnTo>
                    <a:pt x="274" y="194"/>
                  </a:lnTo>
                  <a:lnTo>
                    <a:pt x="274" y="194"/>
                  </a:lnTo>
                  <a:lnTo>
                    <a:pt x="274" y="196"/>
                  </a:lnTo>
                  <a:lnTo>
                    <a:pt x="274" y="196"/>
                  </a:lnTo>
                  <a:lnTo>
                    <a:pt x="276" y="196"/>
                  </a:lnTo>
                  <a:lnTo>
                    <a:pt x="276" y="196"/>
                  </a:lnTo>
                  <a:lnTo>
                    <a:pt x="276" y="196"/>
                  </a:lnTo>
                  <a:lnTo>
                    <a:pt x="276" y="198"/>
                  </a:lnTo>
                  <a:lnTo>
                    <a:pt x="276" y="198"/>
                  </a:lnTo>
                  <a:lnTo>
                    <a:pt x="276" y="198"/>
                  </a:lnTo>
                  <a:lnTo>
                    <a:pt x="276" y="198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200"/>
                  </a:lnTo>
                  <a:lnTo>
                    <a:pt x="276" y="198"/>
                  </a:lnTo>
                  <a:lnTo>
                    <a:pt x="276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6" y="196"/>
                  </a:lnTo>
                  <a:lnTo>
                    <a:pt x="276" y="196"/>
                  </a:lnTo>
                  <a:lnTo>
                    <a:pt x="276" y="194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4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91"/>
                  </a:lnTo>
                  <a:lnTo>
                    <a:pt x="278" y="189"/>
                  </a:lnTo>
                  <a:lnTo>
                    <a:pt x="278" y="189"/>
                  </a:lnTo>
                  <a:lnTo>
                    <a:pt x="278" y="189"/>
                  </a:lnTo>
                  <a:lnTo>
                    <a:pt x="278" y="187"/>
                  </a:lnTo>
                  <a:lnTo>
                    <a:pt x="278" y="187"/>
                  </a:lnTo>
                  <a:lnTo>
                    <a:pt x="278" y="187"/>
                  </a:lnTo>
                  <a:lnTo>
                    <a:pt x="278" y="185"/>
                  </a:lnTo>
                  <a:lnTo>
                    <a:pt x="278" y="187"/>
                  </a:lnTo>
                  <a:lnTo>
                    <a:pt x="280" y="187"/>
                  </a:lnTo>
                  <a:lnTo>
                    <a:pt x="280" y="185"/>
                  </a:lnTo>
                  <a:lnTo>
                    <a:pt x="280" y="185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0" y="187"/>
                  </a:lnTo>
                  <a:lnTo>
                    <a:pt x="283" y="187"/>
                  </a:lnTo>
                  <a:lnTo>
                    <a:pt x="283" y="187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91"/>
                  </a:lnTo>
                  <a:lnTo>
                    <a:pt x="283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5" y="191"/>
                  </a:lnTo>
                  <a:lnTo>
                    <a:pt x="283" y="189"/>
                  </a:lnTo>
                  <a:lnTo>
                    <a:pt x="283" y="189"/>
                  </a:lnTo>
                  <a:lnTo>
                    <a:pt x="283" y="187"/>
                  </a:lnTo>
                  <a:lnTo>
                    <a:pt x="283" y="187"/>
                  </a:lnTo>
                  <a:lnTo>
                    <a:pt x="283" y="187"/>
                  </a:lnTo>
                  <a:lnTo>
                    <a:pt x="283" y="185"/>
                  </a:lnTo>
                  <a:lnTo>
                    <a:pt x="283" y="187"/>
                  </a:lnTo>
                  <a:lnTo>
                    <a:pt x="285" y="187"/>
                  </a:lnTo>
                  <a:lnTo>
                    <a:pt x="285" y="187"/>
                  </a:lnTo>
                  <a:lnTo>
                    <a:pt x="285" y="187"/>
                  </a:lnTo>
                  <a:lnTo>
                    <a:pt x="285" y="185"/>
                  </a:lnTo>
                  <a:lnTo>
                    <a:pt x="285" y="185"/>
                  </a:lnTo>
                  <a:lnTo>
                    <a:pt x="285" y="185"/>
                  </a:lnTo>
                  <a:lnTo>
                    <a:pt x="285" y="185"/>
                  </a:lnTo>
                  <a:lnTo>
                    <a:pt x="285" y="185"/>
                  </a:lnTo>
                  <a:lnTo>
                    <a:pt x="285" y="185"/>
                  </a:lnTo>
                  <a:lnTo>
                    <a:pt x="285" y="182"/>
                  </a:lnTo>
                  <a:lnTo>
                    <a:pt x="285" y="182"/>
                  </a:lnTo>
                  <a:lnTo>
                    <a:pt x="287" y="182"/>
                  </a:lnTo>
                  <a:lnTo>
                    <a:pt x="287" y="182"/>
                  </a:lnTo>
                  <a:lnTo>
                    <a:pt x="287" y="182"/>
                  </a:lnTo>
                  <a:lnTo>
                    <a:pt x="287" y="182"/>
                  </a:lnTo>
                  <a:lnTo>
                    <a:pt x="287" y="182"/>
                  </a:lnTo>
                  <a:lnTo>
                    <a:pt x="287" y="180"/>
                  </a:lnTo>
                  <a:lnTo>
                    <a:pt x="287" y="182"/>
                  </a:lnTo>
                  <a:lnTo>
                    <a:pt x="285" y="182"/>
                  </a:lnTo>
                  <a:lnTo>
                    <a:pt x="285" y="182"/>
                  </a:lnTo>
                  <a:lnTo>
                    <a:pt x="283" y="182"/>
                  </a:lnTo>
                  <a:lnTo>
                    <a:pt x="283" y="182"/>
                  </a:lnTo>
                  <a:lnTo>
                    <a:pt x="283" y="182"/>
                  </a:lnTo>
                  <a:lnTo>
                    <a:pt x="283" y="180"/>
                  </a:lnTo>
                  <a:lnTo>
                    <a:pt x="283" y="180"/>
                  </a:lnTo>
                  <a:lnTo>
                    <a:pt x="283" y="180"/>
                  </a:lnTo>
                  <a:lnTo>
                    <a:pt x="283" y="180"/>
                  </a:lnTo>
                  <a:lnTo>
                    <a:pt x="280" y="180"/>
                  </a:lnTo>
                  <a:lnTo>
                    <a:pt x="280" y="178"/>
                  </a:lnTo>
                  <a:lnTo>
                    <a:pt x="280" y="178"/>
                  </a:lnTo>
                  <a:lnTo>
                    <a:pt x="280" y="178"/>
                  </a:lnTo>
                  <a:lnTo>
                    <a:pt x="278" y="178"/>
                  </a:lnTo>
                  <a:lnTo>
                    <a:pt x="278" y="178"/>
                  </a:lnTo>
                  <a:lnTo>
                    <a:pt x="278" y="178"/>
                  </a:lnTo>
                  <a:lnTo>
                    <a:pt x="278" y="178"/>
                  </a:lnTo>
                  <a:lnTo>
                    <a:pt x="280" y="178"/>
                  </a:lnTo>
                  <a:lnTo>
                    <a:pt x="280" y="178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8" y="176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78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6"/>
                  </a:lnTo>
                  <a:lnTo>
                    <a:pt x="280" y="176"/>
                  </a:lnTo>
                  <a:lnTo>
                    <a:pt x="283" y="176"/>
                  </a:lnTo>
                  <a:lnTo>
                    <a:pt x="283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0" y="173"/>
                  </a:lnTo>
                  <a:lnTo>
                    <a:pt x="283" y="173"/>
                  </a:lnTo>
                  <a:lnTo>
                    <a:pt x="283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0" y="171"/>
                  </a:lnTo>
                  <a:lnTo>
                    <a:pt x="280" y="171"/>
                  </a:lnTo>
                  <a:lnTo>
                    <a:pt x="280" y="171"/>
                  </a:lnTo>
                  <a:lnTo>
                    <a:pt x="280" y="171"/>
                  </a:lnTo>
                  <a:lnTo>
                    <a:pt x="283" y="171"/>
                  </a:lnTo>
                  <a:lnTo>
                    <a:pt x="283" y="173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3" y="171"/>
                  </a:lnTo>
                  <a:lnTo>
                    <a:pt x="285" y="171"/>
                  </a:lnTo>
                  <a:lnTo>
                    <a:pt x="285" y="171"/>
                  </a:lnTo>
                  <a:lnTo>
                    <a:pt x="285" y="171"/>
                  </a:lnTo>
                  <a:lnTo>
                    <a:pt x="285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3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9"/>
                  </a:lnTo>
                  <a:lnTo>
                    <a:pt x="280" y="167"/>
                  </a:lnTo>
                  <a:lnTo>
                    <a:pt x="280" y="167"/>
                  </a:lnTo>
                  <a:lnTo>
                    <a:pt x="280" y="167"/>
                  </a:lnTo>
                  <a:lnTo>
                    <a:pt x="280" y="167"/>
                  </a:lnTo>
                  <a:lnTo>
                    <a:pt x="283" y="167"/>
                  </a:lnTo>
                  <a:lnTo>
                    <a:pt x="283" y="167"/>
                  </a:lnTo>
                  <a:lnTo>
                    <a:pt x="283" y="167"/>
                  </a:lnTo>
                  <a:lnTo>
                    <a:pt x="283" y="167"/>
                  </a:lnTo>
                  <a:lnTo>
                    <a:pt x="283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5" y="167"/>
                  </a:lnTo>
                  <a:lnTo>
                    <a:pt x="287" y="167"/>
                  </a:lnTo>
                  <a:lnTo>
                    <a:pt x="287" y="167"/>
                  </a:lnTo>
                  <a:lnTo>
                    <a:pt x="287" y="169"/>
                  </a:lnTo>
                  <a:lnTo>
                    <a:pt x="285" y="169"/>
                  </a:lnTo>
                  <a:lnTo>
                    <a:pt x="285" y="169"/>
                  </a:lnTo>
                  <a:lnTo>
                    <a:pt x="285" y="169"/>
                  </a:lnTo>
                  <a:lnTo>
                    <a:pt x="285" y="169"/>
                  </a:lnTo>
                  <a:lnTo>
                    <a:pt x="287" y="169"/>
                  </a:lnTo>
                  <a:lnTo>
                    <a:pt x="287" y="169"/>
                  </a:lnTo>
                  <a:lnTo>
                    <a:pt x="287" y="169"/>
                  </a:lnTo>
                  <a:lnTo>
                    <a:pt x="287" y="169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3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3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7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89" y="171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89" y="167"/>
                  </a:lnTo>
                  <a:lnTo>
                    <a:pt x="289" y="167"/>
                  </a:lnTo>
                  <a:lnTo>
                    <a:pt x="289" y="167"/>
                  </a:lnTo>
                  <a:lnTo>
                    <a:pt x="289" y="169"/>
                  </a:lnTo>
                  <a:lnTo>
                    <a:pt x="289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2" y="169"/>
                  </a:lnTo>
                  <a:lnTo>
                    <a:pt x="294" y="169"/>
                  </a:lnTo>
                  <a:lnTo>
                    <a:pt x="294" y="169"/>
                  </a:lnTo>
                  <a:lnTo>
                    <a:pt x="294" y="169"/>
                  </a:lnTo>
                  <a:lnTo>
                    <a:pt x="294" y="171"/>
                  </a:lnTo>
                  <a:lnTo>
                    <a:pt x="294" y="171"/>
                  </a:lnTo>
                  <a:lnTo>
                    <a:pt x="294" y="171"/>
                  </a:lnTo>
                  <a:lnTo>
                    <a:pt x="296" y="171"/>
                  </a:lnTo>
                  <a:lnTo>
                    <a:pt x="296" y="171"/>
                  </a:lnTo>
                  <a:lnTo>
                    <a:pt x="296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301" y="171"/>
                  </a:lnTo>
                  <a:lnTo>
                    <a:pt x="303" y="171"/>
                  </a:lnTo>
                  <a:lnTo>
                    <a:pt x="303" y="171"/>
                  </a:lnTo>
                  <a:lnTo>
                    <a:pt x="303" y="171"/>
                  </a:lnTo>
                  <a:lnTo>
                    <a:pt x="303" y="171"/>
                  </a:lnTo>
                  <a:lnTo>
                    <a:pt x="303" y="171"/>
                  </a:lnTo>
                  <a:lnTo>
                    <a:pt x="305" y="171"/>
                  </a:lnTo>
                  <a:lnTo>
                    <a:pt x="305" y="171"/>
                  </a:lnTo>
                  <a:lnTo>
                    <a:pt x="305" y="171"/>
                  </a:lnTo>
                  <a:lnTo>
                    <a:pt x="307" y="171"/>
                  </a:lnTo>
                  <a:lnTo>
                    <a:pt x="307" y="173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7" y="171"/>
                  </a:lnTo>
                  <a:lnTo>
                    <a:pt x="305" y="171"/>
                  </a:lnTo>
                  <a:lnTo>
                    <a:pt x="305" y="171"/>
                  </a:lnTo>
                  <a:lnTo>
                    <a:pt x="305" y="171"/>
                  </a:lnTo>
                  <a:lnTo>
                    <a:pt x="303" y="169"/>
                  </a:lnTo>
                  <a:lnTo>
                    <a:pt x="303" y="169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71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9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298" y="167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4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3" y="164"/>
                  </a:lnTo>
                  <a:lnTo>
                    <a:pt x="303" y="164"/>
                  </a:lnTo>
                  <a:lnTo>
                    <a:pt x="303" y="164"/>
                  </a:lnTo>
                  <a:lnTo>
                    <a:pt x="303" y="164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305" y="162"/>
                  </a:lnTo>
                  <a:lnTo>
                    <a:pt x="303" y="162"/>
                  </a:lnTo>
                  <a:lnTo>
                    <a:pt x="303" y="160"/>
                  </a:lnTo>
                  <a:lnTo>
                    <a:pt x="305" y="160"/>
                  </a:lnTo>
                  <a:lnTo>
                    <a:pt x="305" y="160"/>
                  </a:lnTo>
                  <a:lnTo>
                    <a:pt x="305" y="160"/>
                  </a:lnTo>
                  <a:lnTo>
                    <a:pt x="305" y="160"/>
                  </a:lnTo>
                  <a:lnTo>
                    <a:pt x="305" y="160"/>
                  </a:lnTo>
                  <a:lnTo>
                    <a:pt x="305" y="160"/>
                  </a:lnTo>
                  <a:lnTo>
                    <a:pt x="305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7" y="158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5" y="158"/>
                  </a:lnTo>
                  <a:lnTo>
                    <a:pt x="303" y="158"/>
                  </a:lnTo>
                  <a:lnTo>
                    <a:pt x="303" y="160"/>
                  </a:lnTo>
                  <a:lnTo>
                    <a:pt x="303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8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3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303" y="151"/>
                  </a:lnTo>
                  <a:lnTo>
                    <a:pt x="303" y="151"/>
                  </a:lnTo>
                  <a:lnTo>
                    <a:pt x="303" y="151"/>
                  </a:lnTo>
                  <a:lnTo>
                    <a:pt x="303" y="151"/>
                  </a:lnTo>
                  <a:lnTo>
                    <a:pt x="303" y="149"/>
                  </a:lnTo>
                  <a:lnTo>
                    <a:pt x="303" y="149"/>
                  </a:lnTo>
                  <a:lnTo>
                    <a:pt x="305" y="149"/>
                  </a:lnTo>
                  <a:lnTo>
                    <a:pt x="305" y="151"/>
                  </a:lnTo>
                  <a:lnTo>
                    <a:pt x="305" y="151"/>
                  </a:lnTo>
                  <a:lnTo>
                    <a:pt x="305" y="151"/>
                  </a:lnTo>
                  <a:lnTo>
                    <a:pt x="305" y="151"/>
                  </a:lnTo>
                  <a:lnTo>
                    <a:pt x="305" y="151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9"/>
                  </a:lnTo>
                  <a:lnTo>
                    <a:pt x="307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6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07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4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0" y="144"/>
                  </a:lnTo>
                  <a:lnTo>
                    <a:pt x="310" y="146"/>
                  </a:lnTo>
                  <a:lnTo>
                    <a:pt x="310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0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49"/>
                  </a:lnTo>
                  <a:lnTo>
                    <a:pt x="314" y="151"/>
                  </a:lnTo>
                  <a:lnTo>
                    <a:pt x="314" y="151"/>
                  </a:lnTo>
                  <a:lnTo>
                    <a:pt x="314" y="151"/>
                  </a:lnTo>
                  <a:lnTo>
                    <a:pt x="314" y="151"/>
                  </a:lnTo>
                  <a:lnTo>
                    <a:pt x="314" y="149"/>
                  </a:lnTo>
                  <a:lnTo>
                    <a:pt x="316" y="149"/>
                  </a:lnTo>
                  <a:lnTo>
                    <a:pt x="316" y="149"/>
                  </a:lnTo>
                  <a:lnTo>
                    <a:pt x="316" y="151"/>
                  </a:lnTo>
                  <a:lnTo>
                    <a:pt x="319" y="151"/>
                  </a:lnTo>
                  <a:lnTo>
                    <a:pt x="316" y="151"/>
                  </a:lnTo>
                  <a:lnTo>
                    <a:pt x="316" y="149"/>
                  </a:lnTo>
                  <a:lnTo>
                    <a:pt x="316" y="149"/>
                  </a:lnTo>
                  <a:lnTo>
                    <a:pt x="316" y="149"/>
                  </a:lnTo>
                  <a:lnTo>
                    <a:pt x="316" y="149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4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6"/>
                  </a:lnTo>
                  <a:lnTo>
                    <a:pt x="316" y="144"/>
                  </a:lnTo>
                  <a:lnTo>
                    <a:pt x="314" y="144"/>
                  </a:lnTo>
                  <a:lnTo>
                    <a:pt x="314" y="146"/>
                  </a:lnTo>
                  <a:lnTo>
                    <a:pt x="314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6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4" y="144"/>
                  </a:lnTo>
                  <a:lnTo>
                    <a:pt x="316" y="144"/>
                  </a:lnTo>
                  <a:lnTo>
                    <a:pt x="316" y="142"/>
                  </a:lnTo>
                  <a:lnTo>
                    <a:pt x="316" y="142"/>
                  </a:lnTo>
                  <a:lnTo>
                    <a:pt x="316" y="142"/>
                  </a:lnTo>
                  <a:lnTo>
                    <a:pt x="316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2" y="142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4" y="140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2"/>
                  </a:lnTo>
                  <a:lnTo>
                    <a:pt x="314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37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6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0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1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2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5" y="140"/>
                  </a:lnTo>
                  <a:lnTo>
                    <a:pt x="325" y="137"/>
                  </a:lnTo>
                  <a:lnTo>
                    <a:pt x="323" y="140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3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19" y="137"/>
                  </a:lnTo>
                  <a:lnTo>
                    <a:pt x="319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1" y="137"/>
                  </a:lnTo>
                  <a:lnTo>
                    <a:pt x="323" y="137"/>
                  </a:lnTo>
                  <a:lnTo>
                    <a:pt x="323" y="135"/>
                  </a:lnTo>
                  <a:lnTo>
                    <a:pt x="321" y="135"/>
                  </a:lnTo>
                  <a:lnTo>
                    <a:pt x="323" y="135"/>
                  </a:lnTo>
                  <a:lnTo>
                    <a:pt x="323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5"/>
                  </a:lnTo>
                  <a:lnTo>
                    <a:pt x="321" y="133"/>
                  </a:lnTo>
                  <a:lnTo>
                    <a:pt x="321" y="133"/>
                  </a:lnTo>
                  <a:lnTo>
                    <a:pt x="321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19" y="133"/>
                  </a:lnTo>
                  <a:lnTo>
                    <a:pt x="321" y="133"/>
                  </a:lnTo>
                  <a:lnTo>
                    <a:pt x="321" y="133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1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31"/>
                  </a:lnTo>
                  <a:lnTo>
                    <a:pt x="323" y="128"/>
                  </a:lnTo>
                  <a:lnTo>
                    <a:pt x="323" y="131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1" y="128"/>
                  </a:lnTo>
                  <a:lnTo>
                    <a:pt x="323" y="128"/>
                  </a:lnTo>
                  <a:lnTo>
                    <a:pt x="323" y="128"/>
                  </a:lnTo>
                  <a:lnTo>
                    <a:pt x="323" y="128"/>
                  </a:lnTo>
                  <a:lnTo>
                    <a:pt x="323" y="128"/>
                  </a:lnTo>
                  <a:lnTo>
                    <a:pt x="323" y="128"/>
                  </a:lnTo>
                  <a:lnTo>
                    <a:pt x="323" y="128"/>
                  </a:lnTo>
                  <a:lnTo>
                    <a:pt x="323" y="128"/>
                  </a:lnTo>
                  <a:lnTo>
                    <a:pt x="323" y="126"/>
                  </a:lnTo>
                  <a:lnTo>
                    <a:pt x="325" y="126"/>
                  </a:lnTo>
                  <a:lnTo>
                    <a:pt x="325" y="126"/>
                  </a:lnTo>
                  <a:lnTo>
                    <a:pt x="325" y="126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3" y="128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5" y="131"/>
                  </a:lnTo>
                  <a:lnTo>
                    <a:pt x="325" y="131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5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8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28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28" y="126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28" y="128"/>
                  </a:lnTo>
                  <a:lnTo>
                    <a:pt x="330" y="128"/>
                  </a:lnTo>
                  <a:lnTo>
                    <a:pt x="330" y="128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6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0" y="124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0" y="122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4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2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2" y="126"/>
                  </a:lnTo>
                  <a:lnTo>
                    <a:pt x="332" y="126"/>
                  </a:lnTo>
                  <a:lnTo>
                    <a:pt x="332" y="126"/>
                  </a:lnTo>
                  <a:lnTo>
                    <a:pt x="330" y="128"/>
                  </a:lnTo>
                  <a:lnTo>
                    <a:pt x="330" y="131"/>
                  </a:lnTo>
                  <a:lnTo>
                    <a:pt x="330" y="128"/>
                  </a:lnTo>
                  <a:lnTo>
                    <a:pt x="332" y="126"/>
                  </a:lnTo>
                  <a:lnTo>
                    <a:pt x="332" y="126"/>
                  </a:lnTo>
                  <a:lnTo>
                    <a:pt x="332" y="126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2" y="124"/>
                  </a:lnTo>
                  <a:lnTo>
                    <a:pt x="332" y="126"/>
                  </a:lnTo>
                  <a:lnTo>
                    <a:pt x="332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4"/>
                  </a:lnTo>
                  <a:lnTo>
                    <a:pt x="334" y="124"/>
                  </a:lnTo>
                  <a:lnTo>
                    <a:pt x="334" y="124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6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4" y="128"/>
                  </a:lnTo>
                  <a:lnTo>
                    <a:pt x="337" y="131"/>
                  </a:lnTo>
                  <a:lnTo>
                    <a:pt x="337" y="131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8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6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39" y="124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22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1" y="119"/>
                  </a:lnTo>
                  <a:lnTo>
                    <a:pt x="343" y="119"/>
                  </a:lnTo>
                  <a:lnTo>
                    <a:pt x="341" y="117"/>
                  </a:lnTo>
                  <a:lnTo>
                    <a:pt x="341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1" y="117"/>
                  </a:lnTo>
                  <a:lnTo>
                    <a:pt x="339" y="117"/>
                  </a:lnTo>
                  <a:lnTo>
                    <a:pt x="339" y="117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3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3"/>
                  </a:lnTo>
                  <a:lnTo>
                    <a:pt x="343" y="113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5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7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3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9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7"/>
                  </a:lnTo>
                  <a:lnTo>
                    <a:pt x="346" y="115"/>
                  </a:lnTo>
                  <a:lnTo>
                    <a:pt x="346" y="115"/>
                  </a:lnTo>
                  <a:lnTo>
                    <a:pt x="348" y="115"/>
                  </a:lnTo>
                  <a:lnTo>
                    <a:pt x="348" y="115"/>
                  </a:lnTo>
                  <a:lnTo>
                    <a:pt x="348" y="115"/>
                  </a:lnTo>
                  <a:lnTo>
                    <a:pt x="348" y="115"/>
                  </a:lnTo>
                  <a:lnTo>
                    <a:pt x="348" y="115"/>
                  </a:lnTo>
                  <a:lnTo>
                    <a:pt x="348" y="113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2" y="113"/>
                  </a:lnTo>
                  <a:lnTo>
                    <a:pt x="352" y="113"/>
                  </a:lnTo>
                  <a:lnTo>
                    <a:pt x="350" y="113"/>
                  </a:lnTo>
                  <a:lnTo>
                    <a:pt x="350" y="113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50" y="115"/>
                  </a:lnTo>
                  <a:lnTo>
                    <a:pt x="348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7"/>
                  </a:lnTo>
                  <a:lnTo>
                    <a:pt x="350" y="119"/>
                  </a:lnTo>
                  <a:lnTo>
                    <a:pt x="350" y="119"/>
                  </a:lnTo>
                  <a:lnTo>
                    <a:pt x="350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2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7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7" y="115"/>
                  </a:lnTo>
                  <a:lnTo>
                    <a:pt x="357" y="115"/>
                  </a:lnTo>
                  <a:lnTo>
                    <a:pt x="357" y="115"/>
                  </a:lnTo>
                  <a:lnTo>
                    <a:pt x="357" y="115"/>
                  </a:lnTo>
                  <a:lnTo>
                    <a:pt x="357" y="115"/>
                  </a:lnTo>
                  <a:lnTo>
                    <a:pt x="357" y="115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3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08"/>
                  </a:lnTo>
                  <a:lnTo>
                    <a:pt x="357" y="108"/>
                  </a:lnTo>
                  <a:lnTo>
                    <a:pt x="357" y="108"/>
                  </a:lnTo>
                  <a:lnTo>
                    <a:pt x="357" y="108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7" y="110"/>
                  </a:lnTo>
                  <a:lnTo>
                    <a:pt x="359" y="110"/>
                  </a:lnTo>
                  <a:lnTo>
                    <a:pt x="359" y="110"/>
                  </a:lnTo>
                  <a:lnTo>
                    <a:pt x="359" y="110"/>
                  </a:lnTo>
                  <a:lnTo>
                    <a:pt x="359" y="110"/>
                  </a:lnTo>
                  <a:lnTo>
                    <a:pt x="359" y="110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59" y="108"/>
                  </a:lnTo>
                  <a:lnTo>
                    <a:pt x="361" y="108"/>
                  </a:lnTo>
                  <a:lnTo>
                    <a:pt x="361" y="108"/>
                  </a:lnTo>
                  <a:lnTo>
                    <a:pt x="361" y="108"/>
                  </a:lnTo>
                  <a:lnTo>
                    <a:pt x="361" y="108"/>
                  </a:lnTo>
                  <a:lnTo>
                    <a:pt x="361" y="108"/>
                  </a:lnTo>
                  <a:lnTo>
                    <a:pt x="361" y="110"/>
                  </a:lnTo>
                  <a:lnTo>
                    <a:pt x="361" y="110"/>
                  </a:lnTo>
                  <a:lnTo>
                    <a:pt x="361" y="110"/>
                  </a:lnTo>
                  <a:lnTo>
                    <a:pt x="361" y="110"/>
                  </a:lnTo>
                  <a:lnTo>
                    <a:pt x="361" y="110"/>
                  </a:lnTo>
                  <a:lnTo>
                    <a:pt x="361" y="110"/>
                  </a:lnTo>
                  <a:lnTo>
                    <a:pt x="364" y="110"/>
                  </a:lnTo>
                  <a:lnTo>
                    <a:pt x="364" y="110"/>
                  </a:lnTo>
                  <a:lnTo>
                    <a:pt x="361" y="110"/>
                  </a:lnTo>
                  <a:lnTo>
                    <a:pt x="361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6" y="113"/>
                  </a:lnTo>
                  <a:lnTo>
                    <a:pt x="364" y="113"/>
                  </a:lnTo>
                  <a:lnTo>
                    <a:pt x="364" y="113"/>
                  </a:lnTo>
                  <a:lnTo>
                    <a:pt x="366" y="113"/>
                  </a:lnTo>
                  <a:lnTo>
                    <a:pt x="366" y="113"/>
                  </a:lnTo>
                  <a:lnTo>
                    <a:pt x="366" y="113"/>
                  </a:lnTo>
                  <a:lnTo>
                    <a:pt x="366" y="113"/>
                  </a:lnTo>
                  <a:lnTo>
                    <a:pt x="366" y="113"/>
                  </a:lnTo>
                  <a:lnTo>
                    <a:pt x="366" y="113"/>
                  </a:lnTo>
                  <a:lnTo>
                    <a:pt x="366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68" y="113"/>
                  </a:lnTo>
                  <a:lnTo>
                    <a:pt x="370" y="113"/>
                  </a:lnTo>
                  <a:lnTo>
                    <a:pt x="370" y="113"/>
                  </a:lnTo>
                  <a:lnTo>
                    <a:pt x="370" y="113"/>
                  </a:lnTo>
                  <a:lnTo>
                    <a:pt x="370" y="115"/>
                  </a:lnTo>
                  <a:lnTo>
                    <a:pt x="370" y="115"/>
                  </a:lnTo>
                  <a:lnTo>
                    <a:pt x="370" y="115"/>
                  </a:lnTo>
                  <a:lnTo>
                    <a:pt x="370" y="115"/>
                  </a:lnTo>
                  <a:lnTo>
                    <a:pt x="370" y="115"/>
                  </a:lnTo>
                  <a:lnTo>
                    <a:pt x="370" y="117"/>
                  </a:lnTo>
                  <a:lnTo>
                    <a:pt x="370" y="117"/>
                  </a:lnTo>
                  <a:lnTo>
                    <a:pt x="370" y="115"/>
                  </a:lnTo>
                  <a:lnTo>
                    <a:pt x="370" y="117"/>
                  </a:lnTo>
                  <a:lnTo>
                    <a:pt x="370" y="117"/>
                  </a:lnTo>
                  <a:lnTo>
                    <a:pt x="370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3" y="117"/>
                  </a:lnTo>
                  <a:lnTo>
                    <a:pt x="375" y="119"/>
                  </a:lnTo>
                  <a:lnTo>
                    <a:pt x="375" y="119"/>
                  </a:lnTo>
                  <a:lnTo>
                    <a:pt x="375" y="119"/>
                  </a:lnTo>
                  <a:lnTo>
                    <a:pt x="375" y="119"/>
                  </a:lnTo>
                  <a:lnTo>
                    <a:pt x="375" y="122"/>
                  </a:lnTo>
                  <a:lnTo>
                    <a:pt x="375" y="122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6"/>
                  </a:lnTo>
                  <a:lnTo>
                    <a:pt x="377" y="126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4"/>
                  </a:lnTo>
                  <a:lnTo>
                    <a:pt x="377" y="126"/>
                  </a:lnTo>
                  <a:lnTo>
                    <a:pt x="377" y="126"/>
                  </a:lnTo>
                  <a:lnTo>
                    <a:pt x="377" y="126"/>
                  </a:lnTo>
                  <a:lnTo>
                    <a:pt x="377" y="126"/>
                  </a:lnTo>
                  <a:lnTo>
                    <a:pt x="377" y="126"/>
                  </a:lnTo>
                  <a:lnTo>
                    <a:pt x="379" y="126"/>
                  </a:lnTo>
                  <a:lnTo>
                    <a:pt x="379" y="126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79" y="128"/>
                  </a:lnTo>
                  <a:lnTo>
                    <a:pt x="382" y="128"/>
                  </a:lnTo>
                  <a:lnTo>
                    <a:pt x="382" y="128"/>
                  </a:lnTo>
                  <a:lnTo>
                    <a:pt x="382" y="131"/>
                  </a:lnTo>
                  <a:lnTo>
                    <a:pt x="382" y="131"/>
                  </a:lnTo>
                  <a:lnTo>
                    <a:pt x="382" y="131"/>
                  </a:lnTo>
                  <a:lnTo>
                    <a:pt x="382" y="131"/>
                  </a:lnTo>
                  <a:lnTo>
                    <a:pt x="382" y="131"/>
                  </a:lnTo>
                  <a:lnTo>
                    <a:pt x="382" y="131"/>
                  </a:lnTo>
                  <a:lnTo>
                    <a:pt x="384" y="131"/>
                  </a:lnTo>
                  <a:lnTo>
                    <a:pt x="384" y="131"/>
                  </a:lnTo>
                  <a:lnTo>
                    <a:pt x="384" y="131"/>
                  </a:lnTo>
                  <a:lnTo>
                    <a:pt x="384" y="131"/>
                  </a:lnTo>
                  <a:lnTo>
                    <a:pt x="384" y="131"/>
                  </a:lnTo>
                  <a:lnTo>
                    <a:pt x="384" y="131"/>
                  </a:lnTo>
                  <a:lnTo>
                    <a:pt x="384" y="131"/>
                  </a:lnTo>
                  <a:lnTo>
                    <a:pt x="384" y="133"/>
                  </a:lnTo>
                  <a:lnTo>
                    <a:pt x="384" y="133"/>
                  </a:lnTo>
                  <a:lnTo>
                    <a:pt x="384" y="133"/>
                  </a:lnTo>
                  <a:lnTo>
                    <a:pt x="384" y="133"/>
                  </a:lnTo>
                  <a:lnTo>
                    <a:pt x="384" y="133"/>
                  </a:lnTo>
                  <a:lnTo>
                    <a:pt x="384" y="133"/>
                  </a:lnTo>
                  <a:lnTo>
                    <a:pt x="382" y="133"/>
                  </a:lnTo>
                  <a:lnTo>
                    <a:pt x="382" y="133"/>
                  </a:lnTo>
                  <a:lnTo>
                    <a:pt x="384" y="133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7"/>
                  </a:lnTo>
                  <a:lnTo>
                    <a:pt x="379" y="137"/>
                  </a:lnTo>
                  <a:lnTo>
                    <a:pt x="379" y="137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9" y="146"/>
                  </a:lnTo>
                  <a:lnTo>
                    <a:pt x="377" y="146"/>
                  </a:lnTo>
                  <a:lnTo>
                    <a:pt x="377" y="146"/>
                  </a:lnTo>
                  <a:lnTo>
                    <a:pt x="377" y="149"/>
                  </a:lnTo>
                  <a:lnTo>
                    <a:pt x="377" y="149"/>
                  </a:lnTo>
                  <a:lnTo>
                    <a:pt x="377" y="149"/>
                  </a:lnTo>
                  <a:lnTo>
                    <a:pt x="377" y="151"/>
                  </a:lnTo>
                  <a:lnTo>
                    <a:pt x="377" y="151"/>
                  </a:lnTo>
                  <a:lnTo>
                    <a:pt x="377" y="151"/>
                  </a:lnTo>
                  <a:lnTo>
                    <a:pt x="377" y="149"/>
                  </a:lnTo>
                  <a:lnTo>
                    <a:pt x="377" y="149"/>
                  </a:lnTo>
                  <a:lnTo>
                    <a:pt x="379" y="149"/>
                  </a:lnTo>
                  <a:lnTo>
                    <a:pt x="379" y="146"/>
                  </a:lnTo>
                  <a:lnTo>
                    <a:pt x="379" y="146"/>
                  </a:lnTo>
                  <a:lnTo>
                    <a:pt x="379" y="146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9" y="144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4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2" y="146"/>
                  </a:lnTo>
                  <a:lnTo>
                    <a:pt x="382" y="146"/>
                  </a:lnTo>
                  <a:lnTo>
                    <a:pt x="382" y="149"/>
                  </a:lnTo>
                  <a:lnTo>
                    <a:pt x="382" y="149"/>
                  </a:lnTo>
                  <a:lnTo>
                    <a:pt x="384" y="146"/>
                  </a:lnTo>
                  <a:lnTo>
                    <a:pt x="384" y="144"/>
                  </a:lnTo>
                  <a:lnTo>
                    <a:pt x="384" y="144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2" y="144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2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2" y="140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7"/>
                  </a:lnTo>
                  <a:lnTo>
                    <a:pt x="384" y="135"/>
                  </a:lnTo>
                  <a:lnTo>
                    <a:pt x="386" y="135"/>
                  </a:lnTo>
                  <a:lnTo>
                    <a:pt x="386" y="137"/>
                  </a:lnTo>
                  <a:lnTo>
                    <a:pt x="386" y="140"/>
                  </a:lnTo>
                  <a:lnTo>
                    <a:pt x="386" y="140"/>
                  </a:lnTo>
                  <a:lnTo>
                    <a:pt x="386" y="140"/>
                  </a:lnTo>
                  <a:lnTo>
                    <a:pt x="386" y="140"/>
                  </a:lnTo>
                  <a:lnTo>
                    <a:pt x="386" y="137"/>
                  </a:lnTo>
                  <a:lnTo>
                    <a:pt x="386" y="137"/>
                  </a:lnTo>
                  <a:lnTo>
                    <a:pt x="386" y="140"/>
                  </a:lnTo>
                  <a:lnTo>
                    <a:pt x="386" y="140"/>
                  </a:lnTo>
                  <a:lnTo>
                    <a:pt x="386" y="140"/>
                  </a:lnTo>
                  <a:lnTo>
                    <a:pt x="388" y="140"/>
                  </a:lnTo>
                  <a:lnTo>
                    <a:pt x="388" y="140"/>
                  </a:lnTo>
                  <a:lnTo>
                    <a:pt x="388" y="140"/>
                  </a:lnTo>
                  <a:lnTo>
                    <a:pt x="388" y="140"/>
                  </a:lnTo>
                  <a:lnTo>
                    <a:pt x="388" y="137"/>
                  </a:lnTo>
                  <a:lnTo>
                    <a:pt x="388" y="137"/>
                  </a:lnTo>
                  <a:lnTo>
                    <a:pt x="388" y="137"/>
                  </a:lnTo>
                  <a:lnTo>
                    <a:pt x="388" y="137"/>
                  </a:lnTo>
                  <a:lnTo>
                    <a:pt x="386" y="137"/>
                  </a:lnTo>
                  <a:lnTo>
                    <a:pt x="386" y="137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6" y="133"/>
                  </a:lnTo>
                  <a:lnTo>
                    <a:pt x="386" y="133"/>
                  </a:lnTo>
                  <a:lnTo>
                    <a:pt x="388" y="133"/>
                  </a:lnTo>
                  <a:lnTo>
                    <a:pt x="388" y="133"/>
                  </a:lnTo>
                  <a:lnTo>
                    <a:pt x="388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91" y="133"/>
                  </a:lnTo>
                  <a:lnTo>
                    <a:pt x="393" y="133"/>
                  </a:lnTo>
                  <a:lnTo>
                    <a:pt x="393" y="133"/>
                  </a:lnTo>
                  <a:lnTo>
                    <a:pt x="395" y="135"/>
                  </a:lnTo>
                  <a:lnTo>
                    <a:pt x="395" y="135"/>
                  </a:lnTo>
                  <a:lnTo>
                    <a:pt x="395" y="135"/>
                  </a:lnTo>
                  <a:lnTo>
                    <a:pt x="395" y="135"/>
                  </a:lnTo>
                  <a:lnTo>
                    <a:pt x="395" y="135"/>
                  </a:lnTo>
                  <a:lnTo>
                    <a:pt x="397" y="135"/>
                  </a:lnTo>
                  <a:lnTo>
                    <a:pt x="397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2" y="135"/>
                  </a:lnTo>
                  <a:lnTo>
                    <a:pt x="402" y="135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37"/>
                  </a:lnTo>
                  <a:lnTo>
                    <a:pt x="402" y="140"/>
                  </a:lnTo>
                  <a:lnTo>
                    <a:pt x="402" y="140"/>
                  </a:lnTo>
                  <a:lnTo>
                    <a:pt x="402" y="140"/>
                  </a:lnTo>
                  <a:lnTo>
                    <a:pt x="402" y="140"/>
                  </a:lnTo>
                  <a:lnTo>
                    <a:pt x="402" y="140"/>
                  </a:lnTo>
                  <a:lnTo>
                    <a:pt x="402" y="142"/>
                  </a:lnTo>
                  <a:lnTo>
                    <a:pt x="402" y="142"/>
                  </a:lnTo>
                  <a:lnTo>
                    <a:pt x="402" y="142"/>
                  </a:lnTo>
                  <a:lnTo>
                    <a:pt x="402" y="144"/>
                  </a:lnTo>
                  <a:lnTo>
                    <a:pt x="402" y="144"/>
                  </a:lnTo>
                  <a:lnTo>
                    <a:pt x="402" y="142"/>
                  </a:lnTo>
                  <a:lnTo>
                    <a:pt x="402" y="142"/>
                  </a:lnTo>
                  <a:lnTo>
                    <a:pt x="402" y="142"/>
                  </a:lnTo>
                  <a:lnTo>
                    <a:pt x="402" y="144"/>
                  </a:lnTo>
                  <a:lnTo>
                    <a:pt x="402" y="144"/>
                  </a:lnTo>
                  <a:lnTo>
                    <a:pt x="402" y="144"/>
                  </a:lnTo>
                  <a:lnTo>
                    <a:pt x="404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4" y="140"/>
                  </a:lnTo>
                  <a:lnTo>
                    <a:pt x="404" y="140"/>
                  </a:lnTo>
                  <a:lnTo>
                    <a:pt x="404" y="137"/>
                  </a:lnTo>
                  <a:lnTo>
                    <a:pt x="404" y="137"/>
                  </a:lnTo>
                  <a:lnTo>
                    <a:pt x="404" y="137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4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9" y="137"/>
                  </a:lnTo>
                  <a:lnTo>
                    <a:pt x="409" y="137"/>
                  </a:lnTo>
                  <a:lnTo>
                    <a:pt x="409" y="137"/>
                  </a:lnTo>
                  <a:lnTo>
                    <a:pt x="409" y="137"/>
                  </a:lnTo>
                  <a:lnTo>
                    <a:pt x="411" y="140"/>
                  </a:lnTo>
                  <a:lnTo>
                    <a:pt x="411" y="140"/>
                  </a:lnTo>
                  <a:lnTo>
                    <a:pt x="411" y="140"/>
                  </a:lnTo>
                  <a:lnTo>
                    <a:pt x="411" y="140"/>
                  </a:lnTo>
                  <a:lnTo>
                    <a:pt x="411" y="140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1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4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3" y="140"/>
                  </a:lnTo>
                  <a:lnTo>
                    <a:pt x="413" y="140"/>
                  </a:lnTo>
                  <a:lnTo>
                    <a:pt x="413" y="137"/>
                  </a:lnTo>
                  <a:lnTo>
                    <a:pt x="411" y="137"/>
                  </a:lnTo>
                  <a:lnTo>
                    <a:pt x="413" y="137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3" y="135"/>
                  </a:lnTo>
                  <a:lnTo>
                    <a:pt x="415" y="135"/>
                  </a:lnTo>
                  <a:lnTo>
                    <a:pt x="415" y="135"/>
                  </a:lnTo>
                  <a:lnTo>
                    <a:pt x="415" y="135"/>
                  </a:lnTo>
                  <a:lnTo>
                    <a:pt x="415" y="135"/>
                  </a:lnTo>
                  <a:lnTo>
                    <a:pt x="418" y="135"/>
                  </a:lnTo>
                  <a:lnTo>
                    <a:pt x="418" y="135"/>
                  </a:lnTo>
                  <a:lnTo>
                    <a:pt x="418" y="135"/>
                  </a:lnTo>
                  <a:lnTo>
                    <a:pt x="418" y="135"/>
                  </a:lnTo>
                  <a:lnTo>
                    <a:pt x="418" y="135"/>
                  </a:lnTo>
                  <a:lnTo>
                    <a:pt x="418" y="135"/>
                  </a:lnTo>
                  <a:lnTo>
                    <a:pt x="418" y="135"/>
                  </a:lnTo>
                  <a:lnTo>
                    <a:pt x="420" y="133"/>
                  </a:lnTo>
                  <a:lnTo>
                    <a:pt x="420" y="133"/>
                  </a:lnTo>
                  <a:lnTo>
                    <a:pt x="420" y="133"/>
                  </a:lnTo>
                  <a:lnTo>
                    <a:pt x="420" y="133"/>
                  </a:lnTo>
                  <a:lnTo>
                    <a:pt x="420" y="133"/>
                  </a:lnTo>
                  <a:lnTo>
                    <a:pt x="420" y="133"/>
                  </a:lnTo>
                  <a:lnTo>
                    <a:pt x="420" y="131"/>
                  </a:lnTo>
                  <a:lnTo>
                    <a:pt x="420" y="131"/>
                  </a:lnTo>
                  <a:lnTo>
                    <a:pt x="420" y="133"/>
                  </a:lnTo>
                  <a:lnTo>
                    <a:pt x="420" y="133"/>
                  </a:lnTo>
                  <a:lnTo>
                    <a:pt x="418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5" y="133"/>
                  </a:lnTo>
                  <a:lnTo>
                    <a:pt x="413" y="133"/>
                  </a:lnTo>
                  <a:lnTo>
                    <a:pt x="413" y="133"/>
                  </a:lnTo>
                  <a:lnTo>
                    <a:pt x="413" y="131"/>
                  </a:lnTo>
                  <a:lnTo>
                    <a:pt x="413" y="131"/>
                  </a:lnTo>
                  <a:lnTo>
                    <a:pt x="413" y="131"/>
                  </a:lnTo>
                  <a:lnTo>
                    <a:pt x="413" y="131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5" y="128"/>
                  </a:lnTo>
                  <a:lnTo>
                    <a:pt x="415" y="128"/>
                  </a:lnTo>
                  <a:lnTo>
                    <a:pt x="415" y="128"/>
                  </a:lnTo>
                  <a:lnTo>
                    <a:pt x="415" y="128"/>
                  </a:lnTo>
                  <a:lnTo>
                    <a:pt x="418" y="128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5" y="128"/>
                  </a:lnTo>
                  <a:lnTo>
                    <a:pt x="415" y="128"/>
                  </a:lnTo>
                  <a:lnTo>
                    <a:pt x="415" y="128"/>
                  </a:lnTo>
                  <a:lnTo>
                    <a:pt x="415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3" y="128"/>
                  </a:lnTo>
                  <a:lnTo>
                    <a:pt x="411" y="128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11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6"/>
                  </a:lnTo>
                  <a:lnTo>
                    <a:pt x="409" y="124"/>
                  </a:lnTo>
                  <a:lnTo>
                    <a:pt x="409" y="124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11" y="122"/>
                  </a:lnTo>
                  <a:lnTo>
                    <a:pt x="411" y="122"/>
                  </a:lnTo>
                  <a:lnTo>
                    <a:pt x="411" y="122"/>
                  </a:lnTo>
                  <a:lnTo>
                    <a:pt x="411" y="122"/>
                  </a:lnTo>
                  <a:lnTo>
                    <a:pt x="411" y="119"/>
                  </a:lnTo>
                  <a:lnTo>
                    <a:pt x="411" y="119"/>
                  </a:lnTo>
                  <a:lnTo>
                    <a:pt x="411" y="119"/>
                  </a:lnTo>
                  <a:lnTo>
                    <a:pt x="411" y="119"/>
                  </a:lnTo>
                  <a:lnTo>
                    <a:pt x="411" y="119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5"/>
                  </a:lnTo>
                  <a:lnTo>
                    <a:pt x="413" y="115"/>
                  </a:lnTo>
                  <a:lnTo>
                    <a:pt x="413" y="115"/>
                  </a:lnTo>
                  <a:lnTo>
                    <a:pt x="413" y="115"/>
                  </a:lnTo>
                  <a:lnTo>
                    <a:pt x="413" y="115"/>
                  </a:lnTo>
                  <a:lnTo>
                    <a:pt x="413" y="115"/>
                  </a:lnTo>
                  <a:lnTo>
                    <a:pt x="413" y="115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5"/>
                  </a:lnTo>
                  <a:lnTo>
                    <a:pt x="415" y="115"/>
                  </a:lnTo>
                  <a:lnTo>
                    <a:pt x="415" y="115"/>
                  </a:lnTo>
                  <a:lnTo>
                    <a:pt x="415" y="115"/>
                  </a:lnTo>
                  <a:lnTo>
                    <a:pt x="415" y="115"/>
                  </a:lnTo>
                  <a:lnTo>
                    <a:pt x="418" y="115"/>
                  </a:lnTo>
                  <a:lnTo>
                    <a:pt x="418" y="115"/>
                  </a:lnTo>
                  <a:lnTo>
                    <a:pt x="418" y="115"/>
                  </a:lnTo>
                  <a:lnTo>
                    <a:pt x="418" y="113"/>
                  </a:lnTo>
                  <a:lnTo>
                    <a:pt x="418" y="113"/>
                  </a:lnTo>
                  <a:lnTo>
                    <a:pt x="418" y="113"/>
                  </a:lnTo>
                  <a:lnTo>
                    <a:pt x="418" y="113"/>
                  </a:lnTo>
                  <a:lnTo>
                    <a:pt x="418" y="113"/>
                  </a:lnTo>
                  <a:lnTo>
                    <a:pt x="418" y="113"/>
                  </a:lnTo>
                  <a:lnTo>
                    <a:pt x="418" y="110"/>
                  </a:lnTo>
                  <a:lnTo>
                    <a:pt x="418" y="110"/>
                  </a:lnTo>
                  <a:lnTo>
                    <a:pt x="418" y="110"/>
                  </a:lnTo>
                  <a:lnTo>
                    <a:pt x="420" y="110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8"/>
                  </a:lnTo>
                  <a:lnTo>
                    <a:pt x="420" y="106"/>
                  </a:lnTo>
                  <a:lnTo>
                    <a:pt x="420" y="106"/>
                  </a:lnTo>
                  <a:lnTo>
                    <a:pt x="420" y="104"/>
                  </a:lnTo>
                  <a:lnTo>
                    <a:pt x="422" y="104"/>
                  </a:lnTo>
                  <a:lnTo>
                    <a:pt x="422" y="104"/>
                  </a:lnTo>
                  <a:lnTo>
                    <a:pt x="422" y="104"/>
                  </a:lnTo>
                  <a:lnTo>
                    <a:pt x="422" y="104"/>
                  </a:lnTo>
                  <a:lnTo>
                    <a:pt x="422" y="104"/>
                  </a:lnTo>
                  <a:lnTo>
                    <a:pt x="422" y="104"/>
                  </a:lnTo>
                  <a:lnTo>
                    <a:pt x="422" y="101"/>
                  </a:lnTo>
                  <a:lnTo>
                    <a:pt x="422" y="101"/>
                  </a:lnTo>
                  <a:lnTo>
                    <a:pt x="422" y="101"/>
                  </a:lnTo>
                  <a:lnTo>
                    <a:pt x="422" y="101"/>
                  </a:lnTo>
                  <a:lnTo>
                    <a:pt x="422" y="101"/>
                  </a:lnTo>
                  <a:lnTo>
                    <a:pt x="422" y="101"/>
                  </a:lnTo>
                  <a:lnTo>
                    <a:pt x="422" y="101"/>
                  </a:lnTo>
                  <a:lnTo>
                    <a:pt x="422" y="104"/>
                  </a:lnTo>
                  <a:lnTo>
                    <a:pt x="422" y="104"/>
                  </a:lnTo>
                  <a:lnTo>
                    <a:pt x="424" y="104"/>
                  </a:lnTo>
                  <a:lnTo>
                    <a:pt x="424" y="104"/>
                  </a:lnTo>
                  <a:lnTo>
                    <a:pt x="424" y="104"/>
                  </a:lnTo>
                  <a:lnTo>
                    <a:pt x="427" y="104"/>
                  </a:lnTo>
                  <a:lnTo>
                    <a:pt x="427" y="101"/>
                  </a:lnTo>
                  <a:lnTo>
                    <a:pt x="427" y="101"/>
                  </a:lnTo>
                  <a:lnTo>
                    <a:pt x="429" y="101"/>
                  </a:lnTo>
                  <a:lnTo>
                    <a:pt x="429" y="101"/>
                  </a:lnTo>
                  <a:lnTo>
                    <a:pt x="429" y="99"/>
                  </a:lnTo>
                  <a:lnTo>
                    <a:pt x="431" y="99"/>
                  </a:lnTo>
                  <a:lnTo>
                    <a:pt x="431" y="99"/>
                  </a:lnTo>
                  <a:lnTo>
                    <a:pt x="431" y="99"/>
                  </a:lnTo>
                  <a:lnTo>
                    <a:pt x="431" y="99"/>
                  </a:lnTo>
                  <a:lnTo>
                    <a:pt x="431" y="99"/>
                  </a:lnTo>
                  <a:lnTo>
                    <a:pt x="433" y="99"/>
                  </a:lnTo>
                  <a:lnTo>
                    <a:pt x="431" y="99"/>
                  </a:lnTo>
                  <a:lnTo>
                    <a:pt x="431" y="99"/>
                  </a:lnTo>
                  <a:lnTo>
                    <a:pt x="431" y="97"/>
                  </a:lnTo>
                  <a:lnTo>
                    <a:pt x="431" y="97"/>
                  </a:lnTo>
                  <a:lnTo>
                    <a:pt x="431" y="97"/>
                  </a:lnTo>
                  <a:lnTo>
                    <a:pt x="431" y="97"/>
                  </a:lnTo>
                  <a:lnTo>
                    <a:pt x="431" y="97"/>
                  </a:lnTo>
                  <a:lnTo>
                    <a:pt x="431" y="97"/>
                  </a:lnTo>
                  <a:lnTo>
                    <a:pt x="429" y="95"/>
                  </a:lnTo>
                  <a:lnTo>
                    <a:pt x="429" y="95"/>
                  </a:lnTo>
                  <a:lnTo>
                    <a:pt x="429" y="95"/>
                  </a:lnTo>
                  <a:lnTo>
                    <a:pt x="429" y="95"/>
                  </a:lnTo>
                  <a:lnTo>
                    <a:pt x="429" y="95"/>
                  </a:lnTo>
                  <a:lnTo>
                    <a:pt x="429" y="92"/>
                  </a:lnTo>
                  <a:lnTo>
                    <a:pt x="429" y="92"/>
                  </a:lnTo>
                  <a:lnTo>
                    <a:pt x="429" y="90"/>
                  </a:lnTo>
                  <a:lnTo>
                    <a:pt x="429" y="90"/>
                  </a:lnTo>
                  <a:lnTo>
                    <a:pt x="429" y="90"/>
                  </a:lnTo>
                  <a:lnTo>
                    <a:pt x="429" y="90"/>
                  </a:lnTo>
                  <a:lnTo>
                    <a:pt x="429" y="88"/>
                  </a:lnTo>
                  <a:lnTo>
                    <a:pt x="429" y="88"/>
                  </a:lnTo>
                  <a:lnTo>
                    <a:pt x="431" y="88"/>
                  </a:lnTo>
                  <a:lnTo>
                    <a:pt x="431" y="88"/>
                  </a:lnTo>
                  <a:lnTo>
                    <a:pt x="431" y="88"/>
                  </a:lnTo>
                  <a:lnTo>
                    <a:pt x="431" y="88"/>
                  </a:lnTo>
                  <a:lnTo>
                    <a:pt x="431" y="88"/>
                  </a:lnTo>
                  <a:lnTo>
                    <a:pt x="431" y="90"/>
                  </a:lnTo>
                  <a:lnTo>
                    <a:pt x="431" y="90"/>
                  </a:lnTo>
                  <a:lnTo>
                    <a:pt x="431" y="90"/>
                  </a:lnTo>
                  <a:lnTo>
                    <a:pt x="433" y="88"/>
                  </a:lnTo>
                  <a:lnTo>
                    <a:pt x="433" y="88"/>
                  </a:lnTo>
                  <a:lnTo>
                    <a:pt x="433" y="88"/>
                  </a:lnTo>
                  <a:lnTo>
                    <a:pt x="433" y="88"/>
                  </a:lnTo>
                  <a:lnTo>
                    <a:pt x="433" y="88"/>
                  </a:lnTo>
                  <a:lnTo>
                    <a:pt x="433" y="88"/>
                  </a:lnTo>
                  <a:lnTo>
                    <a:pt x="433" y="86"/>
                  </a:lnTo>
                  <a:lnTo>
                    <a:pt x="435" y="86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3"/>
                  </a:lnTo>
                  <a:lnTo>
                    <a:pt x="435" y="81"/>
                  </a:lnTo>
                  <a:lnTo>
                    <a:pt x="435" y="81"/>
                  </a:lnTo>
                  <a:lnTo>
                    <a:pt x="435" y="81"/>
                  </a:lnTo>
                  <a:lnTo>
                    <a:pt x="438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8" y="81"/>
                  </a:lnTo>
                  <a:lnTo>
                    <a:pt x="438" y="81"/>
                  </a:lnTo>
                  <a:lnTo>
                    <a:pt x="438" y="81"/>
                  </a:lnTo>
                  <a:lnTo>
                    <a:pt x="438" y="81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2" y="83"/>
                  </a:lnTo>
                  <a:lnTo>
                    <a:pt x="442" y="83"/>
                  </a:lnTo>
                  <a:lnTo>
                    <a:pt x="442" y="83"/>
                  </a:lnTo>
                  <a:lnTo>
                    <a:pt x="442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3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81"/>
                  </a:lnTo>
                  <a:lnTo>
                    <a:pt x="440" y="79"/>
                  </a:lnTo>
                  <a:lnTo>
                    <a:pt x="440" y="79"/>
                  </a:lnTo>
                  <a:lnTo>
                    <a:pt x="440" y="79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0" y="77"/>
                  </a:lnTo>
                  <a:lnTo>
                    <a:pt x="442" y="77"/>
                  </a:lnTo>
                  <a:lnTo>
                    <a:pt x="442" y="77"/>
                  </a:lnTo>
                  <a:lnTo>
                    <a:pt x="442" y="77"/>
                  </a:lnTo>
                  <a:lnTo>
                    <a:pt x="442" y="77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1"/>
                  </a:lnTo>
                  <a:lnTo>
                    <a:pt x="444" y="81"/>
                  </a:lnTo>
                  <a:lnTo>
                    <a:pt x="444" y="81"/>
                  </a:lnTo>
                  <a:lnTo>
                    <a:pt x="444" y="81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81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9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9"/>
                  </a:lnTo>
                  <a:lnTo>
                    <a:pt x="447" y="77"/>
                  </a:lnTo>
                  <a:lnTo>
                    <a:pt x="447" y="77"/>
                  </a:lnTo>
                  <a:lnTo>
                    <a:pt x="447" y="77"/>
                  </a:lnTo>
                  <a:lnTo>
                    <a:pt x="444" y="79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4" y="77"/>
                  </a:lnTo>
                  <a:lnTo>
                    <a:pt x="447" y="77"/>
                  </a:lnTo>
                  <a:lnTo>
                    <a:pt x="447" y="77"/>
                  </a:lnTo>
                  <a:lnTo>
                    <a:pt x="447" y="77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7" y="74"/>
                  </a:lnTo>
                  <a:lnTo>
                    <a:pt x="449" y="74"/>
                  </a:lnTo>
                  <a:lnTo>
                    <a:pt x="451" y="77"/>
                  </a:lnTo>
                  <a:lnTo>
                    <a:pt x="451" y="74"/>
                  </a:lnTo>
                  <a:lnTo>
                    <a:pt x="451" y="74"/>
                  </a:lnTo>
                  <a:lnTo>
                    <a:pt x="449" y="74"/>
                  </a:lnTo>
                  <a:lnTo>
                    <a:pt x="449" y="74"/>
                  </a:lnTo>
                  <a:lnTo>
                    <a:pt x="449" y="72"/>
                  </a:lnTo>
                  <a:lnTo>
                    <a:pt x="449" y="72"/>
                  </a:lnTo>
                  <a:lnTo>
                    <a:pt x="449" y="72"/>
                  </a:lnTo>
                  <a:lnTo>
                    <a:pt x="449" y="72"/>
                  </a:lnTo>
                  <a:lnTo>
                    <a:pt x="449" y="70"/>
                  </a:lnTo>
                  <a:lnTo>
                    <a:pt x="449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1" y="70"/>
                  </a:lnTo>
                  <a:lnTo>
                    <a:pt x="453" y="72"/>
                  </a:lnTo>
                  <a:lnTo>
                    <a:pt x="453" y="70"/>
                  </a:lnTo>
                  <a:lnTo>
                    <a:pt x="453" y="72"/>
                  </a:lnTo>
                  <a:lnTo>
                    <a:pt x="453" y="72"/>
                  </a:lnTo>
                  <a:lnTo>
                    <a:pt x="453" y="72"/>
                  </a:lnTo>
                  <a:lnTo>
                    <a:pt x="453" y="72"/>
                  </a:lnTo>
                  <a:lnTo>
                    <a:pt x="453" y="72"/>
                  </a:lnTo>
                  <a:lnTo>
                    <a:pt x="456" y="72"/>
                  </a:lnTo>
                  <a:lnTo>
                    <a:pt x="453" y="72"/>
                  </a:lnTo>
                  <a:lnTo>
                    <a:pt x="453" y="72"/>
                  </a:lnTo>
                  <a:lnTo>
                    <a:pt x="453" y="72"/>
                  </a:lnTo>
                  <a:lnTo>
                    <a:pt x="456" y="72"/>
                  </a:lnTo>
                  <a:lnTo>
                    <a:pt x="456" y="70"/>
                  </a:lnTo>
                  <a:lnTo>
                    <a:pt x="456" y="70"/>
                  </a:lnTo>
                  <a:lnTo>
                    <a:pt x="456" y="70"/>
                  </a:lnTo>
                  <a:lnTo>
                    <a:pt x="456" y="70"/>
                  </a:lnTo>
                  <a:lnTo>
                    <a:pt x="456" y="68"/>
                  </a:lnTo>
                  <a:lnTo>
                    <a:pt x="456" y="68"/>
                  </a:lnTo>
                  <a:lnTo>
                    <a:pt x="456" y="68"/>
                  </a:lnTo>
                  <a:lnTo>
                    <a:pt x="456" y="68"/>
                  </a:lnTo>
                  <a:lnTo>
                    <a:pt x="456" y="68"/>
                  </a:lnTo>
                  <a:lnTo>
                    <a:pt x="456" y="68"/>
                  </a:lnTo>
                  <a:lnTo>
                    <a:pt x="456" y="70"/>
                  </a:lnTo>
                  <a:lnTo>
                    <a:pt x="456" y="70"/>
                  </a:lnTo>
                  <a:lnTo>
                    <a:pt x="456" y="70"/>
                  </a:lnTo>
                  <a:lnTo>
                    <a:pt x="456" y="72"/>
                  </a:lnTo>
                  <a:lnTo>
                    <a:pt x="456" y="72"/>
                  </a:lnTo>
                  <a:lnTo>
                    <a:pt x="458" y="72"/>
                  </a:lnTo>
                  <a:lnTo>
                    <a:pt x="458" y="74"/>
                  </a:lnTo>
                  <a:lnTo>
                    <a:pt x="458" y="74"/>
                  </a:lnTo>
                  <a:lnTo>
                    <a:pt x="458" y="74"/>
                  </a:lnTo>
                  <a:lnTo>
                    <a:pt x="460" y="74"/>
                  </a:lnTo>
                  <a:lnTo>
                    <a:pt x="460" y="74"/>
                  </a:lnTo>
                  <a:lnTo>
                    <a:pt x="460" y="74"/>
                  </a:lnTo>
                  <a:lnTo>
                    <a:pt x="460" y="74"/>
                  </a:lnTo>
                  <a:lnTo>
                    <a:pt x="462" y="74"/>
                  </a:lnTo>
                  <a:lnTo>
                    <a:pt x="462" y="74"/>
                  </a:lnTo>
                  <a:lnTo>
                    <a:pt x="462" y="74"/>
                  </a:lnTo>
                  <a:lnTo>
                    <a:pt x="462" y="74"/>
                  </a:lnTo>
                  <a:lnTo>
                    <a:pt x="465" y="74"/>
                  </a:lnTo>
                  <a:lnTo>
                    <a:pt x="465" y="74"/>
                  </a:lnTo>
                  <a:lnTo>
                    <a:pt x="467" y="72"/>
                  </a:lnTo>
                  <a:lnTo>
                    <a:pt x="467" y="72"/>
                  </a:lnTo>
                  <a:lnTo>
                    <a:pt x="467" y="72"/>
                  </a:lnTo>
                  <a:lnTo>
                    <a:pt x="467" y="72"/>
                  </a:lnTo>
                  <a:lnTo>
                    <a:pt x="467" y="72"/>
                  </a:lnTo>
                  <a:lnTo>
                    <a:pt x="469" y="72"/>
                  </a:lnTo>
                  <a:lnTo>
                    <a:pt x="469" y="72"/>
                  </a:lnTo>
                  <a:lnTo>
                    <a:pt x="469" y="72"/>
                  </a:lnTo>
                  <a:lnTo>
                    <a:pt x="469" y="72"/>
                  </a:lnTo>
                  <a:lnTo>
                    <a:pt x="469" y="72"/>
                  </a:lnTo>
                  <a:lnTo>
                    <a:pt x="469" y="72"/>
                  </a:lnTo>
                  <a:lnTo>
                    <a:pt x="469" y="74"/>
                  </a:lnTo>
                  <a:lnTo>
                    <a:pt x="469" y="74"/>
                  </a:lnTo>
                  <a:lnTo>
                    <a:pt x="471" y="74"/>
                  </a:lnTo>
                  <a:lnTo>
                    <a:pt x="471" y="74"/>
                  </a:lnTo>
                  <a:lnTo>
                    <a:pt x="471" y="74"/>
                  </a:lnTo>
                  <a:lnTo>
                    <a:pt x="471" y="74"/>
                  </a:lnTo>
                  <a:lnTo>
                    <a:pt x="474" y="74"/>
                  </a:lnTo>
                  <a:lnTo>
                    <a:pt x="474" y="72"/>
                  </a:lnTo>
                  <a:lnTo>
                    <a:pt x="474" y="72"/>
                  </a:lnTo>
                  <a:lnTo>
                    <a:pt x="474" y="72"/>
                  </a:lnTo>
                  <a:lnTo>
                    <a:pt x="476" y="72"/>
                  </a:lnTo>
                  <a:lnTo>
                    <a:pt x="476" y="72"/>
                  </a:lnTo>
                  <a:lnTo>
                    <a:pt x="476" y="70"/>
                  </a:lnTo>
                  <a:lnTo>
                    <a:pt x="476" y="70"/>
                  </a:lnTo>
                  <a:lnTo>
                    <a:pt x="476" y="70"/>
                  </a:lnTo>
                  <a:lnTo>
                    <a:pt x="476" y="70"/>
                  </a:lnTo>
                  <a:lnTo>
                    <a:pt x="476" y="72"/>
                  </a:lnTo>
                  <a:lnTo>
                    <a:pt x="476" y="72"/>
                  </a:lnTo>
                  <a:lnTo>
                    <a:pt x="476" y="72"/>
                  </a:lnTo>
                  <a:lnTo>
                    <a:pt x="476" y="72"/>
                  </a:lnTo>
                  <a:lnTo>
                    <a:pt x="478" y="72"/>
                  </a:lnTo>
                  <a:lnTo>
                    <a:pt x="478" y="72"/>
                  </a:lnTo>
                  <a:lnTo>
                    <a:pt x="478" y="72"/>
                  </a:lnTo>
                  <a:lnTo>
                    <a:pt x="478" y="72"/>
                  </a:lnTo>
                  <a:lnTo>
                    <a:pt x="478" y="72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78" y="77"/>
                  </a:lnTo>
                  <a:lnTo>
                    <a:pt x="478" y="74"/>
                  </a:lnTo>
                  <a:lnTo>
                    <a:pt x="478" y="74"/>
                  </a:lnTo>
                  <a:lnTo>
                    <a:pt x="480" y="74"/>
                  </a:lnTo>
                  <a:lnTo>
                    <a:pt x="478" y="72"/>
                  </a:lnTo>
                  <a:lnTo>
                    <a:pt x="480" y="72"/>
                  </a:lnTo>
                  <a:lnTo>
                    <a:pt x="480" y="70"/>
                  </a:lnTo>
                  <a:lnTo>
                    <a:pt x="480" y="70"/>
                  </a:lnTo>
                  <a:lnTo>
                    <a:pt x="480" y="70"/>
                  </a:lnTo>
                  <a:lnTo>
                    <a:pt x="483" y="70"/>
                  </a:lnTo>
                  <a:lnTo>
                    <a:pt x="483" y="70"/>
                  </a:lnTo>
                  <a:lnTo>
                    <a:pt x="483" y="70"/>
                  </a:lnTo>
                  <a:lnTo>
                    <a:pt x="483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7" y="70"/>
                  </a:lnTo>
                  <a:lnTo>
                    <a:pt x="487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70"/>
                  </a:lnTo>
                  <a:lnTo>
                    <a:pt x="485" y="68"/>
                  </a:lnTo>
                  <a:lnTo>
                    <a:pt x="485" y="68"/>
                  </a:lnTo>
                  <a:lnTo>
                    <a:pt x="485" y="68"/>
                  </a:lnTo>
                  <a:lnTo>
                    <a:pt x="485" y="63"/>
                  </a:lnTo>
                  <a:lnTo>
                    <a:pt x="485" y="63"/>
                  </a:lnTo>
                  <a:lnTo>
                    <a:pt x="485" y="63"/>
                  </a:lnTo>
                  <a:lnTo>
                    <a:pt x="485" y="63"/>
                  </a:lnTo>
                  <a:lnTo>
                    <a:pt x="485" y="61"/>
                  </a:lnTo>
                  <a:lnTo>
                    <a:pt x="485" y="61"/>
                  </a:lnTo>
                  <a:lnTo>
                    <a:pt x="485" y="61"/>
                  </a:lnTo>
                  <a:lnTo>
                    <a:pt x="485" y="61"/>
                  </a:lnTo>
                  <a:lnTo>
                    <a:pt x="485" y="61"/>
                  </a:lnTo>
                  <a:lnTo>
                    <a:pt x="485" y="59"/>
                  </a:lnTo>
                  <a:lnTo>
                    <a:pt x="487" y="59"/>
                  </a:lnTo>
                  <a:lnTo>
                    <a:pt x="487" y="59"/>
                  </a:lnTo>
                  <a:lnTo>
                    <a:pt x="487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9"/>
                  </a:lnTo>
                  <a:lnTo>
                    <a:pt x="485" y="56"/>
                  </a:lnTo>
                  <a:lnTo>
                    <a:pt x="483" y="56"/>
                  </a:lnTo>
                  <a:lnTo>
                    <a:pt x="483" y="56"/>
                  </a:lnTo>
                  <a:lnTo>
                    <a:pt x="485" y="56"/>
                  </a:lnTo>
                  <a:lnTo>
                    <a:pt x="485" y="56"/>
                  </a:lnTo>
                  <a:lnTo>
                    <a:pt x="485" y="56"/>
                  </a:lnTo>
                  <a:lnTo>
                    <a:pt x="483" y="56"/>
                  </a:lnTo>
                  <a:lnTo>
                    <a:pt x="483" y="56"/>
                  </a:lnTo>
                  <a:lnTo>
                    <a:pt x="483" y="54"/>
                  </a:lnTo>
                  <a:lnTo>
                    <a:pt x="483" y="54"/>
                  </a:lnTo>
                  <a:lnTo>
                    <a:pt x="483" y="54"/>
                  </a:lnTo>
                  <a:lnTo>
                    <a:pt x="483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80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8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4"/>
                  </a:lnTo>
                  <a:lnTo>
                    <a:pt x="476" y="56"/>
                  </a:lnTo>
                  <a:lnTo>
                    <a:pt x="474" y="56"/>
                  </a:lnTo>
                  <a:lnTo>
                    <a:pt x="474" y="56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4"/>
                  </a:lnTo>
                  <a:lnTo>
                    <a:pt x="474" y="52"/>
                  </a:lnTo>
                  <a:lnTo>
                    <a:pt x="474" y="54"/>
                  </a:lnTo>
                  <a:lnTo>
                    <a:pt x="471" y="54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2"/>
                  </a:lnTo>
                  <a:lnTo>
                    <a:pt x="471" y="50"/>
                  </a:lnTo>
                  <a:lnTo>
                    <a:pt x="471" y="50"/>
                  </a:lnTo>
                  <a:lnTo>
                    <a:pt x="471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50"/>
                  </a:lnTo>
                  <a:lnTo>
                    <a:pt x="469" y="47"/>
                  </a:lnTo>
                  <a:lnTo>
                    <a:pt x="469" y="47"/>
                  </a:lnTo>
                  <a:lnTo>
                    <a:pt x="469" y="47"/>
                  </a:lnTo>
                  <a:lnTo>
                    <a:pt x="469" y="47"/>
                  </a:lnTo>
                  <a:lnTo>
                    <a:pt x="469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47"/>
                  </a:lnTo>
                  <a:lnTo>
                    <a:pt x="471" y="50"/>
                  </a:lnTo>
                  <a:lnTo>
                    <a:pt x="471" y="50"/>
                  </a:lnTo>
                  <a:lnTo>
                    <a:pt x="471" y="50"/>
                  </a:lnTo>
                  <a:lnTo>
                    <a:pt x="471" y="50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5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4" y="47"/>
                  </a:lnTo>
                  <a:lnTo>
                    <a:pt x="476" y="47"/>
                  </a:lnTo>
                  <a:lnTo>
                    <a:pt x="474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6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2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6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6" y="47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47"/>
                  </a:lnTo>
                  <a:lnTo>
                    <a:pt x="476" y="45"/>
                  </a:lnTo>
                  <a:lnTo>
                    <a:pt x="476" y="45"/>
                  </a:lnTo>
                  <a:lnTo>
                    <a:pt x="478" y="45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8" y="50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78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5"/>
                  </a:lnTo>
                  <a:lnTo>
                    <a:pt x="480" y="45"/>
                  </a:lnTo>
                  <a:lnTo>
                    <a:pt x="480" y="45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0" y="50"/>
                  </a:lnTo>
                  <a:lnTo>
                    <a:pt x="483" y="50"/>
                  </a:lnTo>
                  <a:lnTo>
                    <a:pt x="483" y="47"/>
                  </a:lnTo>
                  <a:lnTo>
                    <a:pt x="483" y="47"/>
                  </a:lnTo>
                  <a:lnTo>
                    <a:pt x="483" y="50"/>
                  </a:lnTo>
                  <a:lnTo>
                    <a:pt x="483" y="50"/>
                  </a:lnTo>
                  <a:lnTo>
                    <a:pt x="483" y="50"/>
                  </a:lnTo>
                  <a:lnTo>
                    <a:pt x="483" y="50"/>
                  </a:lnTo>
                  <a:lnTo>
                    <a:pt x="483" y="52"/>
                  </a:lnTo>
                  <a:lnTo>
                    <a:pt x="483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2"/>
                  </a:lnTo>
                  <a:lnTo>
                    <a:pt x="485" y="54"/>
                  </a:lnTo>
                  <a:lnTo>
                    <a:pt x="487" y="54"/>
                  </a:lnTo>
                  <a:lnTo>
                    <a:pt x="487" y="54"/>
                  </a:lnTo>
                  <a:lnTo>
                    <a:pt x="487" y="56"/>
                  </a:lnTo>
                  <a:lnTo>
                    <a:pt x="487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4"/>
                  </a:lnTo>
                  <a:lnTo>
                    <a:pt x="489" y="52"/>
                  </a:lnTo>
                  <a:lnTo>
                    <a:pt x="489" y="52"/>
                  </a:lnTo>
                  <a:lnTo>
                    <a:pt x="489" y="52"/>
                  </a:lnTo>
                  <a:lnTo>
                    <a:pt x="489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2" y="52"/>
                  </a:lnTo>
                  <a:lnTo>
                    <a:pt x="494" y="52"/>
                  </a:lnTo>
                  <a:lnTo>
                    <a:pt x="494" y="52"/>
                  </a:lnTo>
                  <a:lnTo>
                    <a:pt x="494" y="54"/>
                  </a:lnTo>
                  <a:lnTo>
                    <a:pt x="494" y="54"/>
                  </a:lnTo>
                  <a:lnTo>
                    <a:pt x="494" y="54"/>
                  </a:lnTo>
                  <a:lnTo>
                    <a:pt x="494" y="54"/>
                  </a:lnTo>
                  <a:lnTo>
                    <a:pt x="494" y="54"/>
                  </a:lnTo>
                  <a:lnTo>
                    <a:pt x="494" y="54"/>
                  </a:lnTo>
                  <a:lnTo>
                    <a:pt x="494" y="54"/>
                  </a:lnTo>
                  <a:lnTo>
                    <a:pt x="494" y="56"/>
                  </a:lnTo>
                  <a:lnTo>
                    <a:pt x="494" y="56"/>
                  </a:lnTo>
                  <a:lnTo>
                    <a:pt x="494" y="56"/>
                  </a:lnTo>
                  <a:lnTo>
                    <a:pt x="496" y="56"/>
                  </a:lnTo>
                  <a:lnTo>
                    <a:pt x="496" y="59"/>
                  </a:lnTo>
                  <a:lnTo>
                    <a:pt x="496" y="59"/>
                  </a:lnTo>
                  <a:lnTo>
                    <a:pt x="496" y="61"/>
                  </a:lnTo>
                  <a:lnTo>
                    <a:pt x="496" y="61"/>
                  </a:lnTo>
                  <a:lnTo>
                    <a:pt x="496" y="61"/>
                  </a:lnTo>
                  <a:lnTo>
                    <a:pt x="498" y="61"/>
                  </a:lnTo>
                  <a:lnTo>
                    <a:pt x="498" y="61"/>
                  </a:lnTo>
                  <a:lnTo>
                    <a:pt x="498" y="59"/>
                  </a:lnTo>
                  <a:lnTo>
                    <a:pt x="498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498" y="61"/>
                  </a:lnTo>
                  <a:lnTo>
                    <a:pt x="498" y="61"/>
                  </a:lnTo>
                  <a:lnTo>
                    <a:pt x="498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1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1"/>
                  </a:lnTo>
                  <a:lnTo>
                    <a:pt x="503" y="63"/>
                  </a:lnTo>
                  <a:lnTo>
                    <a:pt x="503" y="63"/>
                  </a:lnTo>
                  <a:lnTo>
                    <a:pt x="503" y="63"/>
                  </a:lnTo>
                  <a:lnTo>
                    <a:pt x="503" y="63"/>
                  </a:lnTo>
                  <a:lnTo>
                    <a:pt x="503" y="63"/>
                  </a:lnTo>
                  <a:lnTo>
                    <a:pt x="503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5" y="63"/>
                  </a:lnTo>
                  <a:lnTo>
                    <a:pt x="507" y="63"/>
                  </a:lnTo>
                  <a:lnTo>
                    <a:pt x="507" y="63"/>
                  </a:lnTo>
                  <a:lnTo>
                    <a:pt x="507" y="61"/>
                  </a:lnTo>
                  <a:lnTo>
                    <a:pt x="507" y="61"/>
                  </a:lnTo>
                  <a:lnTo>
                    <a:pt x="507" y="61"/>
                  </a:lnTo>
                  <a:lnTo>
                    <a:pt x="507" y="61"/>
                  </a:lnTo>
                  <a:lnTo>
                    <a:pt x="507" y="61"/>
                  </a:lnTo>
                  <a:lnTo>
                    <a:pt x="510" y="61"/>
                  </a:lnTo>
                  <a:lnTo>
                    <a:pt x="510" y="61"/>
                  </a:lnTo>
                  <a:lnTo>
                    <a:pt x="510" y="61"/>
                  </a:lnTo>
                  <a:lnTo>
                    <a:pt x="510" y="61"/>
                  </a:lnTo>
                  <a:lnTo>
                    <a:pt x="510" y="61"/>
                  </a:lnTo>
                  <a:lnTo>
                    <a:pt x="510" y="61"/>
                  </a:lnTo>
                  <a:lnTo>
                    <a:pt x="510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1"/>
                  </a:lnTo>
                  <a:lnTo>
                    <a:pt x="512" y="63"/>
                  </a:lnTo>
                  <a:lnTo>
                    <a:pt x="512" y="61"/>
                  </a:lnTo>
                  <a:lnTo>
                    <a:pt x="510" y="63"/>
                  </a:lnTo>
                  <a:lnTo>
                    <a:pt x="510" y="63"/>
                  </a:lnTo>
                  <a:lnTo>
                    <a:pt x="510" y="63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5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3"/>
                  </a:lnTo>
                  <a:lnTo>
                    <a:pt x="514" y="65"/>
                  </a:lnTo>
                  <a:lnTo>
                    <a:pt x="514" y="65"/>
                  </a:lnTo>
                  <a:lnTo>
                    <a:pt x="514" y="65"/>
                  </a:lnTo>
                  <a:lnTo>
                    <a:pt x="514" y="65"/>
                  </a:lnTo>
                  <a:lnTo>
                    <a:pt x="514" y="65"/>
                  </a:lnTo>
                  <a:lnTo>
                    <a:pt x="516" y="63"/>
                  </a:lnTo>
                  <a:lnTo>
                    <a:pt x="516" y="63"/>
                  </a:lnTo>
                  <a:lnTo>
                    <a:pt x="516" y="63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5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6" y="70"/>
                  </a:lnTo>
                  <a:lnTo>
                    <a:pt x="516" y="68"/>
                  </a:lnTo>
                  <a:lnTo>
                    <a:pt x="516" y="68"/>
                  </a:lnTo>
                  <a:lnTo>
                    <a:pt x="519" y="68"/>
                  </a:lnTo>
                  <a:lnTo>
                    <a:pt x="519" y="68"/>
                  </a:lnTo>
                  <a:lnTo>
                    <a:pt x="519" y="68"/>
                  </a:lnTo>
                  <a:lnTo>
                    <a:pt x="519" y="68"/>
                  </a:lnTo>
                  <a:lnTo>
                    <a:pt x="519" y="65"/>
                  </a:lnTo>
                  <a:lnTo>
                    <a:pt x="519" y="65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1" y="68"/>
                  </a:lnTo>
                  <a:lnTo>
                    <a:pt x="523" y="68"/>
                  </a:lnTo>
                  <a:lnTo>
                    <a:pt x="525" y="68"/>
                  </a:lnTo>
                  <a:lnTo>
                    <a:pt x="525" y="68"/>
                  </a:lnTo>
                  <a:lnTo>
                    <a:pt x="525" y="68"/>
                  </a:lnTo>
                  <a:lnTo>
                    <a:pt x="525" y="68"/>
                  </a:lnTo>
                  <a:lnTo>
                    <a:pt x="525" y="68"/>
                  </a:lnTo>
                  <a:lnTo>
                    <a:pt x="528" y="65"/>
                  </a:lnTo>
                  <a:lnTo>
                    <a:pt x="528" y="65"/>
                  </a:lnTo>
                  <a:lnTo>
                    <a:pt x="528" y="65"/>
                  </a:lnTo>
                  <a:lnTo>
                    <a:pt x="528" y="65"/>
                  </a:lnTo>
                  <a:lnTo>
                    <a:pt x="530" y="65"/>
                  </a:lnTo>
                  <a:lnTo>
                    <a:pt x="530" y="65"/>
                  </a:lnTo>
                  <a:lnTo>
                    <a:pt x="530" y="65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68"/>
                  </a:lnTo>
                  <a:lnTo>
                    <a:pt x="530" y="70"/>
                  </a:lnTo>
                  <a:lnTo>
                    <a:pt x="530" y="70"/>
                  </a:lnTo>
                  <a:lnTo>
                    <a:pt x="530" y="70"/>
                  </a:lnTo>
                  <a:lnTo>
                    <a:pt x="530" y="70"/>
                  </a:lnTo>
                  <a:lnTo>
                    <a:pt x="532" y="70"/>
                  </a:lnTo>
                  <a:lnTo>
                    <a:pt x="532" y="70"/>
                  </a:lnTo>
                  <a:lnTo>
                    <a:pt x="532" y="70"/>
                  </a:lnTo>
                  <a:lnTo>
                    <a:pt x="532" y="70"/>
                  </a:lnTo>
                  <a:lnTo>
                    <a:pt x="532" y="70"/>
                  </a:lnTo>
                  <a:lnTo>
                    <a:pt x="532" y="70"/>
                  </a:lnTo>
                  <a:lnTo>
                    <a:pt x="532" y="72"/>
                  </a:lnTo>
                  <a:lnTo>
                    <a:pt x="532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4" y="72"/>
                  </a:lnTo>
                  <a:lnTo>
                    <a:pt x="537" y="72"/>
                  </a:lnTo>
                  <a:lnTo>
                    <a:pt x="537" y="72"/>
                  </a:lnTo>
                  <a:lnTo>
                    <a:pt x="537" y="72"/>
                  </a:lnTo>
                  <a:lnTo>
                    <a:pt x="537" y="72"/>
                  </a:lnTo>
                  <a:lnTo>
                    <a:pt x="537" y="72"/>
                  </a:lnTo>
                  <a:lnTo>
                    <a:pt x="537" y="74"/>
                  </a:lnTo>
                  <a:lnTo>
                    <a:pt x="537" y="74"/>
                  </a:lnTo>
                  <a:lnTo>
                    <a:pt x="539" y="74"/>
                  </a:lnTo>
                  <a:lnTo>
                    <a:pt x="539" y="74"/>
                  </a:lnTo>
                  <a:lnTo>
                    <a:pt x="537" y="72"/>
                  </a:lnTo>
                  <a:lnTo>
                    <a:pt x="537" y="72"/>
                  </a:lnTo>
                  <a:lnTo>
                    <a:pt x="537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41" y="72"/>
                  </a:lnTo>
                  <a:lnTo>
                    <a:pt x="541" y="72"/>
                  </a:lnTo>
                  <a:lnTo>
                    <a:pt x="541" y="72"/>
                  </a:lnTo>
                  <a:lnTo>
                    <a:pt x="541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2"/>
                  </a:lnTo>
                  <a:lnTo>
                    <a:pt x="539" y="70"/>
                  </a:lnTo>
                  <a:lnTo>
                    <a:pt x="539" y="70"/>
                  </a:lnTo>
                  <a:lnTo>
                    <a:pt x="541" y="70"/>
                  </a:lnTo>
                  <a:lnTo>
                    <a:pt x="541" y="70"/>
                  </a:lnTo>
                  <a:lnTo>
                    <a:pt x="541" y="70"/>
                  </a:lnTo>
                  <a:lnTo>
                    <a:pt x="541" y="70"/>
                  </a:lnTo>
                  <a:lnTo>
                    <a:pt x="541" y="70"/>
                  </a:lnTo>
                  <a:lnTo>
                    <a:pt x="541" y="70"/>
                  </a:lnTo>
                  <a:lnTo>
                    <a:pt x="541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3" y="70"/>
                  </a:lnTo>
                  <a:lnTo>
                    <a:pt x="546" y="68"/>
                  </a:lnTo>
                  <a:lnTo>
                    <a:pt x="546" y="70"/>
                  </a:lnTo>
                  <a:lnTo>
                    <a:pt x="546" y="70"/>
                  </a:lnTo>
                  <a:lnTo>
                    <a:pt x="546" y="70"/>
                  </a:lnTo>
                  <a:lnTo>
                    <a:pt x="546" y="68"/>
                  </a:lnTo>
                  <a:lnTo>
                    <a:pt x="546" y="68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6" y="68"/>
                  </a:lnTo>
                  <a:lnTo>
                    <a:pt x="546" y="68"/>
                  </a:lnTo>
                  <a:lnTo>
                    <a:pt x="546" y="68"/>
                  </a:lnTo>
                  <a:lnTo>
                    <a:pt x="546" y="68"/>
                  </a:lnTo>
                  <a:lnTo>
                    <a:pt x="546" y="68"/>
                  </a:lnTo>
                  <a:lnTo>
                    <a:pt x="546" y="65"/>
                  </a:lnTo>
                  <a:lnTo>
                    <a:pt x="546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48" y="65"/>
                  </a:lnTo>
                  <a:lnTo>
                    <a:pt x="550" y="65"/>
                  </a:lnTo>
                  <a:lnTo>
                    <a:pt x="550" y="65"/>
                  </a:lnTo>
                  <a:lnTo>
                    <a:pt x="550" y="65"/>
                  </a:lnTo>
                  <a:lnTo>
                    <a:pt x="550" y="65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3"/>
                  </a:lnTo>
                  <a:lnTo>
                    <a:pt x="552" y="61"/>
                  </a:lnTo>
                  <a:lnTo>
                    <a:pt x="552" y="61"/>
                  </a:lnTo>
                  <a:lnTo>
                    <a:pt x="552" y="61"/>
                  </a:lnTo>
                  <a:lnTo>
                    <a:pt x="552" y="61"/>
                  </a:lnTo>
                  <a:lnTo>
                    <a:pt x="555" y="61"/>
                  </a:lnTo>
                  <a:lnTo>
                    <a:pt x="555" y="61"/>
                  </a:lnTo>
                  <a:lnTo>
                    <a:pt x="555" y="63"/>
                  </a:lnTo>
                  <a:lnTo>
                    <a:pt x="552" y="63"/>
                  </a:lnTo>
                  <a:lnTo>
                    <a:pt x="552" y="65"/>
                  </a:lnTo>
                  <a:lnTo>
                    <a:pt x="550" y="65"/>
                  </a:lnTo>
                  <a:lnTo>
                    <a:pt x="550" y="65"/>
                  </a:lnTo>
                  <a:lnTo>
                    <a:pt x="550" y="65"/>
                  </a:lnTo>
                  <a:lnTo>
                    <a:pt x="550" y="65"/>
                  </a:lnTo>
                  <a:lnTo>
                    <a:pt x="550" y="68"/>
                  </a:lnTo>
                  <a:lnTo>
                    <a:pt x="550" y="68"/>
                  </a:lnTo>
                  <a:lnTo>
                    <a:pt x="550" y="68"/>
                  </a:lnTo>
                  <a:lnTo>
                    <a:pt x="550" y="68"/>
                  </a:lnTo>
                  <a:lnTo>
                    <a:pt x="550" y="68"/>
                  </a:lnTo>
                  <a:lnTo>
                    <a:pt x="552" y="68"/>
                  </a:lnTo>
                  <a:lnTo>
                    <a:pt x="552" y="65"/>
                  </a:lnTo>
                  <a:lnTo>
                    <a:pt x="552" y="65"/>
                  </a:lnTo>
                  <a:lnTo>
                    <a:pt x="552" y="65"/>
                  </a:lnTo>
                  <a:lnTo>
                    <a:pt x="552" y="65"/>
                  </a:lnTo>
                  <a:lnTo>
                    <a:pt x="552" y="65"/>
                  </a:lnTo>
                  <a:lnTo>
                    <a:pt x="552" y="68"/>
                  </a:lnTo>
                  <a:lnTo>
                    <a:pt x="550" y="68"/>
                  </a:lnTo>
                  <a:lnTo>
                    <a:pt x="550" y="68"/>
                  </a:lnTo>
                  <a:lnTo>
                    <a:pt x="550" y="68"/>
                  </a:lnTo>
                  <a:lnTo>
                    <a:pt x="548" y="70"/>
                  </a:lnTo>
                  <a:lnTo>
                    <a:pt x="548" y="70"/>
                  </a:lnTo>
                  <a:lnTo>
                    <a:pt x="548" y="70"/>
                  </a:lnTo>
                  <a:lnTo>
                    <a:pt x="548" y="70"/>
                  </a:lnTo>
                  <a:lnTo>
                    <a:pt x="548" y="70"/>
                  </a:lnTo>
                  <a:lnTo>
                    <a:pt x="548" y="72"/>
                  </a:lnTo>
                  <a:lnTo>
                    <a:pt x="548" y="72"/>
                  </a:lnTo>
                  <a:lnTo>
                    <a:pt x="548" y="72"/>
                  </a:lnTo>
                  <a:lnTo>
                    <a:pt x="548" y="72"/>
                  </a:lnTo>
                  <a:lnTo>
                    <a:pt x="548" y="74"/>
                  </a:lnTo>
                  <a:lnTo>
                    <a:pt x="548" y="74"/>
                  </a:lnTo>
                  <a:lnTo>
                    <a:pt x="548" y="74"/>
                  </a:lnTo>
                  <a:lnTo>
                    <a:pt x="550" y="72"/>
                  </a:lnTo>
                  <a:lnTo>
                    <a:pt x="550" y="72"/>
                  </a:lnTo>
                  <a:lnTo>
                    <a:pt x="550" y="72"/>
                  </a:lnTo>
                  <a:lnTo>
                    <a:pt x="550" y="72"/>
                  </a:lnTo>
                  <a:lnTo>
                    <a:pt x="550" y="72"/>
                  </a:lnTo>
                  <a:lnTo>
                    <a:pt x="550" y="72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2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68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5" y="70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2" y="72"/>
                  </a:lnTo>
                  <a:lnTo>
                    <a:pt x="555" y="72"/>
                  </a:lnTo>
                  <a:lnTo>
                    <a:pt x="555" y="72"/>
                  </a:lnTo>
                  <a:lnTo>
                    <a:pt x="555" y="72"/>
                  </a:lnTo>
                  <a:lnTo>
                    <a:pt x="555" y="72"/>
                  </a:lnTo>
                  <a:lnTo>
                    <a:pt x="555" y="72"/>
                  </a:lnTo>
                  <a:lnTo>
                    <a:pt x="555" y="72"/>
                  </a:lnTo>
                  <a:lnTo>
                    <a:pt x="555" y="72"/>
                  </a:lnTo>
                  <a:lnTo>
                    <a:pt x="555" y="74"/>
                  </a:lnTo>
                  <a:lnTo>
                    <a:pt x="555" y="74"/>
                  </a:lnTo>
                  <a:lnTo>
                    <a:pt x="555" y="74"/>
                  </a:lnTo>
                  <a:lnTo>
                    <a:pt x="555" y="74"/>
                  </a:lnTo>
                  <a:lnTo>
                    <a:pt x="555" y="74"/>
                  </a:lnTo>
                  <a:lnTo>
                    <a:pt x="552" y="74"/>
                  </a:lnTo>
                  <a:lnTo>
                    <a:pt x="552" y="77"/>
                  </a:lnTo>
                  <a:lnTo>
                    <a:pt x="552" y="77"/>
                  </a:lnTo>
                  <a:lnTo>
                    <a:pt x="552" y="77"/>
                  </a:lnTo>
                  <a:lnTo>
                    <a:pt x="552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9"/>
                  </a:lnTo>
                  <a:lnTo>
                    <a:pt x="555" y="79"/>
                  </a:lnTo>
                  <a:lnTo>
                    <a:pt x="555" y="79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5" y="77"/>
                  </a:lnTo>
                  <a:lnTo>
                    <a:pt x="557" y="77"/>
                  </a:lnTo>
                  <a:lnTo>
                    <a:pt x="557" y="77"/>
                  </a:lnTo>
                  <a:lnTo>
                    <a:pt x="557" y="77"/>
                  </a:lnTo>
                  <a:lnTo>
                    <a:pt x="557" y="79"/>
                  </a:lnTo>
                  <a:lnTo>
                    <a:pt x="557" y="79"/>
                  </a:lnTo>
                  <a:lnTo>
                    <a:pt x="557" y="79"/>
                  </a:lnTo>
                  <a:lnTo>
                    <a:pt x="557" y="79"/>
                  </a:lnTo>
                  <a:lnTo>
                    <a:pt x="559" y="77"/>
                  </a:lnTo>
                  <a:lnTo>
                    <a:pt x="559" y="77"/>
                  </a:lnTo>
                  <a:lnTo>
                    <a:pt x="559" y="77"/>
                  </a:lnTo>
                  <a:lnTo>
                    <a:pt x="561" y="74"/>
                  </a:lnTo>
                  <a:lnTo>
                    <a:pt x="561" y="72"/>
                  </a:lnTo>
                  <a:lnTo>
                    <a:pt x="561" y="72"/>
                  </a:lnTo>
                  <a:lnTo>
                    <a:pt x="561" y="72"/>
                  </a:lnTo>
                  <a:lnTo>
                    <a:pt x="561" y="72"/>
                  </a:lnTo>
                  <a:lnTo>
                    <a:pt x="561" y="72"/>
                  </a:lnTo>
                  <a:lnTo>
                    <a:pt x="561" y="72"/>
                  </a:lnTo>
                  <a:lnTo>
                    <a:pt x="561" y="72"/>
                  </a:lnTo>
                  <a:lnTo>
                    <a:pt x="559" y="72"/>
                  </a:lnTo>
                  <a:lnTo>
                    <a:pt x="559" y="72"/>
                  </a:lnTo>
                  <a:lnTo>
                    <a:pt x="559" y="72"/>
                  </a:lnTo>
                  <a:lnTo>
                    <a:pt x="559" y="72"/>
                  </a:lnTo>
                  <a:lnTo>
                    <a:pt x="559" y="72"/>
                  </a:lnTo>
                  <a:lnTo>
                    <a:pt x="559" y="72"/>
                  </a:lnTo>
                  <a:lnTo>
                    <a:pt x="557" y="72"/>
                  </a:lnTo>
                  <a:lnTo>
                    <a:pt x="557" y="72"/>
                  </a:lnTo>
                  <a:lnTo>
                    <a:pt x="559" y="70"/>
                  </a:lnTo>
                  <a:lnTo>
                    <a:pt x="559" y="70"/>
                  </a:lnTo>
                  <a:lnTo>
                    <a:pt x="559" y="70"/>
                  </a:lnTo>
                  <a:lnTo>
                    <a:pt x="559" y="70"/>
                  </a:lnTo>
                  <a:lnTo>
                    <a:pt x="561" y="68"/>
                  </a:lnTo>
                  <a:lnTo>
                    <a:pt x="561" y="68"/>
                  </a:lnTo>
                  <a:lnTo>
                    <a:pt x="561" y="68"/>
                  </a:lnTo>
                  <a:lnTo>
                    <a:pt x="561" y="68"/>
                  </a:lnTo>
                  <a:lnTo>
                    <a:pt x="561" y="68"/>
                  </a:lnTo>
                  <a:lnTo>
                    <a:pt x="561" y="68"/>
                  </a:lnTo>
                  <a:lnTo>
                    <a:pt x="564" y="68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4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8" y="65"/>
                  </a:lnTo>
                  <a:lnTo>
                    <a:pt x="568" y="63"/>
                  </a:lnTo>
                  <a:lnTo>
                    <a:pt x="568" y="63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8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5"/>
                  </a:lnTo>
                  <a:lnTo>
                    <a:pt x="566" y="68"/>
                  </a:lnTo>
                  <a:lnTo>
                    <a:pt x="566" y="68"/>
                  </a:lnTo>
                  <a:lnTo>
                    <a:pt x="566" y="68"/>
                  </a:lnTo>
                  <a:lnTo>
                    <a:pt x="566" y="68"/>
                  </a:lnTo>
                  <a:lnTo>
                    <a:pt x="566" y="68"/>
                  </a:lnTo>
                  <a:lnTo>
                    <a:pt x="566" y="68"/>
                  </a:lnTo>
                  <a:lnTo>
                    <a:pt x="566" y="70"/>
                  </a:lnTo>
                  <a:lnTo>
                    <a:pt x="566" y="70"/>
                  </a:lnTo>
                  <a:lnTo>
                    <a:pt x="566" y="70"/>
                  </a:lnTo>
                  <a:lnTo>
                    <a:pt x="566" y="70"/>
                  </a:lnTo>
                  <a:lnTo>
                    <a:pt x="566" y="70"/>
                  </a:lnTo>
                  <a:lnTo>
                    <a:pt x="566" y="72"/>
                  </a:lnTo>
                  <a:lnTo>
                    <a:pt x="568" y="72"/>
                  </a:lnTo>
                  <a:lnTo>
                    <a:pt x="568" y="72"/>
                  </a:lnTo>
                  <a:lnTo>
                    <a:pt x="568" y="72"/>
                  </a:lnTo>
                  <a:lnTo>
                    <a:pt x="568" y="72"/>
                  </a:lnTo>
                  <a:lnTo>
                    <a:pt x="568" y="74"/>
                  </a:lnTo>
                  <a:lnTo>
                    <a:pt x="568" y="74"/>
                  </a:lnTo>
                  <a:lnTo>
                    <a:pt x="570" y="74"/>
                  </a:lnTo>
                  <a:lnTo>
                    <a:pt x="570" y="72"/>
                  </a:lnTo>
                  <a:lnTo>
                    <a:pt x="570" y="72"/>
                  </a:lnTo>
                  <a:lnTo>
                    <a:pt x="570" y="72"/>
                  </a:lnTo>
                  <a:lnTo>
                    <a:pt x="570" y="72"/>
                  </a:lnTo>
                  <a:lnTo>
                    <a:pt x="570" y="72"/>
                  </a:lnTo>
                  <a:lnTo>
                    <a:pt x="568" y="72"/>
                  </a:lnTo>
                  <a:lnTo>
                    <a:pt x="568" y="72"/>
                  </a:lnTo>
                  <a:lnTo>
                    <a:pt x="568" y="72"/>
                  </a:lnTo>
                  <a:lnTo>
                    <a:pt x="568" y="72"/>
                  </a:lnTo>
                  <a:lnTo>
                    <a:pt x="570" y="72"/>
                  </a:lnTo>
                  <a:lnTo>
                    <a:pt x="570" y="70"/>
                  </a:lnTo>
                  <a:lnTo>
                    <a:pt x="570" y="72"/>
                  </a:lnTo>
                  <a:lnTo>
                    <a:pt x="570" y="72"/>
                  </a:lnTo>
                  <a:lnTo>
                    <a:pt x="573" y="72"/>
                  </a:lnTo>
                  <a:lnTo>
                    <a:pt x="573" y="72"/>
                  </a:lnTo>
                  <a:lnTo>
                    <a:pt x="573" y="74"/>
                  </a:lnTo>
                  <a:lnTo>
                    <a:pt x="573" y="74"/>
                  </a:lnTo>
                  <a:lnTo>
                    <a:pt x="573" y="74"/>
                  </a:lnTo>
                  <a:lnTo>
                    <a:pt x="573" y="74"/>
                  </a:lnTo>
                  <a:lnTo>
                    <a:pt x="575" y="74"/>
                  </a:lnTo>
                  <a:lnTo>
                    <a:pt x="575" y="74"/>
                  </a:lnTo>
                  <a:lnTo>
                    <a:pt x="575" y="77"/>
                  </a:lnTo>
                  <a:lnTo>
                    <a:pt x="575" y="77"/>
                  </a:lnTo>
                  <a:lnTo>
                    <a:pt x="573" y="77"/>
                  </a:lnTo>
                  <a:lnTo>
                    <a:pt x="573" y="77"/>
                  </a:lnTo>
                  <a:lnTo>
                    <a:pt x="573" y="77"/>
                  </a:lnTo>
                  <a:lnTo>
                    <a:pt x="573" y="77"/>
                  </a:lnTo>
                  <a:lnTo>
                    <a:pt x="573" y="77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70" y="77"/>
                  </a:lnTo>
                  <a:lnTo>
                    <a:pt x="570" y="77"/>
                  </a:lnTo>
                  <a:lnTo>
                    <a:pt x="570" y="77"/>
                  </a:lnTo>
                  <a:lnTo>
                    <a:pt x="570" y="79"/>
                  </a:lnTo>
                  <a:lnTo>
                    <a:pt x="570" y="79"/>
                  </a:lnTo>
                  <a:lnTo>
                    <a:pt x="568" y="79"/>
                  </a:lnTo>
                  <a:lnTo>
                    <a:pt x="568" y="79"/>
                  </a:lnTo>
                  <a:lnTo>
                    <a:pt x="568" y="79"/>
                  </a:lnTo>
                  <a:lnTo>
                    <a:pt x="568" y="81"/>
                  </a:lnTo>
                  <a:lnTo>
                    <a:pt x="568" y="81"/>
                  </a:lnTo>
                  <a:lnTo>
                    <a:pt x="568" y="81"/>
                  </a:lnTo>
                  <a:lnTo>
                    <a:pt x="568" y="81"/>
                  </a:lnTo>
                  <a:lnTo>
                    <a:pt x="568" y="81"/>
                  </a:lnTo>
                  <a:lnTo>
                    <a:pt x="568" y="83"/>
                  </a:lnTo>
                  <a:lnTo>
                    <a:pt x="566" y="83"/>
                  </a:lnTo>
                  <a:lnTo>
                    <a:pt x="566" y="83"/>
                  </a:lnTo>
                  <a:lnTo>
                    <a:pt x="566" y="83"/>
                  </a:lnTo>
                  <a:lnTo>
                    <a:pt x="566" y="83"/>
                  </a:lnTo>
                  <a:lnTo>
                    <a:pt x="566" y="83"/>
                  </a:lnTo>
                  <a:lnTo>
                    <a:pt x="566" y="86"/>
                  </a:lnTo>
                  <a:lnTo>
                    <a:pt x="566" y="86"/>
                  </a:lnTo>
                  <a:lnTo>
                    <a:pt x="566" y="86"/>
                  </a:lnTo>
                  <a:lnTo>
                    <a:pt x="566" y="86"/>
                  </a:lnTo>
                  <a:lnTo>
                    <a:pt x="566" y="86"/>
                  </a:lnTo>
                  <a:lnTo>
                    <a:pt x="566" y="86"/>
                  </a:lnTo>
                  <a:lnTo>
                    <a:pt x="566" y="88"/>
                  </a:lnTo>
                  <a:lnTo>
                    <a:pt x="564" y="88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4" y="86"/>
                  </a:lnTo>
                  <a:lnTo>
                    <a:pt x="561" y="86"/>
                  </a:lnTo>
                  <a:lnTo>
                    <a:pt x="561" y="86"/>
                  </a:lnTo>
                  <a:lnTo>
                    <a:pt x="561" y="86"/>
                  </a:lnTo>
                  <a:lnTo>
                    <a:pt x="561" y="86"/>
                  </a:lnTo>
                  <a:lnTo>
                    <a:pt x="561" y="88"/>
                  </a:lnTo>
                  <a:lnTo>
                    <a:pt x="561" y="88"/>
                  </a:lnTo>
                  <a:lnTo>
                    <a:pt x="564" y="88"/>
                  </a:lnTo>
                  <a:lnTo>
                    <a:pt x="564" y="88"/>
                  </a:lnTo>
                  <a:lnTo>
                    <a:pt x="564" y="88"/>
                  </a:lnTo>
                  <a:lnTo>
                    <a:pt x="564" y="88"/>
                  </a:lnTo>
                  <a:lnTo>
                    <a:pt x="564" y="88"/>
                  </a:lnTo>
                  <a:lnTo>
                    <a:pt x="564" y="88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4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0"/>
                  </a:lnTo>
                  <a:lnTo>
                    <a:pt x="561" y="92"/>
                  </a:lnTo>
                  <a:lnTo>
                    <a:pt x="561" y="92"/>
                  </a:lnTo>
                  <a:lnTo>
                    <a:pt x="561" y="92"/>
                  </a:lnTo>
                  <a:lnTo>
                    <a:pt x="564" y="92"/>
                  </a:lnTo>
                  <a:lnTo>
                    <a:pt x="564" y="92"/>
                  </a:lnTo>
                  <a:lnTo>
                    <a:pt x="564" y="95"/>
                  </a:lnTo>
                  <a:lnTo>
                    <a:pt x="561" y="95"/>
                  </a:lnTo>
                  <a:lnTo>
                    <a:pt x="561" y="95"/>
                  </a:lnTo>
                  <a:lnTo>
                    <a:pt x="561" y="95"/>
                  </a:lnTo>
                  <a:lnTo>
                    <a:pt x="561" y="95"/>
                  </a:lnTo>
                  <a:lnTo>
                    <a:pt x="561" y="97"/>
                  </a:lnTo>
                  <a:lnTo>
                    <a:pt x="561" y="97"/>
                  </a:lnTo>
                  <a:lnTo>
                    <a:pt x="561" y="97"/>
                  </a:lnTo>
                  <a:lnTo>
                    <a:pt x="561" y="97"/>
                  </a:lnTo>
                  <a:lnTo>
                    <a:pt x="561" y="97"/>
                  </a:lnTo>
                  <a:lnTo>
                    <a:pt x="561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9"/>
                  </a:lnTo>
                  <a:lnTo>
                    <a:pt x="557" y="99"/>
                  </a:lnTo>
                  <a:lnTo>
                    <a:pt x="557" y="99"/>
                  </a:lnTo>
                  <a:lnTo>
                    <a:pt x="557" y="99"/>
                  </a:lnTo>
                  <a:lnTo>
                    <a:pt x="557" y="97"/>
                  </a:lnTo>
                  <a:lnTo>
                    <a:pt x="557" y="97"/>
                  </a:lnTo>
                  <a:lnTo>
                    <a:pt x="557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7"/>
                  </a:lnTo>
                  <a:lnTo>
                    <a:pt x="559" y="95"/>
                  </a:lnTo>
                  <a:lnTo>
                    <a:pt x="559" y="95"/>
                  </a:lnTo>
                  <a:lnTo>
                    <a:pt x="559" y="95"/>
                  </a:lnTo>
                  <a:lnTo>
                    <a:pt x="559" y="92"/>
                  </a:lnTo>
                  <a:lnTo>
                    <a:pt x="559" y="92"/>
                  </a:lnTo>
                  <a:lnTo>
                    <a:pt x="559" y="92"/>
                  </a:lnTo>
                  <a:lnTo>
                    <a:pt x="559" y="92"/>
                  </a:lnTo>
                  <a:lnTo>
                    <a:pt x="559" y="92"/>
                  </a:lnTo>
                  <a:lnTo>
                    <a:pt x="559" y="92"/>
                  </a:lnTo>
                  <a:lnTo>
                    <a:pt x="557" y="92"/>
                  </a:lnTo>
                  <a:lnTo>
                    <a:pt x="557" y="92"/>
                  </a:lnTo>
                  <a:lnTo>
                    <a:pt x="557" y="92"/>
                  </a:lnTo>
                  <a:lnTo>
                    <a:pt x="557" y="95"/>
                  </a:lnTo>
                  <a:lnTo>
                    <a:pt x="559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5"/>
                  </a:lnTo>
                  <a:lnTo>
                    <a:pt x="557" y="97"/>
                  </a:lnTo>
                  <a:lnTo>
                    <a:pt x="555" y="95"/>
                  </a:lnTo>
                  <a:lnTo>
                    <a:pt x="555" y="95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7"/>
                  </a:lnTo>
                  <a:lnTo>
                    <a:pt x="555" y="95"/>
                  </a:lnTo>
                  <a:lnTo>
                    <a:pt x="555" y="95"/>
                  </a:lnTo>
                  <a:lnTo>
                    <a:pt x="555" y="95"/>
                  </a:lnTo>
                  <a:lnTo>
                    <a:pt x="555" y="95"/>
                  </a:lnTo>
                  <a:lnTo>
                    <a:pt x="555" y="95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9"/>
                  </a:lnTo>
                  <a:lnTo>
                    <a:pt x="552" y="99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2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50" y="97"/>
                  </a:lnTo>
                  <a:lnTo>
                    <a:pt x="548" y="97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1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48" y="104"/>
                  </a:lnTo>
                  <a:lnTo>
                    <a:pt x="546" y="104"/>
                  </a:lnTo>
                  <a:lnTo>
                    <a:pt x="546" y="104"/>
                  </a:lnTo>
                  <a:lnTo>
                    <a:pt x="546" y="106"/>
                  </a:lnTo>
                  <a:lnTo>
                    <a:pt x="546" y="106"/>
                  </a:lnTo>
                  <a:lnTo>
                    <a:pt x="548" y="106"/>
                  </a:lnTo>
                  <a:lnTo>
                    <a:pt x="548" y="106"/>
                  </a:lnTo>
                  <a:lnTo>
                    <a:pt x="548" y="106"/>
                  </a:lnTo>
                  <a:lnTo>
                    <a:pt x="548" y="106"/>
                  </a:lnTo>
                  <a:lnTo>
                    <a:pt x="548" y="106"/>
                  </a:lnTo>
                  <a:lnTo>
                    <a:pt x="548" y="106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48" y="108"/>
                  </a:lnTo>
                  <a:lnTo>
                    <a:pt x="550" y="108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6"/>
                  </a:lnTo>
                  <a:lnTo>
                    <a:pt x="550" y="108"/>
                  </a:lnTo>
                  <a:lnTo>
                    <a:pt x="550" y="108"/>
                  </a:lnTo>
                  <a:lnTo>
                    <a:pt x="550" y="108"/>
                  </a:lnTo>
                  <a:lnTo>
                    <a:pt x="550" y="110"/>
                  </a:lnTo>
                  <a:lnTo>
                    <a:pt x="550" y="110"/>
                  </a:lnTo>
                  <a:lnTo>
                    <a:pt x="550" y="110"/>
                  </a:lnTo>
                  <a:lnTo>
                    <a:pt x="548" y="110"/>
                  </a:lnTo>
                  <a:lnTo>
                    <a:pt x="548" y="110"/>
                  </a:lnTo>
                  <a:lnTo>
                    <a:pt x="548" y="110"/>
                  </a:lnTo>
                  <a:lnTo>
                    <a:pt x="548" y="110"/>
                  </a:lnTo>
                  <a:lnTo>
                    <a:pt x="548" y="113"/>
                  </a:lnTo>
                  <a:lnTo>
                    <a:pt x="548" y="113"/>
                  </a:lnTo>
                  <a:lnTo>
                    <a:pt x="548" y="113"/>
                  </a:lnTo>
                  <a:lnTo>
                    <a:pt x="548" y="113"/>
                  </a:lnTo>
                  <a:lnTo>
                    <a:pt x="548" y="113"/>
                  </a:lnTo>
                  <a:lnTo>
                    <a:pt x="546" y="117"/>
                  </a:lnTo>
                  <a:lnTo>
                    <a:pt x="546" y="119"/>
                  </a:lnTo>
                  <a:lnTo>
                    <a:pt x="546" y="119"/>
                  </a:lnTo>
                  <a:lnTo>
                    <a:pt x="546" y="119"/>
                  </a:lnTo>
                  <a:lnTo>
                    <a:pt x="546" y="119"/>
                  </a:lnTo>
                  <a:lnTo>
                    <a:pt x="543" y="119"/>
                  </a:lnTo>
                  <a:lnTo>
                    <a:pt x="543" y="119"/>
                  </a:lnTo>
                  <a:lnTo>
                    <a:pt x="543" y="119"/>
                  </a:lnTo>
                  <a:lnTo>
                    <a:pt x="543" y="119"/>
                  </a:lnTo>
                  <a:lnTo>
                    <a:pt x="543" y="119"/>
                  </a:lnTo>
                  <a:lnTo>
                    <a:pt x="543" y="119"/>
                  </a:lnTo>
                  <a:lnTo>
                    <a:pt x="543" y="119"/>
                  </a:lnTo>
                  <a:lnTo>
                    <a:pt x="543" y="122"/>
                  </a:lnTo>
                  <a:lnTo>
                    <a:pt x="541" y="122"/>
                  </a:lnTo>
                  <a:lnTo>
                    <a:pt x="541" y="124"/>
                  </a:lnTo>
                  <a:lnTo>
                    <a:pt x="539" y="124"/>
                  </a:lnTo>
                  <a:lnTo>
                    <a:pt x="539" y="124"/>
                  </a:lnTo>
                  <a:lnTo>
                    <a:pt x="539" y="124"/>
                  </a:lnTo>
                  <a:lnTo>
                    <a:pt x="539" y="126"/>
                  </a:lnTo>
                  <a:lnTo>
                    <a:pt x="537" y="128"/>
                  </a:lnTo>
                  <a:lnTo>
                    <a:pt x="537" y="128"/>
                  </a:lnTo>
                  <a:lnTo>
                    <a:pt x="537" y="131"/>
                  </a:lnTo>
                  <a:lnTo>
                    <a:pt x="537" y="131"/>
                  </a:lnTo>
                  <a:lnTo>
                    <a:pt x="537" y="131"/>
                  </a:lnTo>
                  <a:lnTo>
                    <a:pt x="534" y="131"/>
                  </a:lnTo>
                  <a:lnTo>
                    <a:pt x="534" y="131"/>
                  </a:lnTo>
                  <a:lnTo>
                    <a:pt x="534" y="131"/>
                  </a:lnTo>
                  <a:lnTo>
                    <a:pt x="534" y="131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4" y="133"/>
                  </a:lnTo>
                  <a:lnTo>
                    <a:pt x="532" y="131"/>
                  </a:lnTo>
                  <a:lnTo>
                    <a:pt x="532" y="131"/>
                  </a:lnTo>
                  <a:lnTo>
                    <a:pt x="532" y="133"/>
                  </a:lnTo>
                  <a:lnTo>
                    <a:pt x="532" y="133"/>
                  </a:lnTo>
                  <a:lnTo>
                    <a:pt x="532" y="133"/>
                  </a:lnTo>
                  <a:lnTo>
                    <a:pt x="532" y="133"/>
                  </a:lnTo>
                  <a:lnTo>
                    <a:pt x="532" y="135"/>
                  </a:lnTo>
                  <a:lnTo>
                    <a:pt x="534" y="137"/>
                  </a:lnTo>
                  <a:lnTo>
                    <a:pt x="534" y="137"/>
                  </a:lnTo>
                  <a:lnTo>
                    <a:pt x="534" y="140"/>
                  </a:lnTo>
                  <a:lnTo>
                    <a:pt x="537" y="140"/>
                  </a:lnTo>
                  <a:lnTo>
                    <a:pt x="537" y="140"/>
                  </a:lnTo>
                  <a:lnTo>
                    <a:pt x="537" y="140"/>
                  </a:lnTo>
                  <a:lnTo>
                    <a:pt x="537" y="140"/>
                  </a:lnTo>
                  <a:lnTo>
                    <a:pt x="537" y="140"/>
                  </a:lnTo>
                  <a:lnTo>
                    <a:pt x="537" y="140"/>
                  </a:lnTo>
                  <a:lnTo>
                    <a:pt x="539" y="140"/>
                  </a:lnTo>
                  <a:lnTo>
                    <a:pt x="539" y="142"/>
                  </a:lnTo>
                  <a:lnTo>
                    <a:pt x="539" y="142"/>
                  </a:lnTo>
                  <a:lnTo>
                    <a:pt x="539" y="142"/>
                  </a:lnTo>
                  <a:lnTo>
                    <a:pt x="539" y="142"/>
                  </a:lnTo>
                  <a:lnTo>
                    <a:pt x="539" y="142"/>
                  </a:lnTo>
                  <a:lnTo>
                    <a:pt x="539" y="142"/>
                  </a:lnTo>
                  <a:lnTo>
                    <a:pt x="539" y="142"/>
                  </a:lnTo>
                  <a:lnTo>
                    <a:pt x="541" y="142"/>
                  </a:lnTo>
                  <a:lnTo>
                    <a:pt x="541" y="144"/>
                  </a:lnTo>
                  <a:lnTo>
                    <a:pt x="541" y="144"/>
                  </a:lnTo>
                  <a:lnTo>
                    <a:pt x="543" y="144"/>
                  </a:lnTo>
                  <a:lnTo>
                    <a:pt x="543" y="144"/>
                  </a:lnTo>
                  <a:lnTo>
                    <a:pt x="543" y="144"/>
                  </a:lnTo>
                  <a:lnTo>
                    <a:pt x="543" y="146"/>
                  </a:lnTo>
                  <a:lnTo>
                    <a:pt x="546" y="146"/>
                  </a:lnTo>
                  <a:lnTo>
                    <a:pt x="546" y="146"/>
                  </a:lnTo>
                  <a:lnTo>
                    <a:pt x="546" y="146"/>
                  </a:lnTo>
                  <a:lnTo>
                    <a:pt x="546" y="146"/>
                  </a:lnTo>
                  <a:lnTo>
                    <a:pt x="546" y="146"/>
                  </a:lnTo>
                  <a:lnTo>
                    <a:pt x="546" y="149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8" y="151"/>
                  </a:lnTo>
                  <a:lnTo>
                    <a:pt x="548" y="151"/>
                  </a:lnTo>
                  <a:lnTo>
                    <a:pt x="548" y="153"/>
                  </a:lnTo>
                  <a:lnTo>
                    <a:pt x="550" y="153"/>
                  </a:lnTo>
                  <a:lnTo>
                    <a:pt x="550" y="153"/>
                  </a:lnTo>
                  <a:lnTo>
                    <a:pt x="550" y="153"/>
                  </a:lnTo>
                  <a:lnTo>
                    <a:pt x="550" y="153"/>
                  </a:lnTo>
                  <a:lnTo>
                    <a:pt x="552" y="155"/>
                  </a:lnTo>
                  <a:lnTo>
                    <a:pt x="552" y="155"/>
                  </a:lnTo>
                  <a:lnTo>
                    <a:pt x="552" y="155"/>
                  </a:lnTo>
                  <a:lnTo>
                    <a:pt x="552" y="155"/>
                  </a:lnTo>
                  <a:lnTo>
                    <a:pt x="552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5"/>
                  </a:lnTo>
                  <a:lnTo>
                    <a:pt x="555" y="158"/>
                  </a:lnTo>
                  <a:lnTo>
                    <a:pt x="555" y="158"/>
                  </a:lnTo>
                  <a:lnTo>
                    <a:pt x="557" y="158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7" y="160"/>
                  </a:lnTo>
                  <a:lnTo>
                    <a:pt x="559" y="160"/>
                  </a:lnTo>
                  <a:lnTo>
                    <a:pt x="559" y="160"/>
                  </a:lnTo>
                  <a:lnTo>
                    <a:pt x="559" y="160"/>
                  </a:lnTo>
                  <a:lnTo>
                    <a:pt x="559" y="160"/>
                  </a:lnTo>
                  <a:lnTo>
                    <a:pt x="559" y="160"/>
                  </a:lnTo>
                  <a:lnTo>
                    <a:pt x="559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1" y="160"/>
                  </a:lnTo>
                  <a:lnTo>
                    <a:pt x="564" y="160"/>
                  </a:lnTo>
                  <a:lnTo>
                    <a:pt x="564" y="162"/>
                  </a:lnTo>
                  <a:lnTo>
                    <a:pt x="564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2"/>
                  </a:lnTo>
                  <a:lnTo>
                    <a:pt x="566" y="164"/>
                  </a:lnTo>
                  <a:lnTo>
                    <a:pt x="568" y="164"/>
                  </a:lnTo>
                  <a:lnTo>
                    <a:pt x="568" y="164"/>
                  </a:lnTo>
                  <a:lnTo>
                    <a:pt x="568" y="164"/>
                  </a:lnTo>
                  <a:lnTo>
                    <a:pt x="570" y="164"/>
                  </a:lnTo>
                  <a:lnTo>
                    <a:pt x="570" y="164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0" y="167"/>
                  </a:lnTo>
                  <a:lnTo>
                    <a:pt x="573" y="167"/>
                  </a:lnTo>
                  <a:lnTo>
                    <a:pt x="573" y="167"/>
                  </a:lnTo>
                  <a:lnTo>
                    <a:pt x="573" y="167"/>
                  </a:lnTo>
                  <a:lnTo>
                    <a:pt x="575" y="167"/>
                  </a:lnTo>
                  <a:lnTo>
                    <a:pt x="575" y="169"/>
                  </a:lnTo>
                  <a:lnTo>
                    <a:pt x="575" y="169"/>
                  </a:lnTo>
                  <a:lnTo>
                    <a:pt x="577" y="169"/>
                  </a:lnTo>
                  <a:lnTo>
                    <a:pt x="577" y="169"/>
                  </a:lnTo>
                  <a:lnTo>
                    <a:pt x="577" y="169"/>
                  </a:lnTo>
                  <a:lnTo>
                    <a:pt x="577" y="171"/>
                  </a:lnTo>
                  <a:lnTo>
                    <a:pt x="577" y="171"/>
                  </a:lnTo>
                  <a:lnTo>
                    <a:pt x="577" y="173"/>
                  </a:lnTo>
                  <a:lnTo>
                    <a:pt x="579" y="173"/>
                  </a:lnTo>
                  <a:lnTo>
                    <a:pt x="579" y="173"/>
                  </a:lnTo>
                  <a:lnTo>
                    <a:pt x="579" y="176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4" y="178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6" y="180"/>
                  </a:lnTo>
                  <a:lnTo>
                    <a:pt x="586" y="180"/>
                  </a:lnTo>
                  <a:lnTo>
                    <a:pt x="586" y="180"/>
                  </a:lnTo>
                  <a:lnTo>
                    <a:pt x="586" y="180"/>
                  </a:lnTo>
                  <a:lnTo>
                    <a:pt x="586" y="180"/>
                  </a:lnTo>
                  <a:lnTo>
                    <a:pt x="588" y="180"/>
                  </a:lnTo>
                  <a:lnTo>
                    <a:pt x="588" y="180"/>
                  </a:lnTo>
                  <a:lnTo>
                    <a:pt x="588" y="180"/>
                  </a:lnTo>
                  <a:lnTo>
                    <a:pt x="591" y="180"/>
                  </a:lnTo>
                  <a:lnTo>
                    <a:pt x="593" y="180"/>
                  </a:lnTo>
                  <a:lnTo>
                    <a:pt x="593" y="180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7" y="182"/>
                  </a:lnTo>
                  <a:lnTo>
                    <a:pt x="599" y="182"/>
                  </a:lnTo>
                  <a:lnTo>
                    <a:pt x="599" y="185"/>
                  </a:lnTo>
                  <a:lnTo>
                    <a:pt x="599" y="185"/>
                  </a:lnTo>
                  <a:lnTo>
                    <a:pt x="599" y="185"/>
                  </a:lnTo>
                  <a:lnTo>
                    <a:pt x="602" y="187"/>
                  </a:lnTo>
                  <a:lnTo>
                    <a:pt x="602" y="187"/>
                  </a:lnTo>
                  <a:lnTo>
                    <a:pt x="602" y="187"/>
                  </a:lnTo>
                  <a:lnTo>
                    <a:pt x="602" y="189"/>
                  </a:lnTo>
                  <a:lnTo>
                    <a:pt x="602" y="189"/>
                  </a:lnTo>
                  <a:lnTo>
                    <a:pt x="602" y="191"/>
                  </a:lnTo>
                  <a:lnTo>
                    <a:pt x="602" y="194"/>
                  </a:lnTo>
                  <a:lnTo>
                    <a:pt x="602" y="194"/>
                  </a:lnTo>
                  <a:lnTo>
                    <a:pt x="604" y="194"/>
                  </a:lnTo>
                  <a:lnTo>
                    <a:pt x="604" y="194"/>
                  </a:lnTo>
                  <a:lnTo>
                    <a:pt x="606" y="196"/>
                  </a:lnTo>
                  <a:lnTo>
                    <a:pt x="606" y="196"/>
                  </a:lnTo>
                  <a:lnTo>
                    <a:pt x="606" y="196"/>
                  </a:lnTo>
                  <a:lnTo>
                    <a:pt x="606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8"/>
                  </a:lnTo>
                  <a:lnTo>
                    <a:pt x="608" y="198"/>
                  </a:lnTo>
                  <a:lnTo>
                    <a:pt x="611" y="198"/>
                  </a:lnTo>
                  <a:lnTo>
                    <a:pt x="611" y="198"/>
                  </a:lnTo>
                  <a:lnTo>
                    <a:pt x="611" y="198"/>
                  </a:lnTo>
                  <a:lnTo>
                    <a:pt x="613" y="200"/>
                  </a:lnTo>
                  <a:lnTo>
                    <a:pt x="613" y="200"/>
                  </a:lnTo>
                  <a:lnTo>
                    <a:pt x="613" y="200"/>
                  </a:lnTo>
                  <a:lnTo>
                    <a:pt x="613" y="200"/>
                  </a:lnTo>
                  <a:lnTo>
                    <a:pt x="615" y="200"/>
                  </a:lnTo>
                  <a:lnTo>
                    <a:pt x="615" y="200"/>
                  </a:lnTo>
                  <a:lnTo>
                    <a:pt x="615" y="202"/>
                  </a:lnTo>
                  <a:lnTo>
                    <a:pt x="615" y="202"/>
                  </a:lnTo>
                  <a:lnTo>
                    <a:pt x="615" y="202"/>
                  </a:lnTo>
                  <a:lnTo>
                    <a:pt x="620" y="202"/>
                  </a:lnTo>
                  <a:lnTo>
                    <a:pt x="622" y="202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6" y="202"/>
                  </a:lnTo>
                  <a:lnTo>
                    <a:pt x="626" y="200"/>
                  </a:lnTo>
                  <a:lnTo>
                    <a:pt x="626" y="200"/>
                  </a:lnTo>
                  <a:lnTo>
                    <a:pt x="626" y="200"/>
                  </a:lnTo>
                  <a:lnTo>
                    <a:pt x="626" y="200"/>
                  </a:lnTo>
                  <a:lnTo>
                    <a:pt x="629" y="200"/>
                  </a:lnTo>
                  <a:lnTo>
                    <a:pt x="629" y="200"/>
                  </a:lnTo>
                  <a:lnTo>
                    <a:pt x="629" y="200"/>
                  </a:lnTo>
                  <a:lnTo>
                    <a:pt x="629" y="200"/>
                  </a:lnTo>
                  <a:lnTo>
                    <a:pt x="629" y="200"/>
                  </a:lnTo>
                  <a:lnTo>
                    <a:pt x="629" y="200"/>
                  </a:lnTo>
                  <a:lnTo>
                    <a:pt x="631" y="200"/>
                  </a:lnTo>
                  <a:lnTo>
                    <a:pt x="631" y="198"/>
                  </a:lnTo>
                  <a:lnTo>
                    <a:pt x="631" y="198"/>
                  </a:lnTo>
                  <a:lnTo>
                    <a:pt x="633" y="198"/>
                  </a:lnTo>
                  <a:lnTo>
                    <a:pt x="633" y="198"/>
                  </a:lnTo>
                  <a:lnTo>
                    <a:pt x="633" y="198"/>
                  </a:lnTo>
                  <a:lnTo>
                    <a:pt x="633" y="198"/>
                  </a:lnTo>
                  <a:lnTo>
                    <a:pt x="633" y="198"/>
                  </a:lnTo>
                  <a:lnTo>
                    <a:pt x="633" y="198"/>
                  </a:lnTo>
                  <a:lnTo>
                    <a:pt x="633" y="196"/>
                  </a:lnTo>
                  <a:lnTo>
                    <a:pt x="635" y="196"/>
                  </a:lnTo>
                  <a:lnTo>
                    <a:pt x="635" y="196"/>
                  </a:lnTo>
                  <a:lnTo>
                    <a:pt x="635" y="196"/>
                  </a:lnTo>
                  <a:lnTo>
                    <a:pt x="635" y="194"/>
                  </a:lnTo>
                  <a:lnTo>
                    <a:pt x="638" y="191"/>
                  </a:lnTo>
                  <a:lnTo>
                    <a:pt x="638" y="191"/>
                  </a:lnTo>
                  <a:lnTo>
                    <a:pt x="638" y="191"/>
                  </a:lnTo>
                  <a:lnTo>
                    <a:pt x="638" y="191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38" y="189"/>
                  </a:lnTo>
                  <a:lnTo>
                    <a:pt x="640" y="187"/>
                  </a:lnTo>
                  <a:lnTo>
                    <a:pt x="640" y="187"/>
                  </a:lnTo>
                  <a:lnTo>
                    <a:pt x="640" y="187"/>
                  </a:lnTo>
                  <a:lnTo>
                    <a:pt x="640" y="187"/>
                  </a:lnTo>
                  <a:lnTo>
                    <a:pt x="640" y="187"/>
                  </a:lnTo>
                  <a:lnTo>
                    <a:pt x="642" y="182"/>
                  </a:lnTo>
                  <a:lnTo>
                    <a:pt x="642" y="182"/>
                  </a:lnTo>
                  <a:lnTo>
                    <a:pt x="642" y="182"/>
                  </a:lnTo>
                  <a:lnTo>
                    <a:pt x="644" y="180"/>
                  </a:lnTo>
                  <a:lnTo>
                    <a:pt x="644" y="180"/>
                  </a:lnTo>
                  <a:lnTo>
                    <a:pt x="644" y="180"/>
                  </a:lnTo>
                  <a:lnTo>
                    <a:pt x="644" y="180"/>
                  </a:lnTo>
                  <a:lnTo>
                    <a:pt x="647" y="180"/>
                  </a:lnTo>
                  <a:lnTo>
                    <a:pt x="647" y="178"/>
                  </a:lnTo>
                  <a:lnTo>
                    <a:pt x="647" y="178"/>
                  </a:lnTo>
                  <a:lnTo>
                    <a:pt x="647" y="178"/>
                  </a:lnTo>
                  <a:lnTo>
                    <a:pt x="647" y="176"/>
                  </a:lnTo>
                  <a:lnTo>
                    <a:pt x="647" y="176"/>
                  </a:lnTo>
                  <a:lnTo>
                    <a:pt x="647" y="176"/>
                  </a:lnTo>
                  <a:lnTo>
                    <a:pt x="649" y="176"/>
                  </a:lnTo>
                  <a:lnTo>
                    <a:pt x="649" y="173"/>
                  </a:lnTo>
                  <a:lnTo>
                    <a:pt x="649" y="173"/>
                  </a:lnTo>
                  <a:lnTo>
                    <a:pt x="649" y="173"/>
                  </a:lnTo>
                  <a:lnTo>
                    <a:pt x="649" y="173"/>
                  </a:lnTo>
                  <a:lnTo>
                    <a:pt x="649" y="173"/>
                  </a:lnTo>
                  <a:lnTo>
                    <a:pt x="649" y="173"/>
                  </a:lnTo>
                  <a:lnTo>
                    <a:pt x="649" y="173"/>
                  </a:lnTo>
                  <a:lnTo>
                    <a:pt x="649" y="171"/>
                  </a:lnTo>
                  <a:lnTo>
                    <a:pt x="649" y="171"/>
                  </a:lnTo>
                  <a:lnTo>
                    <a:pt x="649" y="171"/>
                  </a:lnTo>
                  <a:lnTo>
                    <a:pt x="649" y="171"/>
                  </a:lnTo>
                  <a:lnTo>
                    <a:pt x="649" y="169"/>
                  </a:lnTo>
                  <a:lnTo>
                    <a:pt x="651" y="169"/>
                  </a:lnTo>
                  <a:lnTo>
                    <a:pt x="651" y="169"/>
                  </a:lnTo>
                  <a:lnTo>
                    <a:pt x="651" y="167"/>
                  </a:lnTo>
                  <a:lnTo>
                    <a:pt x="651" y="167"/>
                  </a:lnTo>
                  <a:lnTo>
                    <a:pt x="651" y="167"/>
                  </a:lnTo>
                  <a:lnTo>
                    <a:pt x="651" y="167"/>
                  </a:lnTo>
                  <a:lnTo>
                    <a:pt x="653" y="164"/>
                  </a:lnTo>
                  <a:lnTo>
                    <a:pt x="653" y="164"/>
                  </a:lnTo>
                  <a:lnTo>
                    <a:pt x="653" y="164"/>
                  </a:lnTo>
                  <a:lnTo>
                    <a:pt x="653" y="160"/>
                  </a:lnTo>
                  <a:lnTo>
                    <a:pt x="653" y="160"/>
                  </a:lnTo>
                  <a:lnTo>
                    <a:pt x="653" y="160"/>
                  </a:lnTo>
                  <a:lnTo>
                    <a:pt x="653" y="160"/>
                  </a:lnTo>
                  <a:lnTo>
                    <a:pt x="653" y="160"/>
                  </a:lnTo>
                  <a:lnTo>
                    <a:pt x="653" y="160"/>
                  </a:lnTo>
                  <a:lnTo>
                    <a:pt x="656" y="153"/>
                  </a:lnTo>
                  <a:lnTo>
                    <a:pt x="658" y="151"/>
                  </a:lnTo>
                  <a:lnTo>
                    <a:pt x="660" y="146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60" y="142"/>
                  </a:lnTo>
                  <a:lnTo>
                    <a:pt x="660" y="142"/>
                  </a:lnTo>
                  <a:lnTo>
                    <a:pt x="660" y="142"/>
                  </a:lnTo>
                  <a:lnTo>
                    <a:pt x="662" y="142"/>
                  </a:lnTo>
                  <a:lnTo>
                    <a:pt x="662" y="142"/>
                  </a:lnTo>
                  <a:lnTo>
                    <a:pt x="662" y="142"/>
                  </a:lnTo>
                  <a:lnTo>
                    <a:pt x="662" y="140"/>
                  </a:lnTo>
                  <a:lnTo>
                    <a:pt x="662" y="140"/>
                  </a:lnTo>
                  <a:lnTo>
                    <a:pt x="662" y="140"/>
                  </a:lnTo>
                  <a:lnTo>
                    <a:pt x="662" y="140"/>
                  </a:lnTo>
                  <a:lnTo>
                    <a:pt x="662" y="140"/>
                  </a:lnTo>
                  <a:lnTo>
                    <a:pt x="662" y="140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2" y="135"/>
                  </a:lnTo>
                  <a:lnTo>
                    <a:pt x="662" y="135"/>
                  </a:lnTo>
                  <a:lnTo>
                    <a:pt x="662" y="128"/>
                  </a:lnTo>
                  <a:lnTo>
                    <a:pt x="662" y="128"/>
                  </a:lnTo>
                  <a:lnTo>
                    <a:pt x="662" y="128"/>
                  </a:lnTo>
                  <a:lnTo>
                    <a:pt x="662" y="126"/>
                  </a:lnTo>
                  <a:lnTo>
                    <a:pt x="662" y="126"/>
                  </a:lnTo>
                  <a:lnTo>
                    <a:pt x="662" y="126"/>
                  </a:lnTo>
                  <a:lnTo>
                    <a:pt x="662" y="124"/>
                  </a:lnTo>
                  <a:lnTo>
                    <a:pt x="665" y="119"/>
                  </a:lnTo>
                  <a:lnTo>
                    <a:pt x="665" y="119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5" y="117"/>
                  </a:lnTo>
                  <a:lnTo>
                    <a:pt x="665" y="115"/>
                  </a:lnTo>
                  <a:lnTo>
                    <a:pt x="662" y="115"/>
                  </a:lnTo>
                  <a:lnTo>
                    <a:pt x="662" y="113"/>
                  </a:lnTo>
                  <a:lnTo>
                    <a:pt x="662" y="110"/>
                  </a:lnTo>
                  <a:lnTo>
                    <a:pt x="662" y="110"/>
                  </a:lnTo>
                  <a:lnTo>
                    <a:pt x="665" y="104"/>
                  </a:lnTo>
                  <a:lnTo>
                    <a:pt x="665" y="104"/>
                  </a:lnTo>
                  <a:lnTo>
                    <a:pt x="665" y="104"/>
                  </a:lnTo>
                  <a:lnTo>
                    <a:pt x="667" y="104"/>
                  </a:lnTo>
                  <a:lnTo>
                    <a:pt x="667" y="101"/>
                  </a:lnTo>
                  <a:lnTo>
                    <a:pt x="667" y="101"/>
                  </a:lnTo>
                  <a:lnTo>
                    <a:pt x="667" y="99"/>
                  </a:lnTo>
                  <a:lnTo>
                    <a:pt x="667" y="99"/>
                  </a:lnTo>
                  <a:lnTo>
                    <a:pt x="669" y="99"/>
                  </a:lnTo>
                  <a:lnTo>
                    <a:pt x="669" y="99"/>
                  </a:lnTo>
                  <a:lnTo>
                    <a:pt x="669" y="99"/>
                  </a:lnTo>
                  <a:lnTo>
                    <a:pt x="669" y="99"/>
                  </a:lnTo>
                  <a:lnTo>
                    <a:pt x="669" y="99"/>
                  </a:lnTo>
                  <a:lnTo>
                    <a:pt x="669" y="99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7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5"/>
                  </a:lnTo>
                  <a:lnTo>
                    <a:pt x="669" y="92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90"/>
                  </a:lnTo>
                  <a:lnTo>
                    <a:pt x="669" y="88"/>
                  </a:lnTo>
                  <a:lnTo>
                    <a:pt x="669" y="88"/>
                  </a:lnTo>
                  <a:lnTo>
                    <a:pt x="669" y="88"/>
                  </a:lnTo>
                  <a:lnTo>
                    <a:pt x="669" y="88"/>
                  </a:lnTo>
                  <a:lnTo>
                    <a:pt x="671" y="88"/>
                  </a:lnTo>
                  <a:lnTo>
                    <a:pt x="671" y="88"/>
                  </a:lnTo>
                  <a:lnTo>
                    <a:pt x="671" y="88"/>
                  </a:lnTo>
                  <a:lnTo>
                    <a:pt x="671" y="86"/>
                  </a:lnTo>
                  <a:lnTo>
                    <a:pt x="671" y="86"/>
                  </a:lnTo>
                  <a:lnTo>
                    <a:pt x="671" y="86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6" y="83"/>
                  </a:lnTo>
                  <a:lnTo>
                    <a:pt x="676" y="83"/>
                  </a:lnTo>
                  <a:lnTo>
                    <a:pt x="676" y="86"/>
                  </a:lnTo>
                  <a:lnTo>
                    <a:pt x="676" y="86"/>
                  </a:lnTo>
                  <a:lnTo>
                    <a:pt x="676" y="88"/>
                  </a:lnTo>
                  <a:lnTo>
                    <a:pt x="676" y="88"/>
                  </a:lnTo>
                  <a:lnTo>
                    <a:pt x="676" y="88"/>
                  </a:lnTo>
                  <a:lnTo>
                    <a:pt x="676" y="88"/>
                  </a:lnTo>
                  <a:lnTo>
                    <a:pt x="676" y="88"/>
                  </a:lnTo>
                  <a:lnTo>
                    <a:pt x="676" y="88"/>
                  </a:lnTo>
                  <a:lnTo>
                    <a:pt x="676" y="88"/>
                  </a:lnTo>
                  <a:lnTo>
                    <a:pt x="676" y="86"/>
                  </a:lnTo>
                  <a:lnTo>
                    <a:pt x="676" y="86"/>
                  </a:lnTo>
                  <a:lnTo>
                    <a:pt x="676" y="86"/>
                  </a:lnTo>
                  <a:lnTo>
                    <a:pt x="678" y="83"/>
                  </a:lnTo>
                  <a:lnTo>
                    <a:pt x="678" y="83"/>
                  </a:lnTo>
                  <a:lnTo>
                    <a:pt x="678" y="83"/>
                  </a:lnTo>
                  <a:lnTo>
                    <a:pt x="676" y="83"/>
                  </a:lnTo>
                  <a:lnTo>
                    <a:pt x="676" y="83"/>
                  </a:lnTo>
                  <a:lnTo>
                    <a:pt x="676" y="83"/>
                  </a:lnTo>
                  <a:lnTo>
                    <a:pt x="676" y="83"/>
                  </a:lnTo>
                  <a:lnTo>
                    <a:pt x="676" y="83"/>
                  </a:lnTo>
                  <a:lnTo>
                    <a:pt x="674" y="83"/>
                  </a:lnTo>
                  <a:lnTo>
                    <a:pt x="674" y="83"/>
                  </a:lnTo>
                  <a:lnTo>
                    <a:pt x="674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8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6" y="81"/>
                  </a:lnTo>
                  <a:lnTo>
                    <a:pt x="674" y="81"/>
                  </a:lnTo>
                  <a:lnTo>
                    <a:pt x="674" y="81"/>
                  </a:lnTo>
                  <a:lnTo>
                    <a:pt x="674" y="81"/>
                  </a:lnTo>
                  <a:lnTo>
                    <a:pt x="674" y="81"/>
                  </a:lnTo>
                  <a:lnTo>
                    <a:pt x="674" y="81"/>
                  </a:lnTo>
                  <a:lnTo>
                    <a:pt x="674" y="79"/>
                  </a:lnTo>
                  <a:lnTo>
                    <a:pt x="674" y="79"/>
                  </a:lnTo>
                  <a:lnTo>
                    <a:pt x="674" y="79"/>
                  </a:lnTo>
                  <a:lnTo>
                    <a:pt x="671" y="79"/>
                  </a:lnTo>
                  <a:lnTo>
                    <a:pt x="674" y="79"/>
                  </a:lnTo>
                  <a:lnTo>
                    <a:pt x="674" y="79"/>
                  </a:lnTo>
                  <a:lnTo>
                    <a:pt x="674" y="79"/>
                  </a:lnTo>
                  <a:lnTo>
                    <a:pt x="671" y="79"/>
                  </a:lnTo>
                  <a:lnTo>
                    <a:pt x="671" y="79"/>
                  </a:lnTo>
                  <a:lnTo>
                    <a:pt x="671" y="77"/>
                  </a:lnTo>
                  <a:lnTo>
                    <a:pt x="671" y="77"/>
                  </a:lnTo>
                  <a:lnTo>
                    <a:pt x="671" y="77"/>
                  </a:lnTo>
                  <a:lnTo>
                    <a:pt x="671" y="77"/>
                  </a:lnTo>
                  <a:lnTo>
                    <a:pt x="671" y="77"/>
                  </a:lnTo>
                  <a:lnTo>
                    <a:pt x="671" y="79"/>
                  </a:lnTo>
                  <a:lnTo>
                    <a:pt x="671" y="79"/>
                  </a:lnTo>
                  <a:lnTo>
                    <a:pt x="671" y="79"/>
                  </a:lnTo>
                  <a:lnTo>
                    <a:pt x="671" y="79"/>
                  </a:lnTo>
                  <a:lnTo>
                    <a:pt x="671" y="79"/>
                  </a:lnTo>
                  <a:lnTo>
                    <a:pt x="671" y="79"/>
                  </a:lnTo>
                  <a:lnTo>
                    <a:pt x="671" y="81"/>
                  </a:lnTo>
                  <a:lnTo>
                    <a:pt x="671" y="79"/>
                  </a:lnTo>
                  <a:lnTo>
                    <a:pt x="669" y="81"/>
                  </a:lnTo>
                  <a:lnTo>
                    <a:pt x="669" y="81"/>
                  </a:lnTo>
                  <a:lnTo>
                    <a:pt x="669" y="79"/>
                  </a:lnTo>
                  <a:lnTo>
                    <a:pt x="669" y="79"/>
                  </a:lnTo>
                  <a:lnTo>
                    <a:pt x="674" y="74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6" y="72"/>
                  </a:lnTo>
                  <a:lnTo>
                    <a:pt x="676" y="72"/>
                  </a:lnTo>
                  <a:lnTo>
                    <a:pt x="676" y="72"/>
                  </a:lnTo>
                  <a:lnTo>
                    <a:pt x="676" y="72"/>
                  </a:lnTo>
                  <a:lnTo>
                    <a:pt x="676" y="72"/>
                  </a:lnTo>
                  <a:lnTo>
                    <a:pt x="676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2"/>
                  </a:lnTo>
                  <a:lnTo>
                    <a:pt x="674" y="70"/>
                  </a:lnTo>
                  <a:lnTo>
                    <a:pt x="676" y="70"/>
                  </a:lnTo>
                  <a:lnTo>
                    <a:pt x="676" y="68"/>
                  </a:lnTo>
                  <a:lnTo>
                    <a:pt x="676" y="68"/>
                  </a:lnTo>
                  <a:lnTo>
                    <a:pt x="678" y="65"/>
                  </a:lnTo>
                  <a:lnTo>
                    <a:pt x="678" y="65"/>
                  </a:lnTo>
                  <a:lnTo>
                    <a:pt x="678" y="65"/>
                  </a:lnTo>
                  <a:lnTo>
                    <a:pt x="678" y="68"/>
                  </a:lnTo>
                  <a:lnTo>
                    <a:pt x="678" y="68"/>
                  </a:lnTo>
                  <a:lnTo>
                    <a:pt x="678" y="68"/>
                  </a:lnTo>
                  <a:lnTo>
                    <a:pt x="678" y="70"/>
                  </a:lnTo>
                  <a:lnTo>
                    <a:pt x="678" y="70"/>
                  </a:lnTo>
                  <a:lnTo>
                    <a:pt x="678" y="68"/>
                  </a:lnTo>
                  <a:lnTo>
                    <a:pt x="678" y="68"/>
                  </a:lnTo>
                  <a:lnTo>
                    <a:pt x="678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80" y="68"/>
                  </a:lnTo>
                  <a:lnTo>
                    <a:pt x="678" y="68"/>
                  </a:lnTo>
                  <a:lnTo>
                    <a:pt x="678" y="65"/>
                  </a:lnTo>
                  <a:lnTo>
                    <a:pt x="678" y="65"/>
                  </a:lnTo>
                  <a:lnTo>
                    <a:pt x="678" y="65"/>
                  </a:lnTo>
                  <a:lnTo>
                    <a:pt x="680" y="63"/>
                  </a:lnTo>
                  <a:lnTo>
                    <a:pt x="680" y="61"/>
                  </a:lnTo>
                  <a:lnTo>
                    <a:pt x="680" y="61"/>
                  </a:lnTo>
                  <a:lnTo>
                    <a:pt x="680" y="61"/>
                  </a:lnTo>
                  <a:lnTo>
                    <a:pt x="680" y="61"/>
                  </a:lnTo>
                  <a:lnTo>
                    <a:pt x="685" y="52"/>
                  </a:lnTo>
                  <a:lnTo>
                    <a:pt x="685" y="50"/>
                  </a:lnTo>
                  <a:lnTo>
                    <a:pt x="685" y="50"/>
                  </a:lnTo>
                  <a:lnTo>
                    <a:pt x="685" y="50"/>
                  </a:lnTo>
                  <a:lnTo>
                    <a:pt x="685" y="47"/>
                  </a:lnTo>
                  <a:lnTo>
                    <a:pt x="685" y="47"/>
                  </a:lnTo>
                  <a:lnTo>
                    <a:pt x="685" y="47"/>
                  </a:lnTo>
                  <a:lnTo>
                    <a:pt x="685" y="45"/>
                  </a:lnTo>
                  <a:lnTo>
                    <a:pt x="685" y="43"/>
                  </a:lnTo>
                  <a:lnTo>
                    <a:pt x="687" y="43"/>
                  </a:lnTo>
                  <a:lnTo>
                    <a:pt x="687" y="41"/>
                  </a:lnTo>
                  <a:lnTo>
                    <a:pt x="687" y="41"/>
                  </a:lnTo>
                  <a:lnTo>
                    <a:pt x="687" y="41"/>
                  </a:lnTo>
                  <a:lnTo>
                    <a:pt x="687" y="41"/>
                  </a:lnTo>
                  <a:lnTo>
                    <a:pt x="689" y="41"/>
                  </a:lnTo>
                  <a:lnTo>
                    <a:pt x="689" y="41"/>
                  </a:lnTo>
                  <a:lnTo>
                    <a:pt x="689" y="41"/>
                  </a:lnTo>
                  <a:lnTo>
                    <a:pt x="689" y="41"/>
                  </a:lnTo>
                  <a:lnTo>
                    <a:pt x="689" y="41"/>
                  </a:lnTo>
                  <a:lnTo>
                    <a:pt x="692" y="41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8"/>
                  </a:lnTo>
                  <a:lnTo>
                    <a:pt x="692" y="36"/>
                  </a:lnTo>
                  <a:lnTo>
                    <a:pt x="692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4" y="36"/>
                  </a:lnTo>
                  <a:lnTo>
                    <a:pt x="696" y="36"/>
                  </a:lnTo>
                  <a:lnTo>
                    <a:pt x="696" y="36"/>
                  </a:lnTo>
                  <a:lnTo>
                    <a:pt x="696" y="36"/>
                  </a:lnTo>
                  <a:lnTo>
                    <a:pt x="696" y="36"/>
                  </a:lnTo>
                  <a:lnTo>
                    <a:pt x="696" y="36"/>
                  </a:lnTo>
                  <a:lnTo>
                    <a:pt x="696" y="36"/>
                  </a:lnTo>
                  <a:close/>
                  <a:moveTo>
                    <a:pt x="689" y="36"/>
                  </a:moveTo>
                  <a:lnTo>
                    <a:pt x="689" y="36"/>
                  </a:lnTo>
                  <a:lnTo>
                    <a:pt x="689" y="36"/>
                  </a:lnTo>
                  <a:lnTo>
                    <a:pt x="689" y="36"/>
                  </a:lnTo>
                  <a:lnTo>
                    <a:pt x="689" y="36"/>
                  </a:lnTo>
                  <a:lnTo>
                    <a:pt x="689" y="36"/>
                  </a:lnTo>
                  <a:lnTo>
                    <a:pt x="687" y="36"/>
                  </a:lnTo>
                  <a:lnTo>
                    <a:pt x="687" y="36"/>
                  </a:lnTo>
                  <a:lnTo>
                    <a:pt x="687" y="36"/>
                  </a:lnTo>
                  <a:lnTo>
                    <a:pt x="687" y="36"/>
                  </a:lnTo>
                  <a:lnTo>
                    <a:pt x="687" y="38"/>
                  </a:lnTo>
                  <a:lnTo>
                    <a:pt x="687" y="36"/>
                  </a:lnTo>
                  <a:lnTo>
                    <a:pt x="687" y="36"/>
                  </a:lnTo>
                  <a:lnTo>
                    <a:pt x="687" y="36"/>
                  </a:lnTo>
                  <a:lnTo>
                    <a:pt x="687" y="36"/>
                  </a:lnTo>
                  <a:lnTo>
                    <a:pt x="685" y="36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7" y="34"/>
                  </a:lnTo>
                  <a:lnTo>
                    <a:pt x="689" y="34"/>
                  </a:lnTo>
                  <a:lnTo>
                    <a:pt x="689" y="34"/>
                  </a:lnTo>
                  <a:lnTo>
                    <a:pt x="689" y="34"/>
                  </a:lnTo>
                  <a:lnTo>
                    <a:pt x="689" y="36"/>
                  </a:lnTo>
                  <a:lnTo>
                    <a:pt x="689" y="36"/>
                  </a:lnTo>
                  <a:lnTo>
                    <a:pt x="689" y="36"/>
                  </a:lnTo>
                  <a:close/>
                  <a:moveTo>
                    <a:pt x="689" y="34"/>
                  </a:moveTo>
                  <a:lnTo>
                    <a:pt x="689" y="34"/>
                  </a:lnTo>
                  <a:lnTo>
                    <a:pt x="689" y="34"/>
                  </a:lnTo>
                  <a:lnTo>
                    <a:pt x="689" y="34"/>
                  </a:lnTo>
                  <a:lnTo>
                    <a:pt x="689" y="34"/>
                  </a:lnTo>
                  <a:lnTo>
                    <a:pt x="689" y="32"/>
                  </a:lnTo>
                  <a:lnTo>
                    <a:pt x="692" y="34"/>
                  </a:lnTo>
                  <a:lnTo>
                    <a:pt x="692" y="34"/>
                  </a:lnTo>
                  <a:lnTo>
                    <a:pt x="689" y="34"/>
                  </a:lnTo>
                  <a:close/>
                  <a:moveTo>
                    <a:pt x="692" y="25"/>
                  </a:moveTo>
                  <a:lnTo>
                    <a:pt x="692" y="25"/>
                  </a:lnTo>
                  <a:lnTo>
                    <a:pt x="692" y="25"/>
                  </a:lnTo>
                  <a:lnTo>
                    <a:pt x="689" y="25"/>
                  </a:lnTo>
                  <a:lnTo>
                    <a:pt x="689" y="25"/>
                  </a:lnTo>
                  <a:lnTo>
                    <a:pt x="689" y="25"/>
                  </a:lnTo>
                  <a:lnTo>
                    <a:pt x="689" y="25"/>
                  </a:lnTo>
                  <a:lnTo>
                    <a:pt x="689" y="25"/>
                  </a:lnTo>
                  <a:lnTo>
                    <a:pt x="689" y="25"/>
                  </a:lnTo>
                  <a:lnTo>
                    <a:pt x="689" y="25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92" y="23"/>
                  </a:lnTo>
                  <a:lnTo>
                    <a:pt x="692" y="23"/>
                  </a:lnTo>
                  <a:lnTo>
                    <a:pt x="692" y="23"/>
                  </a:lnTo>
                  <a:lnTo>
                    <a:pt x="692" y="23"/>
                  </a:lnTo>
                  <a:lnTo>
                    <a:pt x="692" y="25"/>
                  </a:lnTo>
                  <a:lnTo>
                    <a:pt x="692" y="25"/>
                  </a:lnTo>
                  <a:close/>
                  <a:moveTo>
                    <a:pt x="689" y="23"/>
                  </a:moveTo>
                  <a:lnTo>
                    <a:pt x="687" y="23"/>
                  </a:lnTo>
                  <a:lnTo>
                    <a:pt x="687" y="23"/>
                  </a:lnTo>
                  <a:lnTo>
                    <a:pt x="687" y="23"/>
                  </a:lnTo>
                  <a:lnTo>
                    <a:pt x="687" y="23"/>
                  </a:lnTo>
                  <a:lnTo>
                    <a:pt x="687" y="23"/>
                  </a:lnTo>
                  <a:lnTo>
                    <a:pt x="687" y="23"/>
                  </a:lnTo>
                  <a:lnTo>
                    <a:pt x="687" y="23"/>
                  </a:lnTo>
                  <a:lnTo>
                    <a:pt x="689" y="20"/>
                  </a:lnTo>
                  <a:lnTo>
                    <a:pt x="689" y="20"/>
                  </a:lnTo>
                  <a:lnTo>
                    <a:pt x="689" y="20"/>
                  </a:lnTo>
                  <a:lnTo>
                    <a:pt x="689" y="20"/>
                  </a:lnTo>
                  <a:lnTo>
                    <a:pt x="689" y="20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lnTo>
                    <a:pt x="689" y="23"/>
                  </a:lnTo>
                  <a:close/>
                  <a:moveTo>
                    <a:pt x="703" y="5"/>
                  </a:moveTo>
                  <a:lnTo>
                    <a:pt x="703" y="5"/>
                  </a:lnTo>
                  <a:lnTo>
                    <a:pt x="703" y="5"/>
                  </a:lnTo>
                  <a:lnTo>
                    <a:pt x="703" y="5"/>
                  </a:lnTo>
                  <a:lnTo>
                    <a:pt x="703" y="5"/>
                  </a:lnTo>
                  <a:lnTo>
                    <a:pt x="703" y="5"/>
                  </a:lnTo>
                  <a:lnTo>
                    <a:pt x="701" y="5"/>
                  </a:lnTo>
                  <a:lnTo>
                    <a:pt x="701" y="5"/>
                  </a:lnTo>
                  <a:lnTo>
                    <a:pt x="701" y="5"/>
                  </a:lnTo>
                  <a:lnTo>
                    <a:pt x="701" y="5"/>
                  </a:lnTo>
                  <a:lnTo>
                    <a:pt x="698" y="5"/>
                  </a:lnTo>
                  <a:lnTo>
                    <a:pt x="701" y="5"/>
                  </a:lnTo>
                  <a:lnTo>
                    <a:pt x="701" y="5"/>
                  </a:lnTo>
                  <a:lnTo>
                    <a:pt x="701" y="5"/>
                  </a:lnTo>
                  <a:lnTo>
                    <a:pt x="701" y="5"/>
                  </a:lnTo>
                  <a:lnTo>
                    <a:pt x="703" y="5"/>
                  </a:lnTo>
                  <a:lnTo>
                    <a:pt x="703" y="5"/>
                  </a:lnTo>
                  <a:lnTo>
                    <a:pt x="703" y="5"/>
                  </a:lnTo>
                  <a:close/>
                  <a:moveTo>
                    <a:pt x="692" y="2"/>
                  </a:moveTo>
                  <a:lnTo>
                    <a:pt x="692" y="2"/>
                  </a:lnTo>
                  <a:lnTo>
                    <a:pt x="692" y="2"/>
                  </a:lnTo>
                  <a:lnTo>
                    <a:pt x="689" y="2"/>
                  </a:lnTo>
                  <a:lnTo>
                    <a:pt x="692" y="0"/>
                  </a:lnTo>
                  <a:lnTo>
                    <a:pt x="692" y="0"/>
                  </a:lnTo>
                  <a:lnTo>
                    <a:pt x="694" y="2"/>
                  </a:lnTo>
                  <a:lnTo>
                    <a:pt x="694" y="2"/>
                  </a:lnTo>
                  <a:lnTo>
                    <a:pt x="694" y="2"/>
                  </a:lnTo>
                  <a:lnTo>
                    <a:pt x="692" y="2"/>
                  </a:lnTo>
                  <a:close/>
                </a:path>
              </a:pathLst>
            </a:custGeom>
            <a:solidFill>
              <a:srgbClr val="FF6200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4" name="Rectangle 653"/>
            <p:cNvSpPr>
              <a:spLocks noChangeArrowheads="1"/>
            </p:cNvSpPr>
            <p:nvPr/>
          </p:nvSpPr>
          <p:spPr bwMode="auto">
            <a:xfrm>
              <a:off x="9954843" y="4462166"/>
              <a:ext cx="1672" cy="1671"/>
            </a:xfrm>
            <a:prstGeom prst="rect">
              <a:avLst/>
            </a:pr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5" name="Freeform 654"/>
            <p:cNvSpPr>
              <a:spLocks noEditPoints="1"/>
            </p:cNvSpPr>
            <p:nvPr/>
          </p:nvSpPr>
          <p:spPr bwMode="auto">
            <a:xfrm>
              <a:off x="7041549" y="2326085"/>
              <a:ext cx="115329" cy="95271"/>
            </a:xfrm>
            <a:custGeom>
              <a:avLst/>
              <a:gdLst>
                <a:gd name="T0" fmla="*/ 42 w 69"/>
                <a:gd name="T1" fmla="*/ 14 h 57"/>
                <a:gd name="T2" fmla="*/ 29 w 69"/>
                <a:gd name="T3" fmla="*/ 0 h 57"/>
                <a:gd name="T4" fmla="*/ 33 w 69"/>
                <a:gd name="T5" fmla="*/ 3 h 57"/>
                <a:gd name="T6" fmla="*/ 33 w 69"/>
                <a:gd name="T7" fmla="*/ 5 h 57"/>
                <a:gd name="T8" fmla="*/ 36 w 69"/>
                <a:gd name="T9" fmla="*/ 5 h 57"/>
                <a:gd name="T10" fmla="*/ 40 w 69"/>
                <a:gd name="T11" fmla="*/ 7 h 57"/>
                <a:gd name="T12" fmla="*/ 42 w 69"/>
                <a:gd name="T13" fmla="*/ 9 h 57"/>
                <a:gd name="T14" fmla="*/ 40 w 69"/>
                <a:gd name="T15" fmla="*/ 14 h 57"/>
                <a:gd name="T16" fmla="*/ 42 w 69"/>
                <a:gd name="T17" fmla="*/ 16 h 57"/>
                <a:gd name="T18" fmla="*/ 45 w 69"/>
                <a:gd name="T19" fmla="*/ 21 h 57"/>
                <a:gd name="T20" fmla="*/ 54 w 69"/>
                <a:gd name="T21" fmla="*/ 23 h 57"/>
                <a:gd name="T22" fmla="*/ 54 w 69"/>
                <a:gd name="T23" fmla="*/ 27 h 57"/>
                <a:gd name="T24" fmla="*/ 47 w 69"/>
                <a:gd name="T25" fmla="*/ 30 h 57"/>
                <a:gd name="T26" fmla="*/ 51 w 69"/>
                <a:gd name="T27" fmla="*/ 34 h 57"/>
                <a:gd name="T28" fmla="*/ 58 w 69"/>
                <a:gd name="T29" fmla="*/ 39 h 57"/>
                <a:gd name="T30" fmla="*/ 63 w 69"/>
                <a:gd name="T31" fmla="*/ 39 h 57"/>
                <a:gd name="T32" fmla="*/ 67 w 69"/>
                <a:gd name="T33" fmla="*/ 41 h 57"/>
                <a:gd name="T34" fmla="*/ 67 w 69"/>
                <a:gd name="T35" fmla="*/ 41 h 57"/>
                <a:gd name="T36" fmla="*/ 65 w 69"/>
                <a:gd name="T37" fmla="*/ 43 h 57"/>
                <a:gd name="T38" fmla="*/ 67 w 69"/>
                <a:gd name="T39" fmla="*/ 48 h 57"/>
                <a:gd name="T40" fmla="*/ 69 w 69"/>
                <a:gd name="T41" fmla="*/ 48 h 57"/>
                <a:gd name="T42" fmla="*/ 67 w 69"/>
                <a:gd name="T43" fmla="*/ 50 h 57"/>
                <a:gd name="T44" fmla="*/ 69 w 69"/>
                <a:gd name="T45" fmla="*/ 54 h 57"/>
                <a:gd name="T46" fmla="*/ 69 w 69"/>
                <a:gd name="T47" fmla="*/ 57 h 57"/>
                <a:gd name="T48" fmla="*/ 65 w 69"/>
                <a:gd name="T49" fmla="*/ 57 h 57"/>
                <a:gd name="T50" fmla="*/ 58 w 69"/>
                <a:gd name="T51" fmla="*/ 50 h 57"/>
                <a:gd name="T52" fmla="*/ 58 w 69"/>
                <a:gd name="T53" fmla="*/ 48 h 57"/>
                <a:gd name="T54" fmla="*/ 54 w 69"/>
                <a:gd name="T55" fmla="*/ 45 h 57"/>
                <a:gd name="T56" fmla="*/ 54 w 69"/>
                <a:gd name="T57" fmla="*/ 41 h 57"/>
                <a:gd name="T58" fmla="*/ 49 w 69"/>
                <a:gd name="T59" fmla="*/ 41 h 57"/>
                <a:gd name="T60" fmla="*/ 47 w 69"/>
                <a:gd name="T61" fmla="*/ 41 h 57"/>
                <a:gd name="T62" fmla="*/ 42 w 69"/>
                <a:gd name="T63" fmla="*/ 39 h 57"/>
                <a:gd name="T64" fmla="*/ 40 w 69"/>
                <a:gd name="T65" fmla="*/ 39 h 57"/>
                <a:gd name="T66" fmla="*/ 36 w 69"/>
                <a:gd name="T67" fmla="*/ 36 h 57"/>
                <a:gd name="T68" fmla="*/ 31 w 69"/>
                <a:gd name="T69" fmla="*/ 34 h 57"/>
                <a:gd name="T70" fmla="*/ 29 w 69"/>
                <a:gd name="T71" fmla="*/ 34 h 57"/>
                <a:gd name="T72" fmla="*/ 27 w 69"/>
                <a:gd name="T73" fmla="*/ 32 h 57"/>
                <a:gd name="T74" fmla="*/ 20 w 69"/>
                <a:gd name="T75" fmla="*/ 30 h 57"/>
                <a:gd name="T76" fmla="*/ 18 w 69"/>
                <a:gd name="T77" fmla="*/ 30 h 57"/>
                <a:gd name="T78" fmla="*/ 9 w 69"/>
                <a:gd name="T79" fmla="*/ 27 h 57"/>
                <a:gd name="T80" fmla="*/ 9 w 69"/>
                <a:gd name="T81" fmla="*/ 25 h 57"/>
                <a:gd name="T82" fmla="*/ 6 w 69"/>
                <a:gd name="T83" fmla="*/ 21 h 57"/>
                <a:gd name="T84" fmla="*/ 6 w 69"/>
                <a:gd name="T85" fmla="*/ 18 h 57"/>
                <a:gd name="T86" fmla="*/ 6 w 69"/>
                <a:gd name="T87" fmla="*/ 18 h 57"/>
                <a:gd name="T88" fmla="*/ 9 w 69"/>
                <a:gd name="T89" fmla="*/ 14 h 57"/>
                <a:gd name="T90" fmla="*/ 6 w 69"/>
                <a:gd name="T91" fmla="*/ 9 h 57"/>
                <a:gd name="T92" fmla="*/ 2 w 69"/>
                <a:gd name="T93" fmla="*/ 5 h 57"/>
                <a:gd name="T94" fmla="*/ 2 w 69"/>
                <a:gd name="T95" fmla="*/ 3 h 57"/>
                <a:gd name="T96" fmla="*/ 11 w 69"/>
                <a:gd name="T97" fmla="*/ 3 h 57"/>
                <a:gd name="T98" fmla="*/ 13 w 69"/>
                <a:gd name="T99" fmla="*/ 3 h 57"/>
                <a:gd name="T100" fmla="*/ 15 w 69"/>
                <a:gd name="T101" fmla="*/ 3 h 57"/>
                <a:gd name="T102" fmla="*/ 18 w 69"/>
                <a:gd name="T103" fmla="*/ 0 h 57"/>
                <a:gd name="T104" fmla="*/ 20 w 69"/>
                <a:gd name="T105" fmla="*/ 0 h 57"/>
                <a:gd name="T106" fmla="*/ 22 w 69"/>
                <a:gd name="T107" fmla="*/ 0 h 57"/>
                <a:gd name="T108" fmla="*/ 27 w 69"/>
                <a:gd name="T109" fmla="*/ 0 h 57"/>
                <a:gd name="T110" fmla="*/ 29 w 69"/>
                <a:gd name="T111" fmla="*/ 0 h 57"/>
                <a:gd name="T112" fmla="*/ 31 w 69"/>
                <a:gd name="T113" fmla="*/ 5 h 57"/>
                <a:gd name="T114" fmla="*/ 36 w 69"/>
                <a:gd name="T115" fmla="*/ 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9" h="57">
                  <a:moveTo>
                    <a:pt x="42" y="16"/>
                  </a:move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5" y="14"/>
                  </a:lnTo>
                  <a:lnTo>
                    <a:pt x="42" y="16"/>
                  </a:lnTo>
                  <a:close/>
                  <a:moveTo>
                    <a:pt x="29" y="0"/>
                  </a:moveTo>
                  <a:lnTo>
                    <a:pt x="31" y="0"/>
                  </a:lnTo>
                  <a:lnTo>
                    <a:pt x="31" y="0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5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0" y="12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5" y="18"/>
                  </a:lnTo>
                  <a:lnTo>
                    <a:pt x="45" y="21"/>
                  </a:lnTo>
                  <a:lnTo>
                    <a:pt x="49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2"/>
                  </a:lnTo>
                  <a:lnTo>
                    <a:pt x="49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8" y="36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5" y="39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2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3" y="57"/>
                  </a:lnTo>
                  <a:lnTo>
                    <a:pt x="60" y="54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6" y="48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1" y="36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4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5" y="30"/>
                  </a:lnTo>
                  <a:lnTo>
                    <a:pt x="13" y="27"/>
                  </a:lnTo>
                  <a:lnTo>
                    <a:pt x="11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9" y="16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close/>
                  <a:moveTo>
                    <a:pt x="31" y="5"/>
                  </a:move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close/>
                  <a:moveTo>
                    <a:pt x="36" y="7"/>
                  </a:move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6" name="Freeform 655"/>
            <p:cNvSpPr>
              <a:spLocks noEditPoints="1"/>
            </p:cNvSpPr>
            <p:nvPr/>
          </p:nvSpPr>
          <p:spPr bwMode="auto">
            <a:xfrm>
              <a:off x="3274157" y="4833222"/>
              <a:ext cx="541542" cy="1308725"/>
            </a:xfrm>
            <a:custGeom>
              <a:avLst/>
              <a:gdLst>
                <a:gd name="T0" fmla="*/ 292 w 324"/>
                <a:gd name="T1" fmla="*/ 776 h 783"/>
                <a:gd name="T2" fmla="*/ 286 w 324"/>
                <a:gd name="T3" fmla="*/ 776 h 783"/>
                <a:gd name="T4" fmla="*/ 236 w 324"/>
                <a:gd name="T5" fmla="*/ 765 h 783"/>
                <a:gd name="T6" fmla="*/ 263 w 324"/>
                <a:gd name="T7" fmla="*/ 780 h 783"/>
                <a:gd name="T8" fmla="*/ 214 w 324"/>
                <a:gd name="T9" fmla="*/ 414 h 783"/>
                <a:gd name="T10" fmla="*/ 92 w 324"/>
                <a:gd name="T11" fmla="*/ 16 h 783"/>
                <a:gd name="T12" fmla="*/ 126 w 324"/>
                <a:gd name="T13" fmla="*/ 9 h 783"/>
                <a:gd name="T14" fmla="*/ 142 w 324"/>
                <a:gd name="T15" fmla="*/ 25 h 783"/>
                <a:gd name="T16" fmla="*/ 164 w 324"/>
                <a:gd name="T17" fmla="*/ 45 h 783"/>
                <a:gd name="T18" fmla="*/ 205 w 324"/>
                <a:gd name="T19" fmla="*/ 65 h 783"/>
                <a:gd name="T20" fmla="*/ 241 w 324"/>
                <a:gd name="T21" fmla="*/ 92 h 783"/>
                <a:gd name="T22" fmla="*/ 232 w 324"/>
                <a:gd name="T23" fmla="*/ 113 h 783"/>
                <a:gd name="T24" fmla="*/ 227 w 324"/>
                <a:gd name="T25" fmla="*/ 128 h 783"/>
                <a:gd name="T26" fmla="*/ 277 w 324"/>
                <a:gd name="T27" fmla="*/ 133 h 783"/>
                <a:gd name="T28" fmla="*/ 301 w 324"/>
                <a:gd name="T29" fmla="*/ 117 h 783"/>
                <a:gd name="T30" fmla="*/ 306 w 324"/>
                <a:gd name="T31" fmla="*/ 92 h 783"/>
                <a:gd name="T32" fmla="*/ 317 w 324"/>
                <a:gd name="T33" fmla="*/ 92 h 783"/>
                <a:gd name="T34" fmla="*/ 324 w 324"/>
                <a:gd name="T35" fmla="*/ 126 h 783"/>
                <a:gd name="T36" fmla="*/ 310 w 324"/>
                <a:gd name="T37" fmla="*/ 135 h 783"/>
                <a:gd name="T38" fmla="*/ 299 w 324"/>
                <a:gd name="T39" fmla="*/ 146 h 783"/>
                <a:gd name="T40" fmla="*/ 286 w 324"/>
                <a:gd name="T41" fmla="*/ 158 h 783"/>
                <a:gd name="T42" fmla="*/ 263 w 324"/>
                <a:gd name="T43" fmla="*/ 191 h 783"/>
                <a:gd name="T44" fmla="*/ 252 w 324"/>
                <a:gd name="T45" fmla="*/ 243 h 783"/>
                <a:gd name="T46" fmla="*/ 256 w 324"/>
                <a:gd name="T47" fmla="*/ 292 h 783"/>
                <a:gd name="T48" fmla="*/ 288 w 324"/>
                <a:gd name="T49" fmla="*/ 328 h 783"/>
                <a:gd name="T50" fmla="*/ 292 w 324"/>
                <a:gd name="T51" fmla="*/ 387 h 783"/>
                <a:gd name="T52" fmla="*/ 202 w 324"/>
                <a:gd name="T53" fmla="*/ 407 h 783"/>
                <a:gd name="T54" fmla="*/ 209 w 324"/>
                <a:gd name="T55" fmla="*/ 418 h 783"/>
                <a:gd name="T56" fmla="*/ 216 w 324"/>
                <a:gd name="T57" fmla="*/ 448 h 783"/>
                <a:gd name="T58" fmla="*/ 167 w 324"/>
                <a:gd name="T59" fmla="*/ 454 h 783"/>
                <a:gd name="T60" fmla="*/ 178 w 324"/>
                <a:gd name="T61" fmla="*/ 486 h 783"/>
                <a:gd name="T62" fmla="*/ 200 w 324"/>
                <a:gd name="T63" fmla="*/ 488 h 783"/>
                <a:gd name="T64" fmla="*/ 187 w 324"/>
                <a:gd name="T65" fmla="*/ 504 h 783"/>
                <a:gd name="T66" fmla="*/ 182 w 324"/>
                <a:gd name="T67" fmla="*/ 531 h 783"/>
                <a:gd name="T68" fmla="*/ 180 w 324"/>
                <a:gd name="T69" fmla="*/ 549 h 783"/>
                <a:gd name="T70" fmla="*/ 167 w 324"/>
                <a:gd name="T71" fmla="*/ 556 h 783"/>
                <a:gd name="T72" fmla="*/ 171 w 324"/>
                <a:gd name="T73" fmla="*/ 594 h 783"/>
                <a:gd name="T74" fmla="*/ 202 w 324"/>
                <a:gd name="T75" fmla="*/ 621 h 783"/>
                <a:gd name="T76" fmla="*/ 178 w 324"/>
                <a:gd name="T77" fmla="*/ 646 h 783"/>
                <a:gd name="T78" fmla="*/ 167 w 324"/>
                <a:gd name="T79" fmla="*/ 663 h 783"/>
                <a:gd name="T80" fmla="*/ 164 w 324"/>
                <a:gd name="T81" fmla="*/ 690 h 783"/>
                <a:gd name="T82" fmla="*/ 191 w 324"/>
                <a:gd name="T83" fmla="*/ 722 h 783"/>
                <a:gd name="T84" fmla="*/ 108 w 324"/>
                <a:gd name="T85" fmla="*/ 693 h 783"/>
                <a:gd name="T86" fmla="*/ 74 w 324"/>
                <a:gd name="T87" fmla="*/ 661 h 783"/>
                <a:gd name="T88" fmla="*/ 83 w 324"/>
                <a:gd name="T89" fmla="*/ 628 h 783"/>
                <a:gd name="T90" fmla="*/ 79 w 324"/>
                <a:gd name="T91" fmla="*/ 596 h 783"/>
                <a:gd name="T92" fmla="*/ 72 w 324"/>
                <a:gd name="T93" fmla="*/ 565 h 783"/>
                <a:gd name="T94" fmla="*/ 72 w 324"/>
                <a:gd name="T95" fmla="*/ 547 h 783"/>
                <a:gd name="T96" fmla="*/ 56 w 324"/>
                <a:gd name="T97" fmla="*/ 522 h 783"/>
                <a:gd name="T98" fmla="*/ 41 w 324"/>
                <a:gd name="T99" fmla="*/ 497 h 783"/>
                <a:gd name="T100" fmla="*/ 34 w 324"/>
                <a:gd name="T101" fmla="*/ 463 h 783"/>
                <a:gd name="T102" fmla="*/ 29 w 324"/>
                <a:gd name="T103" fmla="*/ 434 h 783"/>
                <a:gd name="T104" fmla="*/ 36 w 324"/>
                <a:gd name="T105" fmla="*/ 403 h 783"/>
                <a:gd name="T106" fmla="*/ 18 w 324"/>
                <a:gd name="T107" fmla="*/ 362 h 783"/>
                <a:gd name="T108" fmla="*/ 27 w 324"/>
                <a:gd name="T109" fmla="*/ 344 h 783"/>
                <a:gd name="T110" fmla="*/ 25 w 324"/>
                <a:gd name="T111" fmla="*/ 304 h 783"/>
                <a:gd name="T112" fmla="*/ 18 w 324"/>
                <a:gd name="T113" fmla="*/ 272 h 783"/>
                <a:gd name="T114" fmla="*/ 9 w 324"/>
                <a:gd name="T115" fmla="*/ 243 h 783"/>
                <a:gd name="T116" fmla="*/ 5 w 324"/>
                <a:gd name="T117" fmla="*/ 207 h 783"/>
                <a:gd name="T118" fmla="*/ 7 w 324"/>
                <a:gd name="T119" fmla="*/ 173 h 783"/>
                <a:gd name="T120" fmla="*/ 16 w 324"/>
                <a:gd name="T121" fmla="*/ 135 h 783"/>
                <a:gd name="T122" fmla="*/ 20 w 324"/>
                <a:gd name="T123" fmla="*/ 81 h 783"/>
                <a:gd name="T124" fmla="*/ 41 w 324"/>
                <a:gd name="T125" fmla="*/ 36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4" h="783">
                  <a:moveTo>
                    <a:pt x="214" y="778"/>
                  </a:moveTo>
                  <a:lnTo>
                    <a:pt x="214" y="778"/>
                  </a:lnTo>
                  <a:lnTo>
                    <a:pt x="211" y="778"/>
                  </a:lnTo>
                  <a:lnTo>
                    <a:pt x="211" y="778"/>
                  </a:lnTo>
                  <a:lnTo>
                    <a:pt x="211" y="778"/>
                  </a:lnTo>
                  <a:lnTo>
                    <a:pt x="211" y="778"/>
                  </a:lnTo>
                  <a:lnTo>
                    <a:pt x="211" y="778"/>
                  </a:lnTo>
                  <a:lnTo>
                    <a:pt x="214" y="778"/>
                  </a:lnTo>
                  <a:lnTo>
                    <a:pt x="214" y="778"/>
                  </a:lnTo>
                  <a:lnTo>
                    <a:pt x="214" y="778"/>
                  </a:lnTo>
                  <a:lnTo>
                    <a:pt x="214" y="778"/>
                  </a:lnTo>
                  <a:close/>
                  <a:moveTo>
                    <a:pt x="286" y="776"/>
                  </a:moveTo>
                  <a:lnTo>
                    <a:pt x="286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0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6"/>
                  </a:lnTo>
                  <a:lnTo>
                    <a:pt x="295" y="778"/>
                  </a:lnTo>
                  <a:lnTo>
                    <a:pt x="295" y="778"/>
                  </a:lnTo>
                  <a:lnTo>
                    <a:pt x="295" y="778"/>
                  </a:lnTo>
                  <a:lnTo>
                    <a:pt x="292" y="778"/>
                  </a:lnTo>
                  <a:lnTo>
                    <a:pt x="292" y="778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2" y="776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90" y="77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6"/>
                  </a:lnTo>
                  <a:lnTo>
                    <a:pt x="288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6" y="778"/>
                  </a:lnTo>
                  <a:lnTo>
                    <a:pt x="283" y="778"/>
                  </a:lnTo>
                  <a:lnTo>
                    <a:pt x="283" y="778"/>
                  </a:lnTo>
                  <a:lnTo>
                    <a:pt x="283" y="778"/>
                  </a:lnTo>
                  <a:lnTo>
                    <a:pt x="283" y="778"/>
                  </a:lnTo>
                  <a:lnTo>
                    <a:pt x="286" y="778"/>
                  </a:lnTo>
                  <a:lnTo>
                    <a:pt x="283" y="778"/>
                  </a:lnTo>
                  <a:lnTo>
                    <a:pt x="283" y="778"/>
                  </a:lnTo>
                  <a:lnTo>
                    <a:pt x="283" y="778"/>
                  </a:lnTo>
                  <a:lnTo>
                    <a:pt x="283" y="780"/>
                  </a:lnTo>
                  <a:lnTo>
                    <a:pt x="283" y="780"/>
                  </a:lnTo>
                  <a:lnTo>
                    <a:pt x="283" y="780"/>
                  </a:lnTo>
                  <a:lnTo>
                    <a:pt x="281" y="780"/>
                  </a:lnTo>
                  <a:lnTo>
                    <a:pt x="281" y="780"/>
                  </a:lnTo>
                  <a:lnTo>
                    <a:pt x="281" y="780"/>
                  </a:lnTo>
                  <a:lnTo>
                    <a:pt x="281" y="778"/>
                  </a:lnTo>
                  <a:lnTo>
                    <a:pt x="281" y="778"/>
                  </a:lnTo>
                  <a:lnTo>
                    <a:pt x="281" y="778"/>
                  </a:lnTo>
                  <a:lnTo>
                    <a:pt x="281" y="778"/>
                  </a:lnTo>
                  <a:lnTo>
                    <a:pt x="279" y="778"/>
                  </a:lnTo>
                  <a:lnTo>
                    <a:pt x="281" y="778"/>
                  </a:lnTo>
                  <a:lnTo>
                    <a:pt x="281" y="778"/>
                  </a:lnTo>
                  <a:lnTo>
                    <a:pt x="281" y="776"/>
                  </a:lnTo>
                  <a:lnTo>
                    <a:pt x="281" y="776"/>
                  </a:lnTo>
                  <a:lnTo>
                    <a:pt x="281" y="776"/>
                  </a:lnTo>
                  <a:lnTo>
                    <a:pt x="283" y="778"/>
                  </a:lnTo>
                  <a:lnTo>
                    <a:pt x="283" y="778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3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lnTo>
                    <a:pt x="286" y="776"/>
                  </a:lnTo>
                  <a:close/>
                  <a:moveTo>
                    <a:pt x="200" y="735"/>
                  </a:moveTo>
                  <a:lnTo>
                    <a:pt x="202" y="738"/>
                  </a:lnTo>
                  <a:lnTo>
                    <a:pt x="202" y="740"/>
                  </a:lnTo>
                  <a:lnTo>
                    <a:pt x="202" y="740"/>
                  </a:lnTo>
                  <a:lnTo>
                    <a:pt x="202" y="740"/>
                  </a:lnTo>
                  <a:lnTo>
                    <a:pt x="202" y="738"/>
                  </a:lnTo>
                  <a:lnTo>
                    <a:pt x="200" y="738"/>
                  </a:lnTo>
                  <a:lnTo>
                    <a:pt x="200" y="735"/>
                  </a:lnTo>
                  <a:lnTo>
                    <a:pt x="200" y="735"/>
                  </a:lnTo>
                  <a:lnTo>
                    <a:pt x="198" y="735"/>
                  </a:lnTo>
                  <a:lnTo>
                    <a:pt x="198" y="735"/>
                  </a:lnTo>
                  <a:lnTo>
                    <a:pt x="198" y="738"/>
                  </a:lnTo>
                  <a:lnTo>
                    <a:pt x="198" y="738"/>
                  </a:lnTo>
                  <a:lnTo>
                    <a:pt x="196" y="740"/>
                  </a:lnTo>
                  <a:lnTo>
                    <a:pt x="196" y="740"/>
                  </a:lnTo>
                  <a:lnTo>
                    <a:pt x="198" y="740"/>
                  </a:lnTo>
                  <a:lnTo>
                    <a:pt x="198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5" y="742"/>
                  </a:lnTo>
                  <a:lnTo>
                    <a:pt x="205" y="742"/>
                  </a:lnTo>
                  <a:lnTo>
                    <a:pt x="205" y="744"/>
                  </a:lnTo>
                  <a:lnTo>
                    <a:pt x="207" y="744"/>
                  </a:lnTo>
                  <a:lnTo>
                    <a:pt x="207" y="744"/>
                  </a:lnTo>
                  <a:lnTo>
                    <a:pt x="207" y="747"/>
                  </a:lnTo>
                  <a:lnTo>
                    <a:pt x="207" y="747"/>
                  </a:lnTo>
                  <a:lnTo>
                    <a:pt x="209" y="747"/>
                  </a:lnTo>
                  <a:lnTo>
                    <a:pt x="209" y="749"/>
                  </a:lnTo>
                  <a:lnTo>
                    <a:pt x="209" y="749"/>
                  </a:lnTo>
                  <a:lnTo>
                    <a:pt x="211" y="749"/>
                  </a:lnTo>
                  <a:lnTo>
                    <a:pt x="211" y="749"/>
                  </a:lnTo>
                  <a:lnTo>
                    <a:pt x="211" y="751"/>
                  </a:lnTo>
                  <a:lnTo>
                    <a:pt x="216" y="753"/>
                  </a:lnTo>
                  <a:lnTo>
                    <a:pt x="218" y="753"/>
                  </a:lnTo>
                  <a:lnTo>
                    <a:pt x="218" y="753"/>
                  </a:lnTo>
                  <a:lnTo>
                    <a:pt x="218" y="753"/>
                  </a:lnTo>
                  <a:lnTo>
                    <a:pt x="218" y="753"/>
                  </a:lnTo>
                  <a:lnTo>
                    <a:pt x="218" y="753"/>
                  </a:lnTo>
                  <a:lnTo>
                    <a:pt x="218" y="753"/>
                  </a:lnTo>
                  <a:lnTo>
                    <a:pt x="220" y="756"/>
                  </a:lnTo>
                  <a:lnTo>
                    <a:pt x="220" y="756"/>
                  </a:lnTo>
                  <a:lnTo>
                    <a:pt x="220" y="756"/>
                  </a:lnTo>
                  <a:lnTo>
                    <a:pt x="220" y="756"/>
                  </a:lnTo>
                  <a:lnTo>
                    <a:pt x="220" y="756"/>
                  </a:lnTo>
                  <a:lnTo>
                    <a:pt x="220" y="758"/>
                  </a:lnTo>
                  <a:lnTo>
                    <a:pt x="227" y="760"/>
                  </a:lnTo>
                  <a:lnTo>
                    <a:pt x="234" y="762"/>
                  </a:lnTo>
                  <a:lnTo>
                    <a:pt x="236" y="765"/>
                  </a:lnTo>
                  <a:lnTo>
                    <a:pt x="236" y="765"/>
                  </a:lnTo>
                  <a:lnTo>
                    <a:pt x="236" y="765"/>
                  </a:lnTo>
                  <a:lnTo>
                    <a:pt x="241" y="765"/>
                  </a:lnTo>
                  <a:lnTo>
                    <a:pt x="241" y="765"/>
                  </a:lnTo>
                  <a:lnTo>
                    <a:pt x="245" y="769"/>
                  </a:lnTo>
                  <a:lnTo>
                    <a:pt x="245" y="769"/>
                  </a:lnTo>
                  <a:lnTo>
                    <a:pt x="245" y="769"/>
                  </a:lnTo>
                  <a:lnTo>
                    <a:pt x="245" y="769"/>
                  </a:lnTo>
                  <a:lnTo>
                    <a:pt x="247" y="769"/>
                  </a:lnTo>
                  <a:lnTo>
                    <a:pt x="247" y="769"/>
                  </a:lnTo>
                  <a:lnTo>
                    <a:pt x="247" y="769"/>
                  </a:lnTo>
                  <a:lnTo>
                    <a:pt x="247" y="769"/>
                  </a:lnTo>
                  <a:lnTo>
                    <a:pt x="250" y="771"/>
                  </a:lnTo>
                  <a:lnTo>
                    <a:pt x="256" y="774"/>
                  </a:lnTo>
                  <a:lnTo>
                    <a:pt x="256" y="774"/>
                  </a:lnTo>
                  <a:lnTo>
                    <a:pt x="259" y="774"/>
                  </a:lnTo>
                  <a:lnTo>
                    <a:pt x="259" y="774"/>
                  </a:lnTo>
                  <a:lnTo>
                    <a:pt x="259" y="774"/>
                  </a:lnTo>
                  <a:lnTo>
                    <a:pt x="259" y="774"/>
                  </a:lnTo>
                  <a:lnTo>
                    <a:pt x="261" y="774"/>
                  </a:lnTo>
                  <a:lnTo>
                    <a:pt x="261" y="774"/>
                  </a:lnTo>
                  <a:lnTo>
                    <a:pt x="265" y="774"/>
                  </a:lnTo>
                  <a:lnTo>
                    <a:pt x="268" y="774"/>
                  </a:lnTo>
                  <a:lnTo>
                    <a:pt x="268" y="774"/>
                  </a:lnTo>
                  <a:lnTo>
                    <a:pt x="268" y="774"/>
                  </a:lnTo>
                  <a:lnTo>
                    <a:pt x="272" y="774"/>
                  </a:lnTo>
                  <a:lnTo>
                    <a:pt x="272" y="774"/>
                  </a:lnTo>
                  <a:lnTo>
                    <a:pt x="272" y="774"/>
                  </a:lnTo>
                  <a:lnTo>
                    <a:pt x="272" y="774"/>
                  </a:lnTo>
                  <a:lnTo>
                    <a:pt x="272" y="774"/>
                  </a:lnTo>
                  <a:lnTo>
                    <a:pt x="270" y="776"/>
                  </a:lnTo>
                  <a:lnTo>
                    <a:pt x="270" y="776"/>
                  </a:lnTo>
                  <a:lnTo>
                    <a:pt x="272" y="776"/>
                  </a:lnTo>
                  <a:lnTo>
                    <a:pt x="272" y="776"/>
                  </a:lnTo>
                  <a:lnTo>
                    <a:pt x="272" y="776"/>
                  </a:lnTo>
                  <a:lnTo>
                    <a:pt x="270" y="776"/>
                  </a:lnTo>
                  <a:lnTo>
                    <a:pt x="270" y="778"/>
                  </a:lnTo>
                  <a:lnTo>
                    <a:pt x="272" y="778"/>
                  </a:lnTo>
                  <a:lnTo>
                    <a:pt x="272" y="778"/>
                  </a:lnTo>
                  <a:lnTo>
                    <a:pt x="272" y="778"/>
                  </a:lnTo>
                  <a:lnTo>
                    <a:pt x="272" y="778"/>
                  </a:lnTo>
                  <a:lnTo>
                    <a:pt x="270" y="778"/>
                  </a:lnTo>
                  <a:lnTo>
                    <a:pt x="270" y="778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70" y="780"/>
                  </a:lnTo>
                  <a:lnTo>
                    <a:pt x="268" y="778"/>
                  </a:lnTo>
                  <a:lnTo>
                    <a:pt x="268" y="778"/>
                  </a:lnTo>
                  <a:lnTo>
                    <a:pt x="268" y="780"/>
                  </a:lnTo>
                  <a:lnTo>
                    <a:pt x="268" y="780"/>
                  </a:lnTo>
                  <a:lnTo>
                    <a:pt x="268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5" y="780"/>
                  </a:lnTo>
                  <a:lnTo>
                    <a:pt x="263" y="780"/>
                  </a:lnTo>
                  <a:lnTo>
                    <a:pt x="263" y="780"/>
                  </a:lnTo>
                  <a:lnTo>
                    <a:pt x="263" y="780"/>
                  </a:lnTo>
                  <a:lnTo>
                    <a:pt x="263" y="780"/>
                  </a:lnTo>
                  <a:lnTo>
                    <a:pt x="263" y="780"/>
                  </a:lnTo>
                  <a:lnTo>
                    <a:pt x="263" y="780"/>
                  </a:lnTo>
                  <a:lnTo>
                    <a:pt x="263" y="780"/>
                  </a:lnTo>
                  <a:lnTo>
                    <a:pt x="259" y="780"/>
                  </a:lnTo>
                  <a:lnTo>
                    <a:pt x="259" y="780"/>
                  </a:lnTo>
                  <a:lnTo>
                    <a:pt x="261" y="780"/>
                  </a:lnTo>
                  <a:lnTo>
                    <a:pt x="259" y="780"/>
                  </a:lnTo>
                  <a:lnTo>
                    <a:pt x="259" y="780"/>
                  </a:lnTo>
                  <a:lnTo>
                    <a:pt x="259" y="780"/>
                  </a:lnTo>
                  <a:lnTo>
                    <a:pt x="259" y="780"/>
                  </a:lnTo>
                  <a:lnTo>
                    <a:pt x="256" y="780"/>
                  </a:lnTo>
                  <a:lnTo>
                    <a:pt x="254" y="780"/>
                  </a:lnTo>
                  <a:lnTo>
                    <a:pt x="252" y="783"/>
                  </a:lnTo>
                  <a:lnTo>
                    <a:pt x="252" y="783"/>
                  </a:lnTo>
                  <a:lnTo>
                    <a:pt x="252" y="783"/>
                  </a:lnTo>
                  <a:lnTo>
                    <a:pt x="252" y="783"/>
                  </a:lnTo>
                  <a:lnTo>
                    <a:pt x="252" y="783"/>
                  </a:lnTo>
                  <a:lnTo>
                    <a:pt x="250" y="783"/>
                  </a:lnTo>
                  <a:lnTo>
                    <a:pt x="247" y="783"/>
                  </a:lnTo>
                  <a:lnTo>
                    <a:pt x="247" y="783"/>
                  </a:lnTo>
                  <a:lnTo>
                    <a:pt x="247" y="783"/>
                  </a:lnTo>
                  <a:lnTo>
                    <a:pt x="247" y="780"/>
                  </a:lnTo>
                  <a:lnTo>
                    <a:pt x="245" y="780"/>
                  </a:lnTo>
                  <a:lnTo>
                    <a:pt x="245" y="780"/>
                  </a:lnTo>
                  <a:lnTo>
                    <a:pt x="243" y="780"/>
                  </a:lnTo>
                  <a:lnTo>
                    <a:pt x="241" y="780"/>
                  </a:lnTo>
                  <a:lnTo>
                    <a:pt x="236" y="780"/>
                  </a:lnTo>
                  <a:lnTo>
                    <a:pt x="232" y="778"/>
                  </a:lnTo>
                  <a:lnTo>
                    <a:pt x="229" y="778"/>
                  </a:lnTo>
                  <a:lnTo>
                    <a:pt x="225" y="778"/>
                  </a:lnTo>
                  <a:lnTo>
                    <a:pt x="223" y="778"/>
                  </a:lnTo>
                  <a:lnTo>
                    <a:pt x="220" y="778"/>
                  </a:lnTo>
                  <a:lnTo>
                    <a:pt x="218" y="778"/>
                  </a:lnTo>
                  <a:lnTo>
                    <a:pt x="218" y="778"/>
                  </a:lnTo>
                  <a:lnTo>
                    <a:pt x="218" y="778"/>
                  </a:lnTo>
                  <a:lnTo>
                    <a:pt x="218" y="778"/>
                  </a:lnTo>
                  <a:lnTo>
                    <a:pt x="218" y="778"/>
                  </a:lnTo>
                  <a:lnTo>
                    <a:pt x="218" y="778"/>
                  </a:lnTo>
                  <a:lnTo>
                    <a:pt x="218" y="778"/>
                  </a:lnTo>
                  <a:lnTo>
                    <a:pt x="214" y="778"/>
                  </a:lnTo>
                  <a:lnTo>
                    <a:pt x="214" y="778"/>
                  </a:lnTo>
                  <a:lnTo>
                    <a:pt x="214" y="778"/>
                  </a:lnTo>
                  <a:lnTo>
                    <a:pt x="211" y="778"/>
                  </a:lnTo>
                  <a:lnTo>
                    <a:pt x="211" y="776"/>
                  </a:lnTo>
                  <a:lnTo>
                    <a:pt x="211" y="776"/>
                  </a:lnTo>
                  <a:lnTo>
                    <a:pt x="209" y="771"/>
                  </a:lnTo>
                  <a:lnTo>
                    <a:pt x="207" y="765"/>
                  </a:lnTo>
                  <a:lnTo>
                    <a:pt x="202" y="758"/>
                  </a:lnTo>
                  <a:lnTo>
                    <a:pt x="200" y="753"/>
                  </a:lnTo>
                  <a:lnTo>
                    <a:pt x="198" y="747"/>
                  </a:lnTo>
                  <a:lnTo>
                    <a:pt x="196" y="740"/>
                  </a:lnTo>
                  <a:lnTo>
                    <a:pt x="193" y="735"/>
                  </a:lnTo>
                  <a:lnTo>
                    <a:pt x="191" y="729"/>
                  </a:lnTo>
                  <a:lnTo>
                    <a:pt x="191" y="729"/>
                  </a:lnTo>
                  <a:lnTo>
                    <a:pt x="191" y="729"/>
                  </a:lnTo>
                  <a:lnTo>
                    <a:pt x="191" y="729"/>
                  </a:lnTo>
                  <a:lnTo>
                    <a:pt x="191" y="729"/>
                  </a:lnTo>
                  <a:lnTo>
                    <a:pt x="193" y="731"/>
                  </a:lnTo>
                  <a:lnTo>
                    <a:pt x="196" y="733"/>
                  </a:lnTo>
                  <a:lnTo>
                    <a:pt x="196" y="733"/>
                  </a:lnTo>
                  <a:lnTo>
                    <a:pt x="198" y="733"/>
                  </a:lnTo>
                  <a:lnTo>
                    <a:pt x="198" y="735"/>
                  </a:lnTo>
                  <a:lnTo>
                    <a:pt x="200" y="735"/>
                  </a:lnTo>
                  <a:lnTo>
                    <a:pt x="200" y="735"/>
                  </a:lnTo>
                  <a:close/>
                  <a:moveTo>
                    <a:pt x="214" y="414"/>
                  </a:moveTo>
                  <a:lnTo>
                    <a:pt x="214" y="414"/>
                  </a:lnTo>
                  <a:lnTo>
                    <a:pt x="214" y="414"/>
                  </a:lnTo>
                  <a:lnTo>
                    <a:pt x="214" y="414"/>
                  </a:lnTo>
                  <a:lnTo>
                    <a:pt x="214" y="414"/>
                  </a:lnTo>
                  <a:lnTo>
                    <a:pt x="214" y="414"/>
                  </a:lnTo>
                  <a:lnTo>
                    <a:pt x="214" y="414"/>
                  </a:lnTo>
                  <a:lnTo>
                    <a:pt x="216" y="416"/>
                  </a:lnTo>
                  <a:lnTo>
                    <a:pt x="216" y="416"/>
                  </a:lnTo>
                  <a:lnTo>
                    <a:pt x="216" y="416"/>
                  </a:lnTo>
                  <a:lnTo>
                    <a:pt x="216" y="416"/>
                  </a:lnTo>
                  <a:lnTo>
                    <a:pt x="214" y="416"/>
                  </a:lnTo>
                  <a:lnTo>
                    <a:pt x="214" y="416"/>
                  </a:lnTo>
                  <a:lnTo>
                    <a:pt x="214" y="416"/>
                  </a:lnTo>
                  <a:lnTo>
                    <a:pt x="211" y="414"/>
                  </a:lnTo>
                  <a:lnTo>
                    <a:pt x="211" y="414"/>
                  </a:lnTo>
                  <a:lnTo>
                    <a:pt x="211" y="414"/>
                  </a:lnTo>
                  <a:lnTo>
                    <a:pt x="209" y="414"/>
                  </a:lnTo>
                  <a:lnTo>
                    <a:pt x="209" y="412"/>
                  </a:lnTo>
                  <a:lnTo>
                    <a:pt x="209" y="412"/>
                  </a:lnTo>
                  <a:lnTo>
                    <a:pt x="209" y="412"/>
                  </a:lnTo>
                  <a:lnTo>
                    <a:pt x="211" y="412"/>
                  </a:lnTo>
                  <a:lnTo>
                    <a:pt x="214" y="414"/>
                  </a:lnTo>
                  <a:lnTo>
                    <a:pt x="214" y="414"/>
                  </a:lnTo>
                  <a:lnTo>
                    <a:pt x="214" y="414"/>
                  </a:lnTo>
                  <a:close/>
                  <a:moveTo>
                    <a:pt x="211" y="412"/>
                  </a:moveTo>
                  <a:lnTo>
                    <a:pt x="211" y="412"/>
                  </a:lnTo>
                  <a:lnTo>
                    <a:pt x="211" y="412"/>
                  </a:lnTo>
                  <a:lnTo>
                    <a:pt x="211" y="412"/>
                  </a:lnTo>
                  <a:lnTo>
                    <a:pt x="211" y="412"/>
                  </a:lnTo>
                  <a:lnTo>
                    <a:pt x="211" y="412"/>
                  </a:lnTo>
                  <a:lnTo>
                    <a:pt x="211" y="412"/>
                  </a:lnTo>
                  <a:lnTo>
                    <a:pt x="209" y="412"/>
                  </a:lnTo>
                  <a:lnTo>
                    <a:pt x="209" y="412"/>
                  </a:lnTo>
                  <a:lnTo>
                    <a:pt x="209" y="412"/>
                  </a:lnTo>
                  <a:lnTo>
                    <a:pt x="209" y="412"/>
                  </a:lnTo>
                  <a:lnTo>
                    <a:pt x="209" y="409"/>
                  </a:lnTo>
                  <a:lnTo>
                    <a:pt x="211" y="409"/>
                  </a:lnTo>
                  <a:lnTo>
                    <a:pt x="211" y="412"/>
                  </a:lnTo>
                  <a:close/>
                  <a:moveTo>
                    <a:pt x="61" y="5"/>
                  </a:moveTo>
                  <a:lnTo>
                    <a:pt x="65" y="7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9"/>
                  </a:lnTo>
                  <a:lnTo>
                    <a:pt x="72" y="9"/>
                  </a:lnTo>
                  <a:lnTo>
                    <a:pt x="81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3"/>
                  </a:lnTo>
                  <a:lnTo>
                    <a:pt x="97" y="18"/>
                  </a:lnTo>
                  <a:lnTo>
                    <a:pt x="99" y="18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5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7" y="16"/>
                  </a:lnTo>
                  <a:lnTo>
                    <a:pt x="137" y="16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0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5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7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4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9" y="32"/>
                  </a:lnTo>
                  <a:lnTo>
                    <a:pt x="149" y="32"/>
                  </a:lnTo>
                  <a:lnTo>
                    <a:pt x="149" y="34"/>
                  </a:lnTo>
                  <a:lnTo>
                    <a:pt x="149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51" y="36"/>
                  </a:lnTo>
                  <a:lnTo>
                    <a:pt x="151" y="36"/>
                  </a:lnTo>
                  <a:lnTo>
                    <a:pt x="151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3" y="36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8" y="38"/>
                  </a:lnTo>
                  <a:lnTo>
                    <a:pt x="158" y="38"/>
                  </a:lnTo>
                  <a:lnTo>
                    <a:pt x="158" y="38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41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2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4" y="45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7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3" y="50"/>
                  </a:lnTo>
                  <a:lnTo>
                    <a:pt x="173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5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78" y="52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0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2" y="54"/>
                  </a:lnTo>
                  <a:lnTo>
                    <a:pt x="184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9" y="54"/>
                  </a:lnTo>
                  <a:lnTo>
                    <a:pt x="196" y="59"/>
                  </a:lnTo>
                  <a:lnTo>
                    <a:pt x="196" y="59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198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1"/>
                  </a:lnTo>
                  <a:lnTo>
                    <a:pt x="200" y="63"/>
                  </a:lnTo>
                  <a:lnTo>
                    <a:pt x="200" y="63"/>
                  </a:lnTo>
                  <a:lnTo>
                    <a:pt x="200" y="63"/>
                  </a:lnTo>
                  <a:lnTo>
                    <a:pt x="200" y="63"/>
                  </a:lnTo>
                  <a:lnTo>
                    <a:pt x="202" y="63"/>
                  </a:lnTo>
                  <a:lnTo>
                    <a:pt x="202" y="63"/>
                  </a:lnTo>
                  <a:lnTo>
                    <a:pt x="202" y="65"/>
                  </a:lnTo>
                  <a:lnTo>
                    <a:pt x="202" y="65"/>
                  </a:lnTo>
                  <a:lnTo>
                    <a:pt x="205" y="65"/>
                  </a:lnTo>
                  <a:lnTo>
                    <a:pt x="205" y="65"/>
                  </a:lnTo>
                  <a:lnTo>
                    <a:pt x="205" y="65"/>
                  </a:lnTo>
                  <a:lnTo>
                    <a:pt x="205" y="65"/>
                  </a:lnTo>
                  <a:lnTo>
                    <a:pt x="205" y="65"/>
                  </a:lnTo>
                  <a:lnTo>
                    <a:pt x="205" y="65"/>
                  </a:lnTo>
                  <a:lnTo>
                    <a:pt x="205" y="65"/>
                  </a:lnTo>
                  <a:lnTo>
                    <a:pt x="207" y="68"/>
                  </a:lnTo>
                  <a:lnTo>
                    <a:pt x="207" y="68"/>
                  </a:lnTo>
                  <a:lnTo>
                    <a:pt x="207" y="68"/>
                  </a:lnTo>
                  <a:lnTo>
                    <a:pt x="209" y="68"/>
                  </a:lnTo>
                  <a:lnTo>
                    <a:pt x="209" y="68"/>
                  </a:lnTo>
                  <a:lnTo>
                    <a:pt x="209" y="68"/>
                  </a:lnTo>
                  <a:lnTo>
                    <a:pt x="209" y="68"/>
                  </a:lnTo>
                  <a:lnTo>
                    <a:pt x="209" y="68"/>
                  </a:lnTo>
                  <a:lnTo>
                    <a:pt x="209" y="68"/>
                  </a:lnTo>
                  <a:lnTo>
                    <a:pt x="209" y="68"/>
                  </a:lnTo>
                  <a:lnTo>
                    <a:pt x="211" y="70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23" y="74"/>
                  </a:lnTo>
                  <a:lnTo>
                    <a:pt x="223" y="74"/>
                  </a:lnTo>
                  <a:lnTo>
                    <a:pt x="223" y="74"/>
                  </a:lnTo>
                  <a:lnTo>
                    <a:pt x="223" y="74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7" y="77"/>
                  </a:lnTo>
                  <a:lnTo>
                    <a:pt x="229" y="77"/>
                  </a:lnTo>
                  <a:lnTo>
                    <a:pt x="229" y="77"/>
                  </a:lnTo>
                  <a:lnTo>
                    <a:pt x="229" y="77"/>
                  </a:lnTo>
                  <a:lnTo>
                    <a:pt x="232" y="79"/>
                  </a:lnTo>
                  <a:lnTo>
                    <a:pt x="232" y="79"/>
                  </a:lnTo>
                  <a:lnTo>
                    <a:pt x="232" y="79"/>
                  </a:lnTo>
                  <a:lnTo>
                    <a:pt x="232" y="79"/>
                  </a:lnTo>
                  <a:lnTo>
                    <a:pt x="232" y="79"/>
                  </a:lnTo>
                  <a:lnTo>
                    <a:pt x="232" y="79"/>
                  </a:lnTo>
                  <a:lnTo>
                    <a:pt x="232" y="79"/>
                  </a:lnTo>
                  <a:lnTo>
                    <a:pt x="234" y="79"/>
                  </a:lnTo>
                  <a:lnTo>
                    <a:pt x="234" y="79"/>
                  </a:lnTo>
                  <a:lnTo>
                    <a:pt x="234" y="79"/>
                  </a:lnTo>
                  <a:lnTo>
                    <a:pt x="236" y="79"/>
                  </a:lnTo>
                  <a:lnTo>
                    <a:pt x="236" y="81"/>
                  </a:lnTo>
                  <a:lnTo>
                    <a:pt x="236" y="81"/>
                  </a:lnTo>
                  <a:lnTo>
                    <a:pt x="236" y="81"/>
                  </a:lnTo>
                  <a:lnTo>
                    <a:pt x="238" y="81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38" y="83"/>
                  </a:lnTo>
                  <a:lnTo>
                    <a:pt x="241" y="86"/>
                  </a:lnTo>
                  <a:lnTo>
                    <a:pt x="241" y="86"/>
                  </a:lnTo>
                  <a:lnTo>
                    <a:pt x="241" y="88"/>
                  </a:lnTo>
                  <a:lnTo>
                    <a:pt x="243" y="88"/>
                  </a:lnTo>
                  <a:lnTo>
                    <a:pt x="243" y="88"/>
                  </a:lnTo>
                  <a:lnTo>
                    <a:pt x="243" y="88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1" y="90"/>
                  </a:lnTo>
                  <a:lnTo>
                    <a:pt x="241" y="90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41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2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5"/>
                  </a:lnTo>
                  <a:lnTo>
                    <a:pt x="238" y="97"/>
                  </a:lnTo>
                  <a:lnTo>
                    <a:pt x="238" y="97"/>
                  </a:lnTo>
                  <a:lnTo>
                    <a:pt x="238" y="97"/>
                  </a:lnTo>
                  <a:lnTo>
                    <a:pt x="238" y="97"/>
                  </a:lnTo>
                  <a:lnTo>
                    <a:pt x="238" y="97"/>
                  </a:lnTo>
                  <a:lnTo>
                    <a:pt x="238" y="97"/>
                  </a:lnTo>
                  <a:lnTo>
                    <a:pt x="236" y="99"/>
                  </a:lnTo>
                  <a:lnTo>
                    <a:pt x="236" y="99"/>
                  </a:lnTo>
                  <a:lnTo>
                    <a:pt x="236" y="99"/>
                  </a:lnTo>
                  <a:lnTo>
                    <a:pt x="238" y="99"/>
                  </a:lnTo>
                  <a:lnTo>
                    <a:pt x="238" y="99"/>
                  </a:lnTo>
                  <a:lnTo>
                    <a:pt x="238" y="99"/>
                  </a:lnTo>
                  <a:lnTo>
                    <a:pt x="238" y="99"/>
                  </a:lnTo>
                  <a:lnTo>
                    <a:pt x="236" y="99"/>
                  </a:lnTo>
                  <a:lnTo>
                    <a:pt x="236" y="101"/>
                  </a:lnTo>
                  <a:lnTo>
                    <a:pt x="238" y="101"/>
                  </a:lnTo>
                  <a:lnTo>
                    <a:pt x="238" y="101"/>
                  </a:lnTo>
                  <a:lnTo>
                    <a:pt x="238" y="101"/>
                  </a:lnTo>
                  <a:lnTo>
                    <a:pt x="236" y="104"/>
                  </a:lnTo>
                  <a:lnTo>
                    <a:pt x="234" y="104"/>
                  </a:lnTo>
                  <a:lnTo>
                    <a:pt x="234" y="104"/>
                  </a:lnTo>
                  <a:lnTo>
                    <a:pt x="234" y="104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2" y="106"/>
                  </a:lnTo>
                  <a:lnTo>
                    <a:pt x="232" y="106"/>
                  </a:lnTo>
                  <a:lnTo>
                    <a:pt x="232" y="106"/>
                  </a:lnTo>
                  <a:lnTo>
                    <a:pt x="232" y="106"/>
                  </a:lnTo>
                  <a:lnTo>
                    <a:pt x="232" y="106"/>
                  </a:lnTo>
                  <a:lnTo>
                    <a:pt x="232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6"/>
                  </a:lnTo>
                  <a:lnTo>
                    <a:pt x="234" y="10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32" y="108"/>
                  </a:lnTo>
                  <a:lnTo>
                    <a:pt x="232" y="110"/>
                  </a:lnTo>
                  <a:lnTo>
                    <a:pt x="232" y="110"/>
                  </a:lnTo>
                  <a:lnTo>
                    <a:pt x="232" y="110"/>
                  </a:lnTo>
                  <a:lnTo>
                    <a:pt x="232" y="110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4" y="115"/>
                  </a:lnTo>
                  <a:lnTo>
                    <a:pt x="234" y="115"/>
                  </a:lnTo>
                  <a:lnTo>
                    <a:pt x="234" y="115"/>
                  </a:lnTo>
                  <a:lnTo>
                    <a:pt x="234" y="115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2" y="115"/>
                  </a:lnTo>
                  <a:lnTo>
                    <a:pt x="234" y="117"/>
                  </a:lnTo>
                  <a:lnTo>
                    <a:pt x="234" y="117"/>
                  </a:lnTo>
                  <a:lnTo>
                    <a:pt x="234" y="117"/>
                  </a:lnTo>
                  <a:lnTo>
                    <a:pt x="234" y="117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29" y="119"/>
                  </a:lnTo>
                  <a:lnTo>
                    <a:pt x="229" y="122"/>
                  </a:lnTo>
                  <a:lnTo>
                    <a:pt x="229" y="122"/>
                  </a:lnTo>
                  <a:lnTo>
                    <a:pt x="232" y="122"/>
                  </a:lnTo>
                  <a:lnTo>
                    <a:pt x="232" y="122"/>
                  </a:lnTo>
                  <a:lnTo>
                    <a:pt x="232" y="122"/>
                  </a:lnTo>
                  <a:lnTo>
                    <a:pt x="229" y="122"/>
                  </a:lnTo>
                  <a:lnTo>
                    <a:pt x="229" y="122"/>
                  </a:lnTo>
                  <a:lnTo>
                    <a:pt x="229" y="122"/>
                  </a:lnTo>
                  <a:lnTo>
                    <a:pt x="229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4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7" y="128"/>
                  </a:lnTo>
                  <a:lnTo>
                    <a:pt x="227" y="128"/>
                  </a:lnTo>
                  <a:lnTo>
                    <a:pt x="225" y="128"/>
                  </a:lnTo>
                  <a:lnTo>
                    <a:pt x="225" y="128"/>
                  </a:lnTo>
                  <a:lnTo>
                    <a:pt x="225" y="128"/>
                  </a:lnTo>
                  <a:lnTo>
                    <a:pt x="225" y="128"/>
                  </a:lnTo>
                  <a:lnTo>
                    <a:pt x="225" y="131"/>
                  </a:lnTo>
                  <a:lnTo>
                    <a:pt x="225" y="131"/>
                  </a:lnTo>
                  <a:lnTo>
                    <a:pt x="225" y="131"/>
                  </a:lnTo>
                  <a:lnTo>
                    <a:pt x="227" y="131"/>
                  </a:lnTo>
                  <a:lnTo>
                    <a:pt x="227" y="131"/>
                  </a:lnTo>
                  <a:lnTo>
                    <a:pt x="227" y="133"/>
                  </a:lnTo>
                  <a:lnTo>
                    <a:pt x="227" y="133"/>
                  </a:lnTo>
                  <a:lnTo>
                    <a:pt x="227" y="131"/>
                  </a:lnTo>
                  <a:lnTo>
                    <a:pt x="234" y="131"/>
                  </a:lnTo>
                  <a:lnTo>
                    <a:pt x="236" y="131"/>
                  </a:lnTo>
                  <a:lnTo>
                    <a:pt x="236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41" y="131"/>
                  </a:lnTo>
                  <a:lnTo>
                    <a:pt x="241" y="131"/>
                  </a:lnTo>
                  <a:lnTo>
                    <a:pt x="241" y="133"/>
                  </a:lnTo>
                  <a:lnTo>
                    <a:pt x="243" y="133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7" y="135"/>
                  </a:lnTo>
                  <a:lnTo>
                    <a:pt x="250" y="135"/>
                  </a:lnTo>
                  <a:lnTo>
                    <a:pt x="250" y="135"/>
                  </a:lnTo>
                  <a:lnTo>
                    <a:pt x="252" y="135"/>
                  </a:lnTo>
                  <a:lnTo>
                    <a:pt x="252" y="135"/>
                  </a:lnTo>
                  <a:lnTo>
                    <a:pt x="252" y="135"/>
                  </a:lnTo>
                  <a:lnTo>
                    <a:pt x="252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4" y="135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6" y="137"/>
                  </a:lnTo>
                  <a:lnTo>
                    <a:pt x="259" y="137"/>
                  </a:lnTo>
                  <a:lnTo>
                    <a:pt x="261" y="135"/>
                  </a:lnTo>
                  <a:lnTo>
                    <a:pt x="261" y="135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3" y="137"/>
                  </a:lnTo>
                  <a:lnTo>
                    <a:pt x="265" y="137"/>
                  </a:lnTo>
                  <a:lnTo>
                    <a:pt x="265" y="137"/>
                  </a:lnTo>
                  <a:lnTo>
                    <a:pt x="265" y="135"/>
                  </a:lnTo>
                  <a:lnTo>
                    <a:pt x="268" y="135"/>
                  </a:lnTo>
                  <a:lnTo>
                    <a:pt x="270" y="135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2" y="140"/>
                  </a:lnTo>
                  <a:lnTo>
                    <a:pt x="272" y="140"/>
                  </a:lnTo>
                  <a:lnTo>
                    <a:pt x="272" y="140"/>
                  </a:lnTo>
                  <a:lnTo>
                    <a:pt x="272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1" y="133"/>
                  </a:lnTo>
                  <a:lnTo>
                    <a:pt x="283" y="135"/>
                  </a:lnTo>
                  <a:lnTo>
                    <a:pt x="283" y="135"/>
                  </a:lnTo>
                  <a:lnTo>
                    <a:pt x="283" y="135"/>
                  </a:lnTo>
                  <a:lnTo>
                    <a:pt x="283" y="135"/>
                  </a:lnTo>
                  <a:lnTo>
                    <a:pt x="286" y="135"/>
                  </a:lnTo>
                  <a:lnTo>
                    <a:pt x="286" y="135"/>
                  </a:lnTo>
                  <a:lnTo>
                    <a:pt x="286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88" y="131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8"/>
                  </a:lnTo>
                  <a:lnTo>
                    <a:pt x="288" y="126"/>
                  </a:lnTo>
                  <a:lnTo>
                    <a:pt x="290" y="128"/>
                  </a:lnTo>
                  <a:lnTo>
                    <a:pt x="290" y="126"/>
                  </a:lnTo>
                  <a:lnTo>
                    <a:pt x="290" y="126"/>
                  </a:lnTo>
                  <a:lnTo>
                    <a:pt x="290" y="126"/>
                  </a:lnTo>
                  <a:lnTo>
                    <a:pt x="290" y="126"/>
                  </a:lnTo>
                  <a:lnTo>
                    <a:pt x="290" y="124"/>
                  </a:lnTo>
                  <a:lnTo>
                    <a:pt x="290" y="124"/>
                  </a:lnTo>
                  <a:lnTo>
                    <a:pt x="290" y="124"/>
                  </a:lnTo>
                  <a:lnTo>
                    <a:pt x="290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5" y="124"/>
                  </a:lnTo>
                  <a:lnTo>
                    <a:pt x="295" y="124"/>
                  </a:lnTo>
                  <a:lnTo>
                    <a:pt x="295" y="124"/>
                  </a:lnTo>
                  <a:lnTo>
                    <a:pt x="295" y="124"/>
                  </a:lnTo>
                  <a:lnTo>
                    <a:pt x="297" y="124"/>
                  </a:lnTo>
                  <a:lnTo>
                    <a:pt x="297" y="124"/>
                  </a:lnTo>
                  <a:lnTo>
                    <a:pt x="297" y="124"/>
                  </a:lnTo>
                  <a:lnTo>
                    <a:pt x="297" y="122"/>
                  </a:lnTo>
                  <a:lnTo>
                    <a:pt x="297" y="122"/>
                  </a:lnTo>
                  <a:lnTo>
                    <a:pt x="297" y="119"/>
                  </a:lnTo>
                  <a:lnTo>
                    <a:pt x="297" y="119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9" y="119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299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7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1" y="113"/>
                  </a:lnTo>
                  <a:lnTo>
                    <a:pt x="304" y="113"/>
                  </a:lnTo>
                  <a:lnTo>
                    <a:pt x="304" y="113"/>
                  </a:lnTo>
                  <a:lnTo>
                    <a:pt x="304" y="110"/>
                  </a:lnTo>
                  <a:lnTo>
                    <a:pt x="304" y="110"/>
                  </a:lnTo>
                  <a:lnTo>
                    <a:pt x="304" y="110"/>
                  </a:lnTo>
                  <a:lnTo>
                    <a:pt x="304" y="110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4" y="106"/>
                  </a:lnTo>
                  <a:lnTo>
                    <a:pt x="304" y="104"/>
                  </a:lnTo>
                  <a:lnTo>
                    <a:pt x="304" y="104"/>
                  </a:lnTo>
                  <a:lnTo>
                    <a:pt x="304" y="104"/>
                  </a:lnTo>
                  <a:lnTo>
                    <a:pt x="304" y="101"/>
                  </a:lnTo>
                  <a:lnTo>
                    <a:pt x="304" y="101"/>
                  </a:lnTo>
                  <a:lnTo>
                    <a:pt x="304" y="101"/>
                  </a:lnTo>
                  <a:lnTo>
                    <a:pt x="304" y="101"/>
                  </a:lnTo>
                  <a:lnTo>
                    <a:pt x="304" y="101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4" y="99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5"/>
                  </a:lnTo>
                  <a:lnTo>
                    <a:pt x="304" y="95"/>
                  </a:lnTo>
                  <a:lnTo>
                    <a:pt x="304" y="95"/>
                  </a:lnTo>
                  <a:lnTo>
                    <a:pt x="304" y="95"/>
                  </a:lnTo>
                  <a:lnTo>
                    <a:pt x="301" y="92"/>
                  </a:lnTo>
                  <a:lnTo>
                    <a:pt x="304" y="92"/>
                  </a:lnTo>
                  <a:lnTo>
                    <a:pt x="304" y="92"/>
                  </a:lnTo>
                  <a:lnTo>
                    <a:pt x="304" y="92"/>
                  </a:lnTo>
                  <a:lnTo>
                    <a:pt x="304" y="92"/>
                  </a:lnTo>
                  <a:lnTo>
                    <a:pt x="304" y="92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0"/>
                  </a:lnTo>
                  <a:lnTo>
                    <a:pt x="304" y="92"/>
                  </a:lnTo>
                  <a:lnTo>
                    <a:pt x="304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5"/>
                  </a:lnTo>
                  <a:lnTo>
                    <a:pt x="306" y="95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308" y="92"/>
                  </a:lnTo>
                  <a:lnTo>
                    <a:pt x="308" y="92"/>
                  </a:lnTo>
                  <a:lnTo>
                    <a:pt x="308" y="92"/>
                  </a:lnTo>
                  <a:lnTo>
                    <a:pt x="308" y="92"/>
                  </a:lnTo>
                  <a:lnTo>
                    <a:pt x="308" y="92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08" y="90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0" y="92"/>
                  </a:lnTo>
                  <a:lnTo>
                    <a:pt x="310" y="92"/>
                  </a:lnTo>
                  <a:lnTo>
                    <a:pt x="310" y="92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3" y="90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0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88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2"/>
                  </a:lnTo>
                  <a:lnTo>
                    <a:pt x="313" y="92"/>
                  </a:lnTo>
                  <a:lnTo>
                    <a:pt x="313" y="92"/>
                  </a:lnTo>
                  <a:lnTo>
                    <a:pt x="313" y="92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3" y="90"/>
                  </a:lnTo>
                  <a:lnTo>
                    <a:pt x="315" y="90"/>
                  </a:lnTo>
                  <a:lnTo>
                    <a:pt x="315" y="90"/>
                  </a:lnTo>
                  <a:lnTo>
                    <a:pt x="315" y="90"/>
                  </a:lnTo>
                  <a:lnTo>
                    <a:pt x="315" y="90"/>
                  </a:lnTo>
                  <a:lnTo>
                    <a:pt x="315" y="90"/>
                  </a:lnTo>
                  <a:lnTo>
                    <a:pt x="315" y="90"/>
                  </a:lnTo>
                  <a:lnTo>
                    <a:pt x="315" y="90"/>
                  </a:lnTo>
                  <a:lnTo>
                    <a:pt x="315" y="92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7"/>
                  </a:lnTo>
                  <a:lnTo>
                    <a:pt x="319" y="97"/>
                  </a:lnTo>
                  <a:lnTo>
                    <a:pt x="319" y="97"/>
                  </a:lnTo>
                  <a:lnTo>
                    <a:pt x="319" y="99"/>
                  </a:lnTo>
                  <a:lnTo>
                    <a:pt x="319" y="99"/>
                  </a:lnTo>
                  <a:lnTo>
                    <a:pt x="319" y="99"/>
                  </a:lnTo>
                  <a:lnTo>
                    <a:pt x="319" y="99"/>
                  </a:lnTo>
                  <a:lnTo>
                    <a:pt x="319" y="99"/>
                  </a:lnTo>
                  <a:lnTo>
                    <a:pt x="319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2" y="101"/>
                  </a:lnTo>
                  <a:lnTo>
                    <a:pt x="322" y="104"/>
                  </a:lnTo>
                  <a:lnTo>
                    <a:pt x="322" y="104"/>
                  </a:lnTo>
                  <a:lnTo>
                    <a:pt x="324" y="106"/>
                  </a:lnTo>
                  <a:lnTo>
                    <a:pt x="324" y="106"/>
                  </a:lnTo>
                  <a:lnTo>
                    <a:pt x="324" y="108"/>
                  </a:lnTo>
                  <a:lnTo>
                    <a:pt x="324" y="108"/>
                  </a:lnTo>
                  <a:lnTo>
                    <a:pt x="324" y="110"/>
                  </a:lnTo>
                  <a:lnTo>
                    <a:pt x="324" y="110"/>
                  </a:lnTo>
                  <a:lnTo>
                    <a:pt x="324" y="113"/>
                  </a:lnTo>
                  <a:lnTo>
                    <a:pt x="324" y="113"/>
                  </a:lnTo>
                  <a:lnTo>
                    <a:pt x="324" y="113"/>
                  </a:lnTo>
                  <a:lnTo>
                    <a:pt x="324" y="113"/>
                  </a:lnTo>
                  <a:lnTo>
                    <a:pt x="324" y="113"/>
                  </a:lnTo>
                  <a:lnTo>
                    <a:pt x="324" y="113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4" y="117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19"/>
                  </a:lnTo>
                  <a:lnTo>
                    <a:pt x="324" y="122"/>
                  </a:lnTo>
                  <a:lnTo>
                    <a:pt x="324" y="122"/>
                  </a:lnTo>
                  <a:lnTo>
                    <a:pt x="324" y="124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4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22" y="128"/>
                  </a:lnTo>
                  <a:lnTo>
                    <a:pt x="322" y="128"/>
                  </a:lnTo>
                  <a:lnTo>
                    <a:pt x="319" y="131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28"/>
                  </a:lnTo>
                  <a:lnTo>
                    <a:pt x="319" y="131"/>
                  </a:lnTo>
                  <a:lnTo>
                    <a:pt x="317" y="131"/>
                  </a:lnTo>
                  <a:lnTo>
                    <a:pt x="317" y="133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7" y="131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5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3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5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7"/>
                  </a:lnTo>
                  <a:lnTo>
                    <a:pt x="310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5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8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37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0"/>
                  </a:lnTo>
                  <a:lnTo>
                    <a:pt x="304" y="142"/>
                  </a:lnTo>
                  <a:lnTo>
                    <a:pt x="304" y="142"/>
                  </a:lnTo>
                  <a:lnTo>
                    <a:pt x="304" y="142"/>
                  </a:lnTo>
                  <a:lnTo>
                    <a:pt x="301" y="142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301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4"/>
                  </a:lnTo>
                  <a:lnTo>
                    <a:pt x="299" y="146"/>
                  </a:lnTo>
                  <a:lnTo>
                    <a:pt x="299" y="146"/>
                  </a:lnTo>
                  <a:lnTo>
                    <a:pt x="299" y="146"/>
                  </a:lnTo>
                  <a:lnTo>
                    <a:pt x="297" y="144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7" y="146"/>
                  </a:lnTo>
                  <a:lnTo>
                    <a:pt x="295" y="146"/>
                  </a:lnTo>
                  <a:lnTo>
                    <a:pt x="295" y="146"/>
                  </a:lnTo>
                  <a:lnTo>
                    <a:pt x="295" y="146"/>
                  </a:lnTo>
                  <a:lnTo>
                    <a:pt x="295" y="146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5" y="149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2" y="151"/>
                  </a:lnTo>
                  <a:lnTo>
                    <a:pt x="290" y="151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1"/>
                  </a:lnTo>
                  <a:lnTo>
                    <a:pt x="290" y="151"/>
                  </a:lnTo>
                  <a:lnTo>
                    <a:pt x="290" y="151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90" y="153"/>
                  </a:lnTo>
                  <a:lnTo>
                    <a:pt x="288" y="153"/>
                  </a:lnTo>
                  <a:lnTo>
                    <a:pt x="288" y="153"/>
                  </a:lnTo>
                  <a:lnTo>
                    <a:pt x="288" y="153"/>
                  </a:lnTo>
                  <a:lnTo>
                    <a:pt x="288" y="155"/>
                  </a:lnTo>
                  <a:lnTo>
                    <a:pt x="288" y="155"/>
                  </a:lnTo>
                  <a:lnTo>
                    <a:pt x="288" y="155"/>
                  </a:lnTo>
                  <a:lnTo>
                    <a:pt x="288" y="155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5"/>
                  </a:lnTo>
                  <a:lnTo>
                    <a:pt x="290" y="158"/>
                  </a:lnTo>
                  <a:lnTo>
                    <a:pt x="290" y="158"/>
                  </a:lnTo>
                  <a:lnTo>
                    <a:pt x="290" y="158"/>
                  </a:lnTo>
                  <a:lnTo>
                    <a:pt x="288" y="158"/>
                  </a:lnTo>
                  <a:lnTo>
                    <a:pt x="288" y="158"/>
                  </a:lnTo>
                  <a:lnTo>
                    <a:pt x="288" y="158"/>
                  </a:lnTo>
                  <a:lnTo>
                    <a:pt x="288" y="158"/>
                  </a:lnTo>
                  <a:lnTo>
                    <a:pt x="288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58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3" y="160"/>
                  </a:lnTo>
                  <a:lnTo>
                    <a:pt x="283" y="160"/>
                  </a:lnTo>
                  <a:lnTo>
                    <a:pt x="283" y="160"/>
                  </a:lnTo>
                  <a:lnTo>
                    <a:pt x="283" y="160"/>
                  </a:lnTo>
                  <a:lnTo>
                    <a:pt x="283" y="162"/>
                  </a:lnTo>
                  <a:lnTo>
                    <a:pt x="283" y="162"/>
                  </a:lnTo>
                  <a:lnTo>
                    <a:pt x="283" y="162"/>
                  </a:lnTo>
                  <a:lnTo>
                    <a:pt x="283" y="162"/>
                  </a:lnTo>
                  <a:lnTo>
                    <a:pt x="281" y="164"/>
                  </a:lnTo>
                  <a:lnTo>
                    <a:pt x="281" y="167"/>
                  </a:lnTo>
                  <a:lnTo>
                    <a:pt x="279" y="167"/>
                  </a:lnTo>
                  <a:lnTo>
                    <a:pt x="279" y="167"/>
                  </a:lnTo>
                  <a:lnTo>
                    <a:pt x="279" y="167"/>
                  </a:lnTo>
                  <a:lnTo>
                    <a:pt x="279" y="167"/>
                  </a:lnTo>
                  <a:lnTo>
                    <a:pt x="279" y="169"/>
                  </a:lnTo>
                  <a:lnTo>
                    <a:pt x="279" y="171"/>
                  </a:lnTo>
                  <a:lnTo>
                    <a:pt x="277" y="171"/>
                  </a:lnTo>
                  <a:lnTo>
                    <a:pt x="277" y="173"/>
                  </a:lnTo>
                  <a:lnTo>
                    <a:pt x="277" y="173"/>
                  </a:lnTo>
                  <a:lnTo>
                    <a:pt x="277" y="173"/>
                  </a:lnTo>
                  <a:lnTo>
                    <a:pt x="277" y="173"/>
                  </a:lnTo>
                  <a:lnTo>
                    <a:pt x="277" y="173"/>
                  </a:lnTo>
                  <a:lnTo>
                    <a:pt x="274" y="176"/>
                  </a:lnTo>
                  <a:lnTo>
                    <a:pt x="274" y="176"/>
                  </a:lnTo>
                  <a:lnTo>
                    <a:pt x="274" y="176"/>
                  </a:lnTo>
                  <a:lnTo>
                    <a:pt x="272" y="176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72" y="178"/>
                  </a:lnTo>
                  <a:lnTo>
                    <a:pt x="272" y="180"/>
                  </a:lnTo>
                  <a:lnTo>
                    <a:pt x="272" y="180"/>
                  </a:lnTo>
                  <a:lnTo>
                    <a:pt x="272" y="180"/>
                  </a:lnTo>
                  <a:lnTo>
                    <a:pt x="272" y="180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2"/>
                  </a:lnTo>
                  <a:lnTo>
                    <a:pt x="270" y="185"/>
                  </a:lnTo>
                  <a:lnTo>
                    <a:pt x="270" y="185"/>
                  </a:lnTo>
                  <a:lnTo>
                    <a:pt x="268" y="185"/>
                  </a:lnTo>
                  <a:lnTo>
                    <a:pt x="268" y="185"/>
                  </a:lnTo>
                  <a:lnTo>
                    <a:pt x="268" y="187"/>
                  </a:lnTo>
                  <a:lnTo>
                    <a:pt x="268" y="187"/>
                  </a:lnTo>
                  <a:lnTo>
                    <a:pt x="268" y="187"/>
                  </a:lnTo>
                  <a:lnTo>
                    <a:pt x="268" y="187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8" y="189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5" y="191"/>
                  </a:lnTo>
                  <a:lnTo>
                    <a:pt x="263" y="191"/>
                  </a:lnTo>
                  <a:lnTo>
                    <a:pt x="263" y="191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94"/>
                  </a:lnTo>
                  <a:lnTo>
                    <a:pt x="261" y="196"/>
                  </a:lnTo>
                  <a:lnTo>
                    <a:pt x="261" y="196"/>
                  </a:lnTo>
                  <a:lnTo>
                    <a:pt x="261" y="198"/>
                  </a:lnTo>
                  <a:lnTo>
                    <a:pt x="259" y="200"/>
                  </a:lnTo>
                  <a:lnTo>
                    <a:pt x="259" y="20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56" y="203"/>
                  </a:lnTo>
                  <a:lnTo>
                    <a:pt x="256" y="203"/>
                  </a:lnTo>
                  <a:lnTo>
                    <a:pt x="256" y="205"/>
                  </a:lnTo>
                  <a:lnTo>
                    <a:pt x="252" y="207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09"/>
                  </a:lnTo>
                  <a:lnTo>
                    <a:pt x="252" y="212"/>
                  </a:lnTo>
                  <a:lnTo>
                    <a:pt x="254" y="212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4" y="214"/>
                  </a:lnTo>
                  <a:lnTo>
                    <a:pt x="254" y="216"/>
                  </a:lnTo>
                  <a:lnTo>
                    <a:pt x="254" y="216"/>
                  </a:lnTo>
                  <a:lnTo>
                    <a:pt x="254" y="216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18"/>
                  </a:lnTo>
                  <a:lnTo>
                    <a:pt x="254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4" y="223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4" y="225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54" y="227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4" y="230"/>
                  </a:lnTo>
                  <a:lnTo>
                    <a:pt x="252" y="230"/>
                  </a:lnTo>
                  <a:lnTo>
                    <a:pt x="252" y="230"/>
                  </a:lnTo>
                  <a:lnTo>
                    <a:pt x="252" y="232"/>
                  </a:lnTo>
                  <a:lnTo>
                    <a:pt x="252" y="232"/>
                  </a:lnTo>
                  <a:lnTo>
                    <a:pt x="254" y="232"/>
                  </a:lnTo>
                  <a:lnTo>
                    <a:pt x="254" y="234"/>
                  </a:lnTo>
                  <a:lnTo>
                    <a:pt x="254" y="234"/>
                  </a:lnTo>
                  <a:lnTo>
                    <a:pt x="254" y="236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4" y="239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1"/>
                  </a:lnTo>
                  <a:lnTo>
                    <a:pt x="252" y="243"/>
                  </a:lnTo>
                  <a:lnTo>
                    <a:pt x="252" y="243"/>
                  </a:lnTo>
                  <a:lnTo>
                    <a:pt x="252" y="245"/>
                  </a:lnTo>
                  <a:lnTo>
                    <a:pt x="252" y="245"/>
                  </a:lnTo>
                  <a:lnTo>
                    <a:pt x="252" y="245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52" y="248"/>
                  </a:lnTo>
                  <a:lnTo>
                    <a:pt x="254" y="250"/>
                  </a:lnTo>
                  <a:lnTo>
                    <a:pt x="254" y="250"/>
                  </a:lnTo>
                  <a:lnTo>
                    <a:pt x="254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4" y="254"/>
                  </a:lnTo>
                  <a:lnTo>
                    <a:pt x="254" y="257"/>
                  </a:lnTo>
                  <a:lnTo>
                    <a:pt x="254" y="257"/>
                  </a:lnTo>
                  <a:lnTo>
                    <a:pt x="254" y="259"/>
                  </a:lnTo>
                  <a:lnTo>
                    <a:pt x="254" y="261"/>
                  </a:lnTo>
                  <a:lnTo>
                    <a:pt x="256" y="263"/>
                  </a:lnTo>
                  <a:lnTo>
                    <a:pt x="256" y="263"/>
                  </a:lnTo>
                  <a:lnTo>
                    <a:pt x="256" y="266"/>
                  </a:lnTo>
                  <a:lnTo>
                    <a:pt x="256" y="266"/>
                  </a:lnTo>
                  <a:lnTo>
                    <a:pt x="256" y="266"/>
                  </a:lnTo>
                  <a:lnTo>
                    <a:pt x="256" y="268"/>
                  </a:lnTo>
                  <a:lnTo>
                    <a:pt x="256" y="268"/>
                  </a:lnTo>
                  <a:lnTo>
                    <a:pt x="256" y="268"/>
                  </a:lnTo>
                  <a:lnTo>
                    <a:pt x="256" y="268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6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52" y="272"/>
                  </a:lnTo>
                  <a:lnTo>
                    <a:pt x="252" y="275"/>
                  </a:lnTo>
                  <a:lnTo>
                    <a:pt x="254" y="275"/>
                  </a:lnTo>
                  <a:lnTo>
                    <a:pt x="252" y="275"/>
                  </a:lnTo>
                  <a:lnTo>
                    <a:pt x="252" y="275"/>
                  </a:lnTo>
                  <a:lnTo>
                    <a:pt x="252" y="275"/>
                  </a:lnTo>
                  <a:lnTo>
                    <a:pt x="252" y="277"/>
                  </a:lnTo>
                  <a:lnTo>
                    <a:pt x="252" y="277"/>
                  </a:lnTo>
                  <a:lnTo>
                    <a:pt x="252" y="279"/>
                  </a:lnTo>
                  <a:lnTo>
                    <a:pt x="252" y="279"/>
                  </a:lnTo>
                  <a:lnTo>
                    <a:pt x="252" y="281"/>
                  </a:lnTo>
                  <a:lnTo>
                    <a:pt x="252" y="281"/>
                  </a:lnTo>
                  <a:lnTo>
                    <a:pt x="252" y="281"/>
                  </a:lnTo>
                  <a:lnTo>
                    <a:pt x="252" y="281"/>
                  </a:lnTo>
                  <a:lnTo>
                    <a:pt x="252" y="283"/>
                  </a:lnTo>
                  <a:lnTo>
                    <a:pt x="252" y="283"/>
                  </a:lnTo>
                  <a:lnTo>
                    <a:pt x="252" y="286"/>
                  </a:lnTo>
                  <a:lnTo>
                    <a:pt x="252" y="286"/>
                  </a:lnTo>
                  <a:lnTo>
                    <a:pt x="254" y="288"/>
                  </a:lnTo>
                  <a:lnTo>
                    <a:pt x="254" y="288"/>
                  </a:lnTo>
                  <a:lnTo>
                    <a:pt x="254" y="288"/>
                  </a:lnTo>
                  <a:lnTo>
                    <a:pt x="254" y="290"/>
                  </a:lnTo>
                  <a:lnTo>
                    <a:pt x="256" y="290"/>
                  </a:lnTo>
                  <a:lnTo>
                    <a:pt x="256" y="290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2"/>
                  </a:lnTo>
                  <a:lnTo>
                    <a:pt x="256" y="295"/>
                  </a:lnTo>
                  <a:lnTo>
                    <a:pt x="256" y="295"/>
                  </a:lnTo>
                  <a:lnTo>
                    <a:pt x="256" y="295"/>
                  </a:lnTo>
                  <a:lnTo>
                    <a:pt x="256" y="295"/>
                  </a:lnTo>
                  <a:lnTo>
                    <a:pt x="259" y="295"/>
                  </a:lnTo>
                  <a:lnTo>
                    <a:pt x="259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6" y="297"/>
                  </a:lnTo>
                  <a:lnTo>
                    <a:pt x="254" y="297"/>
                  </a:lnTo>
                  <a:lnTo>
                    <a:pt x="254" y="297"/>
                  </a:lnTo>
                  <a:lnTo>
                    <a:pt x="254" y="297"/>
                  </a:lnTo>
                  <a:lnTo>
                    <a:pt x="254" y="299"/>
                  </a:lnTo>
                  <a:lnTo>
                    <a:pt x="254" y="299"/>
                  </a:lnTo>
                  <a:lnTo>
                    <a:pt x="256" y="299"/>
                  </a:lnTo>
                  <a:lnTo>
                    <a:pt x="256" y="299"/>
                  </a:lnTo>
                  <a:lnTo>
                    <a:pt x="256" y="299"/>
                  </a:lnTo>
                  <a:lnTo>
                    <a:pt x="256" y="299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6" y="301"/>
                  </a:lnTo>
                  <a:lnTo>
                    <a:pt x="256" y="304"/>
                  </a:lnTo>
                  <a:lnTo>
                    <a:pt x="256" y="304"/>
                  </a:lnTo>
                  <a:lnTo>
                    <a:pt x="256" y="304"/>
                  </a:lnTo>
                  <a:lnTo>
                    <a:pt x="256" y="304"/>
                  </a:lnTo>
                  <a:lnTo>
                    <a:pt x="259" y="304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6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1" y="306"/>
                  </a:lnTo>
                  <a:lnTo>
                    <a:pt x="261" y="306"/>
                  </a:lnTo>
                  <a:lnTo>
                    <a:pt x="261" y="308"/>
                  </a:lnTo>
                  <a:lnTo>
                    <a:pt x="263" y="308"/>
                  </a:lnTo>
                  <a:lnTo>
                    <a:pt x="263" y="308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0" y="310"/>
                  </a:lnTo>
                  <a:lnTo>
                    <a:pt x="272" y="313"/>
                  </a:lnTo>
                  <a:lnTo>
                    <a:pt x="277" y="315"/>
                  </a:lnTo>
                  <a:lnTo>
                    <a:pt x="277" y="315"/>
                  </a:lnTo>
                  <a:lnTo>
                    <a:pt x="279" y="315"/>
                  </a:lnTo>
                  <a:lnTo>
                    <a:pt x="279" y="317"/>
                  </a:lnTo>
                  <a:lnTo>
                    <a:pt x="279" y="317"/>
                  </a:lnTo>
                  <a:lnTo>
                    <a:pt x="283" y="319"/>
                  </a:lnTo>
                  <a:lnTo>
                    <a:pt x="283" y="319"/>
                  </a:lnTo>
                  <a:lnTo>
                    <a:pt x="283" y="322"/>
                  </a:lnTo>
                  <a:lnTo>
                    <a:pt x="286" y="322"/>
                  </a:lnTo>
                  <a:lnTo>
                    <a:pt x="286" y="322"/>
                  </a:lnTo>
                  <a:lnTo>
                    <a:pt x="288" y="324"/>
                  </a:lnTo>
                  <a:lnTo>
                    <a:pt x="288" y="324"/>
                  </a:lnTo>
                  <a:lnTo>
                    <a:pt x="288" y="326"/>
                  </a:lnTo>
                  <a:lnTo>
                    <a:pt x="288" y="326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288" y="328"/>
                  </a:lnTo>
                  <a:lnTo>
                    <a:pt x="286" y="333"/>
                  </a:lnTo>
                  <a:lnTo>
                    <a:pt x="286" y="333"/>
                  </a:lnTo>
                  <a:lnTo>
                    <a:pt x="286" y="333"/>
                  </a:lnTo>
                  <a:lnTo>
                    <a:pt x="286" y="333"/>
                  </a:lnTo>
                  <a:lnTo>
                    <a:pt x="286" y="335"/>
                  </a:lnTo>
                  <a:lnTo>
                    <a:pt x="286" y="335"/>
                  </a:lnTo>
                  <a:lnTo>
                    <a:pt x="286" y="337"/>
                  </a:lnTo>
                  <a:lnTo>
                    <a:pt x="286" y="337"/>
                  </a:lnTo>
                  <a:lnTo>
                    <a:pt x="286" y="337"/>
                  </a:lnTo>
                  <a:lnTo>
                    <a:pt x="286" y="337"/>
                  </a:lnTo>
                  <a:lnTo>
                    <a:pt x="286" y="340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8" y="342"/>
                  </a:lnTo>
                  <a:lnTo>
                    <a:pt x="288" y="342"/>
                  </a:lnTo>
                  <a:lnTo>
                    <a:pt x="288" y="342"/>
                  </a:lnTo>
                  <a:lnTo>
                    <a:pt x="288" y="342"/>
                  </a:lnTo>
                  <a:lnTo>
                    <a:pt x="290" y="342"/>
                  </a:lnTo>
                  <a:lnTo>
                    <a:pt x="290" y="344"/>
                  </a:lnTo>
                  <a:lnTo>
                    <a:pt x="292" y="346"/>
                  </a:lnTo>
                  <a:lnTo>
                    <a:pt x="295" y="346"/>
                  </a:lnTo>
                  <a:lnTo>
                    <a:pt x="297" y="346"/>
                  </a:lnTo>
                  <a:lnTo>
                    <a:pt x="297" y="346"/>
                  </a:lnTo>
                  <a:lnTo>
                    <a:pt x="297" y="349"/>
                  </a:lnTo>
                  <a:lnTo>
                    <a:pt x="297" y="349"/>
                  </a:lnTo>
                  <a:lnTo>
                    <a:pt x="297" y="349"/>
                  </a:lnTo>
                  <a:lnTo>
                    <a:pt x="297" y="349"/>
                  </a:lnTo>
                  <a:lnTo>
                    <a:pt x="297" y="349"/>
                  </a:lnTo>
                  <a:lnTo>
                    <a:pt x="299" y="346"/>
                  </a:lnTo>
                  <a:lnTo>
                    <a:pt x="299" y="346"/>
                  </a:lnTo>
                  <a:lnTo>
                    <a:pt x="299" y="346"/>
                  </a:lnTo>
                  <a:lnTo>
                    <a:pt x="299" y="346"/>
                  </a:lnTo>
                  <a:lnTo>
                    <a:pt x="299" y="346"/>
                  </a:lnTo>
                  <a:lnTo>
                    <a:pt x="299" y="346"/>
                  </a:lnTo>
                  <a:lnTo>
                    <a:pt x="299" y="346"/>
                  </a:lnTo>
                  <a:lnTo>
                    <a:pt x="301" y="346"/>
                  </a:lnTo>
                  <a:lnTo>
                    <a:pt x="301" y="349"/>
                  </a:lnTo>
                  <a:lnTo>
                    <a:pt x="301" y="349"/>
                  </a:lnTo>
                  <a:lnTo>
                    <a:pt x="301" y="349"/>
                  </a:lnTo>
                  <a:lnTo>
                    <a:pt x="301" y="351"/>
                  </a:lnTo>
                  <a:lnTo>
                    <a:pt x="304" y="353"/>
                  </a:lnTo>
                  <a:lnTo>
                    <a:pt x="304" y="353"/>
                  </a:lnTo>
                  <a:lnTo>
                    <a:pt x="304" y="355"/>
                  </a:lnTo>
                  <a:lnTo>
                    <a:pt x="304" y="360"/>
                  </a:lnTo>
                  <a:lnTo>
                    <a:pt x="304" y="360"/>
                  </a:lnTo>
                  <a:lnTo>
                    <a:pt x="304" y="362"/>
                  </a:lnTo>
                  <a:lnTo>
                    <a:pt x="304" y="364"/>
                  </a:lnTo>
                  <a:lnTo>
                    <a:pt x="301" y="367"/>
                  </a:lnTo>
                  <a:lnTo>
                    <a:pt x="299" y="371"/>
                  </a:lnTo>
                  <a:lnTo>
                    <a:pt x="299" y="373"/>
                  </a:lnTo>
                  <a:lnTo>
                    <a:pt x="297" y="376"/>
                  </a:lnTo>
                  <a:lnTo>
                    <a:pt x="297" y="376"/>
                  </a:lnTo>
                  <a:lnTo>
                    <a:pt x="295" y="378"/>
                  </a:lnTo>
                  <a:lnTo>
                    <a:pt x="295" y="380"/>
                  </a:lnTo>
                  <a:lnTo>
                    <a:pt x="295" y="380"/>
                  </a:lnTo>
                  <a:lnTo>
                    <a:pt x="295" y="380"/>
                  </a:lnTo>
                  <a:lnTo>
                    <a:pt x="292" y="382"/>
                  </a:lnTo>
                  <a:lnTo>
                    <a:pt x="292" y="382"/>
                  </a:lnTo>
                  <a:lnTo>
                    <a:pt x="292" y="382"/>
                  </a:lnTo>
                  <a:lnTo>
                    <a:pt x="292" y="385"/>
                  </a:lnTo>
                  <a:lnTo>
                    <a:pt x="292" y="385"/>
                  </a:lnTo>
                  <a:lnTo>
                    <a:pt x="292" y="387"/>
                  </a:lnTo>
                  <a:lnTo>
                    <a:pt x="292" y="387"/>
                  </a:lnTo>
                  <a:lnTo>
                    <a:pt x="292" y="387"/>
                  </a:lnTo>
                  <a:lnTo>
                    <a:pt x="292" y="387"/>
                  </a:lnTo>
                  <a:lnTo>
                    <a:pt x="292" y="387"/>
                  </a:lnTo>
                  <a:lnTo>
                    <a:pt x="292" y="387"/>
                  </a:lnTo>
                  <a:lnTo>
                    <a:pt x="292" y="387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2" y="389"/>
                  </a:lnTo>
                  <a:lnTo>
                    <a:pt x="290" y="391"/>
                  </a:lnTo>
                  <a:lnTo>
                    <a:pt x="290" y="391"/>
                  </a:lnTo>
                  <a:lnTo>
                    <a:pt x="288" y="394"/>
                  </a:lnTo>
                  <a:lnTo>
                    <a:pt x="286" y="396"/>
                  </a:lnTo>
                  <a:lnTo>
                    <a:pt x="286" y="396"/>
                  </a:lnTo>
                  <a:lnTo>
                    <a:pt x="286" y="396"/>
                  </a:lnTo>
                  <a:lnTo>
                    <a:pt x="283" y="396"/>
                  </a:lnTo>
                  <a:lnTo>
                    <a:pt x="283" y="396"/>
                  </a:lnTo>
                  <a:lnTo>
                    <a:pt x="281" y="398"/>
                  </a:lnTo>
                  <a:lnTo>
                    <a:pt x="281" y="398"/>
                  </a:lnTo>
                  <a:lnTo>
                    <a:pt x="281" y="398"/>
                  </a:lnTo>
                  <a:lnTo>
                    <a:pt x="279" y="398"/>
                  </a:lnTo>
                  <a:lnTo>
                    <a:pt x="277" y="398"/>
                  </a:lnTo>
                  <a:lnTo>
                    <a:pt x="277" y="400"/>
                  </a:lnTo>
                  <a:lnTo>
                    <a:pt x="272" y="400"/>
                  </a:lnTo>
                  <a:lnTo>
                    <a:pt x="270" y="403"/>
                  </a:lnTo>
                  <a:lnTo>
                    <a:pt x="268" y="403"/>
                  </a:lnTo>
                  <a:lnTo>
                    <a:pt x="268" y="403"/>
                  </a:lnTo>
                  <a:lnTo>
                    <a:pt x="268" y="403"/>
                  </a:lnTo>
                  <a:lnTo>
                    <a:pt x="256" y="405"/>
                  </a:lnTo>
                  <a:lnTo>
                    <a:pt x="254" y="407"/>
                  </a:lnTo>
                  <a:lnTo>
                    <a:pt x="252" y="407"/>
                  </a:lnTo>
                  <a:lnTo>
                    <a:pt x="252" y="407"/>
                  </a:lnTo>
                  <a:lnTo>
                    <a:pt x="243" y="407"/>
                  </a:lnTo>
                  <a:lnTo>
                    <a:pt x="241" y="409"/>
                  </a:lnTo>
                  <a:lnTo>
                    <a:pt x="236" y="409"/>
                  </a:lnTo>
                  <a:lnTo>
                    <a:pt x="234" y="409"/>
                  </a:lnTo>
                  <a:lnTo>
                    <a:pt x="232" y="409"/>
                  </a:lnTo>
                  <a:lnTo>
                    <a:pt x="232" y="409"/>
                  </a:lnTo>
                  <a:lnTo>
                    <a:pt x="229" y="409"/>
                  </a:lnTo>
                  <a:lnTo>
                    <a:pt x="229" y="409"/>
                  </a:lnTo>
                  <a:lnTo>
                    <a:pt x="229" y="409"/>
                  </a:lnTo>
                  <a:lnTo>
                    <a:pt x="229" y="409"/>
                  </a:lnTo>
                  <a:lnTo>
                    <a:pt x="227" y="409"/>
                  </a:lnTo>
                  <a:lnTo>
                    <a:pt x="225" y="409"/>
                  </a:lnTo>
                  <a:lnTo>
                    <a:pt x="223" y="409"/>
                  </a:lnTo>
                  <a:lnTo>
                    <a:pt x="220" y="409"/>
                  </a:lnTo>
                  <a:lnTo>
                    <a:pt x="220" y="409"/>
                  </a:lnTo>
                  <a:lnTo>
                    <a:pt x="220" y="412"/>
                  </a:lnTo>
                  <a:lnTo>
                    <a:pt x="218" y="409"/>
                  </a:lnTo>
                  <a:lnTo>
                    <a:pt x="218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6" y="409"/>
                  </a:lnTo>
                  <a:lnTo>
                    <a:pt x="214" y="409"/>
                  </a:lnTo>
                  <a:lnTo>
                    <a:pt x="211" y="409"/>
                  </a:lnTo>
                  <a:lnTo>
                    <a:pt x="209" y="409"/>
                  </a:lnTo>
                  <a:lnTo>
                    <a:pt x="209" y="407"/>
                  </a:lnTo>
                  <a:lnTo>
                    <a:pt x="209" y="407"/>
                  </a:lnTo>
                  <a:lnTo>
                    <a:pt x="207" y="407"/>
                  </a:lnTo>
                  <a:lnTo>
                    <a:pt x="207" y="405"/>
                  </a:lnTo>
                  <a:lnTo>
                    <a:pt x="207" y="405"/>
                  </a:lnTo>
                  <a:lnTo>
                    <a:pt x="205" y="405"/>
                  </a:lnTo>
                  <a:lnTo>
                    <a:pt x="205" y="405"/>
                  </a:lnTo>
                  <a:lnTo>
                    <a:pt x="202" y="405"/>
                  </a:lnTo>
                  <a:lnTo>
                    <a:pt x="202" y="405"/>
                  </a:lnTo>
                  <a:lnTo>
                    <a:pt x="202" y="405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2" y="407"/>
                  </a:lnTo>
                  <a:lnTo>
                    <a:pt x="205" y="407"/>
                  </a:lnTo>
                  <a:lnTo>
                    <a:pt x="205" y="407"/>
                  </a:lnTo>
                  <a:lnTo>
                    <a:pt x="205" y="407"/>
                  </a:lnTo>
                  <a:lnTo>
                    <a:pt x="205" y="407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5" y="409"/>
                  </a:lnTo>
                  <a:lnTo>
                    <a:pt x="207" y="409"/>
                  </a:lnTo>
                  <a:lnTo>
                    <a:pt x="205" y="412"/>
                  </a:lnTo>
                  <a:lnTo>
                    <a:pt x="205" y="412"/>
                  </a:lnTo>
                  <a:lnTo>
                    <a:pt x="205" y="412"/>
                  </a:lnTo>
                  <a:lnTo>
                    <a:pt x="205" y="412"/>
                  </a:lnTo>
                  <a:lnTo>
                    <a:pt x="205" y="412"/>
                  </a:lnTo>
                  <a:lnTo>
                    <a:pt x="205" y="412"/>
                  </a:lnTo>
                  <a:lnTo>
                    <a:pt x="205" y="412"/>
                  </a:lnTo>
                  <a:lnTo>
                    <a:pt x="205" y="414"/>
                  </a:lnTo>
                  <a:lnTo>
                    <a:pt x="205" y="414"/>
                  </a:lnTo>
                  <a:lnTo>
                    <a:pt x="205" y="414"/>
                  </a:lnTo>
                  <a:lnTo>
                    <a:pt x="205" y="414"/>
                  </a:lnTo>
                  <a:lnTo>
                    <a:pt x="205" y="414"/>
                  </a:lnTo>
                  <a:lnTo>
                    <a:pt x="205" y="414"/>
                  </a:lnTo>
                  <a:lnTo>
                    <a:pt x="207" y="414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7" y="416"/>
                  </a:lnTo>
                  <a:lnTo>
                    <a:pt x="209" y="416"/>
                  </a:lnTo>
                  <a:lnTo>
                    <a:pt x="209" y="416"/>
                  </a:lnTo>
                  <a:lnTo>
                    <a:pt x="211" y="418"/>
                  </a:lnTo>
                  <a:lnTo>
                    <a:pt x="211" y="418"/>
                  </a:lnTo>
                  <a:lnTo>
                    <a:pt x="214" y="418"/>
                  </a:lnTo>
                  <a:lnTo>
                    <a:pt x="214" y="418"/>
                  </a:lnTo>
                  <a:lnTo>
                    <a:pt x="214" y="418"/>
                  </a:lnTo>
                  <a:lnTo>
                    <a:pt x="214" y="421"/>
                  </a:lnTo>
                  <a:lnTo>
                    <a:pt x="214" y="421"/>
                  </a:lnTo>
                  <a:lnTo>
                    <a:pt x="214" y="421"/>
                  </a:lnTo>
                  <a:lnTo>
                    <a:pt x="211" y="421"/>
                  </a:lnTo>
                  <a:lnTo>
                    <a:pt x="211" y="421"/>
                  </a:lnTo>
                  <a:lnTo>
                    <a:pt x="211" y="421"/>
                  </a:lnTo>
                  <a:lnTo>
                    <a:pt x="211" y="421"/>
                  </a:lnTo>
                  <a:lnTo>
                    <a:pt x="211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7" y="418"/>
                  </a:lnTo>
                  <a:lnTo>
                    <a:pt x="207" y="418"/>
                  </a:lnTo>
                  <a:lnTo>
                    <a:pt x="207" y="418"/>
                  </a:lnTo>
                  <a:lnTo>
                    <a:pt x="207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18"/>
                  </a:lnTo>
                  <a:lnTo>
                    <a:pt x="209" y="421"/>
                  </a:lnTo>
                  <a:lnTo>
                    <a:pt x="211" y="421"/>
                  </a:lnTo>
                  <a:lnTo>
                    <a:pt x="211" y="421"/>
                  </a:lnTo>
                  <a:lnTo>
                    <a:pt x="211" y="421"/>
                  </a:lnTo>
                  <a:lnTo>
                    <a:pt x="214" y="421"/>
                  </a:lnTo>
                  <a:lnTo>
                    <a:pt x="214" y="421"/>
                  </a:lnTo>
                  <a:lnTo>
                    <a:pt x="214" y="421"/>
                  </a:lnTo>
                  <a:lnTo>
                    <a:pt x="214" y="421"/>
                  </a:lnTo>
                  <a:lnTo>
                    <a:pt x="214" y="423"/>
                  </a:lnTo>
                  <a:lnTo>
                    <a:pt x="214" y="423"/>
                  </a:lnTo>
                  <a:lnTo>
                    <a:pt x="214" y="423"/>
                  </a:lnTo>
                  <a:lnTo>
                    <a:pt x="214" y="423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7"/>
                  </a:lnTo>
                  <a:lnTo>
                    <a:pt x="214" y="430"/>
                  </a:lnTo>
                  <a:lnTo>
                    <a:pt x="214" y="430"/>
                  </a:lnTo>
                  <a:lnTo>
                    <a:pt x="214" y="430"/>
                  </a:lnTo>
                  <a:lnTo>
                    <a:pt x="214" y="430"/>
                  </a:lnTo>
                  <a:lnTo>
                    <a:pt x="214" y="430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09" y="430"/>
                  </a:lnTo>
                  <a:lnTo>
                    <a:pt x="209" y="430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30"/>
                  </a:lnTo>
                  <a:lnTo>
                    <a:pt x="211" y="432"/>
                  </a:lnTo>
                  <a:lnTo>
                    <a:pt x="211" y="432"/>
                  </a:lnTo>
                  <a:lnTo>
                    <a:pt x="211" y="432"/>
                  </a:lnTo>
                  <a:lnTo>
                    <a:pt x="211" y="432"/>
                  </a:lnTo>
                  <a:lnTo>
                    <a:pt x="211" y="434"/>
                  </a:lnTo>
                  <a:lnTo>
                    <a:pt x="211" y="434"/>
                  </a:lnTo>
                  <a:lnTo>
                    <a:pt x="211" y="434"/>
                  </a:lnTo>
                  <a:lnTo>
                    <a:pt x="211" y="434"/>
                  </a:lnTo>
                  <a:lnTo>
                    <a:pt x="211" y="434"/>
                  </a:lnTo>
                  <a:lnTo>
                    <a:pt x="211" y="436"/>
                  </a:lnTo>
                  <a:lnTo>
                    <a:pt x="211" y="436"/>
                  </a:lnTo>
                  <a:lnTo>
                    <a:pt x="211" y="439"/>
                  </a:lnTo>
                  <a:lnTo>
                    <a:pt x="211" y="439"/>
                  </a:lnTo>
                  <a:lnTo>
                    <a:pt x="211" y="439"/>
                  </a:lnTo>
                  <a:lnTo>
                    <a:pt x="211" y="439"/>
                  </a:lnTo>
                  <a:lnTo>
                    <a:pt x="211" y="439"/>
                  </a:lnTo>
                  <a:lnTo>
                    <a:pt x="209" y="439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09" y="441"/>
                  </a:lnTo>
                  <a:lnTo>
                    <a:pt x="211" y="443"/>
                  </a:lnTo>
                  <a:lnTo>
                    <a:pt x="211" y="443"/>
                  </a:lnTo>
                  <a:lnTo>
                    <a:pt x="211" y="443"/>
                  </a:lnTo>
                  <a:lnTo>
                    <a:pt x="211" y="445"/>
                  </a:lnTo>
                  <a:lnTo>
                    <a:pt x="211" y="445"/>
                  </a:lnTo>
                  <a:lnTo>
                    <a:pt x="211" y="445"/>
                  </a:lnTo>
                  <a:lnTo>
                    <a:pt x="214" y="445"/>
                  </a:lnTo>
                  <a:lnTo>
                    <a:pt x="214" y="445"/>
                  </a:lnTo>
                  <a:lnTo>
                    <a:pt x="214" y="445"/>
                  </a:lnTo>
                  <a:lnTo>
                    <a:pt x="214" y="445"/>
                  </a:lnTo>
                  <a:lnTo>
                    <a:pt x="214" y="445"/>
                  </a:lnTo>
                  <a:lnTo>
                    <a:pt x="214" y="445"/>
                  </a:lnTo>
                  <a:lnTo>
                    <a:pt x="214" y="448"/>
                  </a:lnTo>
                  <a:lnTo>
                    <a:pt x="216" y="448"/>
                  </a:lnTo>
                  <a:lnTo>
                    <a:pt x="216" y="448"/>
                  </a:lnTo>
                  <a:lnTo>
                    <a:pt x="216" y="448"/>
                  </a:lnTo>
                  <a:lnTo>
                    <a:pt x="216" y="448"/>
                  </a:lnTo>
                  <a:lnTo>
                    <a:pt x="216" y="448"/>
                  </a:lnTo>
                  <a:lnTo>
                    <a:pt x="216" y="450"/>
                  </a:lnTo>
                  <a:lnTo>
                    <a:pt x="216" y="448"/>
                  </a:lnTo>
                  <a:lnTo>
                    <a:pt x="216" y="448"/>
                  </a:lnTo>
                  <a:lnTo>
                    <a:pt x="214" y="448"/>
                  </a:lnTo>
                  <a:lnTo>
                    <a:pt x="214" y="448"/>
                  </a:lnTo>
                  <a:lnTo>
                    <a:pt x="214" y="448"/>
                  </a:lnTo>
                  <a:lnTo>
                    <a:pt x="214" y="448"/>
                  </a:lnTo>
                  <a:lnTo>
                    <a:pt x="214" y="448"/>
                  </a:lnTo>
                  <a:lnTo>
                    <a:pt x="214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4" y="450"/>
                  </a:lnTo>
                  <a:lnTo>
                    <a:pt x="214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8" y="448"/>
                  </a:lnTo>
                  <a:lnTo>
                    <a:pt x="218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6" y="450"/>
                  </a:lnTo>
                  <a:lnTo>
                    <a:pt x="216" y="452"/>
                  </a:lnTo>
                  <a:lnTo>
                    <a:pt x="216" y="452"/>
                  </a:lnTo>
                  <a:lnTo>
                    <a:pt x="216" y="452"/>
                  </a:lnTo>
                  <a:lnTo>
                    <a:pt x="216" y="454"/>
                  </a:lnTo>
                  <a:lnTo>
                    <a:pt x="216" y="454"/>
                  </a:lnTo>
                  <a:lnTo>
                    <a:pt x="214" y="457"/>
                  </a:lnTo>
                  <a:lnTo>
                    <a:pt x="211" y="457"/>
                  </a:lnTo>
                  <a:lnTo>
                    <a:pt x="211" y="459"/>
                  </a:lnTo>
                  <a:lnTo>
                    <a:pt x="209" y="459"/>
                  </a:lnTo>
                  <a:lnTo>
                    <a:pt x="209" y="459"/>
                  </a:lnTo>
                  <a:lnTo>
                    <a:pt x="209" y="459"/>
                  </a:lnTo>
                  <a:lnTo>
                    <a:pt x="209" y="459"/>
                  </a:lnTo>
                  <a:lnTo>
                    <a:pt x="209" y="459"/>
                  </a:lnTo>
                  <a:lnTo>
                    <a:pt x="209" y="459"/>
                  </a:lnTo>
                  <a:lnTo>
                    <a:pt x="209" y="459"/>
                  </a:lnTo>
                  <a:lnTo>
                    <a:pt x="207" y="459"/>
                  </a:lnTo>
                  <a:lnTo>
                    <a:pt x="207" y="459"/>
                  </a:lnTo>
                  <a:lnTo>
                    <a:pt x="207" y="459"/>
                  </a:lnTo>
                  <a:lnTo>
                    <a:pt x="207" y="459"/>
                  </a:lnTo>
                  <a:lnTo>
                    <a:pt x="205" y="461"/>
                  </a:lnTo>
                  <a:lnTo>
                    <a:pt x="202" y="461"/>
                  </a:lnTo>
                  <a:lnTo>
                    <a:pt x="198" y="461"/>
                  </a:lnTo>
                  <a:lnTo>
                    <a:pt x="198" y="461"/>
                  </a:lnTo>
                  <a:lnTo>
                    <a:pt x="198" y="461"/>
                  </a:lnTo>
                  <a:lnTo>
                    <a:pt x="196" y="461"/>
                  </a:lnTo>
                  <a:lnTo>
                    <a:pt x="193" y="461"/>
                  </a:lnTo>
                  <a:lnTo>
                    <a:pt x="191" y="461"/>
                  </a:lnTo>
                  <a:lnTo>
                    <a:pt x="189" y="461"/>
                  </a:lnTo>
                  <a:lnTo>
                    <a:pt x="189" y="461"/>
                  </a:lnTo>
                  <a:lnTo>
                    <a:pt x="187" y="459"/>
                  </a:lnTo>
                  <a:lnTo>
                    <a:pt x="184" y="459"/>
                  </a:lnTo>
                  <a:lnTo>
                    <a:pt x="184" y="459"/>
                  </a:lnTo>
                  <a:lnTo>
                    <a:pt x="184" y="459"/>
                  </a:lnTo>
                  <a:lnTo>
                    <a:pt x="184" y="459"/>
                  </a:lnTo>
                  <a:lnTo>
                    <a:pt x="184" y="459"/>
                  </a:lnTo>
                  <a:lnTo>
                    <a:pt x="184" y="457"/>
                  </a:lnTo>
                  <a:lnTo>
                    <a:pt x="184" y="457"/>
                  </a:lnTo>
                  <a:lnTo>
                    <a:pt x="182" y="457"/>
                  </a:lnTo>
                  <a:lnTo>
                    <a:pt x="182" y="459"/>
                  </a:lnTo>
                  <a:lnTo>
                    <a:pt x="182" y="459"/>
                  </a:lnTo>
                  <a:lnTo>
                    <a:pt x="182" y="459"/>
                  </a:lnTo>
                  <a:lnTo>
                    <a:pt x="175" y="454"/>
                  </a:lnTo>
                  <a:lnTo>
                    <a:pt x="173" y="454"/>
                  </a:lnTo>
                  <a:lnTo>
                    <a:pt x="171" y="454"/>
                  </a:lnTo>
                  <a:lnTo>
                    <a:pt x="169" y="454"/>
                  </a:lnTo>
                  <a:lnTo>
                    <a:pt x="169" y="454"/>
                  </a:lnTo>
                  <a:lnTo>
                    <a:pt x="167" y="454"/>
                  </a:lnTo>
                  <a:lnTo>
                    <a:pt x="167" y="454"/>
                  </a:lnTo>
                  <a:lnTo>
                    <a:pt x="167" y="454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9" y="452"/>
                  </a:lnTo>
                  <a:lnTo>
                    <a:pt x="167" y="450"/>
                  </a:lnTo>
                  <a:lnTo>
                    <a:pt x="164" y="450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7" y="452"/>
                  </a:lnTo>
                  <a:lnTo>
                    <a:pt x="167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4" y="452"/>
                  </a:lnTo>
                  <a:lnTo>
                    <a:pt x="162" y="454"/>
                  </a:lnTo>
                  <a:lnTo>
                    <a:pt x="162" y="454"/>
                  </a:lnTo>
                  <a:lnTo>
                    <a:pt x="162" y="454"/>
                  </a:lnTo>
                  <a:lnTo>
                    <a:pt x="162" y="454"/>
                  </a:lnTo>
                  <a:lnTo>
                    <a:pt x="162" y="454"/>
                  </a:lnTo>
                  <a:lnTo>
                    <a:pt x="162" y="454"/>
                  </a:lnTo>
                  <a:lnTo>
                    <a:pt x="162" y="457"/>
                  </a:lnTo>
                  <a:lnTo>
                    <a:pt x="162" y="457"/>
                  </a:lnTo>
                  <a:lnTo>
                    <a:pt x="162" y="457"/>
                  </a:lnTo>
                  <a:lnTo>
                    <a:pt x="162" y="459"/>
                  </a:lnTo>
                  <a:lnTo>
                    <a:pt x="164" y="461"/>
                  </a:lnTo>
                  <a:lnTo>
                    <a:pt x="167" y="466"/>
                  </a:lnTo>
                  <a:lnTo>
                    <a:pt x="167" y="466"/>
                  </a:lnTo>
                  <a:lnTo>
                    <a:pt x="167" y="466"/>
                  </a:lnTo>
                  <a:lnTo>
                    <a:pt x="167" y="468"/>
                  </a:lnTo>
                  <a:lnTo>
                    <a:pt x="167" y="468"/>
                  </a:lnTo>
                  <a:lnTo>
                    <a:pt x="169" y="470"/>
                  </a:lnTo>
                  <a:lnTo>
                    <a:pt x="169" y="470"/>
                  </a:lnTo>
                  <a:lnTo>
                    <a:pt x="169" y="470"/>
                  </a:lnTo>
                  <a:lnTo>
                    <a:pt x="169" y="472"/>
                  </a:lnTo>
                  <a:lnTo>
                    <a:pt x="169" y="472"/>
                  </a:lnTo>
                  <a:lnTo>
                    <a:pt x="169" y="472"/>
                  </a:lnTo>
                  <a:lnTo>
                    <a:pt x="169" y="472"/>
                  </a:lnTo>
                  <a:lnTo>
                    <a:pt x="169" y="475"/>
                  </a:lnTo>
                  <a:lnTo>
                    <a:pt x="171" y="475"/>
                  </a:lnTo>
                  <a:lnTo>
                    <a:pt x="171" y="477"/>
                  </a:lnTo>
                  <a:lnTo>
                    <a:pt x="171" y="477"/>
                  </a:lnTo>
                  <a:lnTo>
                    <a:pt x="171" y="479"/>
                  </a:lnTo>
                  <a:lnTo>
                    <a:pt x="171" y="479"/>
                  </a:lnTo>
                  <a:lnTo>
                    <a:pt x="171" y="481"/>
                  </a:lnTo>
                  <a:lnTo>
                    <a:pt x="173" y="484"/>
                  </a:lnTo>
                  <a:lnTo>
                    <a:pt x="173" y="484"/>
                  </a:lnTo>
                  <a:lnTo>
                    <a:pt x="175" y="484"/>
                  </a:lnTo>
                  <a:lnTo>
                    <a:pt x="175" y="486"/>
                  </a:lnTo>
                  <a:lnTo>
                    <a:pt x="178" y="486"/>
                  </a:lnTo>
                  <a:lnTo>
                    <a:pt x="178" y="486"/>
                  </a:lnTo>
                  <a:lnTo>
                    <a:pt x="178" y="486"/>
                  </a:lnTo>
                  <a:lnTo>
                    <a:pt x="178" y="486"/>
                  </a:lnTo>
                  <a:lnTo>
                    <a:pt x="178" y="486"/>
                  </a:lnTo>
                  <a:lnTo>
                    <a:pt x="178" y="486"/>
                  </a:lnTo>
                  <a:lnTo>
                    <a:pt x="180" y="486"/>
                  </a:lnTo>
                  <a:lnTo>
                    <a:pt x="180" y="486"/>
                  </a:lnTo>
                  <a:lnTo>
                    <a:pt x="180" y="486"/>
                  </a:lnTo>
                  <a:lnTo>
                    <a:pt x="180" y="486"/>
                  </a:lnTo>
                  <a:lnTo>
                    <a:pt x="182" y="486"/>
                  </a:lnTo>
                  <a:lnTo>
                    <a:pt x="182" y="488"/>
                  </a:lnTo>
                  <a:lnTo>
                    <a:pt x="182" y="488"/>
                  </a:lnTo>
                  <a:lnTo>
                    <a:pt x="182" y="486"/>
                  </a:lnTo>
                  <a:lnTo>
                    <a:pt x="182" y="486"/>
                  </a:lnTo>
                  <a:lnTo>
                    <a:pt x="184" y="486"/>
                  </a:lnTo>
                  <a:lnTo>
                    <a:pt x="184" y="486"/>
                  </a:lnTo>
                  <a:lnTo>
                    <a:pt x="184" y="488"/>
                  </a:lnTo>
                  <a:lnTo>
                    <a:pt x="184" y="488"/>
                  </a:lnTo>
                  <a:lnTo>
                    <a:pt x="184" y="488"/>
                  </a:lnTo>
                  <a:lnTo>
                    <a:pt x="184" y="488"/>
                  </a:lnTo>
                  <a:lnTo>
                    <a:pt x="184" y="488"/>
                  </a:lnTo>
                  <a:lnTo>
                    <a:pt x="182" y="490"/>
                  </a:lnTo>
                  <a:lnTo>
                    <a:pt x="182" y="490"/>
                  </a:lnTo>
                  <a:lnTo>
                    <a:pt x="182" y="490"/>
                  </a:lnTo>
                  <a:lnTo>
                    <a:pt x="182" y="490"/>
                  </a:lnTo>
                  <a:lnTo>
                    <a:pt x="184" y="490"/>
                  </a:lnTo>
                  <a:lnTo>
                    <a:pt x="184" y="490"/>
                  </a:lnTo>
                  <a:lnTo>
                    <a:pt x="187" y="493"/>
                  </a:lnTo>
                  <a:lnTo>
                    <a:pt x="187" y="493"/>
                  </a:lnTo>
                  <a:lnTo>
                    <a:pt x="187" y="493"/>
                  </a:lnTo>
                  <a:lnTo>
                    <a:pt x="187" y="490"/>
                  </a:lnTo>
                  <a:lnTo>
                    <a:pt x="189" y="490"/>
                  </a:lnTo>
                  <a:lnTo>
                    <a:pt x="189" y="490"/>
                  </a:lnTo>
                  <a:lnTo>
                    <a:pt x="191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90"/>
                  </a:lnTo>
                  <a:lnTo>
                    <a:pt x="193" y="488"/>
                  </a:lnTo>
                  <a:lnTo>
                    <a:pt x="193" y="488"/>
                  </a:lnTo>
                  <a:lnTo>
                    <a:pt x="193" y="488"/>
                  </a:lnTo>
                  <a:lnTo>
                    <a:pt x="193" y="488"/>
                  </a:lnTo>
                  <a:lnTo>
                    <a:pt x="193" y="488"/>
                  </a:lnTo>
                  <a:lnTo>
                    <a:pt x="193" y="488"/>
                  </a:lnTo>
                  <a:lnTo>
                    <a:pt x="193" y="488"/>
                  </a:lnTo>
                  <a:lnTo>
                    <a:pt x="191" y="488"/>
                  </a:lnTo>
                  <a:lnTo>
                    <a:pt x="191" y="488"/>
                  </a:lnTo>
                  <a:lnTo>
                    <a:pt x="191" y="488"/>
                  </a:lnTo>
                  <a:lnTo>
                    <a:pt x="191" y="488"/>
                  </a:lnTo>
                  <a:lnTo>
                    <a:pt x="191" y="488"/>
                  </a:lnTo>
                  <a:lnTo>
                    <a:pt x="189" y="488"/>
                  </a:lnTo>
                  <a:lnTo>
                    <a:pt x="187" y="488"/>
                  </a:lnTo>
                  <a:lnTo>
                    <a:pt x="187" y="486"/>
                  </a:lnTo>
                  <a:lnTo>
                    <a:pt x="187" y="486"/>
                  </a:lnTo>
                  <a:lnTo>
                    <a:pt x="189" y="486"/>
                  </a:lnTo>
                  <a:lnTo>
                    <a:pt x="193" y="486"/>
                  </a:lnTo>
                  <a:lnTo>
                    <a:pt x="193" y="484"/>
                  </a:lnTo>
                  <a:lnTo>
                    <a:pt x="196" y="484"/>
                  </a:lnTo>
                  <a:lnTo>
                    <a:pt x="196" y="484"/>
                  </a:lnTo>
                  <a:lnTo>
                    <a:pt x="196" y="484"/>
                  </a:lnTo>
                  <a:lnTo>
                    <a:pt x="198" y="484"/>
                  </a:lnTo>
                  <a:lnTo>
                    <a:pt x="198" y="484"/>
                  </a:lnTo>
                  <a:lnTo>
                    <a:pt x="198" y="486"/>
                  </a:lnTo>
                  <a:lnTo>
                    <a:pt x="200" y="486"/>
                  </a:lnTo>
                  <a:lnTo>
                    <a:pt x="200" y="486"/>
                  </a:lnTo>
                  <a:lnTo>
                    <a:pt x="200" y="486"/>
                  </a:lnTo>
                  <a:lnTo>
                    <a:pt x="200" y="488"/>
                  </a:lnTo>
                  <a:lnTo>
                    <a:pt x="200" y="488"/>
                  </a:lnTo>
                  <a:lnTo>
                    <a:pt x="202" y="488"/>
                  </a:lnTo>
                  <a:lnTo>
                    <a:pt x="202" y="490"/>
                  </a:lnTo>
                  <a:lnTo>
                    <a:pt x="202" y="495"/>
                  </a:lnTo>
                  <a:lnTo>
                    <a:pt x="202" y="497"/>
                  </a:lnTo>
                  <a:lnTo>
                    <a:pt x="202" y="497"/>
                  </a:lnTo>
                  <a:lnTo>
                    <a:pt x="202" y="497"/>
                  </a:lnTo>
                  <a:lnTo>
                    <a:pt x="205" y="499"/>
                  </a:lnTo>
                  <a:lnTo>
                    <a:pt x="202" y="499"/>
                  </a:lnTo>
                  <a:lnTo>
                    <a:pt x="202" y="502"/>
                  </a:lnTo>
                  <a:lnTo>
                    <a:pt x="198" y="502"/>
                  </a:lnTo>
                  <a:lnTo>
                    <a:pt x="198" y="502"/>
                  </a:lnTo>
                  <a:lnTo>
                    <a:pt x="198" y="502"/>
                  </a:lnTo>
                  <a:lnTo>
                    <a:pt x="196" y="502"/>
                  </a:lnTo>
                  <a:lnTo>
                    <a:pt x="196" y="502"/>
                  </a:lnTo>
                  <a:lnTo>
                    <a:pt x="196" y="502"/>
                  </a:lnTo>
                  <a:lnTo>
                    <a:pt x="193" y="502"/>
                  </a:lnTo>
                  <a:lnTo>
                    <a:pt x="193" y="499"/>
                  </a:lnTo>
                  <a:lnTo>
                    <a:pt x="193" y="499"/>
                  </a:lnTo>
                  <a:lnTo>
                    <a:pt x="191" y="499"/>
                  </a:lnTo>
                  <a:lnTo>
                    <a:pt x="191" y="499"/>
                  </a:lnTo>
                  <a:lnTo>
                    <a:pt x="191" y="499"/>
                  </a:lnTo>
                  <a:lnTo>
                    <a:pt x="191" y="497"/>
                  </a:lnTo>
                  <a:lnTo>
                    <a:pt x="191" y="497"/>
                  </a:lnTo>
                  <a:lnTo>
                    <a:pt x="191" y="497"/>
                  </a:lnTo>
                  <a:lnTo>
                    <a:pt x="191" y="497"/>
                  </a:lnTo>
                  <a:lnTo>
                    <a:pt x="191" y="497"/>
                  </a:lnTo>
                  <a:lnTo>
                    <a:pt x="191" y="497"/>
                  </a:lnTo>
                  <a:lnTo>
                    <a:pt x="191" y="495"/>
                  </a:lnTo>
                  <a:lnTo>
                    <a:pt x="191" y="495"/>
                  </a:lnTo>
                  <a:lnTo>
                    <a:pt x="191" y="495"/>
                  </a:lnTo>
                  <a:lnTo>
                    <a:pt x="191" y="495"/>
                  </a:lnTo>
                  <a:lnTo>
                    <a:pt x="191" y="495"/>
                  </a:lnTo>
                  <a:lnTo>
                    <a:pt x="191" y="495"/>
                  </a:lnTo>
                  <a:lnTo>
                    <a:pt x="189" y="495"/>
                  </a:lnTo>
                  <a:lnTo>
                    <a:pt x="189" y="495"/>
                  </a:lnTo>
                  <a:lnTo>
                    <a:pt x="189" y="495"/>
                  </a:lnTo>
                  <a:lnTo>
                    <a:pt x="189" y="495"/>
                  </a:lnTo>
                  <a:lnTo>
                    <a:pt x="189" y="493"/>
                  </a:lnTo>
                  <a:lnTo>
                    <a:pt x="187" y="493"/>
                  </a:lnTo>
                  <a:lnTo>
                    <a:pt x="187" y="493"/>
                  </a:lnTo>
                  <a:lnTo>
                    <a:pt x="184" y="493"/>
                  </a:lnTo>
                  <a:lnTo>
                    <a:pt x="182" y="493"/>
                  </a:lnTo>
                  <a:lnTo>
                    <a:pt x="182" y="493"/>
                  </a:lnTo>
                  <a:lnTo>
                    <a:pt x="182" y="493"/>
                  </a:lnTo>
                  <a:lnTo>
                    <a:pt x="182" y="495"/>
                  </a:lnTo>
                  <a:lnTo>
                    <a:pt x="182" y="495"/>
                  </a:lnTo>
                  <a:lnTo>
                    <a:pt x="182" y="495"/>
                  </a:lnTo>
                  <a:lnTo>
                    <a:pt x="180" y="495"/>
                  </a:lnTo>
                  <a:lnTo>
                    <a:pt x="180" y="495"/>
                  </a:lnTo>
                  <a:lnTo>
                    <a:pt x="180" y="495"/>
                  </a:lnTo>
                  <a:lnTo>
                    <a:pt x="180" y="495"/>
                  </a:lnTo>
                  <a:lnTo>
                    <a:pt x="180" y="495"/>
                  </a:lnTo>
                  <a:lnTo>
                    <a:pt x="178" y="497"/>
                  </a:lnTo>
                  <a:lnTo>
                    <a:pt x="178" y="497"/>
                  </a:lnTo>
                  <a:lnTo>
                    <a:pt x="178" y="497"/>
                  </a:lnTo>
                  <a:lnTo>
                    <a:pt x="178" y="497"/>
                  </a:lnTo>
                  <a:lnTo>
                    <a:pt x="178" y="497"/>
                  </a:lnTo>
                  <a:lnTo>
                    <a:pt x="178" y="499"/>
                  </a:lnTo>
                  <a:lnTo>
                    <a:pt x="178" y="499"/>
                  </a:lnTo>
                  <a:lnTo>
                    <a:pt x="178" y="499"/>
                  </a:lnTo>
                  <a:lnTo>
                    <a:pt x="178" y="499"/>
                  </a:lnTo>
                  <a:lnTo>
                    <a:pt x="178" y="499"/>
                  </a:lnTo>
                  <a:lnTo>
                    <a:pt x="180" y="499"/>
                  </a:lnTo>
                  <a:lnTo>
                    <a:pt x="180" y="502"/>
                  </a:lnTo>
                  <a:lnTo>
                    <a:pt x="182" y="502"/>
                  </a:lnTo>
                  <a:lnTo>
                    <a:pt x="184" y="502"/>
                  </a:lnTo>
                  <a:lnTo>
                    <a:pt x="184" y="502"/>
                  </a:lnTo>
                  <a:lnTo>
                    <a:pt x="184" y="504"/>
                  </a:lnTo>
                  <a:lnTo>
                    <a:pt x="187" y="504"/>
                  </a:lnTo>
                  <a:lnTo>
                    <a:pt x="187" y="504"/>
                  </a:lnTo>
                  <a:lnTo>
                    <a:pt x="187" y="504"/>
                  </a:lnTo>
                  <a:lnTo>
                    <a:pt x="187" y="504"/>
                  </a:lnTo>
                  <a:lnTo>
                    <a:pt x="187" y="504"/>
                  </a:lnTo>
                  <a:lnTo>
                    <a:pt x="189" y="504"/>
                  </a:lnTo>
                  <a:lnTo>
                    <a:pt x="189" y="504"/>
                  </a:lnTo>
                  <a:lnTo>
                    <a:pt x="189" y="504"/>
                  </a:lnTo>
                  <a:lnTo>
                    <a:pt x="189" y="504"/>
                  </a:lnTo>
                  <a:lnTo>
                    <a:pt x="189" y="504"/>
                  </a:lnTo>
                  <a:lnTo>
                    <a:pt x="189" y="504"/>
                  </a:lnTo>
                  <a:lnTo>
                    <a:pt x="189" y="504"/>
                  </a:lnTo>
                  <a:lnTo>
                    <a:pt x="191" y="504"/>
                  </a:lnTo>
                  <a:lnTo>
                    <a:pt x="191" y="504"/>
                  </a:lnTo>
                  <a:lnTo>
                    <a:pt x="191" y="504"/>
                  </a:lnTo>
                  <a:lnTo>
                    <a:pt x="191" y="504"/>
                  </a:lnTo>
                  <a:lnTo>
                    <a:pt x="193" y="504"/>
                  </a:lnTo>
                  <a:lnTo>
                    <a:pt x="193" y="504"/>
                  </a:lnTo>
                  <a:lnTo>
                    <a:pt x="191" y="504"/>
                  </a:lnTo>
                  <a:lnTo>
                    <a:pt x="191" y="506"/>
                  </a:lnTo>
                  <a:lnTo>
                    <a:pt x="189" y="506"/>
                  </a:lnTo>
                  <a:lnTo>
                    <a:pt x="184" y="508"/>
                  </a:lnTo>
                  <a:lnTo>
                    <a:pt x="182" y="511"/>
                  </a:lnTo>
                  <a:lnTo>
                    <a:pt x="182" y="511"/>
                  </a:lnTo>
                  <a:lnTo>
                    <a:pt x="182" y="511"/>
                  </a:lnTo>
                  <a:lnTo>
                    <a:pt x="180" y="511"/>
                  </a:lnTo>
                  <a:lnTo>
                    <a:pt x="180" y="511"/>
                  </a:lnTo>
                  <a:lnTo>
                    <a:pt x="180" y="513"/>
                  </a:lnTo>
                  <a:lnTo>
                    <a:pt x="180" y="513"/>
                  </a:lnTo>
                  <a:lnTo>
                    <a:pt x="180" y="513"/>
                  </a:lnTo>
                  <a:lnTo>
                    <a:pt x="182" y="513"/>
                  </a:lnTo>
                  <a:lnTo>
                    <a:pt x="182" y="513"/>
                  </a:lnTo>
                  <a:lnTo>
                    <a:pt x="180" y="515"/>
                  </a:lnTo>
                  <a:lnTo>
                    <a:pt x="180" y="515"/>
                  </a:lnTo>
                  <a:lnTo>
                    <a:pt x="180" y="515"/>
                  </a:lnTo>
                  <a:lnTo>
                    <a:pt x="180" y="517"/>
                  </a:lnTo>
                  <a:lnTo>
                    <a:pt x="180" y="517"/>
                  </a:lnTo>
                  <a:lnTo>
                    <a:pt x="178" y="517"/>
                  </a:lnTo>
                  <a:lnTo>
                    <a:pt x="178" y="517"/>
                  </a:lnTo>
                  <a:lnTo>
                    <a:pt x="178" y="520"/>
                  </a:lnTo>
                  <a:lnTo>
                    <a:pt x="178" y="520"/>
                  </a:lnTo>
                  <a:lnTo>
                    <a:pt x="178" y="520"/>
                  </a:lnTo>
                  <a:lnTo>
                    <a:pt x="178" y="520"/>
                  </a:lnTo>
                  <a:lnTo>
                    <a:pt x="178" y="522"/>
                  </a:lnTo>
                  <a:lnTo>
                    <a:pt x="178" y="522"/>
                  </a:lnTo>
                  <a:lnTo>
                    <a:pt x="180" y="522"/>
                  </a:lnTo>
                  <a:lnTo>
                    <a:pt x="180" y="524"/>
                  </a:lnTo>
                  <a:lnTo>
                    <a:pt x="180" y="524"/>
                  </a:lnTo>
                  <a:lnTo>
                    <a:pt x="180" y="524"/>
                  </a:lnTo>
                  <a:lnTo>
                    <a:pt x="180" y="524"/>
                  </a:lnTo>
                  <a:lnTo>
                    <a:pt x="180" y="524"/>
                  </a:lnTo>
                  <a:lnTo>
                    <a:pt x="180" y="524"/>
                  </a:lnTo>
                  <a:lnTo>
                    <a:pt x="180" y="526"/>
                  </a:lnTo>
                  <a:lnTo>
                    <a:pt x="180" y="526"/>
                  </a:lnTo>
                  <a:lnTo>
                    <a:pt x="180" y="526"/>
                  </a:lnTo>
                  <a:lnTo>
                    <a:pt x="180" y="526"/>
                  </a:lnTo>
                  <a:lnTo>
                    <a:pt x="180" y="526"/>
                  </a:lnTo>
                  <a:lnTo>
                    <a:pt x="182" y="526"/>
                  </a:lnTo>
                  <a:lnTo>
                    <a:pt x="182" y="526"/>
                  </a:lnTo>
                  <a:lnTo>
                    <a:pt x="182" y="526"/>
                  </a:lnTo>
                  <a:lnTo>
                    <a:pt x="182" y="526"/>
                  </a:lnTo>
                  <a:lnTo>
                    <a:pt x="182" y="529"/>
                  </a:lnTo>
                  <a:lnTo>
                    <a:pt x="182" y="529"/>
                  </a:lnTo>
                  <a:lnTo>
                    <a:pt x="182" y="529"/>
                  </a:lnTo>
                  <a:lnTo>
                    <a:pt x="182" y="529"/>
                  </a:lnTo>
                  <a:lnTo>
                    <a:pt x="182" y="529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1"/>
                  </a:lnTo>
                  <a:lnTo>
                    <a:pt x="182" y="533"/>
                  </a:lnTo>
                  <a:lnTo>
                    <a:pt x="182" y="533"/>
                  </a:lnTo>
                  <a:lnTo>
                    <a:pt x="182" y="533"/>
                  </a:lnTo>
                  <a:lnTo>
                    <a:pt x="182" y="533"/>
                  </a:lnTo>
                  <a:lnTo>
                    <a:pt x="182" y="533"/>
                  </a:lnTo>
                  <a:lnTo>
                    <a:pt x="182" y="533"/>
                  </a:lnTo>
                  <a:lnTo>
                    <a:pt x="182" y="535"/>
                  </a:lnTo>
                  <a:lnTo>
                    <a:pt x="182" y="535"/>
                  </a:lnTo>
                  <a:lnTo>
                    <a:pt x="182" y="535"/>
                  </a:lnTo>
                  <a:lnTo>
                    <a:pt x="182" y="535"/>
                  </a:lnTo>
                  <a:lnTo>
                    <a:pt x="184" y="535"/>
                  </a:lnTo>
                  <a:lnTo>
                    <a:pt x="184" y="535"/>
                  </a:lnTo>
                  <a:lnTo>
                    <a:pt x="184" y="535"/>
                  </a:lnTo>
                  <a:lnTo>
                    <a:pt x="184" y="535"/>
                  </a:lnTo>
                  <a:lnTo>
                    <a:pt x="184" y="538"/>
                  </a:lnTo>
                  <a:lnTo>
                    <a:pt x="184" y="538"/>
                  </a:lnTo>
                  <a:lnTo>
                    <a:pt x="182" y="538"/>
                  </a:lnTo>
                  <a:lnTo>
                    <a:pt x="182" y="538"/>
                  </a:lnTo>
                  <a:lnTo>
                    <a:pt x="182" y="538"/>
                  </a:lnTo>
                  <a:lnTo>
                    <a:pt x="182" y="538"/>
                  </a:lnTo>
                  <a:lnTo>
                    <a:pt x="182" y="538"/>
                  </a:lnTo>
                  <a:lnTo>
                    <a:pt x="184" y="538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2" y="540"/>
                  </a:lnTo>
                  <a:lnTo>
                    <a:pt x="182" y="542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0"/>
                  </a:lnTo>
                  <a:lnTo>
                    <a:pt x="182" y="542"/>
                  </a:lnTo>
                  <a:lnTo>
                    <a:pt x="182" y="542"/>
                  </a:lnTo>
                  <a:lnTo>
                    <a:pt x="182" y="542"/>
                  </a:lnTo>
                  <a:lnTo>
                    <a:pt x="182" y="542"/>
                  </a:lnTo>
                  <a:lnTo>
                    <a:pt x="182" y="542"/>
                  </a:lnTo>
                  <a:lnTo>
                    <a:pt x="180" y="542"/>
                  </a:lnTo>
                  <a:lnTo>
                    <a:pt x="180" y="542"/>
                  </a:lnTo>
                  <a:lnTo>
                    <a:pt x="180" y="542"/>
                  </a:lnTo>
                  <a:lnTo>
                    <a:pt x="180" y="542"/>
                  </a:lnTo>
                  <a:lnTo>
                    <a:pt x="180" y="542"/>
                  </a:lnTo>
                  <a:lnTo>
                    <a:pt x="180" y="544"/>
                  </a:lnTo>
                  <a:lnTo>
                    <a:pt x="178" y="544"/>
                  </a:lnTo>
                  <a:lnTo>
                    <a:pt x="178" y="544"/>
                  </a:lnTo>
                  <a:lnTo>
                    <a:pt x="178" y="544"/>
                  </a:lnTo>
                  <a:lnTo>
                    <a:pt x="178" y="544"/>
                  </a:lnTo>
                  <a:lnTo>
                    <a:pt x="178" y="547"/>
                  </a:lnTo>
                  <a:lnTo>
                    <a:pt x="178" y="547"/>
                  </a:lnTo>
                  <a:lnTo>
                    <a:pt x="180" y="547"/>
                  </a:lnTo>
                  <a:lnTo>
                    <a:pt x="180" y="549"/>
                  </a:lnTo>
                  <a:lnTo>
                    <a:pt x="180" y="549"/>
                  </a:lnTo>
                  <a:lnTo>
                    <a:pt x="180" y="549"/>
                  </a:lnTo>
                  <a:lnTo>
                    <a:pt x="182" y="549"/>
                  </a:lnTo>
                  <a:lnTo>
                    <a:pt x="182" y="549"/>
                  </a:lnTo>
                  <a:lnTo>
                    <a:pt x="182" y="549"/>
                  </a:lnTo>
                  <a:lnTo>
                    <a:pt x="182" y="549"/>
                  </a:lnTo>
                  <a:lnTo>
                    <a:pt x="182" y="549"/>
                  </a:lnTo>
                  <a:lnTo>
                    <a:pt x="182" y="549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1"/>
                  </a:lnTo>
                  <a:lnTo>
                    <a:pt x="182" y="553"/>
                  </a:lnTo>
                  <a:lnTo>
                    <a:pt x="182" y="551"/>
                  </a:lnTo>
                  <a:lnTo>
                    <a:pt x="182" y="553"/>
                  </a:lnTo>
                  <a:lnTo>
                    <a:pt x="182" y="553"/>
                  </a:lnTo>
                  <a:lnTo>
                    <a:pt x="180" y="551"/>
                  </a:lnTo>
                  <a:lnTo>
                    <a:pt x="180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8" y="551"/>
                  </a:lnTo>
                  <a:lnTo>
                    <a:pt x="175" y="551"/>
                  </a:lnTo>
                  <a:lnTo>
                    <a:pt x="175" y="551"/>
                  </a:lnTo>
                  <a:lnTo>
                    <a:pt x="175" y="551"/>
                  </a:lnTo>
                  <a:lnTo>
                    <a:pt x="175" y="551"/>
                  </a:lnTo>
                  <a:lnTo>
                    <a:pt x="173" y="551"/>
                  </a:lnTo>
                  <a:lnTo>
                    <a:pt x="173" y="551"/>
                  </a:lnTo>
                  <a:lnTo>
                    <a:pt x="171" y="551"/>
                  </a:lnTo>
                  <a:lnTo>
                    <a:pt x="171" y="551"/>
                  </a:lnTo>
                  <a:lnTo>
                    <a:pt x="171" y="551"/>
                  </a:lnTo>
                  <a:lnTo>
                    <a:pt x="171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9" y="553"/>
                  </a:lnTo>
                  <a:lnTo>
                    <a:pt x="167" y="553"/>
                  </a:lnTo>
                  <a:lnTo>
                    <a:pt x="167" y="553"/>
                  </a:lnTo>
                  <a:lnTo>
                    <a:pt x="167" y="553"/>
                  </a:lnTo>
                  <a:lnTo>
                    <a:pt x="167" y="553"/>
                  </a:lnTo>
                  <a:lnTo>
                    <a:pt x="167" y="556"/>
                  </a:lnTo>
                  <a:lnTo>
                    <a:pt x="167" y="556"/>
                  </a:lnTo>
                  <a:lnTo>
                    <a:pt x="167" y="556"/>
                  </a:lnTo>
                  <a:lnTo>
                    <a:pt x="164" y="556"/>
                  </a:lnTo>
                  <a:lnTo>
                    <a:pt x="164" y="556"/>
                  </a:lnTo>
                  <a:lnTo>
                    <a:pt x="164" y="556"/>
                  </a:lnTo>
                  <a:lnTo>
                    <a:pt x="167" y="556"/>
                  </a:lnTo>
                  <a:lnTo>
                    <a:pt x="167" y="556"/>
                  </a:lnTo>
                  <a:lnTo>
                    <a:pt x="167" y="556"/>
                  </a:lnTo>
                  <a:lnTo>
                    <a:pt x="167" y="556"/>
                  </a:lnTo>
                  <a:lnTo>
                    <a:pt x="164" y="556"/>
                  </a:lnTo>
                  <a:lnTo>
                    <a:pt x="160" y="556"/>
                  </a:lnTo>
                  <a:lnTo>
                    <a:pt x="160" y="558"/>
                  </a:lnTo>
                  <a:lnTo>
                    <a:pt x="160" y="558"/>
                  </a:lnTo>
                  <a:lnTo>
                    <a:pt x="160" y="558"/>
                  </a:lnTo>
                  <a:lnTo>
                    <a:pt x="158" y="558"/>
                  </a:lnTo>
                  <a:lnTo>
                    <a:pt x="158" y="560"/>
                  </a:lnTo>
                  <a:lnTo>
                    <a:pt x="158" y="560"/>
                  </a:lnTo>
                  <a:lnTo>
                    <a:pt x="158" y="560"/>
                  </a:lnTo>
                  <a:lnTo>
                    <a:pt x="158" y="562"/>
                  </a:lnTo>
                  <a:lnTo>
                    <a:pt x="158" y="562"/>
                  </a:lnTo>
                  <a:lnTo>
                    <a:pt x="158" y="562"/>
                  </a:lnTo>
                  <a:lnTo>
                    <a:pt x="158" y="565"/>
                  </a:lnTo>
                  <a:lnTo>
                    <a:pt x="158" y="565"/>
                  </a:lnTo>
                  <a:lnTo>
                    <a:pt x="155" y="565"/>
                  </a:lnTo>
                  <a:lnTo>
                    <a:pt x="155" y="565"/>
                  </a:lnTo>
                  <a:lnTo>
                    <a:pt x="155" y="567"/>
                  </a:lnTo>
                  <a:lnTo>
                    <a:pt x="155" y="567"/>
                  </a:lnTo>
                  <a:lnTo>
                    <a:pt x="155" y="567"/>
                  </a:lnTo>
                  <a:lnTo>
                    <a:pt x="155" y="567"/>
                  </a:lnTo>
                  <a:lnTo>
                    <a:pt x="155" y="567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69"/>
                  </a:lnTo>
                  <a:lnTo>
                    <a:pt x="155" y="571"/>
                  </a:lnTo>
                  <a:lnTo>
                    <a:pt x="155" y="571"/>
                  </a:lnTo>
                  <a:lnTo>
                    <a:pt x="153" y="574"/>
                  </a:lnTo>
                  <a:lnTo>
                    <a:pt x="153" y="574"/>
                  </a:lnTo>
                  <a:lnTo>
                    <a:pt x="153" y="574"/>
                  </a:lnTo>
                  <a:lnTo>
                    <a:pt x="153" y="574"/>
                  </a:lnTo>
                  <a:lnTo>
                    <a:pt x="153" y="576"/>
                  </a:lnTo>
                  <a:lnTo>
                    <a:pt x="153" y="576"/>
                  </a:lnTo>
                  <a:lnTo>
                    <a:pt x="153" y="578"/>
                  </a:lnTo>
                  <a:lnTo>
                    <a:pt x="153" y="578"/>
                  </a:lnTo>
                  <a:lnTo>
                    <a:pt x="153" y="578"/>
                  </a:lnTo>
                  <a:lnTo>
                    <a:pt x="155" y="583"/>
                  </a:lnTo>
                  <a:lnTo>
                    <a:pt x="158" y="585"/>
                  </a:lnTo>
                  <a:lnTo>
                    <a:pt x="158" y="585"/>
                  </a:lnTo>
                  <a:lnTo>
                    <a:pt x="160" y="589"/>
                  </a:lnTo>
                  <a:lnTo>
                    <a:pt x="162" y="589"/>
                  </a:lnTo>
                  <a:lnTo>
                    <a:pt x="162" y="589"/>
                  </a:lnTo>
                  <a:lnTo>
                    <a:pt x="164" y="589"/>
                  </a:lnTo>
                  <a:lnTo>
                    <a:pt x="164" y="589"/>
                  </a:lnTo>
                  <a:lnTo>
                    <a:pt x="164" y="589"/>
                  </a:lnTo>
                  <a:lnTo>
                    <a:pt x="164" y="592"/>
                  </a:lnTo>
                  <a:lnTo>
                    <a:pt x="164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7" y="592"/>
                  </a:lnTo>
                  <a:lnTo>
                    <a:pt x="169" y="594"/>
                  </a:lnTo>
                  <a:lnTo>
                    <a:pt x="169" y="594"/>
                  </a:lnTo>
                  <a:lnTo>
                    <a:pt x="169" y="594"/>
                  </a:lnTo>
                  <a:lnTo>
                    <a:pt x="169" y="594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1" y="594"/>
                  </a:lnTo>
                  <a:lnTo>
                    <a:pt x="173" y="596"/>
                  </a:lnTo>
                  <a:lnTo>
                    <a:pt x="175" y="598"/>
                  </a:lnTo>
                  <a:lnTo>
                    <a:pt x="175" y="598"/>
                  </a:lnTo>
                  <a:lnTo>
                    <a:pt x="178" y="598"/>
                  </a:lnTo>
                  <a:lnTo>
                    <a:pt x="178" y="601"/>
                  </a:lnTo>
                  <a:lnTo>
                    <a:pt x="180" y="598"/>
                  </a:lnTo>
                  <a:lnTo>
                    <a:pt x="180" y="601"/>
                  </a:lnTo>
                  <a:lnTo>
                    <a:pt x="180" y="601"/>
                  </a:lnTo>
                  <a:lnTo>
                    <a:pt x="180" y="598"/>
                  </a:lnTo>
                  <a:lnTo>
                    <a:pt x="180" y="598"/>
                  </a:lnTo>
                  <a:lnTo>
                    <a:pt x="182" y="598"/>
                  </a:lnTo>
                  <a:lnTo>
                    <a:pt x="182" y="601"/>
                  </a:lnTo>
                  <a:lnTo>
                    <a:pt x="182" y="601"/>
                  </a:lnTo>
                  <a:lnTo>
                    <a:pt x="184" y="601"/>
                  </a:lnTo>
                  <a:lnTo>
                    <a:pt x="184" y="601"/>
                  </a:lnTo>
                  <a:lnTo>
                    <a:pt x="184" y="601"/>
                  </a:lnTo>
                  <a:lnTo>
                    <a:pt x="184" y="601"/>
                  </a:lnTo>
                  <a:lnTo>
                    <a:pt x="184" y="601"/>
                  </a:lnTo>
                  <a:lnTo>
                    <a:pt x="189" y="601"/>
                  </a:lnTo>
                  <a:lnTo>
                    <a:pt x="191" y="601"/>
                  </a:lnTo>
                  <a:lnTo>
                    <a:pt x="191" y="601"/>
                  </a:lnTo>
                  <a:lnTo>
                    <a:pt x="191" y="601"/>
                  </a:lnTo>
                  <a:lnTo>
                    <a:pt x="191" y="601"/>
                  </a:lnTo>
                  <a:lnTo>
                    <a:pt x="193" y="601"/>
                  </a:lnTo>
                  <a:lnTo>
                    <a:pt x="193" y="601"/>
                  </a:lnTo>
                  <a:lnTo>
                    <a:pt x="193" y="603"/>
                  </a:lnTo>
                  <a:lnTo>
                    <a:pt x="196" y="603"/>
                  </a:lnTo>
                  <a:lnTo>
                    <a:pt x="196" y="603"/>
                  </a:lnTo>
                  <a:lnTo>
                    <a:pt x="196" y="603"/>
                  </a:lnTo>
                  <a:lnTo>
                    <a:pt x="196" y="603"/>
                  </a:lnTo>
                  <a:lnTo>
                    <a:pt x="196" y="603"/>
                  </a:lnTo>
                  <a:lnTo>
                    <a:pt x="196" y="605"/>
                  </a:lnTo>
                  <a:lnTo>
                    <a:pt x="198" y="605"/>
                  </a:lnTo>
                  <a:lnTo>
                    <a:pt x="198" y="605"/>
                  </a:lnTo>
                  <a:lnTo>
                    <a:pt x="198" y="607"/>
                  </a:lnTo>
                  <a:lnTo>
                    <a:pt x="198" y="612"/>
                  </a:lnTo>
                  <a:lnTo>
                    <a:pt x="198" y="612"/>
                  </a:lnTo>
                  <a:lnTo>
                    <a:pt x="198" y="612"/>
                  </a:lnTo>
                  <a:lnTo>
                    <a:pt x="198" y="614"/>
                  </a:lnTo>
                  <a:lnTo>
                    <a:pt x="198" y="616"/>
                  </a:lnTo>
                  <a:lnTo>
                    <a:pt x="198" y="616"/>
                  </a:lnTo>
                  <a:lnTo>
                    <a:pt x="196" y="616"/>
                  </a:lnTo>
                  <a:lnTo>
                    <a:pt x="196" y="616"/>
                  </a:lnTo>
                  <a:lnTo>
                    <a:pt x="196" y="616"/>
                  </a:lnTo>
                  <a:lnTo>
                    <a:pt x="196" y="616"/>
                  </a:lnTo>
                  <a:lnTo>
                    <a:pt x="196" y="616"/>
                  </a:lnTo>
                  <a:lnTo>
                    <a:pt x="193" y="619"/>
                  </a:lnTo>
                  <a:lnTo>
                    <a:pt x="193" y="619"/>
                  </a:lnTo>
                  <a:lnTo>
                    <a:pt x="191" y="619"/>
                  </a:lnTo>
                  <a:lnTo>
                    <a:pt x="191" y="619"/>
                  </a:lnTo>
                  <a:lnTo>
                    <a:pt x="189" y="619"/>
                  </a:lnTo>
                  <a:lnTo>
                    <a:pt x="189" y="619"/>
                  </a:lnTo>
                  <a:lnTo>
                    <a:pt x="191" y="619"/>
                  </a:lnTo>
                  <a:lnTo>
                    <a:pt x="191" y="619"/>
                  </a:lnTo>
                  <a:lnTo>
                    <a:pt x="193" y="619"/>
                  </a:lnTo>
                  <a:lnTo>
                    <a:pt x="193" y="619"/>
                  </a:lnTo>
                  <a:lnTo>
                    <a:pt x="193" y="619"/>
                  </a:lnTo>
                  <a:lnTo>
                    <a:pt x="196" y="616"/>
                  </a:lnTo>
                  <a:lnTo>
                    <a:pt x="198" y="616"/>
                  </a:lnTo>
                  <a:lnTo>
                    <a:pt x="198" y="616"/>
                  </a:lnTo>
                  <a:lnTo>
                    <a:pt x="198" y="619"/>
                  </a:lnTo>
                  <a:lnTo>
                    <a:pt x="200" y="619"/>
                  </a:lnTo>
                  <a:lnTo>
                    <a:pt x="200" y="619"/>
                  </a:lnTo>
                  <a:lnTo>
                    <a:pt x="200" y="621"/>
                  </a:lnTo>
                  <a:lnTo>
                    <a:pt x="202" y="621"/>
                  </a:lnTo>
                  <a:lnTo>
                    <a:pt x="202" y="621"/>
                  </a:lnTo>
                  <a:lnTo>
                    <a:pt x="200" y="621"/>
                  </a:lnTo>
                  <a:lnTo>
                    <a:pt x="202" y="621"/>
                  </a:lnTo>
                  <a:lnTo>
                    <a:pt x="202" y="621"/>
                  </a:lnTo>
                  <a:lnTo>
                    <a:pt x="202" y="621"/>
                  </a:lnTo>
                  <a:lnTo>
                    <a:pt x="200" y="621"/>
                  </a:lnTo>
                  <a:lnTo>
                    <a:pt x="200" y="621"/>
                  </a:lnTo>
                  <a:lnTo>
                    <a:pt x="200" y="621"/>
                  </a:lnTo>
                  <a:lnTo>
                    <a:pt x="200" y="621"/>
                  </a:lnTo>
                  <a:lnTo>
                    <a:pt x="198" y="621"/>
                  </a:lnTo>
                  <a:lnTo>
                    <a:pt x="198" y="621"/>
                  </a:lnTo>
                  <a:lnTo>
                    <a:pt x="198" y="621"/>
                  </a:lnTo>
                  <a:lnTo>
                    <a:pt x="198" y="621"/>
                  </a:lnTo>
                  <a:lnTo>
                    <a:pt x="198" y="621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200" y="623"/>
                  </a:lnTo>
                  <a:lnTo>
                    <a:pt x="198" y="623"/>
                  </a:lnTo>
                  <a:lnTo>
                    <a:pt x="198" y="623"/>
                  </a:lnTo>
                  <a:lnTo>
                    <a:pt x="198" y="625"/>
                  </a:lnTo>
                  <a:lnTo>
                    <a:pt x="198" y="625"/>
                  </a:lnTo>
                  <a:lnTo>
                    <a:pt x="198" y="625"/>
                  </a:lnTo>
                  <a:lnTo>
                    <a:pt x="196" y="625"/>
                  </a:lnTo>
                  <a:lnTo>
                    <a:pt x="196" y="625"/>
                  </a:lnTo>
                  <a:lnTo>
                    <a:pt x="196" y="625"/>
                  </a:lnTo>
                  <a:lnTo>
                    <a:pt x="193" y="628"/>
                  </a:lnTo>
                  <a:lnTo>
                    <a:pt x="193" y="628"/>
                  </a:lnTo>
                  <a:lnTo>
                    <a:pt x="193" y="628"/>
                  </a:lnTo>
                  <a:lnTo>
                    <a:pt x="193" y="628"/>
                  </a:lnTo>
                  <a:lnTo>
                    <a:pt x="193" y="630"/>
                  </a:lnTo>
                  <a:lnTo>
                    <a:pt x="196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3" y="630"/>
                  </a:lnTo>
                  <a:lnTo>
                    <a:pt x="191" y="632"/>
                  </a:lnTo>
                  <a:lnTo>
                    <a:pt x="191" y="632"/>
                  </a:lnTo>
                  <a:lnTo>
                    <a:pt x="191" y="632"/>
                  </a:lnTo>
                  <a:lnTo>
                    <a:pt x="189" y="632"/>
                  </a:lnTo>
                  <a:lnTo>
                    <a:pt x="189" y="632"/>
                  </a:lnTo>
                  <a:lnTo>
                    <a:pt x="189" y="632"/>
                  </a:lnTo>
                  <a:lnTo>
                    <a:pt x="189" y="634"/>
                  </a:lnTo>
                  <a:lnTo>
                    <a:pt x="187" y="634"/>
                  </a:lnTo>
                  <a:lnTo>
                    <a:pt x="187" y="634"/>
                  </a:lnTo>
                  <a:lnTo>
                    <a:pt x="187" y="634"/>
                  </a:lnTo>
                  <a:lnTo>
                    <a:pt x="187" y="634"/>
                  </a:lnTo>
                  <a:lnTo>
                    <a:pt x="187" y="634"/>
                  </a:lnTo>
                  <a:lnTo>
                    <a:pt x="187" y="634"/>
                  </a:lnTo>
                  <a:lnTo>
                    <a:pt x="187" y="634"/>
                  </a:lnTo>
                  <a:lnTo>
                    <a:pt x="182" y="637"/>
                  </a:lnTo>
                  <a:lnTo>
                    <a:pt x="182" y="637"/>
                  </a:lnTo>
                  <a:lnTo>
                    <a:pt x="182" y="639"/>
                  </a:lnTo>
                  <a:lnTo>
                    <a:pt x="182" y="639"/>
                  </a:lnTo>
                  <a:lnTo>
                    <a:pt x="182" y="639"/>
                  </a:lnTo>
                  <a:lnTo>
                    <a:pt x="182" y="641"/>
                  </a:lnTo>
                  <a:lnTo>
                    <a:pt x="182" y="641"/>
                  </a:lnTo>
                  <a:lnTo>
                    <a:pt x="182" y="641"/>
                  </a:lnTo>
                  <a:lnTo>
                    <a:pt x="182" y="641"/>
                  </a:lnTo>
                  <a:lnTo>
                    <a:pt x="180" y="641"/>
                  </a:lnTo>
                  <a:lnTo>
                    <a:pt x="180" y="641"/>
                  </a:lnTo>
                  <a:lnTo>
                    <a:pt x="178" y="646"/>
                  </a:lnTo>
                  <a:lnTo>
                    <a:pt x="178" y="646"/>
                  </a:lnTo>
                  <a:lnTo>
                    <a:pt x="178" y="648"/>
                  </a:lnTo>
                  <a:lnTo>
                    <a:pt x="178" y="648"/>
                  </a:lnTo>
                  <a:lnTo>
                    <a:pt x="178" y="648"/>
                  </a:lnTo>
                  <a:lnTo>
                    <a:pt x="178" y="648"/>
                  </a:lnTo>
                  <a:lnTo>
                    <a:pt x="178" y="648"/>
                  </a:lnTo>
                  <a:lnTo>
                    <a:pt x="178" y="648"/>
                  </a:lnTo>
                  <a:lnTo>
                    <a:pt x="178" y="648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5" y="650"/>
                  </a:lnTo>
                  <a:lnTo>
                    <a:pt x="178" y="652"/>
                  </a:lnTo>
                  <a:lnTo>
                    <a:pt x="178" y="652"/>
                  </a:lnTo>
                  <a:lnTo>
                    <a:pt x="178" y="652"/>
                  </a:lnTo>
                  <a:lnTo>
                    <a:pt x="178" y="652"/>
                  </a:lnTo>
                  <a:lnTo>
                    <a:pt x="178" y="652"/>
                  </a:lnTo>
                  <a:lnTo>
                    <a:pt x="175" y="652"/>
                  </a:lnTo>
                  <a:lnTo>
                    <a:pt x="175" y="652"/>
                  </a:lnTo>
                  <a:lnTo>
                    <a:pt x="175" y="652"/>
                  </a:lnTo>
                  <a:lnTo>
                    <a:pt x="175" y="652"/>
                  </a:lnTo>
                  <a:lnTo>
                    <a:pt x="175" y="652"/>
                  </a:lnTo>
                  <a:lnTo>
                    <a:pt x="175" y="655"/>
                  </a:lnTo>
                  <a:lnTo>
                    <a:pt x="175" y="655"/>
                  </a:lnTo>
                  <a:lnTo>
                    <a:pt x="175" y="655"/>
                  </a:lnTo>
                  <a:lnTo>
                    <a:pt x="175" y="655"/>
                  </a:lnTo>
                  <a:lnTo>
                    <a:pt x="178" y="655"/>
                  </a:lnTo>
                  <a:lnTo>
                    <a:pt x="178" y="655"/>
                  </a:lnTo>
                  <a:lnTo>
                    <a:pt x="178" y="652"/>
                  </a:lnTo>
                  <a:lnTo>
                    <a:pt x="178" y="652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0"/>
                  </a:lnTo>
                  <a:lnTo>
                    <a:pt x="178" y="652"/>
                  </a:lnTo>
                  <a:lnTo>
                    <a:pt x="178" y="655"/>
                  </a:lnTo>
                  <a:lnTo>
                    <a:pt x="180" y="655"/>
                  </a:lnTo>
                  <a:lnTo>
                    <a:pt x="180" y="655"/>
                  </a:lnTo>
                  <a:lnTo>
                    <a:pt x="180" y="657"/>
                  </a:lnTo>
                  <a:lnTo>
                    <a:pt x="180" y="657"/>
                  </a:lnTo>
                  <a:lnTo>
                    <a:pt x="180" y="657"/>
                  </a:lnTo>
                  <a:lnTo>
                    <a:pt x="180" y="659"/>
                  </a:lnTo>
                  <a:lnTo>
                    <a:pt x="180" y="659"/>
                  </a:lnTo>
                  <a:lnTo>
                    <a:pt x="180" y="659"/>
                  </a:lnTo>
                  <a:lnTo>
                    <a:pt x="180" y="663"/>
                  </a:lnTo>
                  <a:lnTo>
                    <a:pt x="180" y="666"/>
                  </a:lnTo>
                  <a:lnTo>
                    <a:pt x="180" y="666"/>
                  </a:lnTo>
                  <a:lnTo>
                    <a:pt x="180" y="666"/>
                  </a:lnTo>
                  <a:lnTo>
                    <a:pt x="180" y="666"/>
                  </a:lnTo>
                  <a:lnTo>
                    <a:pt x="180" y="666"/>
                  </a:lnTo>
                  <a:lnTo>
                    <a:pt x="180" y="666"/>
                  </a:lnTo>
                  <a:lnTo>
                    <a:pt x="178" y="668"/>
                  </a:lnTo>
                  <a:lnTo>
                    <a:pt x="175" y="670"/>
                  </a:lnTo>
                  <a:lnTo>
                    <a:pt x="173" y="670"/>
                  </a:lnTo>
                  <a:lnTo>
                    <a:pt x="173" y="670"/>
                  </a:lnTo>
                  <a:lnTo>
                    <a:pt x="173" y="670"/>
                  </a:lnTo>
                  <a:lnTo>
                    <a:pt x="171" y="670"/>
                  </a:lnTo>
                  <a:lnTo>
                    <a:pt x="171" y="670"/>
                  </a:lnTo>
                  <a:lnTo>
                    <a:pt x="171" y="670"/>
                  </a:lnTo>
                  <a:lnTo>
                    <a:pt x="169" y="668"/>
                  </a:lnTo>
                  <a:lnTo>
                    <a:pt x="169" y="668"/>
                  </a:lnTo>
                  <a:lnTo>
                    <a:pt x="169" y="668"/>
                  </a:lnTo>
                  <a:lnTo>
                    <a:pt x="169" y="668"/>
                  </a:lnTo>
                  <a:lnTo>
                    <a:pt x="169" y="666"/>
                  </a:lnTo>
                  <a:lnTo>
                    <a:pt x="167" y="666"/>
                  </a:lnTo>
                  <a:lnTo>
                    <a:pt x="167" y="666"/>
                  </a:lnTo>
                  <a:lnTo>
                    <a:pt x="167" y="663"/>
                  </a:lnTo>
                  <a:lnTo>
                    <a:pt x="164" y="663"/>
                  </a:lnTo>
                  <a:lnTo>
                    <a:pt x="164" y="663"/>
                  </a:lnTo>
                  <a:lnTo>
                    <a:pt x="164" y="661"/>
                  </a:lnTo>
                  <a:lnTo>
                    <a:pt x="164" y="661"/>
                  </a:lnTo>
                  <a:lnTo>
                    <a:pt x="162" y="661"/>
                  </a:lnTo>
                  <a:lnTo>
                    <a:pt x="162" y="661"/>
                  </a:lnTo>
                  <a:lnTo>
                    <a:pt x="162" y="661"/>
                  </a:lnTo>
                  <a:lnTo>
                    <a:pt x="164" y="661"/>
                  </a:lnTo>
                  <a:lnTo>
                    <a:pt x="164" y="663"/>
                  </a:lnTo>
                  <a:lnTo>
                    <a:pt x="164" y="663"/>
                  </a:lnTo>
                  <a:lnTo>
                    <a:pt x="164" y="663"/>
                  </a:lnTo>
                  <a:lnTo>
                    <a:pt x="164" y="666"/>
                  </a:lnTo>
                  <a:lnTo>
                    <a:pt x="167" y="666"/>
                  </a:lnTo>
                  <a:lnTo>
                    <a:pt x="167" y="666"/>
                  </a:lnTo>
                  <a:lnTo>
                    <a:pt x="167" y="666"/>
                  </a:lnTo>
                  <a:lnTo>
                    <a:pt x="167" y="668"/>
                  </a:lnTo>
                  <a:lnTo>
                    <a:pt x="164" y="668"/>
                  </a:lnTo>
                  <a:lnTo>
                    <a:pt x="164" y="668"/>
                  </a:lnTo>
                  <a:lnTo>
                    <a:pt x="164" y="668"/>
                  </a:lnTo>
                  <a:lnTo>
                    <a:pt x="162" y="668"/>
                  </a:lnTo>
                  <a:lnTo>
                    <a:pt x="160" y="668"/>
                  </a:lnTo>
                  <a:lnTo>
                    <a:pt x="160" y="668"/>
                  </a:lnTo>
                  <a:lnTo>
                    <a:pt x="160" y="668"/>
                  </a:lnTo>
                  <a:lnTo>
                    <a:pt x="160" y="668"/>
                  </a:lnTo>
                  <a:lnTo>
                    <a:pt x="160" y="668"/>
                  </a:lnTo>
                  <a:lnTo>
                    <a:pt x="160" y="668"/>
                  </a:lnTo>
                  <a:lnTo>
                    <a:pt x="160" y="668"/>
                  </a:lnTo>
                  <a:lnTo>
                    <a:pt x="162" y="668"/>
                  </a:lnTo>
                  <a:lnTo>
                    <a:pt x="162" y="668"/>
                  </a:lnTo>
                  <a:lnTo>
                    <a:pt x="162" y="668"/>
                  </a:lnTo>
                  <a:lnTo>
                    <a:pt x="162" y="668"/>
                  </a:lnTo>
                  <a:lnTo>
                    <a:pt x="162" y="668"/>
                  </a:lnTo>
                  <a:lnTo>
                    <a:pt x="162" y="668"/>
                  </a:lnTo>
                  <a:lnTo>
                    <a:pt x="167" y="668"/>
                  </a:lnTo>
                  <a:lnTo>
                    <a:pt x="167" y="668"/>
                  </a:lnTo>
                  <a:lnTo>
                    <a:pt x="167" y="668"/>
                  </a:lnTo>
                  <a:lnTo>
                    <a:pt x="167" y="668"/>
                  </a:lnTo>
                  <a:lnTo>
                    <a:pt x="167" y="668"/>
                  </a:lnTo>
                  <a:lnTo>
                    <a:pt x="169" y="668"/>
                  </a:lnTo>
                  <a:lnTo>
                    <a:pt x="169" y="668"/>
                  </a:lnTo>
                  <a:lnTo>
                    <a:pt x="169" y="668"/>
                  </a:lnTo>
                  <a:lnTo>
                    <a:pt x="169" y="670"/>
                  </a:lnTo>
                  <a:lnTo>
                    <a:pt x="169" y="670"/>
                  </a:lnTo>
                  <a:lnTo>
                    <a:pt x="171" y="670"/>
                  </a:lnTo>
                  <a:lnTo>
                    <a:pt x="171" y="670"/>
                  </a:lnTo>
                  <a:lnTo>
                    <a:pt x="173" y="670"/>
                  </a:lnTo>
                  <a:lnTo>
                    <a:pt x="173" y="672"/>
                  </a:lnTo>
                  <a:lnTo>
                    <a:pt x="171" y="672"/>
                  </a:lnTo>
                  <a:lnTo>
                    <a:pt x="171" y="672"/>
                  </a:lnTo>
                  <a:lnTo>
                    <a:pt x="171" y="672"/>
                  </a:lnTo>
                  <a:lnTo>
                    <a:pt x="169" y="672"/>
                  </a:lnTo>
                  <a:lnTo>
                    <a:pt x="164" y="675"/>
                  </a:lnTo>
                  <a:lnTo>
                    <a:pt x="164" y="675"/>
                  </a:lnTo>
                  <a:lnTo>
                    <a:pt x="164" y="677"/>
                  </a:lnTo>
                  <a:lnTo>
                    <a:pt x="164" y="677"/>
                  </a:lnTo>
                  <a:lnTo>
                    <a:pt x="164" y="679"/>
                  </a:lnTo>
                  <a:lnTo>
                    <a:pt x="164" y="679"/>
                  </a:lnTo>
                  <a:lnTo>
                    <a:pt x="162" y="679"/>
                  </a:lnTo>
                  <a:lnTo>
                    <a:pt x="162" y="681"/>
                  </a:lnTo>
                  <a:lnTo>
                    <a:pt x="164" y="684"/>
                  </a:lnTo>
                  <a:lnTo>
                    <a:pt x="164" y="684"/>
                  </a:lnTo>
                  <a:lnTo>
                    <a:pt x="164" y="686"/>
                  </a:lnTo>
                  <a:lnTo>
                    <a:pt x="164" y="686"/>
                  </a:lnTo>
                  <a:lnTo>
                    <a:pt x="164" y="686"/>
                  </a:lnTo>
                  <a:lnTo>
                    <a:pt x="164" y="688"/>
                  </a:lnTo>
                  <a:lnTo>
                    <a:pt x="164" y="688"/>
                  </a:lnTo>
                  <a:lnTo>
                    <a:pt x="164" y="688"/>
                  </a:lnTo>
                  <a:lnTo>
                    <a:pt x="164" y="688"/>
                  </a:lnTo>
                  <a:lnTo>
                    <a:pt x="164" y="688"/>
                  </a:lnTo>
                  <a:lnTo>
                    <a:pt x="164" y="690"/>
                  </a:lnTo>
                  <a:lnTo>
                    <a:pt x="162" y="690"/>
                  </a:lnTo>
                  <a:lnTo>
                    <a:pt x="162" y="693"/>
                  </a:lnTo>
                  <a:lnTo>
                    <a:pt x="162" y="693"/>
                  </a:lnTo>
                  <a:lnTo>
                    <a:pt x="162" y="693"/>
                  </a:lnTo>
                  <a:lnTo>
                    <a:pt x="162" y="690"/>
                  </a:lnTo>
                  <a:lnTo>
                    <a:pt x="162" y="690"/>
                  </a:lnTo>
                  <a:lnTo>
                    <a:pt x="164" y="690"/>
                  </a:lnTo>
                  <a:lnTo>
                    <a:pt x="164" y="690"/>
                  </a:lnTo>
                  <a:lnTo>
                    <a:pt x="164" y="690"/>
                  </a:lnTo>
                  <a:lnTo>
                    <a:pt x="164" y="690"/>
                  </a:lnTo>
                  <a:lnTo>
                    <a:pt x="167" y="690"/>
                  </a:lnTo>
                  <a:lnTo>
                    <a:pt x="167" y="690"/>
                  </a:lnTo>
                  <a:lnTo>
                    <a:pt x="167" y="693"/>
                  </a:lnTo>
                  <a:lnTo>
                    <a:pt x="167" y="695"/>
                  </a:lnTo>
                  <a:lnTo>
                    <a:pt x="169" y="695"/>
                  </a:lnTo>
                  <a:lnTo>
                    <a:pt x="169" y="695"/>
                  </a:lnTo>
                  <a:lnTo>
                    <a:pt x="169" y="697"/>
                  </a:lnTo>
                  <a:lnTo>
                    <a:pt x="169" y="697"/>
                  </a:lnTo>
                  <a:lnTo>
                    <a:pt x="171" y="697"/>
                  </a:lnTo>
                  <a:lnTo>
                    <a:pt x="173" y="702"/>
                  </a:lnTo>
                  <a:lnTo>
                    <a:pt x="173" y="702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1" y="704"/>
                  </a:lnTo>
                  <a:lnTo>
                    <a:pt x="171" y="704"/>
                  </a:lnTo>
                  <a:lnTo>
                    <a:pt x="171" y="704"/>
                  </a:lnTo>
                  <a:lnTo>
                    <a:pt x="169" y="704"/>
                  </a:lnTo>
                  <a:lnTo>
                    <a:pt x="167" y="704"/>
                  </a:lnTo>
                  <a:lnTo>
                    <a:pt x="167" y="704"/>
                  </a:lnTo>
                  <a:lnTo>
                    <a:pt x="167" y="704"/>
                  </a:lnTo>
                  <a:lnTo>
                    <a:pt x="167" y="704"/>
                  </a:lnTo>
                  <a:lnTo>
                    <a:pt x="164" y="704"/>
                  </a:lnTo>
                  <a:lnTo>
                    <a:pt x="164" y="704"/>
                  </a:lnTo>
                  <a:lnTo>
                    <a:pt x="164" y="704"/>
                  </a:lnTo>
                  <a:lnTo>
                    <a:pt x="164" y="704"/>
                  </a:lnTo>
                  <a:lnTo>
                    <a:pt x="162" y="706"/>
                  </a:lnTo>
                  <a:lnTo>
                    <a:pt x="167" y="704"/>
                  </a:lnTo>
                  <a:lnTo>
                    <a:pt x="169" y="704"/>
                  </a:lnTo>
                  <a:lnTo>
                    <a:pt x="171" y="706"/>
                  </a:lnTo>
                  <a:lnTo>
                    <a:pt x="171" y="706"/>
                  </a:lnTo>
                  <a:lnTo>
                    <a:pt x="171" y="706"/>
                  </a:lnTo>
                  <a:lnTo>
                    <a:pt x="171" y="706"/>
                  </a:lnTo>
                  <a:lnTo>
                    <a:pt x="171" y="706"/>
                  </a:lnTo>
                  <a:lnTo>
                    <a:pt x="171" y="706"/>
                  </a:lnTo>
                  <a:lnTo>
                    <a:pt x="171" y="706"/>
                  </a:lnTo>
                  <a:lnTo>
                    <a:pt x="173" y="706"/>
                  </a:lnTo>
                  <a:lnTo>
                    <a:pt x="173" y="706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3" y="704"/>
                  </a:lnTo>
                  <a:lnTo>
                    <a:pt x="175" y="706"/>
                  </a:lnTo>
                  <a:lnTo>
                    <a:pt x="178" y="708"/>
                  </a:lnTo>
                  <a:lnTo>
                    <a:pt x="178" y="708"/>
                  </a:lnTo>
                  <a:lnTo>
                    <a:pt x="180" y="711"/>
                  </a:lnTo>
                  <a:lnTo>
                    <a:pt x="184" y="715"/>
                  </a:lnTo>
                  <a:lnTo>
                    <a:pt x="187" y="717"/>
                  </a:lnTo>
                  <a:lnTo>
                    <a:pt x="191" y="720"/>
                  </a:lnTo>
                  <a:lnTo>
                    <a:pt x="191" y="720"/>
                  </a:lnTo>
                  <a:lnTo>
                    <a:pt x="191" y="722"/>
                  </a:lnTo>
                  <a:lnTo>
                    <a:pt x="191" y="722"/>
                  </a:lnTo>
                  <a:lnTo>
                    <a:pt x="191" y="722"/>
                  </a:lnTo>
                  <a:lnTo>
                    <a:pt x="191" y="722"/>
                  </a:lnTo>
                  <a:lnTo>
                    <a:pt x="191" y="722"/>
                  </a:lnTo>
                  <a:lnTo>
                    <a:pt x="191" y="722"/>
                  </a:lnTo>
                  <a:lnTo>
                    <a:pt x="191" y="720"/>
                  </a:lnTo>
                  <a:lnTo>
                    <a:pt x="191" y="720"/>
                  </a:lnTo>
                  <a:lnTo>
                    <a:pt x="189" y="720"/>
                  </a:lnTo>
                  <a:lnTo>
                    <a:pt x="189" y="720"/>
                  </a:lnTo>
                  <a:lnTo>
                    <a:pt x="189" y="720"/>
                  </a:lnTo>
                  <a:lnTo>
                    <a:pt x="187" y="720"/>
                  </a:lnTo>
                  <a:lnTo>
                    <a:pt x="187" y="720"/>
                  </a:lnTo>
                  <a:lnTo>
                    <a:pt x="182" y="720"/>
                  </a:lnTo>
                  <a:lnTo>
                    <a:pt x="182" y="720"/>
                  </a:lnTo>
                  <a:lnTo>
                    <a:pt x="180" y="717"/>
                  </a:lnTo>
                  <a:lnTo>
                    <a:pt x="175" y="717"/>
                  </a:lnTo>
                  <a:lnTo>
                    <a:pt x="171" y="717"/>
                  </a:lnTo>
                  <a:lnTo>
                    <a:pt x="167" y="715"/>
                  </a:lnTo>
                  <a:lnTo>
                    <a:pt x="162" y="715"/>
                  </a:lnTo>
                  <a:lnTo>
                    <a:pt x="160" y="713"/>
                  </a:lnTo>
                  <a:lnTo>
                    <a:pt x="160" y="713"/>
                  </a:lnTo>
                  <a:lnTo>
                    <a:pt x="155" y="713"/>
                  </a:lnTo>
                  <a:lnTo>
                    <a:pt x="151" y="713"/>
                  </a:lnTo>
                  <a:lnTo>
                    <a:pt x="146" y="713"/>
                  </a:lnTo>
                  <a:lnTo>
                    <a:pt x="142" y="713"/>
                  </a:lnTo>
                  <a:lnTo>
                    <a:pt x="140" y="713"/>
                  </a:lnTo>
                  <a:lnTo>
                    <a:pt x="135" y="713"/>
                  </a:lnTo>
                  <a:lnTo>
                    <a:pt x="131" y="713"/>
                  </a:lnTo>
                  <a:lnTo>
                    <a:pt x="126" y="713"/>
                  </a:lnTo>
                  <a:lnTo>
                    <a:pt x="126" y="713"/>
                  </a:lnTo>
                  <a:lnTo>
                    <a:pt x="124" y="713"/>
                  </a:lnTo>
                  <a:lnTo>
                    <a:pt x="124" y="713"/>
                  </a:lnTo>
                  <a:lnTo>
                    <a:pt x="124" y="711"/>
                  </a:lnTo>
                  <a:lnTo>
                    <a:pt x="124" y="711"/>
                  </a:lnTo>
                  <a:lnTo>
                    <a:pt x="122" y="711"/>
                  </a:lnTo>
                  <a:lnTo>
                    <a:pt x="122" y="711"/>
                  </a:lnTo>
                  <a:lnTo>
                    <a:pt x="119" y="708"/>
                  </a:lnTo>
                  <a:lnTo>
                    <a:pt x="119" y="708"/>
                  </a:lnTo>
                  <a:lnTo>
                    <a:pt x="117" y="706"/>
                  </a:lnTo>
                  <a:lnTo>
                    <a:pt x="115" y="706"/>
                  </a:lnTo>
                  <a:lnTo>
                    <a:pt x="115" y="706"/>
                  </a:lnTo>
                  <a:lnTo>
                    <a:pt x="115" y="706"/>
                  </a:lnTo>
                  <a:lnTo>
                    <a:pt x="115" y="704"/>
                  </a:lnTo>
                  <a:lnTo>
                    <a:pt x="115" y="704"/>
                  </a:lnTo>
                  <a:lnTo>
                    <a:pt x="113" y="704"/>
                  </a:lnTo>
                  <a:lnTo>
                    <a:pt x="113" y="704"/>
                  </a:lnTo>
                  <a:lnTo>
                    <a:pt x="113" y="704"/>
                  </a:lnTo>
                  <a:lnTo>
                    <a:pt x="113" y="704"/>
                  </a:lnTo>
                  <a:lnTo>
                    <a:pt x="110" y="704"/>
                  </a:lnTo>
                  <a:lnTo>
                    <a:pt x="113" y="702"/>
                  </a:lnTo>
                  <a:lnTo>
                    <a:pt x="113" y="702"/>
                  </a:lnTo>
                  <a:lnTo>
                    <a:pt x="113" y="702"/>
                  </a:lnTo>
                  <a:lnTo>
                    <a:pt x="113" y="702"/>
                  </a:lnTo>
                  <a:lnTo>
                    <a:pt x="113" y="702"/>
                  </a:lnTo>
                  <a:lnTo>
                    <a:pt x="113" y="702"/>
                  </a:lnTo>
                  <a:lnTo>
                    <a:pt x="113" y="702"/>
                  </a:lnTo>
                  <a:lnTo>
                    <a:pt x="113" y="699"/>
                  </a:lnTo>
                  <a:lnTo>
                    <a:pt x="113" y="699"/>
                  </a:lnTo>
                  <a:lnTo>
                    <a:pt x="113" y="699"/>
                  </a:lnTo>
                  <a:lnTo>
                    <a:pt x="113" y="699"/>
                  </a:lnTo>
                  <a:lnTo>
                    <a:pt x="110" y="699"/>
                  </a:lnTo>
                  <a:lnTo>
                    <a:pt x="110" y="697"/>
                  </a:lnTo>
                  <a:lnTo>
                    <a:pt x="110" y="697"/>
                  </a:lnTo>
                  <a:lnTo>
                    <a:pt x="113" y="697"/>
                  </a:lnTo>
                  <a:lnTo>
                    <a:pt x="113" y="697"/>
                  </a:lnTo>
                  <a:lnTo>
                    <a:pt x="113" y="695"/>
                  </a:lnTo>
                  <a:lnTo>
                    <a:pt x="110" y="695"/>
                  </a:lnTo>
                  <a:lnTo>
                    <a:pt x="110" y="695"/>
                  </a:lnTo>
                  <a:lnTo>
                    <a:pt x="108" y="695"/>
                  </a:lnTo>
                  <a:lnTo>
                    <a:pt x="108" y="693"/>
                  </a:lnTo>
                  <a:lnTo>
                    <a:pt x="108" y="693"/>
                  </a:lnTo>
                  <a:lnTo>
                    <a:pt x="108" y="693"/>
                  </a:lnTo>
                  <a:lnTo>
                    <a:pt x="108" y="693"/>
                  </a:lnTo>
                  <a:lnTo>
                    <a:pt x="108" y="693"/>
                  </a:lnTo>
                  <a:lnTo>
                    <a:pt x="108" y="693"/>
                  </a:lnTo>
                  <a:lnTo>
                    <a:pt x="108" y="690"/>
                  </a:lnTo>
                  <a:lnTo>
                    <a:pt x="108" y="690"/>
                  </a:lnTo>
                  <a:lnTo>
                    <a:pt x="108" y="690"/>
                  </a:lnTo>
                  <a:lnTo>
                    <a:pt x="108" y="690"/>
                  </a:lnTo>
                  <a:lnTo>
                    <a:pt x="108" y="688"/>
                  </a:lnTo>
                  <a:lnTo>
                    <a:pt x="108" y="686"/>
                  </a:lnTo>
                  <a:lnTo>
                    <a:pt x="108" y="686"/>
                  </a:lnTo>
                  <a:lnTo>
                    <a:pt x="106" y="686"/>
                  </a:lnTo>
                  <a:lnTo>
                    <a:pt x="106" y="686"/>
                  </a:lnTo>
                  <a:lnTo>
                    <a:pt x="106" y="686"/>
                  </a:lnTo>
                  <a:lnTo>
                    <a:pt x="106" y="684"/>
                  </a:lnTo>
                  <a:lnTo>
                    <a:pt x="106" y="684"/>
                  </a:lnTo>
                  <a:lnTo>
                    <a:pt x="106" y="684"/>
                  </a:lnTo>
                  <a:lnTo>
                    <a:pt x="106" y="684"/>
                  </a:lnTo>
                  <a:lnTo>
                    <a:pt x="106" y="681"/>
                  </a:lnTo>
                  <a:lnTo>
                    <a:pt x="104" y="681"/>
                  </a:lnTo>
                  <a:lnTo>
                    <a:pt x="104" y="681"/>
                  </a:lnTo>
                  <a:lnTo>
                    <a:pt x="101" y="681"/>
                  </a:lnTo>
                  <a:lnTo>
                    <a:pt x="101" y="681"/>
                  </a:lnTo>
                  <a:lnTo>
                    <a:pt x="99" y="684"/>
                  </a:lnTo>
                  <a:lnTo>
                    <a:pt x="99" y="684"/>
                  </a:lnTo>
                  <a:lnTo>
                    <a:pt x="99" y="684"/>
                  </a:lnTo>
                  <a:lnTo>
                    <a:pt x="97" y="681"/>
                  </a:lnTo>
                  <a:lnTo>
                    <a:pt x="97" y="681"/>
                  </a:lnTo>
                  <a:lnTo>
                    <a:pt x="97" y="681"/>
                  </a:lnTo>
                  <a:lnTo>
                    <a:pt x="95" y="684"/>
                  </a:lnTo>
                  <a:lnTo>
                    <a:pt x="95" y="684"/>
                  </a:lnTo>
                  <a:lnTo>
                    <a:pt x="92" y="684"/>
                  </a:lnTo>
                  <a:lnTo>
                    <a:pt x="92" y="686"/>
                  </a:lnTo>
                  <a:lnTo>
                    <a:pt x="92" y="686"/>
                  </a:lnTo>
                  <a:lnTo>
                    <a:pt x="92" y="686"/>
                  </a:lnTo>
                  <a:lnTo>
                    <a:pt x="90" y="686"/>
                  </a:lnTo>
                  <a:lnTo>
                    <a:pt x="90" y="684"/>
                  </a:lnTo>
                  <a:lnTo>
                    <a:pt x="90" y="684"/>
                  </a:lnTo>
                  <a:lnTo>
                    <a:pt x="90" y="681"/>
                  </a:lnTo>
                  <a:lnTo>
                    <a:pt x="88" y="681"/>
                  </a:lnTo>
                  <a:lnTo>
                    <a:pt x="88" y="681"/>
                  </a:lnTo>
                  <a:lnTo>
                    <a:pt x="88" y="681"/>
                  </a:lnTo>
                  <a:lnTo>
                    <a:pt x="88" y="681"/>
                  </a:lnTo>
                  <a:lnTo>
                    <a:pt x="86" y="679"/>
                  </a:lnTo>
                  <a:lnTo>
                    <a:pt x="86" y="677"/>
                  </a:lnTo>
                  <a:lnTo>
                    <a:pt x="86" y="677"/>
                  </a:lnTo>
                  <a:lnTo>
                    <a:pt x="86" y="677"/>
                  </a:lnTo>
                  <a:lnTo>
                    <a:pt x="86" y="677"/>
                  </a:lnTo>
                  <a:lnTo>
                    <a:pt x="83" y="675"/>
                  </a:lnTo>
                  <a:lnTo>
                    <a:pt x="83" y="675"/>
                  </a:lnTo>
                  <a:lnTo>
                    <a:pt x="83" y="675"/>
                  </a:lnTo>
                  <a:lnTo>
                    <a:pt x="83" y="672"/>
                  </a:lnTo>
                  <a:lnTo>
                    <a:pt x="81" y="672"/>
                  </a:lnTo>
                  <a:lnTo>
                    <a:pt x="81" y="672"/>
                  </a:lnTo>
                  <a:lnTo>
                    <a:pt x="79" y="670"/>
                  </a:lnTo>
                  <a:lnTo>
                    <a:pt x="77" y="670"/>
                  </a:lnTo>
                  <a:lnTo>
                    <a:pt x="77" y="670"/>
                  </a:lnTo>
                  <a:lnTo>
                    <a:pt x="79" y="668"/>
                  </a:lnTo>
                  <a:lnTo>
                    <a:pt x="79" y="668"/>
                  </a:lnTo>
                  <a:lnTo>
                    <a:pt x="77" y="668"/>
                  </a:lnTo>
                  <a:lnTo>
                    <a:pt x="77" y="668"/>
                  </a:lnTo>
                  <a:lnTo>
                    <a:pt x="77" y="666"/>
                  </a:lnTo>
                  <a:lnTo>
                    <a:pt x="74" y="666"/>
                  </a:lnTo>
                  <a:lnTo>
                    <a:pt x="74" y="666"/>
                  </a:lnTo>
                  <a:lnTo>
                    <a:pt x="77" y="666"/>
                  </a:lnTo>
                  <a:lnTo>
                    <a:pt x="77" y="666"/>
                  </a:lnTo>
                  <a:lnTo>
                    <a:pt x="77" y="666"/>
                  </a:lnTo>
                  <a:lnTo>
                    <a:pt x="74" y="666"/>
                  </a:lnTo>
                  <a:lnTo>
                    <a:pt x="74" y="663"/>
                  </a:lnTo>
                  <a:lnTo>
                    <a:pt x="77" y="663"/>
                  </a:lnTo>
                  <a:lnTo>
                    <a:pt x="77" y="663"/>
                  </a:lnTo>
                  <a:lnTo>
                    <a:pt x="77" y="661"/>
                  </a:lnTo>
                  <a:lnTo>
                    <a:pt x="74" y="661"/>
                  </a:lnTo>
                  <a:lnTo>
                    <a:pt x="74" y="661"/>
                  </a:lnTo>
                  <a:lnTo>
                    <a:pt x="74" y="661"/>
                  </a:lnTo>
                  <a:lnTo>
                    <a:pt x="74" y="661"/>
                  </a:lnTo>
                  <a:lnTo>
                    <a:pt x="74" y="659"/>
                  </a:lnTo>
                  <a:lnTo>
                    <a:pt x="74" y="659"/>
                  </a:lnTo>
                  <a:lnTo>
                    <a:pt x="74" y="659"/>
                  </a:lnTo>
                  <a:lnTo>
                    <a:pt x="74" y="659"/>
                  </a:lnTo>
                  <a:lnTo>
                    <a:pt x="72" y="659"/>
                  </a:lnTo>
                  <a:lnTo>
                    <a:pt x="72" y="659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7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5"/>
                  </a:lnTo>
                  <a:lnTo>
                    <a:pt x="72" y="652"/>
                  </a:lnTo>
                  <a:lnTo>
                    <a:pt x="72" y="652"/>
                  </a:lnTo>
                  <a:lnTo>
                    <a:pt x="72" y="652"/>
                  </a:lnTo>
                  <a:lnTo>
                    <a:pt x="77" y="652"/>
                  </a:lnTo>
                  <a:lnTo>
                    <a:pt x="77" y="652"/>
                  </a:lnTo>
                  <a:lnTo>
                    <a:pt x="77" y="652"/>
                  </a:lnTo>
                  <a:lnTo>
                    <a:pt x="79" y="650"/>
                  </a:lnTo>
                  <a:lnTo>
                    <a:pt x="79" y="650"/>
                  </a:lnTo>
                  <a:lnTo>
                    <a:pt x="77" y="650"/>
                  </a:lnTo>
                  <a:lnTo>
                    <a:pt x="77" y="650"/>
                  </a:lnTo>
                  <a:lnTo>
                    <a:pt x="77" y="650"/>
                  </a:lnTo>
                  <a:lnTo>
                    <a:pt x="77" y="650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8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7" y="646"/>
                  </a:lnTo>
                  <a:lnTo>
                    <a:pt x="77" y="643"/>
                  </a:lnTo>
                  <a:lnTo>
                    <a:pt x="79" y="643"/>
                  </a:lnTo>
                  <a:lnTo>
                    <a:pt x="81" y="643"/>
                  </a:lnTo>
                  <a:lnTo>
                    <a:pt x="81" y="643"/>
                  </a:lnTo>
                  <a:lnTo>
                    <a:pt x="81" y="643"/>
                  </a:lnTo>
                  <a:lnTo>
                    <a:pt x="81" y="641"/>
                  </a:lnTo>
                  <a:lnTo>
                    <a:pt x="83" y="641"/>
                  </a:lnTo>
                  <a:lnTo>
                    <a:pt x="83" y="639"/>
                  </a:lnTo>
                  <a:lnTo>
                    <a:pt x="83" y="639"/>
                  </a:lnTo>
                  <a:lnTo>
                    <a:pt x="83" y="639"/>
                  </a:lnTo>
                  <a:lnTo>
                    <a:pt x="81" y="637"/>
                  </a:lnTo>
                  <a:lnTo>
                    <a:pt x="81" y="634"/>
                  </a:lnTo>
                  <a:lnTo>
                    <a:pt x="81" y="634"/>
                  </a:lnTo>
                  <a:lnTo>
                    <a:pt x="81" y="632"/>
                  </a:lnTo>
                  <a:lnTo>
                    <a:pt x="81" y="632"/>
                  </a:lnTo>
                  <a:lnTo>
                    <a:pt x="81" y="632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30"/>
                  </a:lnTo>
                  <a:lnTo>
                    <a:pt x="83" y="628"/>
                  </a:lnTo>
                  <a:lnTo>
                    <a:pt x="83" y="628"/>
                  </a:lnTo>
                  <a:lnTo>
                    <a:pt x="83" y="628"/>
                  </a:lnTo>
                  <a:lnTo>
                    <a:pt x="83" y="628"/>
                  </a:lnTo>
                  <a:lnTo>
                    <a:pt x="83" y="628"/>
                  </a:lnTo>
                  <a:lnTo>
                    <a:pt x="81" y="623"/>
                  </a:lnTo>
                  <a:lnTo>
                    <a:pt x="81" y="623"/>
                  </a:lnTo>
                  <a:lnTo>
                    <a:pt x="81" y="623"/>
                  </a:lnTo>
                  <a:lnTo>
                    <a:pt x="81" y="623"/>
                  </a:lnTo>
                  <a:lnTo>
                    <a:pt x="81" y="623"/>
                  </a:lnTo>
                  <a:lnTo>
                    <a:pt x="81" y="623"/>
                  </a:lnTo>
                  <a:lnTo>
                    <a:pt x="79" y="623"/>
                  </a:lnTo>
                  <a:lnTo>
                    <a:pt x="79" y="623"/>
                  </a:lnTo>
                  <a:lnTo>
                    <a:pt x="79" y="621"/>
                  </a:lnTo>
                  <a:lnTo>
                    <a:pt x="79" y="621"/>
                  </a:lnTo>
                  <a:lnTo>
                    <a:pt x="79" y="621"/>
                  </a:lnTo>
                  <a:lnTo>
                    <a:pt x="79" y="621"/>
                  </a:lnTo>
                  <a:lnTo>
                    <a:pt x="77" y="621"/>
                  </a:lnTo>
                  <a:lnTo>
                    <a:pt x="77" y="621"/>
                  </a:lnTo>
                  <a:lnTo>
                    <a:pt x="77" y="619"/>
                  </a:lnTo>
                  <a:lnTo>
                    <a:pt x="77" y="619"/>
                  </a:lnTo>
                  <a:lnTo>
                    <a:pt x="77" y="619"/>
                  </a:lnTo>
                  <a:lnTo>
                    <a:pt x="77" y="616"/>
                  </a:lnTo>
                  <a:lnTo>
                    <a:pt x="77" y="616"/>
                  </a:lnTo>
                  <a:lnTo>
                    <a:pt x="77" y="614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2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10"/>
                  </a:lnTo>
                  <a:lnTo>
                    <a:pt x="77" y="607"/>
                  </a:lnTo>
                  <a:lnTo>
                    <a:pt x="77" y="607"/>
                  </a:lnTo>
                  <a:lnTo>
                    <a:pt x="77" y="607"/>
                  </a:lnTo>
                  <a:lnTo>
                    <a:pt x="79" y="607"/>
                  </a:lnTo>
                  <a:lnTo>
                    <a:pt x="79" y="607"/>
                  </a:lnTo>
                  <a:lnTo>
                    <a:pt x="79" y="607"/>
                  </a:lnTo>
                  <a:lnTo>
                    <a:pt x="79" y="607"/>
                  </a:lnTo>
                  <a:lnTo>
                    <a:pt x="81" y="605"/>
                  </a:lnTo>
                  <a:lnTo>
                    <a:pt x="81" y="605"/>
                  </a:lnTo>
                  <a:lnTo>
                    <a:pt x="81" y="605"/>
                  </a:lnTo>
                  <a:lnTo>
                    <a:pt x="81" y="605"/>
                  </a:lnTo>
                  <a:lnTo>
                    <a:pt x="79" y="605"/>
                  </a:lnTo>
                  <a:lnTo>
                    <a:pt x="79" y="603"/>
                  </a:lnTo>
                  <a:lnTo>
                    <a:pt x="79" y="603"/>
                  </a:lnTo>
                  <a:lnTo>
                    <a:pt x="79" y="603"/>
                  </a:lnTo>
                  <a:lnTo>
                    <a:pt x="79" y="603"/>
                  </a:lnTo>
                  <a:lnTo>
                    <a:pt x="79" y="603"/>
                  </a:lnTo>
                  <a:lnTo>
                    <a:pt x="81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3" y="603"/>
                  </a:lnTo>
                  <a:lnTo>
                    <a:pt x="81" y="601"/>
                  </a:lnTo>
                  <a:lnTo>
                    <a:pt x="81" y="601"/>
                  </a:lnTo>
                  <a:lnTo>
                    <a:pt x="81" y="601"/>
                  </a:lnTo>
                  <a:lnTo>
                    <a:pt x="79" y="601"/>
                  </a:lnTo>
                  <a:lnTo>
                    <a:pt x="79" y="601"/>
                  </a:lnTo>
                  <a:lnTo>
                    <a:pt x="79" y="598"/>
                  </a:lnTo>
                  <a:lnTo>
                    <a:pt x="79" y="598"/>
                  </a:lnTo>
                  <a:lnTo>
                    <a:pt x="81" y="598"/>
                  </a:lnTo>
                  <a:lnTo>
                    <a:pt x="79" y="598"/>
                  </a:lnTo>
                  <a:lnTo>
                    <a:pt x="79" y="598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9" y="596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79" y="594"/>
                  </a:lnTo>
                  <a:lnTo>
                    <a:pt x="81" y="592"/>
                  </a:lnTo>
                  <a:lnTo>
                    <a:pt x="81" y="592"/>
                  </a:lnTo>
                  <a:lnTo>
                    <a:pt x="81" y="592"/>
                  </a:lnTo>
                  <a:lnTo>
                    <a:pt x="81" y="592"/>
                  </a:lnTo>
                  <a:lnTo>
                    <a:pt x="81" y="589"/>
                  </a:lnTo>
                  <a:lnTo>
                    <a:pt x="81" y="589"/>
                  </a:lnTo>
                  <a:lnTo>
                    <a:pt x="81" y="589"/>
                  </a:lnTo>
                  <a:lnTo>
                    <a:pt x="81" y="587"/>
                  </a:lnTo>
                  <a:lnTo>
                    <a:pt x="81" y="587"/>
                  </a:lnTo>
                  <a:lnTo>
                    <a:pt x="81" y="587"/>
                  </a:lnTo>
                  <a:lnTo>
                    <a:pt x="79" y="585"/>
                  </a:lnTo>
                  <a:lnTo>
                    <a:pt x="77" y="583"/>
                  </a:lnTo>
                  <a:lnTo>
                    <a:pt x="77" y="583"/>
                  </a:lnTo>
                  <a:lnTo>
                    <a:pt x="77" y="580"/>
                  </a:lnTo>
                  <a:lnTo>
                    <a:pt x="77" y="580"/>
                  </a:lnTo>
                  <a:lnTo>
                    <a:pt x="77" y="580"/>
                  </a:lnTo>
                  <a:lnTo>
                    <a:pt x="74" y="580"/>
                  </a:lnTo>
                  <a:lnTo>
                    <a:pt x="74" y="578"/>
                  </a:lnTo>
                  <a:lnTo>
                    <a:pt x="72" y="578"/>
                  </a:lnTo>
                  <a:lnTo>
                    <a:pt x="72" y="578"/>
                  </a:lnTo>
                  <a:lnTo>
                    <a:pt x="72" y="578"/>
                  </a:lnTo>
                  <a:lnTo>
                    <a:pt x="72" y="578"/>
                  </a:lnTo>
                  <a:lnTo>
                    <a:pt x="72" y="578"/>
                  </a:lnTo>
                  <a:lnTo>
                    <a:pt x="72" y="578"/>
                  </a:lnTo>
                  <a:lnTo>
                    <a:pt x="74" y="578"/>
                  </a:lnTo>
                  <a:lnTo>
                    <a:pt x="74" y="578"/>
                  </a:lnTo>
                  <a:lnTo>
                    <a:pt x="74" y="578"/>
                  </a:lnTo>
                  <a:lnTo>
                    <a:pt x="74" y="578"/>
                  </a:lnTo>
                  <a:lnTo>
                    <a:pt x="77" y="576"/>
                  </a:lnTo>
                  <a:lnTo>
                    <a:pt x="77" y="576"/>
                  </a:lnTo>
                  <a:lnTo>
                    <a:pt x="77" y="574"/>
                  </a:lnTo>
                  <a:lnTo>
                    <a:pt x="77" y="574"/>
                  </a:lnTo>
                  <a:lnTo>
                    <a:pt x="77" y="574"/>
                  </a:lnTo>
                  <a:lnTo>
                    <a:pt x="74" y="571"/>
                  </a:lnTo>
                  <a:lnTo>
                    <a:pt x="74" y="571"/>
                  </a:lnTo>
                  <a:lnTo>
                    <a:pt x="74" y="571"/>
                  </a:lnTo>
                  <a:lnTo>
                    <a:pt x="74" y="571"/>
                  </a:lnTo>
                  <a:lnTo>
                    <a:pt x="72" y="571"/>
                  </a:lnTo>
                  <a:lnTo>
                    <a:pt x="72" y="571"/>
                  </a:lnTo>
                  <a:lnTo>
                    <a:pt x="72" y="571"/>
                  </a:lnTo>
                  <a:lnTo>
                    <a:pt x="72" y="569"/>
                  </a:lnTo>
                  <a:lnTo>
                    <a:pt x="72" y="569"/>
                  </a:lnTo>
                  <a:lnTo>
                    <a:pt x="72" y="569"/>
                  </a:lnTo>
                  <a:lnTo>
                    <a:pt x="72" y="569"/>
                  </a:lnTo>
                  <a:lnTo>
                    <a:pt x="72" y="569"/>
                  </a:lnTo>
                  <a:lnTo>
                    <a:pt x="72" y="569"/>
                  </a:lnTo>
                  <a:lnTo>
                    <a:pt x="72" y="569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7"/>
                  </a:lnTo>
                  <a:lnTo>
                    <a:pt x="72" y="565"/>
                  </a:lnTo>
                  <a:lnTo>
                    <a:pt x="72" y="565"/>
                  </a:lnTo>
                  <a:lnTo>
                    <a:pt x="72" y="565"/>
                  </a:lnTo>
                  <a:lnTo>
                    <a:pt x="72" y="565"/>
                  </a:lnTo>
                  <a:lnTo>
                    <a:pt x="70" y="565"/>
                  </a:lnTo>
                  <a:lnTo>
                    <a:pt x="72" y="565"/>
                  </a:lnTo>
                  <a:lnTo>
                    <a:pt x="72" y="565"/>
                  </a:lnTo>
                  <a:lnTo>
                    <a:pt x="72" y="565"/>
                  </a:lnTo>
                  <a:lnTo>
                    <a:pt x="72" y="565"/>
                  </a:lnTo>
                  <a:lnTo>
                    <a:pt x="74" y="565"/>
                  </a:lnTo>
                  <a:lnTo>
                    <a:pt x="74" y="565"/>
                  </a:lnTo>
                  <a:lnTo>
                    <a:pt x="77" y="562"/>
                  </a:lnTo>
                  <a:lnTo>
                    <a:pt x="77" y="562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74" y="562"/>
                  </a:lnTo>
                  <a:lnTo>
                    <a:pt x="74" y="560"/>
                  </a:lnTo>
                  <a:lnTo>
                    <a:pt x="77" y="560"/>
                  </a:lnTo>
                  <a:lnTo>
                    <a:pt x="77" y="560"/>
                  </a:lnTo>
                  <a:lnTo>
                    <a:pt x="77" y="560"/>
                  </a:lnTo>
                  <a:lnTo>
                    <a:pt x="77" y="560"/>
                  </a:lnTo>
                  <a:lnTo>
                    <a:pt x="77" y="560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8"/>
                  </a:lnTo>
                  <a:lnTo>
                    <a:pt x="77" y="556"/>
                  </a:lnTo>
                  <a:lnTo>
                    <a:pt x="74" y="556"/>
                  </a:lnTo>
                  <a:lnTo>
                    <a:pt x="74" y="556"/>
                  </a:lnTo>
                  <a:lnTo>
                    <a:pt x="72" y="556"/>
                  </a:lnTo>
                  <a:lnTo>
                    <a:pt x="72" y="553"/>
                  </a:lnTo>
                  <a:lnTo>
                    <a:pt x="72" y="553"/>
                  </a:lnTo>
                  <a:lnTo>
                    <a:pt x="70" y="551"/>
                  </a:lnTo>
                  <a:lnTo>
                    <a:pt x="70" y="551"/>
                  </a:lnTo>
                  <a:lnTo>
                    <a:pt x="68" y="551"/>
                  </a:lnTo>
                  <a:lnTo>
                    <a:pt x="68" y="551"/>
                  </a:lnTo>
                  <a:lnTo>
                    <a:pt x="68" y="551"/>
                  </a:lnTo>
                  <a:lnTo>
                    <a:pt x="68" y="551"/>
                  </a:lnTo>
                  <a:lnTo>
                    <a:pt x="65" y="551"/>
                  </a:lnTo>
                  <a:lnTo>
                    <a:pt x="65" y="551"/>
                  </a:lnTo>
                  <a:lnTo>
                    <a:pt x="65" y="549"/>
                  </a:lnTo>
                  <a:lnTo>
                    <a:pt x="65" y="551"/>
                  </a:lnTo>
                  <a:lnTo>
                    <a:pt x="65" y="551"/>
                  </a:lnTo>
                  <a:lnTo>
                    <a:pt x="63" y="551"/>
                  </a:lnTo>
                  <a:lnTo>
                    <a:pt x="63" y="551"/>
                  </a:lnTo>
                  <a:lnTo>
                    <a:pt x="63" y="551"/>
                  </a:lnTo>
                  <a:lnTo>
                    <a:pt x="61" y="549"/>
                  </a:lnTo>
                  <a:lnTo>
                    <a:pt x="61" y="549"/>
                  </a:lnTo>
                  <a:lnTo>
                    <a:pt x="61" y="549"/>
                  </a:lnTo>
                  <a:lnTo>
                    <a:pt x="59" y="549"/>
                  </a:lnTo>
                  <a:lnTo>
                    <a:pt x="59" y="549"/>
                  </a:lnTo>
                  <a:lnTo>
                    <a:pt x="59" y="549"/>
                  </a:lnTo>
                  <a:lnTo>
                    <a:pt x="59" y="549"/>
                  </a:lnTo>
                  <a:lnTo>
                    <a:pt x="59" y="547"/>
                  </a:lnTo>
                  <a:lnTo>
                    <a:pt x="59" y="547"/>
                  </a:lnTo>
                  <a:lnTo>
                    <a:pt x="59" y="547"/>
                  </a:lnTo>
                  <a:lnTo>
                    <a:pt x="59" y="547"/>
                  </a:lnTo>
                  <a:lnTo>
                    <a:pt x="61" y="547"/>
                  </a:lnTo>
                  <a:lnTo>
                    <a:pt x="63" y="547"/>
                  </a:lnTo>
                  <a:lnTo>
                    <a:pt x="63" y="547"/>
                  </a:lnTo>
                  <a:lnTo>
                    <a:pt x="63" y="547"/>
                  </a:lnTo>
                  <a:lnTo>
                    <a:pt x="63" y="547"/>
                  </a:lnTo>
                  <a:lnTo>
                    <a:pt x="63" y="547"/>
                  </a:lnTo>
                  <a:lnTo>
                    <a:pt x="63" y="547"/>
                  </a:lnTo>
                  <a:lnTo>
                    <a:pt x="65" y="547"/>
                  </a:lnTo>
                  <a:lnTo>
                    <a:pt x="65" y="547"/>
                  </a:lnTo>
                  <a:lnTo>
                    <a:pt x="68" y="547"/>
                  </a:lnTo>
                  <a:lnTo>
                    <a:pt x="68" y="547"/>
                  </a:lnTo>
                  <a:lnTo>
                    <a:pt x="70" y="547"/>
                  </a:lnTo>
                  <a:lnTo>
                    <a:pt x="70" y="547"/>
                  </a:lnTo>
                  <a:lnTo>
                    <a:pt x="72" y="547"/>
                  </a:lnTo>
                  <a:lnTo>
                    <a:pt x="72" y="547"/>
                  </a:lnTo>
                  <a:lnTo>
                    <a:pt x="74" y="547"/>
                  </a:lnTo>
                  <a:lnTo>
                    <a:pt x="74" y="547"/>
                  </a:lnTo>
                  <a:lnTo>
                    <a:pt x="74" y="547"/>
                  </a:lnTo>
                  <a:lnTo>
                    <a:pt x="74" y="544"/>
                  </a:lnTo>
                  <a:lnTo>
                    <a:pt x="74" y="544"/>
                  </a:lnTo>
                  <a:lnTo>
                    <a:pt x="74" y="544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2"/>
                  </a:lnTo>
                  <a:lnTo>
                    <a:pt x="74" y="540"/>
                  </a:lnTo>
                  <a:lnTo>
                    <a:pt x="74" y="540"/>
                  </a:lnTo>
                  <a:lnTo>
                    <a:pt x="74" y="540"/>
                  </a:lnTo>
                  <a:lnTo>
                    <a:pt x="74" y="540"/>
                  </a:lnTo>
                  <a:lnTo>
                    <a:pt x="74" y="540"/>
                  </a:lnTo>
                  <a:lnTo>
                    <a:pt x="72" y="540"/>
                  </a:lnTo>
                  <a:lnTo>
                    <a:pt x="72" y="540"/>
                  </a:lnTo>
                  <a:lnTo>
                    <a:pt x="72" y="538"/>
                  </a:lnTo>
                  <a:lnTo>
                    <a:pt x="72" y="538"/>
                  </a:lnTo>
                  <a:lnTo>
                    <a:pt x="72" y="538"/>
                  </a:lnTo>
                  <a:lnTo>
                    <a:pt x="70" y="538"/>
                  </a:lnTo>
                  <a:lnTo>
                    <a:pt x="68" y="538"/>
                  </a:lnTo>
                  <a:lnTo>
                    <a:pt x="63" y="538"/>
                  </a:lnTo>
                  <a:lnTo>
                    <a:pt x="63" y="538"/>
                  </a:lnTo>
                  <a:lnTo>
                    <a:pt x="61" y="538"/>
                  </a:lnTo>
                  <a:lnTo>
                    <a:pt x="61" y="538"/>
                  </a:lnTo>
                  <a:lnTo>
                    <a:pt x="61" y="538"/>
                  </a:lnTo>
                  <a:lnTo>
                    <a:pt x="59" y="538"/>
                  </a:lnTo>
                  <a:lnTo>
                    <a:pt x="59" y="538"/>
                  </a:lnTo>
                  <a:lnTo>
                    <a:pt x="59" y="535"/>
                  </a:lnTo>
                  <a:lnTo>
                    <a:pt x="59" y="535"/>
                  </a:lnTo>
                  <a:lnTo>
                    <a:pt x="61" y="535"/>
                  </a:lnTo>
                  <a:lnTo>
                    <a:pt x="61" y="535"/>
                  </a:lnTo>
                  <a:lnTo>
                    <a:pt x="59" y="535"/>
                  </a:lnTo>
                  <a:lnTo>
                    <a:pt x="59" y="535"/>
                  </a:lnTo>
                  <a:lnTo>
                    <a:pt x="59" y="535"/>
                  </a:lnTo>
                  <a:lnTo>
                    <a:pt x="59" y="533"/>
                  </a:lnTo>
                  <a:lnTo>
                    <a:pt x="59" y="533"/>
                  </a:lnTo>
                  <a:lnTo>
                    <a:pt x="59" y="533"/>
                  </a:lnTo>
                  <a:lnTo>
                    <a:pt x="59" y="533"/>
                  </a:lnTo>
                  <a:lnTo>
                    <a:pt x="59" y="531"/>
                  </a:lnTo>
                  <a:lnTo>
                    <a:pt x="56" y="531"/>
                  </a:lnTo>
                  <a:lnTo>
                    <a:pt x="56" y="531"/>
                  </a:lnTo>
                  <a:lnTo>
                    <a:pt x="59" y="531"/>
                  </a:lnTo>
                  <a:lnTo>
                    <a:pt x="59" y="529"/>
                  </a:lnTo>
                  <a:lnTo>
                    <a:pt x="59" y="526"/>
                  </a:lnTo>
                  <a:lnTo>
                    <a:pt x="59" y="526"/>
                  </a:lnTo>
                  <a:lnTo>
                    <a:pt x="59" y="526"/>
                  </a:lnTo>
                  <a:lnTo>
                    <a:pt x="59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4"/>
                  </a:lnTo>
                  <a:lnTo>
                    <a:pt x="56" y="522"/>
                  </a:lnTo>
                  <a:lnTo>
                    <a:pt x="56" y="522"/>
                  </a:lnTo>
                  <a:lnTo>
                    <a:pt x="56" y="522"/>
                  </a:lnTo>
                  <a:lnTo>
                    <a:pt x="56" y="524"/>
                  </a:lnTo>
                  <a:lnTo>
                    <a:pt x="56" y="522"/>
                  </a:lnTo>
                  <a:lnTo>
                    <a:pt x="54" y="522"/>
                  </a:lnTo>
                  <a:lnTo>
                    <a:pt x="54" y="522"/>
                  </a:lnTo>
                  <a:lnTo>
                    <a:pt x="54" y="522"/>
                  </a:lnTo>
                  <a:lnTo>
                    <a:pt x="56" y="522"/>
                  </a:lnTo>
                  <a:lnTo>
                    <a:pt x="56" y="522"/>
                  </a:lnTo>
                  <a:lnTo>
                    <a:pt x="56" y="522"/>
                  </a:lnTo>
                  <a:lnTo>
                    <a:pt x="56" y="522"/>
                  </a:lnTo>
                  <a:lnTo>
                    <a:pt x="56" y="520"/>
                  </a:lnTo>
                  <a:lnTo>
                    <a:pt x="56" y="520"/>
                  </a:lnTo>
                  <a:lnTo>
                    <a:pt x="56" y="520"/>
                  </a:lnTo>
                  <a:lnTo>
                    <a:pt x="56" y="520"/>
                  </a:lnTo>
                  <a:lnTo>
                    <a:pt x="54" y="517"/>
                  </a:lnTo>
                  <a:lnTo>
                    <a:pt x="54" y="517"/>
                  </a:lnTo>
                  <a:lnTo>
                    <a:pt x="54" y="517"/>
                  </a:lnTo>
                  <a:lnTo>
                    <a:pt x="54" y="517"/>
                  </a:lnTo>
                  <a:lnTo>
                    <a:pt x="54" y="517"/>
                  </a:lnTo>
                  <a:lnTo>
                    <a:pt x="54" y="517"/>
                  </a:lnTo>
                  <a:lnTo>
                    <a:pt x="54" y="517"/>
                  </a:lnTo>
                  <a:lnTo>
                    <a:pt x="52" y="517"/>
                  </a:lnTo>
                  <a:lnTo>
                    <a:pt x="52" y="517"/>
                  </a:lnTo>
                  <a:lnTo>
                    <a:pt x="52" y="517"/>
                  </a:lnTo>
                  <a:lnTo>
                    <a:pt x="52" y="517"/>
                  </a:lnTo>
                  <a:lnTo>
                    <a:pt x="52" y="517"/>
                  </a:lnTo>
                  <a:lnTo>
                    <a:pt x="52" y="517"/>
                  </a:lnTo>
                  <a:lnTo>
                    <a:pt x="52" y="515"/>
                  </a:lnTo>
                  <a:lnTo>
                    <a:pt x="52" y="515"/>
                  </a:lnTo>
                  <a:lnTo>
                    <a:pt x="52" y="515"/>
                  </a:lnTo>
                  <a:lnTo>
                    <a:pt x="52" y="515"/>
                  </a:lnTo>
                  <a:lnTo>
                    <a:pt x="52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5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0" y="513"/>
                  </a:lnTo>
                  <a:lnTo>
                    <a:pt x="52" y="513"/>
                  </a:lnTo>
                  <a:lnTo>
                    <a:pt x="52" y="511"/>
                  </a:lnTo>
                  <a:lnTo>
                    <a:pt x="52" y="513"/>
                  </a:lnTo>
                  <a:lnTo>
                    <a:pt x="52" y="511"/>
                  </a:lnTo>
                  <a:lnTo>
                    <a:pt x="52" y="511"/>
                  </a:lnTo>
                  <a:lnTo>
                    <a:pt x="52" y="511"/>
                  </a:lnTo>
                  <a:lnTo>
                    <a:pt x="52" y="511"/>
                  </a:lnTo>
                  <a:lnTo>
                    <a:pt x="52" y="511"/>
                  </a:lnTo>
                  <a:lnTo>
                    <a:pt x="52" y="511"/>
                  </a:lnTo>
                  <a:lnTo>
                    <a:pt x="52" y="511"/>
                  </a:lnTo>
                  <a:lnTo>
                    <a:pt x="52" y="508"/>
                  </a:lnTo>
                  <a:lnTo>
                    <a:pt x="52" y="508"/>
                  </a:lnTo>
                  <a:lnTo>
                    <a:pt x="52" y="508"/>
                  </a:lnTo>
                  <a:lnTo>
                    <a:pt x="52" y="508"/>
                  </a:lnTo>
                  <a:lnTo>
                    <a:pt x="50" y="508"/>
                  </a:lnTo>
                  <a:lnTo>
                    <a:pt x="47" y="508"/>
                  </a:lnTo>
                  <a:lnTo>
                    <a:pt x="45" y="506"/>
                  </a:lnTo>
                  <a:lnTo>
                    <a:pt x="45" y="506"/>
                  </a:lnTo>
                  <a:lnTo>
                    <a:pt x="43" y="506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3" y="502"/>
                  </a:lnTo>
                  <a:lnTo>
                    <a:pt x="43" y="502"/>
                  </a:lnTo>
                  <a:lnTo>
                    <a:pt x="41" y="497"/>
                  </a:lnTo>
                  <a:lnTo>
                    <a:pt x="41" y="497"/>
                  </a:lnTo>
                  <a:lnTo>
                    <a:pt x="41" y="497"/>
                  </a:lnTo>
                  <a:lnTo>
                    <a:pt x="41" y="497"/>
                  </a:lnTo>
                  <a:lnTo>
                    <a:pt x="41" y="495"/>
                  </a:lnTo>
                  <a:lnTo>
                    <a:pt x="41" y="495"/>
                  </a:lnTo>
                  <a:lnTo>
                    <a:pt x="41" y="495"/>
                  </a:lnTo>
                  <a:lnTo>
                    <a:pt x="41" y="495"/>
                  </a:lnTo>
                  <a:lnTo>
                    <a:pt x="41" y="495"/>
                  </a:lnTo>
                  <a:lnTo>
                    <a:pt x="38" y="495"/>
                  </a:lnTo>
                  <a:lnTo>
                    <a:pt x="41" y="493"/>
                  </a:lnTo>
                  <a:lnTo>
                    <a:pt x="41" y="493"/>
                  </a:lnTo>
                  <a:lnTo>
                    <a:pt x="41" y="493"/>
                  </a:lnTo>
                  <a:lnTo>
                    <a:pt x="41" y="493"/>
                  </a:lnTo>
                  <a:lnTo>
                    <a:pt x="41" y="493"/>
                  </a:lnTo>
                  <a:lnTo>
                    <a:pt x="41" y="490"/>
                  </a:lnTo>
                  <a:lnTo>
                    <a:pt x="41" y="490"/>
                  </a:lnTo>
                  <a:lnTo>
                    <a:pt x="41" y="490"/>
                  </a:lnTo>
                  <a:lnTo>
                    <a:pt x="38" y="490"/>
                  </a:lnTo>
                  <a:lnTo>
                    <a:pt x="38" y="488"/>
                  </a:lnTo>
                  <a:lnTo>
                    <a:pt x="38" y="488"/>
                  </a:lnTo>
                  <a:lnTo>
                    <a:pt x="38" y="488"/>
                  </a:lnTo>
                  <a:lnTo>
                    <a:pt x="38" y="486"/>
                  </a:lnTo>
                  <a:lnTo>
                    <a:pt x="38" y="486"/>
                  </a:lnTo>
                  <a:lnTo>
                    <a:pt x="38" y="486"/>
                  </a:lnTo>
                  <a:lnTo>
                    <a:pt x="38" y="486"/>
                  </a:lnTo>
                  <a:lnTo>
                    <a:pt x="38" y="484"/>
                  </a:lnTo>
                  <a:lnTo>
                    <a:pt x="38" y="484"/>
                  </a:lnTo>
                  <a:lnTo>
                    <a:pt x="38" y="484"/>
                  </a:lnTo>
                  <a:lnTo>
                    <a:pt x="41" y="484"/>
                  </a:lnTo>
                  <a:lnTo>
                    <a:pt x="41" y="486"/>
                  </a:lnTo>
                  <a:lnTo>
                    <a:pt x="41" y="486"/>
                  </a:lnTo>
                  <a:lnTo>
                    <a:pt x="41" y="486"/>
                  </a:lnTo>
                  <a:lnTo>
                    <a:pt x="41" y="486"/>
                  </a:lnTo>
                  <a:lnTo>
                    <a:pt x="41" y="484"/>
                  </a:lnTo>
                  <a:lnTo>
                    <a:pt x="41" y="484"/>
                  </a:lnTo>
                  <a:lnTo>
                    <a:pt x="41" y="484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3" y="484"/>
                  </a:lnTo>
                  <a:lnTo>
                    <a:pt x="43" y="481"/>
                  </a:lnTo>
                  <a:lnTo>
                    <a:pt x="43" y="481"/>
                  </a:lnTo>
                  <a:lnTo>
                    <a:pt x="43" y="481"/>
                  </a:lnTo>
                  <a:lnTo>
                    <a:pt x="43" y="481"/>
                  </a:lnTo>
                  <a:lnTo>
                    <a:pt x="43" y="481"/>
                  </a:lnTo>
                  <a:lnTo>
                    <a:pt x="43" y="479"/>
                  </a:lnTo>
                  <a:lnTo>
                    <a:pt x="43" y="479"/>
                  </a:lnTo>
                  <a:lnTo>
                    <a:pt x="41" y="477"/>
                  </a:lnTo>
                  <a:lnTo>
                    <a:pt x="41" y="477"/>
                  </a:lnTo>
                  <a:lnTo>
                    <a:pt x="41" y="477"/>
                  </a:lnTo>
                  <a:lnTo>
                    <a:pt x="38" y="477"/>
                  </a:lnTo>
                  <a:lnTo>
                    <a:pt x="38" y="475"/>
                  </a:lnTo>
                  <a:lnTo>
                    <a:pt x="38" y="475"/>
                  </a:lnTo>
                  <a:lnTo>
                    <a:pt x="36" y="472"/>
                  </a:lnTo>
                  <a:lnTo>
                    <a:pt x="36" y="472"/>
                  </a:lnTo>
                  <a:lnTo>
                    <a:pt x="36" y="472"/>
                  </a:lnTo>
                  <a:lnTo>
                    <a:pt x="38" y="472"/>
                  </a:lnTo>
                  <a:lnTo>
                    <a:pt x="38" y="472"/>
                  </a:lnTo>
                  <a:lnTo>
                    <a:pt x="38" y="470"/>
                  </a:lnTo>
                  <a:lnTo>
                    <a:pt x="38" y="470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70"/>
                  </a:lnTo>
                  <a:lnTo>
                    <a:pt x="36" y="468"/>
                  </a:lnTo>
                  <a:lnTo>
                    <a:pt x="36" y="468"/>
                  </a:lnTo>
                  <a:lnTo>
                    <a:pt x="36" y="468"/>
                  </a:lnTo>
                  <a:lnTo>
                    <a:pt x="36" y="468"/>
                  </a:lnTo>
                  <a:lnTo>
                    <a:pt x="36" y="468"/>
                  </a:lnTo>
                  <a:lnTo>
                    <a:pt x="36" y="466"/>
                  </a:lnTo>
                  <a:lnTo>
                    <a:pt x="34" y="466"/>
                  </a:lnTo>
                  <a:lnTo>
                    <a:pt x="34" y="463"/>
                  </a:lnTo>
                  <a:lnTo>
                    <a:pt x="34" y="463"/>
                  </a:lnTo>
                  <a:lnTo>
                    <a:pt x="34" y="463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1"/>
                  </a:lnTo>
                  <a:lnTo>
                    <a:pt x="34" y="461"/>
                  </a:lnTo>
                  <a:lnTo>
                    <a:pt x="34" y="461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59"/>
                  </a:lnTo>
                  <a:lnTo>
                    <a:pt x="34" y="459"/>
                  </a:lnTo>
                  <a:lnTo>
                    <a:pt x="34" y="457"/>
                  </a:lnTo>
                  <a:lnTo>
                    <a:pt x="34" y="457"/>
                  </a:lnTo>
                  <a:lnTo>
                    <a:pt x="34" y="457"/>
                  </a:lnTo>
                  <a:lnTo>
                    <a:pt x="32" y="454"/>
                  </a:lnTo>
                  <a:lnTo>
                    <a:pt x="32" y="454"/>
                  </a:lnTo>
                  <a:lnTo>
                    <a:pt x="32" y="454"/>
                  </a:lnTo>
                  <a:lnTo>
                    <a:pt x="32" y="454"/>
                  </a:lnTo>
                  <a:lnTo>
                    <a:pt x="29" y="450"/>
                  </a:lnTo>
                  <a:lnTo>
                    <a:pt x="29" y="450"/>
                  </a:lnTo>
                  <a:lnTo>
                    <a:pt x="29" y="450"/>
                  </a:lnTo>
                  <a:lnTo>
                    <a:pt x="32" y="448"/>
                  </a:lnTo>
                  <a:lnTo>
                    <a:pt x="29" y="448"/>
                  </a:lnTo>
                  <a:lnTo>
                    <a:pt x="29" y="448"/>
                  </a:lnTo>
                  <a:lnTo>
                    <a:pt x="29" y="448"/>
                  </a:lnTo>
                  <a:lnTo>
                    <a:pt x="29" y="448"/>
                  </a:lnTo>
                  <a:lnTo>
                    <a:pt x="29" y="448"/>
                  </a:lnTo>
                  <a:lnTo>
                    <a:pt x="29" y="445"/>
                  </a:lnTo>
                  <a:lnTo>
                    <a:pt x="29" y="443"/>
                  </a:lnTo>
                  <a:lnTo>
                    <a:pt x="29" y="443"/>
                  </a:lnTo>
                  <a:lnTo>
                    <a:pt x="29" y="443"/>
                  </a:lnTo>
                  <a:lnTo>
                    <a:pt x="32" y="443"/>
                  </a:lnTo>
                  <a:lnTo>
                    <a:pt x="32" y="443"/>
                  </a:lnTo>
                  <a:lnTo>
                    <a:pt x="32" y="443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32" y="441"/>
                  </a:lnTo>
                  <a:lnTo>
                    <a:pt x="29" y="441"/>
                  </a:lnTo>
                  <a:lnTo>
                    <a:pt x="29" y="441"/>
                  </a:lnTo>
                  <a:lnTo>
                    <a:pt x="29" y="441"/>
                  </a:lnTo>
                  <a:lnTo>
                    <a:pt x="29" y="439"/>
                  </a:lnTo>
                  <a:lnTo>
                    <a:pt x="29" y="439"/>
                  </a:lnTo>
                  <a:lnTo>
                    <a:pt x="29" y="439"/>
                  </a:lnTo>
                  <a:lnTo>
                    <a:pt x="27" y="439"/>
                  </a:lnTo>
                  <a:lnTo>
                    <a:pt x="29" y="439"/>
                  </a:lnTo>
                  <a:lnTo>
                    <a:pt x="29" y="439"/>
                  </a:lnTo>
                  <a:lnTo>
                    <a:pt x="27" y="439"/>
                  </a:lnTo>
                  <a:lnTo>
                    <a:pt x="27" y="439"/>
                  </a:lnTo>
                  <a:lnTo>
                    <a:pt x="27" y="436"/>
                  </a:lnTo>
                  <a:lnTo>
                    <a:pt x="27" y="436"/>
                  </a:lnTo>
                  <a:lnTo>
                    <a:pt x="27" y="436"/>
                  </a:lnTo>
                  <a:lnTo>
                    <a:pt x="27" y="436"/>
                  </a:lnTo>
                  <a:lnTo>
                    <a:pt x="27" y="436"/>
                  </a:lnTo>
                  <a:lnTo>
                    <a:pt x="27" y="436"/>
                  </a:lnTo>
                  <a:lnTo>
                    <a:pt x="27" y="436"/>
                  </a:lnTo>
                  <a:lnTo>
                    <a:pt x="29" y="436"/>
                  </a:lnTo>
                  <a:lnTo>
                    <a:pt x="29" y="436"/>
                  </a:lnTo>
                  <a:lnTo>
                    <a:pt x="29" y="436"/>
                  </a:lnTo>
                  <a:lnTo>
                    <a:pt x="29" y="436"/>
                  </a:lnTo>
                  <a:lnTo>
                    <a:pt x="29" y="434"/>
                  </a:lnTo>
                  <a:lnTo>
                    <a:pt x="29" y="434"/>
                  </a:lnTo>
                  <a:lnTo>
                    <a:pt x="29" y="434"/>
                  </a:lnTo>
                  <a:lnTo>
                    <a:pt x="29" y="434"/>
                  </a:lnTo>
                  <a:lnTo>
                    <a:pt x="29" y="434"/>
                  </a:lnTo>
                  <a:lnTo>
                    <a:pt x="29" y="434"/>
                  </a:lnTo>
                  <a:lnTo>
                    <a:pt x="29" y="434"/>
                  </a:lnTo>
                  <a:lnTo>
                    <a:pt x="29" y="432"/>
                  </a:lnTo>
                  <a:lnTo>
                    <a:pt x="29" y="432"/>
                  </a:lnTo>
                  <a:lnTo>
                    <a:pt x="29" y="432"/>
                  </a:lnTo>
                  <a:lnTo>
                    <a:pt x="29" y="432"/>
                  </a:lnTo>
                  <a:lnTo>
                    <a:pt x="29" y="430"/>
                  </a:lnTo>
                  <a:lnTo>
                    <a:pt x="29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0"/>
                  </a:lnTo>
                  <a:lnTo>
                    <a:pt x="27" y="427"/>
                  </a:lnTo>
                  <a:lnTo>
                    <a:pt x="27" y="427"/>
                  </a:lnTo>
                  <a:lnTo>
                    <a:pt x="27" y="427"/>
                  </a:lnTo>
                  <a:lnTo>
                    <a:pt x="27" y="427"/>
                  </a:lnTo>
                  <a:lnTo>
                    <a:pt x="27" y="425"/>
                  </a:lnTo>
                  <a:lnTo>
                    <a:pt x="27" y="425"/>
                  </a:lnTo>
                  <a:lnTo>
                    <a:pt x="27" y="425"/>
                  </a:lnTo>
                  <a:lnTo>
                    <a:pt x="27" y="425"/>
                  </a:lnTo>
                  <a:lnTo>
                    <a:pt x="27" y="425"/>
                  </a:lnTo>
                  <a:lnTo>
                    <a:pt x="27" y="423"/>
                  </a:lnTo>
                  <a:lnTo>
                    <a:pt x="27" y="423"/>
                  </a:lnTo>
                  <a:lnTo>
                    <a:pt x="27" y="425"/>
                  </a:lnTo>
                  <a:lnTo>
                    <a:pt x="27" y="425"/>
                  </a:lnTo>
                  <a:lnTo>
                    <a:pt x="29" y="425"/>
                  </a:lnTo>
                  <a:lnTo>
                    <a:pt x="29" y="425"/>
                  </a:lnTo>
                  <a:lnTo>
                    <a:pt x="29" y="425"/>
                  </a:lnTo>
                  <a:lnTo>
                    <a:pt x="29" y="425"/>
                  </a:lnTo>
                  <a:lnTo>
                    <a:pt x="29" y="425"/>
                  </a:lnTo>
                  <a:lnTo>
                    <a:pt x="29" y="425"/>
                  </a:lnTo>
                  <a:lnTo>
                    <a:pt x="29" y="423"/>
                  </a:lnTo>
                  <a:lnTo>
                    <a:pt x="29" y="423"/>
                  </a:lnTo>
                  <a:lnTo>
                    <a:pt x="29" y="423"/>
                  </a:lnTo>
                  <a:lnTo>
                    <a:pt x="29" y="423"/>
                  </a:lnTo>
                  <a:lnTo>
                    <a:pt x="29" y="421"/>
                  </a:lnTo>
                  <a:lnTo>
                    <a:pt x="29" y="421"/>
                  </a:lnTo>
                  <a:lnTo>
                    <a:pt x="29" y="421"/>
                  </a:lnTo>
                  <a:lnTo>
                    <a:pt x="29" y="421"/>
                  </a:lnTo>
                  <a:lnTo>
                    <a:pt x="29" y="418"/>
                  </a:lnTo>
                  <a:lnTo>
                    <a:pt x="29" y="418"/>
                  </a:lnTo>
                  <a:lnTo>
                    <a:pt x="29" y="418"/>
                  </a:lnTo>
                  <a:lnTo>
                    <a:pt x="29" y="418"/>
                  </a:lnTo>
                  <a:lnTo>
                    <a:pt x="29" y="418"/>
                  </a:lnTo>
                  <a:lnTo>
                    <a:pt x="29" y="416"/>
                  </a:lnTo>
                  <a:lnTo>
                    <a:pt x="29" y="412"/>
                  </a:lnTo>
                  <a:lnTo>
                    <a:pt x="27" y="412"/>
                  </a:lnTo>
                  <a:lnTo>
                    <a:pt x="27" y="409"/>
                  </a:lnTo>
                  <a:lnTo>
                    <a:pt x="27" y="409"/>
                  </a:lnTo>
                  <a:lnTo>
                    <a:pt x="27" y="407"/>
                  </a:lnTo>
                  <a:lnTo>
                    <a:pt x="27" y="407"/>
                  </a:lnTo>
                  <a:lnTo>
                    <a:pt x="29" y="407"/>
                  </a:lnTo>
                  <a:lnTo>
                    <a:pt x="29" y="407"/>
                  </a:lnTo>
                  <a:lnTo>
                    <a:pt x="29" y="405"/>
                  </a:lnTo>
                  <a:lnTo>
                    <a:pt x="29" y="405"/>
                  </a:lnTo>
                  <a:lnTo>
                    <a:pt x="29" y="405"/>
                  </a:lnTo>
                  <a:lnTo>
                    <a:pt x="32" y="405"/>
                  </a:lnTo>
                  <a:lnTo>
                    <a:pt x="32" y="405"/>
                  </a:lnTo>
                  <a:lnTo>
                    <a:pt x="34" y="405"/>
                  </a:lnTo>
                  <a:lnTo>
                    <a:pt x="34" y="405"/>
                  </a:lnTo>
                  <a:lnTo>
                    <a:pt x="34" y="405"/>
                  </a:lnTo>
                  <a:lnTo>
                    <a:pt x="36" y="405"/>
                  </a:lnTo>
                  <a:lnTo>
                    <a:pt x="36" y="405"/>
                  </a:lnTo>
                  <a:lnTo>
                    <a:pt x="36" y="405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3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398"/>
                  </a:lnTo>
                  <a:lnTo>
                    <a:pt x="36" y="398"/>
                  </a:lnTo>
                  <a:lnTo>
                    <a:pt x="34" y="398"/>
                  </a:lnTo>
                  <a:lnTo>
                    <a:pt x="34" y="398"/>
                  </a:lnTo>
                  <a:lnTo>
                    <a:pt x="32" y="396"/>
                  </a:lnTo>
                  <a:lnTo>
                    <a:pt x="32" y="394"/>
                  </a:lnTo>
                  <a:lnTo>
                    <a:pt x="32" y="391"/>
                  </a:lnTo>
                  <a:lnTo>
                    <a:pt x="29" y="391"/>
                  </a:lnTo>
                  <a:lnTo>
                    <a:pt x="29" y="391"/>
                  </a:lnTo>
                  <a:lnTo>
                    <a:pt x="29" y="391"/>
                  </a:lnTo>
                  <a:lnTo>
                    <a:pt x="29" y="391"/>
                  </a:lnTo>
                  <a:lnTo>
                    <a:pt x="29" y="391"/>
                  </a:lnTo>
                  <a:lnTo>
                    <a:pt x="29" y="389"/>
                  </a:lnTo>
                  <a:lnTo>
                    <a:pt x="29" y="389"/>
                  </a:lnTo>
                  <a:lnTo>
                    <a:pt x="29" y="389"/>
                  </a:lnTo>
                  <a:lnTo>
                    <a:pt x="29" y="389"/>
                  </a:lnTo>
                  <a:lnTo>
                    <a:pt x="29" y="389"/>
                  </a:lnTo>
                  <a:lnTo>
                    <a:pt x="29" y="389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9" y="387"/>
                  </a:lnTo>
                  <a:lnTo>
                    <a:pt x="27" y="387"/>
                  </a:lnTo>
                  <a:lnTo>
                    <a:pt x="27" y="385"/>
                  </a:lnTo>
                  <a:lnTo>
                    <a:pt x="27" y="385"/>
                  </a:lnTo>
                  <a:lnTo>
                    <a:pt x="25" y="382"/>
                  </a:lnTo>
                  <a:lnTo>
                    <a:pt x="25" y="380"/>
                  </a:lnTo>
                  <a:lnTo>
                    <a:pt x="23" y="378"/>
                  </a:lnTo>
                  <a:lnTo>
                    <a:pt x="23" y="378"/>
                  </a:lnTo>
                  <a:lnTo>
                    <a:pt x="23" y="378"/>
                  </a:lnTo>
                  <a:lnTo>
                    <a:pt x="23" y="378"/>
                  </a:lnTo>
                  <a:lnTo>
                    <a:pt x="25" y="378"/>
                  </a:lnTo>
                  <a:lnTo>
                    <a:pt x="25" y="376"/>
                  </a:lnTo>
                  <a:lnTo>
                    <a:pt x="25" y="376"/>
                  </a:lnTo>
                  <a:lnTo>
                    <a:pt x="25" y="376"/>
                  </a:lnTo>
                  <a:lnTo>
                    <a:pt x="25" y="376"/>
                  </a:lnTo>
                  <a:lnTo>
                    <a:pt x="25" y="376"/>
                  </a:lnTo>
                  <a:lnTo>
                    <a:pt x="25" y="376"/>
                  </a:lnTo>
                  <a:lnTo>
                    <a:pt x="25" y="373"/>
                  </a:lnTo>
                  <a:lnTo>
                    <a:pt x="25" y="373"/>
                  </a:lnTo>
                  <a:lnTo>
                    <a:pt x="23" y="373"/>
                  </a:lnTo>
                  <a:lnTo>
                    <a:pt x="23" y="373"/>
                  </a:lnTo>
                  <a:lnTo>
                    <a:pt x="23" y="371"/>
                  </a:lnTo>
                  <a:lnTo>
                    <a:pt x="23" y="371"/>
                  </a:lnTo>
                  <a:lnTo>
                    <a:pt x="20" y="371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3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0" y="367"/>
                  </a:lnTo>
                  <a:lnTo>
                    <a:pt x="20" y="367"/>
                  </a:lnTo>
                  <a:lnTo>
                    <a:pt x="20" y="367"/>
                  </a:lnTo>
                  <a:lnTo>
                    <a:pt x="20" y="364"/>
                  </a:lnTo>
                  <a:lnTo>
                    <a:pt x="23" y="364"/>
                  </a:lnTo>
                  <a:lnTo>
                    <a:pt x="20" y="364"/>
                  </a:lnTo>
                  <a:lnTo>
                    <a:pt x="20" y="364"/>
                  </a:lnTo>
                  <a:lnTo>
                    <a:pt x="20" y="362"/>
                  </a:lnTo>
                  <a:lnTo>
                    <a:pt x="20" y="362"/>
                  </a:lnTo>
                  <a:lnTo>
                    <a:pt x="20" y="362"/>
                  </a:lnTo>
                  <a:lnTo>
                    <a:pt x="18" y="362"/>
                  </a:lnTo>
                  <a:lnTo>
                    <a:pt x="18" y="362"/>
                  </a:lnTo>
                  <a:lnTo>
                    <a:pt x="20" y="362"/>
                  </a:lnTo>
                  <a:lnTo>
                    <a:pt x="20" y="362"/>
                  </a:lnTo>
                  <a:lnTo>
                    <a:pt x="20" y="362"/>
                  </a:lnTo>
                  <a:lnTo>
                    <a:pt x="20" y="362"/>
                  </a:lnTo>
                  <a:lnTo>
                    <a:pt x="20" y="362"/>
                  </a:lnTo>
                  <a:lnTo>
                    <a:pt x="20" y="360"/>
                  </a:lnTo>
                  <a:lnTo>
                    <a:pt x="20" y="360"/>
                  </a:lnTo>
                  <a:lnTo>
                    <a:pt x="20" y="360"/>
                  </a:lnTo>
                  <a:lnTo>
                    <a:pt x="20" y="360"/>
                  </a:lnTo>
                  <a:lnTo>
                    <a:pt x="20" y="360"/>
                  </a:lnTo>
                  <a:lnTo>
                    <a:pt x="20" y="360"/>
                  </a:lnTo>
                  <a:lnTo>
                    <a:pt x="20" y="360"/>
                  </a:lnTo>
                  <a:lnTo>
                    <a:pt x="18" y="360"/>
                  </a:lnTo>
                  <a:lnTo>
                    <a:pt x="18" y="360"/>
                  </a:lnTo>
                  <a:lnTo>
                    <a:pt x="18" y="360"/>
                  </a:lnTo>
                  <a:lnTo>
                    <a:pt x="18" y="360"/>
                  </a:lnTo>
                  <a:lnTo>
                    <a:pt x="18" y="360"/>
                  </a:lnTo>
                  <a:lnTo>
                    <a:pt x="18" y="360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18" y="358"/>
                  </a:lnTo>
                  <a:lnTo>
                    <a:pt x="18" y="355"/>
                  </a:lnTo>
                  <a:lnTo>
                    <a:pt x="18" y="355"/>
                  </a:lnTo>
                  <a:lnTo>
                    <a:pt x="18" y="355"/>
                  </a:lnTo>
                  <a:lnTo>
                    <a:pt x="18" y="355"/>
                  </a:lnTo>
                  <a:lnTo>
                    <a:pt x="18" y="355"/>
                  </a:lnTo>
                  <a:lnTo>
                    <a:pt x="20" y="355"/>
                  </a:lnTo>
                  <a:lnTo>
                    <a:pt x="20" y="355"/>
                  </a:lnTo>
                  <a:lnTo>
                    <a:pt x="20" y="355"/>
                  </a:lnTo>
                  <a:lnTo>
                    <a:pt x="20" y="355"/>
                  </a:lnTo>
                  <a:lnTo>
                    <a:pt x="20" y="353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18" y="351"/>
                  </a:lnTo>
                  <a:lnTo>
                    <a:pt x="20" y="351"/>
                  </a:lnTo>
                  <a:lnTo>
                    <a:pt x="20" y="351"/>
                  </a:lnTo>
                  <a:lnTo>
                    <a:pt x="20" y="351"/>
                  </a:lnTo>
                  <a:lnTo>
                    <a:pt x="20" y="351"/>
                  </a:lnTo>
                  <a:lnTo>
                    <a:pt x="20" y="351"/>
                  </a:lnTo>
                  <a:lnTo>
                    <a:pt x="20" y="349"/>
                  </a:lnTo>
                  <a:lnTo>
                    <a:pt x="20" y="349"/>
                  </a:lnTo>
                  <a:lnTo>
                    <a:pt x="20" y="349"/>
                  </a:lnTo>
                  <a:lnTo>
                    <a:pt x="23" y="349"/>
                  </a:lnTo>
                  <a:lnTo>
                    <a:pt x="23" y="349"/>
                  </a:lnTo>
                  <a:lnTo>
                    <a:pt x="23" y="349"/>
                  </a:lnTo>
                  <a:lnTo>
                    <a:pt x="23" y="349"/>
                  </a:lnTo>
                  <a:lnTo>
                    <a:pt x="23" y="349"/>
                  </a:lnTo>
                  <a:lnTo>
                    <a:pt x="23" y="349"/>
                  </a:lnTo>
                  <a:lnTo>
                    <a:pt x="25" y="349"/>
                  </a:lnTo>
                  <a:lnTo>
                    <a:pt x="25" y="349"/>
                  </a:lnTo>
                  <a:lnTo>
                    <a:pt x="25" y="349"/>
                  </a:lnTo>
                  <a:lnTo>
                    <a:pt x="25" y="349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5" y="344"/>
                  </a:lnTo>
                  <a:lnTo>
                    <a:pt x="27" y="344"/>
                  </a:lnTo>
                  <a:lnTo>
                    <a:pt x="27" y="344"/>
                  </a:lnTo>
                  <a:lnTo>
                    <a:pt x="27" y="344"/>
                  </a:lnTo>
                  <a:lnTo>
                    <a:pt x="27" y="344"/>
                  </a:lnTo>
                  <a:lnTo>
                    <a:pt x="27" y="344"/>
                  </a:lnTo>
                  <a:lnTo>
                    <a:pt x="27" y="342"/>
                  </a:lnTo>
                  <a:lnTo>
                    <a:pt x="27" y="342"/>
                  </a:lnTo>
                  <a:lnTo>
                    <a:pt x="27" y="342"/>
                  </a:lnTo>
                  <a:lnTo>
                    <a:pt x="27" y="342"/>
                  </a:lnTo>
                  <a:lnTo>
                    <a:pt x="27" y="342"/>
                  </a:lnTo>
                  <a:lnTo>
                    <a:pt x="29" y="342"/>
                  </a:lnTo>
                  <a:lnTo>
                    <a:pt x="29" y="342"/>
                  </a:lnTo>
                  <a:lnTo>
                    <a:pt x="29" y="342"/>
                  </a:lnTo>
                  <a:lnTo>
                    <a:pt x="29" y="342"/>
                  </a:lnTo>
                  <a:lnTo>
                    <a:pt x="29" y="342"/>
                  </a:lnTo>
                  <a:lnTo>
                    <a:pt x="29" y="342"/>
                  </a:lnTo>
                  <a:lnTo>
                    <a:pt x="29" y="340"/>
                  </a:lnTo>
                  <a:lnTo>
                    <a:pt x="29" y="340"/>
                  </a:lnTo>
                  <a:lnTo>
                    <a:pt x="29" y="340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9" y="337"/>
                  </a:lnTo>
                  <a:lnTo>
                    <a:pt x="27" y="337"/>
                  </a:lnTo>
                  <a:lnTo>
                    <a:pt x="27" y="337"/>
                  </a:lnTo>
                  <a:lnTo>
                    <a:pt x="27" y="335"/>
                  </a:lnTo>
                  <a:lnTo>
                    <a:pt x="29" y="335"/>
                  </a:lnTo>
                  <a:lnTo>
                    <a:pt x="29" y="333"/>
                  </a:lnTo>
                  <a:lnTo>
                    <a:pt x="27" y="333"/>
                  </a:lnTo>
                  <a:lnTo>
                    <a:pt x="27" y="331"/>
                  </a:lnTo>
                  <a:lnTo>
                    <a:pt x="27" y="331"/>
                  </a:lnTo>
                  <a:lnTo>
                    <a:pt x="27" y="331"/>
                  </a:lnTo>
                  <a:lnTo>
                    <a:pt x="27" y="328"/>
                  </a:lnTo>
                  <a:lnTo>
                    <a:pt x="25" y="328"/>
                  </a:lnTo>
                  <a:lnTo>
                    <a:pt x="25" y="328"/>
                  </a:lnTo>
                  <a:lnTo>
                    <a:pt x="25" y="326"/>
                  </a:lnTo>
                  <a:lnTo>
                    <a:pt x="25" y="326"/>
                  </a:lnTo>
                  <a:lnTo>
                    <a:pt x="25" y="326"/>
                  </a:lnTo>
                  <a:lnTo>
                    <a:pt x="25" y="324"/>
                  </a:lnTo>
                  <a:lnTo>
                    <a:pt x="25" y="324"/>
                  </a:lnTo>
                  <a:lnTo>
                    <a:pt x="25" y="324"/>
                  </a:lnTo>
                  <a:lnTo>
                    <a:pt x="25" y="324"/>
                  </a:lnTo>
                  <a:lnTo>
                    <a:pt x="25" y="324"/>
                  </a:lnTo>
                  <a:lnTo>
                    <a:pt x="25" y="324"/>
                  </a:lnTo>
                  <a:lnTo>
                    <a:pt x="23" y="322"/>
                  </a:lnTo>
                  <a:lnTo>
                    <a:pt x="23" y="322"/>
                  </a:lnTo>
                  <a:lnTo>
                    <a:pt x="23" y="322"/>
                  </a:lnTo>
                  <a:lnTo>
                    <a:pt x="20" y="322"/>
                  </a:lnTo>
                  <a:lnTo>
                    <a:pt x="23" y="319"/>
                  </a:lnTo>
                  <a:lnTo>
                    <a:pt x="25" y="319"/>
                  </a:lnTo>
                  <a:lnTo>
                    <a:pt x="25" y="317"/>
                  </a:lnTo>
                  <a:lnTo>
                    <a:pt x="25" y="315"/>
                  </a:lnTo>
                  <a:lnTo>
                    <a:pt x="25" y="315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3" y="310"/>
                  </a:lnTo>
                  <a:lnTo>
                    <a:pt x="23" y="308"/>
                  </a:lnTo>
                  <a:lnTo>
                    <a:pt x="23" y="308"/>
                  </a:lnTo>
                  <a:lnTo>
                    <a:pt x="25" y="308"/>
                  </a:lnTo>
                  <a:lnTo>
                    <a:pt x="25" y="308"/>
                  </a:lnTo>
                  <a:lnTo>
                    <a:pt x="25" y="308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25" y="301"/>
                  </a:lnTo>
                  <a:lnTo>
                    <a:pt x="27" y="301"/>
                  </a:lnTo>
                  <a:lnTo>
                    <a:pt x="27" y="301"/>
                  </a:lnTo>
                  <a:lnTo>
                    <a:pt x="27" y="301"/>
                  </a:lnTo>
                  <a:lnTo>
                    <a:pt x="27" y="299"/>
                  </a:lnTo>
                  <a:lnTo>
                    <a:pt x="25" y="299"/>
                  </a:lnTo>
                  <a:lnTo>
                    <a:pt x="25" y="299"/>
                  </a:lnTo>
                  <a:lnTo>
                    <a:pt x="27" y="299"/>
                  </a:lnTo>
                  <a:lnTo>
                    <a:pt x="27" y="297"/>
                  </a:lnTo>
                  <a:lnTo>
                    <a:pt x="27" y="297"/>
                  </a:lnTo>
                  <a:lnTo>
                    <a:pt x="27" y="297"/>
                  </a:lnTo>
                  <a:lnTo>
                    <a:pt x="29" y="299"/>
                  </a:lnTo>
                  <a:lnTo>
                    <a:pt x="29" y="299"/>
                  </a:lnTo>
                  <a:lnTo>
                    <a:pt x="29" y="297"/>
                  </a:lnTo>
                  <a:lnTo>
                    <a:pt x="29" y="297"/>
                  </a:lnTo>
                  <a:lnTo>
                    <a:pt x="29" y="297"/>
                  </a:lnTo>
                  <a:lnTo>
                    <a:pt x="29" y="297"/>
                  </a:lnTo>
                  <a:lnTo>
                    <a:pt x="29" y="297"/>
                  </a:lnTo>
                  <a:lnTo>
                    <a:pt x="29" y="295"/>
                  </a:lnTo>
                  <a:lnTo>
                    <a:pt x="29" y="295"/>
                  </a:lnTo>
                  <a:lnTo>
                    <a:pt x="29" y="295"/>
                  </a:lnTo>
                  <a:lnTo>
                    <a:pt x="29" y="295"/>
                  </a:lnTo>
                  <a:lnTo>
                    <a:pt x="29" y="295"/>
                  </a:lnTo>
                  <a:lnTo>
                    <a:pt x="29" y="295"/>
                  </a:lnTo>
                  <a:lnTo>
                    <a:pt x="29" y="292"/>
                  </a:lnTo>
                  <a:lnTo>
                    <a:pt x="29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90"/>
                  </a:lnTo>
                  <a:lnTo>
                    <a:pt x="27" y="288"/>
                  </a:lnTo>
                  <a:lnTo>
                    <a:pt x="27" y="288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6"/>
                  </a:lnTo>
                  <a:lnTo>
                    <a:pt x="27" y="283"/>
                  </a:lnTo>
                  <a:lnTo>
                    <a:pt x="25" y="283"/>
                  </a:lnTo>
                  <a:lnTo>
                    <a:pt x="25" y="283"/>
                  </a:lnTo>
                  <a:lnTo>
                    <a:pt x="25" y="281"/>
                  </a:lnTo>
                  <a:lnTo>
                    <a:pt x="25" y="281"/>
                  </a:lnTo>
                  <a:lnTo>
                    <a:pt x="25" y="281"/>
                  </a:lnTo>
                  <a:lnTo>
                    <a:pt x="25" y="281"/>
                  </a:lnTo>
                  <a:lnTo>
                    <a:pt x="25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5" y="277"/>
                  </a:lnTo>
                  <a:lnTo>
                    <a:pt x="25" y="275"/>
                  </a:lnTo>
                  <a:lnTo>
                    <a:pt x="25" y="275"/>
                  </a:lnTo>
                  <a:lnTo>
                    <a:pt x="25" y="275"/>
                  </a:lnTo>
                  <a:lnTo>
                    <a:pt x="23" y="275"/>
                  </a:lnTo>
                  <a:lnTo>
                    <a:pt x="23" y="275"/>
                  </a:lnTo>
                  <a:lnTo>
                    <a:pt x="23" y="275"/>
                  </a:lnTo>
                  <a:lnTo>
                    <a:pt x="23" y="275"/>
                  </a:lnTo>
                  <a:lnTo>
                    <a:pt x="20" y="275"/>
                  </a:lnTo>
                  <a:lnTo>
                    <a:pt x="20" y="272"/>
                  </a:lnTo>
                  <a:lnTo>
                    <a:pt x="20" y="272"/>
                  </a:lnTo>
                  <a:lnTo>
                    <a:pt x="18" y="272"/>
                  </a:lnTo>
                  <a:lnTo>
                    <a:pt x="18" y="272"/>
                  </a:lnTo>
                  <a:lnTo>
                    <a:pt x="18" y="272"/>
                  </a:lnTo>
                  <a:lnTo>
                    <a:pt x="18" y="270"/>
                  </a:lnTo>
                  <a:lnTo>
                    <a:pt x="18" y="270"/>
                  </a:lnTo>
                  <a:lnTo>
                    <a:pt x="18" y="270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20" y="268"/>
                  </a:lnTo>
                  <a:lnTo>
                    <a:pt x="20" y="268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20" y="266"/>
                  </a:lnTo>
                  <a:lnTo>
                    <a:pt x="18" y="266"/>
                  </a:lnTo>
                  <a:lnTo>
                    <a:pt x="18" y="266"/>
                  </a:lnTo>
                  <a:lnTo>
                    <a:pt x="18" y="263"/>
                  </a:lnTo>
                  <a:lnTo>
                    <a:pt x="18" y="263"/>
                  </a:lnTo>
                  <a:lnTo>
                    <a:pt x="16" y="263"/>
                  </a:lnTo>
                  <a:lnTo>
                    <a:pt x="16" y="261"/>
                  </a:lnTo>
                  <a:lnTo>
                    <a:pt x="14" y="259"/>
                  </a:lnTo>
                  <a:lnTo>
                    <a:pt x="14" y="259"/>
                  </a:lnTo>
                  <a:lnTo>
                    <a:pt x="14" y="259"/>
                  </a:lnTo>
                  <a:lnTo>
                    <a:pt x="14" y="259"/>
                  </a:lnTo>
                  <a:lnTo>
                    <a:pt x="14" y="257"/>
                  </a:lnTo>
                  <a:lnTo>
                    <a:pt x="16" y="257"/>
                  </a:lnTo>
                  <a:lnTo>
                    <a:pt x="16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7"/>
                  </a:lnTo>
                  <a:lnTo>
                    <a:pt x="14" y="254"/>
                  </a:lnTo>
                  <a:lnTo>
                    <a:pt x="14" y="254"/>
                  </a:lnTo>
                  <a:lnTo>
                    <a:pt x="14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11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50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8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7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5"/>
                  </a:lnTo>
                  <a:lnTo>
                    <a:pt x="9" y="243"/>
                  </a:lnTo>
                  <a:lnTo>
                    <a:pt x="9" y="243"/>
                  </a:lnTo>
                  <a:lnTo>
                    <a:pt x="9" y="243"/>
                  </a:lnTo>
                  <a:lnTo>
                    <a:pt x="9" y="243"/>
                  </a:lnTo>
                  <a:lnTo>
                    <a:pt x="9" y="243"/>
                  </a:lnTo>
                  <a:lnTo>
                    <a:pt x="9" y="243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7" y="241"/>
                  </a:lnTo>
                  <a:lnTo>
                    <a:pt x="7" y="241"/>
                  </a:lnTo>
                  <a:lnTo>
                    <a:pt x="7" y="241"/>
                  </a:lnTo>
                  <a:lnTo>
                    <a:pt x="5" y="241"/>
                  </a:lnTo>
                  <a:lnTo>
                    <a:pt x="5" y="241"/>
                  </a:lnTo>
                  <a:lnTo>
                    <a:pt x="5" y="239"/>
                  </a:lnTo>
                  <a:lnTo>
                    <a:pt x="5" y="239"/>
                  </a:lnTo>
                  <a:lnTo>
                    <a:pt x="5" y="239"/>
                  </a:lnTo>
                  <a:lnTo>
                    <a:pt x="5" y="236"/>
                  </a:lnTo>
                  <a:lnTo>
                    <a:pt x="3" y="236"/>
                  </a:lnTo>
                  <a:lnTo>
                    <a:pt x="3" y="234"/>
                  </a:lnTo>
                  <a:lnTo>
                    <a:pt x="0" y="234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2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7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0" y="225"/>
                  </a:lnTo>
                  <a:lnTo>
                    <a:pt x="0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3" y="223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3" y="218"/>
                  </a:lnTo>
                  <a:lnTo>
                    <a:pt x="3" y="218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2"/>
                  </a:lnTo>
                  <a:lnTo>
                    <a:pt x="3" y="212"/>
                  </a:lnTo>
                  <a:lnTo>
                    <a:pt x="3" y="212"/>
                  </a:lnTo>
                  <a:lnTo>
                    <a:pt x="5" y="212"/>
                  </a:lnTo>
                  <a:lnTo>
                    <a:pt x="5" y="209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7"/>
                  </a:lnTo>
                  <a:lnTo>
                    <a:pt x="5" y="205"/>
                  </a:lnTo>
                  <a:lnTo>
                    <a:pt x="5" y="205"/>
                  </a:lnTo>
                  <a:lnTo>
                    <a:pt x="5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5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3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200"/>
                  </a:lnTo>
                  <a:lnTo>
                    <a:pt x="9" y="198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7" y="198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1"/>
                  </a:lnTo>
                  <a:lnTo>
                    <a:pt x="7" y="189"/>
                  </a:lnTo>
                  <a:lnTo>
                    <a:pt x="5" y="189"/>
                  </a:lnTo>
                  <a:lnTo>
                    <a:pt x="5" y="189"/>
                  </a:lnTo>
                  <a:lnTo>
                    <a:pt x="5" y="189"/>
                  </a:lnTo>
                  <a:lnTo>
                    <a:pt x="5" y="187"/>
                  </a:lnTo>
                  <a:lnTo>
                    <a:pt x="5" y="187"/>
                  </a:lnTo>
                  <a:lnTo>
                    <a:pt x="5" y="187"/>
                  </a:lnTo>
                  <a:lnTo>
                    <a:pt x="5" y="185"/>
                  </a:lnTo>
                  <a:lnTo>
                    <a:pt x="5" y="185"/>
                  </a:lnTo>
                  <a:lnTo>
                    <a:pt x="3" y="185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2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80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5" y="178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7" y="176"/>
                  </a:lnTo>
                  <a:lnTo>
                    <a:pt x="7" y="173"/>
                  </a:lnTo>
                  <a:lnTo>
                    <a:pt x="7" y="173"/>
                  </a:lnTo>
                  <a:lnTo>
                    <a:pt x="5" y="173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7" y="169"/>
                  </a:lnTo>
                  <a:lnTo>
                    <a:pt x="7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7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7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11" y="153"/>
                  </a:lnTo>
                  <a:lnTo>
                    <a:pt x="11" y="151"/>
                  </a:lnTo>
                  <a:lnTo>
                    <a:pt x="11" y="151"/>
                  </a:lnTo>
                  <a:lnTo>
                    <a:pt x="11" y="149"/>
                  </a:lnTo>
                  <a:lnTo>
                    <a:pt x="11" y="149"/>
                  </a:lnTo>
                  <a:lnTo>
                    <a:pt x="11" y="149"/>
                  </a:lnTo>
                  <a:lnTo>
                    <a:pt x="11" y="149"/>
                  </a:lnTo>
                  <a:lnTo>
                    <a:pt x="11" y="149"/>
                  </a:lnTo>
                  <a:lnTo>
                    <a:pt x="11" y="149"/>
                  </a:lnTo>
                  <a:lnTo>
                    <a:pt x="11" y="149"/>
                  </a:lnTo>
                  <a:lnTo>
                    <a:pt x="14" y="149"/>
                  </a:lnTo>
                  <a:lnTo>
                    <a:pt x="14" y="149"/>
                  </a:lnTo>
                  <a:lnTo>
                    <a:pt x="14" y="146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6" y="142"/>
                  </a:lnTo>
                  <a:lnTo>
                    <a:pt x="14" y="142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6" y="140"/>
                  </a:lnTo>
                  <a:lnTo>
                    <a:pt x="16" y="140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8" y="133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20" y="128"/>
                  </a:lnTo>
                  <a:lnTo>
                    <a:pt x="20" y="128"/>
                  </a:lnTo>
                  <a:lnTo>
                    <a:pt x="23" y="128"/>
                  </a:lnTo>
                  <a:lnTo>
                    <a:pt x="23" y="128"/>
                  </a:lnTo>
                  <a:lnTo>
                    <a:pt x="23" y="128"/>
                  </a:lnTo>
                  <a:lnTo>
                    <a:pt x="23" y="128"/>
                  </a:lnTo>
                  <a:lnTo>
                    <a:pt x="23" y="128"/>
                  </a:lnTo>
                  <a:lnTo>
                    <a:pt x="23" y="128"/>
                  </a:lnTo>
                  <a:lnTo>
                    <a:pt x="23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4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0" y="115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20" y="110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3" y="104"/>
                  </a:lnTo>
                  <a:lnTo>
                    <a:pt x="20" y="97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6" y="90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0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47"/>
                  </a:lnTo>
                  <a:lnTo>
                    <a:pt x="41" y="41"/>
                  </a:lnTo>
                  <a:lnTo>
                    <a:pt x="41" y="36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38" y="25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50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5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5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7" name="Freeform 656"/>
            <p:cNvSpPr>
              <a:spLocks/>
            </p:cNvSpPr>
            <p:nvPr/>
          </p:nvSpPr>
          <p:spPr bwMode="auto">
            <a:xfrm>
              <a:off x="3499799" y="3285483"/>
              <a:ext cx="8358" cy="6686"/>
            </a:xfrm>
            <a:custGeom>
              <a:avLst/>
              <a:gdLst>
                <a:gd name="T0" fmla="*/ 2 w 5"/>
                <a:gd name="T1" fmla="*/ 0 h 4"/>
                <a:gd name="T2" fmla="*/ 2 w 5"/>
                <a:gd name="T3" fmla="*/ 0 h 4"/>
                <a:gd name="T4" fmla="*/ 2 w 5"/>
                <a:gd name="T5" fmla="*/ 0 h 4"/>
                <a:gd name="T6" fmla="*/ 2 w 5"/>
                <a:gd name="T7" fmla="*/ 0 h 4"/>
                <a:gd name="T8" fmla="*/ 2 w 5"/>
                <a:gd name="T9" fmla="*/ 0 h 4"/>
                <a:gd name="T10" fmla="*/ 2 w 5"/>
                <a:gd name="T11" fmla="*/ 0 h 4"/>
                <a:gd name="T12" fmla="*/ 2 w 5"/>
                <a:gd name="T13" fmla="*/ 0 h 4"/>
                <a:gd name="T14" fmla="*/ 2 w 5"/>
                <a:gd name="T15" fmla="*/ 0 h 4"/>
                <a:gd name="T16" fmla="*/ 2 w 5"/>
                <a:gd name="T17" fmla="*/ 0 h 4"/>
                <a:gd name="T18" fmla="*/ 2 w 5"/>
                <a:gd name="T19" fmla="*/ 0 h 4"/>
                <a:gd name="T20" fmla="*/ 2 w 5"/>
                <a:gd name="T21" fmla="*/ 0 h 4"/>
                <a:gd name="T22" fmla="*/ 2 w 5"/>
                <a:gd name="T23" fmla="*/ 0 h 4"/>
                <a:gd name="T24" fmla="*/ 2 w 5"/>
                <a:gd name="T25" fmla="*/ 0 h 4"/>
                <a:gd name="T26" fmla="*/ 2 w 5"/>
                <a:gd name="T27" fmla="*/ 0 h 4"/>
                <a:gd name="T28" fmla="*/ 2 w 5"/>
                <a:gd name="T29" fmla="*/ 2 h 4"/>
                <a:gd name="T30" fmla="*/ 2 w 5"/>
                <a:gd name="T31" fmla="*/ 2 h 4"/>
                <a:gd name="T32" fmla="*/ 2 w 5"/>
                <a:gd name="T33" fmla="*/ 0 h 4"/>
                <a:gd name="T34" fmla="*/ 5 w 5"/>
                <a:gd name="T35" fmla="*/ 0 h 4"/>
                <a:gd name="T36" fmla="*/ 5 w 5"/>
                <a:gd name="T37" fmla="*/ 0 h 4"/>
                <a:gd name="T38" fmla="*/ 5 w 5"/>
                <a:gd name="T39" fmla="*/ 2 h 4"/>
                <a:gd name="T40" fmla="*/ 5 w 5"/>
                <a:gd name="T41" fmla="*/ 2 h 4"/>
                <a:gd name="T42" fmla="*/ 5 w 5"/>
                <a:gd name="T43" fmla="*/ 2 h 4"/>
                <a:gd name="T44" fmla="*/ 2 w 5"/>
                <a:gd name="T45" fmla="*/ 2 h 4"/>
                <a:gd name="T46" fmla="*/ 2 w 5"/>
                <a:gd name="T47" fmla="*/ 2 h 4"/>
                <a:gd name="T48" fmla="*/ 2 w 5"/>
                <a:gd name="T49" fmla="*/ 2 h 4"/>
                <a:gd name="T50" fmla="*/ 5 w 5"/>
                <a:gd name="T51" fmla="*/ 2 h 4"/>
                <a:gd name="T52" fmla="*/ 5 w 5"/>
                <a:gd name="T53" fmla="*/ 2 h 4"/>
                <a:gd name="T54" fmla="*/ 5 w 5"/>
                <a:gd name="T55" fmla="*/ 2 h 4"/>
                <a:gd name="T56" fmla="*/ 2 w 5"/>
                <a:gd name="T57" fmla="*/ 2 h 4"/>
                <a:gd name="T58" fmla="*/ 2 w 5"/>
                <a:gd name="T59" fmla="*/ 2 h 4"/>
                <a:gd name="T60" fmla="*/ 2 w 5"/>
                <a:gd name="T61" fmla="*/ 2 h 4"/>
                <a:gd name="T62" fmla="*/ 2 w 5"/>
                <a:gd name="T63" fmla="*/ 2 h 4"/>
                <a:gd name="T64" fmla="*/ 2 w 5"/>
                <a:gd name="T65" fmla="*/ 2 h 4"/>
                <a:gd name="T66" fmla="*/ 2 w 5"/>
                <a:gd name="T67" fmla="*/ 2 h 4"/>
                <a:gd name="T68" fmla="*/ 2 w 5"/>
                <a:gd name="T69" fmla="*/ 2 h 4"/>
                <a:gd name="T70" fmla="*/ 2 w 5"/>
                <a:gd name="T71" fmla="*/ 4 h 4"/>
                <a:gd name="T72" fmla="*/ 2 w 5"/>
                <a:gd name="T73" fmla="*/ 4 h 4"/>
                <a:gd name="T74" fmla="*/ 2 w 5"/>
                <a:gd name="T75" fmla="*/ 2 h 4"/>
                <a:gd name="T76" fmla="*/ 2 w 5"/>
                <a:gd name="T77" fmla="*/ 2 h 4"/>
                <a:gd name="T78" fmla="*/ 2 w 5"/>
                <a:gd name="T79" fmla="*/ 2 h 4"/>
                <a:gd name="T80" fmla="*/ 0 w 5"/>
                <a:gd name="T81" fmla="*/ 2 h 4"/>
                <a:gd name="T82" fmla="*/ 0 w 5"/>
                <a:gd name="T83" fmla="*/ 2 h 4"/>
                <a:gd name="T84" fmla="*/ 0 w 5"/>
                <a:gd name="T85" fmla="*/ 2 h 4"/>
                <a:gd name="T86" fmla="*/ 0 w 5"/>
                <a:gd name="T87" fmla="*/ 2 h 4"/>
                <a:gd name="T88" fmla="*/ 0 w 5"/>
                <a:gd name="T89" fmla="*/ 2 h 4"/>
                <a:gd name="T90" fmla="*/ 0 w 5"/>
                <a:gd name="T91" fmla="*/ 2 h 4"/>
                <a:gd name="T92" fmla="*/ 0 w 5"/>
                <a:gd name="T93" fmla="*/ 2 h 4"/>
                <a:gd name="T94" fmla="*/ 0 w 5"/>
                <a:gd name="T95" fmla="*/ 2 h 4"/>
                <a:gd name="T96" fmla="*/ 0 w 5"/>
                <a:gd name="T97" fmla="*/ 2 h 4"/>
                <a:gd name="T98" fmla="*/ 0 w 5"/>
                <a:gd name="T99" fmla="*/ 2 h 4"/>
                <a:gd name="T100" fmla="*/ 0 w 5"/>
                <a:gd name="T101" fmla="*/ 2 h 4"/>
                <a:gd name="T102" fmla="*/ 0 w 5"/>
                <a:gd name="T103" fmla="*/ 2 h 4"/>
                <a:gd name="T104" fmla="*/ 0 w 5"/>
                <a:gd name="T105" fmla="*/ 0 h 4"/>
                <a:gd name="T106" fmla="*/ 0 w 5"/>
                <a:gd name="T107" fmla="*/ 0 h 4"/>
                <a:gd name="T108" fmla="*/ 0 w 5"/>
                <a:gd name="T109" fmla="*/ 0 h 4"/>
                <a:gd name="T110" fmla="*/ 0 w 5"/>
                <a:gd name="T111" fmla="*/ 0 h 4"/>
                <a:gd name="T112" fmla="*/ 0 w 5"/>
                <a:gd name="T113" fmla="*/ 0 h 4"/>
                <a:gd name="T114" fmla="*/ 0 w 5"/>
                <a:gd name="T115" fmla="*/ 0 h 4"/>
                <a:gd name="T116" fmla="*/ 0 w 5"/>
                <a:gd name="T117" fmla="*/ 0 h 4"/>
                <a:gd name="T118" fmla="*/ 0 w 5"/>
                <a:gd name="T119" fmla="*/ 0 h 4"/>
                <a:gd name="T120" fmla="*/ 2 w 5"/>
                <a:gd name="T121" fmla="*/ 0 h 4"/>
                <a:gd name="T122" fmla="*/ 2 w 5"/>
                <a:gd name="T123" fmla="*/ 0 h 4"/>
                <a:gd name="T124" fmla="*/ 2 w 5"/>
                <a:gd name="T12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8" name="Freeform 658"/>
            <p:cNvSpPr>
              <a:spLocks/>
            </p:cNvSpPr>
            <p:nvPr/>
          </p:nvSpPr>
          <p:spPr bwMode="auto">
            <a:xfrm>
              <a:off x="3458014" y="3240354"/>
              <a:ext cx="8358" cy="3343"/>
            </a:xfrm>
            <a:custGeom>
              <a:avLst/>
              <a:gdLst>
                <a:gd name="T0" fmla="*/ 3 w 5"/>
                <a:gd name="T1" fmla="*/ 2 h 2"/>
                <a:gd name="T2" fmla="*/ 0 w 5"/>
                <a:gd name="T3" fmla="*/ 2 h 2"/>
                <a:gd name="T4" fmla="*/ 0 w 5"/>
                <a:gd name="T5" fmla="*/ 2 h 2"/>
                <a:gd name="T6" fmla="*/ 0 w 5"/>
                <a:gd name="T7" fmla="*/ 2 h 2"/>
                <a:gd name="T8" fmla="*/ 0 w 5"/>
                <a:gd name="T9" fmla="*/ 2 h 2"/>
                <a:gd name="T10" fmla="*/ 0 w 5"/>
                <a:gd name="T11" fmla="*/ 2 h 2"/>
                <a:gd name="T12" fmla="*/ 0 w 5"/>
                <a:gd name="T13" fmla="*/ 2 h 2"/>
                <a:gd name="T14" fmla="*/ 0 w 5"/>
                <a:gd name="T15" fmla="*/ 2 h 2"/>
                <a:gd name="T16" fmla="*/ 0 w 5"/>
                <a:gd name="T17" fmla="*/ 2 h 2"/>
                <a:gd name="T18" fmla="*/ 0 w 5"/>
                <a:gd name="T19" fmla="*/ 2 h 2"/>
                <a:gd name="T20" fmla="*/ 0 w 5"/>
                <a:gd name="T21" fmla="*/ 2 h 2"/>
                <a:gd name="T22" fmla="*/ 3 w 5"/>
                <a:gd name="T23" fmla="*/ 2 h 2"/>
                <a:gd name="T24" fmla="*/ 3 w 5"/>
                <a:gd name="T25" fmla="*/ 2 h 2"/>
                <a:gd name="T26" fmla="*/ 3 w 5"/>
                <a:gd name="T27" fmla="*/ 0 h 2"/>
                <a:gd name="T28" fmla="*/ 3 w 5"/>
                <a:gd name="T29" fmla="*/ 0 h 2"/>
                <a:gd name="T30" fmla="*/ 3 w 5"/>
                <a:gd name="T31" fmla="*/ 0 h 2"/>
                <a:gd name="T32" fmla="*/ 3 w 5"/>
                <a:gd name="T33" fmla="*/ 0 h 2"/>
                <a:gd name="T34" fmla="*/ 5 w 5"/>
                <a:gd name="T35" fmla="*/ 0 h 2"/>
                <a:gd name="T36" fmla="*/ 5 w 5"/>
                <a:gd name="T37" fmla="*/ 0 h 2"/>
                <a:gd name="T38" fmla="*/ 5 w 5"/>
                <a:gd name="T39" fmla="*/ 0 h 2"/>
                <a:gd name="T40" fmla="*/ 3 w 5"/>
                <a:gd name="T41" fmla="*/ 0 h 2"/>
                <a:gd name="T42" fmla="*/ 3 w 5"/>
                <a:gd name="T43" fmla="*/ 2 h 2"/>
                <a:gd name="T44" fmla="*/ 3 w 5"/>
                <a:gd name="T45" fmla="*/ 2 h 2"/>
                <a:gd name="T46" fmla="*/ 3 w 5"/>
                <a:gd name="T4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" h="2">
                  <a:moveTo>
                    <a:pt x="3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9" name="Freeform 659"/>
            <p:cNvSpPr>
              <a:spLocks noEditPoints="1"/>
            </p:cNvSpPr>
            <p:nvPr/>
          </p:nvSpPr>
          <p:spPr bwMode="auto">
            <a:xfrm>
              <a:off x="6048723" y="4141252"/>
              <a:ext cx="436242" cy="541542"/>
            </a:xfrm>
            <a:custGeom>
              <a:avLst/>
              <a:gdLst>
                <a:gd name="T0" fmla="*/ 61 w 261"/>
                <a:gd name="T1" fmla="*/ 36 h 324"/>
                <a:gd name="T2" fmla="*/ 102 w 261"/>
                <a:gd name="T3" fmla="*/ 36 h 324"/>
                <a:gd name="T4" fmla="*/ 108 w 261"/>
                <a:gd name="T5" fmla="*/ 41 h 324"/>
                <a:gd name="T6" fmla="*/ 108 w 261"/>
                <a:gd name="T7" fmla="*/ 50 h 324"/>
                <a:gd name="T8" fmla="*/ 113 w 261"/>
                <a:gd name="T9" fmla="*/ 59 h 324"/>
                <a:gd name="T10" fmla="*/ 115 w 261"/>
                <a:gd name="T11" fmla="*/ 70 h 324"/>
                <a:gd name="T12" fmla="*/ 120 w 261"/>
                <a:gd name="T13" fmla="*/ 77 h 324"/>
                <a:gd name="T14" fmla="*/ 122 w 261"/>
                <a:gd name="T15" fmla="*/ 84 h 324"/>
                <a:gd name="T16" fmla="*/ 126 w 261"/>
                <a:gd name="T17" fmla="*/ 88 h 324"/>
                <a:gd name="T18" fmla="*/ 142 w 261"/>
                <a:gd name="T19" fmla="*/ 86 h 324"/>
                <a:gd name="T20" fmla="*/ 162 w 261"/>
                <a:gd name="T21" fmla="*/ 84 h 324"/>
                <a:gd name="T22" fmla="*/ 167 w 261"/>
                <a:gd name="T23" fmla="*/ 63 h 324"/>
                <a:gd name="T24" fmla="*/ 185 w 261"/>
                <a:gd name="T25" fmla="*/ 61 h 324"/>
                <a:gd name="T26" fmla="*/ 209 w 261"/>
                <a:gd name="T27" fmla="*/ 70 h 324"/>
                <a:gd name="T28" fmla="*/ 216 w 261"/>
                <a:gd name="T29" fmla="*/ 75 h 324"/>
                <a:gd name="T30" fmla="*/ 214 w 261"/>
                <a:gd name="T31" fmla="*/ 86 h 324"/>
                <a:gd name="T32" fmla="*/ 216 w 261"/>
                <a:gd name="T33" fmla="*/ 102 h 324"/>
                <a:gd name="T34" fmla="*/ 218 w 261"/>
                <a:gd name="T35" fmla="*/ 129 h 324"/>
                <a:gd name="T36" fmla="*/ 225 w 261"/>
                <a:gd name="T37" fmla="*/ 142 h 324"/>
                <a:gd name="T38" fmla="*/ 221 w 261"/>
                <a:gd name="T39" fmla="*/ 156 h 324"/>
                <a:gd name="T40" fmla="*/ 234 w 261"/>
                <a:gd name="T41" fmla="*/ 160 h 324"/>
                <a:gd name="T42" fmla="*/ 257 w 261"/>
                <a:gd name="T43" fmla="*/ 158 h 324"/>
                <a:gd name="T44" fmla="*/ 259 w 261"/>
                <a:gd name="T45" fmla="*/ 169 h 324"/>
                <a:gd name="T46" fmla="*/ 257 w 261"/>
                <a:gd name="T47" fmla="*/ 196 h 324"/>
                <a:gd name="T48" fmla="*/ 218 w 261"/>
                <a:gd name="T49" fmla="*/ 205 h 324"/>
                <a:gd name="T50" fmla="*/ 214 w 261"/>
                <a:gd name="T51" fmla="*/ 277 h 324"/>
                <a:gd name="T52" fmla="*/ 216 w 261"/>
                <a:gd name="T53" fmla="*/ 288 h 324"/>
                <a:gd name="T54" fmla="*/ 223 w 261"/>
                <a:gd name="T55" fmla="*/ 295 h 324"/>
                <a:gd name="T56" fmla="*/ 232 w 261"/>
                <a:gd name="T57" fmla="*/ 306 h 324"/>
                <a:gd name="T58" fmla="*/ 243 w 261"/>
                <a:gd name="T59" fmla="*/ 315 h 324"/>
                <a:gd name="T60" fmla="*/ 196 w 261"/>
                <a:gd name="T61" fmla="*/ 322 h 324"/>
                <a:gd name="T62" fmla="*/ 180 w 261"/>
                <a:gd name="T63" fmla="*/ 322 h 324"/>
                <a:gd name="T64" fmla="*/ 167 w 261"/>
                <a:gd name="T65" fmla="*/ 322 h 324"/>
                <a:gd name="T66" fmla="*/ 142 w 261"/>
                <a:gd name="T67" fmla="*/ 313 h 324"/>
                <a:gd name="T68" fmla="*/ 70 w 261"/>
                <a:gd name="T69" fmla="*/ 311 h 324"/>
                <a:gd name="T70" fmla="*/ 41 w 261"/>
                <a:gd name="T71" fmla="*/ 306 h 324"/>
                <a:gd name="T72" fmla="*/ 32 w 261"/>
                <a:gd name="T73" fmla="*/ 300 h 324"/>
                <a:gd name="T74" fmla="*/ 18 w 261"/>
                <a:gd name="T75" fmla="*/ 306 h 324"/>
                <a:gd name="T76" fmla="*/ 9 w 261"/>
                <a:gd name="T77" fmla="*/ 304 h 324"/>
                <a:gd name="T78" fmla="*/ 3 w 261"/>
                <a:gd name="T79" fmla="*/ 297 h 324"/>
                <a:gd name="T80" fmla="*/ 5 w 261"/>
                <a:gd name="T81" fmla="*/ 270 h 324"/>
                <a:gd name="T82" fmla="*/ 12 w 261"/>
                <a:gd name="T83" fmla="*/ 252 h 324"/>
                <a:gd name="T84" fmla="*/ 14 w 261"/>
                <a:gd name="T85" fmla="*/ 239 h 324"/>
                <a:gd name="T86" fmla="*/ 16 w 261"/>
                <a:gd name="T87" fmla="*/ 230 h 324"/>
                <a:gd name="T88" fmla="*/ 18 w 261"/>
                <a:gd name="T89" fmla="*/ 219 h 324"/>
                <a:gd name="T90" fmla="*/ 23 w 261"/>
                <a:gd name="T91" fmla="*/ 212 h 324"/>
                <a:gd name="T92" fmla="*/ 32 w 261"/>
                <a:gd name="T93" fmla="*/ 196 h 324"/>
                <a:gd name="T94" fmla="*/ 41 w 261"/>
                <a:gd name="T95" fmla="*/ 189 h 324"/>
                <a:gd name="T96" fmla="*/ 45 w 261"/>
                <a:gd name="T97" fmla="*/ 167 h 324"/>
                <a:gd name="T98" fmla="*/ 41 w 261"/>
                <a:gd name="T99" fmla="*/ 144 h 324"/>
                <a:gd name="T100" fmla="*/ 34 w 261"/>
                <a:gd name="T101" fmla="*/ 122 h 324"/>
                <a:gd name="T102" fmla="*/ 32 w 261"/>
                <a:gd name="T103" fmla="*/ 108 h 324"/>
                <a:gd name="T104" fmla="*/ 39 w 261"/>
                <a:gd name="T105" fmla="*/ 102 h 324"/>
                <a:gd name="T106" fmla="*/ 27 w 261"/>
                <a:gd name="T107" fmla="*/ 70 h 324"/>
                <a:gd name="T108" fmla="*/ 18 w 261"/>
                <a:gd name="T109" fmla="*/ 48 h 324"/>
                <a:gd name="T110" fmla="*/ 21 w 261"/>
                <a:gd name="T111" fmla="*/ 41 h 324"/>
                <a:gd name="T112" fmla="*/ 32 w 261"/>
                <a:gd name="T113" fmla="*/ 36 h 324"/>
                <a:gd name="T114" fmla="*/ 27 w 261"/>
                <a:gd name="T115" fmla="*/ 0 h 324"/>
                <a:gd name="T116" fmla="*/ 18 w 261"/>
                <a:gd name="T117" fmla="*/ 16 h 324"/>
                <a:gd name="T118" fmla="*/ 14 w 261"/>
                <a:gd name="T119" fmla="*/ 27 h 324"/>
                <a:gd name="T120" fmla="*/ 12 w 261"/>
                <a:gd name="T121" fmla="*/ 14 h 324"/>
                <a:gd name="T122" fmla="*/ 18 w 261"/>
                <a:gd name="T123" fmla="*/ 5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1" h="324">
                  <a:moveTo>
                    <a:pt x="3" y="295"/>
                  </a:move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0" y="295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0" y="293"/>
                  </a:lnTo>
                  <a:lnTo>
                    <a:pt x="0" y="293"/>
                  </a:lnTo>
                  <a:lnTo>
                    <a:pt x="3" y="295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9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6" y="36"/>
                  </a:lnTo>
                  <a:lnTo>
                    <a:pt x="68" y="36"/>
                  </a:lnTo>
                  <a:lnTo>
                    <a:pt x="70" y="36"/>
                  </a:lnTo>
                  <a:lnTo>
                    <a:pt x="72" y="36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9" y="36"/>
                  </a:lnTo>
                  <a:lnTo>
                    <a:pt x="81" y="36"/>
                  </a:lnTo>
                  <a:lnTo>
                    <a:pt x="84" y="36"/>
                  </a:lnTo>
                  <a:lnTo>
                    <a:pt x="86" y="36"/>
                  </a:lnTo>
                  <a:lnTo>
                    <a:pt x="88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3" y="36"/>
                  </a:lnTo>
                  <a:lnTo>
                    <a:pt x="95" y="36"/>
                  </a:lnTo>
                  <a:lnTo>
                    <a:pt x="97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3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5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59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3" y="63"/>
                  </a:lnTo>
                  <a:lnTo>
                    <a:pt x="113" y="66"/>
                  </a:lnTo>
                  <a:lnTo>
                    <a:pt x="113" y="66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5" y="68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7" y="70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2" y="79"/>
                  </a:lnTo>
                  <a:lnTo>
                    <a:pt x="122" y="79"/>
                  </a:lnTo>
                  <a:lnTo>
                    <a:pt x="122" y="79"/>
                  </a:lnTo>
                  <a:lnTo>
                    <a:pt x="120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1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2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9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3" y="88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2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4" y="86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9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1" y="86"/>
                  </a:lnTo>
                  <a:lnTo>
                    <a:pt x="153" y="86"/>
                  </a:lnTo>
                  <a:lnTo>
                    <a:pt x="156" y="86"/>
                  </a:lnTo>
                  <a:lnTo>
                    <a:pt x="158" y="86"/>
                  </a:lnTo>
                  <a:lnTo>
                    <a:pt x="160" y="86"/>
                  </a:lnTo>
                  <a:lnTo>
                    <a:pt x="162" y="86"/>
                  </a:lnTo>
                  <a:lnTo>
                    <a:pt x="164" y="86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2" y="84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9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4" y="77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7" y="75"/>
                  </a:lnTo>
                  <a:lnTo>
                    <a:pt x="167" y="75"/>
                  </a:lnTo>
                  <a:lnTo>
                    <a:pt x="167" y="75"/>
                  </a:lnTo>
                  <a:lnTo>
                    <a:pt x="167" y="75"/>
                  </a:lnTo>
                  <a:lnTo>
                    <a:pt x="167" y="75"/>
                  </a:lnTo>
                  <a:lnTo>
                    <a:pt x="167" y="72"/>
                  </a:lnTo>
                  <a:lnTo>
                    <a:pt x="167" y="72"/>
                  </a:lnTo>
                  <a:lnTo>
                    <a:pt x="167" y="70"/>
                  </a:lnTo>
                  <a:lnTo>
                    <a:pt x="167" y="70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7" y="66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7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69" y="63"/>
                  </a:lnTo>
                  <a:lnTo>
                    <a:pt x="171" y="63"/>
                  </a:lnTo>
                  <a:lnTo>
                    <a:pt x="171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3" y="63"/>
                  </a:lnTo>
                  <a:lnTo>
                    <a:pt x="176" y="63"/>
                  </a:lnTo>
                  <a:lnTo>
                    <a:pt x="176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78" y="63"/>
                  </a:lnTo>
                  <a:lnTo>
                    <a:pt x="180" y="63"/>
                  </a:lnTo>
                  <a:lnTo>
                    <a:pt x="180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3"/>
                  </a:lnTo>
                  <a:lnTo>
                    <a:pt x="182" y="61"/>
                  </a:lnTo>
                  <a:lnTo>
                    <a:pt x="185" y="61"/>
                  </a:lnTo>
                  <a:lnTo>
                    <a:pt x="185" y="61"/>
                  </a:lnTo>
                  <a:lnTo>
                    <a:pt x="185" y="61"/>
                  </a:lnTo>
                  <a:lnTo>
                    <a:pt x="185" y="61"/>
                  </a:lnTo>
                  <a:lnTo>
                    <a:pt x="185" y="61"/>
                  </a:lnTo>
                  <a:lnTo>
                    <a:pt x="187" y="61"/>
                  </a:lnTo>
                  <a:lnTo>
                    <a:pt x="189" y="61"/>
                  </a:lnTo>
                  <a:lnTo>
                    <a:pt x="189" y="61"/>
                  </a:lnTo>
                  <a:lnTo>
                    <a:pt x="189" y="61"/>
                  </a:lnTo>
                  <a:lnTo>
                    <a:pt x="189" y="63"/>
                  </a:lnTo>
                  <a:lnTo>
                    <a:pt x="189" y="66"/>
                  </a:lnTo>
                  <a:lnTo>
                    <a:pt x="189" y="66"/>
                  </a:lnTo>
                  <a:lnTo>
                    <a:pt x="189" y="68"/>
                  </a:lnTo>
                  <a:lnTo>
                    <a:pt x="189" y="68"/>
                  </a:lnTo>
                  <a:lnTo>
                    <a:pt x="189" y="70"/>
                  </a:lnTo>
                  <a:lnTo>
                    <a:pt x="189" y="70"/>
                  </a:lnTo>
                  <a:lnTo>
                    <a:pt x="191" y="70"/>
                  </a:lnTo>
                  <a:lnTo>
                    <a:pt x="191" y="70"/>
                  </a:lnTo>
                  <a:lnTo>
                    <a:pt x="194" y="70"/>
                  </a:lnTo>
                  <a:lnTo>
                    <a:pt x="196" y="70"/>
                  </a:lnTo>
                  <a:lnTo>
                    <a:pt x="196" y="70"/>
                  </a:lnTo>
                  <a:lnTo>
                    <a:pt x="198" y="70"/>
                  </a:lnTo>
                  <a:lnTo>
                    <a:pt x="200" y="70"/>
                  </a:lnTo>
                  <a:lnTo>
                    <a:pt x="200" y="70"/>
                  </a:lnTo>
                  <a:lnTo>
                    <a:pt x="203" y="70"/>
                  </a:lnTo>
                  <a:lnTo>
                    <a:pt x="205" y="70"/>
                  </a:lnTo>
                  <a:lnTo>
                    <a:pt x="205" y="70"/>
                  </a:lnTo>
                  <a:lnTo>
                    <a:pt x="207" y="70"/>
                  </a:lnTo>
                  <a:lnTo>
                    <a:pt x="209" y="70"/>
                  </a:lnTo>
                  <a:lnTo>
                    <a:pt x="209" y="70"/>
                  </a:lnTo>
                  <a:lnTo>
                    <a:pt x="212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4" y="70"/>
                  </a:lnTo>
                  <a:lnTo>
                    <a:pt x="216" y="70"/>
                  </a:lnTo>
                  <a:lnTo>
                    <a:pt x="216" y="70"/>
                  </a:lnTo>
                  <a:lnTo>
                    <a:pt x="216" y="70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2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5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77"/>
                  </a:lnTo>
                  <a:lnTo>
                    <a:pt x="216" y="79"/>
                  </a:lnTo>
                  <a:lnTo>
                    <a:pt x="214" y="79"/>
                  </a:lnTo>
                  <a:lnTo>
                    <a:pt x="214" y="79"/>
                  </a:lnTo>
                  <a:lnTo>
                    <a:pt x="214" y="81"/>
                  </a:lnTo>
                  <a:lnTo>
                    <a:pt x="214" y="81"/>
                  </a:lnTo>
                  <a:lnTo>
                    <a:pt x="214" y="81"/>
                  </a:lnTo>
                  <a:lnTo>
                    <a:pt x="214" y="84"/>
                  </a:lnTo>
                  <a:lnTo>
                    <a:pt x="214" y="84"/>
                  </a:lnTo>
                  <a:lnTo>
                    <a:pt x="214" y="84"/>
                  </a:lnTo>
                  <a:lnTo>
                    <a:pt x="214" y="84"/>
                  </a:lnTo>
                  <a:lnTo>
                    <a:pt x="214" y="84"/>
                  </a:lnTo>
                  <a:lnTo>
                    <a:pt x="214" y="86"/>
                  </a:lnTo>
                  <a:lnTo>
                    <a:pt x="214" y="86"/>
                  </a:lnTo>
                  <a:lnTo>
                    <a:pt x="214" y="86"/>
                  </a:lnTo>
                  <a:lnTo>
                    <a:pt x="214" y="88"/>
                  </a:lnTo>
                  <a:lnTo>
                    <a:pt x="214" y="88"/>
                  </a:lnTo>
                  <a:lnTo>
                    <a:pt x="214" y="88"/>
                  </a:lnTo>
                  <a:lnTo>
                    <a:pt x="214" y="88"/>
                  </a:lnTo>
                  <a:lnTo>
                    <a:pt x="214" y="88"/>
                  </a:lnTo>
                  <a:lnTo>
                    <a:pt x="216" y="88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0"/>
                  </a:lnTo>
                  <a:lnTo>
                    <a:pt x="216" y="93"/>
                  </a:lnTo>
                  <a:lnTo>
                    <a:pt x="216" y="93"/>
                  </a:lnTo>
                  <a:lnTo>
                    <a:pt x="216" y="93"/>
                  </a:lnTo>
                  <a:lnTo>
                    <a:pt x="216" y="95"/>
                  </a:lnTo>
                  <a:lnTo>
                    <a:pt x="216" y="95"/>
                  </a:lnTo>
                  <a:lnTo>
                    <a:pt x="216" y="95"/>
                  </a:lnTo>
                  <a:lnTo>
                    <a:pt x="216" y="95"/>
                  </a:lnTo>
                  <a:lnTo>
                    <a:pt x="216" y="95"/>
                  </a:lnTo>
                  <a:lnTo>
                    <a:pt x="218" y="97"/>
                  </a:lnTo>
                  <a:lnTo>
                    <a:pt x="218" y="97"/>
                  </a:lnTo>
                  <a:lnTo>
                    <a:pt x="218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6" y="99"/>
                  </a:lnTo>
                  <a:lnTo>
                    <a:pt x="218" y="99"/>
                  </a:lnTo>
                  <a:lnTo>
                    <a:pt x="216" y="102"/>
                  </a:lnTo>
                  <a:lnTo>
                    <a:pt x="216" y="102"/>
                  </a:lnTo>
                  <a:lnTo>
                    <a:pt x="216" y="104"/>
                  </a:lnTo>
                  <a:lnTo>
                    <a:pt x="216" y="106"/>
                  </a:lnTo>
                  <a:lnTo>
                    <a:pt x="216" y="106"/>
                  </a:lnTo>
                  <a:lnTo>
                    <a:pt x="216" y="106"/>
                  </a:lnTo>
                  <a:lnTo>
                    <a:pt x="216" y="106"/>
                  </a:lnTo>
                  <a:lnTo>
                    <a:pt x="216" y="108"/>
                  </a:lnTo>
                  <a:lnTo>
                    <a:pt x="216" y="111"/>
                  </a:lnTo>
                  <a:lnTo>
                    <a:pt x="216" y="113"/>
                  </a:lnTo>
                  <a:lnTo>
                    <a:pt x="216" y="115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4" y="117"/>
                  </a:lnTo>
                  <a:lnTo>
                    <a:pt x="214" y="120"/>
                  </a:lnTo>
                  <a:lnTo>
                    <a:pt x="214" y="120"/>
                  </a:lnTo>
                  <a:lnTo>
                    <a:pt x="214" y="120"/>
                  </a:lnTo>
                  <a:lnTo>
                    <a:pt x="214" y="120"/>
                  </a:lnTo>
                  <a:lnTo>
                    <a:pt x="214" y="120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16" y="126"/>
                  </a:lnTo>
                  <a:lnTo>
                    <a:pt x="216" y="129"/>
                  </a:lnTo>
                  <a:lnTo>
                    <a:pt x="218" y="129"/>
                  </a:lnTo>
                  <a:lnTo>
                    <a:pt x="218" y="129"/>
                  </a:lnTo>
                  <a:lnTo>
                    <a:pt x="218" y="129"/>
                  </a:lnTo>
                  <a:lnTo>
                    <a:pt x="218" y="129"/>
                  </a:lnTo>
                  <a:lnTo>
                    <a:pt x="218" y="129"/>
                  </a:lnTo>
                  <a:lnTo>
                    <a:pt x="218" y="129"/>
                  </a:lnTo>
                  <a:lnTo>
                    <a:pt x="218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1"/>
                  </a:lnTo>
                  <a:lnTo>
                    <a:pt x="221" y="133"/>
                  </a:lnTo>
                  <a:lnTo>
                    <a:pt x="221" y="133"/>
                  </a:lnTo>
                  <a:lnTo>
                    <a:pt x="221" y="133"/>
                  </a:lnTo>
                  <a:lnTo>
                    <a:pt x="223" y="133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3" y="135"/>
                  </a:lnTo>
                  <a:lnTo>
                    <a:pt x="223" y="138"/>
                  </a:lnTo>
                  <a:lnTo>
                    <a:pt x="223" y="138"/>
                  </a:lnTo>
                  <a:lnTo>
                    <a:pt x="223" y="140"/>
                  </a:lnTo>
                  <a:lnTo>
                    <a:pt x="223" y="140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5" y="144"/>
                  </a:lnTo>
                  <a:lnTo>
                    <a:pt x="223" y="144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3" y="147"/>
                  </a:lnTo>
                  <a:lnTo>
                    <a:pt x="225" y="147"/>
                  </a:lnTo>
                  <a:lnTo>
                    <a:pt x="225" y="147"/>
                  </a:lnTo>
                  <a:lnTo>
                    <a:pt x="225" y="149"/>
                  </a:lnTo>
                  <a:lnTo>
                    <a:pt x="225" y="149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1"/>
                  </a:lnTo>
                  <a:lnTo>
                    <a:pt x="225" y="153"/>
                  </a:lnTo>
                  <a:lnTo>
                    <a:pt x="225" y="153"/>
                  </a:lnTo>
                  <a:lnTo>
                    <a:pt x="223" y="153"/>
                  </a:lnTo>
                  <a:lnTo>
                    <a:pt x="223" y="153"/>
                  </a:lnTo>
                  <a:lnTo>
                    <a:pt x="223" y="153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3"/>
                  </a:lnTo>
                  <a:lnTo>
                    <a:pt x="221" y="156"/>
                  </a:lnTo>
                  <a:lnTo>
                    <a:pt x="221" y="156"/>
                  </a:lnTo>
                  <a:lnTo>
                    <a:pt x="223" y="158"/>
                  </a:lnTo>
                  <a:lnTo>
                    <a:pt x="223" y="158"/>
                  </a:lnTo>
                  <a:lnTo>
                    <a:pt x="223" y="158"/>
                  </a:lnTo>
                  <a:lnTo>
                    <a:pt x="223" y="158"/>
                  </a:lnTo>
                  <a:lnTo>
                    <a:pt x="223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60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7" y="162"/>
                  </a:lnTo>
                  <a:lnTo>
                    <a:pt x="227" y="160"/>
                  </a:lnTo>
                  <a:lnTo>
                    <a:pt x="227" y="158"/>
                  </a:lnTo>
                  <a:lnTo>
                    <a:pt x="230" y="158"/>
                  </a:lnTo>
                  <a:lnTo>
                    <a:pt x="230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6" y="160"/>
                  </a:lnTo>
                  <a:lnTo>
                    <a:pt x="239" y="160"/>
                  </a:lnTo>
                  <a:lnTo>
                    <a:pt x="239" y="160"/>
                  </a:lnTo>
                  <a:lnTo>
                    <a:pt x="241" y="160"/>
                  </a:lnTo>
                  <a:lnTo>
                    <a:pt x="243" y="160"/>
                  </a:lnTo>
                  <a:lnTo>
                    <a:pt x="245" y="158"/>
                  </a:lnTo>
                  <a:lnTo>
                    <a:pt x="248" y="158"/>
                  </a:lnTo>
                  <a:lnTo>
                    <a:pt x="248" y="158"/>
                  </a:lnTo>
                  <a:lnTo>
                    <a:pt x="248" y="158"/>
                  </a:lnTo>
                  <a:lnTo>
                    <a:pt x="250" y="158"/>
                  </a:lnTo>
                  <a:lnTo>
                    <a:pt x="250" y="158"/>
                  </a:lnTo>
                  <a:lnTo>
                    <a:pt x="252" y="158"/>
                  </a:lnTo>
                  <a:lnTo>
                    <a:pt x="252" y="158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7" y="158"/>
                  </a:lnTo>
                  <a:lnTo>
                    <a:pt x="257" y="158"/>
                  </a:lnTo>
                  <a:lnTo>
                    <a:pt x="257" y="158"/>
                  </a:lnTo>
                  <a:lnTo>
                    <a:pt x="257" y="158"/>
                  </a:lnTo>
                  <a:lnTo>
                    <a:pt x="257" y="158"/>
                  </a:lnTo>
                  <a:lnTo>
                    <a:pt x="257" y="158"/>
                  </a:lnTo>
                  <a:lnTo>
                    <a:pt x="259" y="158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58"/>
                  </a:lnTo>
                  <a:lnTo>
                    <a:pt x="259" y="160"/>
                  </a:lnTo>
                  <a:lnTo>
                    <a:pt x="259" y="160"/>
                  </a:lnTo>
                  <a:lnTo>
                    <a:pt x="259" y="160"/>
                  </a:lnTo>
                  <a:lnTo>
                    <a:pt x="259" y="160"/>
                  </a:lnTo>
                  <a:lnTo>
                    <a:pt x="259" y="165"/>
                  </a:lnTo>
                  <a:lnTo>
                    <a:pt x="259" y="165"/>
                  </a:lnTo>
                  <a:lnTo>
                    <a:pt x="261" y="167"/>
                  </a:lnTo>
                  <a:lnTo>
                    <a:pt x="261" y="167"/>
                  </a:lnTo>
                  <a:lnTo>
                    <a:pt x="261" y="169"/>
                  </a:lnTo>
                  <a:lnTo>
                    <a:pt x="259" y="169"/>
                  </a:lnTo>
                  <a:lnTo>
                    <a:pt x="259" y="169"/>
                  </a:lnTo>
                  <a:lnTo>
                    <a:pt x="259" y="169"/>
                  </a:lnTo>
                  <a:lnTo>
                    <a:pt x="259" y="169"/>
                  </a:lnTo>
                  <a:lnTo>
                    <a:pt x="259" y="169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59" y="171"/>
                  </a:lnTo>
                  <a:lnTo>
                    <a:pt x="259" y="174"/>
                  </a:lnTo>
                  <a:lnTo>
                    <a:pt x="259" y="174"/>
                  </a:lnTo>
                  <a:lnTo>
                    <a:pt x="259" y="174"/>
                  </a:lnTo>
                  <a:lnTo>
                    <a:pt x="259" y="174"/>
                  </a:lnTo>
                  <a:lnTo>
                    <a:pt x="259" y="174"/>
                  </a:lnTo>
                  <a:lnTo>
                    <a:pt x="259" y="176"/>
                  </a:lnTo>
                  <a:lnTo>
                    <a:pt x="259" y="176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78"/>
                  </a:lnTo>
                  <a:lnTo>
                    <a:pt x="259" y="183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59" y="187"/>
                  </a:lnTo>
                  <a:lnTo>
                    <a:pt x="259" y="187"/>
                  </a:lnTo>
                  <a:lnTo>
                    <a:pt x="259" y="189"/>
                  </a:lnTo>
                  <a:lnTo>
                    <a:pt x="259" y="189"/>
                  </a:lnTo>
                  <a:lnTo>
                    <a:pt x="259" y="192"/>
                  </a:lnTo>
                  <a:lnTo>
                    <a:pt x="259" y="192"/>
                  </a:lnTo>
                  <a:lnTo>
                    <a:pt x="259" y="192"/>
                  </a:lnTo>
                  <a:lnTo>
                    <a:pt x="259" y="194"/>
                  </a:lnTo>
                  <a:lnTo>
                    <a:pt x="257" y="194"/>
                  </a:lnTo>
                  <a:lnTo>
                    <a:pt x="257" y="196"/>
                  </a:lnTo>
                  <a:lnTo>
                    <a:pt x="257" y="196"/>
                  </a:lnTo>
                  <a:lnTo>
                    <a:pt x="257" y="198"/>
                  </a:lnTo>
                  <a:lnTo>
                    <a:pt x="257" y="201"/>
                  </a:lnTo>
                  <a:lnTo>
                    <a:pt x="257" y="201"/>
                  </a:lnTo>
                  <a:lnTo>
                    <a:pt x="257" y="201"/>
                  </a:lnTo>
                  <a:lnTo>
                    <a:pt x="257" y="203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5"/>
                  </a:lnTo>
                  <a:lnTo>
                    <a:pt x="259" y="205"/>
                  </a:lnTo>
                  <a:lnTo>
                    <a:pt x="254" y="205"/>
                  </a:lnTo>
                  <a:lnTo>
                    <a:pt x="252" y="205"/>
                  </a:lnTo>
                  <a:lnTo>
                    <a:pt x="250" y="205"/>
                  </a:lnTo>
                  <a:lnTo>
                    <a:pt x="248" y="205"/>
                  </a:lnTo>
                  <a:lnTo>
                    <a:pt x="245" y="205"/>
                  </a:lnTo>
                  <a:lnTo>
                    <a:pt x="243" y="205"/>
                  </a:lnTo>
                  <a:lnTo>
                    <a:pt x="241" y="205"/>
                  </a:lnTo>
                  <a:lnTo>
                    <a:pt x="236" y="205"/>
                  </a:lnTo>
                  <a:lnTo>
                    <a:pt x="234" y="205"/>
                  </a:lnTo>
                  <a:lnTo>
                    <a:pt x="232" y="205"/>
                  </a:lnTo>
                  <a:lnTo>
                    <a:pt x="230" y="205"/>
                  </a:lnTo>
                  <a:lnTo>
                    <a:pt x="227" y="205"/>
                  </a:lnTo>
                  <a:lnTo>
                    <a:pt x="225" y="205"/>
                  </a:lnTo>
                  <a:lnTo>
                    <a:pt x="221" y="205"/>
                  </a:lnTo>
                  <a:lnTo>
                    <a:pt x="218" y="205"/>
                  </a:lnTo>
                  <a:lnTo>
                    <a:pt x="216" y="205"/>
                  </a:lnTo>
                  <a:lnTo>
                    <a:pt x="216" y="210"/>
                  </a:lnTo>
                  <a:lnTo>
                    <a:pt x="216" y="212"/>
                  </a:lnTo>
                  <a:lnTo>
                    <a:pt x="216" y="216"/>
                  </a:lnTo>
                  <a:lnTo>
                    <a:pt x="216" y="221"/>
                  </a:lnTo>
                  <a:lnTo>
                    <a:pt x="216" y="223"/>
                  </a:lnTo>
                  <a:lnTo>
                    <a:pt x="216" y="228"/>
                  </a:lnTo>
                  <a:lnTo>
                    <a:pt x="216" y="230"/>
                  </a:lnTo>
                  <a:lnTo>
                    <a:pt x="216" y="234"/>
                  </a:lnTo>
                  <a:lnTo>
                    <a:pt x="216" y="239"/>
                  </a:lnTo>
                  <a:lnTo>
                    <a:pt x="216" y="241"/>
                  </a:lnTo>
                  <a:lnTo>
                    <a:pt x="216" y="246"/>
                  </a:lnTo>
                  <a:lnTo>
                    <a:pt x="216" y="248"/>
                  </a:lnTo>
                  <a:lnTo>
                    <a:pt x="216" y="252"/>
                  </a:lnTo>
                  <a:lnTo>
                    <a:pt x="216" y="257"/>
                  </a:lnTo>
                  <a:lnTo>
                    <a:pt x="216" y="259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6" y="264"/>
                  </a:lnTo>
                  <a:lnTo>
                    <a:pt x="216" y="266"/>
                  </a:lnTo>
                  <a:lnTo>
                    <a:pt x="216" y="266"/>
                  </a:lnTo>
                  <a:lnTo>
                    <a:pt x="214" y="268"/>
                  </a:lnTo>
                  <a:lnTo>
                    <a:pt x="214" y="270"/>
                  </a:lnTo>
                  <a:lnTo>
                    <a:pt x="214" y="273"/>
                  </a:lnTo>
                  <a:lnTo>
                    <a:pt x="214" y="275"/>
                  </a:lnTo>
                  <a:lnTo>
                    <a:pt x="214" y="277"/>
                  </a:lnTo>
                  <a:lnTo>
                    <a:pt x="214" y="277"/>
                  </a:lnTo>
                  <a:lnTo>
                    <a:pt x="214" y="279"/>
                  </a:lnTo>
                  <a:lnTo>
                    <a:pt x="214" y="279"/>
                  </a:lnTo>
                  <a:lnTo>
                    <a:pt x="214" y="279"/>
                  </a:lnTo>
                  <a:lnTo>
                    <a:pt x="214" y="282"/>
                  </a:lnTo>
                  <a:lnTo>
                    <a:pt x="216" y="282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4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6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6" y="288"/>
                  </a:lnTo>
                  <a:lnTo>
                    <a:pt x="216" y="291"/>
                  </a:lnTo>
                  <a:lnTo>
                    <a:pt x="216" y="291"/>
                  </a:lnTo>
                  <a:lnTo>
                    <a:pt x="216" y="291"/>
                  </a:lnTo>
                  <a:lnTo>
                    <a:pt x="218" y="291"/>
                  </a:lnTo>
                  <a:lnTo>
                    <a:pt x="218" y="291"/>
                  </a:lnTo>
                  <a:lnTo>
                    <a:pt x="218" y="291"/>
                  </a:lnTo>
                  <a:lnTo>
                    <a:pt x="218" y="291"/>
                  </a:lnTo>
                  <a:lnTo>
                    <a:pt x="218" y="291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1" y="293"/>
                  </a:lnTo>
                  <a:lnTo>
                    <a:pt x="223" y="293"/>
                  </a:lnTo>
                  <a:lnTo>
                    <a:pt x="223" y="293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3" y="295"/>
                  </a:lnTo>
                  <a:lnTo>
                    <a:pt x="225" y="297"/>
                  </a:lnTo>
                  <a:lnTo>
                    <a:pt x="225" y="297"/>
                  </a:lnTo>
                  <a:lnTo>
                    <a:pt x="225" y="300"/>
                  </a:lnTo>
                  <a:lnTo>
                    <a:pt x="225" y="300"/>
                  </a:lnTo>
                  <a:lnTo>
                    <a:pt x="225" y="300"/>
                  </a:lnTo>
                  <a:lnTo>
                    <a:pt x="227" y="300"/>
                  </a:lnTo>
                  <a:lnTo>
                    <a:pt x="227" y="300"/>
                  </a:lnTo>
                  <a:lnTo>
                    <a:pt x="227" y="300"/>
                  </a:lnTo>
                  <a:lnTo>
                    <a:pt x="227" y="300"/>
                  </a:lnTo>
                  <a:lnTo>
                    <a:pt x="227" y="300"/>
                  </a:lnTo>
                  <a:lnTo>
                    <a:pt x="227" y="300"/>
                  </a:lnTo>
                  <a:lnTo>
                    <a:pt x="227" y="302"/>
                  </a:lnTo>
                  <a:lnTo>
                    <a:pt x="227" y="302"/>
                  </a:lnTo>
                  <a:lnTo>
                    <a:pt x="230" y="302"/>
                  </a:lnTo>
                  <a:lnTo>
                    <a:pt x="230" y="302"/>
                  </a:lnTo>
                  <a:lnTo>
                    <a:pt x="230" y="304"/>
                  </a:lnTo>
                  <a:lnTo>
                    <a:pt x="230" y="304"/>
                  </a:lnTo>
                  <a:lnTo>
                    <a:pt x="230" y="304"/>
                  </a:lnTo>
                  <a:lnTo>
                    <a:pt x="230" y="304"/>
                  </a:lnTo>
                  <a:lnTo>
                    <a:pt x="232" y="306"/>
                  </a:lnTo>
                  <a:lnTo>
                    <a:pt x="232" y="306"/>
                  </a:lnTo>
                  <a:lnTo>
                    <a:pt x="232" y="306"/>
                  </a:lnTo>
                  <a:lnTo>
                    <a:pt x="234" y="306"/>
                  </a:lnTo>
                  <a:lnTo>
                    <a:pt x="234" y="309"/>
                  </a:lnTo>
                  <a:lnTo>
                    <a:pt x="234" y="309"/>
                  </a:lnTo>
                  <a:lnTo>
                    <a:pt x="236" y="309"/>
                  </a:lnTo>
                  <a:lnTo>
                    <a:pt x="236" y="309"/>
                  </a:lnTo>
                  <a:lnTo>
                    <a:pt x="236" y="309"/>
                  </a:lnTo>
                  <a:lnTo>
                    <a:pt x="236" y="311"/>
                  </a:lnTo>
                  <a:lnTo>
                    <a:pt x="236" y="311"/>
                  </a:lnTo>
                  <a:lnTo>
                    <a:pt x="236" y="311"/>
                  </a:lnTo>
                  <a:lnTo>
                    <a:pt x="239" y="311"/>
                  </a:lnTo>
                  <a:lnTo>
                    <a:pt x="239" y="313"/>
                  </a:lnTo>
                  <a:lnTo>
                    <a:pt x="239" y="313"/>
                  </a:lnTo>
                  <a:lnTo>
                    <a:pt x="239" y="313"/>
                  </a:lnTo>
                  <a:lnTo>
                    <a:pt x="239" y="313"/>
                  </a:lnTo>
                  <a:lnTo>
                    <a:pt x="239" y="313"/>
                  </a:lnTo>
                  <a:lnTo>
                    <a:pt x="239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1" y="313"/>
                  </a:lnTo>
                  <a:lnTo>
                    <a:pt x="241" y="313"/>
                  </a:lnTo>
                  <a:lnTo>
                    <a:pt x="241" y="313"/>
                  </a:lnTo>
                  <a:lnTo>
                    <a:pt x="241" y="313"/>
                  </a:lnTo>
                  <a:lnTo>
                    <a:pt x="241" y="313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41" y="315"/>
                  </a:lnTo>
                  <a:lnTo>
                    <a:pt x="236" y="317"/>
                  </a:lnTo>
                  <a:lnTo>
                    <a:pt x="232" y="317"/>
                  </a:lnTo>
                  <a:lnTo>
                    <a:pt x="227" y="320"/>
                  </a:lnTo>
                  <a:lnTo>
                    <a:pt x="223" y="320"/>
                  </a:lnTo>
                  <a:lnTo>
                    <a:pt x="218" y="322"/>
                  </a:lnTo>
                  <a:lnTo>
                    <a:pt x="214" y="322"/>
                  </a:lnTo>
                  <a:lnTo>
                    <a:pt x="207" y="324"/>
                  </a:lnTo>
                  <a:lnTo>
                    <a:pt x="203" y="324"/>
                  </a:lnTo>
                  <a:lnTo>
                    <a:pt x="200" y="324"/>
                  </a:lnTo>
                  <a:lnTo>
                    <a:pt x="200" y="324"/>
                  </a:lnTo>
                  <a:lnTo>
                    <a:pt x="200" y="324"/>
                  </a:lnTo>
                  <a:lnTo>
                    <a:pt x="200" y="324"/>
                  </a:lnTo>
                  <a:lnTo>
                    <a:pt x="200" y="324"/>
                  </a:lnTo>
                  <a:lnTo>
                    <a:pt x="198" y="324"/>
                  </a:lnTo>
                  <a:lnTo>
                    <a:pt x="198" y="322"/>
                  </a:lnTo>
                  <a:lnTo>
                    <a:pt x="198" y="322"/>
                  </a:lnTo>
                  <a:lnTo>
                    <a:pt x="196" y="322"/>
                  </a:lnTo>
                  <a:lnTo>
                    <a:pt x="196" y="322"/>
                  </a:lnTo>
                  <a:lnTo>
                    <a:pt x="196" y="322"/>
                  </a:lnTo>
                  <a:lnTo>
                    <a:pt x="196" y="322"/>
                  </a:lnTo>
                  <a:lnTo>
                    <a:pt x="196" y="324"/>
                  </a:lnTo>
                  <a:lnTo>
                    <a:pt x="196" y="322"/>
                  </a:lnTo>
                  <a:lnTo>
                    <a:pt x="194" y="324"/>
                  </a:lnTo>
                  <a:lnTo>
                    <a:pt x="191" y="324"/>
                  </a:lnTo>
                  <a:lnTo>
                    <a:pt x="191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9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7" y="324"/>
                  </a:lnTo>
                  <a:lnTo>
                    <a:pt x="185" y="324"/>
                  </a:lnTo>
                  <a:lnTo>
                    <a:pt x="185" y="324"/>
                  </a:lnTo>
                  <a:lnTo>
                    <a:pt x="185" y="324"/>
                  </a:lnTo>
                  <a:lnTo>
                    <a:pt x="185" y="324"/>
                  </a:lnTo>
                  <a:lnTo>
                    <a:pt x="182" y="324"/>
                  </a:lnTo>
                  <a:lnTo>
                    <a:pt x="182" y="322"/>
                  </a:lnTo>
                  <a:lnTo>
                    <a:pt x="182" y="322"/>
                  </a:lnTo>
                  <a:lnTo>
                    <a:pt x="182" y="322"/>
                  </a:lnTo>
                  <a:lnTo>
                    <a:pt x="182" y="322"/>
                  </a:lnTo>
                  <a:lnTo>
                    <a:pt x="180" y="322"/>
                  </a:lnTo>
                  <a:lnTo>
                    <a:pt x="180" y="322"/>
                  </a:lnTo>
                  <a:lnTo>
                    <a:pt x="180" y="322"/>
                  </a:lnTo>
                  <a:lnTo>
                    <a:pt x="180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8" y="322"/>
                  </a:lnTo>
                  <a:lnTo>
                    <a:pt x="176" y="322"/>
                  </a:lnTo>
                  <a:lnTo>
                    <a:pt x="176" y="322"/>
                  </a:lnTo>
                  <a:lnTo>
                    <a:pt x="176" y="322"/>
                  </a:lnTo>
                  <a:lnTo>
                    <a:pt x="176" y="322"/>
                  </a:lnTo>
                  <a:lnTo>
                    <a:pt x="176" y="322"/>
                  </a:lnTo>
                  <a:lnTo>
                    <a:pt x="176" y="322"/>
                  </a:lnTo>
                  <a:lnTo>
                    <a:pt x="173" y="322"/>
                  </a:lnTo>
                  <a:lnTo>
                    <a:pt x="173" y="322"/>
                  </a:lnTo>
                  <a:lnTo>
                    <a:pt x="173" y="322"/>
                  </a:lnTo>
                  <a:lnTo>
                    <a:pt x="171" y="322"/>
                  </a:lnTo>
                  <a:lnTo>
                    <a:pt x="171" y="322"/>
                  </a:lnTo>
                  <a:lnTo>
                    <a:pt x="169" y="322"/>
                  </a:lnTo>
                  <a:lnTo>
                    <a:pt x="169" y="322"/>
                  </a:lnTo>
                  <a:lnTo>
                    <a:pt x="167" y="322"/>
                  </a:lnTo>
                  <a:lnTo>
                    <a:pt x="167" y="322"/>
                  </a:lnTo>
                  <a:lnTo>
                    <a:pt x="167" y="322"/>
                  </a:lnTo>
                  <a:lnTo>
                    <a:pt x="167" y="322"/>
                  </a:lnTo>
                  <a:lnTo>
                    <a:pt x="167" y="322"/>
                  </a:lnTo>
                  <a:lnTo>
                    <a:pt x="167" y="322"/>
                  </a:lnTo>
                  <a:lnTo>
                    <a:pt x="167" y="322"/>
                  </a:lnTo>
                  <a:lnTo>
                    <a:pt x="167" y="320"/>
                  </a:lnTo>
                  <a:lnTo>
                    <a:pt x="164" y="320"/>
                  </a:lnTo>
                  <a:lnTo>
                    <a:pt x="164" y="322"/>
                  </a:lnTo>
                  <a:lnTo>
                    <a:pt x="160" y="322"/>
                  </a:lnTo>
                  <a:lnTo>
                    <a:pt x="158" y="320"/>
                  </a:lnTo>
                  <a:lnTo>
                    <a:pt x="158" y="320"/>
                  </a:lnTo>
                  <a:lnTo>
                    <a:pt x="156" y="320"/>
                  </a:lnTo>
                  <a:lnTo>
                    <a:pt x="156" y="320"/>
                  </a:lnTo>
                  <a:lnTo>
                    <a:pt x="156" y="320"/>
                  </a:lnTo>
                  <a:lnTo>
                    <a:pt x="156" y="320"/>
                  </a:lnTo>
                  <a:lnTo>
                    <a:pt x="153" y="320"/>
                  </a:lnTo>
                  <a:lnTo>
                    <a:pt x="153" y="320"/>
                  </a:lnTo>
                  <a:lnTo>
                    <a:pt x="149" y="320"/>
                  </a:lnTo>
                  <a:lnTo>
                    <a:pt x="147" y="320"/>
                  </a:lnTo>
                  <a:lnTo>
                    <a:pt x="147" y="317"/>
                  </a:lnTo>
                  <a:lnTo>
                    <a:pt x="147" y="317"/>
                  </a:lnTo>
                  <a:lnTo>
                    <a:pt x="147" y="317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4" y="315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3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2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40" y="311"/>
                  </a:lnTo>
                  <a:lnTo>
                    <a:pt x="133" y="311"/>
                  </a:lnTo>
                  <a:lnTo>
                    <a:pt x="129" y="311"/>
                  </a:lnTo>
                  <a:lnTo>
                    <a:pt x="124" y="311"/>
                  </a:lnTo>
                  <a:lnTo>
                    <a:pt x="117" y="311"/>
                  </a:lnTo>
                  <a:lnTo>
                    <a:pt x="113" y="311"/>
                  </a:lnTo>
                  <a:lnTo>
                    <a:pt x="108" y="311"/>
                  </a:lnTo>
                  <a:lnTo>
                    <a:pt x="102" y="311"/>
                  </a:lnTo>
                  <a:lnTo>
                    <a:pt x="97" y="311"/>
                  </a:lnTo>
                  <a:lnTo>
                    <a:pt x="93" y="311"/>
                  </a:lnTo>
                  <a:lnTo>
                    <a:pt x="86" y="311"/>
                  </a:lnTo>
                  <a:lnTo>
                    <a:pt x="81" y="311"/>
                  </a:lnTo>
                  <a:lnTo>
                    <a:pt x="75" y="311"/>
                  </a:lnTo>
                  <a:lnTo>
                    <a:pt x="70" y="311"/>
                  </a:lnTo>
                  <a:lnTo>
                    <a:pt x="66" y="311"/>
                  </a:lnTo>
                  <a:lnTo>
                    <a:pt x="59" y="311"/>
                  </a:lnTo>
                  <a:lnTo>
                    <a:pt x="54" y="311"/>
                  </a:lnTo>
                  <a:lnTo>
                    <a:pt x="52" y="311"/>
                  </a:lnTo>
                  <a:lnTo>
                    <a:pt x="52" y="311"/>
                  </a:lnTo>
                  <a:lnTo>
                    <a:pt x="52" y="311"/>
                  </a:lnTo>
                  <a:lnTo>
                    <a:pt x="52" y="311"/>
                  </a:lnTo>
                  <a:lnTo>
                    <a:pt x="52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50" y="311"/>
                  </a:lnTo>
                  <a:lnTo>
                    <a:pt x="48" y="311"/>
                  </a:lnTo>
                  <a:lnTo>
                    <a:pt x="48" y="311"/>
                  </a:lnTo>
                  <a:lnTo>
                    <a:pt x="48" y="311"/>
                  </a:lnTo>
                  <a:lnTo>
                    <a:pt x="48" y="311"/>
                  </a:lnTo>
                  <a:lnTo>
                    <a:pt x="48" y="311"/>
                  </a:lnTo>
                  <a:lnTo>
                    <a:pt x="48" y="311"/>
                  </a:lnTo>
                  <a:lnTo>
                    <a:pt x="45" y="309"/>
                  </a:lnTo>
                  <a:lnTo>
                    <a:pt x="45" y="309"/>
                  </a:lnTo>
                  <a:lnTo>
                    <a:pt x="43" y="309"/>
                  </a:lnTo>
                  <a:lnTo>
                    <a:pt x="41" y="306"/>
                  </a:lnTo>
                  <a:lnTo>
                    <a:pt x="41" y="304"/>
                  </a:lnTo>
                  <a:lnTo>
                    <a:pt x="39" y="304"/>
                  </a:lnTo>
                  <a:lnTo>
                    <a:pt x="39" y="304"/>
                  </a:lnTo>
                  <a:lnTo>
                    <a:pt x="39" y="302"/>
                  </a:lnTo>
                  <a:lnTo>
                    <a:pt x="39" y="302"/>
                  </a:lnTo>
                  <a:lnTo>
                    <a:pt x="39" y="302"/>
                  </a:lnTo>
                  <a:lnTo>
                    <a:pt x="39" y="302"/>
                  </a:lnTo>
                  <a:lnTo>
                    <a:pt x="36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30" y="300"/>
                  </a:lnTo>
                  <a:lnTo>
                    <a:pt x="30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5" y="302"/>
                  </a:lnTo>
                  <a:lnTo>
                    <a:pt x="23" y="304"/>
                  </a:lnTo>
                  <a:lnTo>
                    <a:pt x="23" y="304"/>
                  </a:lnTo>
                  <a:lnTo>
                    <a:pt x="23" y="304"/>
                  </a:lnTo>
                  <a:lnTo>
                    <a:pt x="23" y="304"/>
                  </a:lnTo>
                  <a:lnTo>
                    <a:pt x="21" y="304"/>
                  </a:lnTo>
                  <a:lnTo>
                    <a:pt x="21" y="304"/>
                  </a:lnTo>
                  <a:lnTo>
                    <a:pt x="21" y="304"/>
                  </a:lnTo>
                  <a:lnTo>
                    <a:pt x="21" y="304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8" y="306"/>
                  </a:lnTo>
                  <a:lnTo>
                    <a:pt x="16" y="306"/>
                  </a:lnTo>
                  <a:lnTo>
                    <a:pt x="16" y="306"/>
                  </a:lnTo>
                  <a:lnTo>
                    <a:pt x="16" y="306"/>
                  </a:lnTo>
                  <a:lnTo>
                    <a:pt x="16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5" y="304"/>
                  </a:lnTo>
                  <a:lnTo>
                    <a:pt x="5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6"/>
                  </a:lnTo>
                  <a:lnTo>
                    <a:pt x="3" y="304"/>
                  </a:lnTo>
                  <a:lnTo>
                    <a:pt x="3" y="302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5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1"/>
                  </a:lnTo>
                  <a:lnTo>
                    <a:pt x="3" y="288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5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3" y="273"/>
                  </a:lnTo>
                  <a:lnTo>
                    <a:pt x="5" y="273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70"/>
                  </a:lnTo>
                  <a:lnTo>
                    <a:pt x="5" y="268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9" y="261"/>
                  </a:lnTo>
                  <a:lnTo>
                    <a:pt x="9" y="259"/>
                  </a:lnTo>
                  <a:lnTo>
                    <a:pt x="9" y="259"/>
                  </a:lnTo>
                  <a:lnTo>
                    <a:pt x="9" y="259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12" y="257"/>
                  </a:lnTo>
                  <a:lnTo>
                    <a:pt x="12" y="257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9" y="257"/>
                  </a:lnTo>
                  <a:lnTo>
                    <a:pt x="9" y="255"/>
                  </a:lnTo>
                  <a:lnTo>
                    <a:pt x="9" y="255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50"/>
                  </a:lnTo>
                  <a:lnTo>
                    <a:pt x="12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8"/>
                  </a:lnTo>
                  <a:lnTo>
                    <a:pt x="14" y="246"/>
                  </a:lnTo>
                  <a:lnTo>
                    <a:pt x="14" y="246"/>
                  </a:lnTo>
                  <a:lnTo>
                    <a:pt x="14" y="246"/>
                  </a:lnTo>
                  <a:lnTo>
                    <a:pt x="14" y="246"/>
                  </a:lnTo>
                  <a:lnTo>
                    <a:pt x="14" y="243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4" y="239"/>
                  </a:lnTo>
                  <a:lnTo>
                    <a:pt x="14" y="237"/>
                  </a:lnTo>
                  <a:lnTo>
                    <a:pt x="14" y="237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6" y="234"/>
                  </a:lnTo>
                  <a:lnTo>
                    <a:pt x="16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4" y="232"/>
                  </a:lnTo>
                  <a:lnTo>
                    <a:pt x="14" y="232"/>
                  </a:lnTo>
                  <a:lnTo>
                    <a:pt x="16" y="232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30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6" y="225"/>
                  </a:lnTo>
                  <a:lnTo>
                    <a:pt x="16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8"/>
                  </a:lnTo>
                  <a:lnTo>
                    <a:pt x="18" y="228"/>
                  </a:lnTo>
                  <a:lnTo>
                    <a:pt x="18" y="225"/>
                  </a:lnTo>
                  <a:lnTo>
                    <a:pt x="18" y="225"/>
                  </a:lnTo>
                  <a:lnTo>
                    <a:pt x="18" y="223"/>
                  </a:lnTo>
                  <a:lnTo>
                    <a:pt x="18" y="221"/>
                  </a:lnTo>
                  <a:lnTo>
                    <a:pt x="18" y="221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9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6"/>
                  </a:lnTo>
                  <a:lnTo>
                    <a:pt x="18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4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1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3" y="210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7"/>
                  </a:lnTo>
                  <a:lnTo>
                    <a:pt x="25" y="207"/>
                  </a:lnTo>
                  <a:lnTo>
                    <a:pt x="27" y="207"/>
                  </a:lnTo>
                  <a:lnTo>
                    <a:pt x="27" y="207"/>
                  </a:lnTo>
                  <a:lnTo>
                    <a:pt x="27" y="205"/>
                  </a:lnTo>
                  <a:lnTo>
                    <a:pt x="27" y="205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7" y="203"/>
                  </a:lnTo>
                  <a:lnTo>
                    <a:pt x="27" y="201"/>
                  </a:lnTo>
                  <a:lnTo>
                    <a:pt x="30" y="201"/>
                  </a:lnTo>
                  <a:lnTo>
                    <a:pt x="30" y="201"/>
                  </a:lnTo>
                  <a:lnTo>
                    <a:pt x="30" y="198"/>
                  </a:lnTo>
                  <a:lnTo>
                    <a:pt x="32" y="198"/>
                  </a:lnTo>
                  <a:lnTo>
                    <a:pt x="32" y="198"/>
                  </a:lnTo>
                  <a:lnTo>
                    <a:pt x="32" y="196"/>
                  </a:lnTo>
                  <a:lnTo>
                    <a:pt x="32" y="196"/>
                  </a:lnTo>
                  <a:lnTo>
                    <a:pt x="32" y="196"/>
                  </a:lnTo>
                  <a:lnTo>
                    <a:pt x="32" y="196"/>
                  </a:lnTo>
                  <a:lnTo>
                    <a:pt x="34" y="196"/>
                  </a:lnTo>
                  <a:lnTo>
                    <a:pt x="34" y="196"/>
                  </a:lnTo>
                  <a:lnTo>
                    <a:pt x="34" y="196"/>
                  </a:lnTo>
                  <a:lnTo>
                    <a:pt x="34" y="196"/>
                  </a:lnTo>
                  <a:lnTo>
                    <a:pt x="34" y="196"/>
                  </a:lnTo>
                  <a:lnTo>
                    <a:pt x="34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6" y="196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4"/>
                  </a:lnTo>
                  <a:lnTo>
                    <a:pt x="39" y="192"/>
                  </a:lnTo>
                  <a:lnTo>
                    <a:pt x="39" y="192"/>
                  </a:lnTo>
                  <a:lnTo>
                    <a:pt x="39" y="192"/>
                  </a:lnTo>
                  <a:lnTo>
                    <a:pt x="41" y="192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1" y="189"/>
                  </a:lnTo>
                  <a:lnTo>
                    <a:pt x="43" y="187"/>
                  </a:lnTo>
                  <a:lnTo>
                    <a:pt x="43" y="187"/>
                  </a:lnTo>
                  <a:lnTo>
                    <a:pt x="43" y="185"/>
                  </a:lnTo>
                  <a:lnTo>
                    <a:pt x="43" y="185"/>
                  </a:lnTo>
                  <a:lnTo>
                    <a:pt x="43" y="183"/>
                  </a:lnTo>
                  <a:lnTo>
                    <a:pt x="45" y="183"/>
                  </a:lnTo>
                  <a:lnTo>
                    <a:pt x="45" y="183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80"/>
                  </a:lnTo>
                  <a:lnTo>
                    <a:pt x="45" y="178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5" y="171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7"/>
                  </a:lnTo>
                  <a:lnTo>
                    <a:pt x="45" y="165"/>
                  </a:lnTo>
                  <a:lnTo>
                    <a:pt x="48" y="165"/>
                  </a:lnTo>
                  <a:lnTo>
                    <a:pt x="48" y="165"/>
                  </a:lnTo>
                  <a:lnTo>
                    <a:pt x="48" y="165"/>
                  </a:lnTo>
                  <a:lnTo>
                    <a:pt x="48" y="160"/>
                  </a:lnTo>
                  <a:lnTo>
                    <a:pt x="48" y="160"/>
                  </a:lnTo>
                  <a:lnTo>
                    <a:pt x="48" y="158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3" y="147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0"/>
                  </a:lnTo>
                  <a:lnTo>
                    <a:pt x="39" y="140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5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6" y="129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4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0" y="111"/>
                  </a:lnTo>
                  <a:lnTo>
                    <a:pt x="30" y="108"/>
                  </a:lnTo>
                  <a:lnTo>
                    <a:pt x="32" y="108"/>
                  </a:lnTo>
                  <a:lnTo>
                    <a:pt x="32" y="106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0" y="111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6" y="104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2"/>
                  </a:lnTo>
                  <a:lnTo>
                    <a:pt x="39" y="102"/>
                  </a:lnTo>
                  <a:lnTo>
                    <a:pt x="39" y="102"/>
                  </a:lnTo>
                  <a:lnTo>
                    <a:pt x="39" y="102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6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39" y="95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2" y="84"/>
                  </a:lnTo>
                  <a:lnTo>
                    <a:pt x="30" y="77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3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7"/>
                  </a:lnTo>
                  <a:lnTo>
                    <a:pt x="21" y="54"/>
                  </a:lnTo>
                  <a:lnTo>
                    <a:pt x="18" y="50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5"/>
                  </a:lnTo>
                  <a:lnTo>
                    <a:pt x="16" y="45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2" y="36"/>
                  </a:lnTo>
                  <a:close/>
                  <a:moveTo>
                    <a:pt x="27" y="0"/>
                  </a:move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30"/>
                  </a:lnTo>
                  <a:lnTo>
                    <a:pt x="21" y="32"/>
                  </a:lnTo>
                  <a:lnTo>
                    <a:pt x="18" y="32"/>
                  </a:lnTo>
                  <a:lnTo>
                    <a:pt x="16" y="32"/>
                  </a:lnTo>
                  <a:lnTo>
                    <a:pt x="14" y="32"/>
                  </a:lnTo>
                  <a:lnTo>
                    <a:pt x="14" y="34"/>
                  </a:lnTo>
                  <a:lnTo>
                    <a:pt x="14" y="32"/>
                  </a:lnTo>
                  <a:lnTo>
                    <a:pt x="12" y="30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2" y="14"/>
                  </a:lnTo>
                  <a:lnTo>
                    <a:pt x="14" y="12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1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0" name="Freeform 660"/>
            <p:cNvSpPr>
              <a:spLocks/>
            </p:cNvSpPr>
            <p:nvPr/>
          </p:nvSpPr>
          <p:spPr bwMode="auto">
            <a:xfrm>
              <a:off x="5689366" y="2270927"/>
              <a:ext cx="11701" cy="10029"/>
            </a:xfrm>
            <a:custGeom>
              <a:avLst/>
              <a:gdLst>
                <a:gd name="T0" fmla="*/ 2 w 7"/>
                <a:gd name="T1" fmla="*/ 0 h 6"/>
                <a:gd name="T2" fmla="*/ 4 w 7"/>
                <a:gd name="T3" fmla="*/ 2 h 6"/>
                <a:gd name="T4" fmla="*/ 4 w 7"/>
                <a:gd name="T5" fmla="*/ 2 h 6"/>
                <a:gd name="T6" fmla="*/ 7 w 7"/>
                <a:gd name="T7" fmla="*/ 2 h 6"/>
                <a:gd name="T8" fmla="*/ 7 w 7"/>
                <a:gd name="T9" fmla="*/ 2 h 6"/>
                <a:gd name="T10" fmla="*/ 7 w 7"/>
                <a:gd name="T11" fmla="*/ 2 h 6"/>
                <a:gd name="T12" fmla="*/ 7 w 7"/>
                <a:gd name="T13" fmla="*/ 2 h 6"/>
                <a:gd name="T14" fmla="*/ 7 w 7"/>
                <a:gd name="T15" fmla="*/ 2 h 6"/>
                <a:gd name="T16" fmla="*/ 7 w 7"/>
                <a:gd name="T17" fmla="*/ 2 h 6"/>
                <a:gd name="T18" fmla="*/ 7 w 7"/>
                <a:gd name="T19" fmla="*/ 2 h 6"/>
                <a:gd name="T20" fmla="*/ 7 w 7"/>
                <a:gd name="T21" fmla="*/ 4 h 6"/>
                <a:gd name="T22" fmla="*/ 7 w 7"/>
                <a:gd name="T23" fmla="*/ 4 h 6"/>
                <a:gd name="T24" fmla="*/ 4 w 7"/>
                <a:gd name="T25" fmla="*/ 4 h 6"/>
                <a:gd name="T26" fmla="*/ 4 w 7"/>
                <a:gd name="T27" fmla="*/ 4 h 6"/>
                <a:gd name="T28" fmla="*/ 4 w 7"/>
                <a:gd name="T29" fmla="*/ 4 h 6"/>
                <a:gd name="T30" fmla="*/ 4 w 7"/>
                <a:gd name="T31" fmla="*/ 4 h 6"/>
                <a:gd name="T32" fmla="*/ 4 w 7"/>
                <a:gd name="T33" fmla="*/ 4 h 6"/>
                <a:gd name="T34" fmla="*/ 4 w 7"/>
                <a:gd name="T35" fmla="*/ 4 h 6"/>
                <a:gd name="T36" fmla="*/ 4 w 7"/>
                <a:gd name="T37" fmla="*/ 4 h 6"/>
                <a:gd name="T38" fmla="*/ 4 w 7"/>
                <a:gd name="T39" fmla="*/ 4 h 6"/>
                <a:gd name="T40" fmla="*/ 4 w 7"/>
                <a:gd name="T41" fmla="*/ 4 h 6"/>
                <a:gd name="T42" fmla="*/ 4 w 7"/>
                <a:gd name="T43" fmla="*/ 4 h 6"/>
                <a:gd name="T44" fmla="*/ 2 w 7"/>
                <a:gd name="T45" fmla="*/ 4 h 6"/>
                <a:gd name="T46" fmla="*/ 2 w 7"/>
                <a:gd name="T47" fmla="*/ 4 h 6"/>
                <a:gd name="T48" fmla="*/ 2 w 7"/>
                <a:gd name="T49" fmla="*/ 6 h 6"/>
                <a:gd name="T50" fmla="*/ 2 w 7"/>
                <a:gd name="T51" fmla="*/ 6 h 6"/>
                <a:gd name="T52" fmla="*/ 2 w 7"/>
                <a:gd name="T53" fmla="*/ 6 h 6"/>
                <a:gd name="T54" fmla="*/ 2 w 7"/>
                <a:gd name="T55" fmla="*/ 6 h 6"/>
                <a:gd name="T56" fmla="*/ 0 w 7"/>
                <a:gd name="T57" fmla="*/ 6 h 6"/>
                <a:gd name="T58" fmla="*/ 0 w 7"/>
                <a:gd name="T59" fmla="*/ 6 h 6"/>
                <a:gd name="T60" fmla="*/ 0 w 7"/>
                <a:gd name="T61" fmla="*/ 4 h 6"/>
                <a:gd name="T62" fmla="*/ 0 w 7"/>
                <a:gd name="T63" fmla="*/ 4 h 6"/>
                <a:gd name="T64" fmla="*/ 0 w 7"/>
                <a:gd name="T65" fmla="*/ 4 h 6"/>
                <a:gd name="T66" fmla="*/ 0 w 7"/>
                <a:gd name="T67" fmla="*/ 4 h 6"/>
                <a:gd name="T68" fmla="*/ 0 w 7"/>
                <a:gd name="T69" fmla="*/ 4 h 6"/>
                <a:gd name="T70" fmla="*/ 0 w 7"/>
                <a:gd name="T71" fmla="*/ 4 h 6"/>
                <a:gd name="T72" fmla="*/ 0 w 7"/>
                <a:gd name="T73" fmla="*/ 4 h 6"/>
                <a:gd name="T74" fmla="*/ 0 w 7"/>
                <a:gd name="T75" fmla="*/ 4 h 6"/>
                <a:gd name="T76" fmla="*/ 0 w 7"/>
                <a:gd name="T77" fmla="*/ 2 h 6"/>
                <a:gd name="T78" fmla="*/ 0 w 7"/>
                <a:gd name="T79" fmla="*/ 2 h 6"/>
                <a:gd name="T80" fmla="*/ 0 w 7"/>
                <a:gd name="T81" fmla="*/ 2 h 6"/>
                <a:gd name="T82" fmla="*/ 0 w 7"/>
                <a:gd name="T83" fmla="*/ 2 h 6"/>
                <a:gd name="T84" fmla="*/ 0 w 7"/>
                <a:gd name="T85" fmla="*/ 2 h 6"/>
                <a:gd name="T86" fmla="*/ 0 w 7"/>
                <a:gd name="T87" fmla="*/ 2 h 6"/>
                <a:gd name="T88" fmla="*/ 0 w 7"/>
                <a:gd name="T89" fmla="*/ 2 h 6"/>
                <a:gd name="T90" fmla="*/ 0 w 7"/>
                <a:gd name="T91" fmla="*/ 2 h 6"/>
                <a:gd name="T92" fmla="*/ 2 w 7"/>
                <a:gd name="T93" fmla="*/ 0 h 6"/>
                <a:gd name="T94" fmla="*/ 2 w 7"/>
                <a:gd name="T95" fmla="*/ 0 h 6"/>
                <a:gd name="T96" fmla="*/ 2 w 7"/>
                <a:gd name="T97" fmla="*/ 0 h 6"/>
                <a:gd name="T98" fmla="*/ 2 w 7"/>
                <a:gd name="T9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4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1" name="Freeform 661"/>
            <p:cNvSpPr>
              <a:spLocks/>
            </p:cNvSpPr>
            <p:nvPr/>
          </p:nvSpPr>
          <p:spPr bwMode="auto">
            <a:xfrm>
              <a:off x="5346724" y="2491555"/>
              <a:ext cx="707013" cy="722056"/>
            </a:xfrm>
            <a:custGeom>
              <a:avLst/>
              <a:gdLst>
                <a:gd name="T0" fmla="*/ 319 w 423"/>
                <a:gd name="T1" fmla="*/ 5 h 432"/>
                <a:gd name="T2" fmla="*/ 322 w 423"/>
                <a:gd name="T3" fmla="*/ 0 h 432"/>
                <a:gd name="T4" fmla="*/ 324 w 423"/>
                <a:gd name="T5" fmla="*/ 0 h 432"/>
                <a:gd name="T6" fmla="*/ 331 w 423"/>
                <a:gd name="T7" fmla="*/ 3 h 432"/>
                <a:gd name="T8" fmla="*/ 344 w 423"/>
                <a:gd name="T9" fmla="*/ 5 h 432"/>
                <a:gd name="T10" fmla="*/ 344 w 423"/>
                <a:gd name="T11" fmla="*/ 9 h 432"/>
                <a:gd name="T12" fmla="*/ 342 w 423"/>
                <a:gd name="T13" fmla="*/ 23 h 432"/>
                <a:gd name="T14" fmla="*/ 344 w 423"/>
                <a:gd name="T15" fmla="*/ 43 h 432"/>
                <a:gd name="T16" fmla="*/ 340 w 423"/>
                <a:gd name="T17" fmla="*/ 59 h 432"/>
                <a:gd name="T18" fmla="*/ 326 w 423"/>
                <a:gd name="T19" fmla="*/ 77 h 432"/>
                <a:gd name="T20" fmla="*/ 340 w 423"/>
                <a:gd name="T21" fmla="*/ 95 h 432"/>
                <a:gd name="T22" fmla="*/ 362 w 423"/>
                <a:gd name="T23" fmla="*/ 135 h 432"/>
                <a:gd name="T24" fmla="*/ 376 w 423"/>
                <a:gd name="T25" fmla="*/ 209 h 432"/>
                <a:gd name="T26" fmla="*/ 378 w 423"/>
                <a:gd name="T27" fmla="*/ 243 h 432"/>
                <a:gd name="T28" fmla="*/ 373 w 423"/>
                <a:gd name="T29" fmla="*/ 266 h 432"/>
                <a:gd name="T30" fmla="*/ 398 w 423"/>
                <a:gd name="T31" fmla="*/ 297 h 432"/>
                <a:gd name="T32" fmla="*/ 412 w 423"/>
                <a:gd name="T33" fmla="*/ 331 h 432"/>
                <a:gd name="T34" fmla="*/ 382 w 423"/>
                <a:gd name="T35" fmla="*/ 351 h 432"/>
                <a:gd name="T36" fmla="*/ 355 w 423"/>
                <a:gd name="T37" fmla="*/ 369 h 432"/>
                <a:gd name="T38" fmla="*/ 326 w 423"/>
                <a:gd name="T39" fmla="*/ 392 h 432"/>
                <a:gd name="T40" fmla="*/ 299 w 423"/>
                <a:gd name="T41" fmla="*/ 419 h 432"/>
                <a:gd name="T42" fmla="*/ 248 w 423"/>
                <a:gd name="T43" fmla="*/ 432 h 432"/>
                <a:gd name="T44" fmla="*/ 245 w 423"/>
                <a:gd name="T45" fmla="*/ 423 h 432"/>
                <a:gd name="T46" fmla="*/ 243 w 423"/>
                <a:gd name="T47" fmla="*/ 412 h 432"/>
                <a:gd name="T48" fmla="*/ 223 w 423"/>
                <a:gd name="T49" fmla="*/ 401 h 432"/>
                <a:gd name="T50" fmla="*/ 216 w 423"/>
                <a:gd name="T51" fmla="*/ 401 h 432"/>
                <a:gd name="T52" fmla="*/ 205 w 423"/>
                <a:gd name="T53" fmla="*/ 389 h 432"/>
                <a:gd name="T54" fmla="*/ 187 w 423"/>
                <a:gd name="T55" fmla="*/ 369 h 432"/>
                <a:gd name="T56" fmla="*/ 151 w 423"/>
                <a:gd name="T57" fmla="*/ 342 h 432"/>
                <a:gd name="T58" fmla="*/ 115 w 423"/>
                <a:gd name="T59" fmla="*/ 315 h 432"/>
                <a:gd name="T60" fmla="*/ 84 w 423"/>
                <a:gd name="T61" fmla="*/ 290 h 432"/>
                <a:gd name="T62" fmla="*/ 25 w 423"/>
                <a:gd name="T63" fmla="*/ 250 h 432"/>
                <a:gd name="T64" fmla="*/ 3 w 423"/>
                <a:gd name="T65" fmla="*/ 209 h 432"/>
                <a:gd name="T66" fmla="*/ 12 w 423"/>
                <a:gd name="T67" fmla="*/ 191 h 432"/>
                <a:gd name="T68" fmla="*/ 36 w 423"/>
                <a:gd name="T69" fmla="*/ 178 h 432"/>
                <a:gd name="T70" fmla="*/ 52 w 423"/>
                <a:gd name="T71" fmla="*/ 173 h 432"/>
                <a:gd name="T72" fmla="*/ 79 w 423"/>
                <a:gd name="T73" fmla="*/ 158 h 432"/>
                <a:gd name="T74" fmla="*/ 106 w 423"/>
                <a:gd name="T75" fmla="*/ 142 h 432"/>
                <a:gd name="T76" fmla="*/ 104 w 423"/>
                <a:gd name="T77" fmla="*/ 135 h 432"/>
                <a:gd name="T78" fmla="*/ 117 w 423"/>
                <a:gd name="T79" fmla="*/ 124 h 432"/>
                <a:gd name="T80" fmla="*/ 149 w 423"/>
                <a:gd name="T81" fmla="*/ 120 h 432"/>
                <a:gd name="T82" fmla="*/ 153 w 423"/>
                <a:gd name="T83" fmla="*/ 115 h 432"/>
                <a:gd name="T84" fmla="*/ 149 w 423"/>
                <a:gd name="T85" fmla="*/ 97 h 432"/>
                <a:gd name="T86" fmla="*/ 144 w 423"/>
                <a:gd name="T87" fmla="*/ 81 h 432"/>
                <a:gd name="T88" fmla="*/ 144 w 423"/>
                <a:gd name="T89" fmla="*/ 61 h 432"/>
                <a:gd name="T90" fmla="*/ 135 w 423"/>
                <a:gd name="T91" fmla="*/ 50 h 432"/>
                <a:gd name="T92" fmla="*/ 142 w 423"/>
                <a:gd name="T93" fmla="*/ 48 h 432"/>
                <a:gd name="T94" fmla="*/ 153 w 423"/>
                <a:gd name="T95" fmla="*/ 41 h 432"/>
                <a:gd name="T96" fmla="*/ 160 w 423"/>
                <a:gd name="T97" fmla="*/ 32 h 432"/>
                <a:gd name="T98" fmla="*/ 167 w 423"/>
                <a:gd name="T99" fmla="*/ 32 h 432"/>
                <a:gd name="T100" fmla="*/ 169 w 423"/>
                <a:gd name="T101" fmla="*/ 30 h 432"/>
                <a:gd name="T102" fmla="*/ 180 w 423"/>
                <a:gd name="T103" fmla="*/ 27 h 432"/>
                <a:gd name="T104" fmla="*/ 185 w 423"/>
                <a:gd name="T105" fmla="*/ 21 h 432"/>
                <a:gd name="T106" fmla="*/ 196 w 423"/>
                <a:gd name="T107" fmla="*/ 16 h 432"/>
                <a:gd name="T108" fmla="*/ 212 w 423"/>
                <a:gd name="T109" fmla="*/ 14 h 432"/>
                <a:gd name="T110" fmla="*/ 225 w 423"/>
                <a:gd name="T111" fmla="*/ 12 h 432"/>
                <a:gd name="T112" fmla="*/ 241 w 423"/>
                <a:gd name="T113" fmla="*/ 7 h 432"/>
                <a:gd name="T114" fmla="*/ 252 w 423"/>
                <a:gd name="T115" fmla="*/ 5 h 432"/>
                <a:gd name="T116" fmla="*/ 263 w 423"/>
                <a:gd name="T117" fmla="*/ 5 h 432"/>
                <a:gd name="T118" fmla="*/ 277 w 423"/>
                <a:gd name="T119" fmla="*/ 7 h 432"/>
                <a:gd name="T120" fmla="*/ 286 w 423"/>
                <a:gd name="T121" fmla="*/ 9 h 432"/>
                <a:gd name="T122" fmla="*/ 301 w 423"/>
                <a:gd name="T123" fmla="*/ 3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3" h="432">
                  <a:moveTo>
                    <a:pt x="308" y="3"/>
                  </a:move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08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3"/>
                  </a:lnTo>
                  <a:lnTo>
                    <a:pt x="313" y="5"/>
                  </a:lnTo>
                  <a:lnTo>
                    <a:pt x="313" y="5"/>
                  </a:lnTo>
                  <a:lnTo>
                    <a:pt x="313" y="5"/>
                  </a:lnTo>
                  <a:lnTo>
                    <a:pt x="313" y="5"/>
                  </a:lnTo>
                  <a:lnTo>
                    <a:pt x="315" y="5"/>
                  </a:lnTo>
                  <a:lnTo>
                    <a:pt x="315" y="5"/>
                  </a:lnTo>
                  <a:lnTo>
                    <a:pt x="317" y="5"/>
                  </a:lnTo>
                  <a:lnTo>
                    <a:pt x="317" y="5"/>
                  </a:lnTo>
                  <a:lnTo>
                    <a:pt x="317" y="5"/>
                  </a:lnTo>
                  <a:lnTo>
                    <a:pt x="317" y="5"/>
                  </a:lnTo>
                  <a:lnTo>
                    <a:pt x="319" y="5"/>
                  </a:lnTo>
                  <a:lnTo>
                    <a:pt x="319" y="5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3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2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4" y="0"/>
                  </a:lnTo>
                  <a:lnTo>
                    <a:pt x="326" y="0"/>
                  </a:lnTo>
                  <a:lnTo>
                    <a:pt x="326" y="0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28" y="3"/>
                  </a:lnTo>
                  <a:lnTo>
                    <a:pt x="331" y="3"/>
                  </a:lnTo>
                  <a:lnTo>
                    <a:pt x="331" y="3"/>
                  </a:lnTo>
                  <a:lnTo>
                    <a:pt x="331" y="3"/>
                  </a:lnTo>
                  <a:lnTo>
                    <a:pt x="331" y="3"/>
                  </a:lnTo>
                  <a:lnTo>
                    <a:pt x="331" y="3"/>
                  </a:lnTo>
                  <a:lnTo>
                    <a:pt x="331" y="3"/>
                  </a:lnTo>
                  <a:lnTo>
                    <a:pt x="331" y="3"/>
                  </a:lnTo>
                  <a:lnTo>
                    <a:pt x="331" y="5"/>
                  </a:lnTo>
                  <a:lnTo>
                    <a:pt x="331" y="5"/>
                  </a:lnTo>
                  <a:lnTo>
                    <a:pt x="331" y="5"/>
                  </a:lnTo>
                  <a:lnTo>
                    <a:pt x="333" y="5"/>
                  </a:lnTo>
                  <a:lnTo>
                    <a:pt x="333" y="5"/>
                  </a:lnTo>
                  <a:lnTo>
                    <a:pt x="335" y="5"/>
                  </a:lnTo>
                  <a:lnTo>
                    <a:pt x="337" y="5"/>
                  </a:lnTo>
                  <a:lnTo>
                    <a:pt x="337" y="5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42" y="5"/>
                  </a:lnTo>
                  <a:lnTo>
                    <a:pt x="342" y="5"/>
                  </a:lnTo>
                  <a:lnTo>
                    <a:pt x="342" y="5"/>
                  </a:lnTo>
                  <a:lnTo>
                    <a:pt x="342" y="5"/>
                  </a:lnTo>
                  <a:lnTo>
                    <a:pt x="342" y="5"/>
                  </a:lnTo>
                  <a:lnTo>
                    <a:pt x="344" y="5"/>
                  </a:lnTo>
                  <a:lnTo>
                    <a:pt x="344" y="5"/>
                  </a:lnTo>
                  <a:lnTo>
                    <a:pt x="344" y="5"/>
                  </a:lnTo>
                  <a:lnTo>
                    <a:pt x="344" y="5"/>
                  </a:lnTo>
                  <a:lnTo>
                    <a:pt x="344" y="5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6" y="5"/>
                  </a:lnTo>
                  <a:lnTo>
                    <a:pt x="349" y="5"/>
                  </a:lnTo>
                  <a:lnTo>
                    <a:pt x="349" y="5"/>
                  </a:lnTo>
                  <a:lnTo>
                    <a:pt x="349" y="7"/>
                  </a:lnTo>
                  <a:lnTo>
                    <a:pt x="346" y="7"/>
                  </a:lnTo>
                  <a:lnTo>
                    <a:pt x="346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7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4" y="9"/>
                  </a:lnTo>
                  <a:lnTo>
                    <a:pt x="344" y="12"/>
                  </a:lnTo>
                  <a:lnTo>
                    <a:pt x="342" y="12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4"/>
                  </a:lnTo>
                  <a:lnTo>
                    <a:pt x="340" y="14"/>
                  </a:lnTo>
                  <a:lnTo>
                    <a:pt x="340" y="14"/>
                  </a:lnTo>
                  <a:lnTo>
                    <a:pt x="342" y="14"/>
                  </a:lnTo>
                  <a:lnTo>
                    <a:pt x="342" y="14"/>
                  </a:lnTo>
                  <a:lnTo>
                    <a:pt x="342" y="16"/>
                  </a:lnTo>
                  <a:lnTo>
                    <a:pt x="342" y="16"/>
                  </a:lnTo>
                  <a:lnTo>
                    <a:pt x="342" y="16"/>
                  </a:lnTo>
                  <a:lnTo>
                    <a:pt x="342" y="16"/>
                  </a:lnTo>
                  <a:lnTo>
                    <a:pt x="342" y="16"/>
                  </a:lnTo>
                  <a:lnTo>
                    <a:pt x="342" y="18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5"/>
                  </a:lnTo>
                  <a:lnTo>
                    <a:pt x="342" y="27"/>
                  </a:lnTo>
                  <a:lnTo>
                    <a:pt x="340" y="27"/>
                  </a:lnTo>
                  <a:lnTo>
                    <a:pt x="340" y="30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9"/>
                  </a:lnTo>
                  <a:lnTo>
                    <a:pt x="342" y="39"/>
                  </a:lnTo>
                  <a:lnTo>
                    <a:pt x="342" y="41"/>
                  </a:lnTo>
                  <a:lnTo>
                    <a:pt x="342" y="41"/>
                  </a:lnTo>
                  <a:lnTo>
                    <a:pt x="342" y="41"/>
                  </a:lnTo>
                  <a:lnTo>
                    <a:pt x="342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3"/>
                  </a:lnTo>
                  <a:lnTo>
                    <a:pt x="344" y="45"/>
                  </a:lnTo>
                  <a:lnTo>
                    <a:pt x="344" y="45"/>
                  </a:lnTo>
                  <a:lnTo>
                    <a:pt x="342" y="48"/>
                  </a:lnTo>
                  <a:lnTo>
                    <a:pt x="342" y="48"/>
                  </a:lnTo>
                  <a:lnTo>
                    <a:pt x="342" y="50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2" y="54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7"/>
                  </a:lnTo>
                  <a:lnTo>
                    <a:pt x="342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7" y="61"/>
                  </a:lnTo>
                  <a:lnTo>
                    <a:pt x="335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3"/>
                  </a:lnTo>
                  <a:lnTo>
                    <a:pt x="333" y="68"/>
                  </a:lnTo>
                  <a:lnTo>
                    <a:pt x="333" y="68"/>
                  </a:lnTo>
                  <a:lnTo>
                    <a:pt x="333" y="68"/>
                  </a:lnTo>
                  <a:lnTo>
                    <a:pt x="331" y="68"/>
                  </a:lnTo>
                  <a:lnTo>
                    <a:pt x="331" y="68"/>
                  </a:lnTo>
                  <a:lnTo>
                    <a:pt x="331" y="68"/>
                  </a:lnTo>
                  <a:lnTo>
                    <a:pt x="328" y="70"/>
                  </a:lnTo>
                  <a:lnTo>
                    <a:pt x="328" y="70"/>
                  </a:lnTo>
                  <a:lnTo>
                    <a:pt x="328" y="70"/>
                  </a:lnTo>
                  <a:lnTo>
                    <a:pt x="326" y="72"/>
                  </a:lnTo>
                  <a:lnTo>
                    <a:pt x="326" y="75"/>
                  </a:lnTo>
                  <a:lnTo>
                    <a:pt x="326" y="77"/>
                  </a:lnTo>
                  <a:lnTo>
                    <a:pt x="326" y="77"/>
                  </a:lnTo>
                  <a:lnTo>
                    <a:pt x="326" y="79"/>
                  </a:lnTo>
                  <a:lnTo>
                    <a:pt x="328" y="79"/>
                  </a:lnTo>
                  <a:lnTo>
                    <a:pt x="328" y="79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31" y="84"/>
                  </a:lnTo>
                  <a:lnTo>
                    <a:pt x="331" y="86"/>
                  </a:lnTo>
                  <a:lnTo>
                    <a:pt x="331" y="88"/>
                  </a:lnTo>
                  <a:lnTo>
                    <a:pt x="331" y="90"/>
                  </a:lnTo>
                  <a:lnTo>
                    <a:pt x="333" y="93"/>
                  </a:lnTo>
                  <a:lnTo>
                    <a:pt x="333" y="93"/>
                  </a:lnTo>
                  <a:lnTo>
                    <a:pt x="333" y="93"/>
                  </a:lnTo>
                  <a:lnTo>
                    <a:pt x="335" y="93"/>
                  </a:lnTo>
                  <a:lnTo>
                    <a:pt x="335" y="93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40" y="95"/>
                  </a:lnTo>
                  <a:lnTo>
                    <a:pt x="340" y="95"/>
                  </a:lnTo>
                  <a:lnTo>
                    <a:pt x="340" y="95"/>
                  </a:lnTo>
                  <a:lnTo>
                    <a:pt x="342" y="97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44" y="106"/>
                  </a:lnTo>
                  <a:lnTo>
                    <a:pt x="344" y="108"/>
                  </a:lnTo>
                  <a:lnTo>
                    <a:pt x="344" y="108"/>
                  </a:lnTo>
                  <a:lnTo>
                    <a:pt x="344" y="108"/>
                  </a:lnTo>
                  <a:lnTo>
                    <a:pt x="349" y="111"/>
                  </a:lnTo>
                  <a:lnTo>
                    <a:pt x="351" y="113"/>
                  </a:lnTo>
                  <a:lnTo>
                    <a:pt x="355" y="115"/>
                  </a:lnTo>
                  <a:lnTo>
                    <a:pt x="358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0" y="122"/>
                  </a:lnTo>
                  <a:lnTo>
                    <a:pt x="360" y="124"/>
                  </a:lnTo>
                  <a:lnTo>
                    <a:pt x="360" y="126"/>
                  </a:lnTo>
                  <a:lnTo>
                    <a:pt x="362" y="129"/>
                  </a:lnTo>
                  <a:lnTo>
                    <a:pt x="362" y="131"/>
                  </a:lnTo>
                  <a:lnTo>
                    <a:pt x="362" y="135"/>
                  </a:lnTo>
                  <a:lnTo>
                    <a:pt x="364" y="138"/>
                  </a:lnTo>
                  <a:lnTo>
                    <a:pt x="364" y="140"/>
                  </a:lnTo>
                  <a:lnTo>
                    <a:pt x="364" y="142"/>
                  </a:lnTo>
                  <a:lnTo>
                    <a:pt x="364" y="144"/>
                  </a:lnTo>
                  <a:lnTo>
                    <a:pt x="367" y="147"/>
                  </a:lnTo>
                  <a:lnTo>
                    <a:pt x="367" y="151"/>
                  </a:lnTo>
                  <a:lnTo>
                    <a:pt x="367" y="153"/>
                  </a:lnTo>
                  <a:lnTo>
                    <a:pt x="369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4" y="167"/>
                  </a:lnTo>
                  <a:lnTo>
                    <a:pt x="367" y="167"/>
                  </a:lnTo>
                  <a:lnTo>
                    <a:pt x="369" y="169"/>
                  </a:lnTo>
                  <a:lnTo>
                    <a:pt x="371" y="173"/>
                  </a:lnTo>
                  <a:lnTo>
                    <a:pt x="373" y="178"/>
                  </a:lnTo>
                  <a:lnTo>
                    <a:pt x="378" y="189"/>
                  </a:lnTo>
                  <a:lnTo>
                    <a:pt x="378" y="194"/>
                  </a:lnTo>
                  <a:lnTo>
                    <a:pt x="378" y="198"/>
                  </a:lnTo>
                  <a:lnTo>
                    <a:pt x="376" y="209"/>
                  </a:lnTo>
                  <a:lnTo>
                    <a:pt x="376" y="212"/>
                  </a:lnTo>
                  <a:lnTo>
                    <a:pt x="380" y="218"/>
                  </a:lnTo>
                  <a:lnTo>
                    <a:pt x="380" y="221"/>
                  </a:lnTo>
                  <a:lnTo>
                    <a:pt x="378" y="225"/>
                  </a:lnTo>
                  <a:lnTo>
                    <a:pt x="378" y="225"/>
                  </a:lnTo>
                  <a:lnTo>
                    <a:pt x="378" y="225"/>
                  </a:lnTo>
                  <a:lnTo>
                    <a:pt x="378" y="227"/>
                  </a:lnTo>
                  <a:lnTo>
                    <a:pt x="378" y="227"/>
                  </a:lnTo>
                  <a:lnTo>
                    <a:pt x="378" y="227"/>
                  </a:lnTo>
                  <a:lnTo>
                    <a:pt x="378" y="227"/>
                  </a:lnTo>
                  <a:lnTo>
                    <a:pt x="378" y="227"/>
                  </a:lnTo>
                  <a:lnTo>
                    <a:pt x="376" y="230"/>
                  </a:lnTo>
                  <a:lnTo>
                    <a:pt x="376" y="230"/>
                  </a:lnTo>
                  <a:lnTo>
                    <a:pt x="376" y="232"/>
                  </a:lnTo>
                  <a:lnTo>
                    <a:pt x="376" y="232"/>
                  </a:lnTo>
                  <a:lnTo>
                    <a:pt x="376" y="232"/>
                  </a:lnTo>
                  <a:lnTo>
                    <a:pt x="376" y="234"/>
                  </a:lnTo>
                  <a:lnTo>
                    <a:pt x="378" y="239"/>
                  </a:lnTo>
                  <a:lnTo>
                    <a:pt x="378" y="241"/>
                  </a:lnTo>
                  <a:lnTo>
                    <a:pt x="378" y="243"/>
                  </a:lnTo>
                  <a:lnTo>
                    <a:pt x="378" y="243"/>
                  </a:lnTo>
                  <a:lnTo>
                    <a:pt x="380" y="243"/>
                  </a:lnTo>
                  <a:lnTo>
                    <a:pt x="380" y="243"/>
                  </a:lnTo>
                  <a:lnTo>
                    <a:pt x="380" y="243"/>
                  </a:lnTo>
                  <a:lnTo>
                    <a:pt x="380" y="245"/>
                  </a:lnTo>
                  <a:lnTo>
                    <a:pt x="380" y="248"/>
                  </a:lnTo>
                  <a:lnTo>
                    <a:pt x="380" y="248"/>
                  </a:lnTo>
                  <a:lnTo>
                    <a:pt x="380" y="248"/>
                  </a:lnTo>
                  <a:lnTo>
                    <a:pt x="378" y="252"/>
                  </a:lnTo>
                  <a:lnTo>
                    <a:pt x="378" y="252"/>
                  </a:lnTo>
                  <a:lnTo>
                    <a:pt x="371" y="254"/>
                  </a:lnTo>
                  <a:lnTo>
                    <a:pt x="371" y="257"/>
                  </a:lnTo>
                  <a:lnTo>
                    <a:pt x="371" y="257"/>
                  </a:lnTo>
                  <a:lnTo>
                    <a:pt x="371" y="257"/>
                  </a:lnTo>
                  <a:lnTo>
                    <a:pt x="371" y="257"/>
                  </a:lnTo>
                  <a:lnTo>
                    <a:pt x="369" y="259"/>
                  </a:lnTo>
                  <a:lnTo>
                    <a:pt x="369" y="259"/>
                  </a:lnTo>
                  <a:lnTo>
                    <a:pt x="369" y="259"/>
                  </a:lnTo>
                  <a:lnTo>
                    <a:pt x="369" y="261"/>
                  </a:lnTo>
                  <a:lnTo>
                    <a:pt x="373" y="266"/>
                  </a:lnTo>
                  <a:lnTo>
                    <a:pt x="376" y="270"/>
                  </a:lnTo>
                  <a:lnTo>
                    <a:pt x="378" y="275"/>
                  </a:lnTo>
                  <a:lnTo>
                    <a:pt x="382" y="279"/>
                  </a:lnTo>
                  <a:lnTo>
                    <a:pt x="382" y="279"/>
                  </a:lnTo>
                  <a:lnTo>
                    <a:pt x="382" y="281"/>
                  </a:lnTo>
                  <a:lnTo>
                    <a:pt x="382" y="284"/>
                  </a:lnTo>
                  <a:lnTo>
                    <a:pt x="382" y="288"/>
                  </a:lnTo>
                  <a:lnTo>
                    <a:pt x="382" y="290"/>
                  </a:lnTo>
                  <a:lnTo>
                    <a:pt x="382" y="293"/>
                  </a:lnTo>
                  <a:lnTo>
                    <a:pt x="387" y="293"/>
                  </a:lnTo>
                  <a:lnTo>
                    <a:pt x="387" y="295"/>
                  </a:lnTo>
                  <a:lnTo>
                    <a:pt x="387" y="297"/>
                  </a:lnTo>
                  <a:lnTo>
                    <a:pt x="387" y="297"/>
                  </a:lnTo>
                  <a:lnTo>
                    <a:pt x="389" y="297"/>
                  </a:lnTo>
                  <a:lnTo>
                    <a:pt x="391" y="299"/>
                  </a:lnTo>
                  <a:lnTo>
                    <a:pt x="391" y="299"/>
                  </a:lnTo>
                  <a:lnTo>
                    <a:pt x="391" y="299"/>
                  </a:lnTo>
                  <a:lnTo>
                    <a:pt x="394" y="299"/>
                  </a:lnTo>
                  <a:lnTo>
                    <a:pt x="396" y="299"/>
                  </a:lnTo>
                  <a:lnTo>
                    <a:pt x="398" y="297"/>
                  </a:lnTo>
                  <a:lnTo>
                    <a:pt x="398" y="299"/>
                  </a:lnTo>
                  <a:lnTo>
                    <a:pt x="400" y="299"/>
                  </a:lnTo>
                  <a:lnTo>
                    <a:pt x="407" y="302"/>
                  </a:lnTo>
                  <a:lnTo>
                    <a:pt x="414" y="304"/>
                  </a:lnTo>
                  <a:lnTo>
                    <a:pt x="414" y="304"/>
                  </a:lnTo>
                  <a:lnTo>
                    <a:pt x="414" y="306"/>
                  </a:lnTo>
                  <a:lnTo>
                    <a:pt x="416" y="308"/>
                  </a:lnTo>
                  <a:lnTo>
                    <a:pt x="418" y="311"/>
                  </a:lnTo>
                  <a:lnTo>
                    <a:pt x="420" y="317"/>
                  </a:lnTo>
                  <a:lnTo>
                    <a:pt x="423" y="320"/>
                  </a:lnTo>
                  <a:lnTo>
                    <a:pt x="423" y="322"/>
                  </a:lnTo>
                  <a:lnTo>
                    <a:pt x="423" y="324"/>
                  </a:lnTo>
                  <a:lnTo>
                    <a:pt x="420" y="324"/>
                  </a:lnTo>
                  <a:lnTo>
                    <a:pt x="418" y="326"/>
                  </a:lnTo>
                  <a:lnTo>
                    <a:pt x="418" y="326"/>
                  </a:lnTo>
                  <a:lnTo>
                    <a:pt x="416" y="329"/>
                  </a:lnTo>
                  <a:lnTo>
                    <a:pt x="416" y="329"/>
                  </a:lnTo>
                  <a:lnTo>
                    <a:pt x="414" y="329"/>
                  </a:lnTo>
                  <a:lnTo>
                    <a:pt x="412" y="331"/>
                  </a:lnTo>
                  <a:lnTo>
                    <a:pt x="412" y="331"/>
                  </a:lnTo>
                  <a:lnTo>
                    <a:pt x="409" y="333"/>
                  </a:lnTo>
                  <a:lnTo>
                    <a:pt x="409" y="333"/>
                  </a:lnTo>
                  <a:lnTo>
                    <a:pt x="407" y="335"/>
                  </a:lnTo>
                  <a:lnTo>
                    <a:pt x="405" y="335"/>
                  </a:lnTo>
                  <a:lnTo>
                    <a:pt x="405" y="335"/>
                  </a:lnTo>
                  <a:lnTo>
                    <a:pt x="403" y="338"/>
                  </a:lnTo>
                  <a:lnTo>
                    <a:pt x="400" y="338"/>
                  </a:lnTo>
                  <a:lnTo>
                    <a:pt x="400" y="340"/>
                  </a:lnTo>
                  <a:lnTo>
                    <a:pt x="398" y="340"/>
                  </a:lnTo>
                  <a:lnTo>
                    <a:pt x="398" y="342"/>
                  </a:lnTo>
                  <a:lnTo>
                    <a:pt x="396" y="342"/>
                  </a:lnTo>
                  <a:lnTo>
                    <a:pt x="394" y="342"/>
                  </a:lnTo>
                  <a:lnTo>
                    <a:pt x="394" y="344"/>
                  </a:lnTo>
                  <a:lnTo>
                    <a:pt x="391" y="344"/>
                  </a:lnTo>
                  <a:lnTo>
                    <a:pt x="391" y="347"/>
                  </a:lnTo>
                  <a:lnTo>
                    <a:pt x="389" y="347"/>
                  </a:lnTo>
                  <a:lnTo>
                    <a:pt x="387" y="349"/>
                  </a:lnTo>
                  <a:lnTo>
                    <a:pt x="387" y="349"/>
                  </a:lnTo>
                  <a:lnTo>
                    <a:pt x="385" y="349"/>
                  </a:lnTo>
                  <a:lnTo>
                    <a:pt x="382" y="351"/>
                  </a:lnTo>
                  <a:lnTo>
                    <a:pt x="382" y="351"/>
                  </a:lnTo>
                  <a:lnTo>
                    <a:pt x="380" y="353"/>
                  </a:lnTo>
                  <a:lnTo>
                    <a:pt x="380" y="353"/>
                  </a:lnTo>
                  <a:lnTo>
                    <a:pt x="378" y="356"/>
                  </a:lnTo>
                  <a:lnTo>
                    <a:pt x="376" y="356"/>
                  </a:lnTo>
                  <a:lnTo>
                    <a:pt x="376" y="356"/>
                  </a:lnTo>
                  <a:lnTo>
                    <a:pt x="373" y="358"/>
                  </a:lnTo>
                  <a:lnTo>
                    <a:pt x="373" y="358"/>
                  </a:lnTo>
                  <a:lnTo>
                    <a:pt x="371" y="360"/>
                  </a:lnTo>
                  <a:lnTo>
                    <a:pt x="369" y="360"/>
                  </a:lnTo>
                  <a:lnTo>
                    <a:pt x="369" y="360"/>
                  </a:lnTo>
                  <a:lnTo>
                    <a:pt x="367" y="362"/>
                  </a:lnTo>
                  <a:lnTo>
                    <a:pt x="364" y="362"/>
                  </a:lnTo>
                  <a:lnTo>
                    <a:pt x="364" y="365"/>
                  </a:lnTo>
                  <a:lnTo>
                    <a:pt x="362" y="365"/>
                  </a:lnTo>
                  <a:lnTo>
                    <a:pt x="362" y="367"/>
                  </a:lnTo>
                  <a:lnTo>
                    <a:pt x="360" y="367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5" y="369"/>
                  </a:lnTo>
                  <a:lnTo>
                    <a:pt x="355" y="371"/>
                  </a:lnTo>
                  <a:lnTo>
                    <a:pt x="353" y="371"/>
                  </a:lnTo>
                  <a:lnTo>
                    <a:pt x="351" y="374"/>
                  </a:lnTo>
                  <a:lnTo>
                    <a:pt x="351" y="374"/>
                  </a:lnTo>
                  <a:lnTo>
                    <a:pt x="349" y="374"/>
                  </a:lnTo>
                  <a:lnTo>
                    <a:pt x="346" y="376"/>
                  </a:lnTo>
                  <a:lnTo>
                    <a:pt x="346" y="376"/>
                  </a:lnTo>
                  <a:lnTo>
                    <a:pt x="344" y="378"/>
                  </a:lnTo>
                  <a:lnTo>
                    <a:pt x="344" y="378"/>
                  </a:lnTo>
                  <a:lnTo>
                    <a:pt x="342" y="380"/>
                  </a:lnTo>
                  <a:lnTo>
                    <a:pt x="340" y="380"/>
                  </a:lnTo>
                  <a:lnTo>
                    <a:pt x="340" y="380"/>
                  </a:lnTo>
                  <a:lnTo>
                    <a:pt x="337" y="383"/>
                  </a:lnTo>
                  <a:lnTo>
                    <a:pt x="335" y="383"/>
                  </a:lnTo>
                  <a:lnTo>
                    <a:pt x="335" y="385"/>
                  </a:lnTo>
                  <a:lnTo>
                    <a:pt x="333" y="385"/>
                  </a:lnTo>
                  <a:lnTo>
                    <a:pt x="331" y="387"/>
                  </a:lnTo>
                  <a:lnTo>
                    <a:pt x="328" y="389"/>
                  </a:lnTo>
                  <a:lnTo>
                    <a:pt x="326" y="392"/>
                  </a:lnTo>
                  <a:lnTo>
                    <a:pt x="326" y="392"/>
                  </a:lnTo>
                  <a:lnTo>
                    <a:pt x="324" y="394"/>
                  </a:lnTo>
                  <a:lnTo>
                    <a:pt x="322" y="394"/>
                  </a:lnTo>
                  <a:lnTo>
                    <a:pt x="322" y="396"/>
                  </a:lnTo>
                  <a:lnTo>
                    <a:pt x="322" y="396"/>
                  </a:lnTo>
                  <a:lnTo>
                    <a:pt x="319" y="398"/>
                  </a:lnTo>
                  <a:lnTo>
                    <a:pt x="317" y="401"/>
                  </a:lnTo>
                  <a:lnTo>
                    <a:pt x="317" y="401"/>
                  </a:lnTo>
                  <a:lnTo>
                    <a:pt x="315" y="403"/>
                  </a:lnTo>
                  <a:lnTo>
                    <a:pt x="315" y="403"/>
                  </a:lnTo>
                  <a:lnTo>
                    <a:pt x="313" y="405"/>
                  </a:lnTo>
                  <a:lnTo>
                    <a:pt x="313" y="405"/>
                  </a:lnTo>
                  <a:lnTo>
                    <a:pt x="310" y="407"/>
                  </a:lnTo>
                  <a:lnTo>
                    <a:pt x="308" y="410"/>
                  </a:lnTo>
                  <a:lnTo>
                    <a:pt x="308" y="410"/>
                  </a:lnTo>
                  <a:lnTo>
                    <a:pt x="306" y="412"/>
                  </a:lnTo>
                  <a:lnTo>
                    <a:pt x="306" y="412"/>
                  </a:lnTo>
                  <a:lnTo>
                    <a:pt x="304" y="414"/>
                  </a:lnTo>
                  <a:lnTo>
                    <a:pt x="304" y="414"/>
                  </a:lnTo>
                  <a:lnTo>
                    <a:pt x="301" y="416"/>
                  </a:lnTo>
                  <a:lnTo>
                    <a:pt x="299" y="419"/>
                  </a:lnTo>
                  <a:lnTo>
                    <a:pt x="299" y="419"/>
                  </a:lnTo>
                  <a:lnTo>
                    <a:pt x="297" y="421"/>
                  </a:lnTo>
                  <a:lnTo>
                    <a:pt x="297" y="421"/>
                  </a:lnTo>
                  <a:lnTo>
                    <a:pt x="295" y="421"/>
                  </a:lnTo>
                  <a:lnTo>
                    <a:pt x="292" y="421"/>
                  </a:lnTo>
                  <a:lnTo>
                    <a:pt x="288" y="423"/>
                  </a:lnTo>
                  <a:lnTo>
                    <a:pt x="283" y="423"/>
                  </a:lnTo>
                  <a:lnTo>
                    <a:pt x="281" y="423"/>
                  </a:lnTo>
                  <a:lnTo>
                    <a:pt x="277" y="425"/>
                  </a:lnTo>
                  <a:lnTo>
                    <a:pt x="272" y="425"/>
                  </a:lnTo>
                  <a:lnTo>
                    <a:pt x="270" y="425"/>
                  </a:lnTo>
                  <a:lnTo>
                    <a:pt x="265" y="428"/>
                  </a:lnTo>
                  <a:lnTo>
                    <a:pt x="261" y="428"/>
                  </a:lnTo>
                  <a:lnTo>
                    <a:pt x="259" y="428"/>
                  </a:lnTo>
                  <a:lnTo>
                    <a:pt x="254" y="430"/>
                  </a:lnTo>
                  <a:lnTo>
                    <a:pt x="252" y="430"/>
                  </a:lnTo>
                  <a:lnTo>
                    <a:pt x="250" y="430"/>
                  </a:lnTo>
                  <a:lnTo>
                    <a:pt x="250" y="430"/>
                  </a:lnTo>
                  <a:lnTo>
                    <a:pt x="248" y="432"/>
                  </a:lnTo>
                  <a:lnTo>
                    <a:pt x="248" y="432"/>
                  </a:lnTo>
                  <a:lnTo>
                    <a:pt x="248" y="432"/>
                  </a:lnTo>
                  <a:lnTo>
                    <a:pt x="245" y="432"/>
                  </a:lnTo>
                  <a:lnTo>
                    <a:pt x="245" y="430"/>
                  </a:lnTo>
                  <a:lnTo>
                    <a:pt x="245" y="430"/>
                  </a:lnTo>
                  <a:lnTo>
                    <a:pt x="243" y="430"/>
                  </a:lnTo>
                  <a:lnTo>
                    <a:pt x="243" y="428"/>
                  </a:lnTo>
                  <a:lnTo>
                    <a:pt x="243" y="428"/>
                  </a:lnTo>
                  <a:lnTo>
                    <a:pt x="243" y="428"/>
                  </a:lnTo>
                  <a:lnTo>
                    <a:pt x="243" y="428"/>
                  </a:lnTo>
                  <a:lnTo>
                    <a:pt x="243" y="428"/>
                  </a:lnTo>
                  <a:lnTo>
                    <a:pt x="243" y="428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3" y="425"/>
                  </a:lnTo>
                  <a:lnTo>
                    <a:pt x="243" y="423"/>
                  </a:lnTo>
                  <a:lnTo>
                    <a:pt x="243" y="423"/>
                  </a:lnTo>
                  <a:lnTo>
                    <a:pt x="243" y="423"/>
                  </a:lnTo>
                  <a:lnTo>
                    <a:pt x="245" y="423"/>
                  </a:lnTo>
                  <a:lnTo>
                    <a:pt x="245" y="423"/>
                  </a:lnTo>
                  <a:lnTo>
                    <a:pt x="245" y="421"/>
                  </a:lnTo>
                  <a:lnTo>
                    <a:pt x="245" y="421"/>
                  </a:lnTo>
                  <a:lnTo>
                    <a:pt x="245" y="421"/>
                  </a:lnTo>
                  <a:lnTo>
                    <a:pt x="245" y="421"/>
                  </a:lnTo>
                  <a:lnTo>
                    <a:pt x="245" y="421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5" y="419"/>
                  </a:lnTo>
                  <a:lnTo>
                    <a:pt x="243" y="416"/>
                  </a:lnTo>
                  <a:lnTo>
                    <a:pt x="243" y="416"/>
                  </a:lnTo>
                  <a:lnTo>
                    <a:pt x="245" y="412"/>
                  </a:lnTo>
                  <a:lnTo>
                    <a:pt x="245" y="412"/>
                  </a:lnTo>
                  <a:lnTo>
                    <a:pt x="243" y="412"/>
                  </a:lnTo>
                  <a:lnTo>
                    <a:pt x="243" y="412"/>
                  </a:lnTo>
                  <a:lnTo>
                    <a:pt x="243" y="410"/>
                  </a:lnTo>
                  <a:lnTo>
                    <a:pt x="243" y="410"/>
                  </a:lnTo>
                  <a:lnTo>
                    <a:pt x="241" y="410"/>
                  </a:lnTo>
                  <a:lnTo>
                    <a:pt x="239" y="407"/>
                  </a:lnTo>
                  <a:lnTo>
                    <a:pt x="234" y="407"/>
                  </a:lnTo>
                  <a:lnTo>
                    <a:pt x="232" y="407"/>
                  </a:lnTo>
                  <a:lnTo>
                    <a:pt x="230" y="407"/>
                  </a:lnTo>
                  <a:lnTo>
                    <a:pt x="230" y="407"/>
                  </a:lnTo>
                  <a:lnTo>
                    <a:pt x="230" y="407"/>
                  </a:lnTo>
                  <a:lnTo>
                    <a:pt x="230" y="405"/>
                  </a:lnTo>
                  <a:lnTo>
                    <a:pt x="227" y="405"/>
                  </a:lnTo>
                  <a:lnTo>
                    <a:pt x="227" y="405"/>
                  </a:lnTo>
                  <a:lnTo>
                    <a:pt x="227" y="405"/>
                  </a:lnTo>
                  <a:lnTo>
                    <a:pt x="227" y="405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1"/>
                  </a:lnTo>
                  <a:lnTo>
                    <a:pt x="223" y="401"/>
                  </a:lnTo>
                  <a:lnTo>
                    <a:pt x="223" y="401"/>
                  </a:lnTo>
                  <a:lnTo>
                    <a:pt x="223" y="401"/>
                  </a:lnTo>
                  <a:lnTo>
                    <a:pt x="223" y="401"/>
                  </a:lnTo>
                  <a:lnTo>
                    <a:pt x="223" y="401"/>
                  </a:lnTo>
                  <a:lnTo>
                    <a:pt x="221" y="401"/>
                  </a:lnTo>
                  <a:lnTo>
                    <a:pt x="221" y="401"/>
                  </a:lnTo>
                  <a:lnTo>
                    <a:pt x="221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8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6" y="401"/>
                  </a:lnTo>
                  <a:lnTo>
                    <a:pt x="214" y="401"/>
                  </a:lnTo>
                  <a:lnTo>
                    <a:pt x="212" y="398"/>
                  </a:lnTo>
                  <a:lnTo>
                    <a:pt x="212" y="396"/>
                  </a:lnTo>
                  <a:lnTo>
                    <a:pt x="212" y="396"/>
                  </a:lnTo>
                  <a:lnTo>
                    <a:pt x="212" y="394"/>
                  </a:lnTo>
                  <a:lnTo>
                    <a:pt x="212" y="394"/>
                  </a:lnTo>
                  <a:lnTo>
                    <a:pt x="209" y="392"/>
                  </a:lnTo>
                  <a:lnTo>
                    <a:pt x="209" y="392"/>
                  </a:lnTo>
                  <a:lnTo>
                    <a:pt x="209" y="392"/>
                  </a:lnTo>
                  <a:lnTo>
                    <a:pt x="207" y="392"/>
                  </a:lnTo>
                  <a:lnTo>
                    <a:pt x="207" y="392"/>
                  </a:lnTo>
                  <a:lnTo>
                    <a:pt x="207" y="392"/>
                  </a:lnTo>
                  <a:lnTo>
                    <a:pt x="207" y="392"/>
                  </a:lnTo>
                  <a:lnTo>
                    <a:pt x="205" y="392"/>
                  </a:lnTo>
                  <a:lnTo>
                    <a:pt x="205" y="389"/>
                  </a:lnTo>
                  <a:lnTo>
                    <a:pt x="205" y="389"/>
                  </a:lnTo>
                  <a:lnTo>
                    <a:pt x="205" y="389"/>
                  </a:lnTo>
                  <a:lnTo>
                    <a:pt x="205" y="389"/>
                  </a:lnTo>
                  <a:lnTo>
                    <a:pt x="205" y="389"/>
                  </a:lnTo>
                  <a:lnTo>
                    <a:pt x="203" y="389"/>
                  </a:lnTo>
                  <a:lnTo>
                    <a:pt x="203" y="389"/>
                  </a:lnTo>
                  <a:lnTo>
                    <a:pt x="203" y="389"/>
                  </a:lnTo>
                  <a:lnTo>
                    <a:pt x="203" y="389"/>
                  </a:lnTo>
                  <a:lnTo>
                    <a:pt x="203" y="389"/>
                  </a:lnTo>
                  <a:lnTo>
                    <a:pt x="203" y="389"/>
                  </a:lnTo>
                  <a:lnTo>
                    <a:pt x="203" y="387"/>
                  </a:lnTo>
                  <a:lnTo>
                    <a:pt x="203" y="385"/>
                  </a:lnTo>
                  <a:lnTo>
                    <a:pt x="203" y="383"/>
                  </a:lnTo>
                  <a:lnTo>
                    <a:pt x="203" y="383"/>
                  </a:lnTo>
                  <a:lnTo>
                    <a:pt x="203" y="380"/>
                  </a:lnTo>
                  <a:lnTo>
                    <a:pt x="203" y="380"/>
                  </a:lnTo>
                  <a:lnTo>
                    <a:pt x="198" y="378"/>
                  </a:lnTo>
                  <a:lnTo>
                    <a:pt x="198" y="378"/>
                  </a:lnTo>
                  <a:lnTo>
                    <a:pt x="196" y="376"/>
                  </a:lnTo>
                  <a:lnTo>
                    <a:pt x="194" y="374"/>
                  </a:lnTo>
                  <a:lnTo>
                    <a:pt x="191" y="374"/>
                  </a:lnTo>
                  <a:lnTo>
                    <a:pt x="191" y="371"/>
                  </a:lnTo>
                  <a:lnTo>
                    <a:pt x="189" y="371"/>
                  </a:lnTo>
                  <a:lnTo>
                    <a:pt x="187" y="369"/>
                  </a:lnTo>
                  <a:lnTo>
                    <a:pt x="185" y="367"/>
                  </a:lnTo>
                  <a:lnTo>
                    <a:pt x="182" y="367"/>
                  </a:lnTo>
                  <a:lnTo>
                    <a:pt x="182" y="365"/>
                  </a:lnTo>
                  <a:lnTo>
                    <a:pt x="180" y="365"/>
                  </a:lnTo>
                  <a:lnTo>
                    <a:pt x="178" y="362"/>
                  </a:lnTo>
                  <a:lnTo>
                    <a:pt x="176" y="360"/>
                  </a:lnTo>
                  <a:lnTo>
                    <a:pt x="173" y="360"/>
                  </a:lnTo>
                  <a:lnTo>
                    <a:pt x="173" y="358"/>
                  </a:lnTo>
                  <a:lnTo>
                    <a:pt x="171" y="358"/>
                  </a:lnTo>
                  <a:lnTo>
                    <a:pt x="169" y="356"/>
                  </a:lnTo>
                  <a:lnTo>
                    <a:pt x="167" y="353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0" y="349"/>
                  </a:lnTo>
                  <a:lnTo>
                    <a:pt x="158" y="347"/>
                  </a:lnTo>
                  <a:lnTo>
                    <a:pt x="155" y="347"/>
                  </a:lnTo>
                  <a:lnTo>
                    <a:pt x="155" y="344"/>
                  </a:lnTo>
                  <a:lnTo>
                    <a:pt x="153" y="344"/>
                  </a:lnTo>
                  <a:lnTo>
                    <a:pt x="151" y="342"/>
                  </a:lnTo>
                  <a:lnTo>
                    <a:pt x="149" y="340"/>
                  </a:lnTo>
                  <a:lnTo>
                    <a:pt x="146" y="340"/>
                  </a:lnTo>
                  <a:lnTo>
                    <a:pt x="146" y="338"/>
                  </a:lnTo>
                  <a:lnTo>
                    <a:pt x="144" y="338"/>
                  </a:lnTo>
                  <a:lnTo>
                    <a:pt x="142" y="335"/>
                  </a:lnTo>
                  <a:lnTo>
                    <a:pt x="140" y="333"/>
                  </a:lnTo>
                  <a:lnTo>
                    <a:pt x="140" y="333"/>
                  </a:lnTo>
                  <a:lnTo>
                    <a:pt x="137" y="331"/>
                  </a:lnTo>
                  <a:lnTo>
                    <a:pt x="135" y="331"/>
                  </a:lnTo>
                  <a:lnTo>
                    <a:pt x="133" y="329"/>
                  </a:lnTo>
                  <a:lnTo>
                    <a:pt x="131" y="326"/>
                  </a:lnTo>
                  <a:lnTo>
                    <a:pt x="131" y="326"/>
                  </a:lnTo>
                  <a:lnTo>
                    <a:pt x="128" y="324"/>
                  </a:lnTo>
                  <a:lnTo>
                    <a:pt x="126" y="324"/>
                  </a:lnTo>
                  <a:lnTo>
                    <a:pt x="124" y="322"/>
                  </a:lnTo>
                  <a:lnTo>
                    <a:pt x="122" y="320"/>
                  </a:lnTo>
                  <a:lnTo>
                    <a:pt x="122" y="320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5" y="315"/>
                  </a:lnTo>
                  <a:lnTo>
                    <a:pt x="113" y="313"/>
                  </a:lnTo>
                  <a:lnTo>
                    <a:pt x="113" y="313"/>
                  </a:lnTo>
                  <a:lnTo>
                    <a:pt x="110" y="311"/>
                  </a:lnTo>
                  <a:lnTo>
                    <a:pt x="108" y="311"/>
                  </a:lnTo>
                  <a:lnTo>
                    <a:pt x="108" y="308"/>
                  </a:lnTo>
                  <a:lnTo>
                    <a:pt x="106" y="308"/>
                  </a:lnTo>
                  <a:lnTo>
                    <a:pt x="104" y="306"/>
                  </a:lnTo>
                  <a:lnTo>
                    <a:pt x="101" y="306"/>
                  </a:lnTo>
                  <a:lnTo>
                    <a:pt x="101" y="304"/>
                  </a:lnTo>
                  <a:lnTo>
                    <a:pt x="99" y="302"/>
                  </a:lnTo>
                  <a:lnTo>
                    <a:pt x="97" y="302"/>
                  </a:lnTo>
                  <a:lnTo>
                    <a:pt x="97" y="299"/>
                  </a:lnTo>
                  <a:lnTo>
                    <a:pt x="95" y="299"/>
                  </a:lnTo>
                  <a:lnTo>
                    <a:pt x="92" y="297"/>
                  </a:lnTo>
                  <a:lnTo>
                    <a:pt x="90" y="297"/>
                  </a:lnTo>
                  <a:lnTo>
                    <a:pt x="90" y="295"/>
                  </a:lnTo>
                  <a:lnTo>
                    <a:pt x="88" y="295"/>
                  </a:lnTo>
                  <a:lnTo>
                    <a:pt x="86" y="293"/>
                  </a:lnTo>
                  <a:lnTo>
                    <a:pt x="84" y="290"/>
                  </a:lnTo>
                  <a:lnTo>
                    <a:pt x="84" y="290"/>
                  </a:lnTo>
                  <a:lnTo>
                    <a:pt x="81" y="288"/>
                  </a:lnTo>
                  <a:lnTo>
                    <a:pt x="79" y="288"/>
                  </a:lnTo>
                  <a:lnTo>
                    <a:pt x="79" y="288"/>
                  </a:lnTo>
                  <a:lnTo>
                    <a:pt x="79" y="288"/>
                  </a:lnTo>
                  <a:lnTo>
                    <a:pt x="79" y="288"/>
                  </a:lnTo>
                  <a:lnTo>
                    <a:pt x="77" y="286"/>
                  </a:lnTo>
                  <a:lnTo>
                    <a:pt x="72" y="284"/>
                  </a:lnTo>
                  <a:lnTo>
                    <a:pt x="68" y="279"/>
                  </a:lnTo>
                  <a:lnTo>
                    <a:pt x="66" y="277"/>
                  </a:lnTo>
                  <a:lnTo>
                    <a:pt x="63" y="277"/>
                  </a:lnTo>
                  <a:lnTo>
                    <a:pt x="59" y="275"/>
                  </a:lnTo>
                  <a:lnTo>
                    <a:pt x="57" y="270"/>
                  </a:lnTo>
                  <a:lnTo>
                    <a:pt x="52" y="268"/>
                  </a:lnTo>
                  <a:lnTo>
                    <a:pt x="50" y="266"/>
                  </a:lnTo>
                  <a:lnTo>
                    <a:pt x="45" y="263"/>
                  </a:lnTo>
                  <a:lnTo>
                    <a:pt x="41" y="261"/>
                  </a:lnTo>
                  <a:lnTo>
                    <a:pt x="36" y="259"/>
                  </a:lnTo>
                  <a:lnTo>
                    <a:pt x="34" y="254"/>
                  </a:lnTo>
                  <a:lnTo>
                    <a:pt x="30" y="252"/>
                  </a:lnTo>
                  <a:lnTo>
                    <a:pt x="25" y="250"/>
                  </a:lnTo>
                  <a:lnTo>
                    <a:pt x="21" y="248"/>
                  </a:lnTo>
                  <a:lnTo>
                    <a:pt x="18" y="245"/>
                  </a:lnTo>
                  <a:lnTo>
                    <a:pt x="14" y="241"/>
                  </a:lnTo>
                  <a:lnTo>
                    <a:pt x="9" y="239"/>
                  </a:lnTo>
                  <a:lnTo>
                    <a:pt x="5" y="236"/>
                  </a:lnTo>
                  <a:lnTo>
                    <a:pt x="0" y="234"/>
                  </a:lnTo>
                  <a:lnTo>
                    <a:pt x="0" y="232"/>
                  </a:lnTo>
                  <a:lnTo>
                    <a:pt x="0" y="230"/>
                  </a:lnTo>
                  <a:lnTo>
                    <a:pt x="3" y="227"/>
                  </a:lnTo>
                  <a:lnTo>
                    <a:pt x="3" y="225"/>
                  </a:lnTo>
                  <a:lnTo>
                    <a:pt x="3" y="223"/>
                  </a:lnTo>
                  <a:lnTo>
                    <a:pt x="3" y="221"/>
                  </a:lnTo>
                  <a:lnTo>
                    <a:pt x="3" y="221"/>
                  </a:lnTo>
                  <a:lnTo>
                    <a:pt x="3" y="218"/>
                  </a:lnTo>
                  <a:lnTo>
                    <a:pt x="3" y="216"/>
                  </a:lnTo>
                  <a:lnTo>
                    <a:pt x="3" y="216"/>
                  </a:lnTo>
                  <a:lnTo>
                    <a:pt x="3" y="214"/>
                  </a:lnTo>
                  <a:lnTo>
                    <a:pt x="3" y="214"/>
                  </a:lnTo>
                  <a:lnTo>
                    <a:pt x="3" y="212"/>
                  </a:lnTo>
                  <a:lnTo>
                    <a:pt x="3" y="209"/>
                  </a:lnTo>
                  <a:lnTo>
                    <a:pt x="3" y="209"/>
                  </a:lnTo>
                  <a:lnTo>
                    <a:pt x="3" y="207"/>
                  </a:lnTo>
                  <a:lnTo>
                    <a:pt x="3" y="205"/>
                  </a:lnTo>
                  <a:lnTo>
                    <a:pt x="3" y="205"/>
                  </a:lnTo>
                  <a:lnTo>
                    <a:pt x="3" y="203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3" y="198"/>
                  </a:lnTo>
                  <a:lnTo>
                    <a:pt x="3" y="198"/>
                  </a:lnTo>
                  <a:lnTo>
                    <a:pt x="5" y="198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7" y="196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4" y="191"/>
                  </a:lnTo>
                  <a:lnTo>
                    <a:pt x="16" y="189"/>
                  </a:lnTo>
                  <a:lnTo>
                    <a:pt x="18" y="189"/>
                  </a:lnTo>
                  <a:lnTo>
                    <a:pt x="18" y="187"/>
                  </a:lnTo>
                  <a:lnTo>
                    <a:pt x="21" y="185"/>
                  </a:lnTo>
                  <a:lnTo>
                    <a:pt x="21" y="185"/>
                  </a:lnTo>
                  <a:lnTo>
                    <a:pt x="23" y="185"/>
                  </a:lnTo>
                  <a:lnTo>
                    <a:pt x="23" y="182"/>
                  </a:lnTo>
                  <a:lnTo>
                    <a:pt x="23" y="182"/>
                  </a:lnTo>
                  <a:lnTo>
                    <a:pt x="25" y="182"/>
                  </a:lnTo>
                  <a:lnTo>
                    <a:pt x="25" y="182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27" y="182"/>
                  </a:lnTo>
                  <a:lnTo>
                    <a:pt x="30" y="182"/>
                  </a:lnTo>
                  <a:lnTo>
                    <a:pt x="30" y="180"/>
                  </a:lnTo>
                  <a:lnTo>
                    <a:pt x="30" y="180"/>
                  </a:lnTo>
                  <a:lnTo>
                    <a:pt x="34" y="178"/>
                  </a:lnTo>
                  <a:lnTo>
                    <a:pt x="34" y="178"/>
                  </a:lnTo>
                  <a:lnTo>
                    <a:pt x="36" y="178"/>
                  </a:lnTo>
                  <a:lnTo>
                    <a:pt x="39" y="178"/>
                  </a:lnTo>
                  <a:lnTo>
                    <a:pt x="43" y="178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78"/>
                  </a:lnTo>
                  <a:lnTo>
                    <a:pt x="45" y="176"/>
                  </a:lnTo>
                  <a:lnTo>
                    <a:pt x="45" y="176"/>
                  </a:lnTo>
                  <a:lnTo>
                    <a:pt x="48" y="176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48" y="173"/>
                  </a:lnTo>
                  <a:lnTo>
                    <a:pt x="50" y="173"/>
                  </a:lnTo>
                  <a:lnTo>
                    <a:pt x="50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2" y="173"/>
                  </a:lnTo>
                  <a:lnTo>
                    <a:pt x="54" y="171"/>
                  </a:lnTo>
                  <a:lnTo>
                    <a:pt x="54" y="173"/>
                  </a:lnTo>
                  <a:lnTo>
                    <a:pt x="57" y="173"/>
                  </a:lnTo>
                  <a:lnTo>
                    <a:pt x="57" y="173"/>
                  </a:lnTo>
                  <a:lnTo>
                    <a:pt x="61" y="171"/>
                  </a:lnTo>
                  <a:lnTo>
                    <a:pt x="66" y="171"/>
                  </a:lnTo>
                  <a:lnTo>
                    <a:pt x="66" y="171"/>
                  </a:lnTo>
                  <a:lnTo>
                    <a:pt x="68" y="169"/>
                  </a:lnTo>
                  <a:lnTo>
                    <a:pt x="70" y="169"/>
                  </a:lnTo>
                  <a:lnTo>
                    <a:pt x="70" y="169"/>
                  </a:lnTo>
                  <a:lnTo>
                    <a:pt x="75" y="164"/>
                  </a:lnTo>
                  <a:lnTo>
                    <a:pt x="75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9" y="158"/>
                  </a:lnTo>
                  <a:lnTo>
                    <a:pt x="79" y="156"/>
                  </a:lnTo>
                  <a:lnTo>
                    <a:pt x="86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90" y="151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97" y="147"/>
                  </a:lnTo>
                  <a:lnTo>
                    <a:pt x="97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4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40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101" y="138"/>
                  </a:lnTo>
                  <a:lnTo>
                    <a:pt x="101" y="138"/>
                  </a:lnTo>
                  <a:lnTo>
                    <a:pt x="101" y="138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4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5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33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1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4" y="129"/>
                  </a:lnTo>
                  <a:lnTo>
                    <a:pt x="106" y="129"/>
                  </a:lnTo>
                  <a:lnTo>
                    <a:pt x="106" y="129"/>
                  </a:lnTo>
                  <a:lnTo>
                    <a:pt x="108" y="129"/>
                  </a:lnTo>
                  <a:lnTo>
                    <a:pt x="110" y="129"/>
                  </a:lnTo>
                  <a:lnTo>
                    <a:pt x="113" y="126"/>
                  </a:lnTo>
                  <a:lnTo>
                    <a:pt x="115" y="126"/>
                  </a:lnTo>
                  <a:lnTo>
                    <a:pt x="117" y="124"/>
                  </a:lnTo>
                  <a:lnTo>
                    <a:pt x="117" y="124"/>
                  </a:lnTo>
                  <a:lnTo>
                    <a:pt x="119" y="124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19" y="120"/>
                  </a:lnTo>
                  <a:lnTo>
                    <a:pt x="124" y="120"/>
                  </a:lnTo>
                  <a:lnTo>
                    <a:pt x="128" y="117"/>
                  </a:lnTo>
                  <a:lnTo>
                    <a:pt x="131" y="117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5" y="117"/>
                  </a:lnTo>
                  <a:lnTo>
                    <a:pt x="135" y="117"/>
                  </a:lnTo>
                  <a:lnTo>
                    <a:pt x="137" y="117"/>
                  </a:lnTo>
                  <a:lnTo>
                    <a:pt x="140" y="120"/>
                  </a:lnTo>
                  <a:lnTo>
                    <a:pt x="142" y="120"/>
                  </a:lnTo>
                  <a:lnTo>
                    <a:pt x="144" y="120"/>
                  </a:lnTo>
                  <a:lnTo>
                    <a:pt x="144" y="120"/>
                  </a:lnTo>
                  <a:lnTo>
                    <a:pt x="146" y="120"/>
                  </a:lnTo>
                  <a:lnTo>
                    <a:pt x="149" y="120"/>
                  </a:lnTo>
                  <a:lnTo>
                    <a:pt x="149" y="120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1" y="120"/>
                  </a:lnTo>
                  <a:lnTo>
                    <a:pt x="153" y="120"/>
                  </a:lnTo>
                  <a:lnTo>
                    <a:pt x="153" y="120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1" y="117"/>
                  </a:lnTo>
                  <a:lnTo>
                    <a:pt x="151" y="117"/>
                  </a:lnTo>
                  <a:lnTo>
                    <a:pt x="151" y="117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3" y="117"/>
                  </a:lnTo>
                  <a:lnTo>
                    <a:pt x="153" y="115"/>
                  </a:lnTo>
                  <a:lnTo>
                    <a:pt x="153" y="115"/>
                  </a:lnTo>
                  <a:lnTo>
                    <a:pt x="153" y="113"/>
                  </a:lnTo>
                  <a:lnTo>
                    <a:pt x="153" y="113"/>
                  </a:lnTo>
                  <a:lnTo>
                    <a:pt x="153" y="113"/>
                  </a:lnTo>
                  <a:lnTo>
                    <a:pt x="153" y="113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5" y="111"/>
                  </a:lnTo>
                  <a:lnTo>
                    <a:pt x="158" y="108"/>
                  </a:lnTo>
                  <a:lnTo>
                    <a:pt x="158" y="108"/>
                  </a:lnTo>
                  <a:lnTo>
                    <a:pt x="151" y="104"/>
                  </a:lnTo>
                  <a:lnTo>
                    <a:pt x="151" y="104"/>
                  </a:lnTo>
                  <a:lnTo>
                    <a:pt x="149" y="104"/>
                  </a:lnTo>
                  <a:lnTo>
                    <a:pt x="146" y="99"/>
                  </a:lnTo>
                  <a:lnTo>
                    <a:pt x="149" y="99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7"/>
                  </a:lnTo>
                  <a:lnTo>
                    <a:pt x="149" y="95"/>
                  </a:lnTo>
                  <a:lnTo>
                    <a:pt x="149" y="95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5"/>
                  </a:lnTo>
                  <a:lnTo>
                    <a:pt x="146" y="93"/>
                  </a:lnTo>
                  <a:lnTo>
                    <a:pt x="146" y="93"/>
                  </a:lnTo>
                  <a:lnTo>
                    <a:pt x="144" y="93"/>
                  </a:lnTo>
                  <a:lnTo>
                    <a:pt x="144" y="90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8"/>
                  </a:lnTo>
                  <a:lnTo>
                    <a:pt x="144" y="86"/>
                  </a:lnTo>
                  <a:lnTo>
                    <a:pt x="146" y="86"/>
                  </a:lnTo>
                  <a:lnTo>
                    <a:pt x="146" y="86"/>
                  </a:lnTo>
                  <a:lnTo>
                    <a:pt x="146" y="84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81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7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4" y="70"/>
                  </a:lnTo>
                  <a:lnTo>
                    <a:pt x="144" y="66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4" y="61"/>
                  </a:lnTo>
                  <a:lnTo>
                    <a:pt x="142" y="59"/>
                  </a:lnTo>
                  <a:lnTo>
                    <a:pt x="142" y="59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7"/>
                  </a:lnTo>
                  <a:lnTo>
                    <a:pt x="142" y="54"/>
                  </a:lnTo>
                  <a:lnTo>
                    <a:pt x="140" y="54"/>
                  </a:lnTo>
                  <a:lnTo>
                    <a:pt x="140" y="54"/>
                  </a:lnTo>
                  <a:lnTo>
                    <a:pt x="140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0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35" y="50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7" y="48"/>
                  </a:lnTo>
                  <a:lnTo>
                    <a:pt x="137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4" y="48"/>
                  </a:lnTo>
                  <a:lnTo>
                    <a:pt x="144" y="45"/>
                  </a:lnTo>
                  <a:lnTo>
                    <a:pt x="144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9" y="43"/>
                  </a:lnTo>
                  <a:lnTo>
                    <a:pt x="149" y="43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3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1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41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6"/>
                  </a:lnTo>
                  <a:lnTo>
                    <a:pt x="155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58" y="34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60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2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4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7" y="32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27"/>
                  </a:lnTo>
                  <a:lnTo>
                    <a:pt x="169" y="27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69" y="30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1" y="30"/>
                  </a:lnTo>
                  <a:lnTo>
                    <a:pt x="173" y="30"/>
                  </a:lnTo>
                  <a:lnTo>
                    <a:pt x="173" y="30"/>
                  </a:lnTo>
                  <a:lnTo>
                    <a:pt x="173" y="30"/>
                  </a:lnTo>
                  <a:lnTo>
                    <a:pt x="176" y="32"/>
                  </a:lnTo>
                  <a:lnTo>
                    <a:pt x="176" y="32"/>
                  </a:lnTo>
                  <a:lnTo>
                    <a:pt x="176" y="30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78" y="30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0" y="25"/>
                  </a:lnTo>
                  <a:lnTo>
                    <a:pt x="182" y="23"/>
                  </a:lnTo>
                  <a:lnTo>
                    <a:pt x="182" y="23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85" y="23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7" y="21"/>
                  </a:lnTo>
                  <a:lnTo>
                    <a:pt x="189" y="18"/>
                  </a:lnTo>
                  <a:lnTo>
                    <a:pt x="189" y="18"/>
                  </a:lnTo>
                  <a:lnTo>
                    <a:pt x="189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94" y="18"/>
                  </a:lnTo>
                  <a:lnTo>
                    <a:pt x="194" y="18"/>
                  </a:lnTo>
                  <a:lnTo>
                    <a:pt x="194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6"/>
                  </a:lnTo>
                  <a:lnTo>
                    <a:pt x="196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200" y="14"/>
                  </a:lnTo>
                  <a:lnTo>
                    <a:pt x="200" y="14"/>
                  </a:lnTo>
                  <a:lnTo>
                    <a:pt x="200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3" y="14"/>
                  </a:lnTo>
                  <a:lnTo>
                    <a:pt x="205" y="14"/>
                  </a:lnTo>
                  <a:lnTo>
                    <a:pt x="205" y="14"/>
                  </a:lnTo>
                  <a:lnTo>
                    <a:pt x="205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07" y="14"/>
                  </a:lnTo>
                  <a:lnTo>
                    <a:pt x="212" y="14"/>
                  </a:lnTo>
                  <a:lnTo>
                    <a:pt x="212" y="14"/>
                  </a:lnTo>
                  <a:lnTo>
                    <a:pt x="212" y="12"/>
                  </a:lnTo>
                  <a:lnTo>
                    <a:pt x="212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4" y="12"/>
                  </a:lnTo>
                  <a:lnTo>
                    <a:pt x="216" y="12"/>
                  </a:lnTo>
                  <a:lnTo>
                    <a:pt x="216" y="12"/>
                  </a:lnTo>
                  <a:lnTo>
                    <a:pt x="216" y="12"/>
                  </a:lnTo>
                  <a:lnTo>
                    <a:pt x="218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5" y="12"/>
                  </a:lnTo>
                  <a:lnTo>
                    <a:pt x="227" y="12"/>
                  </a:lnTo>
                  <a:lnTo>
                    <a:pt x="230" y="12"/>
                  </a:lnTo>
                  <a:lnTo>
                    <a:pt x="230" y="12"/>
                  </a:lnTo>
                  <a:lnTo>
                    <a:pt x="232" y="9"/>
                  </a:lnTo>
                  <a:lnTo>
                    <a:pt x="234" y="9"/>
                  </a:lnTo>
                  <a:lnTo>
                    <a:pt x="234" y="9"/>
                  </a:lnTo>
                  <a:lnTo>
                    <a:pt x="234" y="9"/>
                  </a:lnTo>
                  <a:lnTo>
                    <a:pt x="234" y="7"/>
                  </a:lnTo>
                  <a:lnTo>
                    <a:pt x="234" y="7"/>
                  </a:lnTo>
                  <a:lnTo>
                    <a:pt x="236" y="7"/>
                  </a:lnTo>
                  <a:lnTo>
                    <a:pt x="236" y="7"/>
                  </a:lnTo>
                  <a:lnTo>
                    <a:pt x="236" y="7"/>
                  </a:lnTo>
                  <a:lnTo>
                    <a:pt x="239" y="7"/>
                  </a:lnTo>
                  <a:lnTo>
                    <a:pt x="239" y="7"/>
                  </a:lnTo>
                  <a:lnTo>
                    <a:pt x="239" y="7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3" y="7"/>
                  </a:lnTo>
                  <a:lnTo>
                    <a:pt x="243" y="7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50" y="7"/>
                  </a:lnTo>
                  <a:lnTo>
                    <a:pt x="250" y="7"/>
                  </a:lnTo>
                  <a:lnTo>
                    <a:pt x="250" y="7"/>
                  </a:lnTo>
                  <a:lnTo>
                    <a:pt x="250" y="5"/>
                  </a:lnTo>
                  <a:lnTo>
                    <a:pt x="252" y="5"/>
                  </a:lnTo>
                  <a:lnTo>
                    <a:pt x="254" y="5"/>
                  </a:lnTo>
                  <a:lnTo>
                    <a:pt x="254" y="5"/>
                  </a:lnTo>
                  <a:lnTo>
                    <a:pt x="254" y="5"/>
                  </a:lnTo>
                  <a:lnTo>
                    <a:pt x="256" y="5"/>
                  </a:lnTo>
                  <a:lnTo>
                    <a:pt x="256" y="5"/>
                  </a:lnTo>
                  <a:lnTo>
                    <a:pt x="256" y="5"/>
                  </a:lnTo>
                  <a:lnTo>
                    <a:pt x="256" y="5"/>
                  </a:lnTo>
                  <a:lnTo>
                    <a:pt x="256" y="5"/>
                  </a:lnTo>
                  <a:lnTo>
                    <a:pt x="259" y="5"/>
                  </a:lnTo>
                  <a:lnTo>
                    <a:pt x="259" y="5"/>
                  </a:lnTo>
                  <a:lnTo>
                    <a:pt x="259" y="5"/>
                  </a:lnTo>
                  <a:lnTo>
                    <a:pt x="259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1" y="5"/>
                  </a:lnTo>
                  <a:lnTo>
                    <a:pt x="263" y="5"/>
                  </a:lnTo>
                  <a:lnTo>
                    <a:pt x="263" y="5"/>
                  </a:lnTo>
                  <a:lnTo>
                    <a:pt x="265" y="5"/>
                  </a:lnTo>
                  <a:lnTo>
                    <a:pt x="265" y="5"/>
                  </a:lnTo>
                  <a:lnTo>
                    <a:pt x="265" y="5"/>
                  </a:lnTo>
                  <a:lnTo>
                    <a:pt x="265" y="5"/>
                  </a:lnTo>
                  <a:lnTo>
                    <a:pt x="265" y="5"/>
                  </a:lnTo>
                  <a:lnTo>
                    <a:pt x="265" y="5"/>
                  </a:lnTo>
                  <a:lnTo>
                    <a:pt x="268" y="5"/>
                  </a:lnTo>
                  <a:lnTo>
                    <a:pt x="268" y="5"/>
                  </a:lnTo>
                  <a:lnTo>
                    <a:pt x="268" y="5"/>
                  </a:lnTo>
                  <a:lnTo>
                    <a:pt x="268" y="5"/>
                  </a:lnTo>
                  <a:lnTo>
                    <a:pt x="270" y="5"/>
                  </a:lnTo>
                  <a:lnTo>
                    <a:pt x="272" y="5"/>
                  </a:lnTo>
                  <a:lnTo>
                    <a:pt x="272" y="5"/>
                  </a:lnTo>
                  <a:lnTo>
                    <a:pt x="274" y="5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7" y="7"/>
                  </a:lnTo>
                  <a:lnTo>
                    <a:pt x="279" y="7"/>
                  </a:lnTo>
                  <a:lnTo>
                    <a:pt x="279" y="7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79" y="9"/>
                  </a:lnTo>
                  <a:lnTo>
                    <a:pt x="281" y="9"/>
                  </a:lnTo>
                  <a:lnTo>
                    <a:pt x="281" y="12"/>
                  </a:lnTo>
                  <a:lnTo>
                    <a:pt x="281" y="12"/>
                  </a:lnTo>
                  <a:lnTo>
                    <a:pt x="283" y="9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6" y="9"/>
                  </a:lnTo>
                  <a:lnTo>
                    <a:pt x="288" y="9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0" y="7"/>
                  </a:lnTo>
                  <a:lnTo>
                    <a:pt x="292" y="7"/>
                  </a:lnTo>
                  <a:lnTo>
                    <a:pt x="292" y="7"/>
                  </a:lnTo>
                  <a:lnTo>
                    <a:pt x="297" y="5"/>
                  </a:lnTo>
                  <a:lnTo>
                    <a:pt x="299" y="5"/>
                  </a:lnTo>
                  <a:lnTo>
                    <a:pt x="301" y="5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3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304" y="0"/>
                  </a:lnTo>
                  <a:lnTo>
                    <a:pt x="304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6" y="0"/>
                  </a:lnTo>
                  <a:lnTo>
                    <a:pt x="308" y="0"/>
                  </a:lnTo>
                  <a:lnTo>
                    <a:pt x="308" y="3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2" name="Freeform 662"/>
            <p:cNvSpPr>
              <a:spLocks/>
            </p:cNvSpPr>
            <p:nvPr/>
          </p:nvSpPr>
          <p:spPr bwMode="auto">
            <a:xfrm>
              <a:off x="6259322" y="2270927"/>
              <a:ext cx="63514" cy="120343"/>
            </a:xfrm>
            <a:custGeom>
              <a:avLst/>
              <a:gdLst>
                <a:gd name="T0" fmla="*/ 9 w 38"/>
                <a:gd name="T1" fmla="*/ 4 h 72"/>
                <a:gd name="T2" fmla="*/ 12 w 38"/>
                <a:gd name="T3" fmla="*/ 4 h 72"/>
                <a:gd name="T4" fmla="*/ 16 w 38"/>
                <a:gd name="T5" fmla="*/ 4 h 72"/>
                <a:gd name="T6" fmla="*/ 18 w 38"/>
                <a:gd name="T7" fmla="*/ 6 h 72"/>
                <a:gd name="T8" fmla="*/ 18 w 38"/>
                <a:gd name="T9" fmla="*/ 9 h 72"/>
                <a:gd name="T10" fmla="*/ 25 w 38"/>
                <a:gd name="T11" fmla="*/ 13 h 72"/>
                <a:gd name="T12" fmla="*/ 27 w 38"/>
                <a:gd name="T13" fmla="*/ 18 h 72"/>
                <a:gd name="T14" fmla="*/ 27 w 38"/>
                <a:gd name="T15" fmla="*/ 20 h 72"/>
                <a:gd name="T16" fmla="*/ 27 w 38"/>
                <a:gd name="T17" fmla="*/ 24 h 72"/>
                <a:gd name="T18" fmla="*/ 25 w 38"/>
                <a:gd name="T19" fmla="*/ 27 h 72"/>
                <a:gd name="T20" fmla="*/ 27 w 38"/>
                <a:gd name="T21" fmla="*/ 29 h 72"/>
                <a:gd name="T22" fmla="*/ 25 w 38"/>
                <a:gd name="T23" fmla="*/ 31 h 72"/>
                <a:gd name="T24" fmla="*/ 30 w 38"/>
                <a:gd name="T25" fmla="*/ 38 h 72"/>
                <a:gd name="T26" fmla="*/ 32 w 38"/>
                <a:gd name="T27" fmla="*/ 42 h 72"/>
                <a:gd name="T28" fmla="*/ 36 w 38"/>
                <a:gd name="T29" fmla="*/ 42 h 72"/>
                <a:gd name="T30" fmla="*/ 38 w 38"/>
                <a:gd name="T31" fmla="*/ 47 h 72"/>
                <a:gd name="T32" fmla="*/ 38 w 38"/>
                <a:gd name="T33" fmla="*/ 49 h 72"/>
                <a:gd name="T34" fmla="*/ 36 w 38"/>
                <a:gd name="T35" fmla="*/ 51 h 72"/>
                <a:gd name="T36" fmla="*/ 34 w 38"/>
                <a:gd name="T37" fmla="*/ 51 h 72"/>
                <a:gd name="T38" fmla="*/ 34 w 38"/>
                <a:gd name="T39" fmla="*/ 54 h 72"/>
                <a:gd name="T40" fmla="*/ 32 w 38"/>
                <a:gd name="T41" fmla="*/ 58 h 72"/>
                <a:gd name="T42" fmla="*/ 32 w 38"/>
                <a:gd name="T43" fmla="*/ 60 h 72"/>
                <a:gd name="T44" fmla="*/ 27 w 38"/>
                <a:gd name="T45" fmla="*/ 60 h 72"/>
                <a:gd name="T46" fmla="*/ 25 w 38"/>
                <a:gd name="T47" fmla="*/ 63 h 72"/>
                <a:gd name="T48" fmla="*/ 27 w 38"/>
                <a:gd name="T49" fmla="*/ 67 h 72"/>
                <a:gd name="T50" fmla="*/ 25 w 38"/>
                <a:gd name="T51" fmla="*/ 69 h 72"/>
                <a:gd name="T52" fmla="*/ 25 w 38"/>
                <a:gd name="T53" fmla="*/ 69 h 72"/>
                <a:gd name="T54" fmla="*/ 25 w 38"/>
                <a:gd name="T55" fmla="*/ 72 h 72"/>
                <a:gd name="T56" fmla="*/ 21 w 38"/>
                <a:gd name="T57" fmla="*/ 69 h 72"/>
                <a:gd name="T58" fmla="*/ 21 w 38"/>
                <a:gd name="T59" fmla="*/ 67 h 72"/>
                <a:gd name="T60" fmla="*/ 18 w 38"/>
                <a:gd name="T61" fmla="*/ 65 h 72"/>
                <a:gd name="T62" fmla="*/ 18 w 38"/>
                <a:gd name="T63" fmla="*/ 65 h 72"/>
                <a:gd name="T64" fmla="*/ 16 w 38"/>
                <a:gd name="T65" fmla="*/ 60 h 72"/>
                <a:gd name="T66" fmla="*/ 14 w 38"/>
                <a:gd name="T67" fmla="*/ 60 h 72"/>
                <a:gd name="T68" fmla="*/ 9 w 38"/>
                <a:gd name="T69" fmla="*/ 58 h 72"/>
                <a:gd name="T70" fmla="*/ 5 w 38"/>
                <a:gd name="T71" fmla="*/ 54 h 72"/>
                <a:gd name="T72" fmla="*/ 7 w 38"/>
                <a:gd name="T73" fmla="*/ 54 h 72"/>
                <a:gd name="T74" fmla="*/ 7 w 38"/>
                <a:gd name="T75" fmla="*/ 51 h 72"/>
                <a:gd name="T76" fmla="*/ 7 w 38"/>
                <a:gd name="T77" fmla="*/ 51 h 72"/>
                <a:gd name="T78" fmla="*/ 5 w 38"/>
                <a:gd name="T79" fmla="*/ 47 h 72"/>
                <a:gd name="T80" fmla="*/ 5 w 38"/>
                <a:gd name="T81" fmla="*/ 45 h 72"/>
                <a:gd name="T82" fmla="*/ 7 w 38"/>
                <a:gd name="T83" fmla="*/ 42 h 72"/>
                <a:gd name="T84" fmla="*/ 7 w 38"/>
                <a:gd name="T85" fmla="*/ 42 h 72"/>
                <a:gd name="T86" fmla="*/ 7 w 38"/>
                <a:gd name="T87" fmla="*/ 42 h 72"/>
                <a:gd name="T88" fmla="*/ 7 w 38"/>
                <a:gd name="T89" fmla="*/ 40 h 72"/>
                <a:gd name="T90" fmla="*/ 7 w 38"/>
                <a:gd name="T91" fmla="*/ 38 h 72"/>
                <a:gd name="T92" fmla="*/ 7 w 38"/>
                <a:gd name="T93" fmla="*/ 36 h 72"/>
                <a:gd name="T94" fmla="*/ 7 w 38"/>
                <a:gd name="T95" fmla="*/ 31 h 72"/>
                <a:gd name="T96" fmla="*/ 5 w 38"/>
                <a:gd name="T97" fmla="*/ 29 h 72"/>
                <a:gd name="T98" fmla="*/ 7 w 38"/>
                <a:gd name="T99" fmla="*/ 27 h 72"/>
                <a:gd name="T100" fmla="*/ 9 w 38"/>
                <a:gd name="T101" fmla="*/ 24 h 72"/>
                <a:gd name="T102" fmla="*/ 7 w 38"/>
                <a:gd name="T103" fmla="*/ 22 h 72"/>
                <a:gd name="T104" fmla="*/ 5 w 38"/>
                <a:gd name="T105" fmla="*/ 20 h 72"/>
                <a:gd name="T106" fmla="*/ 3 w 38"/>
                <a:gd name="T107" fmla="*/ 18 h 72"/>
                <a:gd name="T108" fmla="*/ 3 w 38"/>
                <a:gd name="T109" fmla="*/ 15 h 72"/>
                <a:gd name="T110" fmla="*/ 3 w 38"/>
                <a:gd name="T111" fmla="*/ 13 h 72"/>
                <a:gd name="T112" fmla="*/ 3 w 38"/>
                <a:gd name="T113" fmla="*/ 6 h 72"/>
                <a:gd name="T114" fmla="*/ 5 w 38"/>
                <a:gd name="T115" fmla="*/ 4 h 72"/>
                <a:gd name="T116" fmla="*/ 7 w 38"/>
                <a:gd name="T117" fmla="*/ 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8" h="72">
                  <a:moveTo>
                    <a:pt x="9" y="2"/>
                  </a:move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40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7" y="45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4"/>
                  </a:lnTo>
                  <a:lnTo>
                    <a:pt x="7" y="27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2"/>
                  </a:lnTo>
                  <a:lnTo>
                    <a:pt x="9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3" name="Freeform 663"/>
            <p:cNvSpPr>
              <a:spLocks noEditPoints="1"/>
            </p:cNvSpPr>
            <p:nvPr/>
          </p:nvSpPr>
          <p:spPr bwMode="auto">
            <a:xfrm>
              <a:off x="6192465" y="1594000"/>
              <a:ext cx="18386" cy="15042"/>
            </a:xfrm>
            <a:custGeom>
              <a:avLst/>
              <a:gdLst>
                <a:gd name="T0" fmla="*/ 2 w 11"/>
                <a:gd name="T1" fmla="*/ 7 h 9"/>
                <a:gd name="T2" fmla="*/ 2 w 11"/>
                <a:gd name="T3" fmla="*/ 7 h 9"/>
                <a:gd name="T4" fmla="*/ 0 w 11"/>
                <a:gd name="T5" fmla="*/ 4 h 9"/>
                <a:gd name="T6" fmla="*/ 0 w 11"/>
                <a:gd name="T7" fmla="*/ 7 h 9"/>
                <a:gd name="T8" fmla="*/ 0 w 11"/>
                <a:gd name="T9" fmla="*/ 4 h 9"/>
                <a:gd name="T10" fmla="*/ 0 w 11"/>
                <a:gd name="T11" fmla="*/ 4 h 9"/>
                <a:gd name="T12" fmla="*/ 0 w 11"/>
                <a:gd name="T13" fmla="*/ 4 h 9"/>
                <a:gd name="T14" fmla="*/ 0 w 11"/>
                <a:gd name="T15" fmla="*/ 4 h 9"/>
                <a:gd name="T16" fmla="*/ 0 w 11"/>
                <a:gd name="T17" fmla="*/ 4 h 9"/>
                <a:gd name="T18" fmla="*/ 2 w 11"/>
                <a:gd name="T19" fmla="*/ 4 h 9"/>
                <a:gd name="T20" fmla="*/ 7 w 11"/>
                <a:gd name="T21" fmla="*/ 2 h 9"/>
                <a:gd name="T22" fmla="*/ 7 w 11"/>
                <a:gd name="T23" fmla="*/ 2 h 9"/>
                <a:gd name="T24" fmla="*/ 9 w 11"/>
                <a:gd name="T25" fmla="*/ 2 h 9"/>
                <a:gd name="T26" fmla="*/ 9 w 11"/>
                <a:gd name="T27" fmla="*/ 2 h 9"/>
                <a:gd name="T28" fmla="*/ 11 w 11"/>
                <a:gd name="T29" fmla="*/ 2 h 9"/>
                <a:gd name="T30" fmla="*/ 11 w 11"/>
                <a:gd name="T31" fmla="*/ 4 h 9"/>
                <a:gd name="T32" fmla="*/ 11 w 11"/>
                <a:gd name="T33" fmla="*/ 4 h 9"/>
                <a:gd name="T34" fmla="*/ 11 w 11"/>
                <a:gd name="T35" fmla="*/ 4 h 9"/>
                <a:gd name="T36" fmla="*/ 9 w 11"/>
                <a:gd name="T37" fmla="*/ 7 h 9"/>
                <a:gd name="T38" fmla="*/ 9 w 11"/>
                <a:gd name="T39" fmla="*/ 4 h 9"/>
                <a:gd name="T40" fmla="*/ 9 w 11"/>
                <a:gd name="T41" fmla="*/ 4 h 9"/>
                <a:gd name="T42" fmla="*/ 9 w 11"/>
                <a:gd name="T43" fmla="*/ 4 h 9"/>
                <a:gd name="T44" fmla="*/ 9 w 11"/>
                <a:gd name="T45" fmla="*/ 4 h 9"/>
                <a:gd name="T46" fmla="*/ 7 w 11"/>
                <a:gd name="T47" fmla="*/ 4 h 9"/>
                <a:gd name="T48" fmla="*/ 7 w 11"/>
                <a:gd name="T49" fmla="*/ 2 h 9"/>
                <a:gd name="T50" fmla="*/ 7 w 11"/>
                <a:gd name="T51" fmla="*/ 2 h 9"/>
                <a:gd name="T52" fmla="*/ 7 w 11"/>
                <a:gd name="T53" fmla="*/ 4 h 9"/>
                <a:gd name="T54" fmla="*/ 7 w 11"/>
                <a:gd name="T55" fmla="*/ 4 h 9"/>
                <a:gd name="T56" fmla="*/ 7 w 11"/>
                <a:gd name="T57" fmla="*/ 4 h 9"/>
                <a:gd name="T58" fmla="*/ 7 w 11"/>
                <a:gd name="T59" fmla="*/ 4 h 9"/>
                <a:gd name="T60" fmla="*/ 7 w 11"/>
                <a:gd name="T61" fmla="*/ 7 h 9"/>
                <a:gd name="T62" fmla="*/ 7 w 11"/>
                <a:gd name="T63" fmla="*/ 7 h 9"/>
                <a:gd name="T64" fmla="*/ 7 w 11"/>
                <a:gd name="T65" fmla="*/ 7 h 9"/>
                <a:gd name="T66" fmla="*/ 9 w 11"/>
                <a:gd name="T67" fmla="*/ 7 h 9"/>
                <a:gd name="T68" fmla="*/ 9 w 11"/>
                <a:gd name="T69" fmla="*/ 7 h 9"/>
                <a:gd name="T70" fmla="*/ 7 w 11"/>
                <a:gd name="T71" fmla="*/ 9 h 9"/>
                <a:gd name="T72" fmla="*/ 7 w 11"/>
                <a:gd name="T73" fmla="*/ 9 h 9"/>
                <a:gd name="T74" fmla="*/ 4 w 11"/>
                <a:gd name="T75" fmla="*/ 7 h 9"/>
                <a:gd name="T76" fmla="*/ 4 w 11"/>
                <a:gd name="T77" fmla="*/ 7 h 9"/>
                <a:gd name="T78" fmla="*/ 4 w 11"/>
                <a:gd name="T79" fmla="*/ 7 h 9"/>
                <a:gd name="T80" fmla="*/ 2 w 11"/>
                <a:gd name="T81" fmla="*/ 7 h 9"/>
                <a:gd name="T82" fmla="*/ 2 w 11"/>
                <a:gd name="T83" fmla="*/ 4 h 9"/>
                <a:gd name="T84" fmla="*/ 2 w 11"/>
                <a:gd name="T85" fmla="*/ 4 h 9"/>
                <a:gd name="T86" fmla="*/ 2 w 11"/>
                <a:gd name="T87" fmla="*/ 4 h 9"/>
                <a:gd name="T88" fmla="*/ 2 w 11"/>
                <a:gd name="T89" fmla="*/ 4 h 9"/>
                <a:gd name="T90" fmla="*/ 2 w 11"/>
                <a:gd name="T91" fmla="*/ 2 h 9"/>
                <a:gd name="T92" fmla="*/ 2 w 11"/>
                <a:gd name="T93" fmla="*/ 2 h 9"/>
                <a:gd name="T94" fmla="*/ 2 w 11"/>
                <a:gd name="T95" fmla="*/ 4 h 9"/>
                <a:gd name="T96" fmla="*/ 4 w 11"/>
                <a:gd name="T97" fmla="*/ 4 h 9"/>
                <a:gd name="T98" fmla="*/ 4 w 11"/>
                <a:gd name="T99" fmla="*/ 4 h 9"/>
                <a:gd name="T100" fmla="*/ 4 w 11"/>
                <a:gd name="T101" fmla="*/ 4 h 9"/>
                <a:gd name="T102" fmla="*/ 4 w 11"/>
                <a:gd name="T103" fmla="*/ 2 h 9"/>
                <a:gd name="T104" fmla="*/ 4 w 11"/>
                <a:gd name="T105" fmla="*/ 4 h 9"/>
                <a:gd name="T106" fmla="*/ 7 w 11"/>
                <a:gd name="T107" fmla="*/ 2 h 9"/>
                <a:gd name="T108" fmla="*/ 4 w 11"/>
                <a:gd name="T109" fmla="*/ 2 h 9"/>
                <a:gd name="T110" fmla="*/ 4 w 11"/>
                <a:gd name="T111" fmla="*/ 2 h 9"/>
                <a:gd name="T112" fmla="*/ 4 w 11"/>
                <a:gd name="T113" fmla="*/ 2 h 9"/>
                <a:gd name="T114" fmla="*/ 2 w 11"/>
                <a:gd name="T115" fmla="*/ 2 h 9"/>
                <a:gd name="T116" fmla="*/ 4 w 11"/>
                <a:gd name="T117" fmla="*/ 0 h 9"/>
                <a:gd name="T118" fmla="*/ 4 w 11"/>
                <a:gd name="T11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9"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2"/>
                  </a:moveTo>
                  <a:lnTo>
                    <a:pt x="4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7" y="2"/>
                  </a:lnTo>
                  <a:lnTo>
                    <a:pt x="7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4" name="Freeform 664"/>
            <p:cNvSpPr>
              <a:spLocks noEditPoints="1"/>
            </p:cNvSpPr>
            <p:nvPr/>
          </p:nvSpPr>
          <p:spPr bwMode="auto">
            <a:xfrm>
              <a:off x="6728992" y="2586827"/>
              <a:ext cx="11701" cy="3343"/>
            </a:xfrm>
            <a:custGeom>
              <a:avLst/>
              <a:gdLst>
                <a:gd name="T0" fmla="*/ 5 w 7"/>
                <a:gd name="T1" fmla="*/ 2 h 2"/>
                <a:gd name="T2" fmla="*/ 5 w 7"/>
                <a:gd name="T3" fmla="*/ 2 h 2"/>
                <a:gd name="T4" fmla="*/ 5 w 7"/>
                <a:gd name="T5" fmla="*/ 2 h 2"/>
                <a:gd name="T6" fmla="*/ 2 w 7"/>
                <a:gd name="T7" fmla="*/ 0 h 2"/>
                <a:gd name="T8" fmla="*/ 5 w 7"/>
                <a:gd name="T9" fmla="*/ 2 h 2"/>
                <a:gd name="T10" fmla="*/ 5 w 7"/>
                <a:gd name="T11" fmla="*/ 2 h 2"/>
                <a:gd name="T12" fmla="*/ 5 w 7"/>
                <a:gd name="T13" fmla="*/ 0 h 2"/>
                <a:gd name="T14" fmla="*/ 5 w 7"/>
                <a:gd name="T15" fmla="*/ 0 h 2"/>
                <a:gd name="T16" fmla="*/ 5 w 7"/>
                <a:gd name="T17" fmla="*/ 2 h 2"/>
                <a:gd name="T18" fmla="*/ 5 w 7"/>
                <a:gd name="T19" fmla="*/ 0 h 2"/>
                <a:gd name="T20" fmla="*/ 5 w 7"/>
                <a:gd name="T21" fmla="*/ 0 h 2"/>
                <a:gd name="T22" fmla="*/ 5 w 7"/>
                <a:gd name="T23" fmla="*/ 0 h 2"/>
                <a:gd name="T24" fmla="*/ 5 w 7"/>
                <a:gd name="T25" fmla="*/ 2 h 2"/>
                <a:gd name="T26" fmla="*/ 5 w 7"/>
                <a:gd name="T27" fmla="*/ 2 h 2"/>
                <a:gd name="T28" fmla="*/ 5 w 7"/>
                <a:gd name="T29" fmla="*/ 2 h 2"/>
                <a:gd name="T30" fmla="*/ 5 w 7"/>
                <a:gd name="T31" fmla="*/ 2 h 2"/>
                <a:gd name="T32" fmla="*/ 5 w 7"/>
                <a:gd name="T33" fmla="*/ 2 h 2"/>
                <a:gd name="T34" fmla="*/ 5 w 7"/>
                <a:gd name="T35" fmla="*/ 2 h 2"/>
                <a:gd name="T36" fmla="*/ 5 w 7"/>
                <a:gd name="T37" fmla="*/ 2 h 2"/>
                <a:gd name="T38" fmla="*/ 5 w 7"/>
                <a:gd name="T39" fmla="*/ 2 h 2"/>
                <a:gd name="T40" fmla="*/ 7 w 7"/>
                <a:gd name="T41" fmla="*/ 2 h 2"/>
                <a:gd name="T42" fmla="*/ 7 w 7"/>
                <a:gd name="T43" fmla="*/ 2 h 2"/>
                <a:gd name="T44" fmla="*/ 7 w 7"/>
                <a:gd name="T45" fmla="*/ 2 h 2"/>
                <a:gd name="T46" fmla="*/ 7 w 7"/>
                <a:gd name="T47" fmla="*/ 2 h 2"/>
                <a:gd name="T48" fmla="*/ 7 w 7"/>
                <a:gd name="T49" fmla="*/ 2 h 2"/>
                <a:gd name="T50" fmla="*/ 5 w 7"/>
                <a:gd name="T51" fmla="*/ 2 h 2"/>
                <a:gd name="T52" fmla="*/ 5 w 7"/>
                <a:gd name="T53" fmla="*/ 2 h 2"/>
                <a:gd name="T54" fmla="*/ 5 w 7"/>
                <a:gd name="T55" fmla="*/ 2 h 2"/>
                <a:gd name="T56" fmla="*/ 5 w 7"/>
                <a:gd name="T57" fmla="*/ 2 h 2"/>
                <a:gd name="T58" fmla="*/ 5 w 7"/>
                <a:gd name="T59" fmla="*/ 2 h 2"/>
                <a:gd name="T60" fmla="*/ 5 w 7"/>
                <a:gd name="T61" fmla="*/ 2 h 2"/>
                <a:gd name="T62" fmla="*/ 2 w 7"/>
                <a:gd name="T63" fmla="*/ 0 h 2"/>
                <a:gd name="T64" fmla="*/ 2 w 7"/>
                <a:gd name="T65" fmla="*/ 0 h 2"/>
                <a:gd name="T66" fmla="*/ 2 w 7"/>
                <a:gd name="T67" fmla="*/ 0 h 2"/>
                <a:gd name="T68" fmla="*/ 2 w 7"/>
                <a:gd name="T69" fmla="*/ 0 h 2"/>
                <a:gd name="T70" fmla="*/ 0 w 7"/>
                <a:gd name="T71" fmla="*/ 2 h 2"/>
                <a:gd name="T72" fmla="*/ 0 w 7"/>
                <a:gd name="T73" fmla="*/ 2 h 2"/>
                <a:gd name="T74" fmla="*/ 0 w 7"/>
                <a:gd name="T75" fmla="*/ 0 h 2"/>
                <a:gd name="T76" fmla="*/ 0 w 7"/>
                <a:gd name="T77" fmla="*/ 0 h 2"/>
                <a:gd name="T78" fmla="*/ 0 w 7"/>
                <a:gd name="T79" fmla="*/ 0 h 2"/>
                <a:gd name="T80" fmla="*/ 0 w 7"/>
                <a:gd name="T81" fmla="*/ 0 h 2"/>
                <a:gd name="T82" fmla="*/ 2 w 7"/>
                <a:gd name="T83" fmla="*/ 0 h 2"/>
                <a:gd name="T84" fmla="*/ 2 w 7"/>
                <a:gd name="T85" fmla="*/ 0 h 2"/>
                <a:gd name="T86" fmla="*/ 2 w 7"/>
                <a:gd name="T87" fmla="*/ 0 h 2"/>
                <a:gd name="T88" fmla="*/ 2 w 7"/>
                <a:gd name="T89" fmla="*/ 0 h 2"/>
                <a:gd name="T90" fmla="*/ 2 w 7"/>
                <a:gd name="T91" fmla="*/ 0 h 2"/>
                <a:gd name="T92" fmla="*/ 2 w 7"/>
                <a:gd name="T93" fmla="*/ 0 h 2"/>
                <a:gd name="T94" fmla="*/ 2 w 7"/>
                <a:gd name="T95" fmla="*/ 0 h 2"/>
                <a:gd name="T96" fmla="*/ 2 w 7"/>
                <a:gd name="T97" fmla="*/ 0 h 2"/>
                <a:gd name="T98" fmla="*/ 2 w 7"/>
                <a:gd name="T99" fmla="*/ 0 h 2"/>
                <a:gd name="T100" fmla="*/ 2 w 7"/>
                <a:gd name="T10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" h="2">
                  <a:moveTo>
                    <a:pt x="5" y="2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5" y="2"/>
                  </a:lnTo>
                  <a:close/>
                  <a:moveTo>
                    <a:pt x="5" y="2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5" name="Freeform 665"/>
            <p:cNvSpPr>
              <a:spLocks/>
            </p:cNvSpPr>
            <p:nvPr/>
          </p:nvSpPr>
          <p:spPr bwMode="auto">
            <a:xfrm>
              <a:off x="7653291" y="2436399"/>
              <a:ext cx="446271" cy="359356"/>
            </a:xfrm>
            <a:custGeom>
              <a:avLst/>
              <a:gdLst>
                <a:gd name="T0" fmla="*/ 191 w 267"/>
                <a:gd name="T1" fmla="*/ 13 h 215"/>
                <a:gd name="T2" fmla="*/ 200 w 267"/>
                <a:gd name="T3" fmla="*/ 18 h 215"/>
                <a:gd name="T4" fmla="*/ 202 w 267"/>
                <a:gd name="T5" fmla="*/ 33 h 215"/>
                <a:gd name="T6" fmla="*/ 218 w 267"/>
                <a:gd name="T7" fmla="*/ 36 h 215"/>
                <a:gd name="T8" fmla="*/ 233 w 267"/>
                <a:gd name="T9" fmla="*/ 24 h 215"/>
                <a:gd name="T10" fmla="*/ 242 w 267"/>
                <a:gd name="T11" fmla="*/ 29 h 215"/>
                <a:gd name="T12" fmla="*/ 254 w 267"/>
                <a:gd name="T13" fmla="*/ 27 h 215"/>
                <a:gd name="T14" fmla="*/ 267 w 267"/>
                <a:gd name="T15" fmla="*/ 29 h 215"/>
                <a:gd name="T16" fmla="*/ 260 w 267"/>
                <a:gd name="T17" fmla="*/ 29 h 215"/>
                <a:gd name="T18" fmla="*/ 263 w 267"/>
                <a:gd name="T19" fmla="*/ 36 h 215"/>
                <a:gd name="T20" fmla="*/ 247 w 267"/>
                <a:gd name="T21" fmla="*/ 38 h 215"/>
                <a:gd name="T22" fmla="*/ 224 w 267"/>
                <a:gd name="T23" fmla="*/ 40 h 215"/>
                <a:gd name="T24" fmla="*/ 213 w 267"/>
                <a:gd name="T25" fmla="*/ 47 h 215"/>
                <a:gd name="T26" fmla="*/ 206 w 267"/>
                <a:gd name="T27" fmla="*/ 51 h 215"/>
                <a:gd name="T28" fmla="*/ 204 w 267"/>
                <a:gd name="T29" fmla="*/ 58 h 215"/>
                <a:gd name="T30" fmla="*/ 211 w 267"/>
                <a:gd name="T31" fmla="*/ 67 h 215"/>
                <a:gd name="T32" fmla="*/ 213 w 267"/>
                <a:gd name="T33" fmla="*/ 81 h 215"/>
                <a:gd name="T34" fmla="*/ 209 w 267"/>
                <a:gd name="T35" fmla="*/ 92 h 215"/>
                <a:gd name="T36" fmla="*/ 211 w 267"/>
                <a:gd name="T37" fmla="*/ 105 h 215"/>
                <a:gd name="T38" fmla="*/ 189 w 267"/>
                <a:gd name="T39" fmla="*/ 105 h 215"/>
                <a:gd name="T40" fmla="*/ 195 w 267"/>
                <a:gd name="T41" fmla="*/ 114 h 215"/>
                <a:gd name="T42" fmla="*/ 195 w 267"/>
                <a:gd name="T43" fmla="*/ 126 h 215"/>
                <a:gd name="T44" fmla="*/ 186 w 267"/>
                <a:gd name="T45" fmla="*/ 135 h 215"/>
                <a:gd name="T46" fmla="*/ 184 w 267"/>
                <a:gd name="T47" fmla="*/ 146 h 215"/>
                <a:gd name="T48" fmla="*/ 177 w 267"/>
                <a:gd name="T49" fmla="*/ 162 h 215"/>
                <a:gd name="T50" fmla="*/ 168 w 267"/>
                <a:gd name="T51" fmla="*/ 159 h 215"/>
                <a:gd name="T52" fmla="*/ 159 w 267"/>
                <a:gd name="T53" fmla="*/ 164 h 215"/>
                <a:gd name="T54" fmla="*/ 155 w 267"/>
                <a:gd name="T55" fmla="*/ 171 h 215"/>
                <a:gd name="T56" fmla="*/ 144 w 267"/>
                <a:gd name="T57" fmla="*/ 171 h 215"/>
                <a:gd name="T58" fmla="*/ 135 w 267"/>
                <a:gd name="T59" fmla="*/ 195 h 215"/>
                <a:gd name="T60" fmla="*/ 123 w 267"/>
                <a:gd name="T61" fmla="*/ 209 h 215"/>
                <a:gd name="T62" fmla="*/ 78 w 267"/>
                <a:gd name="T63" fmla="*/ 213 h 215"/>
                <a:gd name="T64" fmla="*/ 45 w 267"/>
                <a:gd name="T65" fmla="*/ 211 h 215"/>
                <a:gd name="T66" fmla="*/ 42 w 267"/>
                <a:gd name="T67" fmla="*/ 182 h 215"/>
                <a:gd name="T68" fmla="*/ 36 w 267"/>
                <a:gd name="T69" fmla="*/ 168 h 215"/>
                <a:gd name="T70" fmla="*/ 16 w 267"/>
                <a:gd name="T71" fmla="*/ 153 h 215"/>
                <a:gd name="T72" fmla="*/ 11 w 267"/>
                <a:gd name="T73" fmla="*/ 119 h 215"/>
                <a:gd name="T74" fmla="*/ 2 w 267"/>
                <a:gd name="T75" fmla="*/ 99 h 215"/>
                <a:gd name="T76" fmla="*/ 7 w 267"/>
                <a:gd name="T77" fmla="*/ 92 h 215"/>
                <a:gd name="T78" fmla="*/ 9 w 267"/>
                <a:gd name="T79" fmla="*/ 81 h 215"/>
                <a:gd name="T80" fmla="*/ 9 w 267"/>
                <a:gd name="T81" fmla="*/ 74 h 215"/>
                <a:gd name="T82" fmla="*/ 11 w 267"/>
                <a:gd name="T83" fmla="*/ 69 h 215"/>
                <a:gd name="T84" fmla="*/ 31 w 267"/>
                <a:gd name="T85" fmla="*/ 78 h 215"/>
                <a:gd name="T86" fmla="*/ 45 w 267"/>
                <a:gd name="T87" fmla="*/ 72 h 215"/>
                <a:gd name="T88" fmla="*/ 42 w 267"/>
                <a:gd name="T89" fmla="*/ 63 h 215"/>
                <a:gd name="T90" fmla="*/ 63 w 267"/>
                <a:gd name="T91" fmla="*/ 56 h 215"/>
                <a:gd name="T92" fmla="*/ 69 w 267"/>
                <a:gd name="T93" fmla="*/ 42 h 215"/>
                <a:gd name="T94" fmla="*/ 85 w 267"/>
                <a:gd name="T95" fmla="*/ 22 h 215"/>
                <a:gd name="T96" fmla="*/ 96 w 267"/>
                <a:gd name="T97" fmla="*/ 27 h 215"/>
                <a:gd name="T98" fmla="*/ 110 w 267"/>
                <a:gd name="T99" fmla="*/ 27 h 215"/>
                <a:gd name="T100" fmla="*/ 121 w 267"/>
                <a:gd name="T101" fmla="*/ 29 h 215"/>
                <a:gd name="T102" fmla="*/ 130 w 267"/>
                <a:gd name="T103" fmla="*/ 33 h 215"/>
                <a:gd name="T104" fmla="*/ 139 w 267"/>
                <a:gd name="T105" fmla="*/ 36 h 215"/>
                <a:gd name="T106" fmla="*/ 146 w 267"/>
                <a:gd name="T107" fmla="*/ 29 h 215"/>
                <a:gd name="T108" fmla="*/ 150 w 267"/>
                <a:gd name="T109" fmla="*/ 29 h 215"/>
                <a:gd name="T110" fmla="*/ 159 w 267"/>
                <a:gd name="T111" fmla="*/ 33 h 215"/>
                <a:gd name="T112" fmla="*/ 159 w 267"/>
                <a:gd name="T113" fmla="*/ 27 h 215"/>
                <a:gd name="T114" fmla="*/ 166 w 267"/>
                <a:gd name="T115" fmla="*/ 20 h 215"/>
                <a:gd name="T116" fmla="*/ 173 w 267"/>
                <a:gd name="T117" fmla="*/ 20 h 215"/>
                <a:gd name="T118" fmla="*/ 171 w 267"/>
                <a:gd name="T119" fmla="*/ 15 h 215"/>
                <a:gd name="T120" fmla="*/ 175 w 267"/>
                <a:gd name="T121" fmla="*/ 9 h 215"/>
                <a:gd name="T122" fmla="*/ 180 w 267"/>
                <a:gd name="T123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7" h="215">
                  <a:moveTo>
                    <a:pt x="184" y="2"/>
                  </a:move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4" y="2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6" y="2"/>
                  </a:lnTo>
                  <a:lnTo>
                    <a:pt x="189" y="4"/>
                  </a:lnTo>
                  <a:lnTo>
                    <a:pt x="191" y="4"/>
                  </a:lnTo>
                  <a:lnTo>
                    <a:pt x="191" y="4"/>
                  </a:lnTo>
                  <a:lnTo>
                    <a:pt x="191" y="6"/>
                  </a:lnTo>
                  <a:lnTo>
                    <a:pt x="193" y="6"/>
                  </a:lnTo>
                  <a:lnTo>
                    <a:pt x="193" y="6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9"/>
                  </a:lnTo>
                  <a:lnTo>
                    <a:pt x="193" y="11"/>
                  </a:lnTo>
                  <a:lnTo>
                    <a:pt x="191" y="11"/>
                  </a:lnTo>
                  <a:lnTo>
                    <a:pt x="191" y="11"/>
                  </a:lnTo>
                  <a:lnTo>
                    <a:pt x="191" y="13"/>
                  </a:lnTo>
                  <a:lnTo>
                    <a:pt x="191" y="13"/>
                  </a:lnTo>
                  <a:lnTo>
                    <a:pt x="191" y="13"/>
                  </a:lnTo>
                  <a:lnTo>
                    <a:pt x="193" y="13"/>
                  </a:lnTo>
                  <a:lnTo>
                    <a:pt x="193" y="13"/>
                  </a:lnTo>
                  <a:lnTo>
                    <a:pt x="193" y="13"/>
                  </a:lnTo>
                  <a:lnTo>
                    <a:pt x="193" y="13"/>
                  </a:lnTo>
                  <a:lnTo>
                    <a:pt x="193" y="13"/>
                  </a:lnTo>
                  <a:lnTo>
                    <a:pt x="193" y="13"/>
                  </a:lnTo>
                  <a:lnTo>
                    <a:pt x="195" y="13"/>
                  </a:lnTo>
                  <a:lnTo>
                    <a:pt x="197" y="13"/>
                  </a:lnTo>
                  <a:lnTo>
                    <a:pt x="197" y="13"/>
                  </a:lnTo>
                  <a:lnTo>
                    <a:pt x="197" y="13"/>
                  </a:lnTo>
                  <a:lnTo>
                    <a:pt x="200" y="13"/>
                  </a:lnTo>
                  <a:lnTo>
                    <a:pt x="197" y="13"/>
                  </a:lnTo>
                  <a:lnTo>
                    <a:pt x="200" y="13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197" y="18"/>
                  </a:lnTo>
                  <a:lnTo>
                    <a:pt x="197" y="18"/>
                  </a:lnTo>
                  <a:lnTo>
                    <a:pt x="197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18"/>
                  </a:lnTo>
                  <a:lnTo>
                    <a:pt x="200" y="20"/>
                  </a:lnTo>
                  <a:lnTo>
                    <a:pt x="200" y="20"/>
                  </a:lnTo>
                  <a:lnTo>
                    <a:pt x="200" y="20"/>
                  </a:lnTo>
                  <a:lnTo>
                    <a:pt x="200" y="20"/>
                  </a:lnTo>
                  <a:lnTo>
                    <a:pt x="200" y="20"/>
                  </a:lnTo>
                  <a:lnTo>
                    <a:pt x="200" y="20"/>
                  </a:lnTo>
                  <a:lnTo>
                    <a:pt x="200" y="22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0" y="24"/>
                  </a:lnTo>
                  <a:lnTo>
                    <a:pt x="200" y="27"/>
                  </a:lnTo>
                  <a:lnTo>
                    <a:pt x="200" y="27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200" y="31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202" y="33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6"/>
                  </a:lnTo>
                  <a:lnTo>
                    <a:pt x="202" y="38"/>
                  </a:lnTo>
                  <a:lnTo>
                    <a:pt x="204" y="38"/>
                  </a:lnTo>
                  <a:lnTo>
                    <a:pt x="204" y="38"/>
                  </a:lnTo>
                  <a:lnTo>
                    <a:pt x="204" y="40"/>
                  </a:lnTo>
                  <a:lnTo>
                    <a:pt x="204" y="40"/>
                  </a:lnTo>
                  <a:lnTo>
                    <a:pt x="204" y="40"/>
                  </a:lnTo>
                  <a:lnTo>
                    <a:pt x="206" y="42"/>
                  </a:lnTo>
                  <a:lnTo>
                    <a:pt x="206" y="42"/>
                  </a:lnTo>
                  <a:lnTo>
                    <a:pt x="206" y="42"/>
                  </a:lnTo>
                  <a:lnTo>
                    <a:pt x="209" y="42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2"/>
                  </a:lnTo>
                  <a:lnTo>
                    <a:pt x="215" y="38"/>
                  </a:lnTo>
                  <a:lnTo>
                    <a:pt x="215" y="38"/>
                  </a:lnTo>
                  <a:lnTo>
                    <a:pt x="215" y="38"/>
                  </a:lnTo>
                  <a:lnTo>
                    <a:pt x="218" y="38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18" y="36"/>
                  </a:lnTo>
                  <a:lnTo>
                    <a:pt x="220" y="36"/>
                  </a:lnTo>
                  <a:lnTo>
                    <a:pt x="220" y="36"/>
                  </a:lnTo>
                  <a:lnTo>
                    <a:pt x="222" y="36"/>
                  </a:lnTo>
                  <a:lnTo>
                    <a:pt x="222" y="36"/>
                  </a:lnTo>
                  <a:lnTo>
                    <a:pt x="224" y="33"/>
                  </a:lnTo>
                  <a:lnTo>
                    <a:pt x="224" y="33"/>
                  </a:lnTo>
                  <a:lnTo>
                    <a:pt x="224" y="33"/>
                  </a:lnTo>
                  <a:lnTo>
                    <a:pt x="227" y="33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9"/>
                  </a:lnTo>
                  <a:lnTo>
                    <a:pt x="229" y="29"/>
                  </a:lnTo>
                  <a:lnTo>
                    <a:pt x="229" y="29"/>
                  </a:lnTo>
                  <a:lnTo>
                    <a:pt x="229" y="29"/>
                  </a:lnTo>
                  <a:lnTo>
                    <a:pt x="229" y="27"/>
                  </a:lnTo>
                  <a:lnTo>
                    <a:pt x="231" y="27"/>
                  </a:lnTo>
                  <a:lnTo>
                    <a:pt x="231" y="27"/>
                  </a:lnTo>
                  <a:lnTo>
                    <a:pt x="231" y="27"/>
                  </a:lnTo>
                  <a:lnTo>
                    <a:pt x="231" y="27"/>
                  </a:lnTo>
                  <a:lnTo>
                    <a:pt x="231" y="27"/>
                  </a:lnTo>
                  <a:lnTo>
                    <a:pt x="233" y="24"/>
                  </a:lnTo>
                  <a:lnTo>
                    <a:pt x="233" y="24"/>
                  </a:lnTo>
                  <a:lnTo>
                    <a:pt x="233" y="24"/>
                  </a:lnTo>
                  <a:lnTo>
                    <a:pt x="233" y="24"/>
                  </a:lnTo>
                  <a:lnTo>
                    <a:pt x="233" y="24"/>
                  </a:lnTo>
                  <a:lnTo>
                    <a:pt x="233" y="24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6" y="24"/>
                  </a:lnTo>
                  <a:lnTo>
                    <a:pt x="238" y="24"/>
                  </a:lnTo>
                  <a:lnTo>
                    <a:pt x="238" y="24"/>
                  </a:lnTo>
                  <a:lnTo>
                    <a:pt x="240" y="24"/>
                  </a:lnTo>
                  <a:lnTo>
                    <a:pt x="242" y="24"/>
                  </a:lnTo>
                  <a:lnTo>
                    <a:pt x="242" y="24"/>
                  </a:lnTo>
                  <a:lnTo>
                    <a:pt x="245" y="24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5" y="27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51" y="27"/>
                  </a:lnTo>
                  <a:lnTo>
                    <a:pt x="254" y="27"/>
                  </a:lnTo>
                  <a:lnTo>
                    <a:pt x="254" y="27"/>
                  </a:lnTo>
                  <a:lnTo>
                    <a:pt x="254" y="27"/>
                  </a:lnTo>
                  <a:lnTo>
                    <a:pt x="254" y="27"/>
                  </a:lnTo>
                  <a:lnTo>
                    <a:pt x="254" y="27"/>
                  </a:lnTo>
                  <a:lnTo>
                    <a:pt x="254" y="27"/>
                  </a:lnTo>
                  <a:lnTo>
                    <a:pt x="254" y="27"/>
                  </a:lnTo>
                  <a:lnTo>
                    <a:pt x="256" y="27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4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6" y="27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58" y="27"/>
                  </a:lnTo>
                  <a:lnTo>
                    <a:pt x="260" y="27"/>
                  </a:lnTo>
                  <a:lnTo>
                    <a:pt x="260" y="27"/>
                  </a:lnTo>
                  <a:lnTo>
                    <a:pt x="260" y="27"/>
                  </a:lnTo>
                  <a:lnTo>
                    <a:pt x="263" y="27"/>
                  </a:lnTo>
                  <a:lnTo>
                    <a:pt x="265" y="27"/>
                  </a:lnTo>
                  <a:lnTo>
                    <a:pt x="265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5" y="31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0" y="31"/>
                  </a:lnTo>
                  <a:lnTo>
                    <a:pt x="260" y="31"/>
                  </a:lnTo>
                  <a:lnTo>
                    <a:pt x="260" y="31"/>
                  </a:lnTo>
                  <a:lnTo>
                    <a:pt x="258" y="31"/>
                  </a:lnTo>
                  <a:lnTo>
                    <a:pt x="258" y="31"/>
                  </a:lnTo>
                  <a:lnTo>
                    <a:pt x="258" y="31"/>
                  </a:lnTo>
                  <a:lnTo>
                    <a:pt x="258" y="31"/>
                  </a:lnTo>
                  <a:lnTo>
                    <a:pt x="258" y="31"/>
                  </a:lnTo>
                  <a:lnTo>
                    <a:pt x="258" y="31"/>
                  </a:lnTo>
                  <a:lnTo>
                    <a:pt x="258" y="33"/>
                  </a:lnTo>
                  <a:lnTo>
                    <a:pt x="260" y="33"/>
                  </a:lnTo>
                  <a:lnTo>
                    <a:pt x="260" y="33"/>
                  </a:lnTo>
                  <a:lnTo>
                    <a:pt x="260" y="33"/>
                  </a:lnTo>
                  <a:lnTo>
                    <a:pt x="263" y="33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60" y="36"/>
                  </a:lnTo>
                  <a:lnTo>
                    <a:pt x="258" y="36"/>
                  </a:lnTo>
                  <a:lnTo>
                    <a:pt x="258" y="36"/>
                  </a:lnTo>
                  <a:lnTo>
                    <a:pt x="256" y="38"/>
                  </a:lnTo>
                  <a:lnTo>
                    <a:pt x="256" y="38"/>
                  </a:lnTo>
                  <a:lnTo>
                    <a:pt x="256" y="38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4" y="38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4" y="40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49" y="38"/>
                  </a:lnTo>
                  <a:lnTo>
                    <a:pt x="249" y="38"/>
                  </a:lnTo>
                  <a:lnTo>
                    <a:pt x="247" y="38"/>
                  </a:lnTo>
                  <a:lnTo>
                    <a:pt x="245" y="38"/>
                  </a:lnTo>
                  <a:lnTo>
                    <a:pt x="242" y="38"/>
                  </a:lnTo>
                  <a:lnTo>
                    <a:pt x="242" y="38"/>
                  </a:lnTo>
                  <a:lnTo>
                    <a:pt x="242" y="38"/>
                  </a:lnTo>
                  <a:lnTo>
                    <a:pt x="240" y="38"/>
                  </a:lnTo>
                  <a:lnTo>
                    <a:pt x="240" y="38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36" y="38"/>
                  </a:lnTo>
                  <a:lnTo>
                    <a:pt x="233" y="38"/>
                  </a:lnTo>
                  <a:lnTo>
                    <a:pt x="233" y="38"/>
                  </a:lnTo>
                  <a:lnTo>
                    <a:pt x="233" y="38"/>
                  </a:lnTo>
                  <a:lnTo>
                    <a:pt x="233" y="38"/>
                  </a:lnTo>
                  <a:lnTo>
                    <a:pt x="233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38"/>
                  </a:lnTo>
                  <a:lnTo>
                    <a:pt x="231" y="40"/>
                  </a:lnTo>
                  <a:lnTo>
                    <a:pt x="229" y="40"/>
                  </a:lnTo>
                  <a:lnTo>
                    <a:pt x="227" y="38"/>
                  </a:lnTo>
                  <a:lnTo>
                    <a:pt x="227" y="40"/>
                  </a:lnTo>
                  <a:lnTo>
                    <a:pt x="224" y="40"/>
                  </a:lnTo>
                  <a:lnTo>
                    <a:pt x="224" y="40"/>
                  </a:lnTo>
                  <a:lnTo>
                    <a:pt x="222" y="40"/>
                  </a:lnTo>
                  <a:lnTo>
                    <a:pt x="222" y="40"/>
                  </a:lnTo>
                  <a:lnTo>
                    <a:pt x="222" y="40"/>
                  </a:lnTo>
                  <a:lnTo>
                    <a:pt x="220" y="40"/>
                  </a:lnTo>
                  <a:lnTo>
                    <a:pt x="220" y="40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2"/>
                  </a:lnTo>
                  <a:lnTo>
                    <a:pt x="218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5" y="45"/>
                  </a:lnTo>
                  <a:lnTo>
                    <a:pt x="213" y="47"/>
                  </a:lnTo>
                  <a:lnTo>
                    <a:pt x="213" y="47"/>
                  </a:lnTo>
                  <a:lnTo>
                    <a:pt x="213" y="47"/>
                  </a:lnTo>
                  <a:lnTo>
                    <a:pt x="213" y="47"/>
                  </a:lnTo>
                  <a:lnTo>
                    <a:pt x="213" y="47"/>
                  </a:lnTo>
                  <a:lnTo>
                    <a:pt x="213" y="47"/>
                  </a:lnTo>
                  <a:lnTo>
                    <a:pt x="211" y="47"/>
                  </a:lnTo>
                  <a:lnTo>
                    <a:pt x="211" y="47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11" y="49"/>
                  </a:lnTo>
                  <a:lnTo>
                    <a:pt x="209" y="49"/>
                  </a:lnTo>
                  <a:lnTo>
                    <a:pt x="209" y="47"/>
                  </a:lnTo>
                  <a:lnTo>
                    <a:pt x="209" y="47"/>
                  </a:lnTo>
                  <a:lnTo>
                    <a:pt x="209" y="49"/>
                  </a:lnTo>
                  <a:lnTo>
                    <a:pt x="209" y="49"/>
                  </a:lnTo>
                  <a:lnTo>
                    <a:pt x="209" y="49"/>
                  </a:lnTo>
                  <a:lnTo>
                    <a:pt x="209" y="49"/>
                  </a:lnTo>
                  <a:lnTo>
                    <a:pt x="206" y="49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9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6" y="51"/>
                  </a:lnTo>
                  <a:lnTo>
                    <a:pt x="204" y="54"/>
                  </a:lnTo>
                  <a:lnTo>
                    <a:pt x="204" y="54"/>
                  </a:lnTo>
                  <a:lnTo>
                    <a:pt x="204" y="54"/>
                  </a:lnTo>
                  <a:lnTo>
                    <a:pt x="204" y="54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2" y="56"/>
                  </a:lnTo>
                  <a:lnTo>
                    <a:pt x="202" y="56"/>
                  </a:lnTo>
                  <a:lnTo>
                    <a:pt x="202" y="56"/>
                  </a:lnTo>
                  <a:lnTo>
                    <a:pt x="202" y="56"/>
                  </a:lnTo>
                  <a:lnTo>
                    <a:pt x="202" y="56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2" y="58"/>
                  </a:lnTo>
                  <a:lnTo>
                    <a:pt x="204" y="58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6" y="60"/>
                  </a:lnTo>
                  <a:lnTo>
                    <a:pt x="206" y="60"/>
                  </a:lnTo>
                  <a:lnTo>
                    <a:pt x="206" y="63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09" y="63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09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7"/>
                  </a:lnTo>
                  <a:lnTo>
                    <a:pt x="211" y="69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3" y="69"/>
                  </a:lnTo>
                  <a:lnTo>
                    <a:pt x="213" y="72"/>
                  </a:lnTo>
                  <a:lnTo>
                    <a:pt x="213" y="72"/>
                  </a:lnTo>
                  <a:lnTo>
                    <a:pt x="213" y="72"/>
                  </a:lnTo>
                  <a:lnTo>
                    <a:pt x="213" y="72"/>
                  </a:lnTo>
                  <a:lnTo>
                    <a:pt x="215" y="72"/>
                  </a:lnTo>
                  <a:lnTo>
                    <a:pt x="215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4"/>
                  </a:lnTo>
                  <a:lnTo>
                    <a:pt x="213" y="76"/>
                  </a:lnTo>
                  <a:lnTo>
                    <a:pt x="213" y="76"/>
                  </a:lnTo>
                  <a:lnTo>
                    <a:pt x="215" y="78"/>
                  </a:lnTo>
                  <a:lnTo>
                    <a:pt x="215" y="78"/>
                  </a:lnTo>
                  <a:lnTo>
                    <a:pt x="215" y="78"/>
                  </a:lnTo>
                  <a:lnTo>
                    <a:pt x="215" y="78"/>
                  </a:lnTo>
                  <a:lnTo>
                    <a:pt x="215" y="78"/>
                  </a:lnTo>
                  <a:lnTo>
                    <a:pt x="215" y="81"/>
                  </a:lnTo>
                  <a:lnTo>
                    <a:pt x="213" y="81"/>
                  </a:lnTo>
                  <a:lnTo>
                    <a:pt x="215" y="83"/>
                  </a:lnTo>
                  <a:lnTo>
                    <a:pt x="215" y="83"/>
                  </a:lnTo>
                  <a:lnTo>
                    <a:pt x="215" y="83"/>
                  </a:lnTo>
                  <a:lnTo>
                    <a:pt x="215" y="83"/>
                  </a:lnTo>
                  <a:lnTo>
                    <a:pt x="215" y="83"/>
                  </a:lnTo>
                  <a:lnTo>
                    <a:pt x="215" y="83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3" y="83"/>
                  </a:lnTo>
                  <a:lnTo>
                    <a:pt x="211" y="85"/>
                  </a:lnTo>
                  <a:lnTo>
                    <a:pt x="211" y="85"/>
                  </a:lnTo>
                  <a:lnTo>
                    <a:pt x="211" y="87"/>
                  </a:lnTo>
                  <a:lnTo>
                    <a:pt x="211" y="87"/>
                  </a:lnTo>
                  <a:lnTo>
                    <a:pt x="211" y="90"/>
                  </a:lnTo>
                  <a:lnTo>
                    <a:pt x="209" y="90"/>
                  </a:lnTo>
                  <a:lnTo>
                    <a:pt x="209" y="90"/>
                  </a:lnTo>
                  <a:lnTo>
                    <a:pt x="209" y="90"/>
                  </a:lnTo>
                  <a:lnTo>
                    <a:pt x="209" y="90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9" y="92"/>
                  </a:lnTo>
                  <a:lnTo>
                    <a:pt x="209" y="94"/>
                  </a:lnTo>
                  <a:lnTo>
                    <a:pt x="209" y="94"/>
                  </a:lnTo>
                  <a:lnTo>
                    <a:pt x="206" y="94"/>
                  </a:lnTo>
                  <a:lnTo>
                    <a:pt x="206" y="94"/>
                  </a:lnTo>
                  <a:lnTo>
                    <a:pt x="206" y="94"/>
                  </a:lnTo>
                  <a:lnTo>
                    <a:pt x="206" y="94"/>
                  </a:lnTo>
                  <a:lnTo>
                    <a:pt x="206" y="94"/>
                  </a:lnTo>
                  <a:lnTo>
                    <a:pt x="206" y="94"/>
                  </a:lnTo>
                  <a:lnTo>
                    <a:pt x="206" y="96"/>
                  </a:lnTo>
                  <a:lnTo>
                    <a:pt x="206" y="96"/>
                  </a:lnTo>
                  <a:lnTo>
                    <a:pt x="209" y="96"/>
                  </a:lnTo>
                  <a:lnTo>
                    <a:pt x="209" y="96"/>
                  </a:lnTo>
                  <a:lnTo>
                    <a:pt x="211" y="99"/>
                  </a:lnTo>
                  <a:lnTo>
                    <a:pt x="211" y="99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1"/>
                  </a:lnTo>
                  <a:lnTo>
                    <a:pt x="211" y="103"/>
                  </a:lnTo>
                  <a:lnTo>
                    <a:pt x="211" y="103"/>
                  </a:lnTo>
                  <a:lnTo>
                    <a:pt x="211" y="103"/>
                  </a:lnTo>
                  <a:lnTo>
                    <a:pt x="211" y="103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11" y="105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09" y="105"/>
                  </a:lnTo>
                  <a:lnTo>
                    <a:pt x="209" y="108"/>
                  </a:lnTo>
                  <a:lnTo>
                    <a:pt x="209" y="108"/>
                  </a:lnTo>
                  <a:lnTo>
                    <a:pt x="206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0" y="108"/>
                  </a:lnTo>
                  <a:lnTo>
                    <a:pt x="200" y="108"/>
                  </a:lnTo>
                  <a:lnTo>
                    <a:pt x="197" y="108"/>
                  </a:lnTo>
                  <a:lnTo>
                    <a:pt x="197" y="108"/>
                  </a:lnTo>
                  <a:lnTo>
                    <a:pt x="195" y="108"/>
                  </a:lnTo>
                  <a:lnTo>
                    <a:pt x="195" y="108"/>
                  </a:lnTo>
                  <a:lnTo>
                    <a:pt x="191" y="105"/>
                  </a:lnTo>
                  <a:lnTo>
                    <a:pt x="189" y="105"/>
                  </a:lnTo>
                  <a:lnTo>
                    <a:pt x="189" y="105"/>
                  </a:lnTo>
                  <a:lnTo>
                    <a:pt x="189" y="105"/>
                  </a:lnTo>
                  <a:lnTo>
                    <a:pt x="189" y="105"/>
                  </a:lnTo>
                  <a:lnTo>
                    <a:pt x="189" y="105"/>
                  </a:lnTo>
                  <a:lnTo>
                    <a:pt x="189" y="108"/>
                  </a:lnTo>
                  <a:lnTo>
                    <a:pt x="189" y="108"/>
                  </a:lnTo>
                  <a:lnTo>
                    <a:pt x="189" y="108"/>
                  </a:lnTo>
                  <a:lnTo>
                    <a:pt x="189" y="108"/>
                  </a:lnTo>
                  <a:lnTo>
                    <a:pt x="189" y="108"/>
                  </a:lnTo>
                  <a:lnTo>
                    <a:pt x="189" y="110"/>
                  </a:lnTo>
                  <a:lnTo>
                    <a:pt x="189" y="110"/>
                  </a:lnTo>
                  <a:lnTo>
                    <a:pt x="189" y="110"/>
                  </a:lnTo>
                  <a:lnTo>
                    <a:pt x="189" y="110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1" y="112"/>
                  </a:lnTo>
                  <a:lnTo>
                    <a:pt x="193" y="112"/>
                  </a:lnTo>
                  <a:lnTo>
                    <a:pt x="193" y="112"/>
                  </a:lnTo>
                  <a:lnTo>
                    <a:pt x="193" y="112"/>
                  </a:lnTo>
                  <a:lnTo>
                    <a:pt x="195" y="112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4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5" y="119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197" y="119"/>
                  </a:lnTo>
                  <a:lnTo>
                    <a:pt x="200" y="121"/>
                  </a:lnTo>
                  <a:lnTo>
                    <a:pt x="200" y="121"/>
                  </a:lnTo>
                  <a:lnTo>
                    <a:pt x="200" y="123"/>
                  </a:lnTo>
                  <a:lnTo>
                    <a:pt x="197" y="126"/>
                  </a:lnTo>
                  <a:lnTo>
                    <a:pt x="197" y="126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5" y="126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5" y="128"/>
                  </a:lnTo>
                  <a:lnTo>
                    <a:pt x="193" y="128"/>
                  </a:lnTo>
                  <a:lnTo>
                    <a:pt x="193" y="128"/>
                  </a:lnTo>
                  <a:lnTo>
                    <a:pt x="193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9" y="128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6" y="128"/>
                  </a:lnTo>
                  <a:lnTo>
                    <a:pt x="186" y="130"/>
                  </a:lnTo>
                  <a:lnTo>
                    <a:pt x="184" y="130"/>
                  </a:lnTo>
                  <a:lnTo>
                    <a:pt x="186" y="132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6" y="135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4" y="135"/>
                  </a:lnTo>
                  <a:lnTo>
                    <a:pt x="184" y="137"/>
                  </a:lnTo>
                  <a:lnTo>
                    <a:pt x="184" y="137"/>
                  </a:lnTo>
                  <a:lnTo>
                    <a:pt x="184" y="137"/>
                  </a:lnTo>
                  <a:lnTo>
                    <a:pt x="184" y="137"/>
                  </a:lnTo>
                  <a:lnTo>
                    <a:pt x="186" y="137"/>
                  </a:lnTo>
                  <a:lnTo>
                    <a:pt x="186" y="137"/>
                  </a:lnTo>
                  <a:lnTo>
                    <a:pt x="186" y="137"/>
                  </a:lnTo>
                  <a:lnTo>
                    <a:pt x="186" y="137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6" y="139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4" y="150"/>
                  </a:lnTo>
                  <a:lnTo>
                    <a:pt x="184" y="150"/>
                  </a:lnTo>
                  <a:lnTo>
                    <a:pt x="186" y="153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4" y="159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4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2" y="162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80" y="164"/>
                  </a:lnTo>
                  <a:lnTo>
                    <a:pt x="177" y="164"/>
                  </a:lnTo>
                  <a:lnTo>
                    <a:pt x="177" y="162"/>
                  </a:lnTo>
                  <a:lnTo>
                    <a:pt x="177" y="162"/>
                  </a:lnTo>
                  <a:lnTo>
                    <a:pt x="175" y="162"/>
                  </a:lnTo>
                  <a:lnTo>
                    <a:pt x="175" y="159"/>
                  </a:lnTo>
                  <a:lnTo>
                    <a:pt x="175" y="159"/>
                  </a:lnTo>
                  <a:lnTo>
                    <a:pt x="175" y="159"/>
                  </a:lnTo>
                  <a:lnTo>
                    <a:pt x="175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1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59"/>
                  </a:lnTo>
                  <a:lnTo>
                    <a:pt x="173" y="162"/>
                  </a:lnTo>
                  <a:lnTo>
                    <a:pt x="173" y="162"/>
                  </a:lnTo>
                  <a:lnTo>
                    <a:pt x="171" y="162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6" y="159"/>
                  </a:lnTo>
                  <a:lnTo>
                    <a:pt x="166" y="159"/>
                  </a:lnTo>
                  <a:lnTo>
                    <a:pt x="166" y="159"/>
                  </a:lnTo>
                  <a:lnTo>
                    <a:pt x="166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4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2"/>
                  </a:lnTo>
                  <a:lnTo>
                    <a:pt x="162" y="164"/>
                  </a:lnTo>
                  <a:lnTo>
                    <a:pt x="162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7" y="166"/>
                  </a:lnTo>
                  <a:lnTo>
                    <a:pt x="157" y="166"/>
                  </a:lnTo>
                  <a:lnTo>
                    <a:pt x="157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6"/>
                  </a:lnTo>
                  <a:lnTo>
                    <a:pt x="155" y="168"/>
                  </a:lnTo>
                  <a:lnTo>
                    <a:pt x="155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7" y="168"/>
                  </a:lnTo>
                  <a:lnTo>
                    <a:pt x="159" y="168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9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7" y="171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3"/>
                  </a:lnTo>
                  <a:lnTo>
                    <a:pt x="150" y="173"/>
                  </a:lnTo>
                  <a:lnTo>
                    <a:pt x="150" y="173"/>
                  </a:lnTo>
                  <a:lnTo>
                    <a:pt x="148" y="173"/>
                  </a:lnTo>
                  <a:lnTo>
                    <a:pt x="148" y="173"/>
                  </a:lnTo>
                  <a:lnTo>
                    <a:pt x="148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1" y="171"/>
                  </a:lnTo>
                  <a:lnTo>
                    <a:pt x="141" y="171"/>
                  </a:lnTo>
                  <a:lnTo>
                    <a:pt x="141" y="173"/>
                  </a:lnTo>
                  <a:lnTo>
                    <a:pt x="139" y="173"/>
                  </a:lnTo>
                  <a:lnTo>
                    <a:pt x="139" y="173"/>
                  </a:lnTo>
                  <a:lnTo>
                    <a:pt x="139" y="173"/>
                  </a:lnTo>
                  <a:lnTo>
                    <a:pt x="139" y="173"/>
                  </a:lnTo>
                  <a:lnTo>
                    <a:pt x="139" y="175"/>
                  </a:lnTo>
                  <a:lnTo>
                    <a:pt x="137" y="177"/>
                  </a:lnTo>
                  <a:lnTo>
                    <a:pt x="137" y="177"/>
                  </a:lnTo>
                  <a:lnTo>
                    <a:pt x="137" y="180"/>
                  </a:lnTo>
                  <a:lnTo>
                    <a:pt x="132" y="180"/>
                  </a:lnTo>
                  <a:lnTo>
                    <a:pt x="132" y="180"/>
                  </a:lnTo>
                  <a:lnTo>
                    <a:pt x="132" y="180"/>
                  </a:lnTo>
                  <a:lnTo>
                    <a:pt x="132" y="186"/>
                  </a:lnTo>
                  <a:lnTo>
                    <a:pt x="132" y="189"/>
                  </a:lnTo>
                  <a:lnTo>
                    <a:pt x="132" y="189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1"/>
                  </a:lnTo>
                  <a:lnTo>
                    <a:pt x="135" y="195"/>
                  </a:lnTo>
                  <a:lnTo>
                    <a:pt x="135" y="195"/>
                  </a:lnTo>
                  <a:lnTo>
                    <a:pt x="135" y="195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0"/>
                  </a:lnTo>
                  <a:lnTo>
                    <a:pt x="135" y="202"/>
                  </a:lnTo>
                  <a:lnTo>
                    <a:pt x="135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2"/>
                  </a:lnTo>
                  <a:lnTo>
                    <a:pt x="137" y="204"/>
                  </a:lnTo>
                  <a:lnTo>
                    <a:pt x="135" y="204"/>
                  </a:lnTo>
                  <a:lnTo>
                    <a:pt x="135" y="206"/>
                  </a:lnTo>
                  <a:lnTo>
                    <a:pt x="132" y="206"/>
                  </a:lnTo>
                  <a:lnTo>
                    <a:pt x="132" y="206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28" y="206"/>
                  </a:lnTo>
                  <a:lnTo>
                    <a:pt x="128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3" y="209"/>
                  </a:lnTo>
                  <a:lnTo>
                    <a:pt x="123" y="209"/>
                  </a:lnTo>
                  <a:lnTo>
                    <a:pt x="121" y="209"/>
                  </a:lnTo>
                  <a:lnTo>
                    <a:pt x="121" y="211"/>
                  </a:lnTo>
                  <a:lnTo>
                    <a:pt x="119" y="211"/>
                  </a:lnTo>
                  <a:lnTo>
                    <a:pt x="119" y="211"/>
                  </a:lnTo>
                  <a:lnTo>
                    <a:pt x="117" y="211"/>
                  </a:lnTo>
                  <a:lnTo>
                    <a:pt x="117" y="211"/>
                  </a:lnTo>
                  <a:lnTo>
                    <a:pt x="114" y="211"/>
                  </a:lnTo>
                  <a:lnTo>
                    <a:pt x="112" y="213"/>
                  </a:lnTo>
                  <a:lnTo>
                    <a:pt x="110" y="213"/>
                  </a:lnTo>
                  <a:lnTo>
                    <a:pt x="108" y="211"/>
                  </a:lnTo>
                  <a:lnTo>
                    <a:pt x="105" y="211"/>
                  </a:lnTo>
                  <a:lnTo>
                    <a:pt x="101" y="211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4" y="215"/>
                  </a:lnTo>
                  <a:lnTo>
                    <a:pt x="92" y="215"/>
                  </a:lnTo>
                  <a:lnTo>
                    <a:pt x="87" y="215"/>
                  </a:lnTo>
                  <a:lnTo>
                    <a:pt x="83" y="213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78" y="213"/>
                  </a:lnTo>
                  <a:lnTo>
                    <a:pt x="76" y="213"/>
                  </a:lnTo>
                  <a:lnTo>
                    <a:pt x="76" y="213"/>
                  </a:lnTo>
                  <a:lnTo>
                    <a:pt x="74" y="215"/>
                  </a:lnTo>
                  <a:lnTo>
                    <a:pt x="74" y="215"/>
                  </a:lnTo>
                  <a:lnTo>
                    <a:pt x="72" y="215"/>
                  </a:lnTo>
                  <a:lnTo>
                    <a:pt x="72" y="215"/>
                  </a:lnTo>
                  <a:lnTo>
                    <a:pt x="72" y="215"/>
                  </a:lnTo>
                  <a:lnTo>
                    <a:pt x="69" y="215"/>
                  </a:lnTo>
                  <a:lnTo>
                    <a:pt x="69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5" y="215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0" y="215"/>
                  </a:lnTo>
                  <a:lnTo>
                    <a:pt x="58" y="215"/>
                  </a:lnTo>
                  <a:lnTo>
                    <a:pt x="56" y="215"/>
                  </a:lnTo>
                  <a:lnTo>
                    <a:pt x="54" y="213"/>
                  </a:lnTo>
                  <a:lnTo>
                    <a:pt x="54" y="213"/>
                  </a:lnTo>
                  <a:lnTo>
                    <a:pt x="51" y="213"/>
                  </a:lnTo>
                  <a:lnTo>
                    <a:pt x="49" y="213"/>
                  </a:lnTo>
                  <a:lnTo>
                    <a:pt x="47" y="211"/>
                  </a:lnTo>
                  <a:lnTo>
                    <a:pt x="47" y="211"/>
                  </a:lnTo>
                  <a:lnTo>
                    <a:pt x="45" y="211"/>
                  </a:lnTo>
                  <a:lnTo>
                    <a:pt x="42" y="211"/>
                  </a:lnTo>
                  <a:lnTo>
                    <a:pt x="40" y="209"/>
                  </a:lnTo>
                  <a:lnTo>
                    <a:pt x="38" y="209"/>
                  </a:lnTo>
                  <a:lnTo>
                    <a:pt x="38" y="209"/>
                  </a:lnTo>
                  <a:lnTo>
                    <a:pt x="36" y="209"/>
                  </a:lnTo>
                  <a:lnTo>
                    <a:pt x="33" y="206"/>
                  </a:lnTo>
                  <a:lnTo>
                    <a:pt x="31" y="206"/>
                  </a:lnTo>
                  <a:lnTo>
                    <a:pt x="29" y="206"/>
                  </a:lnTo>
                  <a:lnTo>
                    <a:pt x="29" y="206"/>
                  </a:lnTo>
                  <a:lnTo>
                    <a:pt x="27" y="204"/>
                  </a:lnTo>
                  <a:lnTo>
                    <a:pt x="27" y="204"/>
                  </a:lnTo>
                  <a:lnTo>
                    <a:pt x="27" y="204"/>
                  </a:lnTo>
                  <a:lnTo>
                    <a:pt x="29" y="202"/>
                  </a:lnTo>
                  <a:lnTo>
                    <a:pt x="29" y="202"/>
                  </a:lnTo>
                  <a:lnTo>
                    <a:pt x="31" y="197"/>
                  </a:lnTo>
                  <a:lnTo>
                    <a:pt x="31" y="195"/>
                  </a:lnTo>
                  <a:lnTo>
                    <a:pt x="33" y="195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8" y="186"/>
                  </a:lnTo>
                  <a:lnTo>
                    <a:pt x="40" y="184"/>
                  </a:lnTo>
                  <a:lnTo>
                    <a:pt x="40" y="182"/>
                  </a:lnTo>
                  <a:lnTo>
                    <a:pt x="42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0" y="182"/>
                  </a:lnTo>
                  <a:lnTo>
                    <a:pt x="42" y="182"/>
                  </a:lnTo>
                  <a:lnTo>
                    <a:pt x="40" y="180"/>
                  </a:lnTo>
                  <a:lnTo>
                    <a:pt x="40" y="180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7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68"/>
                  </a:lnTo>
                  <a:lnTo>
                    <a:pt x="36" y="168"/>
                  </a:lnTo>
                  <a:lnTo>
                    <a:pt x="36" y="168"/>
                  </a:lnTo>
                  <a:lnTo>
                    <a:pt x="33" y="168"/>
                  </a:lnTo>
                  <a:lnTo>
                    <a:pt x="29" y="168"/>
                  </a:lnTo>
                  <a:lnTo>
                    <a:pt x="25" y="166"/>
                  </a:lnTo>
                  <a:lnTo>
                    <a:pt x="22" y="166"/>
                  </a:lnTo>
                  <a:lnTo>
                    <a:pt x="20" y="166"/>
                  </a:lnTo>
                  <a:lnTo>
                    <a:pt x="20" y="166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2"/>
                  </a:lnTo>
                  <a:lnTo>
                    <a:pt x="18" y="159"/>
                  </a:lnTo>
                  <a:lnTo>
                    <a:pt x="18" y="159"/>
                  </a:lnTo>
                  <a:lnTo>
                    <a:pt x="18" y="157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3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3" y="141"/>
                  </a:lnTo>
                  <a:lnTo>
                    <a:pt x="11" y="139"/>
                  </a:lnTo>
                  <a:lnTo>
                    <a:pt x="11" y="137"/>
                  </a:lnTo>
                  <a:lnTo>
                    <a:pt x="9" y="135"/>
                  </a:lnTo>
                  <a:lnTo>
                    <a:pt x="9" y="132"/>
                  </a:lnTo>
                  <a:lnTo>
                    <a:pt x="7" y="130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9" y="123"/>
                  </a:lnTo>
                  <a:lnTo>
                    <a:pt x="9" y="123"/>
                  </a:lnTo>
                  <a:lnTo>
                    <a:pt x="9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21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7" y="117"/>
                  </a:lnTo>
                  <a:lnTo>
                    <a:pt x="4" y="117"/>
                  </a:lnTo>
                  <a:lnTo>
                    <a:pt x="4" y="114"/>
                  </a:lnTo>
                  <a:lnTo>
                    <a:pt x="2" y="114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2" y="108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4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3" y="69"/>
                  </a:lnTo>
                  <a:lnTo>
                    <a:pt x="13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74"/>
                  </a:lnTo>
                  <a:lnTo>
                    <a:pt x="20" y="72"/>
                  </a:lnTo>
                  <a:lnTo>
                    <a:pt x="22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4"/>
                  </a:lnTo>
                  <a:lnTo>
                    <a:pt x="42" y="74"/>
                  </a:lnTo>
                  <a:lnTo>
                    <a:pt x="45" y="74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9" y="51"/>
                  </a:lnTo>
                  <a:lnTo>
                    <a:pt x="69" y="51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72" y="38"/>
                  </a:lnTo>
                  <a:lnTo>
                    <a:pt x="72" y="36"/>
                  </a:lnTo>
                  <a:lnTo>
                    <a:pt x="69" y="36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74" y="31"/>
                  </a:lnTo>
                  <a:lnTo>
                    <a:pt x="74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5" y="29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90" y="22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2" y="27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3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8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1" y="31"/>
                  </a:lnTo>
                  <a:lnTo>
                    <a:pt x="141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6" y="31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6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48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9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48" y="27"/>
                  </a:lnTo>
                  <a:lnTo>
                    <a:pt x="148" y="27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0" y="27"/>
                  </a:lnTo>
                  <a:lnTo>
                    <a:pt x="153" y="29"/>
                  </a:lnTo>
                  <a:lnTo>
                    <a:pt x="153" y="29"/>
                  </a:lnTo>
                  <a:lnTo>
                    <a:pt x="153" y="29"/>
                  </a:lnTo>
                  <a:lnTo>
                    <a:pt x="153" y="29"/>
                  </a:lnTo>
                  <a:lnTo>
                    <a:pt x="153" y="29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5" y="31"/>
                  </a:lnTo>
                  <a:lnTo>
                    <a:pt x="157" y="33"/>
                  </a:lnTo>
                  <a:lnTo>
                    <a:pt x="157" y="33"/>
                  </a:lnTo>
                  <a:lnTo>
                    <a:pt x="159" y="33"/>
                  </a:lnTo>
                  <a:lnTo>
                    <a:pt x="159" y="33"/>
                  </a:lnTo>
                  <a:lnTo>
                    <a:pt x="159" y="31"/>
                  </a:lnTo>
                  <a:lnTo>
                    <a:pt x="159" y="31"/>
                  </a:lnTo>
                  <a:lnTo>
                    <a:pt x="159" y="31"/>
                  </a:lnTo>
                  <a:lnTo>
                    <a:pt x="159" y="31"/>
                  </a:lnTo>
                  <a:lnTo>
                    <a:pt x="159" y="31"/>
                  </a:lnTo>
                  <a:lnTo>
                    <a:pt x="162" y="29"/>
                  </a:lnTo>
                  <a:lnTo>
                    <a:pt x="162" y="29"/>
                  </a:lnTo>
                  <a:lnTo>
                    <a:pt x="159" y="29"/>
                  </a:lnTo>
                  <a:lnTo>
                    <a:pt x="159" y="29"/>
                  </a:lnTo>
                  <a:lnTo>
                    <a:pt x="159" y="29"/>
                  </a:lnTo>
                  <a:lnTo>
                    <a:pt x="159" y="29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4"/>
                  </a:lnTo>
                  <a:lnTo>
                    <a:pt x="157" y="24"/>
                  </a:lnTo>
                  <a:lnTo>
                    <a:pt x="157" y="24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59" y="22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4" y="20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6" y="20"/>
                  </a:lnTo>
                  <a:lnTo>
                    <a:pt x="166" y="20"/>
                  </a:lnTo>
                  <a:lnTo>
                    <a:pt x="166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1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20"/>
                  </a:lnTo>
                  <a:lnTo>
                    <a:pt x="175" y="18"/>
                  </a:lnTo>
                  <a:lnTo>
                    <a:pt x="175" y="18"/>
                  </a:lnTo>
                  <a:lnTo>
                    <a:pt x="175" y="18"/>
                  </a:lnTo>
                  <a:lnTo>
                    <a:pt x="175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8"/>
                  </a:lnTo>
                  <a:lnTo>
                    <a:pt x="173" y="15"/>
                  </a:lnTo>
                  <a:lnTo>
                    <a:pt x="173" y="15"/>
                  </a:lnTo>
                  <a:lnTo>
                    <a:pt x="173" y="15"/>
                  </a:lnTo>
                  <a:lnTo>
                    <a:pt x="173" y="15"/>
                  </a:lnTo>
                  <a:lnTo>
                    <a:pt x="173" y="15"/>
                  </a:lnTo>
                  <a:lnTo>
                    <a:pt x="171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3" y="11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5" y="6"/>
                  </a:lnTo>
                  <a:lnTo>
                    <a:pt x="175" y="6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4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0" y="2"/>
                  </a:lnTo>
                  <a:lnTo>
                    <a:pt x="180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0"/>
                  </a:lnTo>
                  <a:lnTo>
                    <a:pt x="184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6" name="Freeform 676"/>
            <p:cNvSpPr>
              <a:spLocks/>
            </p:cNvSpPr>
            <p:nvPr/>
          </p:nvSpPr>
          <p:spPr bwMode="auto">
            <a:xfrm>
              <a:off x="3725442" y="3736767"/>
              <a:ext cx="105300" cy="145413"/>
            </a:xfrm>
            <a:custGeom>
              <a:avLst/>
              <a:gdLst>
                <a:gd name="T0" fmla="*/ 31 w 63"/>
                <a:gd name="T1" fmla="*/ 6 h 87"/>
                <a:gd name="T2" fmla="*/ 36 w 63"/>
                <a:gd name="T3" fmla="*/ 9 h 87"/>
                <a:gd name="T4" fmla="*/ 40 w 63"/>
                <a:gd name="T5" fmla="*/ 11 h 87"/>
                <a:gd name="T6" fmla="*/ 45 w 63"/>
                <a:gd name="T7" fmla="*/ 18 h 87"/>
                <a:gd name="T8" fmla="*/ 49 w 63"/>
                <a:gd name="T9" fmla="*/ 20 h 87"/>
                <a:gd name="T10" fmla="*/ 49 w 63"/>
                <a:gd name="T11" fmla="*/ 24 h 87"/>
                <a:gd name="T12" fmla="*/ 49 w 63"/>
                <a:gd name="T13" fmla="*/ 24 h 87"/>
                <a:gd name="T14" fmla="*/ 54 w 63"/>
                <a:gd name="T15" fmla="*/ 24 h 87"/>
                <a:gd name="T16" fmla="*/ 58 w 63"/>
                <a:gd name="T17" fmla="*/ 31 h 87"/>
                <a:gd name="T18" fmla="*/ 58 w 63"/>
                <a:gd name="T19" fmla="*/ 33 h 87"/>
                <a:gd name="T20" fmla="*/ 58 w 63"/>
                <a:gd name="T21" fmla="*/ 27 h 87"/>
                <a:gd name="T22" fmla="*/ 61 w 63"/>
                <a:gd name="T23" fmla="*/ 31 h 87"/>
                <a:gd name="T24" fmla="*/ 63 w 63"/>
                <a:gd name="T25" fmla="*/ 33 h 87"/>
                <a:gd name="T26" fmla="*/ 63 w 63"/>
                <a:gd name="T27" fmla="*/ 36 h 87"/>
                <a:gd name="T28" fmla="*/ 63 w 63"/>
                <a:gd name="T29" fmla="*/ 42 h 87"/>
                <a:gd name="T30" fmla="*/ 58 w 63"/>
                <a:gd name="T31" fmla="*/ 47 h 87"/>
                <a:gd name="T32" fmla="*/ 56 w 63"/>
                <a:gd name="T33" fmla="*/ 49 h 87"/>
                <a:gd name="T34" fmla="*/ 54 w 63"/>
                <a:gd name="T35" fmla="*/ 54 h 87"/>
                <a:gd name="T36" fmla="*/ 52 w 63"/>
                <a:gd name="T37" fmla="*/ 60 h 87"/>
                <a:gd name="T38" fmla="*/ 49 w 63"/>
                <a:gd name="T39" fmla="*/ 65 h 87"/>
                <a:gd name="T40" fmla="*/ 47 w 63"/>
                <a:gd name="T41" fmla="*/ 69 h 87"/>
                <a:gd name="T42" fmla="*/ 43 w 63"/>
                <a:gd name="T43" fmla="*/ 76 h 87"/>
                <a:gd name="T44" fmla="*/ 45 w 63"/>
                <a:gd name="T45" fmla="*/ 78 h 87"/>
                <a:gd name="T46" fmla="*/ 38 w 63"/>
                <a:gd name="T47" fmla="*/ 83 h 87"/>
                <a:gd name="T48" fmla="*/ 36 w 63"/>
                <a:gd name="T49" fmla="*/ 85 h 87"/>
                <a:gd name="T50" fmla="*/ 31 w 63"/>
                <a:gd name="T51" fmla="*/ 85 h 87"/>
                <a:gd name="T52" fmla="*/ 29 w 63"/>
                <a:gd name="T53" fmla="*/ 85 h 87"/>
                <a:gd name="T54" fmla="*/ 27 w 63"/>
                <a:gd name="T55" fmla="*/ 83 h 87"/>
                <a:gd name="T56" fmla="*/ 22 w 63"/>
                <a:gd name="T57" fmla="*/ 83 h 87"/>
                <a:gd name="T58" fmla="*/ 20 w 63"/>
                <a:gd name="T59" fmla="*/ 83 h 87"/>
                <a:gd name="T60" fmla="*/ 18 w 63"/>
                <a:gd name="T61" fmla="*/ 83 h 87"/>
                <a:gd name="T62" fmla="*/ 16 w 63"/>
                <a:gd name="T63" fmla="*/ 85 h 87"/>
                <a:gd name="T64" fmla="*/ 13 w 63"/>
                <a:gd name="T65" fmla="*/ 85 h 87"/>
                <a:gd name="T66" fmla="*/ 11 w 63"/>
                <a:gd name="T67" fmla="*/ 87 h 87"/>
                <a:gd name="T68" fmla="*/ 7 w 63"/>
                <a:gd name="T69" fmla="*/ 87 h 87"/>
                <a:gd name="T70" fmla="*/ 4 w 63"/>
                <a:gd name="T71" fmla="*/ 85 h 87"/>
                <a:gd name="T72" fmla="*/ 2 w 63"/>
                <a:gd name="T73" fmla="*/ 83 h 87"/>
                <a:gd name="T74" fmla="*/ 2 w 63"/>
                <a:gd name="T75" fmla="*/ 83 h 87"/>
                <a:gd name="T76" fmla="*/ 7 w 63"/>
                <a:gd name="T77" fmla="*/ 78 h 87"/>
                <a:gd name="T78" fmla="*/ 11 w 63"/>
                <a:gd name="T79" fmla="*/ 69 h 87"/>
                <a:gd name="T80" fmla="*/ 11 w 63"/>
                <a:gd name="T81" fmla="*/ 67 h 87"/>
                <a:gd name="T82" fmla="*/ 11 w 63"/>
                <a:gd name="T83" fmla="*/ 65 h 87"/>
                <a:gd name="T84" fmla="*/ 11 w 63"/>
                <a:gd name="T85" fmla="*/ 65 h 87"/>
                <a:gd name="T86" fmla="*/ 13 w 63"/>
                <a:gd name="T87" fmla="*/ 58 h 87"/>
                <a:gd name="T88" fmla="*/ 13 w 63"/>
                <a:gd name="T89" fmla="*/ 54 h 87"/>
                <a:gd name="T90" fmla="*/ 13 w 63"/>
                <a:gd name="T91" fmla="*/ 51 h 87"/>
                <a:gd name="T92" fmla="*/ 11 w 63"/>
                <a:gd name="T93" fmla="*/ 47 h 87"/>
                <a:gd name="T94" fmla="*/ 9 w 63"/>
                <a:gd name="T95" fmla="*/ 45 h 87"/>
                <a:gd name="T96" fmla="*/ 7 w 63"/>
                <a:gd name="T97" fmla="*/ 40 h 87"/>
                <a:gd name="T98" fmla="*/ 7 w 63"/>
                <a:gd name="T99" fmla="*/ 38 h 87"/>
                <a:gd name="T100" fmla="*/ 4 w 63"/>
                <a:gd name="T101" fmla="*/ 31 h 87"/>
                <a:gd name="T102" fmla="*/ 7 w 63"/>
                <a:gd name="T103" fmla="*/ 27 h 87"/>
                <a:gd name="T104" fmla="*/ 4 w 63"/>
                <a:gd name="T105" fmla="*/ 22 h 87"/>
                <a:gd name="T106" fmla="*/ 7 w 63"/>
                <a:gd name="T107" fmla="*/ 18 h 87"/>
                <a:gd name="T108" fmla="*/ 9 w 63"/>
                <a:gd name="T109" fmla="*/ 13 h 87"/>
                <a:gd name="T110" fmla="*/ 13 w 63"/>
                <a:gd name="T111" fmla="*/ 9 h 87"/>
                <a:gd name="T112" fmla="*/ 18 w 63"/>
                <a:gd name="T113" fmla="*/ 0 h 87"/>
                <a:gd name="T114" fmla="*/ 20 w 63"/>
                <a:gd name="T115" fmla="*/ 2 h 87"/>
                <a:gd name="T116" fmla="*/ 27 w 63"/>
                <a:gd name="T117" fmla="*/ 6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3" h="87">
                  <a:moveTo>
                    <a:pt x="29" y="6"/>
                  </a:moveTo>
                  <a:lnTo>
                    <a:pt x="29" y="6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40" y="11"/>
                  </a:lnTo>
                  <a:lnTo>
                    <a:pt x="43" y="13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6" y="24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6"/>
                  </a:lnTo>
                  <a:lnTo>
                    <a:pt x="56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1" y="47"/>
                  </a:lnTo>
                  <a:lnTo>
                    <a:pt x="58" y="47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7" y="67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40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5" y="83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18" y="83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11" y="63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9" y="15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2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9" y="6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7" name="Freeform 677"/>
            <p:cNvSpPr>
              <a:spLocks/>
            </p:cNvSpPr>
            <p:nvPr/>
          </p:nvSpPr>
          <p:spPr bwMode="auto">
            <a:xfrm>
              <a:off x="3514842" y="3375739"/>
              <a:ext cx="15043" cy="18385"/>
            </a:xfrm>
            <a:custGeom>
              <a:avLst/>
              <a:gdLst>
                <a:gd name="T0" fmla="*/ 5 w 9"/>
                <a:gd name="T1" fmla="*/ 2 h 11"/>
                <a:gd name="T2" fmla="*/ 7 w 9"/>
                <a:gd name="T3" fmla="*/ 2 h 11"/>
                <a:gd name="T4" fmla="*/ 7 w 9"/>
                <a:gd name="T5" fmla="*/ 2 h 11"/>
                <a:gd name="T6" fmla="*/ 7 w 9"/>
                <a:gd name="T7" fmla="*/ 2 h 11"/>
                <a:gd name="T8" fmla="*/ 7 w 9"/>
                <a:gd name="T9" fmla="*/ 4 h 11"/>
                <a:gd name="T10" fmla="*/ 7 w 9"/>
                <a:gd name="T11" fmla="*/ 4 h 11"/>
                <a:gd name="T12" fmla="*/ 7 w 9"/>
                <a:gd name="T13" fmla="*/ 4 h 11"/>
                <a:gd name="T14" fmla="*/ 7 w 9"/>
                <a:gd name="T15" fmla="*/ 4 h 11"/>
                <a:gd name="T16" fmla="*/ 7 w 9"/>
                <a:gd name="T17" fmla="*/ 4 h 11"/>
                <a:gd name="T18" fmla="*/ 7 w 9"/>
                <a:gd name="T19" fmla="*/ 4 h 11"/>
                <a:gd name="T20" fmla="*/ 7 w 9"/>
                <a:gd name="T21" fmla="*/ 7 h 11"/>
                <a:gd name="T22" fmla="*/ 7 w 9"/>
                <a:gd name="T23" fmla="*/ 7 h 11"/>
                <a:gd name="T24" fmla="*/ 7 w 9"/>
                <a:gd name="T25" fmla="*/ 7 h 11"/>
                <a:gd name="T26" fmla="*/ 7 w 9"/>
                <a:gd name="T27" fmla="*/ 7 h 11"/>
                <a:gd name="T28" fmla="*/ 7 w 9"/>
                <a:gd name="T29" fmla="*/ 9 h 11"/>
                <a:gd name="T30" fmla="*/ 7 w 9"/>
                <a:gd name="T31" fmla="*/ 9 h 11"/>
                <a:gd name="T32" fmla="*/ 7 w 9"/>
                <a:gd name="T33" fmla="*/ 9 h 11"/>
                <a:gd name="T34" fmla="*/ 9 w 9"/>
                <a:gd name="T35" fmla="*/ 9 h 11"/>
                <a:gd name="T36" fmla="*/ 7 w 9"/>
                <a:gd name="T37" fmla="*/ 11 h 11"/>
                <a:gd name="T38" fmla="*/ 7 w 9"/>
                <a:gd name="T39" fmla="*/ 11 h 11"/>
                <a:gd name="T40" fmla="*/ 7 w 9"/>
                <a:gd name="T41" fmla="*/ 11 h 11"/>
                <a:gd name="T42" fmla="*/ 7 w 9"/>
                <a:gd name="T43" fmla="*/ 9 h 11"/>
                <a:gd name="T44" fmla="*/ 7 w 9"/>
                <a:gd name="T45" fmla="*/ 9 h 11"/>
                <a:gd name="T46" fmla="*/ 7 w 9"/>
                <a:gd name="T47" fmla="*/ 9 h 11"/>
                <a:gd name="T48" fmla="*/ 5 w 9"/>
                <a:gd name="T49" fmla="*/ 9 h 11"/>
                <a:gd name="T50" fmla="*/ 2 w 9"/>
                <a:gd name="T51" fmla="*/ 9 h 11"/>
                <a:gd name="T52" fmla="*/ 2 w 9"/>
                <a:gd name="T53" fmla="*/ 9 h 11"/>
                <a:gd name="T54" fmla="*/ 2 w 9"/>
                <a:gd name="T55" fmla="*/ 9 h 11"/>
                <a:gd name="T56" fmla="*/ 2 w 9"/>
                <a:gd name="T57" fmla="*/ 7 h 11"/>
                <a:gd name="T58" fmla="*/ 5 w 9"/>
                <a:gd name="T59" fmla="*/ 7 h 11"/>
                <a:gd name="T60" fmla="*/ 5 w 9"/>
                <a:gd name="T61" fmla="*/ 7 h 11"/>
                <a:gd name="T62" fmla="*/ 2 w 9"/>
                <a:gd name="T63" fmla="*/ 7 h 11"/>
                <a:gd name="T64" fmla="*/ 2 w 9"/>
                <a:gd name="T65" fmla="*/ 7 h 11"/>
                <a:gd name="T66" fmla="*/ 2 w 9"/>
                <a:gd name="T67" fmla="*/ 7 h 11"/>
                <a:gd name="T68" fmla="*/ 0 w 9"/>
                <a:gd name="T69" fmla="*/ 4 h 11"/>
                <a:gd name="T70" fmla="*/ 0 w 9"/>
                <a:gd name="T71" fmla="*/ 4 h 11"/>
                <a:gd name="T72" fmla="*/ 0 w 9"/>
                <a:gd name="T73" fmla="*/ 4 h 11"/>
                <a:gd name="T74" fmla="*/ 0 w 9"/>
                <a:gd name="T75" fmla="*/ 4 h 11"/>
                <a:gd name="T76" fmla="*/ 0 w 9"/>
                <a:gd name="T77" fmla="*/ 2 h 11"/>
                <a:gd name="T78" fmla="*/ 0 w 9"/>
                <a:gd name="T79" fmla="*/ 2 h 11"/>
                <a:gd name="T80" fmla="*/ 0 w 9"/>
                <a:gd name="T81" fmla="*/ 0 h 11"/>
                <a:gd name="T82" fmla="*/ 2 w 9"/>
                <a:gd name="T83" fmla="*/ 0 h 11"/>
                <a:gd name="T84" fmla="*/ 5 w 9"/>
                <a:gd name="T85" fmla="*/ 2 h 11"/>
                <a:gd name="T86" fmla="*/ 5 w 9"/>
                <a:gd name="T8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" h="11">
                  <a:moveTo>
                    <a:pt x="5" y="2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7" y="9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8" name="Freeform 678"/>
            <p:cNvSpPr>
              <a:spLocks/>
            </p:cNvSpPr>
            <p:nvPr/>
          </p:nvSpPr>
          <p:spPr bwMode="auto">
            <a:xfrm>
              <a:off x="3514842" y="3330610"/>
              <a:ext cx="3343" cy="3343"/>
            </a:xfrm>
            <a:custGeom>
              <a:avLst/>
              <a:gdLst>
                <a:gd name="T0" fmla="*/ 2 w 2"/>
                <a:gd name="T1" fmla="*/ 2 h 2"/>
                <a:gd name="T2" fmla="*/ 0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0 w 2"/>
                <a:gd name="T9" fmla="*/ 2 h 2"/>
                <a:gd name="T10" fmla="*/ 0 w 2"/>
                <a:gd name="T11" fmla="*/ 2 h 2"/>
                <a:gd name="T12" fmla="*/ 0 w 2"/>
                <a:gd name="T13" fmla="*/ 2 h 2"/>
                <a:gd name="T14" fmla="*/ 0 w 2"/>
                <a:gd name="T15" fmla="*/ 2 h 2"/>
                <a:gd name="T16" fmla="*/ 0 w 2"/>
                <a:gd name="T17" fmla="*/ 2 h 2"/>
                <a:gd name="T18" fmla="*/ 0 w 2"/>
                <a:gd name="T19" fmla="*/ 2 h 2"/>
                <a:gd name="T20" fmla="*/ 0 w 2"/>
                <a:gd name="T21" fmla="*/ 2 h 2"/>
                <a:gd name="T22" fmla="*/ 0 w 2"/>
                <a:gd name="T23" fmla="*/ 0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2 w 2"/>
                <a:gd name="T31" fmla="*/ 0 h 2"/>
                <a:gd name="T32" fmla="*/ 2 w 2"/>
                <a:gd name="T33" fmla="*/ 0 h 2"/>
                <a:gd name="T34" fmla="*/ 2 w 2"/>
                <a:gd name="T35" fmla="*/ 2 h 2"/>
                <a:gd name="T36" fmla="*/ 2 w 2"/>
                <a:gd name="T37" fmla="*/ 2 h 2"/>
                <a:gd name="T38" fmla="*/ 2 w 2"/>
                <a:gd name="T39" fmla="*/ 2 h 2"/>
                <a:gd name="T40" fmla="*/ 2 w 2"/>
                <a:gd name="T41" fmla="*/ 2 h 2"/>
                <a:gd name="T42" fmla="*/ 2 w 2"/>
                <a:gd name="T43" fmla="*/ 2 h 2"/>
                <a:gd name="T44" fmla="*/ 2 w 2"/>
                <a:gd name="T45" fmla="*/ 2 h 2"/>
                <a:gd name="T46" fmla="*/ 2 w 2"/>
                <a:gd name="T47" fmla="*/ 2 h 2"/>
                <a:gd name="T48" fmla="*/ 2 w 2"/>
                <a:gd name="T49" fmla="*/ 2 h 2"/>
                <a:gd name="T50" fmla="*/ 2 w 2"/>
                <a:gd name="T5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9" name="Freeform 679"/>
            <p:cNvSpPr>
              <a:spLocks/>
            </p:cNvSpPr>
            <p:nvPr/>
          </p:nvSpPr>
          <p:spPr bwMode="auto">
            <a:xfrm>
              <a:off x="3523199" y="3315568"/>
              <a:ext cx="3343" cy="3343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0 h 2"/>
                <a:gd name="T10" fmla="*/ 2 w 2"/>
                <a:gd name="T11" fmla="*/ 0 h 2"/>
                <a:gd name="T12" fmla="*/ 2 w 2"/>
                <a:gd name="T13" fmla="*/ 0 h 2"/>
                <a:gd name="T14" fmla="*/ 2 w 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0" name="Freeform 680"/>
            <p:cNvSpPr>
              <a:spLocks/>
            </p:cNvSpPr>
            <p:nvPr/>
          </p:nvSpPr>
          <p:spPr bwMode="auto">
            <a:xfrm>
              <a:off x="3499799" y="3315568"/>
              <a:ext cx="8358" cy="18385"/>
            </a:xfrm>
            <a:custGeom>
              <a:avLst/>
              <a:gdLst>
                <a:gd name="T0" fmla="*/ 5 w 5"/>
                <a:gd name="T1" fmla="*/ 2 h 11"/>
                <a:gd name="T2" fmla="*/ 5 w 5"/>
                <a:gd name="T3" fmla="*/ 2 h 11"/>
                <a:gd name="T4" fmla="*/ 5 w 5"/>
                <a:gd name="T5" fmla="*/ 2 h 11"/>
                <a:gd name="T6" fmla="*/ 5 w 5"/>
                <a:gd name="T7" fmla="*/ 2 h 11"/>
                <a:gd name="T8" fmla="*/ 5 w 5"/>
                <a:gd name="T9" fmla="*/ 2 h 11"/>
                <a:gd name="T10" fmla="*/ 5 w 5"/>
                <a:gd name="T11" fmla="*/ 2 h 11"/>
                <a:gd name="T12" fmla="*/ 5 w 5"/>
                <a:gd name="T13" fmla="*/ 2 h 11"/>
                <a:gd name="T14" fmla="*/ 5 w 5"/>
                <a:gd name="T15" fmla="*/ 2 h 11"/>
                <a:gd name="T16" fmla="*/ 5 w 5"/>
                <a:gd name="T17" fmla="*/ 2 h 11"/>
                <a:gd name="T18" fmla="*/ 5 w 5"/>
                <a:gd name="T19" fmla="*/ 2 h 11"/>
                <a:gd name="T20" fmla="*/ 5 w 5"/>
                <a:gd name="T21" fmla="*/ 2 h 11"/>
                <a:gd name="T22" fmla="*/ 5 w 5"/>
                <a:gd name="T23" fmla="*/ 2 h 11"/>
                <a:gd name="T24" fmla="*/ 5 w 5"/>
                <a:gd name="T25" fmla="*/ 4 h 11"/>
                <a:gd name="T26" fmla="*/ 5 w 5"/>
                <a:gd name="T27" fmla="*/ 4 h 11"/>
                <a:gd name="T28" fmla="*/ 5 w 5"/>
                <a:gd name="T29" fmla="*/ 4 h 11"/>
                <a:gd name="T30" fmla="*/ 5 w 5"/>
                <a:gd name="T31" fmla="*/ 4 h 11"/>
                <a:gd name="T32" fmla="*/ 5 w 5"/>
                <a:gd name="T33" fmla="*/ 4 h 11"/>
                <a:gd name="T34" fmla="*/ 5 w 5"/>
                <a:gd name="T35" fmla="*/ 7 h 11"/>
                <a:gd name="T36" fmla="*/ 5 w 5"/>
                <a:gd name="T37" fmla="*/ 7 h 11"/>
                <a:gd name="T38" fmla="*/ 5 w 5"/>
                <a:gd name="T39" fmla="*/ 9 h 11"/>
                <a:gd name="T40" fmla="*/ 2 w 5"/>
                <a:gd name="T41" fmla="*/ 9 h 11"/>
                <a:gd name="T42" fmla="*/ 2 w 5"/>
                <a:gd name="T43" fmla="*/ 9 h 11"/>
                <a:gd name="T44" fmla="*/ 0 w 5"/>
                <a:gd name="T45" fmla="*/ 11 h 11"/>
                <a:gd name="T46" fmla="*/ 0 w 5"/>
                <a:gd name="T47" fmla="*/ 11 h 11"/>
                <a:gd name="T48" fmla="*/ 0 w 5"/>
                <a:gd name="T49" fmla="*/ 9 h 11"/>
                <a:gd name="T50" fmla="*/ 0 w 5"/>
                <a:gd name="T51" fmla="*/ 9 h 11"/>
                <a:gd name="T52" fmla="*/ 0 w 5"/>
                <a:gd name="T53" fmla="*/ 9 h 11"/>
                <a:gd name="T54" fmla="*/ 0 w 5"/>
                <a:gd name="T55" fmla="*/ 9 h 11"/>
                <a:gd name="T56" fmla="*/ 0 w 5"/>
                <a:gd name="T57" fmla="*/ 9 h 11"/>
                <a:gd name="T58" fmla="*/ 0 w 5"/>
                <a:gd name="T59" fmla="*/ 9 h 11"/>
                <a:gd name="T60" fmla="*/ 0 w 5"/>
                <a:gd name="T61" fmla="*/ 9 h 11"/>
                <a:gd name="T62" fmla="*/ 0 w 5"/>
                <a:gd name="T63" fmla="*/ 9 h 11"/>
                <a:gd name="T64" fmla="*/ 0 w 5"/>
                <a:gd name="T65" fmla="*/ 9 h 11"/>
                <a:gd name="T66" fmla="*/ 0 w 5"/>
                <a:gd name="T67" fmla="*/ 9 h 11"/>
                <a:gd name="T68" fmla="*/ 0 w 5"/>
                <a:gd name="T69" fmla="*/ 7 h 11"/>
                <a:gd name="T70" fmla="*/ 0 w 5"/>
                <a:gd name="T71" fmla="*/ 4 h 11"/>
                <a:gd name="T72" fmla="*/ 0 w 5"/>
                <a:gd name="T73" fmla="*/ 4 h 11"/>
                <a:gd name="T74" fmla="*/ 0 w 5"/>
                <a:gd name="T75" fmla="*/ 4 h 11"/>
                <a:gd name="T76" fmla="*/ 0 w 5"/>
                <a:gd name="T77" fmla="*/ 4 h 11"/>
                <a:gd name="T78" fmla="*/ 0 w 5"/>
                <a:gd name="T79" fmla="*/ 4 h 11"/>
                <a:gd name="T80" fmla="*/ 0 w 5"/>
                <a:gd name="T81" fmla="*/ 2 h 11"/>
                <a:gd name="T82" fmla="*/ 0 w 5"/>
                <a:gd name="T83" fmla="*/ 2 h 11"/>
                <a:gd name="T84" fmla="*/ 0 w 5"/>
                <a:gd name="T85" fmla="*/ 2 h 11"/>
                <a:gd name="T86" fmla="*/ 0 w 5"/>
                <a:gd name="T87" fmla="*/ 2 h 11"/>
                <a:gd name="T88" fmla="*/ 0 w 5"/>
                <a:gd name="T89" fmla="*/ 2 h 11"/>
                <a:gd name="T90" fmla="*/ 0 w 5"/>
                <a:gd name="T91" fmla="*/ 0 h 11"/>
                <a:gd name="T92" fmla="*/ 0 w 5"/>
                <a:gd name="T93" fmla="*/ 0 h 11"/>
                <a:gd name="T94" fmla="*/ 0 w 5"/>
                <a:gd name="T95" fmla="*/ 0 h 11"/>
                <a:gd name="T96" fmla="*/ 0 w 5"/>
                <a:gd name="T97" fmla="*/ 0 h 11"/>
                <a:gd name="T98" fmla="*/ 2 w 5"/>
                <a:gd name="T99" fmla="*/ 0 h 11"/>
                <a:gd name="T100" fmla="*/ 2 w 5"/>
                <a:gd name="T101" fmla="*/ 0 h 11"/>
                <a:gd name="T102" fmla="*/ 2 w 5"/>
                <a:gd name="T103" fmla="*/ 0 h 11"/>
                <a:gd name="T104" fmla="*/ 2 w 5"/>
                <a:gd name="T105" fmla="*/ 2 h 11"/>
                <a:gd name="T106" fmla="*/ 2 w 5"/>
                <a:gd name="T107" fmla="*/ 2 h 11"/>
                <a:gd name="T108" fmla="*/ 5 w 5"/>
                <a:gd name="T109" fmla="*/ 2 h 11"/>
                <a:gd name="T110" fmla="*/ 2 w 5"/>
                <a:gd name="T111" fmla="*/ 2 h 11"/>
                <a:gd name="T112" fmla="*/ 5 w 5"/>
                <a:gd name="T1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" h="11">
                  <a:moveTo>
                    <a:pt x="5" y="2"/>
                  </a:move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2"/>
                  </a:lnTo>
                  <a:lnTo>
                    <a:pt x="2" y="2"/>
                  </a:lnTo>
                  <a:lnTo>
                    <a:pt x="5" y="2"/>
                  </a:lnTo>
                  <a:lnTo>
                    <a:pt x="2" y="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1" name="Freeform 681"/>
            <p:cNvSpPr>
              <a:spLocks/>
            </p:cNvSpPr>
            <p:nvPr/>
          </p:nvSpPr>
          <p:spPr bwMode="auto">
            <a:xfrm>
              <a:off x="3508157" y="3312225"/>
              <a:ext cx="15043" cy="10029"/>
            </a:xfrm>
            <a:custGeom>
              <a:avLst/>
              <a:gdLst>
                <a:gd name="T0" fmla="*/ 4 w 9"/>
                <a:gd name="T1" fmla="*/ 2 h 6"/>
                <a:gd name="T2" fmla="*/ 4 w 9"/>
                <a:gd name="T3" fmla="*/ 4 h 6"/>
                <a:gd name="T4" fmla="*/ 4 w 9"/>
                <a:gd name="T5" fmla="*/ 2 h 6"/>
                <a:gd name="T6" fmla="*/ 4 w 9"/>
                <a:gd name="T7" fmla="*/ 4 h 6"/>
                <a:gd name="T8" fmla="*/ 4 w 9"/>
                <a:gd name="T9" fmla="*/ 4 h 6"/>
                <a:gd name="T10" fmla="*/ 4 w 9"/>
                <a:gd name="T11" fmla="*/ 4 h 6"/>
                <a:gd name="T12" fmla="*/ 6 w 9"/>
                <a:gd name="T13" fmla="*/ 4 h 6"/>
                <a:gd name="T14" fmla="*/ 6 w 9"/>
                <a:gd name="T15" fmla="*/ 4 h 6"/>
                <a:gd name="T16" fmla="*/ 6 w 9"/>
                <a:gd name="T17" fmla="*/ 4 h 6"/>
                <a:gd name="T18" fmla="*/ 6 w 9"/>
                <a:gd name="T19" fmla="*/ 4 h 6"/>
                <a:gd name="T20" fmla="*/ 6 w 9"/>
                <a:gd name="T21" fmla="*/ 4 h 6"/>
                <a:gd name="T22" fmla="*/ 6 w 9"/>
                <a:gd name="T23" fmla="*/ 4 h 6"/>
                <a:gd name="T24" fmla="*/ 9 w 9"/>
                <a:gd name="T25" fmla="*/ 4 h 6"/>
                <a:gd name="T26" fmla="*/ 9 w 9"/>
                <a:gd name="T27" fmla="*/ 4 h 6"/>
                <a:gd name="T28" fmla="*/ 6 w 9"/>
                <a:gd name="T29" fmla="*/ 6 h 6"/>
                <a:gd name="T30" fmla="*/ 6 w 9"/>
                <a:gd name="T31" fmla="*/ 6 h 6"/>
                <a:gd name="T32" fmla="*/ 6 w 9"/>
                <a:gd name="T33" fmla="*/ 4 h 6"/>
                <a:gd name="T34" fmla="*/ 6 w 9"/>
                <a:gd name="T35" fmla="*/ 4 h 6"/>
                <a:gd name="T36" fmla="*/ 6 w 9"/>
                <a:gd name="T37" fmla="*/ 4 h 6"/>
                <a:gd name="T38" fmla="*/ 2 w 9"/>
                <a:gd name="T39" fmla="*/ 6 h 6"/>
                <a:gd name="T40" fmla="*/ 2 w 9"/>
                <a:gd name="T41" fmla="*/ 6 h 6"/>
                <a:gd name="T42" fmla="*/ 2 w 9"/>
                <a:gd name="T43" fmla="*/ 6 h 6"/>
                <a:gd name="T44" fmla="*/ 2 w 9"/>
                <a:gd name="T45" fmla="*/ 6 h 6"/>
                <a:gd name="T46" fmla="*/ 0 w 9"/>
                <a:gd name="T47" fmla="*/ 6 h 6"/>
                <a:gd name="T48" fmla="*/ 0 w 9"/>
                <a:gd name="T49" fmla="*/ 6 h 6"/>
                <a:gd name="T50" fmla="*/ 0 w 9"/>
                <a:gd name="T51" fmla="*/ 6 h 6"/>
                <a:gd name="T52" fmla="*/ 0 w 9"/>
                <a:gd name="T53" fmla="*/ 6 h 6"/>
                <a:gd name="T54" fmla="*/ 0 w 9"/>
                <a:gd name="T55" fmla="*/ 4 h 6"/>
                <a:gd name="T56" fmla="*/ 0 w 9"/>
                <a:gd name="T57" fmla="*/ 4 h 6"/>
                <a:gd name="T58" fmla="*/ 0 w 9"/>
                <a:gd name="T59" fmla="*/ 4 h 6"/>
                <a:gd name="T60" fmla="*/ 0 w 9"/>
                <a:gd name="T61" fmla="*/ 4 h 6"/>
                <a:gd name="T62" fmla="*/ 0 w 9"/>
                <a:gd name="T63" fmla="*/ 4 h 6"/>
                <a:gd name="T64" fmla="*/ 0 w 9"/>
                <a:gd name="T65" fmla="*/ 4 h 6"/>
                <a:gd name="T66" fmla="*/ 0 w 9"/>
                <a:gd name="T67" fmla="*/ 2 h 6"/>
                <a:gd name="T68" fmla="*/ 2 w 9"/>
                <a:gd name="T69" fmla="*/ 2 h 6"/>
                <a:gd name="T70" fmla="*/ 2 w 9"/>
                <a:gd name="T71" fmla="*/ 2 h 6"/>
                <a:gd name="T72" fmla="*/ 2 w 9"/>
                <a:gd name="T73" fmla="*/ 2 h 6"/>
                <a:gd name="T74" fmla="*/ 2 w 9"/>
                <a:gd name="T75" fmla="*/ 2 h 6"/>
                <a:gd name="T76" fmla="*/ 2 w 9"/>
                <a:gd name="T77" fmla="*/ 2 h 6"/>
                <a:gd name="T78" fmla="*/ 2 w 9"/>
                <a:gd name="T79" fmla="*/ 2 h 6"/>
                <a:gd name="T80" fmla="*/ 2 w 9"/>
                <a:gd name="T81" fmla="*/ 2 h 6"/>
                <a:gd name="T82" fmla="*/ 0 w 9"/>
                <a:gd name="T83" fmla="*/ 2 h 6"/>
                <a:gd name="T84" fmla="*/ 0 w 9"/>
                <a:gd name="T85" fmla="*/ 2 h 6"/>
                <a:gd name="T86" fmla="*/ 0 w 9"/>
                <a:gd name="T87" fmla="*/ 2 h 6"/>
                <a:gd name="T88" fmla="*/ 0 w 9"/>
                <a:gd name="T89" fmla="*/ 0 h 6"/>
                <a:gd name="T90" fmla="*/ 0 w 9"/>
                <a:gd name="T91" fmla="*/ 0 h 6"/>
                <a:gd name="T92" fmla="*/ 0 w 9"/>
                <a:gd name="T93" fmla="*/ 0 h 6"/>
                <a:gd name="T94" fmla="*/ 2 w 9"/>
                <a:gd name="T95" fmla="*/ 0 h 6"/>
                <a:gd name="T96" fmla="*/ 2 w 9"/>
                <a:gd name="T97" fmla="*/ 0 h 6"/>
                <a:gd name="T98" fmla="*/ 2 w 9"/>
                <a:gd name="T99" fmla="*/ 0 h 6"/>
                <a:gd name="T100" fmla="*/ 2 w 9"/>
                <a:gd name="T101" fmla="*/ 0 h 6"/>
                <a:gd name="T102" fmla="*/ 2 w 9"/>
                <a:gd name="T103" fmla="*/ 0 h 6"/>
                <a:gd name="T104" fmla="*/ 2 w 9"/>
                <a:gd name="T105" fmla="*/ 0 h 6"/>
                <a:gd name="T106" fmla="*/ 2 w 9"/>
                <a:gd name="T107" fmla="*/ 0 h 6"/>
                <a:gd name="T108" fmla="*/ 4 w 9"/>
                <a:gd name="T109" fmla="*/ 0 h 6"/>
                <a:gd name="T110" fmla="*/ 4 w 9"/>
                <a:gd name="T111" fmla="*/ 0 h 6"/>
                <a:gd name="T112" fmla="*/ 4 w 9"/>
                <a:gd name="T113" fmla="*/ 2 h 6"/>
                <a:gd name="T114" fmla="*/ 4 w 9"/>
                <a:gd name="T115" fmla="*/ 2 h 6"/>
                <a:gd name="T116" fmla="*/ 4 w 9"/>
                <a:gd name="T117" fmla="*/ 2 h 6"/>
                <a:gd name="T118" fmla="*/ 4 w 9"/>
                <a:gd name="T119" fmla="*/ 2 h 6"/>
                <a:gd name="T120" fmla="*/ 4 w 9"/>
                <a:gd name="T121" fmla="*/ 2 h 6"/>
                <a:gd name="T122" fmla="*/ 4 w 9"/>
                <a:gd name="T123" fmla="*/ 2 h 6"/>
                <a:gd name="T124" fmla="*/ 4 w 9"/>
                <a:gd name="T125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" h="6">
                  <a:moveTo>
                    <a:pt x="4" y="2"/>
                  </a:move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9D9D9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2" name="Freeform 682"/>
            <p:cNvSpPr>
              <a:spLocks/>
            </p:cNvSpPr>
            <p:nvPr/>
          </p:nvSpPr>
          <p:spPr bwMode="auto">
            <a:xfrm>
              <a:off x="6222551" y="1786214"/>
              <a:ext cx="93600" cy="33429"/>
            </a:xfrm>
            <a:custGeom>
              <a:avLst/>
              <a:gdLst>
                <a:gd name="T0" fmla="*/ 34 w 56"/>
                <a:gd name="T1" fmla="*/ 2 h 20"/>
                <a:gd name="T2" fmla="*/ 36 w 56"/>
                <a:gd name="T3" fmla="*/ 2 h 20"/>
                <a:gd name="T4" fmla="*/ 38 w 56"/>
                <a:gd name="T5" fmla="*/ 4 h 20"/>
                <a:gd name="T6" fmla="*/ 40 w 56"/>
                <a:gd name="T7" fmla="*/ 4 h 20"/>
                <a:gd name="T8" fmla="*/ 40 w 56"/>
                <a:gd name="T9" fmla="*/ 4 h 20"/>
                <a:gd name="T10" fmla="*/ 43 w 56"/>
                <a:gd name="T11" fmla="*/ 4 h 20"/>
                <a:gd name="T12" fmla="*/ 47 w 56"/>
                <a:gd name="T13" fmla="*/ 4 h 20"/>
                <a:gd name="T14" fmla="*/ 49 w 56"/>
                <a:gd name="T15" fmla="*/ 4 h 20"/>
                <a:gd name="T16" fmla="*/ 52 w 56"/>
                <a:gd name="T17" fmla="*/ 6 h 20"/>
                <a:gd name="T18" fmla="*/ 54 w 56"/>
                <a:gd name="T19" fmla="*/ 6 h 20"/>
                <a:gd name="T20" fmla="*/ 54 w 56"/>
                <a:gd name="T21" fmla="*/ 6 h 20"/>
                <a:gd name="T22" fmla="*/ 56 w 56"/>
                <a:gd name="T23" fmla="*/ 9 h 20"/>
                <a:gd name="T24" fmla="*/ 56 w 56"/>
                <a:gd name="T25" fmla="*/ 11 h 20"/>
                <a:gd name="T26" fmla="*/ 54 w 56"/>
                <a:gd name="T27" fmla="*/ 11 h 20"/>
                <a:gd name="T28" fmla="*/ 54 w 56"/>
                <a:gd name="T29" fmla="*/ 11 h 20"/>
                <a:gd name="T30" fmla="*/ 54 w 56"/>
                <a:gd name="T31" fmla="*/ 13 h 20"/>
                <a:gd name="T32" fmla="*/ 54 w 56"/>
                <a:gd name="T33" fmla="*/ 13 h 20"/>
                <a:gd name="T34" fmla="*/ 54 w 56"/>
                <a:gd name="T35" fmla="*/ 18 h 20"/>
                <a:gd name="T36" fmla="*/ 52 w 56"/>
                <a:gd name="T37" fmla="*/ 20 h 20"/>
                <a:gd name="T38" fmla="*/ 22 w 56"/>
                <a:gd name="T39" fmla="*/ 20 h 20"/>
                <a:gd name="T40" fmla="*/ 0 w 56"/>
                <a:gd name="T41" fmla="*/ 18 h 20"/>
                <a:gd name="T42" fmla="*/ 2 w 56"/>
                <a:gd name="T43" fmla="*/ 15 h 20"/>
                <a:gd name="T44" fmla="*/ 4 w 56"/>
                <a:gd name="T45" fmla="*/ 13 h 20"/>
                <a:gd name="T46" fmla="*/ 4 w 56"/>
                <a:gd name="T47" fmla="*/ 13 h 20"/>
                <a:gd name="T48" fmla="*/ 4 w 56"/>
                <a:gd name="T49" fmla="*/ 11 h 20"/>
                <a:gd name="T50" fmla="*/ 4 w 56"/>
                <a:gd name="T51" fmla="*/ 9 h 20"/>
                <a:gd name="T52" fmla="*/ 4 w 56"/>
                <a:gd name="T53" fmla="*/ 6 h 20"/>
                <a:gd name="T54" fmla="*/ 4 w 56"/>
                <a:gd name="T55" fmla="*/ 6 h 20"/>
                <a:gd name="T56" fmla="*/ 7 w 56"/>
                <a:gd name="T57" fmla="*/ 6 h 20"/>
                <a:gd name="T58" fmla="*/ 13 w 56"/>
                <a:gd name="T59" fmla="*/ 6 h 20"/>
                <a:gd name="T60" fmla="*/ 20 w 56"/>
                <a:gd name="T61" fmla="*/ 0 h 20"/>
                <a:gd name="T62" fmla="*/ 20 w 56"/>
                <a:gd name="T63" fmla="*/ 0 h 20"/>
                <a:gd name="T64" fmla="*/ 20 w 56"/>
                <a:gd name="T65" fmla="*/ 0 h 20"/>
                <a:gd name="T66" fmla="*/ 20 w 56"/>
                <a:gd name="T67" fmla="*/ 0 h 20"/>
                <a:gd name="T68" fmla="*/ 20 w 56"/>
                <a:gd name="T69" fmla="*/ 2 h 20"/>
                <a:gd name="T70" fmla="*/ 18 w 56"/>
                <a:gd name="T71" fmla="*/ 2 h 20"/>
                <a:gd name="T72" fmla="*/ 13 w 56"/>
                <a:gd name="T73" fmla="*/ 6 h 20"/>
                <a:gd name="T74" fmla="*/ 16 w 56"/>
                <a:gd name="T75" fmla="*/ 6 h 20"/>
                <a:gd name="T76" fmla="*/ 18 w 56"/>
                <a:gd name="T77" fmla="*/ 6 h 20"/>
                <a:gd name="T78" fmla="*/ 22 w 56"/>
                <a:gd name="T79" fmla="*/ 6 h 20"/>
                <a:gd name="T80" fmla="*/ 25 w 56"/>
                <a:gd name="T81" fmla="*/ 6 h 20"/>
                <a:gd name="T82" fmla="*/ 25 w 56"/>
                <a:gd name="T83" fmla="*/ 6 h 20"/>
                <a:gd name="T84" fmla="*/ 27 w 56"/>
                <a:gd name="T85" fmla="*/ 6 h 20"/>
                <a:gd name="T86" fmla="*/ 25 w 56"/>
                <a:gd name="T87" fmla="*/ 2 h 20"/>
                <a:gd name="T88" fmla="*/ 25 w 56"/>
                <a:gd name="T89" fmla="*/ 2 h 20"/>
                <a:gd name="T90" fmla="*/ 25 w 56"/>
                <a:gd name="T91" fmla="*/ 0 h 20"/>
                <a:gd name="T92" fmla="*/ 27 w 56"/>
                <a:gd name="T93" fmla="*/ 0 h 20"/>
                <a:gd name="T94" fmla="*/ 27 w 56"/>
                <a:gd name="T95" fmla="*/ 0 h 20"/>
                <a:gd name="T96" fmla="*/ 29 w 56"/>
                <a:gd name="T9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6" h="20">
                  <a:moveTo>
                    <a:pt x="29" y="0"/>
                  </a:moveTo>
                  <a:lnTo>
                    <a:pt x="31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5" y="4"/>
                  </a:lnTo>
                  <a:lnTo>
                    <a:pt x="47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5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6" y="20"/>
                  </a:lnTo>
                  <a:lnTo>
                    <a:pt x="54" y="20"/>
                  </a:lnTo>
                  <a:lnTo>
                    <a:pt x="52" y="20"/>
                  </a:lnTo>
                  <a:lnTo>
                    <a:pt x="47" y="20"/>
                  </a:lnTo>
                  <a:lnTo>
                    <a:pt x="38" y="20"/>
                  </a:lnTo>
                  <a:lnTo>
                    <a:pt x="29" y="20"/>
                  </a:lnTo>
                  <a:lnTo>
                    <a:pt x="22" y="20"/>
                  </a:lnTo>
                  <a:lnTo>
                    <a:pt x="13" y="18"/>
                  </a:lnTo>
                  <a:lnTo>
                    <a:pt x="7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9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3" y="6"/>
                  </a:lnTo>
                  <a:lnTo>
                    <a:pt x="16" y="4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4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8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3" name="Freeform 553"/>
            <p:cNvSpPr>
              <a:spLocks/>
            </p:cNvSpPr>
            <p:nvPr/>
          </p:nvSpPr>
          <p:spPr bwMode="auto">
            <a:xfrm>
              <a:off x="5816394" y="1976756"/>
              <a:ext cx="26743" cy="30086"/>
            </a:xfrm>
            <a:custGeom>
              <a:avLst/>
              <a:gdLst>
                <a:gd name="T0" fmla="*/ 7 w 16"/>
                <a:gd name="T1" fmla="*/ 3 h 18"/>
                <a:gd name="T2" fmla="*/ 9 w 16"/>
                <a:gd name="T3" fmla="*/ 3 h 18"/>
                <a:gd name="T4" fmla="*/ 9 w 16"/>
                <a:gd name="T5" fmla="*/ 3 h 18"/>
                <a:gd name="T6" fmla="*/ 9 w 16"/>
                <a:gd name="T7" fmla="*/ 3 h 18"/>
                <a:gd name="T8" fmla="*/ 9 w 16"/>
                <a:gd name="T9" fmla="*/ 5 h 18"/>
                <a:gd name="T10" fmla="*/ 9 w 16"/>
                <a:gd name="T11" fmla="*/ 5 h 18"/>
                <a:gd name="T12" fmla="*/ 9 w 16"/>
                <a:gd name="T13" fmla="*/ 7 h 18"/>
                <a:gd name="T14" fmla="*/ 11 w 16"/>
                <a:gd name="T15" fmla="*/ 7 h 18"/>
                <a:gd name="T16" fmla="*/ 11 w 16"/>
                <a:gd name="T17" fmla="*/ 9 h 18"/>
                <a:gd name="T18" fmla="*/ 14 w 16"/>
                <a:gd name="T19" fmla="*/ 9 h 18"/>
                <a:gd name="T20" fmla="*/ 16 w 16"/>
                <a:gd name="T21" fmla="*/ 9 h 18"/>
                <a:gd name="T22" fmla="*/ 16 w 16"/>
                <a:gd name="T23" fmla="*/ 9 h 18"/>
                <a:gd name="T24" fmla="*/ 16 w 16"/>
                <a:gd name="T25" fmla="*/ 12 h 18"/>
                <a:gd name="T26" fmla="*/ 16 w 16"/>
                <a:gd name="T27" fmla="*/ 12 h 18"/>
                <a:gd name="T28" fmla="*/ 16 w 16"/>
                <a:gd name="T29" fmla="*/ 12 h 18"/>
                <a:gd name="T30" fmla="*/ 16 w 16"/>
                <a:gd name="T31" fmla="*/ 12 h 18"/>
                <a:gd name="T32" fmla="*/ 14 w 16"/>
                <a:gd name="T33" fmla="*/ 14 h 18"/>
                <a:gd name="T34" fmla="*/ 14 w 16"/>
                <a:gd name="T35" fmla="*/ 14 h 18"/>
                <a:gd name="T36" fmla="*/ 14 w 16"/>
                <a:gd name="T37" fmla="*/ 14 h 18"/>
                <a:gd name="T38" fmla="*/ 14 w 16"/>
                <a:gd name="T39" fmla="*/ 18 h 18"/>
                <a:gd name="T40" fmla="*/ 11 w 16"/>
                <a:gd name="T41" fmla="*/ 16 h 18"/>
                <a:gd name="T42" fmla="*/ 9 w 16"/>
                <a:gd name="T43" fmla="*/ 16 h 18"/>
                <a:gd name="T44" fmla="*/ 9 w 16"/>
                <a:gd name="T45" fmla="*/ 18 h 18"/>
                <a:gd name="T46" fmla="*/ 7 w 16"/>
                <a:gd name="T47" fmla="*/ 18 h 18"/>
                <a:gd name="T48" fmla="*/ 5 w 16"/>
                <a:gd name="T49" fmla="*/ 16 h 18"/>
                <a:gd name="T50" fmla="*/ 2 w 16"/>
                <a:gd name="T51" fmla="*/ 16 h 18"/>
                <a:gd name="T52" fmla="*/ 5 w 16"/>
                <a:gd name="T53" fmla="*/ 14 h 18"/>
                <a:gd name="T54" fmla="*/ 5 w 16"/>
                <a:gd name="T55" fmla="*/ 14 h 18"/>
                <a:gd name="T56" fmla="*/ 5 w 16"/>
                <a:gd name="T57" fmla="*/ 14 h 18"/>
                <a:gd name="T58" fmla="*/ 5 w 16"/>
                <a:gd name="T59" fmla="*/ 12 h 18"/>
                <a:gd name="T60" fmla="*/ 5 w 16"/>
                <a:gd name="T61" fmla="*/ 12 h 18"/>
                <a:gd name="T62" fmla="*/ 5 w 16"/>
                <a:gd name="T63" fmla="*/ 12 h 18"/>
                <a:gd name="T64" fmla="*/ 2 w 16"/>
                <a:gd name="T65" fmla="*/ 12 h 18"/>
                <a:gd name="T66" fmla="*/ 2 w 16"/>
                <a:gd name="T67" fmla="*/ 12 h 18"/>
                <a:gd name="T68" fmla="*/ 2 w 16"/>
                <a:gd name="T69" fmla="*/ 9 h 18"/>
                <a:gd name="T70" fmla="*/ 2 w 16"/>
                <a:gd name="T71" fmla="*/ 9 h 18"/>
                <a:gd name="T72" fmla="*/ 2 w 16"/>
                <a:gd name="T73" fmla="*/ 9 h 18"/>
                <a:gd name="T74" fmla="*/ 2 w 16"/>
                <a:gd name="T75" fmla="*/ 9 h 18"/>
                <a:gd name="T76" fmla="*/ 2 w 16"/>
                <a:gd name="T77" fmla="*/ 7 h 18"/>
                <a:gd name="T78" fmla="*/ 2 w 16"/>
                <a:gd name="T79" fmla="*/ 7 h 18"/>
                <a:gd name="T80" fmla="*/ 2 w 16"/>
                <a:gd name="T81" fmla="*/ 5 h 18"/>
                <a:gd name="T82" fmla="*/ 2 w 16"/>
                <a:gd name="T83" fmla="*/ 5 h 18"/>
                <a:gd name="T84" fmla="*/ 2 w 16"/>
                <a:gd name="T85" fmla="*/ 5 h 18"/>
                <a:gd name="T86" fmla="*/ 5 w 16"/>
                <a:gd name="T87" fmla="*/ 3 h 18"/>
                <a:gd name="T88" fmla="*/ 5 w 16"/>
                <a:gd name="T89" fmla="*/ 3 h 18"/>
                <a:gd name="T90" fmla="*/ 5 w 16"/>
                <a:gd name="T91" fmla="*/ 3 h 18"/>
                <a:gd name="T92" fmla="*/ 7 w 16"/>
                <a:gd name="T93" fmla="*/ 0 h 18"/>
                <a:gd name="T94" fmla="*/ 7 w 16"/>
                <a:gd name="T95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" h="18">
                  <a:moveTo>
                    <a:pt x="7" y="3"/>
                  </a:move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4" y="12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1" y="18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5" y="18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7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17A7DC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4" name="Freeform 643"/>
            <p:cNvSpPr>
              <a:spLocks/>
            </p:cNvSpPr>
            <p:nvPr/>
          </p:nvSpPr>
          <p:spPr bwMode="auto">
            <a:xfrm>
              <a:off x="5719452" y="1928285"/>
              <a:ext cx="120343" cy="75214"/>
            </a:xfrm>
            <a:custGeom>
              <a:avLst/>
              <a:gdLst>
                <a:gd name="T0" fmla="*/ 45 w 72"/>
                <a:gd name="T1" fmla="*/ 2 h 45"/>
                <a:gd name="T2" fmla="*/ 47 w 72"/>
                <a:gd name="T3" fmla="*/ 2 h 45"/>
                <a:gd name="T4" fmla="*/ 49 w 72"/>
                <a:gd name="T5" fmla="*/ 5 h 45"/>
                <a:gd name="T6" fmla="*/ 56 w 72"/>
                <a:gd name="T7" fmla="*/ 5 h 45"/>
                <a:gd name="T8" fmla="*/ 58 w 72"/>
                <a:gd name="T9" fmla="*/ 7 h 45"/>
                <a:gd name="T10" fmla="*/ 60 w 72"/>
                <a:gd name="T11" fmla="*/ 9 h 45"/>
                <a:gd name="T12" fmla="*/ 58 w 72"/>
                <a:gd name="T13" fmla="*/ 11 h 45"/>
                <a:gd name="T14" fmla="*/ 58 w 72"/>
                <a:gd name="T15" fmla="*/ 14 h 45"/>
                <a:gd name="T16" fmla="*/ 58 w 72"/>
                <a:gd name="T17" fmla="*/ 16 h 45"/>
                <a:gd name="T18" fmla="*/ 63 w 72"/>
                <a:gd name="T19" fmla="*/ 16 h 45"/>
                <a:gd name="T20" fmla="*/ 65 w 72"/>
                <a:gd name="T21" fmla="*/ 18 h 45"/>
                <a:gd name="T22" fmla="*/ 67 w 72"/>
                <a:gd name="T23" fmla="*/ 20 h 45"/>
                <a:gd name="T24" fmla="*/ 67 w 72"/>
                <a:gd name="T25" fmla="*/ 23 h 45"/>
                <a:gd name="T26" fmla="*/ 69 w 72"/>
                <a:gd name="T27" fmla="*/ 23 h 45"/>
                <a:gd name="T28" fmla="*/ 69 w 72"/>
                <a:gd name="T29" fmla="*/ 25 h 45"/>
                <a:gd name="T30" fmla="*/ 69 w 72"/>
                <a:gd name="T31" fmla="*/ 27 h 45"/>
                <a:gd name="T32" fmla="*/ 67 w 72"/>
                <a:gd name="T33" fmla="*/ 29 h 45"/>
                <a:gd name="T34" fmla="*/ 67 w 72"/>
                <a:gd name="T35" fmla="*/ 32 h 45"/>
                <a:gd name="T36" fmla="*/ 65 w 72"/>
                <a:gd name="T37" fmla="*/ 32 h 45"/>
                <a:gd name="T38" fmla="*/ 63 w 72"/>
                <a:gd name="T39" fmla="*/ 32 h 45"/>
                <a:gd name="T40" fmla="*/ 60 w 72"/>
                <a:gd name="T41" fmla="*/ 34 h 45"/>
                <a:gd name="T42" fmla="*/ 60 w 72"/>
                <a:gd name="T43" fmla="*/ 36 h 45"/>
                <a:gd name="T44" fmla="*/ 60 w 72"/>
                <a:gd name="T45" fmla="*/ 38 h 45"/>
                <a:gd name="T46" fmla="*/ 60 w 72"/>
                <a:gd name="T47" fmla="*/ 41 h 45"/>
                <a:gd name="T48" fmla="*/ 63 w 72"/>
                <a:gd name="T49" fmla="*/ 41 h 45"/>
                <a:gd name="T50" fmla="*/ 63 w 72"/>
                <a:gd name="T51" fmla="*/ 43 h 45"/>
                <a:gd name="T52" fmla="*/ 60 w 72"/>
                <a:gd name="T53" fmla="*/ 45 h 45"/>
                <a:gd name="T54" fmla="*/ 58 w 72"/>
                <a:gd name="T55" fmla="*/ 45 h 45"/>
                <a:gd name="T56" fmla="*/ 54 w 72"/>
                <a:gd name="T57" fmla="*/ 45 h 45"/>
                <a:gd name="T58" fmla="*/ 51 w 72"/>
                <a:gd name="T59" fmla="*/ 43 h 45"/>
                <a:gd name="T60" fmla="*/ 49 w 72"/>
                <a:gd name="T61" fmla="*/ 41 h 45"/>
                <a:gd name="T62" fmla="*/ 45 w 72"/>
                <a:gd name="T63" fmla="*/ 38 h 45"/>
                <a:gd name="T64" fmla="*/ 42 w 72"/>
                <a:gd name="T65" fmla="*/ 36 h 45"/>
                <a:gd name="T66" fmla="*/ 42 w 72"/>
                <a:gd name="T67" fmla="*/ 34 h 45"/>
                <a:gd name="T68" fmla="*/ 42 w 72"/>
                <a:gd name="T69" fmla="*/ 29 h 45"/>
                <a:gd name="T70" fmla="*/ 40 w 72"/>
                <a:gd name="T71" fmla="*/ 34 h 45"/>
                <a:gd name="T72" fmla="*/ 31 w 72"/>
                <a:gd name="T73" fmla="*/ 34 h 45"/>
                <a:gd name="T74" fmla="*/ 31 w 72"/>
                <a:gd name="T75" fmla="*/ 32 h 45"/>
                <a:gd name="T76" fmla="*/ 31 w 72"/>
                <a:gd name="T77" fmla="*/ 29 h 45"/>
                <a:gd name="T78" fmla="*/ 29 w 72"/>
                <a:gd name="T79" fmla="*/ 27 h 45"/>
                <a:gd name="T80" fmla="*/ 25 w 72"/>
                <a:gd name="T81" fmla="*/ 27 h 45"/>
                <a:gd name="T82" fmla="*/ 22 w 72"/>
                <a:gd name="T83" fmla="*/ 27 h 45"/>
                <a:gd name="T84" fmla="*/ 18 w 72"/>
                <a:gd name="T85" fmla="*/ 23 h 45"/>
                <a:gd name="T86" fmla="*/ 16 w 72"/>
                <a:gd name="T87" fmla="*/ 23 h 45"/>
                <a:gd name="T88" fmla="*/ 13 w 72"/>
                <a:gd name="T89" fmla="*/ 18 h 45"/>
                <a:gd name="T90" fmla="*/ 7 w 72"/>
                <a:gd name="T91" fmla="*/ 18 h 45"/>
                <a:gd name="T92" fmla="*/ 4 w 72"/>
                <a:gd name="T93" fmla="*/ 16 h 45"/>
                <a:gd name="T94" fmla="*/ 2 w 72"/>
                <a:gd name="T95" fmla="*/ 14 h 45"/>
                <a:gd name="T96" fmla="*/ 2 w 72"/>
                <a:gd name="T97" fmla="*/ 11 h 45"/>
                <a:gd name="T98" fmla="*/ 16 w 72"/>
                <a:gd name="T99" fmla="*/ 5 h 45"/>
                <a:gd name="T100" fmla="*/ 18 w 72"/>
                <a:gd name="T101" fmla="*/ 5 h 45"/>
                <a:gd name="T102" fmla="*/ 25 w 72"/>
                <a:gd name="T103" fmla="*/ 7 h 45"/>
                <a:gd name="T104" fmla="*/ 31 w 72"/>
                <a:gd name="T105" fmla="*/ 2 h 45"/>
                <a:gd name="T106" fmla="*/ 33 w 72"/>
                <a:gd name="T107" fmla="*/ 5 h 45"/>
                <a:gd name="T108" fmla="*/ 33 w 72"/>
                <a:gd name="T109" fmla="*/ 2 h 45"/>
                <a:gd name="T110" fmla="*/ 33 w 72"/>
                <a:gd name="T111" fmla="*/ 0 h 45"/>
                <a:gd name="T112" fmla="*/ 38 w 72"/>
                <a:gd name="T113" fmla="*/ 2 h 45"/>
                <a:gd name="T114" fmla="*/ 42 w 72"/>
                <a:gd name="T11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2" h="45">
                  <a:moveTo>
                    <a:pt x="42" y="0"/>
                  </a:moveTo>
                  <a:lnTo>
                    <a:pt x="42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51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6" y="14"/>
                  </a:lnTo>
                  <a:lnTo>
                    <a:pt x="56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5" y="32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32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8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29"/>
                  </a:lnTo>
                  <a:lnTo>
                    <a:pt x="42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8" y="34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3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0" y="9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4" y="7"/>
                  </a:lnTo>
                  <a:lnTo>
                    <a:pt x="9" y="5"/>
                  </a:lnTo>
                  <a:lnTo>
                    <a:pt x="11" y="5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9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17A7DC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225" name="Group 224"/>
            <p:cNvGrpSpPr/>
            <p:nvPr/>
          </p:nvGrpSpPr>
          <p:grpSpPr>
            <a:xfrm>
              <a:off x="5746194" y="1849728"/>
              <a:ext cx="111986" cy="105299"/>
              <a:chOff x="5746194" y="1849728"/>
              <a:chExt cx="111986" cy="105299"/>
            </a:xfrm>
            <a:solidFill>
              <a:srgbClr val="17A7DC"/>
            </a:solidFill>
          </p:grpSpPr>
          <p:sp>
            <p:nvSpPr>
              <p:cNvPr id="227" name="Freeform 666"/>
              <p:cNvSpPr>
                <a:spLocks/>
              </p:cNvSpPr>
              <p:nvPr/>
            </p:nvSpPr>
            <p:spPr bwMode="auto">
              <a:xfrm>
                <a:off x="5746194" y="1931628"/>
                <a:ext cx="25072" cy="8357"/>
              </a:xfrm>
              <a:custGeom>
                <a:avLst/>
                <a:gdLst>
                  <a:gd name="T0" fmla="*/ 15 w 15"/>
                  <a:gd name="T1" fmla="*/ 0 h 5"/>
                  <a:gd name="T2" fmla="*/ 15 w 15"/>
                  <a:gd name="T3" fmla="*/ 0 h 5"/>
                  <a:gd name="T4" fmla="*/ 13 w 15"/>
                  <a:gd name="T5" fmla="*/ 0 h 5"/>
                  <a:gd name="T6" fmla="*/ 13 w 15"/>
                  <a:gd name="T7" fmla="*/ 0 h 5"/>
                  <a:gd name="T8" fmla="*/ 13 w 15"/>
                  <a:gd name="T9" fmla="*/ 0 h 5"/>
                  <a:gd name="T10" fmla="*/ 13 w 15"/>
                  <a:gd name="T11" fmla="*/ 0 h 5"/>
                  <a:gd name="T12" fmla="*/ 13 w 15"/>
                  <a:gd name="T13" fmla="*/ 0 h 5"/>
                  <a:gd name="T14" fmla="*/ 13 w 15"/>
                  <a:gd name="T15" fmla="*/ 0 h 5"/>
                  <a:gd name="T16" fmla="*/ 13 w 15"/>
                  <a:gd name="T17" fmla="*/ 0 h 5"/>
                  <a:gd name="T18" fmla="*/ 13 w 15"/>
                  <a:gd name="T19" fmla="*/ 0 h 5"/>
                  <a:gd name="T20" fmla="*/ 13 w 15"/>
                  <a:gd name="T21" fmla="*/ 0 h 5"/>
                  <a:gd name="T22" fmla="*/ 11 w 15"/>
                  <a:gd name="T23" fmla="*/ 0 h 5"/>
                  <a:gd name="T24" fmla="*/ 11 w 15"/>
                  <a:gd name="T25" fmla="*/ 0 h 5"/>
                  <a:gd name="T26" fmla="*/ 11 w 15"/>
                  <a:gd name="T27" fmla="*/ 0 h 5"/>
                  <a:gd name="T28" fmla="*/ 11 w 15"/>
                  <a:gd name="T29" fmla="*/ 0 h 5"/>
                  <a:gd name="T30" fmla="*/ 11 w 15"/>
                  <a:gd name="T31" fmla="*/ 0 h 5"/>
                  <a:gd name="T32" fmla="*/ 11 w 15"/>
                  <a:gd name="T33" fmla="*/ 0 h 5"/>
                  <a:gd name="T34" fmla="*/ 9 w 15"/>
                  <a:gd name="T35" fmla="*/ 0 h 5"/>
                  <a:gd name="T36" fmla="*/ 9 w 15"/>
                  <a:gd name="T37" fmla="*/ 0 h 5"/>
                  <a:gd name="T38" fmla="*/ 9 w 15"/>
                  <a:gd name="T39" fmla="*/ 0 h 5"/>
                  <a:gd name="T40" fmla="*/ 6 w 15"/>
                  <a:gd name="T41" fmla="*/ 0 h 5"/>
                  <a:gd name="T42" fmla="*/ 6 w 15"/>
                  <a:gd name="T43" fmla="*/ 0 h 5"/>
                  <a:gd name="T44" fmla="*/ 6 w 15"/>
                  <a:gd name="T45" fmla="*/ 0 h 5"/>
                  <a:gd name="T46" fmla="*/ 4 w 15"/>
                  <a:gd name="T47" fmla="*/ 0 h 5"/>
                  <a:gd name="T48" fmla="*/ 2 w 15"/>
                  <a:gd name="T49" fmla="*/ 0 h 5"/>
                  <a:gd name="T50" fmla="*/ 2 w 15"/>
                  <a:gd name="T51" fmla="*/ 0 h 5"/>
                  <a:gd name="T52" fmla="*/ 2 w 15"/>
                  <a:gd name="T53" fmla="*/ 0 h 5"/>
                  <a:gd name="T54" fmla="*/ 0 w 15"/>
                  <a:gd name="T55" fmla="*/ 0 h 5"/>
                  <a:gd name="T56" fmla="*/ 0 w 15"/>
                  <a:gd name="T57" fmla="*/ 0 h 5"/>
                  <a:gd name="T58" fmla="*/ 0 w 15"/>
                  <a:gd name="T59" fmla="*/ 3 h 5"/>
                  <a:gd name="T60" fmla="*/ 0 w 15"/>
                  <a:gd name="T61" fmla="*/ 3 h 5"/>
                  <a:gd name="T62" fmla="*/ 0 w 15"/>
                  <a:gd name="T63" fmla="*/ 3 h 5"/>
                  <a:gd name="T64" fmla="*/ 0 w 15"/>
                  <a:gd name="T65" fmla="*/ 3 h 5"/>
                  <a:gd name="T66" fmla="*/ 2 w 15"/>
                  <a:gd name="T67" fmla="*/ 3 h 5"/>
                  <a:gd name="T68" fmla="*/ 2 w 15"/>
                  <a:gd name="T69" fmla="*/ 3 h 5"/>
                  <a:gd name="T70" fmla="*/ 2 w 15"/>
                  <a:gd name="T71" fmla="*/ 3 h 5"/>
                  <a:gd name="T72" fmla="*/ 2 w 15"/>
                  <a:gd name="T73" fmla="*/ 3 h 5"/>
                  <a:gd name="T74" fmla="*/ 2 w 15"/>
                  <a:gd name="T75" fmla="*/ 3 h 5"/>
                  <a:gd name="T76" fmla="*/ 2 w 15"/>
                  <a:gd name="T77" fmla="*/ 3 h 5"/>
                  <a:gd name="T78" fmla="*/ 2 w 15"/>
                  <a:gd name="T79" fmla="*/ 3 h 5"/>
                  <a:gd name="T80" fmla="*/ 2 w 15"/>
                  <a:gd name="T81" fmla="*/ 3 h 5"/>
                  <a:gd name="T82" fmla="*/ 4 w 15"/>
                  <a:gd name="T83" fmla="*/ 3 h 5"/>
                  <a:gd name="T84" fmla="*/ 4 w 15"/>
                  <a:gd name="T85" fmla="*/ 3 h 5"/>
                  <a:gd name="T86" fmla="*/ 4 w 15"/>
                  <a:gd name="T87" fmla="*/ 3 h 5"/>
                  <a:gd name="T88" fmla="*/ 4 w 15"/>
                  <a:gd name="T89" fmla="*/ 3 h 5"/>
                  <a:gd name="T90" fmla="*/ 6 w 15"/>
                  <a:gd name="T91" fmla="*/ 3 h 5"/>
                  <a:gd name="T92" fmla="*/ 6 w 15"/>
                  <a:gd name="T93" fmla="*/ 3 h 5"/>
                  <a:gd name="T94" fmla="*/ 6 w 15"/>
                  <a:gd name="T95" fmla="*/ 3 h 5"/>
                  <a:gd name="T96" fmla="*/ 6 w 15"/>
                  <a:gd name="T97" fmla="*/ 5 h 5"/>
                  <a:gd name="T98" fmla="*/ 6 w 15"/>
                  <a:gd name="T99" fmla="*/ 5 h 5"/>
                  <a:gd name="T100" fmla="*/ 9 w 15"/>
                  <a:gd name="T101" fmla="*/ 5 h 5"/>
                  <a:gd name="T102" fmla="*/ 9 w 15"/>
                  <a:gd name="T103" fmla="*/ 5 h 5"/>
                  <a:gd name="T104" fmla="*/ 11 w 15"/>
                  <a:gd name="T105" fmla="*/ 5 h 5"/>
                  <a:gd name="T106" fmla="*/ 11 w 15"/>
                  <a:gd name="T107" fmla="*/ 5 h 5"/>
                  <a:gd name="T108" fmla="*/ 11 w 15"/>
                  <a:gd name="T109" fmla="*/ 5 h 5"/>
                  <a:gd name="T110" fmla="*/ 13 w 15"/>
                  <a:gd name="T111" fmla="*/ 3 h 5"/>
                  <a:gd name="T112" fmla="*/ 15 w 15"/>
                  <a:gd name="T113" fmla="*/ 3 h 5"/>
                  <a:gd name="T114" fmla="*/ 15 w 15"/>
                  <a:gd name="T115" fmla="*/ 3 h 5"/>
                  <a:gd name="T116" fmla="*/ 15 w 15"/>
                  <a:gd name="T117" fmla="*/ 0 h 5"/>
                  <a:gd name="T118" fmla="*/ 15 w 15"/>
                  <a:gd name="T119" fmla="*/ 0 h 5"/>
                  <a:gd name="T120" fmla="*/ 15 w 15"/>
                  <a:gd name="T121" fmla="*/ 0 h 5"/>
                  <a:gd name="T122" fmla="*/ 15 w 15"/>
                  <a:gd name="T123" fmla="*/ 0 h 5"/>
                  <a:gd name="T124" fmla="*/ 15 w 15"/>
                  <a:gd name="T12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" h="5">
                    <a:moveTo>
                      <a:pt x="15" y="0"/>
                    </a:move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3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1" y="5"/>
                    </a:lnTo>
                    <a:lnTo>
                      <a:pt x="13" y="3"/>
                    </a:lnTo>
                    <a:lnTo>
                      <a:pt x="15" y="3"/>
                    </a:lnTo>
                    <a:lnTo>
                      <a:pt x="15" y="3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5" y="0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8" name="Freeform 667"/>
              <p:cNvSpPr>
                <a:spLocks noEditPoints="1"/>
              </p:cNvSpPr>
              <p:nvPr/>
            </p:nvSpPr>
            <p:spPr bwMode="auto">
              <a:xfrm>
                <a:off x="5749537" y="1853071"/>
                <a:ext cx="108643" cy="101956"/>
              </a:xfrm>
              <a:custGeom>
                <a:avLst/>
                <a:gdLst>
                  <a:gd name="T0" fmla="*/ 65 w 65"/>
                  <a:gd name="T1" fmla="*/ 5 h 61"/>
                  <a:gd name="T2" fmla="*/ 63 w 65"/>
                  <a:gd name="T3" fmla="*/ 5 h 61"/>
                  <a:gd name="T4" fmla="*/ 58 w 65"/>
                  <a:gd name="T5" fmla="*/ 0 h 61"/>
                  <a:gd name="T6" fmla="*/ 42 w 65"/>
                  <a:gd name="T7" fmla="*/ 2 h 61"/>
                  <a:gd name="T8" fmla="*/ 33 w 65"/>
                  <a:gd name="T9" fmla="*/ 5 h 61"/>
                  <a:gd name="T10" fmla="*/ 24 w 65"/>
                  <a:gd name="T11" fmla="*/ 11 h 61"/>
                  <a:gd name="T12" fmla="*/ 22 w 65"/>
                  <a:gd name="T13" fmla="*/ 14 h 61"/>
                  <a:gd name="T14" fmla="*/ 13 w 65"/>
                  <a:gd name="T15" fmla="*/ 32 h 61"/>
                  <a:gd name="T16" fmla="*/ 9 w 65"/>
                  <a:gd name="T17" fmla="*/ 36 h 61"/>
                  <a:gd name="T18" fmla="*/ 9 w 65"/>
                  <a:gd name="T19" fmla="*/ 36 h 61"/>
                  <a:gd name="T20" fmla="*/ 9 w 65"/>
                  <a:gd name="T21" fmla="*/ 38 h 61"/>
                  <a:gd name="T22" fmla="*/ 11 w 65"/>
                  <a:gd name="T23" fmla="*/ 41 h 61"/>
                  <a:gd name="T24" fmla="*/ 11 w 65"/>
                  <a:gd name="T25" fmla="*/ 43 h 61"/>
                  <a:gd name="T26" fmla="*/ 15 w 65"/>
                  <a:gd name="T27" fmla="*/ 45 h 61"/>
                  <a:gd name="T28" fmla="*/ 9 w 65"/>
                  <a:gd name="T29" fmla="*/ 43 h 61"/>
                  <a:gd name="T30" fmla="*/ 0 w 65"/>
                  <a:gd name="T31" fmla="*/ 43 h 61"/>
                  <a:gd name="T32" fmla="*/ 4 w 65"/>
                  <a:gd name="T33" fmla="*/ 45 h 61"/>
                  <a:gd name="T34" fmla="*/ 9 w 65"/>
                  <a:gd name="T35" fmla="*/ 45 h 61"/>
                  <a:gd name="T36" fmla="*/ 13 w 65"/>
                  <a:gd name="T37" fmla="*/ 47 h 61"/>
                  <a:gd name="T38" fmla="*/ 15 w 65"/>
                  <a:gd name="T39" fmla="*/ 47 h 61"/>
                  <a:gd name="T40" fmla="*/ 20 w 65"/>
                  <a:gd name="T41" fmla="*/ 47 h 61"/>
                  <a:gd name="T42" fmla="*/ 24 w 65"/>
                  <a:gd name="T43" fmla="*/ 45 h 61"/>
                  <a:gd name="T44" fmla="*/ 27 w 65"/>
                  <a:gd name="T45" fmla="*/ 47 h 61"/>
                  <a:gd name="T46" fmla="*/ 29 w 65"/>
                  <a:gd name="T47" fmla="*/ 47 h 61"/>
                  <a:gd name="T48" fmla="*/ 31 w 65"/>
                  <a:gd name="T49" fmla="*/ 50 h 61"/>
                  <a:gd name="T50" fmla="*/ 38 w 65"/>
                  <a:gd name="T51" fmla="*/ 52 h 61"/>
                  <a:gd name="T52" fmla="*/ 42 w 65"/>
                  <a:gd name="T53" fmla="*/ 52 h 61"/>
                  <a:gd name="T54" fmla="*/ 42 w 65"/>
                  <a:gd name="T55" fmla="*/ 54 h 61"/>
                  <a:gd name="T56" fmla="*/ 40 w 65"/>
                  <a:gd name="T57" fmla="*/ 56 h 61"/>
                  <a:gd name="T58" fmla="*/ 40 w 65"/>
                  <a:gd name="T59" fmla="*/ 61 h 61"/>
                  <a:gd name="T60" fmla="*/ 45 w 65"/>
                  <a:gd name="T61" fmla="*/ 61 h 61"/>
                  <a:gd name="T62" fmla="*/ 47 w 65"/>
                  <a:gd name="T63" fmla="*/ 61 h 61"/>
                  <a:gd name="T64" fmla="*/ 45 w 65"/>
                  <a:gd name="T65" fmla="*/ 59 h 61"/>
                  <a:gd name="T66" fmla="*/ 42 w 65"/>
                  <a:gd name="T67" fmla="*/ 56 h 61"/>
                  <a:gd name="T68" fmla="*/ 47 w 65"/>
                  <a:gd name="T69" fmla="*/ 52 h 61"/>
                  <a:gd name="T70" fmla="*/ 47 w 65"/>
                  <a:gd name="T71" fmla="*/ 50 h 61"/>
                  <a:gd name="T72" fmla="*/ 49 w 65"/>
                  <a:gd name="T73" fmla="*/ 45 h 61"/>
                  <a:gd name="T74" fmla="*/ 45 w 65"/>
                  <a:gd name="T75" fmla="*/ 38 h 61"/>
                  <a:gd name="T76" fmla="*/ 45 w 65"/>
                  <a:gd name="T77" fmla="*/ 36 h 61"/>
                  <a:gd name="T78" fmla="*/ 49 w 65"/>
                  <a:gd name="T79" fmla="*/ 36 h 61"/>
                  <a:gd name="T80" fmla="*/ 54 w 65"/>
                  <a:gd name="T81" fmla="*/ 36 h 61"/>
                  <a:gd name="T82" fmla="*/ 60 w 65"/>
                  <a:gd name="T83" fmla="*/ 34 h 61"/>
                  <a:gd name="T84" fmla="*/ 58 w 65"/>
                  <a:gd name="T85" fmla="*/ 32 h 61"/>
                  <a:gd name="T86" fmla="*/ 63 w 65"/>
                  <a:gd name="T87" fmla="*/ 29 h 61"/>
                  <a:gd name="T88" fmla="*/ 63 w 65"/>
                  <a:gd name="T89" fmla="*/ 23 h 61"/>
                  <a:gd name="T90" fmla="*/ 56 w 65"/>
                  <a:gd name="T91" fmla="*/ 20 h 61"/>
                  <a:gd name="T92" fmla="*/ 60 w 65"/>
                  <a:gd name="T93" fmla="*/ 18 h 61"/>
                  <a:gd name="T94" fmla="*/ 65 w 65"/>
                  <a:gd name="T95" fmla="*/ 9 h 61"/>
                  <a:gd name="T96" fmla="*/ 36 w 65"/>
                  <a:gd name="T97" fmla="*/ 27 h 61"/>
                  <a:gd name="T98" fmla="*/ 27 w 65"/>
                  <a:gd name="T99" fmla="*/ 25 h 61"/>
                  <a:gd name="T100" fmla="*/ 27 w 65"/>
                  <a:gd name="T101" fmla="*/ 25 h 61"/>
                  <a:gd name="T102" fmla="*/ 29 w 65"/>
                  <a:gd name="T103" fmla="*/ 23 h 61"/>
                  <a:gd name="T104" fmla="*/ 29 w 65"/>
                  <a:gd name="T105" fmla="*/ 18 h 61"/>
                  <a:gd name="T106" fmla="*/ 31 w 65"/>
                  <a:gd name="T107" fmla="*/ 16 h 61"/>
                  <a:gd name="T108" fmla="*/ 27 w 65"/>
                  <a:gd name="T109" fmla="*/ 11 h 61"/>
                  <a:gd name="T110" fmla="*/ 33 w 65"/>
                  <a:gd name="T111" fmla="*/ 11 h 61"/>
                  <a:gd name="T112" fmla="*/ 33 w 65"/>
                  <a:gd name="T113" fmla="*/ 14 h 61"/>
                  <a:gd name="T114" fmla="*/ 38 w 65"/>
                  <a:gd name="T115" fmla="*/ 14 h 61"/>
                  <a:gd name="T116" fmla="*/ 38 w 65"/>
                  <a:gd name="T117" fmla="*/ 18 h 61"/>
                  <a:gd name="T118" fmla="*/ 42 w 65"/>
                  <a:gd name="T119" fmla="*/ 23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5" h="61">
                    <a:moveTo>
                      <a:pt x="65" y="9"/>
                    </a:moveTo>
                    <a:lnTo>
                      <a:pt x="65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5" y="5"/>
                    </a:lnTo>
                    <a:lnTo>
                      <a:pt x="65" y="5"/>
                    </a:lnTo>
                    <a:lnTo>
                      <a:pt x="65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2"/>
                    </a:lnTo>
                    <a:lnTo>
                      <a:pt x="63" y="2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5"/>
                    </a:lnTo>
                    <a:lnTo>
                      <a:pt x="63" y="2"/>
                    </a:lnTo>
                    <a:lnTo>
                      <a:pt x="63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6" y="0"/>
                    </a:lnTo>
                    <a:lnTo>
                      <a:pt x="51" y="0"/>
                    </a:lnTo>
                    <a:lnTo>
                      <a:pt x="49" y="0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0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6" y="5"/>
                    </a:lnTo>
                    <a:lnTo>
                      <a:pt x="33" y="5"/>
                    </a:lnTo>
                    <a:lnTo>
                      <a:pt x="33" y="5"/>
                    </a:lnTo>
                    <a:lnTo>
                      <a:pt x="33" y="7"/>
                    </a:lnTo>
                    <a:lnTo>
                      <a:pt x="33" y="7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4" y="11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1"/>
                    </a:lnTo>
                    <a:lnTo>
                      <a:pt x="22" y="14"/>
                    </a:lnTo>
                    <a:lnTo>
                      <a:pt x="20" y="14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18" y="23"/>
                    </a:lnTo>
                    <a:lnTo>
                      <a:pt x="18" y="25"/>
                    </a:lnTo>
                    <a:lnTo>
                      <a:pt x="15" y="27"/>
                    </a:lnTo>
                    <a:lnTo>
                      <a:pt x="13" y="32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11" y="34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9" y="34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11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9" y="36"/>
                    </a:lnTo>
                    <a:lnTo>
                      <a:pt x="7" y="36"/>
                    </a:lnTo>
                    <a:lnTo>
                      <a:pt x="7" y="38"/>
                    </a:lnTo>
                    <a:lnTo>
                      <a:pt x="7" y="38"/>
                    </a:lnTo>
                    <a:lnTo>
                      <a:pt x="7" y="38"/>
                    </a:lnTo>
                    <a:lnTo>
                      <a:pt x="7" y="38"/>
                    </a:lnTo>
                    <a:lnTo>
                      <a:pt x="7" y="38"/>
                    </a:lnTo>
                    <a:lnTo>
                      <a:pt x="7" y="38"/>
                    </a:lnTo>
                    <a:lnTo>
                      <a:pt x="9" y="38"/>
                    </a:lnTo>
                    <a:lnTo>
                      <a:pt x="9" y="38"/>
                    </a:lnTo>
                    <a:lnTo>
                      <a:pt x="9" y="38"/>
                    </a:lnTo>
                    <a:lnTo>
                      <a:pt x="9" y="38"/>
                    </a:lnTo>
                    <a:lnTo>
                      <a:pt x="9" y="38"/>
                    </a:lnTo>
                    <a:lnTo>
                      <a:pt x="9" y="38"/>
                    </a:lnTo>
                    <a:lnTo>
                      <a:pt x="11" y="38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3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1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3" y="43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11" y="43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5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3" y="45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11" y="45"/>
                    </a:lnTo>
                    <a:lnTo>
                      <a:pt x="9" y="43"/>
                    </a:lnTo>
                    <a:lnTo>
                      <a:pt x="9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7" y="43"/>
                    </a:lnTo>
                    <a:lnTo>
                      <a:pt x="2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0" y="45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2" y="45"/>
                    </a:lnTo>
                    <a:lnTo>
                      <a:pt x="4" y="45"/>
                    </a:lnTo>
                    <a:lnTo>
                      <a:pt x="4" y="45"/>
                    </a:lnTo>
                    <a:lnTo>
                      <a:pt x="4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7" y="47"/>
                    </a:lnTo>
                    <a:lnTo>
                      <a:pt x="9" y="47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9" y="45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11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8" y="47"/>
                    </a:lnTo>
                    <a:lnTo>
                      <a:pt x="18" y="47"/>
                    </a:lnTo>
                    <a:lnTo>
                      <a:pt x="18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7"/>
                    </a:lnTo>
                    <a:lnTo>
                      <a:pt x="15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5"/>
                    </a:lnTo>
                    <a:lnTo>
                      <a:pt x="18" y="47"/>
                    </a:lnTo>
                    <a:lnTo>
                      <a:pt x="20" y="47"/>
                    </a:lnTo>
                    <a:lnTo>
                      <a:pt x="20" y="47"/>
                    </a:lnTo>
                    <a:lnTo>
                      <a:pt x="20" y="47"/>
                    </a:lnTo>
                    <a:lnTo>
                      <a:pt x="20" y="47"/>
                    </a:lnTo>
                    <a:lnTo>
                      <a:pt x="20" y="47"/>
                    </a:lnTo>
                    <a:lnTo>
                      <a:pt x="20" y="47"/>
                    </a:lnTo>
                    <a:lnTo>
                      <a:pt x="20" y="47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4" y="45"/>
                    </a:lnTo>
                    <a:lnTo>
                      <a:pt x="24" y="47"/>
                    </a:lnTo>
                    <a:lnTo>
                      <a:pt x="24" y="47"/>
                    </a:lnTo>
                    <a:lnTo>
                      <a:pt x="22" y="47"/>
                    </a:lnTo>
                    <a:lnTo>
                      <a:pt x="22" y="47"/>
                    </a:lnTo>
                    <a:lnTo>
                      <a:pt x="22" y="47"/>
                    </a:lnTo>
                    <a:lnTo>
                      <a:pt x="22" y="47"/>
                    </a:lnTo>
                    <a:lnTo>
                      <a:pt x="24" y="47"/>
                    </a:lnTo>
                    <a:lnTo>
                      <a:pt x="24" y="47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7" y="47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7" y="45"/>
                    </a:lnTo>
                    <a:lnTo>
                      <a:pt x="29" y="45"/>
                    </a:lnTo>
                    <a:lnTo>
                      <a:pt x="29" y="45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47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29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1" y="50"/>
                    </a:lnTo>
                    <a:lnTo>
                      <a:pt x="33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2" y="56"/>
                    </a:lnTo>
                    <a:lnTo>
                      <a:pt x="40" y="56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38" y="59"/>
                    </a:lnTo>
                    <a:lnTo>
                      <a:pt x="38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0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7" y="61"/>
                    </a:lnTo>
                    <a:lnTo>
                      <a:pt x="45" y="61"/>
                    </a:lnTo>
                    <a:lnTo>
                      <a:pt x="45" y="61"/>
                    </a:lnTo>
                    <a:lnTo>
                      <a:pt x="47" y="61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7" y="59"/>
                    </a:lnTo>
                    <a:lnTo>
                      <a:pt x="45" y="59"/>
                    </a:lnTo>
                    <a:lnTo>
                      <a:pt x="45" y="59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5" y="54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6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5" y="54"/>
                    </a:lnTo>
                    <a:lnTo>
                      <a:pt x="47" y="54"/>
                    </a:lnTo>
                    <a:lnTo>
                      <a:pt x="47" y="52"/>
                    </a:lnTo>
                    <a:lnTo>
                      <a:pt x="49" y="52"/>
                    </a:lnTo>
                    <a:lnTo>
                      <a:pt x="47" y="52"/>
                    </a:lnTo>
                    <a:lnTo>
                      <a:pt x="49" y="52"/>
                    </a:lnTo>
                    <a:lnTo>
                      <a:pt x="49" y="52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7" y="52"/>
                    </a:lnTo>
                    <a:lnTo>
                      <a:pt x="47" y="50"/>
                    </a:lnTo>
                    <a:lnTo>
                      <a:pt x="47" y="50"/>
                    </a:lnTo>
                    <a:lnTo>
                      <a:pt x="47" y="50"/>
                    </a:lnTo>
                    <a:lnTo>
                      <a:pt x="49" y="50"/>
                    </a:lnTo>
                    <a:lnTo>
                      <a:pt x="49" y="47"/>
                    </a:lnTo>
                    <a:lnTo>
                      <a:pt x="49" y="47"/>
                    </a:lnTo>
                    <a:lnTo>
                      <a:pt x="49" y="47"/>
                    </a:lnTo>
                    <a:lnTo>
                      <a:pt x="49" y="47"/>
                    </a:lnTo>
                    <a:lnTo>
                      <a:pt x="49" y="47"/>
                    </a:lnTo>
                    <a:lnTo>
                      <a:pt x="49" y="47"/>
                    </a:lnTo>
                    <a:lnTo>
                      <a:pt x="49" y="47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9" y="45"/>
                    </a:lnTo>
                    <a:lnTo>
                      <a:pt x="47" y="43"/>
                    </a:lnTo>
                    <a:lnTo>
                      <a:pt x="47" y="43"/>
                    </a:lnTo>
                    <a:lnTo>
                      <a:pt x="47" y="43"/>
                    </a:lnTo>
                    <a:lnTo>
                      <a:pt x="47" y="43"/>
                    </a:lnTo>
                    <a:lnTo>
                      <a:pt x="47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41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8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5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49" y="36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51" y="38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51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4" y="36"/>
                    </a:lnTo>
                    <a:lnTo>
                      <a:pt x="56" y="36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58" y="32"/>
                    </a:lnTo>
                    <a:lnTo>
                      <a:pt x="60" y="32"/>
                    </a:lnTo>
                    <a:lnTo>
                      <a:pt x="60" y="29"/>
                    </a:lnTo>
                    <a:lnTo>
                      <a:pt x="60" y="29"/>
                    </a:lnTo>
                    <a:lnTo>
                      <a:pt x="60" y="29"/>
                    </a:lnTo>
                    <a:lnTo>
                      <a:pt x="60" y="29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9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7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63" y="25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3" y="23"/>
                    </a:lnTo>
                    <a:lnTo>
                      <a:pt x="60" y="23"/>
                    </a:lnTo>
                    <a:lnTo>
                      <a:pt x="60" y="23"/>
                    </a:lnTo>
                    <a:lnTo>
                      <a:pt x="60" y="23"/>
                    </a:lnTo>
                    <a:lnTo>
                      <a:pt x="60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6" y="23"/>
                    </a:lnTo>
                    <a:lnTo>
                      <a:pt x="56" y="23"/>
                    </a:lnTo>
                    <a:lnTo>
                      <a:pt x="56" y="23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8" y="20"/>
                    </a:lnTo>
                    <a:lnTo>
                      <a:pt x="58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8"/>
                    </a:lnTo>
                    <a:lnTo>
                      <a:pt x="63" y="16"/>
                    </a:lnTo>
                    <a:lnTo>
                      <a:pt x="63" y="14"/>
                    </a:lnTo>
                    <a:lnTo>
                      <a:pt x="63" y="14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5" y="9"/>
                    </a:lnTo>
                    <a:lnTo>
                      <a:pt x="65" y="9"/>
                    </a:lnTo>
                    <a:close/>
                    <a:moveTo>
                      <a:pt x="42" y="23"/>
                    </a:moveTo>
                    <a:lnTo>
                      <a:pt x="42" y="23"/>
                    </a:lnTo>
                    <a:lnTo>
                      <a:pt x="42" y="23"/>
                    </a:lnTo>
                    <a:lnTo>
                      <a:pt x="40" y="23"/>
                    </a:lnTo>
                    <a:lnTo>
                      <a:pt x="40" y="25"/>
                    </a:lnTo>
                    <a:lnTo>
                      <a:pt x="40" y="25"/>
                    </a:lnTo>
                    <a:lnTo>
                      <a:pt x="40" y="25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38" y="25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3" y="27"/>
                    </a:lnTo>
                    <a:lnTo>
                      <a:pt x="33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31" y="27"/>
                    </a:lnTo>
                    <a:lnTo>
                      <a:pt x="29" y="27"/>
                    </a:lnTo>
                    <a:lnTo>
                      <a:pt x="29" y="27"/>
                    </a:lnTo>
                    <a:lnTo>
                      <a:pt x="29" y="25"/>
                    </a:lnTo>
                    <a:lnTo>
                      <a:pt x="29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7" y="25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9" y="23"/>
                    </a:lnTo>
                    <a:lnTo>
                      <a:pt x="27" y="23"/>
                    </a:lnTo>
                    <a:lnTo>
                      <a:pt x="27" y="23"/>
                    </a:lnTo>
                    <a:lnTo>
                      <a:pt x="29" y="23"/>
                    </a:lnTo>
                    <a:lnTo>
                      <a:pt x="29" y="20"/>
                    </a:lnTo>
                    <a:lnTo>
                      <a:pt x="27" y="20"/>
                    </a:lnTo>
                    <a:lnTo>
                      <a:pt x="27" y="20"/>
                    </a:lnTo>
                    <a:lnTo>
                      <a:pt x="27" y="18"/>
                    </a:lnTo>
                    <a:lnTo>
                      <a:pt x="27" y="18"/>
                    </a:lnTo>
                    <a:lnTo>
                      <a:pt x="29" y="18"/>
                    </a:lnTo>
                    <a:lnTo>
                      <a:pt x="29" y="18"/>
                    </a:lnTo>
                    <a:lnTo>
                      <a:pt x="29" y="18"/>
                    </a:lnTo>
                    <a:lnTo>
                      <a:pt x="29" y="18"/>
                    </a:lnTo>
                    <a:lnTo>
                      <a:pt x="29" y="18"/>
                    </a:lnTo>
                    <a:lnTo>
                      <a:pt x="29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lnTo>
                      <a:pt x="29" y="14"/>
                    </a:lnTo>
                    <a:lnTo>
                      <a:pt x="29" y="14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7" y="11"/>
                    </a:lnTo>
                    <a:lnTo>
                      <a:pt x="29" y="11"/>
                    </a:lnTo>
                    <a:lnTo>
                      <a:pt x="31" y="9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3" y="9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1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3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3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29" name="Freeform 668"/>
              <p:cNvSpPr>
                <a:spLocks/>
              </p:cNvSpPr>
              <p:nvPr/>
            </p:nvSpPr>
            <p:spPr bwMode="auto">
              <a:xfrm>
                <a:off x="5798009" y="1853071"/>
                <a:ext cx="11701" cy="3343"/>
              </a:xfrm>
              <a:custGeom>
                <a:avLst/>
                <a:gdLst>
                  <a:gd name="T0" fmla="*/ 0 w 7"/>
                  <a:gd name="T1" fmla="*/ 2 h 2"/>
                  <a:gd name="T2" fmla="*/ 2 w 7"/>
                  <a:gd name="T3" fmla="*/ 2 h 2"/>
                  <a:gd name="T4" fmla="*/ 4 w 7"/>
                  <a:gd name="T5" fmla="*/ 2 h 2"/>
                  <a:gd name="T6" fmla="*/ 4 w 7"/>
                  <a:gd name="T7" fmla="*/ 0 h 2"/>
                  <a:gd name="T8" fmla="*/ 4 w 7"/>
                  <a:gd name="T9" fmla="*/ 0 h 2"/>
                  <a:gd name="T10" fmla="*/ 4 w 7"/>
                  <a:gd name="T11" fmla="*/ 0 h 2"/>
                  <a:gd name="T12" fmla="*/ 4 w 7"/>
                  <a:gd name="T13" fmla="*/ 0 h 2"/>
                  <a:gd name="T14" fmla="*/ 4 w 7"/>
                  <a:gd name="T15" fmla="*/ 0 h 2"/>
                  <a:gd name="T16" fmla="*/ 4 w 7"/>
                  <a:gd name="T17" fmla="*/ 0 h 2"/>
                  <a:gd name="T18" fmla="*/ 7 w 7"/>
                  <a:gd name="T19" fmla="*/ 0 h 2"/>
                  <a:gd name="T20" fmla="*/ 7 w 7"/>
                  <a:gd name="T21" fmla="*/ 0 h 2"/>
                  <a:gd name="T22" fmla="*/ 7 w 7"/>
                  <a:gd name="T23" fmla="*/ 0 h 2"/>
                  <a:gd name="T24" fmla="*/ 4 w 7"/>
                  <a:gd name="T25" fmla="*/ 0 h 2"/>
                  <a:gd name="T26" fmla="*/ 4 w 7"/>
                  <a:gd name="T27" fmla="*/ 0 h 2"/>
                  <a:gd name="T28" fmla="*/ 4 w 7"/>
                  <a:gd name="T29" fmla="*/ 0 h 2"/>
                  <a:gd name="T30" fmla="*/ 2 w 7"/>
                  <a:gd name="T31" fmla="*/ 2 h 2"/>
                  <a:gd name="T32" fmla="*/ 2 w 7"/>
                  <a:gd name="T33" fmla="*/ 0 h 2"/>
                  <a:gd name="T34" fmla="*/ 0 w 7"/>
                  <a:gd name="T35" fmla="*/ 2 h 2"/>
                  <a:gd name="T36" fmla="*/ 0 w 7"/>
                  <a:gd name="T37" fmla="*/ 2 h 2"/>
                  <a:gd name="T38" fmla="*/ 0 w 7"/>
                  <a:gd name="T39" fmla="*/ 2 h 2"/>
                  <a:gd name="T40" fmla="*/ 0 w 7"/>
                  <a:gd name="T41" fmla="*/ 2 h 2"/>
                  <a:gd name="T42" fmla="*/ 0 w 7"/>
                  <a:gd name="T43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" h="2">
                    <a:moveTo>
                      <a:pt x="0" y="2"/>
                    </a:moveTo>
                    <a:lnTo>
                      <a:pt x="2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0" name="Freeform 669"/>
              <p:cNvSpPr>
                <a:spLocks/>
              </p:cNvSpPr>
              <p:nvPr/>
            </p:nvSpPr>
            <p:spPr bwMode="auto">
              <a:xfrm>
                <a:off x="5834780" y="1849728"/>
                <a:ext cx="5015" cy="0"/>
              </a:xfrm>
              <a:custGeom>
                <a:avLst/>
                <a:gdLst>
                  <a:gd name="T0" fmla="*/ 0 w 3"/>
                  <a:gd name="T1" fmla="*/ 0 w 3"/>
                  <a:gd name="T2" fmla="*/ 0 w 3"/>
                  <a:gd name="T3" fmla="*/ 0 w 3"/>
                  <a:gd name="T4" fmla="*/ 0 w 3"/>
                  <a:gd name="T5" fmla="*/ 3 w 3"/>
                  <a:gd name="T6" fmla="*/ 0 w 3"/>
                  <a:gd name="T7" fmla="*/ 0 w 3"/>
                  <a:gd name="T8" fmla="*/ 0 w 3"/>
                  <a:gd name="T9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1" name="Freeform 670"/>
              <p:cNvSpPr>
                <a:spLocks/>
              </p:cNvSpPr>
              <p:nvPr/>
            </p:nvSpPr>
            <p:spPr bwMode="auto">
              <a:xfrm>
                <a:off x="5813051" y="1853071"/>
                <a:ext cx="6686" cy="0"/>
              </a:xfrm>
              <a:custGeom>
                <a:avLst/>
                <a:gdLst>
                  <a:gd name="T0" fmla="*/ 0 w 4"/>
                  <a:gd name="T1" fmla="*/ 0 w 4"/>
                  <a:gd name="T2" fmla="*/ 2 w 4"/>
                  <a:gd name="T3" fmla="*/ 2 w 4"/>
                  <a:gd name="T4" fmla="*/ 4 w 4"/>
                  <a:gd name="T5" fmla="*/ 4 w 4"/>
                  <a:gd name="T6" fmla="*/ 0 w 4"/>
                  <a:gd name="T7" fmla="*/ 0 w 4"/>
                  <a:gd name="T8" fmla="*/ 0 w 4"/>
                  <a:gd name="T9" fmla="*/ 0 w 4"/>
                  <a:gd name="T10" fmla="*/ 0 w 4"/>
                  <a:gd name="T11" fmla="*/ 0 w 4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  <a:cxn ang="0">
                    <a:pos x="T7" y="0"/>
                  </a:cxn>
                  <a:cxn ang="0">
                    <a:pos x="T8" y="0"/>
                  </a:cxn>
                  <a:cxn ang="0">
                    <a:pos x="T9" y="0"/>
                  </a:cxn>
                  <a:cxn ang="0">
                    <a:pos x="T10" y="0"/>
                  </a:cxn>
                  <a:cxn ang="0">
                    <a:pos x="T11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2" name="Freeform 671"/>
              <p:cNvSpPr>
                <a:spLocks/>
              </p:cNvSpPr>
              <p:nvPr/>
            </p:nvSpPr>
            <p:spPr bwMode="auto">
              <a:xfrm>
                <a:off x="5789651" y="1856414"/>
                <a:ext cx="5015" cy="5014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3 h 3"/>
                  <a:gd name="T4" fmla="*/ 3 w 3"/>
                  <a:gd name="T5" fmla="*/ 3 h 3"/>
                  <a:gd name="T6" fmla="*/ 3 w 3"/>
                  <a:gd name="T7" fmla="*/ 3 h 3"/>
                  <a:gd name="T8" fmla="*/ 3 w 3"/>
                  <a:gd name="T9" fmla="*/ 3 h 3"/>
                  <a:gd name="T10" fmla="*/ 3 w 3"/>
                  <a:gd name="T11" fmla="*/ 3 h 3"/>
                  <a:gd name="T12" fmla="*/ 3 w 3"/>
                  <a:gd name="T13" fmla="*/ 0 h 3"/>
                  <a:gd name="T14" fmla="*/ 3 w 3"/>
                  <a:gd name="T15" fmla="*/ 0 h 3"/>
                  <a:gd name="T16" fmla="*/ 3 w 3"/>
                  <a:gd name="T17" fmla="*/ 3 h 3"/>
                  <a:gd name="T18" fmla="*/ 0 w 3"/>
                  <a:gd name="T19" fmla="*/ 3 h 3"/>
                  <a:gd name="T20" fmla="*/ 0 w 3"/>
                  <a:gd name="T21" fmla="*/ 3 h 3"/>
                  <a:gd name="T22" fmla="*/ 0 w 3"/>
                  <a:gd name="T23" fmla="*/ 3 h 3"/>
                  <a:gd name="T24" fmla="*/ 0 w 3"/>
                  <a:gd name="T2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3" name="Freeform 672"/>
              <p:cNvSpPr>
                <a:spLocks/>
              </p:cNvSpPr>
              <p:nvPr/>
            </p:nvSpPr>
            <p:spPr bwMode="auto">
              <a:xfrm>
                <a:off x="5824752" y="1849728"/>
                <a:ext cx="6686" cy="3343"/>
              </a:xfrm>
              <a:custGeom>
                <a:avLst/>
                <a:gdLst>
                  <a:gd name="T0" fmla="*/ 2 w 4"/>
                  <a:gd name="T1" fmla="*/ 2 h 2"/>
                  <a:gd name="T2" fmla="*/ 2 w 4"/>
                  <a:gd name="T3" fmla="*/ 2 h 2"/>
                  <a:gd name="T4" fmla="*/ 2 w 4"/>
                  <a:gd name="T5" fmla="*/ 2 h 2"/>
                  <a:gd name="T6" fmla="*/ 2 w 4"/>
                  <a:gd name="T7" fmla="*/ 2 h 2"/>
                  <a:gd name="T8" fmla="*/ 4 w 4"/>
                  <a:gd name="T9" fmla="*/ 2 h 2"/>
                  <a:gd name="T10" fmla="*/ 4 w 4"/>
                  <a:gd name="T11" fmla="*/ 2 h 2"/>
                  <a:gd name="T12" fmla="*/ 4 w 4"/>
                  <a:gd name="T13" fmla="*/ 0 h 2"/>
                  <a:gd name="T14" fmla="*/ 4 w 4"/>
                  <a:gd name="T15" fmla="*/ 0 h 2"/>
                  <a:gd name="T16" fmla="*/ 2 w 4"/>
                  <a:gd name="T17" fmla="*/ 0 h 2"/>
                  <a:gd name="T18" fmla="*/ 2 w 4"/>
                  <a:gd name="T19" fmla="*/ 0 h 2"/>
                  <a:gd name="T20" fmla="*/ 2 w 4"/>
                  <a:gd name="T21" fmla="*/ 2 h 2"/>
                  <a:gd name="T22" fmla="*/ 0 w 4"/>
                  <a:gd name="T23" fmla="*/ 2 h 2"/>
                  <a:gd name="T24" fmla="*/ 2 w 4"/>
                  <a:gd name="T25" fmla="*/ 2 h 2"/>
                  <a:gd name="T26" fmla="*/ 2 w 4"/>
                  <a:gd name="T2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" h="2">
                    <a:moveTo>
                      <a:pt x="2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2" y="2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4" name="Freeform 673"/>
              <p:cNvSpPr>
                <a:spLocks/>
              </p:cNvSpPr>
              <p:nvPr/>
            </p:nvSpPr>
            <p:spPr bwMode="auto">
              <a:xfrm>
                <a:off x="5782966" y="1864771"/>
                <a:ext cx="6686" cy="6686"/>
              </a:xfrm>
              <a:custGeom>
                <a:avLst/>
                <a:gdLst>
                  <a:gd name="T0" fmla="*/ 2 w 4"/>
                  <a:gd name="T1" fmla="*/ 4 h 4"/>
                  <a:gd name="T2" fmla="*/ 2 w 4"/>
                  <a:gd name="T3" fmla="*/ 4 h 4"/>
                  <a:gd name="T4" fmla="*/ 2 w 4"/>
                  <a:gd name="T5" fmla="*/ 2 h 4"/>
                  <a:gd name="T6" fmla="*/ 4 w 4"/>
                  <a:gd name="T7" fmla="*/ 2 h 4"/>
                  <a:gd name="T8" fmla="*/ 4 w 4"/>
                  <a:gd name="T9" fmla="*/ 2 h 4"/>
                  <a:gd name="T10" fmla="*/ 4 w 4"/>
                  <a:gd name="T11" fmla="*/ 2 h 4"/>
                  <a:gd name="T12" fmla="*/ 4 w 4"/>
                  <a:gd name="T13" fmla="*/ 2 h 4"/>
                  <a:gd name="T14" fmla="*/ 4 w 4"/>
                  <a:gd name="T15" fmla="*/ 2 h 4"/>
                  <a:gd name="T16" fmla="*/ 4 w 4"/>
                  <a:gd name="T17" fmla="*/ 0 h 4"/>
                  <a:gd name="T18" fmla="*/ 4 w 4"/>
                  <a:gd name="T19" fmla="*/ 0 h 4"/>
                  <a:gd name="T20" fmla="*/ 4 w 4"/>
                  <a:gd name="T21" fmla="*/ 0 h 4"/>
                  <a:gd name="T22" fmla="*/ 4 w 4"/>
                  <a:gd name="T23" fmla="*/ 0 h 4"/>
                  <a:gd name="T24" fmla="*/ 4 w 4"/>
                  <a:gd name="T25" fmla="*/ 0 h 4"/>
                  <a:gd name="T26" fmla="*/ 4 w 4"/>
                  <a:gd name="T27" fmla="*/ 0 h 4"/>
                  <a:gd name="T28" fmla="*/ 4 w 4"/>
                  <a:gd name="T29" fmla="*/ 0 h 4"/>
                  <a:gd name="T30" fmla="*/ 4 w 4"/>
                  <a:gd name="T31" fmla="*/ 0 h 4"/>
                  <a:gd name="T32" fmla="*/ 4 w 4"/>
                  <a:gd name="T33" fmla="*/ 0 h 4"/>
                  <a:gd name="T34" fmla="*/ 4 w 4"/>
                  <a:gd name="T35" fmla="*/ 0 h 4"/>
                  <a:gd name="T36" fmla="*/ 2 w 4"/>
                  <a:gd name="T37" fmla="*/ 0 h 4"/>
                  <a:gd name="T38" fmla="*/ 2 w 4"/>
                  <a:gd name="T39" fmla="*/ 0 h 4"/>
                  <a:gd name="T40" fmla="*/ 2 w 4"/>
                  <a:gd name="T41" fmla="*/ 0 h 4"/>
                  <a:gd name="T42" fmla="*/ 2 w 4"/>
                  <a:gd name="T43" fmla="*/ 2 h 4"/>
                  <a:gd name="T44" fmla="*/ 0 w 4"/>
                  <a:gd name="T45" fmla="*/ 2 h 4"/>
                  <a:gd name="T46" fmla="*/ 0 w 4"/>
                  <a:gd name="T47" fmla="*/ 2 h 4"/>
                  <a:gd name="T48" fmla="*/ 2 w 4"/>
                  <a:gd name="T49" fmla="*/ 4 h 4"/>
                  <a:gd name="T50" fmla="*/ 2 w 4"/>
                  <a:gd name="T5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" h="4">
                    <a:moveTo>
                      <a:pt x="2" y="4"/>
                    </a:moveTo>
                    <a:lnTo>
                      <a:pt x="2" y="4"/>
                    </a:lnTo>
                    <a:lnTo>
                      <a:pt x="2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5" name="Freeform 674"/>
              <p:cNvSpPr>
                <a:spLocks/>
              </p:cNvSpPr>
              <p:nvPr/>
            </p:nvSpPr>
            <p:spPr bwMode="auto">
              <a:xfrm>
                <a:off x="5756223" y="1916585"/>
                <a:ext cx="11701" cy="8357"/>
              </a:xfrm>
              <a:custGeom>
                <a:avLst/>
                <a:gdLst>
                  <a:gd name="T0" fmla="*/ 0 w 7"/>
                  <a:gd name="T1" fmla="*/ 3 h 5"/>
                  <a:gd name="T2" fmla="*/ 0 w 7"/>
                  <a:gd name="T3" fmla="*/ 3 h 5"/>
                  <a:gd name="T4" fmla="*/ 0 w 7"/>
                  <a:gd name="T5" fmla="*/ 3 h 5"/>
                  <a:gd name="T6" fmla="*/ 0 w 7"/>
                  <a:gd name="T7" fmla="*/ 3 h 5"/>
                  <a:gd name="T8" fmla="*/ 3 w 7"/>
                  <a:gd name="T9" fmla="*/ 3 h 5"/>
                  <a:gd name="T10" fmla="*/ 3 w 7"/>
                  <a:gd name="T11" fmla="*/ 3 h 5"/>
                  <a:gd name="T12" fmla="*/ 3 w 7"/>
                  <a:gd name="T13" fmla="*/ 3 h 5"/>
                  <a:gd name="T14" fmla="*/ 3 w 7"/>
                  <a:gd name="T15" fmla="*/ 3 h 5"/>
                  <a:gd name="T16" fmla="*/ 3 w 7"/>
                  <a:gd name="T17" fmla="*/ 3 h 5"/>
                  <a:gd name="T18" fmla="*/ 3 w 7"/>
                  <a:gd name="T19" fmla="*/ 3 h 5"/>
                  <a:gd name="T20" fmla="*/ 3 w 7"/>
                  <a:gd name="T21" fmla="*/ 3 h 5"/>
                  <a:gd name="T22" fmla="*/ 3 w 7"/>
                  <a:gd name="T23" fmla="*/ 3 h 5"/>
                  <a:gd name="T24" fmla="*/ 5 w 7"/>
                  <a:gd name="T25" fmla="*/ 3 h 5"/>
                  <a:gd name="T26" fmla="*/ 5 w 7"/>
                  <a:gd name="T27" fmla="*/ 5 h 5"/>
                  <a:gd name="T28" fmla="*/ 5 w 7"/>
                  <a:gd name="T29" fmla="*/ 5 h 5"/>
                  <a:gd name="T30" fmla="*/ 7 w 7"/>
                  <a:gd name="T31" fmla="*/ 3 h 5"/>
                  <a:gd name="T32" fmla="*/ 7 w 7"/>
                  <a:gd name="T33" fmla="*/ 3 h 5"/>
                  <a:gd name="T34" fmla="*/ 7 w 7"/>
                  <a:gd name="T35" fmla="*/ 3 h 5"/>
                  <a:gd name="T36" fmla="*/ 7 w 7"/>
                  <a:gd name="T37" fmla="*/ 3 h 5"/>
                  <a:gd name="T38" fmla="*/ 7 w 7"/>
                  <a:gd name="T39" fmla="*/ 3 h 5"/>
                  <a:gd name="T40" fmla="*/ 7 w 7"/>
                  <a:gd name="T41" fmla="*/ 3 h 5"/>
                  <a:gd name="T42" fmla="*/ 5 w 7"/>
                  <a:gd name="T43" fmla="*/ 3 h 5"/>
                  <a:gd name="T44" fmla="*/ 5 w 7"/>
                  <a:gd name="T45" fmla="*/ 3 h 5"/>
                  <a:gd name="T46" fmla="*/ 5 w 7"/>
                  <a:gd name="T47" fmla="*/ 3 h 5"/>
                  <a:gd name="T48" fmla="*/ 5 w 7"/>
                  <a:gd name="T49" fmla="*/ 3 h 5"/>
                  <a:gd name="T50" fmla="*/ 5 w 7"/>
                  <a:gd name="T51" fmla="*/ 0 h 5"/>
                  <a:gd name="T52" fmla="*/ 5 w 7"/>
                  <a:gd name="T53" fmla="*/ 0 h 5"/>
                  <a:gd name="T54" fmla="*/ 5 w 7"/>
                  <a:gd name="T55" fmla="*/ 0 h 5"/>
                  <a:gd name="T56" fmla="*/ 3 w 7"/>
                  <a:gd name="T57" fmla="*/ 0 h 5"/>
                  <a:gd name="T58" fmla="*/ 3 w 7"/>
                  <a:gd name="T59" fmla="*/ 0 h 5"/>
                  <a:gd name="T60" fmla="*/ 3 w 7"/>
                  <a:gd name="T61" fmla="*/ 0 h 5"/>
                  <a:gd name="T62" fmla="*/ 3 w 7"/>
                  <a:gd name="T63" fmla="*/ 0 h 5"/>
                  <a:gd name="T64" fmla="*/ 0 w 7"/>
                  <a:gd name="T65" fmla="*/ 0 h 5"/>
                  <a:gd name="T66" fmla="*/ 0 w 7"/>
                  <a:gd name="T67" fmla="*/ 3 h 5"/>
                  <a:gd name="T68" fmla="*/ 0 w 7"/>
                  <a:gd name="T69" fmla="*/ 3 h 5"/>
                  <a:gd name="T70" fmla="*/ 0 w 7"/>
                  <a:gd name="T71" fmla="*/ 3 h 5"/>
                  <a:gd name="T72" fmla="*/ 0 w 7"/>
                  <a:gd name="T73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" h="5">
                    <a:moveTo>
                      <a:pt x="0" y="3"/>
                    </a:move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3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36" name="Freeform 675"/>
              <p:cNvSpPr>
                <a:spLocks/>
              </p:cNvSpPr>
              <p:nvPr/>
            </p:nvSpPr>
            <p:spPr bwMode="auto">
              <a:xfrm>
                <a:off x="5798009" y="1886499"/>
                <a:ext cx="21729" cy="11699"/>
              </a:xfrm>
              <a:custGeom>
                <a:avLst/>
                <a:gdLst>
                  <a:gd name="T0" fmla="*/ 13 w 13"/>
                  <a:gd name="T1" fmla="*/ 3 h 7"/>
                  <a:gd name="T2" fmla="*/ 13 w 13"/>
                  <a:gd name="T3" fmla="*/ 0 h 7"/>
                  <a:gd name="T4" fmla="*/ 13 w 13"/>
                  <a:gd name="T5" fmla="*/ 0 h 7"/>
                  <a:gd name="T6" fmla="*/ 9 w 13"/>
                  <a:gd name="T7" fmla="*/ 0 h 7"/>
                  <a:gd name="T8" fmla="*/ 9 w 13"/>
                  <a:gd name="T9" fmla="*/ 0 h 7"/>
                  <a:gd name="T10" fmla="*/ 9 w 13"/>
                  <a:gd name="T11" fmla="*/ 0 h 7"/>
                  <a:gd name="T12" fmla="*/ 7 w 13"/>
                  <a:gd name="T13" fmla="*/ 0 h 7"/>
                  <a:gd name="T14" fmla="*/ 7 w 13"/>
                  <a:gd name="T15" fmla="*/ 0 h 7"/>
                  <a:gd name="T16" fmla="*/ 7 w 13"/>
                  <a:gd name="T17" fmla="*/ 0 h 7"/>
                  <a:gd name="T18" fmla="*/ 7 w 13"/>
                  <a:gd name="T19" fmla="*/ 0 h 7"/>
                  <a:gd name="T20" fmla="*/ 7 w 13"/>
                  <a:gd name="T21" fmla="*/ 0 h 7"/>
                  <a:gd name="T22" fmla="*/ 7 w 13"/>
                  <a:gd name="T23" fmla="*/ 0 h 7"/>
                  <a:gd name="T24" fmla="*/ 7 w 13"/>
                  <a:gd name="T25" fmla="*/ 0 h 7"/>
                  <a:gd name="T26" fmla="*/ 4 w 13"/>
                  <a:gd name="T27" fmla="*/ 3 h 7"/>
                  <a:gd name="T28" fmla="*/ 4 w 13"/>
                  <a:gd name="T29" fmla="*/ 3 h 7"/>
                  <a:gd name="T30" fmla="*/ 4 w 13"/>
                  <a:gd name="T31" fmla="*/ 3 h 7"/>
                  <a:gd name="T32" fmla="*/ 2 w 13"/>
                  <a:gd name="T33" fmla="*/ 3 h 7"/>
                  <a:gd name="T34" fmla="*/ 2 w 13"/>
                  <a:gd name="T35" fmla="*/ 3 h 7"/>
                  <a:gd name="T36" fmla="*/ 0 w 13"/>
                  <a:gd name="T37" fmla="*/ 5 h 7"/>
                  <a:gd name="T38" fmla="*/ 0 w 13"/>
                  <a:gd name="T39" fmla="*/ 5 h 7"/>
                  <a:gd name="T40" fmla="*/ 0 w 13"/>
                  <a:gd name="T41" fmla="*/ 5 h 7"/>
                  <a:gd name="T42" fmla="*/ 0 w 13"/>
                  <a:gd name="T43" fmla="*/ 5 h 7"/>
                  <a:gd name="T44" fmla="*/ 0 w 13"/>
                  <a:gd name="T45" fmla="*/ 5 h 7"/>
                  <a:gd name="T46" fmla="*/ 0 w 13"/>
                  <a:gd name="T47" fmla="*/ 5 h 7"/>
                  <a:gd name="T48" fmla="*/ 0 w 13"/>
                  <a:gd name="T49" fmla="*/ 5 h 7"/>
                  <a:gd name="T50" fmla="*/ 2 w 13"/>
                  <a:gd name="T51" fmla="*/ 5 h 7"/>
                  <a:gd name="T52" fmla="*/ 2 w 13"/>
                  <a:gd name="T53" fmla="*/ 5 h 7"/>
                  <a:gd name="T54" fmla="*/ 2 w 13"/>
                  <a:gd name="T55" fmla="*/ 5 h 7"/>
                  <a:gd name="T56" fmla="*/ 4 w 13"/>
                  <a:gd name="T57" fmla="*/ 7 h 7"/>
                  <a:gd name="T58" fmla="*/ 4 w 13"/>
                  <a:gd name="T59" fmla="*/ 7 h 7"/>
                  <a:gd name="T60" fmla="*/ 4 w 13"/>
                  <a:gd name="T61" fmla="*/ 7 h 7"/>
                  <a:gd name="T62" fmla="*/ 7 w 13"/>
                  <a:gd name="T63" fmla="*/ 7 h 7"/>
                  <a:gd name="T64" fmla="*/ 7 w 13"/>
                  <a:gd name="T65" fmla="*/ 7 h 7"/>
                  <a:gd name="T66" fmla="*/ 7 w 13"/>
                  <a:gd name="T67" fmla="*/ 7 h 7"/>
                  <a:gd name="T68" fmla="*/ 7 w 13"/>
                  <a:gd name="T69" fmla="*/ 5 h 7"/>
                  <a:gd name="T70" fmla="*/ 7 w 13"/>
                  <a:gd name="T71" fmla="*/ 5 h 7"/>
                  <a:gd name="T72" fmla="*/ 7 w 13"/>
                  <a:gd name="T73" fmla="*/ 5 h 7"/>
                  <a:gd name="T74" fmla="*/ 9 w 13"/>
                  <a:gd name="T75" fmla="*/ 5 h 7"/>
                  <a:gd name="T76" fmla="*/ 9 w 13"/>
                  <a:gd name="T77" fmla="*/ 5 h 7"/>
                  <a:gd name="T78" fmla="*/ 9 w 13"/>
                  <a:gd name="T79" fmla="*/ 5 h 7"/>
                  <a:gd name="T80" fmla="*/ 9 w 13"/>
                  <a:gd name="T81" fmla="*/ 5 h 7"/>
                  <a:gd name="T82" fmla="*/ 9 w 13"/>
                  <a:gd name="T83" fmla="*/ 5 h 7"/>
                  <a:gd name="T84" fmla="*/ 9 w 13"/>
                  <a:gd name="T85" fmla="*/ 5 h 7"/>
                  <a:gd name="T86" fmla="*/ 11 w 13"/>
                  <a:gd name="T87" fmla="*/ 5 h 7"/>
                  <a:gd name="T88" fmla="*/ 11 w 13"/>
                  <a:gd name="T89" fmla="*/ 3 h 7"/>
                  <a:gd name="T90" fmla="*/ 11 w 13"/>
                  <a:gd name="T91" fmla="*/ 3 h 7"/>
                  <a:gd name="T92" fmla="*/ 11 w 13"/>
                  <a:gd name="T93" fmla="*/ 3 h 7"/>
                  <a:gd name="T94" fmla="*/ 13 w 13"/>
                  <a:gd name="T95" fmla="*/ 3 h 7"/>
                  <a:gd name="T96" fmla="*/ 13 w 13"/>
                  <a:gd name="T97" fmla="*/ 3 h 7"/>
                  <a:gd name="T98" fmla="*/ 13 w 13"/>
                  <a:gd name="T9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3" h="7">
                    <a:moveTo>
                      <a:pt x="13" y="3"/>
                    </a:moveTo>
                    <a:lnTo>
                      <a:pt x="13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2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4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7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11" y="5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3" y="3"/>
                    </a:lnTo>
                    <a:lnTo>
                      <a:pt x="13" y="3"/>
                    </a:lnTo>
                    <a:close/>
                  </a:path>
                </a:pathLst>
              </a:custGeom>
              <a:grpFill/>
              <a:ln w="1270">
                <a:solidFill>
                  <a:srgbClr val="FFFFFF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26" name="Freeform 10"/>
            <p:cNvSpPr>
              <a:spLocks/>
            </p:cNvSpPr>
            <p:nvPr/>
          </p:nvSpPr>
          <p:spPr bwMode="auto">
            <a:xfrm>
              <a:off x="9398001" y="3170712"/>
              <a:ext cx="82550" cy="79375"/>
            </a:xfrm>
            <a:custGeom>
              <a:avLst/>
              <a:gdLst>
                <a:gd name="T0" fmla="*/ 46 w 52"/>
                <a:gd name="T1" fmla="*/ 4 h 50"/>
                <a:gd name="T2" fmla="*/ 52 w 52"/>
                <a:gd name="T3" fmla="*/ 12 h 50"/>
                <a:gd name="T4" fmla="*/ 46 w 52"/>
                <a:gd name="T5" fmla="*/ 16 h 50"/>
                <a:gd name="T6" fmla="*/ 46 w 52"/>
                <a:gd name="T7" fmla="*/ 14 h 50"/>
                <a:gd name="T8" fmla="*/ 46 w 52"/>
                <a:gd name="T9" fmla="*/ 18 h 50"/>
                <a:gd name="T10" fmla="*/ 44 w 52"/>
                <a:gd name="T11" fmla="*/ 18 h 50"/>
                <a:gd name="T12" fmla="*/ 44 w 52"/>
                <a:gd name="T13" fmla="*/ 26 h 50"/>
                <a:gd name="T14" fmla="*/ 42 w 52"/>
                <a:gd name="T15" fmla="*/ 26 h 50"/>
                <a:gd name="T16" fmla="*/ 44 w 52"/>
                <a:gd name="T17" fmla="*/ 26 h 50"/>
                <a:gd name="T18" fmla="*/ 42 w 52"/>
                <a:gd name="T19" fmla="*/ 30 h 50"/>
                <a:gd name="T20" fmla="*/ 42 w 52"/>
                <a:gd name="T21" fmla="*/ 32 h 50"/>
                <a:gd name="T22" fmla="*/ 42 w 52"/>
                <a:gd name="T23" fmla="*/ 36 h 50"/>
                <a:gd name="T24" fmla="*/ 42 w 52"/>
                <a:gd name="T25" fmla="*/ 36 h 50"/>
                <a:gd name="T26" fmla="*/ 40 w 52"/>
                <a:gd name="T27" fmla="*/ 38 h 50"/>
                <a:gd name="T28" fmla="*/ 40 w 52"/>
                <a:gd name="T29" fmla="*/ 38 h 50"/>
                <a:gd name="T30" fmla="*/ 34 w 52"/>
                <a:gd name="T31" fmla="*/ 42 h 50"/>
                <a:gd name="T32" fmla="*/ 34 w 52"/>
                <a:gd name="T33" fmla="*/ 44 h 50"/>
                <a:gd name="T34" fmla="*/ 34 w 52"/>
                <a:gd name="T35" fmla="*/ 42 h 50"/>
                <a:gd name="T36" fmla="*/ 32 w 52"/>
                <a:gd name="T37" fmla="*/ 42 h 50"/>
                <a:gd name="T38" fmla="*/ 30 w 52"/>
                <a:gd name="T39" fmla="*/ 44 h 50"/>
                <a:gd name="T40" fmla="*/ 28 w 52"/>
                <a:gd name="T41" fmla="*/ 48 h 50"/>
                <a:gd name="T42" fmla="*/ 28 w 52"/>
                <a:gd name="T43" fmla="*/ 48 h 50"/>
                <a:gd name="T44" fmla="*/ 28 w 52"/>
                <a:gd name="T45" fmla="*/ 50 h 50"/>
                <a:gd name="T46" fmla="*/ 26 w 52"/>
                <a:gd name="T47" fmla="*/ 50 h 50"/>
                <a:gd name="T48" fmla="*/ 26 w 52"/>
                <a:gd name="T49" fmla="*/ 50 h 50"/>
                <a:gd name="T50" fmla="*/ 26 w 52"/>
                <a:gd name="T51" fmla="*/ 48 h 50"/>
                <a:gd name="T52" fmla="*/ 24 w 52"/>
                <a:gd name="T53" fmla="*/ 48 h 50"/>
                <a:gd name="T54" fmla="*/ 16 w 52"/>
                <a:gd name="T55" fmla="*/ 48 h 50"/>
                <a:gd name="T56" fmla="*/ 10 w 52"/>
                <a:gd name="T57" fmla="*/ 44 h 50"/>
                <a:gd name="T58" fmla="*/ 6 w 52"/>
                <a:gd name="T59" fmla="*/ 42 h 50"/>
                <a:gd name="T60" fmla="*/ 4 w 52"/>
                <a:gd name="T61" fmla="*/ 38 h 50"/>
                <a:gd name="T62" fmla="*/ 2 w 52"/>
                <a:gd name="T63" fmla="*/ 30 h 50"/>
                <a:gd name="T64" fmla="*/ 2 w 52"/>
                <a:gd name="T65" fmla="*/ 26 h 50"/>
                <a:gd name="T66" fmla="*/ 0 w 52"/>
                <a:gd name="T67" fmla="*/ 22 h 50"/>
                <a:gd name="T68" fmla="*/ 2 w 52"/>
                <a:gd name="T69" fmla="*/ 20 h 50"/>
                <a:gd name="T70" fmla="*/ 2 w 52"/>
                <a:gd name="T71" fmla="*/ 18 h 50"/>
                <a:gd name="T72" fmla="*/ 6 w 52"/>
                <a:gd name="T73" fmla="*/ 16 h 50"/>
                <a:gd name="T74" fmla="*/ 8 w 52"/>
                <a:gd name="T75" fmla="*/ 14 h 50"/>
                <a:gd name="T76" fmla="*/ 10 w 52"/>
                <a:gd name="T77" fmla="*/ 12 h 50"/>
                <a:gd name="T78" fmla="*/ 14 w 52"/>
                <a:gd name="T79" fmla="*/ 10 h 50"/>
                <a:gd name="T80" fmla="*/ 10 w 52"/>
                <a:gd name="T81" fmla="*/ 10 h 50"/>
                <a:gd name="T82" fmla="*/ 10 w 52"/>
                <a:gd name="T83" fmla="*/ 10 h 50"/>
                <a:gd name="T84" fmla="*/ 10 w 52"/>
                <a:gd name="T85" fmla="*/ 8 h 50"/>
                <a:gd name="T86" fmla="*/ 16 w 52"/>
                <a:gd name="T87" fmla="*/ 8 h 50"/>
                <a:gd name="T88" fmla="*/ 18 w 52"/>
                <a:gd name="T89" fmla="*/ 8 h 50"/>
                <a:gd name="T90" fmla="*/ 18 w 52"/>
                <a:gd name="T91" fmla="*/ 4 h 50"/>
                <a:gd name="T92" fmla="*/ 18 w 52"/>
                <a:gd name="T93" fmla="*/ 4 h 50"/>
                <a:gd name="T94" fmla="*/ 20 w 52"/>
                <a:gd name="T95" fmla="*/ 4 h 50"/>
                <a:gd name="T96" fmla="*/ 24 w 52"/>
                <a:gd name="T97" fmla="*/ 4 h 50"/>
                <a:gd name="T98" fmla="*/ 26 w 52"/>
                <a:gd name="T99" fmla="*/ 4 h 50"/>
                <a:gd name="T100" fmla="*/ 28 w 52"/>
                <a:gd name="T101" fmla="*/ 4 h 50"/>
                <a:gd name="T102" fmla="*/ 28 w 52"/>
                <a:gd name="T103" fmla="*/ 4 h 50"/>
                <a:gd name="T104" fmla="*/ 30 w 52"/>
                <a:gd name="T105" fmla="*/ 4 h 50"/>
                <a:gd name="T106" fmla="*/ 32 w 52"/>
                <a:gd name="T107" fmla="*/ 2 h 50"/>
                <a:gd name="T108" fmla="*/ 34 w 52"/>
                <a:gd name="T109" fmla="*/ 2 h 50"/>
                <a:gd name="T110" fmla="*/ 38 w 52"/>
                <a:gd name="T111" fmla="*/ 4 h 50"/>
                <a:gd name="T112" fmla="*/ 34 w 52"/>
                <a:gd name="T113" fmla="*/ 2 h 50"/>
                <a:gd name="T114" fmla="*/ 38 w 52"/>
                <a:gd name="T115" fmla="*/ 4 h 50"/>
                <a:gd name="T116" fmla="*/ 42 w 52"/>
                <a:gd name="T117" fmla="*/ 4 h 50"/>
                <a:gd name="T118" fmla="*/ 40 w 52"/>
                <a:gd name="T119" fmla="*/ 2 h 50"/>
                <a:gd name="T120" fmla="*/ 42 w 52"/>
                <a:gd name="T12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2" h="50">
                  <a:moveTo>
                    <a:pt x="42" y="0"/>
                  </a:moveTo>
                  <a:lnTo>
                    <a:pt x="42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4" y="48"/>
                  </a:lnTo>
                  <a:lnTo>
                    <a:pt x="26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0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6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6" y="4"/>
                  </a:lnTo>
                  <a:lnTo>
                    <a:pt x="26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767676"/>
            </a:solidFill>
            <a:ln w="1270">
              <a:solidFill>
                <a:srgbClr val="FFFFFF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37" name="Rounded Rectangle 236"/>
          <p:cNvSpPr/>
          <p:nvPr/>
        </p:nvSpPr>
        <p:spPr>
          <a:xfrm>
            <a:off x="2581928" y="3522305"/>
            <a:ext cx="2208940" cy="1262998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400" b="1" dirty="0"/>
              <a:t>Customers</a:t>
            </a:r>
          </a:p>
          <a:p>
            <a:pPr algn="ctr">
              <a:lnSpc>
                <a:spcPct val="90000"/>
              </a:lnSpc>
            </a:pPr>
            <a:endParaRPr lang="en-GB" sz="1400" b="1" dirty="0"/>
          </a:p>
          <a:p>
            <a:pPr algn="ctr">
              <a:lnSpc>
                <a:spcPct val="90000"/>
              </a:lnSpc>
            </a:pPr>
            <a:r>
              <a:rPr lang="en-GB" b="1" dirty="0">
                <a:solidFill>
                  <a:schemeClr val="bg1"/>
                </a:solidFill>
              </a:rPr>
              <a:t>35</a:t>
            </a:r>
            <a:r>
              <a:rPr lang="en-GB" sz="1400" b="1" dirty="0">
                <a:solidFill>
                  <a:schemeClr val="bg1"/>
                </a:solidFill>
              </a:rPr>
              <a:t> </a:t>
            </a:r>
            <a:r>
              <a:rPr lang="en-GB" sz="1400" dirty="0"/>
              <a:t>million</a:t>
            </a:r>
          </a:p>
          <a:p>
            <a:pPr algn="ctr">
              <a:lnSpc>
                <a:spcPct val="90000"/>
              </a:lnSpc>
            </a:pPr>
            <a:r>
              <a:rPr lang="en-GB" sz="1400" dirty="0"/>
              <a:t>private, corporate and institutional customers</a:t>
            </a:r>
          </a:p>
        </p:txBody>
      </p:sp>
      <p:sp>
        <p:nvSpPr>
          <p:cNvPr id="238" name="Rounded Rectangle 237"/>
          <p:cNvSpPr/>
          <p:nvPr/>
        </p:nvSpPr>
        <p:spPr>
          <a:xfrm>
            <a:off x="4978040" y="3522305"/>
            <a:ext cx="2208940" cy="1262998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6000" rIns="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400" b="1" dirty="0"/>
          </a:p>
          <a:p>
            <a:pPr algn="ctr">
              <a:lnSpc>
                <a:spcPct val="90000"/>
              </a:lnSpc>
            </a:pPr>
            <a:r>
              <a:rPr lang="en-GB" sz="1400" b="1" dirty="0"/>
              <a:t>Countries</a:t>
            </a:r>
          </a:p>
          <a:p>
            <a:pPr algn="ctr">
              <a:lnSpc>
                <a:spcPct val="90000"/>
              </a:lnSpc>
            </a:pPr>
            <a:endParaRPr lang="en-GB" sz="1400" b="1" dirty="0"/>
          </a:p>
          <a:p>
            <a:pPr algn="ctr">
              <a:lnSpc>
                <a:spcPct val="90000"/>
              </a:lnSpc>
            </a:pPr>
            <a:r>
              <a:rPr lang="en-GB" sz="1400" dirty="0"/>
              <a:t>more than</a:t>
            </a:r>
            <a:r>
              <a:rPr lang="en-GB" sz="1400" b="1" dirty="0"/>
              <a:t> </a:t>
            </a:r>
            <a:r>
              <a:rPr lang="en-GB" b="1" dirty="0">
                <a:solidFill>
                  <a:schemeClr val="bg1"/>
                </a:solidFill>
              </a:rPr>
              <a:t>40</a:t>
            </a:r>
            <a:r>
              <a:rPr lang="en-GB" sz="1400" b="1" dirty="0"/>
              <a:t> </a:t>
            </a:r>
          </a:p>
          <a:p>
            <a:pPr algn="ctr">
              <a:lnSpc>
                <a:spcPct val="90000"/>
              </a:lnSpc>
            </a:pPr>
            <a:r>
              <a:rPr lang="en-GB" sz="1400" dirty="0"/>
              <a:t>In Europe, Asia,  Australia, North and South America</a:t>
            </a:r>
          </a:p>
          <a:p>
            <a:pPr algn="ctr">
              <a:lnSpc>
                <a:spcPct val="90000"/>
              </a:lnSpc>
            </a:pPr>
            <a:endParaRPr lang="en-GB" sz="1400" b="1" dirty="0"/>
          </a:p>
        </p:txBody>
      </p:sp>
      <p:sp>
        <p:nvSpPr>
          <p:cNvPr id="239" name="Rounded Rectangle 238"/>
          <p:cNvSpPr/>
          <p:nvPr/>
        </p:nvSpPr>
        <p:spPr>
          <a:xfrm>
            <a:off x="7374152" y="3522305"/>
            <a:ext cx="2208940" cy="1262998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1400" b="1" dirty="0"/>
          </a:p>
          <a:p>
            <a:pPr algn="ctr">
              <a:lnSpc>
                <a:spcPct val="90000"/>
              </a:lnSpc>
            </a:pPr>
            <a:r>
              <a:rPr lang="en-GB" sz="1400" b="1" dirty="0"/>
              <a:t>Employees</a:t>
            </a:r>
          </a:p>
          <a:p>
            <a:pPr algn="ctr">
              <a:lnSpc>
                <a:spcPct val="90000"/>
              </a:lnSpc>
            </a:pPr>
            <a:endParaRPr lang="en-GB" sz="1400" b="1" dirty="0"/>
          </a:p>
          <a:p>
            <a:pPr algn="ctr">
              <a:lnSpc>
                <a:spcPct val="90000"/>
              </a:lnSpc>
            </a:pPr>
            <a:r>
              <a:rPr lang="en-GB" b="1" dirty="0">
                <a:solidFill>
                  <a:schemeClr val="bg1"/>
                </a:solidFill>
              </a:rPr>
              <a:t>52,000</a:t>
            </a:r>
            <a:r>
              <a:rPr lang="en-GB" sz="1400" b="1" dirty="0">
                <a:solidFill>
                  <a:schemeClr val="bg1"/>
                </a:solidFill>
              </a:rPr>
              <a:t>  </a:t>
            </a:r>
            <a:r>
              <a:rPr lang="en-GB" sz="1400" dirty="0">
                <a:solidFill>
                  <a:schemeClr val="bg1"/>
                </a:solidFill>
              </a:rPr>
              <a:t>worldwide</a:t>
            </a:r>
            <a:br>
              <a:rPr lang="en-GB" sz="1400" dirty="0">
                <a:solidFill>
                  <a:schemeClr val="bg1"/>
                </a:solidFill>
              </a:rPr>
            </a:br>
            <a:r>
              <a:rPr lang="en-GB" b="1" dirty="0">
                <a:solidFill>
                  <a:schemeClr val="bg1"/>
                </a:solidFill>
              </a:rPr>
              <a:t>12,416 </a:t>
            </a:r>
            <a:r>
              <a:rPr lang="en-GB" sz="1400" dirty="0">
                <a:solidFill>
                  <a:schemeClr val="bg1"/>
                </a:solidFill>
              </a:rPr>
              <a:t>in NL</a:t>
            </a:r>
            <a:br>
              <a:rPr lang="en-GB" sz="1400" dirty="0">
                <a:solidFill>
                  <a:schemeClr val="bg1"/>
                </a:solidFill>
              </a:rPr>
            </a:br>
            <a:endParaRPr lang="en-GB" sz="1400" b="1" dirty="0">
              <a:solidFill>
                <a:schemeClr val="tx1"/>
              </a:solidFill>
            </a:endParaRPr>
          </a:p>
          <a:p>
            <a:pPr algn="ctr">
              <a:lnSpc>
                <a:spcPct val="90000"/>
              </a:lnSpc>
            </a:pPr>
            <a:endParaRPr lang="en-GB" sz="1400" b="1" dirty="0">
              <a:solidFill>
                <a:schemeClr val="tx1"/>
              </a:solidFill>
            </a:endParaRPr>
          </a:p>
        </p:txBody>
      </p:sp>
      <p:grpSp>
        <p:nvGrpSpPr>
          <p:cNvPr id="241" name="Group 240"/>
          <p:cNvGrpSpPr/>
          <p:nvPr/>
        </p:nvGrpSpPr>
        <p:grpSpPr>
          <a:xfrm>
            <a:off x="930937" y="5148659"/>
            <a:ext cx="2415120" cy="995878"/>
            <a:chOff x="842430" y="4906012"/>
            <a:chExt cx="2415120" cy="995878"/>
          </a:xfrm>
        </p:grpSpPr>
        <p:grpSp>
          <p:nvGrpSpPr>
            <p:cNvPr id="242" name="Group 241"/>
            <p:cNvGrpSpPr/>
            <p:nvPr/>
          </p:nvGrpSpPr>
          <p:grpSpPr>
            <a:xfrm>
              <a:off x="842430" y="4906012"/>
              <a:ext cx="2415120" cy="184666"/>
              <a:chOff x="842430" y="4906012"/>
              <a:chExt cx="2415120" cy="184666"/>
            </a:xfrm>
          </p:grpSpPr>
          <p:sp>
            <p:nvSpPr>
              <p:cNvPr id="252" name="TextBox 251"/>
              <p:cNvSpPr txBox="1"/>
              <p:nvPr/>
            </p:nvSpPr>
            <p:spPr bwMode="gray">
              <a:xfrm>
                <a:off x="1097550" y="4906012"/>
                <a:ext cx="216000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</a:rPr>
                  <a:t>Market leaders Benelux</a:t>
                </a:r>
              </a:p>
            </p:txBody>
          </p:sp>
          <p:sp>
            <p:nvSpPr>
              <p:cNvPr id="253" name="Rectangle 10"/>
              <p:cNvSpPr>
                <a:spLocks noChangeArrowheads="1"/>
              </p:cNvSpPr>
              <p:nvPr/>
            </p:nvSpPr>
            <p:spPr bwMode="auto">
              <a:xfrm>
                <a:off x="842430" y="4908345"/>
                <a:ext cx="180975" cy="180000"/>
              </a:xfrm>
              <a:prstGeom prst="rect">
                <a:avLst/>
              </a:prstGeom>
              <a:solidFill>
                <a:srgbClr val="17A7D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43" name="Group 242"/>
            <p:cNvGrpSpPr/>
            <p:nvPr/>
          </p:nvGrpSpPr>
          <p:grpSpPr>
            <a:xfrm>
              <a:off x="842430" y="5446508"/>
              <a:ext cx="2415120" cy="184978"/>
              <a:chOff x="842430" y="5446508"/>
              <a:chExt cx="2415120" cy="184978"/>
            </a:xfrm>
          </p:grpSpPr>
          <p:sp>
            <p:nvSpPr>
              <p:cNvPr id="250" name="TextBox 249"/>
              <p:cNvSpPr txBox="1"/>
              <p:nvPr/>
            </p:nvSpPr>
            <p:spPr bwMode="gray">
              <a:xfrm>
                <a:off x="1097550" y="5446820"/>
                <a:ext cx="216000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</a:rPr>
                  <a:t>Growth markets</a:t>
                </a:r>
              </a:p>
            </p:txBody>
          </p:sp>
          <p:sp>
            <p:nvSpPr>
              <p:cNvPr id="251" name="Rectangle 12"/>
              <p:cNvSpPr>
                <a:spLocks noChangeArrowheads="1"/>
              </p:cNvSpPr>
              <p:nvPr/>
            </p:nvSpPr>
            <p:spPr bwMode="auto">
              <a:xfrm>
                <a:off x="842430" y="5446508"/>
                <a:ext cx="180975" cy="180000"/>
              </a:xfrm>
              <a:prstGeom prst="rect">
                <a:avLst/>
              </a:prstGeom>
              <a:solidFill>
                <a:srgbClr val="C900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44" name="Group 243"/>
            <p:cNvGrpSpPr/>
            <p:nvPr/>
          </p:nvGrpSpPr>
          <p:grpSpPr>
            <a:xfrm>
              <a:off x="842430" y="5717224"/>
              <a:ext cx="2415120" cy="184666"/>
              <a:chOff x="842430" y="5717224"/>
              <a:chExt cx="2415120" cy="184666"/>
            </a:xfrm>
          </p:grpSpPr>
          <p:sp>
            <p:nvSpPr>
              <p:cNvPr id="248" name="TextBox 247"/>
              <p:cNvSpPr txBox="1"/>
              <p:nvPr/>
            </p:nvSpPr>
            <p:spPr bwMode="gray">
              <a:xfrm>
                <a:off x="1097550" y="5717224"/>
                <a:ext cx="216000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</a:rPr>
                  <a:t>Commercial Banking</a:t>
                </a:r>
              </a:p>
            </p:txBody>
          </p:sp>
          <p:sp>
            <p:nvSpPr>
              <p:cNvPr id="249" name="Rectangle 13"/>
              <p:cNvSpPr>
                <a:spLocks noChangeArrowheads="1"/>
              </p:cNvSpPr>
              <p:nvPr/>
            </p:nvSpPr>
            <p:spPr bwMode="auto">
              <a:xfrm>
                <a:off x="842430" y="5719557"/>
                <a:ext cx="180975" cy="180000"/>
              </a:xfrm>
              <a:prstGeom prst="rect">
                <a:avLst/>
              </a:prstGeom>
              <a:solidFill>
                <a:srgbClr val="7676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245" name="Group 244"/>
            <p:cNvGrpSpPr/>
            <p:nvPr/>
          </p:nvGrpSpPr>
          <p:grpSpPr>
            <a:xfrm>
              <a:off x="842430" y="5176416"/>
              <a:ext cx="2415120" cy="188153"/>
              <a:chOff x="842430" y="5176416"/>
              <a:chExt cx="2415120" cy="188153"/>
            </a:xfrm>
          </p:grpSpPr>
          <p:sp>
            <p:nvSpPr>
              <p:cNvPr id="246" name="Rectangle 11"/>
              <p:cNvSpPr>
                <a:spLocks noChangeArrowheads="1"/>
              </p:cNvSpPr>
              <p:nvPr/>
            </p:nvSpPr>
            <p:spPr bwMode="auto">
              <a:xfrm>
                <a:off x="842430" y="5184569"/>
                <a:ext cx="180975" cy="180000"/>
              </a:xfrm>
              <a:prstGeom prst="rect">
                <a:avLst/>
              </a:prstGeom>
              <a:solidFill>
                <a:srgbClr val="FF62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333333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47" name="TextBox 246"/>
              <p:cNvSpPr txBox="1"/>
              <p:nvPr/>
            </p:nvSpPr>
            <p:spPr bwMode="gray">
              <a:xfrm>
                <a:off x="1097550" y="5176416"/>
                <a:ext cx="2160000" cy="18466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 anchorCtr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33333"/>
                    </a:solidFill>
                    <a:effectLst/>
                    <a:uLnTx/>
                    <a:uFillTx/>
                  </a:rPr>
                  <a:t>Challenger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27327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42199"/>
    </mc:Choice>
    <mc:Fallback>
      <p:transition spd="slow" advTm="42199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rchitecture 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3774753" y="5014502"/>
            <a:ext cx="6036527" cy="825190"/>
          </a:xfrm>
          <a:prstGeom prst="roundRect">
            <a:avLst/>
          </a:prstGeom>
          <a:noFill/>
          <a:ln w="6350">
            <a:solidFill>
              <a:srgbClr val="60A6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 dirty="0"/>
          </a:p>
          <a:p>
            <a:pPr algn="ctr">
              <a:lnSpc>
                <a:spcPct val="90000"/>
              </a:lnSpc>
            </a:pPr>
            <a:r>
              <a:rPr lang="de-DE" sz="24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3774753" y="3572279"/>
            <a:ext cx="6036527" cy="1133706"/>
          </a:xfrm>
          <a:prstGeom prst="roundRect">
            <a:avLst/>
          </a:prstGeom>
          <a:noFill/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8" name="Rounded Rectangle 7"/>
          <p:cNvSpPr/>
          <p:nvPr/>
        </p:nvSpPr>
        <p:spPr>
          <a:xfrm>
            <a:off x="3774751" y="1132020"/>
            <a:ext cx="3018263" cy="2102004"/>
          </a:xfrm>
          <a:prstGeom prst="roundRect">
            <a:avLst>
              <a:gd name="adj" fmla="val 7879"/>
            </a:avLst>
          </a:prstGeom>
          <a:solidFill>
            <a:srgbClr val="D9D9D9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9" name="Oval 8"/>
          <p:cNvSpPr/>
          <p:nvPr/>
        </p:nvSpPr>
        <p:spPr>
          <a:xfrm>
            <a:off x="4414090" y="5233809"/>
            <a:ext cx="973873" cy="38657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Source 1</a:t>
            </a:r>
          </a:p>
        </p:txBody>
      </p:sp>
      <p:sp>
        <p:nvSpPr>
          <p:cNvPr id="11" name="Oval 10"/>
          <p:cNvSpPr/>
          <p:nvPr/>
        </p:nvSpPr>
        <p:spPr>
          <a:xfrm>
            <a:off x="8149749" y="5233809"/>
            <a:ext cx="973873" cy="386576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Source N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4131591" y="4183735"/>
            <a:ext cx="5449229" cy="401444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Layer 0</a:t>
            </a:r>
          </a:p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raw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data</a:t>
            </a:r>
            <a:r>
              <a:rPr lang="de-DE" sz="1200" dirty="0">
                <a:solidFill>
                  <a:schemeClr val="tx1"/>
                </a:solidFill>
              </a:rPr>
              <a:t> in HDFS – </a:t>
            </a:r>
            <a:r>
              <a:rPr lang="de-DE" sz="1200" dirty="0" err="1">
                <a:solidFill>
                  <a:schemeClr val="tx1"/>
                </a:solidFill>
              </a:rPr>
              <a:t>ingestion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older</a:t>
            </a:r>
            <a:r>
              <a:rPr lang="de-DE" sz="12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4131591" y="3678213"/>
            <a:ext cx="5449229" cy="401444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Layer 1</a:t>
            </a:r>
          </a:p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transformed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data</a:t>
            </a:r>
            <a:r>
              <a:rPr lang="de-DE" sz="1200" dirty="0">
                <a:solidFill>
                  <a:schemeClr val="tx1"/>
                </a:solidFill>
              </a:rPr>
              <a:t> – </a:t>
            </a:r>
            <a:r>
              <a:rPr lang="de-DE" sz="1200" dirty="0" err="1">
                <a:solidFill>
                  <a:schemeClr val="tx1"/>
                </a:solidFill>
              </a:rPr>
              <a:t>project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folder</a:t>
            </a:r>
            <a:r>
              <a:rPr lang="de-DE" sz="12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4" name="Up Arrow 13"/>
          <p:cNvSpPr/>
          <p:nvPr/>
        </p:nvSpPr>
        <p:spPr>
          <a:xfrm>
            <a:off x="5131480" y="4585179"/>
            <a:ext cx="304801" cy="648630"/>
          </a:xfrm>
          <a:prstGeom prst="upArrow">
            <a:avLst/>
          </a:prstGeom>
          <a:solidFill>
            <a:schemeClr val="bg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5" name="Up Arrow 14"/>
          <p:cNvSpPr/>
          <p:nvPr/>
        </p:nvSpPr>
        <p:spPr>
          <a:xfrm>
            <a:off x="8273340" y="4596582"/>
            <a:ext cx="278781" cy="648630"/>
          </a:xfrm>
          <a:prstGeom prst="upArrow">
            <a:avLst/>
          </a:prstGeom>
          <a:solidFill>
            <a:schemeClr val="bg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3923437" y="2616989"/>
            <a:ext cx="2735766" cy="401444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Layer S1</a:t>
            </a:r>
          </a:p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exploration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data</a:t>
            </a:r>
            <a:r>
              <a:rPr lang="de-DE" sz="12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923436" y="1784366"/>
            <a:ext cx="2735766" cy="401444"/>
          </a:xfrm>
          <a:prstGeom prst="round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Layer SN</a:t>
            </a:r>
          </a:p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(</a:t>
            </a:r>
            <a:r>
              <a:rPr lang="de-DE" sz="1200" dirty="0" err="1">
                <a:solidFill>
                  <a:schemeClr val="tx1"/>
                </a:solidFill>
              </a:rPr>
              <a:t>exploration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err="1">
                <a:solidFill>
                  <a:schemeClr val="tx1"/>
                </a:solidFill>
              </a:rPr>
              <a:t>data</a:t>
            </a:r>
            <a:r>
              <a:rPr lang="de-DE" sz="1200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8" name="Oval 17"/>
          <p:cNvSpPr/>
          <p:nvPr/>
        </p:nvSpPr>
        <p:spPr>
          <a:xfrm>
            <a:off x="4131589" y="1213795"/>
            <a:ext cx="921836" cy="36427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Model 1</a:t>
            </a:r>
          </a:p>
        </p:txBody>
      </p:sp>
      <p:sp>
        <p:nvSpPr>
          <p:cNvPr id="19" name="Oval 18"/>
          <p:cNvSpPr/>
          <p:nvPr/>
        </p:nvSpPr>
        <p:spPr>
          <a:xfrm>
            <a:off x="5618421" y="1213794"/>
            <a:ext cx="877228" cy="364273"/>
          </a:xfrm>
          <a:prstGeom prst="ellipse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chemeClr val="tx1"/>
                </a:solidFill>
              </a:rPr>
              <a:t>Model K</a:t>
            </a:r>
            <a:endParaRPr lang="de-DE" sz="1200" dirty="0"/>
          </a:p>
        </p:txBody>
      </p:sp>
      <p:sp>
        <p:nvSpPr>
          <p:cNvPr id="20" name="Rounded Rectangle 19"/>
          <p:cNvSpPr/>
          <p:nvPr/>
        </p:nvSpPr>
        <p:spPr>
          <a:xfrm>
            <a:off x="6988162" y="1134808"/>
            <a:ext cx="2823118" cy="2102004"/>
          </a:xfrm>
          <a:prstGeom prst="roundRect">
            <a:avLst>
              <a:gd name="adj" fmla="val 5242"/>
            </a:avLst>
          </a:prstGeom>
          <a:solidFill>
            <a:srgbClr val="019649"/>
          </a:solidFill>
          <a:ln w="63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2000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endParaRPr lang="de-DE" sz="2000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Models </a:t>
            </a: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On </a:t>
            </a:r>
            <a:r>
              <a:rPr lang="de-DE" sz="2000" b="1" dirty="0" err="1">
                <a:solidFill>
                  <a:schemeClr val="bg1"/>
                </a:solidFill>
              </a:rPr>
              <a:t>Production</a:t>
            </a:r>
            <a:endParaRPr lang="de-DE" sz="2000" b="1" dirty="0">
              <a:solidFill>
                <a:schemeClr val="bg1"/>
              </a:solidFill>
            </a:endParaRPr>
          </a:p>
          <a:p>
            <a:pPr algn="ctr">
              <a:lnSpc>
                <a:spcPct val="90000"/>
              </a:lnSpc>
            </a:pPr>
            <a:r>
              <a:rPr lang="de-DE" sz="2000" b="1" dirty="0">
                <a:solidFill>
                  <a:schemeClr val="bg1"/>
                </a:solidFill>
              </a:rPr>
              <a:t>(</a:t>
            </a:r>
            <a:r>
              <a:rPr lang="de-DE" sz="2000" b="1" dirty="0" err="1">
                <a:solidFill>
                  <a:schemeClr val="bg1"/>
                </a:solidFill>
              </a:rPr>
              <a:t>Deep</a:t>
            </a:r>
            <a:r>
              <a:rPr lang="de-DE" sz="2000" b="1" dirty="0">
                <a:solidFill>
                  <a:schemeClr val="bg1"/>
                </a:solidFill>
              </a:rPr>
              <a:t> Data)</a:t>
            </a:r>
          </a:p>
          <a:p>
            <a:pPr algn="ctr">
              <a:lnSpc>
                <a:spcPct val="90000"/>
              </a:lnSpc>
            </a:pPr>
            <a:endParaRPr lang="de-DE" sz="2000" b="1" dirty="0">
              <a:solidFill>
                <a:schemeClr val="tx1"/>
              </a:solidFill>
            </a:endParaRPr>
          </a:p>
        </p:txBody>
      </p:sp>
      <p:sp>
        <p:nvSpPr>
          <p:cNvPr id="25" name="Up Arrow 24"/>
          <p:cNvSpPr/>
          <p:nvPr/>
        </p:nvSpPr>
        <p:spPr>
          <a:xfrm>
            <a:off x="5131481" y="3029583"/>
            <a:ext cx="304801" cy="648630"/>
          </a:xfrm>
          <a:prstGeom prst="upArrow">
            <a:avLst/>
          </a:prstGeom>
          <a:solidFill>
            <a:schemeClr val="bg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6" name="Up Arrow 25"/>
          <p:cNvSpPr/>
          <p:nvPr/>
        </p:nvSpPr>
        <p:spPr>
          <a:xfrm>
            <a:off x="8247320" y="3029583"/>
            <a:ext cx="304801" cy="648630"/>
          </a:xfrm>
          <a:prstGeom prst="upArrow">
            <a:avLst/>
          </a:prstGeom>
          <a:solidFill>
            <a:schemeClr val="bg1">
              <a:lumMod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28" name="U-Turn Arrow 27"/>
          <p:cNvSpPr/>
          <p:nvPr/>
        </p:nvSpPr>
        <p:spPr>
          <a:xfrm rot="16200000">
            <a:off x="1971043" y="2380024"/>
            <a:ext cx="2752493" cy="854927"/>
          </a:xfrm>
          <a:prstGeom prst="uturnArrow">
            <a:avLst>
              <a:gd name="adj1" fmla="val 26740"/>
              <a:gd name="adj2" fmla="val 25000"/>
              <a:gd name="adj3" fmla="val 25000"/>
              <a:gd name="adj4" fmla="val 43750"/>
              <a:gd name="adj5" fmla="val 75000"/>
            </a:avLst>
          </a:prstGeom>
          <a:solidFill>
            <a:srgbClr val="D9D9D9"/>
          </a:solidFill>
          <a:ln w="6350">
            <a:solidFill>
              <a:srgbClr val="D9D9D9"/>
            </a:solidFill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>
              <a:solidFill>
                <a:schemeClr val="tx1"/>
              </a:solidFill>
            </a:endParaRPr>
          </a:p>
        </p:txBody>
      </p:sp>
      <p:cxnSp>
        <p:nvCxnSpPr>
          <p:cNvPr id="32" name="Straight Arrow Connector 31"/>
          <p:cNvCxnSpPr/>
          <p:nvPr/>
        </p:nvCxnSpPr>
        <p:spPr>
          <a:xfrm>
            <a:off x="2585289" y="1213795"/>
            <a:ext cx="14868" cy="2865862"/>
          </a:xfrm>
          <a:prstGeom prst="straightConnector1">
            <a:avLst/>
          </a:prstGeom>
          <a:ln>
            <a:solidFill>
              <a:srgbClr val="A8A8A8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2607591" y="4208360"/>
            <a:ext cx="0" cy="497625"/>
          </a:xfrm>
          <a:prstGeom prst="straightConnector1">
            <a:avLst/>
          </a:prstGeom>
          <a:ln>
            <a:solidFill>
              <a:srgbClr val="A8A8A8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1600477" y="4282321"/>
            <a:ext cx="1026490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900" b="1" dirty="0" err="1"/>
              <a:t>Only</a:t>
            </a:r>
            <a:r>
              <a:rPr lang="de-DE" sz="900" b="1" dirty="0"/>
              <a:t> </a:t>
            </a:r>
            <a:r>
              <a:rPr lang="de-DE" sz="900" b="1" dirty="0" err="1"/>
              <a:t>read</a:t>
            </a:r>
            <a:r>
              <a:rPr lang="de-DE" sz="900" b="1" dirty="0"/>
              <a:t> </a:t>
            </a:r>
            <a:r>
              <a:rPr lang="de-DE" sz="900" b="1" dirty="0" err="1"/>
              <a:t>access</a:t>
            </a:r>
            <a:endParaRPr lang="de-DE" sz="900" b="1" dirty="0"/>
          </a:p>
          <a:p>
            <a:r>
              <a:rPr lang="de-DE" sz="900" b="1" dirty="0" err="1"/>
              <a:t>To</a:t>
            </a:r>
            <a:r>
              <a:rPr lang="de-DE" sz="900" b="1" dirty="0"/>
              <a:t> Data </a:t>
            </a:r>
            <a:r>
              <a:rPr lang="de-DE" sz="900" b="1" dirty="0" err="1"/>
              <a:t>Scientists</a:t>
            </a:r>
            <a:endParaRPr lang="de-DE" sz="9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600477" y="2468009"/>
            <a:ext cx="1026490" cy="349702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900" b="1" dirty="0" err="1"/>
              <a:t>Full</a:t>
            </a:r>
            <a:r>
              <a:rPr lang="de-DE" sz="900" b="1" dirty="0"/>
              <a:t> </a:t>
            </a:r>
            <a:r>
              <a:rPr lang="de-DE" sz="900" b="1" dirty="0" err="1"/>
              <a:t>access</a:t>
            </a:r>
            <a:endParaRPr lang="de-DE" sz="900" b="1" dirty="0"/>
          </a:p>
          <a:p>
            <a:r>
              <a:rPr lang="de-DE" sz="900" b="1" dirty="0" err="1"/>
              <a:t>To</a:t>
            </a:r>
            <a:r>
              <a:rPr lang="de-DE" sz="900" b="1" dirty="0"/>
              <a:t> Data </a:t>
            </a:r>
            <a:r>
              <a:rPr lang="de-DE" sz="900" b="1" dirty="0" err="1"/>
              <a:t>Scientists</a:t>
            </a:r>
            <a:endParaRPr lang="de-DE" sz="900" b="1" dirty="0"/>
          </a:p>
        </p:txBody>
      </p:sp>
      <p:cxnSp>
        <p:nvCxnSpPr>
          <p:cNvPr id="27" name="Straight Arrow Connector 26"/>
          <p:cNvCxnSpPr/>
          <p:nvPr/>
        </p:nvCxnSpPr>
        <p:spPr>
          <a:xfrm>
            <a:off x="2629894" y="4984997"/>
            <a:ext cx="0" cy="854695"/>
          </a:xfrm>
          <a:prstGeom prst="straightConnector1">
            <a:avLst/>
          </a:prstGeom>
          <a:ln>
            <a:solidFill>
              <a:srgbClr val="A8A8A8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611698" y="5321495"/>
            <a:ext cx="997636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900" b="1" dirty="0" err="1"/>
              <a:t>External</a:t>
            </a:r>
            <a:r>
              <a:rPr lang="de-DE" sz="900" b="1" dirty="0"/>
              <a:t> Systems</a:t>
            </a:r>
          </a:p>
        </p:txBody>
      </p:sp>
      <p:sp>
        <p:nvSpPr>
          <p:cNvPr id="30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20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3286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49406"/>
    </mc:Choice>
    <mc:Fallback>
      <p:transition spd="slow" advTm="249406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1989876" y="2585672"/>
            <a:ext cx="512332" cy="293022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/>
          </a:p>
        </p:txBody>
      </p:sp>
      <p:sp>
        <p:nvSpPr>
          <p:cNvPr id="5" name="Titel 5"/>
          <p:cNvSpPr txBox="1">
            <a:spLocks/>
          </p:cNvSpPr>
          <p:nvPr/>
        </p:nvSpPr>
        <p:spPr bwMode="auto">
          <a:xfrm>
            <a:off x="845575" y="280733"/>
            <a:ext cx="10489175" cy="854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ING Me" pitchFamily="2" charset="0"/>
              </a:defRPr>
            </a:lvl1pPr>
          </a:lstStyle>
          <a:p>
            <a:r>
              <a:rPr lang="en-US" dirty="0"/>
              <a:t>Multi-Tenancy Concept</a:t>
            </a:r>
            <a:endParaRPr lang="de-DE" dirty="0"/>
          </a:p>
        </p:txBody>
      </p:sp>
      <p:sp>
        <p:nvSpPr>
          <p:cNvPr id="102" name="Abgerundetes Rechteck 41"/>
          <p:cNvSpPr/>
          <p:nvPr/>
        </p:nvSpPr>
        <p:spPr bwMode="auto">
          <a:xfrm>
            <a:off x="2961238" y="2590129"/>
            <a:ext cx="2691263" cy="2925767"/>
          </a:xfrm>
          <a:prstGeom prst="roundRect">
            <a:avLst>
              <a:gd name="adj" fmla="val 8681"/>
            </a:avLst>
          </a:prstGeom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de-DE" sz="2000" b="1" dirty="0"/>
              <a:t>Access Area</a:t>
            </a:r>
            <a:endParaRPr lang="en-US" sz="2000" b="1" dirty="0"/>
          </a:p>
        </p:txBody>
      </p:sp>
      <p:sp>
        <p:nvSpPr>
          <p:cNvPr id="103" name="Wolke 6"/>
          <p:cNvSpPr/>
          <p:nvPr/>
        </p:nvSpPr>
        <p:spPr bwMode="auto">
          <a:xfrm>
            <a:off x="549270" y="3331298"/>
            <a:ext cx="1188132" cy="919712"/>
          </a:xfrm>
          <a:prstGeom prst="roundRect">
            <a:avLst/>
          </a:prstGeom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b="1" dirty="0"/>
              <a:t>ING Group</a:t>
            </a:r>
          </a:p>
        </p:txBody>
      </p:sp>
      <p:sp>
        <p:nvSpPr>
          <p:cNvPr id="105" name="Pfeil nach rechts 18"/>
          <p:cNvSpPr/>
          <p:nvPr/>
        </p:nvSpPr>
        <p:spPr bwMode="auto">
          <a:xfrm>
            <a:off x="1850753" y="3657327"/>
            <a:ext cx="987818" cy="288112"/>
          </a:xfrm>
          <a:prstGeom prst="rightArrow">
            <a:avLst/>
          </a:prstGeom>
          <a:solidFill>
            <a:schemeClr val="accent2"/>
          </a:solidFill>
          <a:ln w="38100" cap="flat" cmpd="sng" algn="ctr">
            <a:noFill/>
            <a:prstDash val="solid"/>
            <a:round/>
            <a:headEnd type="none" w="med" len="med"/>
            <a:tailEnd type="none" w="lg" len="lg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6" name="Textfeld 19"/>
          <p:cNvSpPr txBox="1"/>
          <p:nvPr/>
        </p:nvSpPr>
        <p:spPr>
          <a:xfrm>
            <a:off x="1875291" y="3370669"/>
            <a:ext cx="1070806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latin typeface="+mj-lt"/>
              </a:rPr>
              <a:t>1. LDAP login</a:t>
            </a:r>
          </a:p>
        </p:txBody>
      </p:sp>
      <p:sp>
        <p:nvSpPr>
          <p:cNvPr id="107" name="Textfeld 20"/>
          <p:cNvSpPr txBox="1"/>
          <p:nvPr/>
        </p:nvSpPr>
        <p:spPr>
          <a:xfrm>
            <a:off x="1802068" y="4525318"/>
            <a:ext cx="1109278" cy="86177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dirty="0">
                <a:latin typeface="+mj-lt"/>
              </a:rPr>
              <a:t>Access</a:t>
            </a:r>
          </a:p>
          <a:p>
            <a:pPr algn="l"/>
            <a:r>
              <a:rPr lang="en-US" sz="1400" dirty="0">
                <a:latin typeface="+mj-lt"/>
              </a:rPr>
              <a:t>controlled </a:t>
            </a:r>
          </a:p>
          <a:p>
            <a:pPr algn="l"/>
            <a:r>
              <a:rPr lang="en-US" sz="1400" dirty="0">
                <a:latin typeface="+mj-lt"/>
              </a:rPr>
              <a:t>through LDAP</a:t>
            </a:r>
          </a:p>
          <a:p>
            <a:pPr algn="l"/>
            <a:r>
              <a:rPr lang="en-US" sz="1400" dirty="0">
                <a:latin typeface="+mj-lt"/>
              </a:rPr>
              <a:t>roles</a:t>
            </a:r>
          </a:p>
        </p:txBody>
      </p:sp>
      <p:sp>
        <p:nvSpPr>
          <p:cNvPr id="111" name="Abgerundetes Rechteck 11"/>
          <p:cNvSpPr/>
          <p:nvPr/>
        </p:nvSpPr>
        <p:spPr bwMode="auto">
          <a:xfrm>
            <a:off x="3196393" y="3185565"/>
            <a:ext cx="1008000" cy="1008000"/>
          </a:xfrm>
          <a:prstGeom prst="roundRect">
            <a:avLst/>
          </a:prstGeom>
          <a:solidFill>
            <a:schemeClr val="bg1"/>
          </a:solidFill>
          <a:ln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A</a:t>
            </a:r>
          </a:p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User Group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14" name="Abgerundetes Rechteck 5"/>
          <p:cNvSpPr/>
          <p:nvPr/>
        </p:nvSpPr>
        <p:spPr bwMode="auto">
          <a:xfrm>
            <a:off x="7068742" y="2585672"/>
            <a:ext cx="3579593" cy="2930223"/>
          </a:xfrm>
          <a:prstGeom prst="roundRect">
            <a:avLst>
              <a:gd name="adj" fmla="val 5776"/>
            </a:avLst>
          </a:prstGeom>
          <a:ln/>
          <a:ex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de-DE" sz="2000" b="1" dirty="0"/>
              <a:t>Hadoop</a:t>
            </a:r>
            <a:endParaRPr lang="en-US" sz="2000" b="1" dirty="0"/>
          </a:p>
        </p:txBody>
      </p:sp>
      <p:sp>
        <p:nvSpPr>
          <p:cNvPr id="127" name="Abgerundetes Rechteck 18"/>
          <p:cNvSpPr/>
          <p:nvPr/>
        </p:nvSpPr>
        <p:spPr bwMode="auto">
          <a:xfrm>
            <a:off x="9388536" y="2908542"/>
            <a:ext cx="928173" cy="59405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bg1"/>
            </a:solidFill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C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63" name="Abgerundetes Rechteck 89"/>
          <p:cNvSpPr/>
          <p:nvPr/>
        </p:nvSpPr>
        <p:spPr bwMode="auto">
          <a:xfrm>
            <a:off x="8280302" y="2876320"/>
            <a:ext cx="867953" cy="1008000"/>
          </a:xfrm>
          <a:prstGeom prst="roundRect">
            <a:avLst/>
          </a:prstGeom>
          <a:solidFill>
            <a:schemeClr val="bg1"/>
          </a:solidFill>
          <a:ln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13" tIns="42557" rIns="85113" bIns="42557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A</a:t>
            </a:r>
          </a:p>
        </p:txBody>
      </p:sp>
      <p:sp>
        <p:nvSpPr>
          <p:cNvPr id="168" name="Textfeld 23"/>
          <p:cNvSpPr txBox="1"/>
          <p:nvPr/>
        </p:nvSpPr>
        <p:spPr>
          <a:xfrm>
            <a:off x="1376412" y="2194839"/>
            <a:ext cx="173925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>
                <a:latin typeface="+mj-lt"/>
              </a:rPr>
              <a:t>Entry point firewall</a:t>
            </a:r>
          </a:p>
        </p:txBody>
      </p:sp>
      <p:sp>
        <p:nvSpPr>
          <p:cNvPr id="169" name="Textfeld 7"/>
          <p:cNvSpPr txBox="1"/>
          <p:nvPr/>
        </p:nvSpPr>
        <p:spPr>
          <a:xfrm>
            <a:off x="5953296" y="5882462"/>
            <a:ext cx="2031573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*ACL: Access Control List</a:t>
            </a:r>
            <a:endParaRPr lang="en-US" sz="1400" dirty="0"/>
          </a:p>
        </p:txBody>
      </p:sp>
      <p:sp>
        <p:nvSpPr>
          <p:cNvPr id="4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21</a:t>
            </a:fld>
            <a:endParaRPr lang="en-GB" noProof="0" dirty="0"/>
          </a:p>
        </p:txBody>
      </p:sp>
      <p:sp>
        <p:nvSpPr>
          <p:cNvPr id="41" name="Abgerundetes Rechteck 89">
            <a:extLst>
              <a:ext uri="{FF2B5EF4-FFF2-40B4-BE49-F238E27FC236}">
                <a16:creationId xmlns:a16="http://schemas.microsoft.com/office/drawing/2014/main" id="{E71798F9-BE7D-45CE-A8DA-F4EA1E9A84A8}"/>
              </a:ext>
            </a:extLst>
          </p:cNvPr>
          <p:cNvSpPr/>
          <p:nvPr/>
        </p:nvSpPr>
        <p:spPr bwMode="auto">
          <a:xfrm>
            <a:off x="8334764" y="4193565"/>
            <a:ext cx="867953" cy="1008000"/>
          </a:xfrm>
          <a:prstGeom prst="roundRect">
            <a:avLst/>
          </a:prstGeom>
          <a:solidFill>
            <a:schemeClr val="bg1"/>
          </a:solidFill>
          <a:ln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13" tIns="42557" rIns="85113" bIns="42557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B</a:t>
            </a:r>
          </a:p>
        </p:txBody>
      </p:sp>
      <p:sp>
        <p:nvSpPr>
          <p:cNvPr id="43" name="Abgerundetes Rechteck 18">
            <a:extLst>
              <a:ext uri="{FF2B5EF4-FFF2-40B4-BE49-F238E27FC236}">
                <a16:creationId xmlns:a16="http://schemas.microsoft.com/office/drawing/2014/main" id="{6E28EC99-F5D3-471B-9B06-A953B45A9B18}"/>
              </a:ext>
            </a:extLst>
          </p:cNvPr>
          <p:cNvSpPr/>
          <p:nvPr/>
        </p:nvSpPr>
        <p:spPr bwMode="auto">
          <a:xfrm>
            <a:off x="9425838" y="3726744"/>
            <a:ext cx="928173" cy="59405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bg1"/>
            </a:solidFill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D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44" name="Abgerundetes Rechteck 18">
            <a:extLst>
              <a:ext uri="{FF2B5EF4-FFF2-40B4-BE49-F238E27FC236}">
                <a16:creationId xmlns:a16="http://schemas.microsoft.com/office/drawing/2014/main" id="{274CCA8F-1EED-4E87-BA11-033E613BF7A2}"/>
              </a:ext>
            </a:extLst>
          </p:cNvPr>
          <p:cNvSpPr/>
          <p:nvPr/>
        </p:nvSpPr>
        <p:spPr bwMode="auto">
          <a:xfrm>
            <a:off x="9425838" y="4544946"/>
            <a:ext cx="928173" cy="59405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bg1"/>
            </a:solidFill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E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46" name="Abgerundetes Rechteck 11">
            <a:extLst>
              <a:ext uri="{FF2B5EF4-FFF2-40B4-BE49-F238E27FC236}">
                <a16:creationId xmlns:a16="http://schemas.microsoft.com/office/drawing/2014/main" id="{D31A82AF-8626-49F3-91B6-59F31A710020}"/>
              </a:ext>
            </a:extLst>
          </p:cNvPr>
          <p:cNvSpPr/>
          <p:nvPr/>
        </p:nvSpPr>
        <p:spPr bwMode="auto">
          <a:xfrm>
            <a:off x="4317744" y="3185565"/>
            <a:ext cx="1008000" cy="1008000"/>
          </a:xfrm>
          <a:prstGeom prst="roundRect">
            <a:avLst/>
          </a:prstGeom>
          <a:solidFill>
            <a:schemeClr val="bg1"/>
          </a:solidFill>
          <a:ln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B</a:t>
            </a:r>
          </a:p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User Group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47" name="Rounded Rectangle 60">
            <a:extLst>
              <a:ext uri="{FF2B5EF4-FFF2-40B4-BE49-F238E27FC236}">
                <a16:creationId xmlns:a16="http://schemas.microsoft.com/office/drawing/2014/main" id="{D39A44E7-4345-4E28-A16A-94B84A0187F9}"/>
              </a:ext>
            </a:extLst>
          </p:cNvPr>
          <p:cNvSpPr/>
          <p:nvPr/>
        </p:nvSpPr>
        <p:spPr>
          <a:xfrm>
            <a:off x="6052424" y="2585672"/>
            <a:ext cx="440504" cy="2930224"/>
          </a:xfrm>
          <a:prstGeom prst="roundRect">
            <a:avLst/>
          </a:prstGeom>
          <a:solidFill>
            <a:schemeClr val="bg1">
              <a:lumMod val="8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1600"/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A6AB0A27-363F-49DA-B523-A511DFF53FFB}"/>
              </a:ext>
            </a:extLst>
          </p:cNvPr>
          <p:cNvSpPr txBox="1"/>
          <p:nvPr/>
        </p:nvSpPr>
        <p:spPr>
          <a:xfrm>
            <a:off x="5660060" y="2190687"/>
            <a:ext cx="1233549" cy="21170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600" dirty="0">
                <a:latin typeface="+mj-lt"/>
              </a:rPr>
              <a:t>Internal firewall</a:t>
            </a:r>
          </a:p>
        </p:txBody>
      </p:sp>
      <p:sp>
        <p:nvSpPr>
          <p:cNvPr id="50" name="Pfeil nach rechts 18">
            <a:extLst>
              <a:ext uri="{FF2B5EF4-FFF2-40B4-BE49-F238E27FC236}">
                <a16:creationId xmlns:a16="http://schemas.microsoft.com/office/drawing/2014/main" id="{A50709F3-384D-4C74-BB1E-667A6190E326}"/>
              </a:ext>
            </a:extLst>
          </p:cNvPr>
          <p:cNvSpPr/>
          <p:nvPr/>
        </p:nvSpPr>
        <p:spPr bwMode="auto">
          <a:xfrm>
            <a:off x="5667641" y="3560138"/>
            <a:ext cx="1433091" cy="288147"/>
          </a:xfrm>
          <a:prstGeom prst="rightArrow">
            <a:avLst/>
          </a:prstGeom>
          <a:solidFill>
            <a:schemeClr val="accent2"/>
          </a:solidFill>
          <a:ln w="38100" cap="flat" cmpd="sng" algn="ctr">
            <a:noFill/>
            <a:prstDash val="solid"/>
            <a:round/>
            <a:headEnd type="none" w="med" len="med"/>
            <a:tailEnd type="none" w="lg" len="lg"/>
          </a:ln>
          <a:effectLst/>
          <a:ex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4298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Abgerundetes Rechteck 18">
            <a:extLst>
              <a:ext uri="{FF2B5EF4-FFF2-40B4-BE49-F238E27FC236}">
                <a16:creationId xmlns:a16="http://schemas.microsoft.com/office/drawing/2014/main" id="{C7A87284-5619-4B23-AAE8-C2036E1616CB}"/>
              </a:ext>
            </a:extLst>
          </p:cNvPr>
          <p:cNvSpPr/>
          <p:nvPr/>
        </p:nvSpPr>
        <p:spPr bwMode="auto">
          <a:xfrm>
            <a:off x="7192000" y="3448825"/>
            <a:ext cx="798046" cy="510771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Kerberos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52" name="Textfeld 19">
            <a:extLst>
              <a:ext uri="{FF2B5EF4-FFF2-40B4-BE49-F238E27FC236}">
                <a16:creationId xmlns:a16="http://schemas.microsoft.com/office/drawing/2014/main" id="{D1FF207B-D2B3-45AB-998E-BA4DF78BBB83}"/>
              </a:ext>
            </a:extLst>
          </p:cNvPr>
          <p:cNvSpPr txBox="1"/>
          <p:nvPr/>
        </p:nvSpPr>
        <p:spPr>
          <a:xfrm>
            <a:off x="5858644" y="3337221"/>
            <a:ext cx="96981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latin typeface="+mj-lt"/>
              </a:rPr>
              <a:t>2. Kerberos </a:t>
            </a:r>
          </a:p>
          <a:p>
            <a:pPr algn="l"/>
            <a:r>
              <a:rPr lang="en-US" sz="1400" b="1" dirty="0" err="1">
                <a:latin typeface="+mj-lt"/>
              </a:rPr>
              <a:t>Keytab</a:t>
            </a:r>
            <a:endParaRPr lang="en-US" sz="1400" b="1" dirty="0">
              <a:latin typeface="+mj-lt"/>
            </a:endParaRPr>
          </a:p>
        </p:txBody>
      </p:sp>
      <p:sp>
        <p:nvSpPr>
          <p:cNvPr id="54" name="Abgerundetes Rechteck 11">
            <a:extLst>
              <a:ext uri="{FF2B5EF4-FFF2-40B4-BE49-F238E27FC236}">
                <a16:creationId xmlns:a16="http://schemas.microsoft.com/office/drawing/2014/main" id="{4AC087B4-D36F-4419-B918-E8399BF5583F}"/>
              </a:ext>
            </a:extLst>
          </p:cNvPr>
          <p:cNvSpPr/>
          <p:nvPr/>
        </p:nvSpPr>
        <p:spPr bwMode="auto">
          <a:xfrm>
            <a:off x="3802869" y="4337974"/>
            <a:ext cx="1008000" cy="1008000"/>
          </a:xfrm>
          <a:prstGeom prst="roundRect">
            <a:avLst/>
          </a:prstGeom>
          <a:solidFill>
            <a:schemeClr val="bg1"/>
          </a:solidFill>
          <a:ln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Project C</a:t>
            </a:r>
          </a:p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User Group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55" name="Abgerundetes Rechteck 18">
            <a:extLst>
              <a:ext uri="{FF2B5EF4-FFF2-40B4-BE49-F238E27FC236}">
                <a16:creationId xmlns:a16="http://schemas.microsoft.com/office/drawing/2014/main" id="{6FF854F0-C9AE-4604-9F83-05692B18493F}"/>
              </a:ext>
            </a:extLst>
          </p:cNvPr>
          <p:cNvSpPr/>
          <p:nvPr/>
        </p:nvSpPr>
        <p:spPr bwMode="auto">
          <a:xfrm>
            <a:off x="7186822" y="4422823"/>
            <a:ext cx="798047" cy="510771"/>
          </a:xfrm>
          <a:prstGeom prst="roundRect">
            <a:avLst/>
          </a:prstGeom>
          <a:solidFill>
            <a:schemeClr val="accent2"/>
          </a:solidFill>
          <a:ln>
            <a:solidFill>
              <a:srgbClr val="FF0000"/>
            </a:solidFill>
            <a:headEnd type="none" w="med" len="med"/>
            <a:tailEnd type="none" w="lg" len="lg"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85104" tIns="42552" rIns="85104" bIns="42552" numCol="1" rtlCol="0" anchor="ctr" anchorCtr="0" compatLnSpc="1">
            <a:prstTxWarp prst="textNoShape">
              <a:avLst/>
            </a:prstTxWarp>
          </a:bodyPr>
          <a:lstStyle/>
          <a:p>
            <a:pPr algn="ctr" defTabSz="970713"/>
            <a:r>
              <a:rPr lang="en-US" sz="1500" dirty="0">
                <a:solidFill>
                  <a:schemeClr val="tx1"/>
                </a:solidFill>
              </a:rPr>
              <a:t>Ranger</a:t>
            </a:r>
            <a:endParaRPr lang="de-DE" sz="1500" dirty="0">
              <a:solidFill>
                <a:schemeClr val="tx1"/>
              </a:solidFill>
            </a:endParaRPr>
          </a:p>
        </p:txBody>
      </p:sp>
      <p:sp>
        <p:nvSpPr>
          <p:cNvPr id="137" name="Textfeld 29"/>
          <p:cNvSpPr txBox="1"/>
          <p:nvPr/>
        </p:nvSpPr>
        <p:spPr>
          <a:xfrm>
            <a:off x="6111531" y="4966005"/>
            <a:ext cx="1796967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en-US" sz="1400" b="1" dirty="0">
                <a:latin typeface="+mj-lt"/>
              </a:rPr>
              <a:t>3.1. Controlled access</a:t>
            </a:r>
          </a:p>
          <a:p>
            <a:pPr algn="l"/>
            <a:r>
              <a:rPr lang="en-US" sz="1400" b="1" dirty="0">
                <a:latin typeface="+mj-lt"/>
              </a:rPr>
              <a:t>through Ranger ACLs*</a:t>
            </a: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AC9FB908-36FF-47F2-A413-2856CFE7D089}"/>
              </a:ext>
            </a:extLst>
          </p:cNvPr>
          <p:cNvCxnSpPr>
            <a:cxnSpLocks/>
            <a:stCxn id="55" idx="1"/>
            <a:endCxn id="52" idx="2"/>
          </p:cNvCxnSpPr>
          <p:nvPr/>
        </p:nvCxnSpPr>
        <p:spPr>
          <a:xfrm rot="10800000">
            <a:off x="6343554" y="3768109"/>
            <a:ext cx="843269" cy="910101"/>
          </a:xfrm>
          <a:prstGeom prst="bentConnector2">
            <a:avLst/>
          </a:prstGeom>
          <a:ln w="66675">
            <a:solidFill>
              <a:srgbClr val="A8A8A8"/>
            </a:solidFill>
            <a:headEnd w="lg" len="lg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08149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5054"/>
    </mc:Choice>
    <mc:Fallback>
      <p:transition spd="slow" advTm="125054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cure Enterprise Level Multi-</a:t>
            </a:r>
            <a:r>
              <a:rPr lang="de-DE" dirty="0" err="1"/>
              <a:t>Tenancy</a:t>
            </a:r>
            <a:r>
              <a:rPr lang="de-DE" dirty="0"/>
              <a:t> (</a:t>
            </a:r>
            <a:r>
              <a:rPr lang="de-DE" dirty="0" err="1"/>
              <a:t>work</a:t>
            </a:r>
            <a:r>
              <a:rPr lang="de-DE" dirty="0"/>
              <a:t> in </a:t>
            </a:r>
            <a:r>
              <a:rPr lang="de-DE" dirty="0" err="1"/>
              <a:t>progress</a:t>
            </a:r>
            <a:r>
              <a:rPr lang="de-DE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de-DE" noProof="0" smtClean="0"/>
              <a:pPr/>
              <a:t>22</a:t>
            </a:fld>
            <a:endParaRPr lang="de-DE" noProof="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3552" y="1277938"/>
            <a:ext cx="7776863" cy="4922837"/>
          </a:xfrm>
        </p:spPr>
      </p:pic>
    </p:spTree>
    <p:extLst>
      <p:ext uri="{BB962C8B-B14F-4D97-AF65-F5344CB8AC3E}">
        <p14:creationId xmlns:p14="http://schemas.microsoft.com/office/powerpoint/2010/main" val="1698483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38270"/>
    </mc:Choice>
    <mc:Fallback>
      <p:transition spd="slow" advTm="13827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Production Emulation Lay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3</a:t>
            </a:fld>
            <a:endParaRPr lang="en-GB" noProof="0" dirty="0"/>
          </a:p>
        </p:txBody>
      </p:sp>
      <p:sp>
        <p:nvSpPr>
          <p:cNvPr id="45" name="Rounded Rectangle 44"/>
          <p:cNvSpPr/>
          <p:nvPr/>
        </p:nvSpPr>
        <p:spPr>
          <a:xfrm>
            <a:off x="3390708" y="1526650"/>
            <a:ext cx="6190613" cy="4584774"/>
          </a:xfrm>
          <a:prstGeom prst="roundRect">
            <a:avLst>
              <a:gd name="adj" fmla="val 798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2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9" name="TextBox 48"/>
          <p:cNvSpPr txBox="1"/>
          <p:nvPr/>
        </p:nvSpPr>
        <p:spPr>
          <a:xfrm>
            <a:off x="2318055" y="3658447"/>
            <a:ext cx="1258113" cy="376133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1050" b="1" dirty="0"/>
              <a:t>POST request for executing a model </a:t>
            </a:r>
          </a:p>
        </p:txBody>
      </p:sp>
      <p:sp>
        <p:nvSpPr>
          <p:cNvPr id="63" name="Rounded Rectangle 62"/>
          <p:cNvSpPr/>
          <p:nvPr/>
        </p:nvSpPr>
        <p:spPr>
          <a:xfrm>
            <a:off x="667209" y="3781892"/>
            <a:ext cx="1351544" cy="513079"/>
          </a:xfrm>
          <a:prstGeom prst="roundRect">
            <a:avLst/>
          </a:prstGeom>
          <a:solidFill>
            <a:srgbClr val="60A6D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200" b="1" dirty="0"/>
              <a:t>Clients</a:t>
            </a:r>
            <a:endParaRPr lang="de-DE" sz="1200" b="1" dirty="0"/>
          </a:p>
        </p:txBody>
      </p:sp>
      <p:sp>
        <p:nvSpPr>
          <p:cNvPr id="30" name="Oval 29"/>
          <p:cNvSpPr/>
          <p:nvPr/>
        </p:nvSpPr>
        <p:spPr>
          <a:xfrm>
            <a:off x="2072672" y="3713918"/>
            <a:ext cx="223924" cy="245725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200" b="1" dirty="0"/>
              <a:t>2</a:t>
            </a:r>
            <a:endParaRPr lang="en-GB" sz="1200" b="1" dirty="0"/>
          </a:p>
        </p:txBody>
      </p:sp>
      <p:sp>
        <p:nvSpPr>
          <p:cNvPr id="53" name="Oval 52"/>
          <p:cNvSpPr/>
          <p:nvPr/>
        </p:nvSpPr>
        <p:spPr>
          <a:xfrm>
            <a:off x="1433998" y="1758120"/>
            <a:ext cx="223924" cy="245725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200" b="1" dirty="0"/>
              <a:t>3</a:t>
            </a:r>
            <a:endParaRPr lang="en-GB" sz="12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1693765" y="1755064"/>
            <a:ext cx="1696944" cy="2342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1050" b="1" dirty="0"/>
              <a:t>Downloading the results</a:t>
            </a:r>
          </a:p>
        </p:txBody>
      </p:sp>
      <p:sp>
        <p:nvSpPr>
          <p:cNvPr id="60" name="Oval 59"/>
          <p:cNvSpPr/>
          <p:nvPr/>
        </p:nvSpPr>
        <p:spPr>
          <a:xfrm>
            <a:off x="1613965" y="2299551"/>
            <a:ext cx="223924" cy="245725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200" b="1" dirty="0"/>
              <a:t>1</a:t>
            </a:r>
            <a:endParaRPr lang="en-GB" sz="1200" b="1" dirty="0"/>
          </a:p>
        </p:txBody>
      </p:sp>
      <p:sp>
        <p:nvSpPr>
          <p:cNvPr id="64" name="TextBox 63"/>
          <p:cNvSpPr txBox="1"/>
          <p:nvPr/>
        </p:nvSpPr>
        <p:spPr>
          <a:xfrm>
            <a:off x="1881463" y="2291007"/>
            <a:ext cx="1258113" cy="2342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1050" b="1" dirty="0"/>
              <a:t>Uploading dataset</a:t>
            </a:r>
          </a:p>
        </p:txBody>
      </p:sp>
      <p:cxnSp>
        <p:nvCxnSpPr>
          <p:cNvPr id="69" name="Straight Arrow Connector 68"/>
          <p:cNvCxnSpPr>
            <a:stCxn id="63" idx="3"/>
          </p:cNvCxnSpPr>
          <p:nvPr/>
        </p:nvCxnSpPr>
        <p:spPr>
          <a:xfrm flipV="1">
            <a:off x="2018753" y="4038431"/>
            <a:ext cx="1672638" cy="1"/>
          </a:xfrm>
          <a:prstGeom prst="straightConnector1">
            <a:avLst/>
          </a:prstGeom>
          <a:ln w="19050">
            <a:solidFill>
              <a:srgbClr val="525199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ounded Rectangle 4"/>
          <p:cNvSpPr/>
          <p:nvPr/>
        </p:nvSpPr>
        <p:spPr>
          <a:xfrm>
            <a:off x="3691391" y="2908184"/>
            <a:ext cx="5110271" cy="3038758"/>
          </a:xfrm>
          <a:prstGeom prst="roundRect">
            <a:avLst>
              <a:gd name="adj" fmla="val 8166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7" name="TextBox 6"/>
          <p:cNvSpPr txBox="1"/>
          <p:nvPr/>
        </p:nvSpPr>
        <p:spPr>
          <a:xfrm>
            <a:off x="4783516" y="2949813"/>
            <a:ext cx="2940818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Model Repository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4026521" y="3270553"/>
            <a:ext cx="4543804" cy="690454"/>
          </a:xfrm>
          <a:prstGeom prst="roundRect">
            <a:avLst/>
          </a:prstGeom>
          <a:solidFill>
            <a:schemeClr val="bg1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57" name="Rounded Rectangle 56"/>
          <p:cNvSpPr/>
          <p:nvPr/>
        </p:nvSpPr>
        <p:spPr>
          <a:xfrm>
            <a:off x="4602355" y="3389661"/>
            <a:ext cx="3861418" cy="389742"/>
          </a:xfrm>
          <a:prstGeom prst="roundRect">
            <a:avLst/>
          </a:prstGeom>
          <a:solidFill>
            <a:srgbClr val="52519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Data Preparation and Scoring</a:t>
            </a:r>
          </a:p>
        </p:txBody>
      </p:sp>
      <p:sp>
        <p:nvSpPr>
          <p:cNvPr id="88" name="Rounded Rectangle 87"/>
          <p:cNvSpPr/>
          <p:nvPr/>
        </p:nvSpPr>
        <p:spPr>
          <a:xfrm>
            <a:off x="4026521" y="4050793"/>
            <a:ext cx="4543804" cy="690454"/>
          </a:xfrm>
          <a:prstGeom prst="roundRect">
            <a:avLst/>
          </a:prstGeom>
          <a:solidFill>
            <a:schemeClr val="bg1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89" name="Rounded Rectangle 88"/>
          <p:cNvSpPr/>
          <p:nvPr/>
        </p:nvSpPr>
        <p:spPr>
          <a:xfrm>
            <a:off x="4602353" y="4169902"/>
            <a:ext cx="1644174" cy="389742"/>
          </a:xfrm>
          <a:prstGeom prst="roundRect">
            <a:avLst/>
          </a:prstGeom>
          <a:solidFill>
            <a:srgbClr val="52519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Data Preparation</a:t>
            </a:r>
          </a:p>
        </p:txBody>
      </p:sp>
      <p:sp>
        <p:nvSpPr>
          <p:cNvPr id="90" name="Rounded Rectangle 89"/>
          <p:cNvSpPr/>
          <p:nvPr/>
        </p:nvSpPr>
        <p:spPr>
          <a:xfrm>
            <a:off x="6866738" y="4169902"/>
            <a:ext cx="1597033" cy="389427"/>
          </a:xfrm>
          <a:prstGeom prst="roundRect">
            <a:avLst/>
          </a:prstGeom>
          <a:solidFill>
            <a:srgbClr val="52519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MML Scoring</a:t>
            </a:r>
            <a:endParaRPr lang="en-GB" sz="1200" b="1" dirty="0">
              <a:solidFill>
                <a:schemeClr val="bg1"/>
              </a:solidFill>
            </a:endParaRPr>
          </a:p>
        </p:txBody>
      </p:sp>
      <p:cxnSp>
        <p:nvCxnSpPr>
          <p:cNvPr id="98" name="Straight Arrow Connector 97"/>
          <p:cNvCxnSpPr>
            <a:stCxn id="89" idx="3"/>
            <a:endCxn id="90" idx="1"/>
          </p:cNvCxnSpPr>
          <p:nvPr/>
        </p:nvCxnSpPr>
        <p:spPr>
          <a:xfrm flipV="1">
            <a:off x="6246527" y="4364616"/>
            <a:ext cx="620211" cy="157"/>
          </a:xfrm>
          <a:prstGeom prst="straightConnector1">
            <a:avLst/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/>
          <p:cNvSpPr txBox="1"/>
          <p:nvPr/>
        </p:nvSpPr>
        <p:spPr>
          <a:xfrm>
            <a:off x="4219459" y="3504477"/>
            <a:ext cx="474018" cy="22260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1050" b="1" dirty="0"/>
              <a:t>2.a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219457" y="4282034"/>
            <a:ext cx="474018" cy="22260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1050" b="1" dirty="0"/>
              <a:t>2.b</a:t>
            </a:r>
          </a:p>
        </p:txBody>
      </p:sp>
      <p:sp>
        <p:nvSpPr>
          <p:cNvPr id="61" name="Rounded Rectangle 60"/>
          <p:cNvSpPr/>
          <p:nvPr/>
        </p:nvSpPr>
        <p:spPr>
          <a:xfrm>
            <a:off x="4026521" y="4815971"/>
            <a:ext cx="4543804" cy="690454"/>
          </a:xfrm>
          <a:prstGeom prst="roundRect">
            <a:avLst/>
          </a:prstGeom>
          <a:solidFill>
            <a:schemeClr val="bg1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68" name="TextBox 67"/>
          <p:cNvSpPr txBox="1"/>
          <p:nvPr/>
        </p:nvSpPr>
        <p:spPr>
          <a:xfrm>
            <a:off x="4219457" y="5061001"/>
            <a:ext cx="474018" cy="234286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r>
              <a:rPr lang="en-GB" sz="1050" b="1" dirty="0"/>
              <a:t>2.c</a:t>
            </a:r>
          </a:p>
        </p:txBody>
      </p:sp>
      <p:sp>
        <p:nvSpPr>
          <p:cNvPr id="71" name="Rounded Rectangle 70"/>
          <p:cNvSpPr/>
          <p:nvPr/>
        </p:nvSpPr>
        <p:spPr>
          <a:xfrm>
            <a:off x="4602353" y="4952119"/>
            <a:ext cx="3861418" cy="389427"/>
          </a:xfrm>
          <a:prstGeom prst="roundRect">
            <a:avLst/>
          </a:prstGeom>
          <a:solidFill>
            <a:srgbClr val="525199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PMML data preparation and scoring</a:t>
            </a:r>
            <a:endParaRPr lang="en-GB" sz="1200" b="1" dirty="0">
              <a:solidFill>
                <a:schemeClr val="bg1"/>
              </a:solidFill>
            </a:endParaRPr>
          </a:p>
        </p:txBody>
      </p:sp>
      <p:grpSp>
        <p:nvGrpSpPr>
          <p:cNvPr id="67" name="Group 66"/>
          <p:cNvGrpSpPr/>
          <p:nvPr/>
        </p:nvGrpSpPr>
        <p:grpSpPr>
          <a:xfrm>
            <a:off x="3678061" y="2400836"/>
            <a:ext cx="5123602" cy="3498090"/>
            <a:chOff x="8307280" y="-1804123"/>
            <a:chExt cx="2733918" cy="5651897"/>
          </a:xfrm>
        </p:grpSpPr>
        <p:sp>
          <p:nvSpPr>
            <p:cNvPr id="51" name="Rounded Rectangle 50"/>
            <p:cNvSpPr/>
            <p:nvPr/>
          </p:nvSpPr>
          <p:spPr>
            <a:xfrm>
              <a:off x="9641589" y="3310038"/>
              <a:ext cx="1255724" cy="537736"/>
            </a:xfrm>
            <a:prstGeom prst="roundRect">
              <a:avLst/>
            </a:prstGeom>
            <a:solidFill>
              <a:schemeClr val="bg1"/>
            </a:solidFill>
            <a:ln w="6350">
              <a:solidFill>
                <a:srgbClr val="FF62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100" b="1" dirty="0">
                  <a:solidFill>
                    <a:schemeClr val="tx1"/>
                  </a:solidFill>
                </a:rPr>
                <a:t>Openscoring.io</a:t>
              </a:r>
            </a:p>
          </p:txBody>
        </p:sp>
        <p:sp>
          <p:nvSpPr>
            <p:cNvPr id="73" name="Rounded Rectangle 72"/>
            <p:cNvSpPr/>
            <p:nvPr/>
          </p:nvSpPr>
          <p:spPr>
            <a:xfrm>
              <a:off x="8307280" y="-1804123"/>
              <a:ext cx="2733918" cy="597677"/>
            </a:xfrm>
            <a:prstGeom prst="roundRect">
              <a:avLst>
                <a:gd name="adj" fmla="val 10813"/>
              </a:avLst>
            </a:prstGeom>
            <a:solidFill>
              <a:srgbClr val="FF62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400" b="1" dirty="0"/>
                <a:t>Ingestion Server</a:t>
              </a:r>
            </a:p>
          </p:txBody>
        </p:sp>
      </p:grpSp>
      <p:cxnSp>
        <p:nvCxnSpPr>
          <p:cNvPr id="62" name="Elbow Connector 61"/>
          <p:cNvCxnSpPr>
            <a:stCxn id="88" idx="3"/>
          </p:cNvCxnSpPr>
          <p:nvPr/>
        </p:nvCxnSpPr>
        <p:spPr>
          <a:xfrm flipH="1">
            <a:off x="8478900" y="4396020"/>
            <a:ext cx="91425" cy="1387648"/>
          </a:xfrm>
          <a:prstGeom prst="bentConnector4">
            <a:avLst>
              <a:gd name="adj1" fmla="val -450074"/>
              <a:gd name="adj2" fmla="val 100257"/>
            </a:avLst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/>
          <p:cNvCxnSpPr>
            <a:stCxn id="77" idx="1"/>
            <a:endCxn id="63" idx="0"/>
          </p:cNvCxnSpPr>
          <p:nvPr/>
        </p:nvCxnSpPr>
        <p:spPr>
          <a:xfrm rot="10800000" flipV="1">
            <a:off x="1342982" y="2057164"/>
            <a:ext cx="2335079" cy="1724727"/>
          </a:xfrm>
          <a:prstGeom prst="bentConnector2">
            <a:avLst/>
          </a:prstGeom>
          <a:ln w="19050">
            <a:solidFill>
              <a:srgbClr val="525199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46"/>
          <p:cNvSpPr/>
          <p:nvPr/>
        </p:nvSpPr>
        <p:spPr>
          <a:xfrm>
            <a:off x="10212574" y="2966251"/>
            <a:ext cx="1499891" cy="1406539"/>
          </a:xfrm>
          <a:prstGeom prst="roundRect">
            <a:avLst>
              <a:gd name="adj" fmla="val 10813"/>
            </a:avLst>
          </a:prstGeom>
          <a:solidFill>
            <a:srgbClr val="FF62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b="1" dirty="0"/>
              <a:t>Model</a:t>
            </a:r>
          </a:p>
          <a:p>
            <a:pPr algn="ctr">
              <a:lnSpc>
                <a:spcPct val="90000"/>
              </a:lnSpc>
            </a:pPr>
            <a:r>
              <a:rPr lang="en-US" sz="1200" b="1" dirty="0"/>
              <a:t>Release Flow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258015" y="4153570"/>
            <a:ext cx="720437" cy="211203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900" b="1" dirty="0"/>
              <a:t>Features</a:t>
            </a:r>
            <a:endParaRPr lang="en-GB" sz="900" b="1" dirty="0"/>
          </a:p>
        </p:txBody>
      </p:sp>
      <p:pic>
        <p:nvPicPr>
          <p:cNvPr id="1026" name="Picture 2" descr="Image result for jenkins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0362" y="2280489"/>
            <a:ext cx="1004314" cy="610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7" name="Elbow Connector 86"/>
          <p:cNvCxnSpPr>
            <a:stCxn id="61" idx="3"/>
            <a:endCxn id="51" idx="3"/>
          </p:cNvCxnSpPr>
          <p:nvPr/>
        </p:nvCxnSpPr>
        <p:spPr>
          <a:xfrm flipH="1">
            <a:off x="8532010" y="5161198"/>
            <a:ext cx="38315" cy="571320"/>
          </a:xfrm>
          <a:prstGeom prst="bentConnector3">
            <a:avLst>
              <a:gd name="adj1" fmla="val -596633"/>
            </a:avLst>
          </a:prstGeom>
          <a:ln w="19050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endCxn id="47" idx="1"/>
          </p:cNvCxnSpPr>
          <p:nvPr/>
        </p:nvCxnSpPr>
        <p:spPr>
          <a:xfrm>
            <a:off x="8801663" y="3669521"/>
            <a:ext cx="1410911" cy="0"/>
          </a:xfrm>
          <a:prstGeom prst="straightConnector1">
            <a:avLst/>
          </a:prstGeom>
          <a:ln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9221102" y="3303636"/>
            <a:ext cx="720437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900" b="1" dirty="0"/>
              <a:t>Deploy Models</a:t>
            </a:r>
            <a:endParaRPr lang="en-GB" sz="900" b="1" dirty="0"/>
          </a:p>
        </p:txBody>
      </p:sp>
      <p:sp>
        <p:nvSpPr>
          <p:cNvPr id="74" name="TextBox 73"/>
          <p:cNvSpPr txBox="1"/>
          <p:nvPr/>
        </p:nvSpPr>
        <p:spPr>
          <a:xfrm>
            <a:off x="5822699" y="482287"/>
            <a:ext cx="1774249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Export Server</a:t>
            </a:r>
          </a:p>
        </p:txBody>
      </p:sp>
      <p:pic>
        <p:nvPicPr>
          <p:cNvPr id="46" name="Picture 4" descr="Image result for openscoring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7878" y="5602339"/>
            <a:ext cx="260355" cy="260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ounded Rectangle 76"/>
          <p:cNvSpPr/>
          <p:nvPr/>
        </p:nvSpPr>
        <p:spPr>
          <a:xfrm>
            <a:off x="3678060" y="1872207"/>
            <a:ext cx="5123602" cy="369916"/>
          </a:xfrm>
          <a:prstGeom prst="roundRect">
            <a:avLst>
              <a:gd name="adj" fmla="val 10813"/>
            </a:avLst>
          </a:prstGeom>
          <a:solidFill>
            <a:srgbClr val="FF620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400" b="1" dirty="0"/>
              <a:t>Export Server</a:t>
            </a:r>
          </a:p>
        </p:txBody>
      </p:sp>
      <p:cxnSp>
        <p:nvCxnSpPr>
          <p:cNvPr id="50" name="Elbow Connector 49"/>
          <p:cNvCxnSpPr>
            <a:stCxn id="63" idx="0"/>
          </p:cNvCxnSpPr>
          <p:nvPr/>
        </p:nvCxnSpPr>
        <p:spPr>
          <a:xfrm rot="5400000" flipH="1" flipV="1">
            <a:off x="1912471" y="2016304"/>
            <a:ext cx="1196098" cy="2335079"/>
          </a:xfrm>
          <a:prstGeom prst="bentConnector2">
            <a:avLst/>
          </a:prstGeom>
          <a:ln w="19050">
            <a:solidFill>
              <a:schemeClr val="accent4">
                <a:lumMod val="50000"/>
              </a:schemeClr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4124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02198"/>
    </mc:Choice>
    <mc:Fallback>
      <p:transition spd="slow" advTm="202198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4</a:t>
            </a:fld>
            <a:endParaRPr lang="en-GB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DevOps</a:t>
            </a:r>
            <a:r>
              <a:rPr lang="de-DE" dirty="0"/>
              <a:t> in a Data Science Team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32993296"/>
              </p:ext>
            </p:extLst>
          </p:nvPr>
        </p:nvGraphicFramePr>
        <p:xfrm>
          <a:off x="846138" y="1277938"/>
          <a:ext cx="5057775" cy="4921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391477" y="3127435"/>
            <a:ext cx="816496" cy="18042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700" b="1" dirty="0" err="1"/>
              <a:t>Issue</a:t>
            </a:r>
            <a:r>
              <a:rPr lang="de-DE" sz="700" b="1" dirty="0"/>
              <a:t> Pull Request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680914" y="3127435"/>
            <a:ext cx="1170761" cy="18042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700" b="1" dirty="0"/>
              <a:t>Auto-</a:t>
            </a:r>
            <a:r>
              <a:rPr lang="de-DE" sz="700" b="1" dirty="0" err="1"/>
              <a:t>triggered</a:t>
            </a:r>
            <a:r>
              <a:rPr lang="de-DE" sz="700" b="1" dirty="0"/>
              <a:t> Jenkins </a:t>
            </a:r>
            <a:r>
              <a:rPr lang="de-DE" sz="700" b="1" dirty="0" err="1"/>
              <a:t>job</a:t>
            </a:r>
            <a:endParaRPr lang="de-DE" sz="7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4167466" y="3127435"/>
            <a:ext cx="1340679" cy="18042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700" b="1" dirty="0" err="1"/>
              <a:t>Manually</a:t>
            </a:r>
            <a:r>
              <a:rPr lang="de-DE" sz="700" b="1" dirty="0"/>
              <a:t> </a:t>
            </a:r>
            <a:r>
              <a:rPr lang="de-DE" sz="700" b="1" dirty="0" err="1"/>
              <a:t>triggered</a:t>
            </a:r>
            <a:r>
              <a:rPr lang="de-DE" sz="700" b="1" dirty="0"/>
              <a:t> Jenkins </a:t>
            </a:r>
            <a:r>
              <a:rPr lang="de-DE" sz="700" b="1" dirty="0" err="1"/>
              <a:t>job</a:t>
            </a:r>
            <a:endParaRPr lang="de-DE" sz="700" b="1" dirty="0"/>
          </a:p>
        </p:txBody>
      </p:sp>
      <p:pic>
        <p:nvPicPr>
          <p:cNvPr id="13" name="Picture 71">
            <a:extLst>
              <a:ext uri="{FF2B5EF4-FFF2-40B4-BE49-F238E27FC236}">
                <a16:creationId xmlns:a16="http://schemas.microsoft.com/office/drawing/2014/main" id="{E3CF93D4-017F-4B89-8978-F1B42E783F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5709" y="2096809"/>
            <a:ext cx="270409" cy="431706"/>
          </a:xfrm>
          <a:prstGeom prst="rect">
            <a:avLst/>
          </a:prstGeom>
        </p:spPr>
      </p:pic>
      <p:sp>
        <p:nvSpPr>
          <p:cNvPr id="15" name="Down Arrow 14"/>
          <p:cNvSpPr/>
          <p:nvPr/>
        </p:nvSpPr>
        <p:spPr>
          <a:xfrm>
            <a:off x="2547031" y="2528515"/>
            <a:ext cx="213395" cy="689132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6" name="TextBox 15"/>
          <p:cNvSpPr txBox="1"/>
          <p:nvPr/>
        </p:nvSpPr>
        <p:spPr>
          <a:xfrm>
            <a:off x="2207973" y="2711219"/>
            <a:ext cx="989621" cy="18042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700" b="1" dirty="0" err="1"/>
              <a:t>Approves</a:t>
            </a:r>
            <a:r>
              <a:rPr lang="de-DE" sz="700" b="1" dirty="0"/>
              <a:t> Pull Request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830329" y="2140189"/>
            <a:ext cx="1363121" cy="180425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700" dirty="0"/>
              <a:t>Peer </a:t>
            </a:r>
            <a:r>
              <a:rPr lang="de-DE" sz="700" dirty="0" err="1"/>
              <a:t>Reviewer</a:t>
            </a:r>
            <a:r>
              <a:rPr lang="de-DE" sz="700" dirty="0"/>
              <a:t> </a:t>
            </a:r>
            <a:r>
              <a:rPr lang="de-DE" sz="700" dirty="0" err="1"/>
              <a:t>or</a:t>
            </a:r>
            <a:r>
              <a:rPr lang="de-DE" sz="700" dirty="0"/>
              <a:t> Senior Membe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535972" y="2088445"/>
            <a:ext cx="858741" cy="2062136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400" dirty="0"/>
              <a:t>Smarter </a:t>
            </a:r>
            <a:r>
              <a:rPr lang="de-DE" sz="1400" dirty="0" err="1"/>
              <a:t>Lending</a:t>
            </a:r>
            <a:endParaRPr lang="de-DE" sz="1400" dirty="0"/>
          </a:p>
        </p:txBody>
      </p:sp>
      <p:sp>
        <p:nvSpPr>
          <p:cNvPr id="23" name="Rectangle 22"/>
          <p:cNvSpPr/>
          <p:nvPr/>
        </p:nvSpPr>
        <p:spPr>
          <a:xfrm>
            <a:off x="7785652" y="2096809"/>
            <a:ext cx="858741" cy="2062136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400" dirty="0"/>
              <a:t>Customer Engagement</a:t>
            </a:r>
          </a:p>
        </p:txBody>
      </p:sp>
      <p:sp>
        <p:nvSpPr>
          <p:cNvPr id="24" name="Rectangle 23"/>
          <p:cNvSpPr/>
          <p:nvPr/>
        </p:nvSpPr>
        <p:spPr>
          <a:xfrm>
            <a:off x="8962446" y="2096926"/>
            <a:ext cx="858741" cy="2062136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400" dirty="0"/>
              <a:t>Customer Convenien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0131285" y="2096367"/>
            <a:ext cx="858741" cy="2062136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400" dirty="0"/>
              <a:t>Technology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6535973" y="3434963"/>
            <a:ext cx="3285213" cy="612250"/>
          </a:xfrm>
          <a:prstGeom prst="roundRect">
            <a:avLst/>
          </a:prstGeom>
          <a:solidFill>
            <a:schemeClr val="accent4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 err="1"/>
              <a:t>Tooling</a:t>
            </a:r>
            <a:endParaRPr lang="de-DE" sz="1600" dirty="0"/>
          </a:p>
        </p:txBody>
      </p:sp>
      <p:sp>
        <p:nvSpPr>
          <p:cNvPr id="29" name="Oval 28"/>
          <p:cNvSpPr/>
          <p:nvPr/>
        </p:nvSpPr>
        <p:spPr>
          <a:xfrm>
            <a:off x="8962446" y="4851622"/>
            <a:ext cx="858740" cy="515508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Backlog</a:t>
            </a:r>
            <a:endParaRPr lang="de-DE" sz="1200" dirty="0"/>
          </a:p>
        </p:txBody>
      </p:sp>
      <p:sp>
        <p:nvSpPr>
          <p:cNvPr id="30" name="Oval 29"/>
          <p:cNvSpPr/>
          <p:nvPr/>
        </p:nvSpPr>
        <p:spPr>
          <a:xfrm>
            <a:off x="10131286" y="4851622"/>
            <a:ext cx="858740" cy="515508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Backlog</a:t>
            </a:r>
            <a:endParaRPr lang="de-DE" sz="1200" dirty="0"/>
          </a:p>
        </p:txBody>
      </p:sp>
      <p:sp>
        <p:nvSpPr>
          <p:cNvPr id="31" name="Oval 30"/>
          <p:cNvSpPr/>
          <p:nvPr/>
        </p:nvSpPr>
        <p:spPr>
          <a:xfrm>
            <a:off x="7785652" y="4851622"/>
            <a:ext cx="858740" cy="515508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Backlog</a:t>
            </a:r>
            <a:endParaRPr lang="de-DE" sz="1200" dirty="0"/>
          </a:p>
        </p:txBody>
      </p:sp>
      <p:sp>
        <p:nvSpPr>
          <p:cNvPr id="32" name="Oval 31"/>
          <p:cNvSpPr/>
          <p:nvPr/>
        </p:nvSpPr>
        <p:spPr>
          <a:xfrm>
            <a:off x="6535973" y="4851622"/>
            <a:ext cx="858740" cy="515508"/>
          </a:xfrm>
          <a:prstGeom prst="ellips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Backlog</a:t>
            </a:r>
            <a:endParaRPr lang="de-DE" sz="1200" dirty="0"/>
          </a:p>
        </p:txBody>
      </p:sp>
      <p:sp>
        <p:nvSpPr>
          <p:cNvPr id="33" name="Left Arrow 32"/>
          <p:cNvSpPr/>
          <p:nvPr/>
        </p:nvSpPr>
        <p:spPr>
          <a:xfrm>
            <a:off x="9821187" y="3625795"/>
            <a:ext cx="310098" cy="214685"/>
          </a:xfrm>
          <a:prstGeom prst="lef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4" name="Down Arrow 33"/>
          <p:cNvSpPr/>
          <p:nvPr/>
        </p:nvSpPr>
        <p:spPr>
          <a:xfrm>
            <a:off x="6877878" y="4277802"/>
            <a:ext cx="206734" cy="461175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5" name="Down Arrow 34"/>
          <p:cNvSpPr/>
          <p:nvPr/>
        </p:nvSpPr>
        <p:spPr>
          <a:xfrm>
            <a:off x="8075212" y="4277802"/>
            <a:ext cx="206734" cy="461175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6" name="Down Arrow 35"/>
          <p:cNvSpPr/>
          <p:nvPr/>
        </p:nvSpPr>
        <p:spPr>
          <a:xfrm>
            <a:off x="9288449" y="4302981"/>
            <a:ext cx="206734" cy="461175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7" name="Down Arrow 36"/>
          <p:cNvSpPr/>
          <p:nvPr/>
        </p:nvSpPr>
        <p:spPr>
          <a:xfrm>
            <a:off x="10457289" y="4302981"/>
            <a:ext cx="206734" cy="461175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9" name="Down Arrow 38"/>
          <p:cNvSpPr/>
          <p:nvPr/>
        </p:nvSpPr>
        <p:spPr>
          <a:xfrm rot="19338339">
            <a:off x="9714206" y="3825594"/>
            <a:ext cx="206734" cy="1189726"/>
          </a:xfrm>
          <a:prstGeom prst="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1" name="TextBox 40"/>
          <p:cNvSpPr txBox="1"/>
          <p:nvPr/>
        </p:nvSpPr>
        <p:spPr>
          <a:xfrm>
            <a:off x="7270802" y="1574732"/>
            <a:ext cx="222438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400" dirty="0"/>
              <a:t>Data Science Projects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6323274" y="1968519"/>
            <a:ext cx="3652961" cy="2438309"/>
          </a:xfrm>
          <a:prstGeom prst="round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5" name="TextBox 44"/>
          <p:cNvSpPr txBox="1"/>
          <p:nvPr/>
        </p:nvSpPr>
        <p:spPr>
          <a:xfrm>
            <a:off x="9742999" y="1574732"/>
            <a:ext cx="2224381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de-DE" sz="1400" dirty="0"/>
              <a:t>Data Engineering</a:t>
            </a:r>
          </a:p>
        </p:txBody>
      </p:sp>
    </p:spTree>
    <p:extLst>
      <p:ext uri="{BB962C8B-B14F-4D97-AF65-F5344CB8AC3E}">
        <p14:creationId xmlns:p14="http://schemas.microsoft.com/office/powerpoint/2010/main" val="3638136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1094"/>
    </mc:Choice>
    <mc:Fallback>
      <p:transition spd="slow" advTm="121094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/>
          <p:cNvPicPr>
            <a:picLocks noGrp="1" noChangeAspect="1"/>
          </p:cNvPicPr>
          <p:nvPr>
            <p:ph type="pic"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49" b="12949"/>
          <a:stretch>
            <a:fillRect/>
          </a:stretch>
        </p:blipFill>
        <p:spPr/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4000" dirty="0"/>
              <a:t>Moving Forwar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089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405"/>
    </mc:Choice>
    <mc:Fallback>
      <p:transition spd="slow" advTm="1405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alytics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ING Data Lak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26</a:t>
            </a:fld>
            <a:endParaRPr lang="en-GB" noProof="0" dirty="0"/>
          </a:p>
        </p:txBody>
      </p:sp>
      <p:sp>
        <p:nvSpPr>
          <p:cNvPr id="5" name="Rectangle 4"/>
          <p:cNvSpPr/>
          <p:nvPr/>
        </p:nvSpPr>
        <p:spPr>
          <a:xfrm>
            <a:off x="3909305" y="5249260"/>
            <a:ext cx="1246564" cy="56307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Landing</a:t>
            </a:r>
            <a:r>
              <a:rPr lang="de-DE" sz="1200" dirty="0"/>
              <a:t> Zone</a:t>
            </a:r>
          </a:p>
          <a:p>
            <a:pPr algn="ctr">
              <a:lnSpc>
                <a:spcPct val="90000"/>
              </a:lnSpc>
            </a:pPr>
            <a:r>
              <a:rPr lang="de-DE" sz="1200" dirty="0"/>
              <a:t>(File Store)</a:t>
            </a:r>
          </a:p>
        </p:txBody>
      </p:sp>
      <p:sp>
        <p:nvSpPr>
          <p:cNvPr id="6" name="Can 5"/>
          <p:cNvSpPr/>
          <p:nvPr/>
        </p:nvSpPr>
        <p:spPr>
          <a:xfrm>
            <a:off x="914400" y="3276600"/>
            <a:ext cx="1295400" cy="1066800"/>
          </a:xfrm>
          <a:prstGeom prst="can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Operational</a:t>
            </a:r>
          </a:p>
          <a:p>
            <a:pPr algn="ctr">
              <a:lnSpc>
                <a:spcPct val="90000"/>
              </a:lnSpc>
            </a:pPr>
            <a:r>
              <a:rPr lang="de-DE" sz="1200" dirty="0"/>
              <a:t>Data </a:t>
            </a:r>
            <a:r>
              <a:rPr lang="de-DE" sz="1200" dirty="0" err="1"/>
              <a:t>Sources</a:t>
            </a:r>
            <a:endParaRPr lang="de-DE" sz="1200" dirty="0"/>
          </a:p>
        </p:txBody>
      </p:sp>
      <p:sp>
        <p:nvSpPr>
          <p:cNvPr id="7" name="Rectangle 6"/>
          <p:cNvSpPr/>
          <p:nvPr/>
        </p:nvSpPr>
        <p:spPr>
          <a:xfrm>
            <a:off x="3608081" y="3035300"/>
            <a:ext cx="1351592" cy="60543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/>
              <a:t>Exploration</a:t>
            </a:r>
          </a:p>
        </p:txBody>
      </p:sp>
      <p:sp>
        <p:nvSpPr>
          <p:cNvPr id="8" name="Isosceles Triangle 7"/>
          <p:cNvSpPr/>
          <p:nvPr/>
        </p:nvSpPr>
        <p:spPr>
          <a:xfrm>
            <a:off x="4416377" y="1729675"/>
            <a:ext cx="1350585" cy="688183"/>
          </a:xfrm>
          <a:prstGeom prst="triangle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Lineage</a:t>
            </a:r>
            <a:endParaRPr lang="de-DE" sz="1200" dirty="0"/>
          </a:p>
        </p:txBody>
      </p:sp>
      <p:sp>
        <p:nvSpPr>
          <p:cNvPr id="9" name="Rectangle 8"/>
          <p:cNvSpPr/>
          <p:nvPr/>
        </p:nvSpPr>
        <p:spPr>
          <a:xfrm>
            <a:off x="6074975" y="3027856"/>
            <a:ext cx="954159" cy="620326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 err="1"/>
              <a:t>Deep</a:t>
            </a:r>
            <a:r>
              <a:rPr lang="de-DE" sz="1200" dirty="0"/>
              <a:t> </a:t>
            </a:r>
          </a:p>
          <a:p>
            <a:pPr algn="ctr">
              <a:lnSpc>
                <a:spcPct val="90000"/>
              </a:lnSpc>
            </a:pPr>
            <a:r>
              <a:rPr lang="de-DE" sz="1200" dirty="0"/>
              <a:t>Data</a:t>
            </a:r>
          </a:p>
        </p:txBody>
      </p:sp>
      <p:sp>
        <p:nvSpPr>
          <p:cNvPr id="10" name="Rectangle 9"/>
          <p:cNvSpPr/>
          <p:nvPr/>
        </p:nvSpPr>
        <p:spPr>
          <a:xfrm>
            <a:off x="2857500" y="1143000"/>
            <a:ext cx="5721957" cy="4965700"/>
          </a:xfrm>
          <a:prstGeom prst="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1" name="TextBox 10"/>
          <p:cNvSpPr txBox="1"/>
          <p:nvPr/>
        </p:nvSpPr>
        <p:spPr>
          <a:xfrm>
            <a:off x="3016148" y="1232894"/>
            <a:ext cx="1786314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Data Lake </a:t>
            </a:r>
            <a:r>
              <a:rPr lang="de-DE" sz="1400" dirty="0" err="1"/>
              <a:t>Landscape</a:t>
            </a:r>
            <a:endParaRPr lang="de-DE" sz="1400" dirty="0"/>
          </a:p>
        </p:txBody>
      </p:sp>
      <p:sp>
        <p:nvSpPr>
          <p:cNvPr id="12" name="Rectangle 11"/>
          <p:cNvSpPr/>
          <p:nvPr/>
        </p:nvSpPr>
        <p:spPr>
          <a:xfrm>
            <a:off x="7338944" y="1584325"/>
            <a:ext cx="1079500" cy="4363766"/>
          </a:xfrm>
          <a:prstGeom prst="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Line </a:t>
            </a:r>
            <a:r>
              <a:rPr lang="de-DE" sz="1600" dirty="0" err="1"/>
              <a:t>of</a:t>
            </a:r>
            <a:r>
              <a:rPr lang="de-DE" sz="1600" dirty="0"/>
              <a:t> Business Interaction</a:t>
            </a:r>
          </a:p>
        </p:txBody>
      </p:sp>
      <p:sp>
        <p:nvSpPr>
          <p:cNvPr id="13" name="Oval 12"/>
          <p:cNvSpPr/>
          <p:nvPr/>
        </p:nvSpPr>
        <p:spPr>
          <a:xfrm>
            <a:off x="7364344" y="2444309"/>
            <a:ext cx="1054100" cy="457200"/>
          </a:xfrm>
          <a:prstGeom prst="ellipse">
            <a:avLst/>
          </a:prstGeom>
          <a:solidFill>
            <a:schemeClr val="accent2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Search</a:t>
            </a:r>
          </a:p>
          <a:p>
            <a:pPr algn="ctr">
              <a:lnSpc>
                <a:spcPct val="90000"/>
              </a:lnSpc>
            </a:pPr>
            <a:r>
              <a:rPr lang="de-DE" sz="1200" dirty="0"/>
              <a:t>Data</a:t>
            </a:r>
          </a:p>
        </p:txBody>
      </p:sp>
      <p:sp>
        <p:nvSpPr>
          <p:cNvPr id="14" name="Oval 13"/>
          <p:cNvSpPr/>
          <p:nvPr/>
        </p:nvSpPr>
        <p:spPr>
          <a:xfrm>
            <a:off x="7364344" y="3263900"/>
            <a:ext cx="1054100" cy="774700"/>
          </a:xfrm>
          <a:prstGeom prst="ellipse">
            <a:avLst/>
          </a:prstGeom>
          <a:solidFill>
            <a:schemeClr val="accent2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 err="1"/>
              <a:t>Self</a:t>
            </a:r>
            <a:r>
              <a:rPr lang="de-DE" sz="1200" dirty="0"/>
              <a:t>-Service</a:t>
            </a:r>
          </a:p>
          <a:p>
            <a:pPr algn="ctr">
              <a:lnSpc>
                <a:spcPct val="90000"/>
              </a:lnSpc>
            </a:pPr>
            <a:r>
              <a:rPr lang="de-DE" sz="1200" dirty="0"/>
              <a:t>Acces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138257" y="1584325"/>
            <a:ext cx="1079500" cy="436376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63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600" dirty="0"/>
              <a:t>Line </a:t>
            </a:r>
            <a:r>
              <a:rPr lang="de-DE" sz="1600" dirty="0" err="1"/>
              <a:t>of</a:t>
            </a:r>
            <a:r>
              <a:rPr lang="de-DE" sz="1600" dirty="0"/>
              <a:t> Business Insight</a:t>
            </a:r>
          </a:p>
        </p:txBody>
      </p:sp>
      <p:sp>
        <p:nvSpPr>
          <p:cNvPr id="16" name="Oval 15"/>
          <p:cNvSpPr/>
          <p:nvPr/>
        </p:nvSpPr>
        <p:spPr>
          <a:xfrm>
            <a:off x="7351644" y="4462302"/>
            <a:ext cx="1054100" cy="774700"/>
          </a:xfrm>
          <a:prstGeom prst="ellipse">
            <a:avLst/>
          </a:prstGeom>
          <a:solidFill>
            <a:schemeClr val="accent2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Data</a:t>
            </a:r>
          </a:p>
          <a:p>
            <a:pPr algn="ctr">
              <a:lnSpc>
                <a:spcPct val="90000"/>
              </a:lnSpc>
            </a:pPr>
            <a:r>
              <a:rPr lang="de-DE" sz="1200" dirty="0" err="1"/>
              <a:t>Marts</a:t>
            </a:r>
            <a:endParaRPr lang="de-DE" sz="1200" dirty="0"/>
          </a:p>
        </p:txBody>
      </p:sp>
      <p:sp>
        <p:nvSpPr>
          <p:cNvPr id="17" name="Rectangle 16"/>
          <p:cNvSpPr/>
          <p:nvPr/>
        </p:nvSpPr>
        <p:spPr>
          <a:xfrm>
            <a:off x="3505201" y="5080000"/>
            <a:ext cx="3632198" cy="816513"/>
          </a:xfrm>
          <a:prstGeom prst="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0" name="Up Arrow 19"/>
          <p:cNvSpPr/>
          <p:nvPr/>
        </p:nvSpPr>
        <p:spPr>
          <a:xfrm rot="5400000">
            <a:off x="5380731" y="2881127"/>
            <a:ext cx="259335" cy="911380"/>
          </a:xfrm>
          <a:prstGeom prst="upArrow">
            <a:avLst>
              <a:gd name="adj1" fmla="val 35461"/>
              <a:gd name="adj2" fmla="val 50000"/>
            </a:avLst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000" dirty="0"/>
          </a:p>
        </p:txBody>
      </p:sp>
      <p:sp>
        <p:nvSpPr>
          <p:cNvPr id="22" name="Left-Right Arrow 21"/>
          <p:cNvSpPr/>
          <p:nvPr/>
        </p:nvSpPr>
        <p:spPr>
          <a:xfrm>
            <a:off x="2209801" y="3625849"/>
            <a:ext cx="647700" cy="342900"/>
          </a:xfrm>
          <a:prstGeom prst="leftRight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19" name="TextBox 18"/>
          <p:cNvSpPr txBox="1"/>
          <p:nvPr/>
        </p:nvSpPr>
        <p:spPr>
          <a:xfrm rot="16200000">
            <a:off x="2485488" y="4839186"/>
            <a:ext cx="1691736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200" b="1" dirty="0"/>
              <a:t>Data Lake </a:t>
            </a:r>
            <a:r>
              <a:rPr lang="de-DE" sz="1200" b="1" dirty="0" err="1"/>
              <a:t>Repositories</a:t>
            </a:r>
            <a:endParaRPr lang="de-DE" sz="1200" b="1" dirty="0"/>
          </a:p>
        </p:txBody>
      </p:sp>
      <p:sp>
        <p:nvSpPr>
          <p:cNvPr id="26" name="Left-Right Arrow 25"/>
          <p:cNvSpPr/>
          <p:nvPr/>
        </p:nvSpPr>
        <p:spPr>
          <a:xfrm>
            <a:off x="8579457" y="3594758"/>
            <a:ext cx="558800" cy="342900"/>
          </a:xfrm>
          <a:prstGeom prst="leftRightArrow">
            <a:avLst/>
          </a:prstGeom>
          <a:solidFill>
            <a:schemeClr val="accent3"/>
          </a:solidFill>
          <a:ln w="63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7" name="Rectangle 26"/>
          <p:cNvSpPr/>
          <p:nvPr/>
        </p:nvSpPr>
        <p:spPr>
          <a:xfrm>
            <a:off x="3505201" y="1584325"/>
            <a:ext cx="3632198" cy="1057275"/>
          </a:xfrm>
          <a:prstGeom prst="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8" name="TextBox 27"/>
          <p:cNvSpPr txBox="1"/>
          <p:nvPr/>
        </p:nvSpPr>
        <p:spPr>
          <a:xfrm rot="16200000">
            <a:off x="2871064" y="1984277"/>
            <a:ext cx="912677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200" b="1" dirty="0" err="1"/>
              <a:t>Governance</a:t>
            </a:r>
            <a:endParaRPr lang="de-DE" sz="1200" b="1" dirty="0"/>
          </a:p>
        </p:txBody>
      </p:sp>
      <p:sp>
        <p:nvSpPr>
          <p:cNvPr id="29" name="Can 28"/>
          <p:cNvSpPr/>
          <p:nvPr/>
        </p:nvSpPr>
        <p:spPr>
          <a:xfrm>
            <a:off x="3608081" y="1755465"/>
            <a:ext cx="762000" cy="688183"/>
          </a:xfrm>
          <a:prstGeom prst="can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 err="1"/>
              <a:t>Metadata</a:t>
            </a:r>
            <a:endParaRPr lang="de-DE" sz="1200" dirty="0"/>
          </a:p>
        </p:txBody>
      </p:sp>
      <p:sp>
        <p:nvSpPr>
          <p:cNvPr id="30" name="Rounded Rectangle 29"/>
          <p:cNvSpPr/>
          <p:nvPr/>
        </p:nvSpPr>
        <p:spPr>
          <a:xfrm>
            <a:off x="5868346" y="1799517"/>
            <a:ext cx="1117599" cy="600077"/>
          </a:xfrm>
          <a:prstGeom prst="roundRect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200" dirty="0"/>
          </a:p>
          <a:p>
            <a:pPr algn="ctr">
              <a:lnSpc>
                <a:spcPct val="90000"/>
              </a:lnSpc>
            </a:pPr>
            <a:r>
              <a:rPr lang="de-DE" sz="1200" dirty="0"/>
              <a:t>Access </a:t>
            </a:r>
            <a:r>
              <a:rPr lang="de-DE" sz="1200" dirty="0" err="1"/>
              <a:t>Rights</a:t>
            </a:r>
            <a:endParaRPr lang="de-DE" sz="1200" dirty="0"/>
          </a:p>
        </p:txBody>
      </p:sp>
      <p:sp>
        <p:nvSpPr>
          <p:cNvPr id="33" name="Up-Down Arrow 32"/>
          <p:cNvSpPr/>
          <p:nvPr/>
        </p:nvSpPr>
        <p:spPr>
          <a:xfrm>
            <a:off x="5331480" y="4793491"/>
            <a:ext cx="179638" cy="286509"/>
          </a:xfrm>
          <a:prstGeom prst="up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39" name="Oval 38"/>
          <p:cNvSpPr/>
          <p:nvPr/>
        </p:nvSpPr>
        <p:spPr>
          <a:xfrm>
            <a:off x="9138257" y="2858278"/>
            <a:ext cx="1054100" cy="457200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Ad-Hoc</a:t>
            </a:r>
          </a:p>
        </p:txBody>
      </p:sp>
      <p:sp>
        <p:nvSpPr>
          <p:cNvPr id="40" name="Oval 39"/>
          <p:cNvSpPr/>
          <p:nvPr/>
        </p:nvSpPr>
        <p:spPr>
          <a:xfrm>
            <a:off x="9138257" y="4742040"/>
            <a:ext cx="1079500" cy="592737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Reporting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994101" y="3069542"/>
            <a:ext cx="971988" cy="1835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de-DE" sz="800" b="1" dirty="0"/>
              <a:t>Road </a:t>
            </a:r>
            <a:r>
              <a:rPr lang="de-DE" sz="800" b="1" dirty="0" err="1"/>
              <a:t>to</a:t>
            </a:r>
            <a:r>
              <a:rPr lang="de-DE" sz="800" b="1" dirty="0"/>
              <a:t> </a:t>
            </a:r>
            <a:r>
              <a:rPr lang="de-DE" sz="800" b="1" dirty="0" err="1"/>
              <a:t>production</a:t>
            </a:r>
            <a:endParaRPr lang="de-DE" sz="800" b="1" dirty="0"/>
          </a:p>
        </p:txBody>
      </p:sp>
      <p:sp>
        <p:nvSpPr>
          <p:cNvPr id="35" name="Rectangle 34"/>
          <p:cNvSpPr/>
          <p:nvPr/>
        </p:nvSpPr>
        <p:spPr>
          <a:xfrm>
            <a:off x="3505201" y="4107148"/>
            <a:ext cx="3632198" cy="675079"/>
          </a:xfrm>
          <a:prstGeom prst="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" name="TextBox 1"/>
          <p:cNvSpPr txBox="1"/>
          <p:nvPr/>
        </p:nvSpPr>
        <p:spPr>
          <a:xfrm>
            <a:off x="4388762" y="4300613"/>
            <a:ext cx="2063633" cy="288147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400" dirty="0"/>
              <a:t>Data </a:t>
            </a:r>
            <a:r>
              <a:rPr lang="de-DE" sz="1400" dirty="0" err="1"/>
              <a:t>Virtualization</a:t>
            </a:r>
            <a:r>
              <a:rPr lang="de-DE" sz="1400" dirty="0"/>
              <a:t> Layer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505201" y="2863633"/>
            <a:ext cx="3632198" cy="946367"/>
          </a:xfrm>
          <a:prstGeom prst="rect">
            <a:avLst/>
          </a:prstGeom>
          <a:noFill/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44" name="TextBox 43"/>
          <p:cNvSpPr txBox="1"/>
          <p:nvPr/>
        </p:nvSpPr>
        <p:spPr>
          <a:xfrm rot="16200000">
            <a:off x="2875079" y="3197880"/>
            <a:ext cx="904662" cy="257369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r>
              <a:rPr lang="de-DE" sz="1200" b="1" dirty="0" err="1"/>
              <a:t>Intelligence</a:t>
            </a:r>
            <a:endParaRPr lang="de-DE" sz="1200" b="1" dirty="0"/>
          </a:p>
        </p:txBody>
      </p:sp>
      <p:sp>
        <p:nvSpPr>
          <p:cNvPr id="45" name="Up-Down Arrow 44"/>
          <p:cNvSpPr/>
          <p:nvPr/>
        </p:nvSpPr>
        <p:spPr>
          <a:xfrm>
            <a:off x="5330760" y="3810000"/>
            <a:ext cx="179638" cy="286509"/>
          </a:xfrm>
          <a:prstGeom prst="upDownArrow">
            <a:avLst/>
          </a:prstGeom>
          <a:solidFill>
            <a:srgbClr val="FF6200"/>
          </a:solidFill>
          <a:ln w="6350">
            <a:solidFill>
              <a:srgbClr val="FF6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de-DE" sz="1600"/>
          </a:p>
        </p:txBody>
      </p:sp>
      <p:sp>
        <p:nvSpPr>
          <p:cNvPr id="21" name="Can 20"/>
          <p:cNvSpPr/>
          <p:nvPr/>
        </p:nvSpPr>
        <p:spPr>
          <a:xfrm>
            <a:off x="5760897" y="5265525"/>
            <a:ext cx="1152939" cy="530540"/>
          </a:xfrm>
          <a:prstGeom prst="can">
            <a:avLst/>
          </a:prstGeom>
          <a:solidFill>
            <a:schemeClr val="accent2"/>
          </a:solidFill>
          <a:ln w="63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/>
              <a:t>Other </a:t>
            </a:r>
            <a:r>
              <a:rPr lang="de-DE" sz="1200" dirty="0" err="1"/>
              <a:t>repositories</a:t>
            </a:r>
            <a:r>
              <a:rPr lang="de-DE" sz="1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44986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90979"/>
    </mc:Choice>
    <mc:Fallback>
      <p:transition spd="slow" advTm="90979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4000" dirty="0" err="1"/>
              <a:t>Thank</a:t>
            </a:r>
            <a:r>
              <a:rPr lang="de-DE" sz="4000" dirty="0"/>
              <a:t> </a:t>
            </a:r>
            <a:r>
              <a:rPr lang="de-DE" sz="4000" dirty="0" err="1"/>
              <a:t>you</a:t>
            </a:r>
            <a:r>
              <a:rPr lang="de-DE" sz="4000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2967405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617"/>
    </mc:Choice>
    <mc:Fallback>
      <p:transition spd="slow" advTm="617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9"/>
          <p:cNvSpPr>
            <a:spLocks noGrp="1"/>
          </p:cNvSpPr>
          <p:nvPr>
            <p:ph idx="1"/>
          </p:nvPr>
        </p:nvSpPr>
        <p:spPr>
          <a:xfrm>
            <a:off x="850737" y="826109"/>
            <a:ext cx="3858915" cy="169095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3200" dirty="0">
                <a:solidFill>
                  <a:schemeClr val="bg1"/>
                </a:solidFill>
              </a:rPr>
              <a:t>This year, ING was </a:t>
            </a:r>
          </a:p>
          <a:p>
            <a:pPr>
              <a:lnSpc>
                <a:spcPct val="100000"/>
              </a:lnSpc>
            </a:pPr>
            <a:r>
              <a:rPr lang="en-US" sz="3200" dirty="0">
                <a:solidFill>
                  <a:schemeClr val="bg1"/>
                </a:solidFill>
              </a:rPr>
              <a:t>named Best Bank </a:t>
            </a:r>
          </a:p>
          <a:p>
            <a:pPr>
              <a:lnSpc>
                <a:spcPct val="100000"/>
              </a:lnSpc>
            </a:pPr>
            <a:r>
              <a:rPr lang="en-US" sz="3200" dirty="0">
                <a:solidFill>
                  <a:schemeClr val="bg1"/>
                </a:solidFill>
              </a:rPr>
              <a:t>in the World.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01437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9694"/>
    </mc:Choice>
    <mc:Fallback>
      <p:transition spd="slow" advTm="19694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821"/>
          <a:stretch/>
        </p:blipFill>
        <p:spPr>
          <a:xfrm>
            <a:off x="0" y="0"/>
            <a:ext cx="12192000" cy="6184490"/>
          </a:xfrm>
          <a:prstGeom prst="rect">
            <a:avLst/>
          </a:prstGeom>
        </p:spPr>
      </p:pic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6" name="Title 20"/>
          <p:cNvSpPr>
            <a:spLocks noGrp="1"/>
          </p:cNvSpPr>
          <p:nvPr>
            <p:ph type="title"/>
          </p:nvPr>
        </p:nvSpPr>
        <p:spPr>
          <a:xfrm>
            <a:off x="693175" y="344805"/>
            <a:ext cx="10377948" cy="854075"/>
          </a:xfrm>
        </p:spPr>
        <p:txBody>
          <a:bodyPr/>
          <a:lstStyle/>
          <a:p>
            <a:r>
              <a:rPr lang="en-US" sz="3200" dirty="0"/>
              <a:t>Exploding expectations, set by tech giants, not banks </a:t>
            </a:r>
          </a:p>
        </p:txBody>
      </p:sp>
      <p:sp>
        <p:nvSpPr>
          <p:cNvPr id="7" name="Content Placeholder 19"/>
          <p:cNvSpPr>
            <a:spLocks noGrp="1"/>
          </p:cNvSpPr>
          <p:nvPr>
            <p:ph idx="1"/>
          </p:nvPr>
        </p:nvSpPr>
        <p:spPr>
          <a:xfrm>
            <a:off x="8116775" y="2603090"/>
            <a:ext cx="3327973" cy="185092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/>
                </a:solidFill>
              </a:rPr>
              <a:t>- Personal and Relevant 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/>
                </a:solidFill>
              </a:rPr>
              <a:t>- Instant and Seamless </a:t>
            </a:r>
          </a:p>
        </p:txBody>
      </p:sp>
    </p:spTree>
    <p:extLst>
      <p:ext uri="{BB962C8B-B14F-4D97-AF65-F5344CB8AC3E}">
        <p14:creationId xmlns:p14="http://schemas.microsoft.com/office/powerpoint/2010/main" val="1965930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7406"/>
    </mc:Choice>
    <mc:Fallback>
      <p:transition spd="slow" advTm="27406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94"/>
          <a:stretch/>
        </p:blipFill>
        <p:spPr>
          <a:xfrm>
            <a:off x="0" y="0"/>
            <a:ext cx="12192000" cy="6145161"/>
          </a:xfrm>
          <a:prstGeom prst="rect">
            <a:avLst/>
          </a:prstGeom>
        </p:spPr>
      </p:pic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6" name="Title 20"/>
          <p:cNvSpPr>
            <a:spLocks noGrp="1"/>
          </p:cNvSpPr>
          <p:nvPr>
            <p:ph type="title"/>
          </p:nvPr>
        </p:nvSpPr>
        <p:spPr>
          <a:xfrm>
            <a:off x="693175" y="344805"/>
            <a:ext cx="10377948" cy="854075"/>
          </a:xfrm>
        </p:spPr>
        <p:txBody>
          <a:bodyPr/>
          <a:lstStyle/>
          <a:p>
            <a:r>
              <a:rPr lang="en-US" sz="3200" dirty="0"/>
              <a:t>People engage with platforms more than ever</a:t>
            </a:r>
          </a:p>
        </p:txBody>
      </p:sp>
      <p:sp>
        <p:nvSpPr>
          <p:cNvPr id="7" name="Content Placeholder 19"/>
          <p:cNvSpPr>
            <a:spLocks noGrp="1"/>
          </p:cNvSpPr>
          <p:nvPr>
            <p:ph idx="1"/>
          </p:nvPr>
        </p:nvSpPr>
        <p:spPr>
          <a:xfrm>
            <a:off x="1224362" y="3193025"/>
            <a:ext cx="4163715" cy="185092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/>
                </a:solidFill>
              </a:rPr>
              <a:t>To connect to friends &amp; family, 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/>
                </a:solidFill>
              </a:rPr>
              <a:t>measure your health, find 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/>
                </a:solidFill>
              </a:rPr>
              <a:t>information, make travel </a:t>
            </a:r>
          </a:p>
          <a:p>
            <a:pPr>
              <a:lnSpc>
                <a:spcPct val="100000"/>
              </a:lnSpc>
            </a:pPr>
            <a:r>
              <a:rPr lang="en-US" sz="2100" dirty="0">
                <a:solidFill>
                  <a:schemeClr val="bg1"/>
                </a:solidFill>
              </a:rPr>
              <a:t>arrangements, buy products, etc.</a:t>
            </a:r>
          </a:p>
        </p:txBody>
      </p:sp>
    </p:spTree>
    <p:extLst>
      <p:ext uri="{BB962C8B-B14F-4D97-AF65-F5344CB8AC3E}">
        <p14:creationId xmlns:p14="http://schemas.microsoft.com/office/powerpoint/2010/main" val="3147041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39526"/>
    </mc:Choice>
    <mc:Fallback>
      <p:transition spd="slow" advTm="39526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963"/>
          <a:stretch/>
        </p:blipFill>
        <p:spPr>
          <a:xfrm>
            <a:off x="0" y="0"/>
            <a:ext cx="12192000" cy="5831840"/>
          </a:xfrm>
          <a:prstGeom prst="rect">
            <a:avLst/>
          </a:prstGeom>
        </p:spPr>
      </p:pic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6" name="Title 20"/>
          <p:cNvSpPr>
            <a:spLocks noGrp="1"/>
          </p:cNvSpPr>
          <p:nvPr>
            <p:ph type="title"/>
          </p:nvPr>
        </p:nvSpPr>
        <p:spPr>
          <a:xfrm>
            <a:off x="693175" y="344805"/>
            <a:ext cx="10377948" cy="854075"/>
          </a:xfrm>
        </p:spPr>
        <p:txBody>
          <a:bodyPr/>
          <a:lstStyle/>
          <a:p>
            <a:r>
              <a:rPr lang="en-US" sz="3200" dirty="0"/>
              <a:t>We must find new ways to be relevant</a:t>
            </a:r>
          </a:p>
        </p:txBody>
      </p:sp>
    </p:spTree>
    <p:extLst>
      <p:ext uri="{BB962C8B-B14F-4D97-AF65-F5344CB8AC3E}">
        <p14:creationId xmlns:p14="http://schemas.microsoft.com/office/powerpoint/2010/main" val="2780281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55587"/>
    </mc:Choice>
    <mc:Fallback>
      <p:transition spd="slow" advTm="55587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400" y="2053509"/>
            <a:ext cx="5750560" cy="3666790"/>
          </a:xfrm>
          <a:prstGeom prst="rect">
            <a:avLst/>
          </a:prstGeom>
        </p:spPr>
      </p:pic>
      <p:sp>
        <p:nvSpPr>
          <p:cNvPr id="19" name="Slide Number Placeholder 1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6" name="Title 20"/>
          <p:cNvSpPr>
            <a:spLocks noGrp="1"/>
          </p:cNvSpPr>
          <p:nvPr>
            <p:ph type="title"/>
          </p:nvPr>
        </p:nvSpPr>
        <p:spPr>
          <a:xfrm>
            <a:off x="693174" y="344805"/>
            <a:ext cx="9805063" cy="854075"/>
          </a:xfrm>
        </p:spPr>
        <p:txBody>
          <a:bodyPr/>
          <a:lstStyle/>
          <a:p>
            <a:r>
              <a:rPr lang="en-US" sz="3200" dirty="0"/>
              <a:t>How empowering people drives growth</a:t>
            </a:r>
          </a:p>
        </p:txBody>
      </p:sp>
      <p:sp>
        <p:nvSpPr>
          <p:cNvPr id="7" name="Content Placeholder 19"/>
          <p:cNvSpPr>
            <a:spLocks noGrp="1"/>
          </p:cNvSpPr>
          <p:nvPr>
            <p:ph idx="1"/>
          </p:nvPr>
        </p:nvSpPr>
        <p:spPr>
          <a:xfrm>
            <a:off x="6349485" y="3850124"/>
            <a:ext cx="4582675" cy="111811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100" dirty="0"/>
              <a:t>Improving the customer experience </a:t>
            </a:r>
          </a:p>
          <a:p>
            <a:pPr>
              <a:lnSpc>
                <a:spcPct val="100000"/>
              </a:lnSpc>
            </a:pPr>
            <a:r>
              <a:rPr lang="en-US" sz="2100" dirty="0"/>
              <a:t>means </a:t>
            </a:r>
            <a:r>
              <a:rPr lang="en-US" sz="2100" b="1" dirty="0">
                <a:solidFill>
                  <a:srgbClr val="FF6200"/>
                </a:solidFill>
              </a:rPr>
              <a:t>giving our customers new </a:t>
            </a:r>
          </a:p>
          <a:p>
            <a:pPr>
              <a:lnSpc>
                <a:spcPct val="100000"/>
              </a:lnSpc>
            </a:pPr>
            <a:r>
              <a:rPr lang="en-US" sz="2100" b="1" dirty="0">
                <a:solidFill>
                  <a:srgbClr val="FF6200"/>
                </a:solidFill>
              </a:rPr>
              <a:t>and ever more reasons to interact.</a:t>
            </a:r>
          </a:p>
        </p:txBody>
      </p:sp>
      <p:sp>
        <p:nvSpPr>
          <p:cNvPr id="9" name="Content Placeholder 19"/>
          <p:cNvSpPr txBox="1">
            <a:spLocks/>
          </p:cNvSpPr>
          <p:nvPr/>
        </p:nvSpPr>
        <p:spPr bwMode="gray">
          <a:xfrm>
            <a:off x="1363980" y="2772648"/>
            <a:ext cx="1287780" cy="793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</a:pPr>
            <a:r>
              <a:rPr lang="en-US" sz="1600" dirty="0">
                <a:solidFill>
                  <a:schemeClr val="bg1"/>
                </a:solidFill>
              </a:rPr>
              <a:t>Better </a:t>
            </a:r>
          </a:p>
          <a:p>
            <a:pPr>
              <a:lnSpc>
                <a:spcPts val="1600"/>
              </a:lnSpc>
            </a:pPr>
            <a:r>
              <a:rPr lang="en-US" sz="1600" dirty="0">
                <a:solidFill>
                  <a:schemeClr val="bg1"/>
                </a:solidFill>
              </a:rPr>
              <a:t>customer </a:t>
            </a:r>
          </a:p>
          <a:p>
            <a:pPr>
              <a:lnSpc>
                <a:spcPts val="1600"/>
              </a:lnSpc>
            </a:pPr>
            <a:r>
              <a:rPr lang="en-US" sz="1600" dirty="0">
                <a:solidFill>
                  <a:schemeClr val="bg1"/>
                </a:solidFill>
              </a:rPr>
              <a:t>experience</a:t>
            </a:r>
          </a:p>
        </p:txBody>
      </p:sp>
      <p:sp>
        <p:nvSpPr>
          <p:cNvPr id="10" name="Content Placeholder 19"/>
          <p:cNvSpPr txBox="1">
            <a:spLocks/>
          </p:cNvSpPr>
          <p:nvPr/>
        </p:nvSpPr>
        <p:spPr bwMode="gray">
          <a:xfrm>
            <a:off x="4279901" y="2864088"/>
            <a:ext cx="1287780" cy="793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</a:pPr>
            <a:r>
              <a:rPr lang="en-US" sz="1600" dirty="0">
                <a:solidFill>
                  <a:schemeClr val="bg1"/>
                </a:solidFill>
              </a:rPr>
              <a:t>More</a:t>
            </a:r>
          </a:p>
          <a:p>
            <a:pPr>
              <a:lnSpc>
                <a:spcPts val="1600"/>
              </a:lnSpc>
            </a:pPr>
            <a:r>
              <a:rPr lang="en-US" sz="1600" dirty="0">
                <a:solidFill>
                  <a:schemeClr val="bg1"/>
                </a:solidFill>
              </a:rPr>
              <a:t>interactions</a:t>
            </a:r>
          </a:p>
        </p:txBody>
      </p:sp>
      <p:sp>
        <p:nvSpPr>
          <p:cNvPr id="11" name="Content Placeholder 19"/>
          <p:cNvSpPr txBox="1">
            <a:spLocks/>
          </p:cNvSpPr>
          <p:nvPr/>
        </p:nvSpPr>
        <p:spPr bwMode="gray">
          <a:xfrm>
            <a:off x="2938781" y="5170408"/>
            <a:ext cx="1064259" cy="5090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268288" indent="-268288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536575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808038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1071563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600"/>
              </a:lnSpc>
            </a:pPr>
            <a:r>
              <a:rPr lang="en-US" sz="1600">
                <a:solidFill>
                  <a:schemeClr val="bg1"/>
                </a:solidFill>
              </a:rPr>
              <a:t>More data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470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25300"/>
    </mc:Choice>
    <mc:Fallback>
      <p:transition spd="slow" advTm="2530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enter of excellence in advanced analytics</a:t>
            </a:r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pic>
        <p:nvPicPr>
          <p:cNvPr id="5" name="Content Placeholder 4"/>
          <p:cNvPicPr>
            <a:picLocks noGrp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788" y="1134808"/>
            <a:ext cx="6391352" cy="4946650"/>
          </a:xfrm>
          <a:prstGeom prst="roundRect">
            <a:avLst>
              <a:gd name="adj" fmla="val 4863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7375602" y="1134809"/>
            <a:ext cx="4816398" cy="494664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/>
          <a:lstStyle>
            <a:lvl1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1pPr>
            <a:lvl2pPr marL="0" indent="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2pPr>
            <a:lvl3pPr marL="266700" indent="-2667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3pPr>
            <a:lvl4pPr marL="512763" indent="-26035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4pPr>
            <a:lvl5pPr marL="762000" indent="-252413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Font typeface="ING Me" pitchFamily="2" charset="0"/>
              <a:buChar char="•"/>
              <a:defRPr sz="2000" kern="1200" baseline="0">
                <a:solidFill>
                  <a:schemeClr val="tx1"/>
                </a:solidFill>
                <a:latin typeface="+mn-lt"/>
                <a:ea typeface="+mn-ea"/>
                <a:cs typeface="ING Me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9684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pecialists in machine learning and big data technologies</a:t>
            </a:r>
          </a:p>
          <a:p>
            <a:pPr marL="379684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endParaRPr lang="en-US" sz="1800" b="1" dirty="0"/>
          </a:p>
          <a:p>
            <a:pPr marL="379684" indent="-342900"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sz="1800" dirty="0"/>
              <a:t>Support business units</a:t>
            </a:r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endParaRPr lang="en-US" sz="1800" dirty="0"/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Experiment with new data </a:t>
            </a:r>
          </a:p>
          <a:p>
            <a:pPr marL="728915" lvl="1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Technology </a:t>
            </a:r>
          </a:p>
          <a:p>
            <a:pPr marL="728915" lvl="1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Methods </a:t>
            </a:r>
          </a:p>
          <a:p>
            <a:pPr marL="728915" lvl="1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Sources</a:t>
            </a:r>
          </a:p>
          <a:p>
            <a:pPr marL="728915" lvl="1" indent="-384320">
              <a:buClr>
                <a:schemeClr val="tx2"/>
              </a:buClr>
              <a:buFont typeface="Arial"/>
              <a:buChar char="•"/>
            </a:pPr>
            <a:endParaRPr lang="en-US" sz="1800" dirty="0"/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Training and knowledge transfers</a:t>
            </a:r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endParaRPr lang="en-US" sz="1800" dirty="0"/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Development of exploration environment</a:t>
            </a:r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endParaRPr lang="en-US" sz="1800" dirty="0"/>
          </a:p>
          <a:p>
            <a:pPr marL="421104" indent="-384320">
              <a:buClr>
                <a:schemeClr val="tx2"/>
              </a:buClr>
              <a:buFont typeface="Arial"/>
              <a:buChar char="•"/>
            </a:pPr>
            <a:r>
              <a:rPr lang="en-US" sz="1800" dirty="0"/>
              <a:t>Fundamental research</a:t>
            </a:r>
          </a:p>
        </p:txBody>
      </p:sp>
    </p:spTree>
    <p:extLst>
      <p:ext uri="{BB962C8B-B14F-4D97-AF65-F5344CB8AC3E}">
        <p14:creationId xmlns:p14="http://schemas.microsoft.com/office/powerpoint/2010/main" val="5078645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11429"/>
    </mc:Choice>
    <mc:Fallback>
      <p:transition spd="slow" advTm="111429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/>
              <a:t>International Advanced Analytics Team</a:t>
            </a:r>
            <a:br>
              <a:rPr lang="en-US" sz="2200" dirty="0"/>
            </a:br>
            <a:r>
              <a:rPr lang="en-US" sz="2200" dirty="0"/>
              <a:t>One team split over 2 locations 25 FTEs – 2 STAs</a:t>
            </a:r>
          </a:p>
        </p:txBody>
      </p:sp>
      <p:sp>
        <p:nvSpPr>
          <p:cNvPr id="74" name="bk object 16"/>
          <p:cNvSpPr/>
          <p:nvPr/>
        </p:nvSpPr>
        <p:spPr>
          <a:xfrm>
            <a:off x="863600" y="2961404"/>
            <a:ext cx="698500" cy="698500"/>
          </a:xfrm>
          <a:custGeom>
            <a:avLst/>
            <a:gdLst/>
            <a:ahLst/>
            <a:cxnLst/>
            <a:rect l="l" t="t" r="r" b="b"/>
            <a:pathLst>
              <a:path w="698500" h="698500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7445" y="485194"/>
                </a:lnTo>
                <a:lnTo>
                  <a:pt x="47682" y="525524"/>
                </a:lnTo>
                <a:lnTo>
                  <a:pt x="72769" y="562667"/>
                </a:lnTo>
                <a:lnTo>
                  <a:pt x="102292" y="596207"/>
                </a:lnTo>
                <a:lnTo>
                  <a:pt x="135832" y="625730"/>
                </a:lnTo>
                <a:lnTo>
                  <a:pt x="172975" y="650817"/>
                </a:lnTo>
                <a:lnTo>
                  <a:pt x="213305" y="671054"/>
                </a:lnTo>
                <a:lnTo>
                  <a:pt x="256404" y="686024"/>
                </a:lnTo>
                <a:lnTo>
                  <a:pt x="301858" y="695311"/>
                </a:lnTo>
                <a:lnTo>
                  <a:pt x="349250" y="698500"/>
                </a:lnTo>
                <a:lnTo>
                  <a:pt x="396641" y="695311"/>
                </a:lnTo>
                <a:lnTo>
                  <a:pt x="442095" y="686024"/>
                </a:lnTo>
                <a:lnTo>
                  <a:pt x="485194" y="671054"/>
                </a:lnTo>
                <a:lnTo>
                  <a:pt x="525524" y="650817"/>
                </a:lnTo>
                <a:lnTo>
                  <a:pt x="562667" y="625730"/>
                </a:lnTo>
                <a:lnTo>
                  <a:pt x="596207" y="596207"/>
                </a:lnTo>
                <a:lnTo>
                  <a:pt x="625730" y="562667"/>
                </a:lnTo>
                <a:lnTo>
                  <a:pt x="650817" y="525524"/>
                </a:lnTo>
                <a:lnTo>
                  <a:pt x="671054" y="485194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2046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bk object 17"/>
          <p:cNvSpPr/>
          <p:nvPr/>
        </p:nvSpPr>
        <p:spPr>
          <a:xfrm>
            <a:off x="863600" y="2961404"/>
            <a:ext cx="698500" cy="474345"/>
          </a:xfrm>
          <a:custGeom>
            <a:avLst/>
            <a:gdLst/>
            <a:ahLst/>
            <a:cxnLst/>
            <a:rect l="l" t="t" r="r" b="b"/>
            <a:pathLst>
              <a:path w="698500" h="474345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3601" y="474129"/>
                </a:lnTo>
                <a:lnTo>
                  <a:pt x="674898" y="474129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bk object 18"/>
          <p:cNvSpPr/>
          <p:nvPr/>
        </p:nvSpPr>
        <p:spPr>
          <a:xfrm>
            <a:off x="884996" y="2961404"/>
            <a:ext cx="655955" cy="231140"/>
          </a:xfrm>
          <a:custGeom>
            <a:avLst/>
            <a:gdLst/>
            <a:ahLst/>
            <a:cxnLst/>
            <a:rect l="l" t="t" r="r" b="b"/>
            <a:pathLst>
              <a:path w="655955" h="231139">
                <a:moveTo>
                  <a:pt x="327853" y="0"/>
                </a:moveTo>
                <a:lnTo>
                  <a:pt x="280462" y="3188"/>
                </a:lnTo>
                <a:lnTo>
                  <a:pt x="235008" y="12475"/>
                </a:lnTo>
                <a:lnTo>
                  <a:pt x="191908" y="27445"/>
                </a:lnTo>
                <a:lnTo>
                  <a:pt x="151579" y="47682"/>
                </a:lnTo>
                <a:lnTo>
                  <a:pt x="114436" y="72769"/>
                </a:lnTo>
                <a:lnTo>
                  <a:pt x="80895" y="102292"/>
                </a:lnTo>
                <a:lnTo>
                  <a:pt x="51373" y="135832"/>
                </a:lnTo>
                <a:lnTo>
                  <a:pt x="26286" y="172975"/>
                </a:lnTo>
                <a:lnTo>
                  <a:pt x="6049" y="213305"/>
                </a:lnTo>
                <a:lnTo>
                  <a:pt x="0" y="230720"/>
                </a:lnTo>
                <a:lnTo>
                  <a:pt x="655707" y="230720"/>
                </a:lnTo>
                <a:lnTo>
                  <a:pt x="629421" y="172975"/>
                </a:lnTo>
                <a:lnTo>
                  <a:pt x="604333" y="135832"/>
                </a:lnTo>
                <a:lnTo>
                  <a:pt x="574811" y="102292"/>
                </a:lnTo>
                <a:lnTo>
                  <a:pt x="541270" y="72769"/>
                </a:lnTo>
                <a:lnTo>
                  <a:pt x="504127" y="47682"/>
                </a:lnTo>
                <a:lnTo>
                  <a:pt x="463798" y="27445"/>
                </a:lnTo>
                <a:lnTo>
                  <a:pt x="420698" y="12475"/>
                </a:lnTo>
                <a:lnTo>
                  <a:pt x="375245" y="3188"/>
                </a:lnTo>
                <a:lnTo>
                  <a:pt x="327853" y="0"/>
                </a:lnTo>
                <a:close/>
              </a:path>
            </a:pathLst>
          </a:custGeom>
          <a:solidFill>
            <a:srgbClr val="AD1C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bk object 19"/>
          <p:cNvSpPr/>
          <p:nvPr/>
        </p:nvSpPr>
        <p:spPr>
          <a:xfrm>
            <a:off x="876300" y="1856504"/>
            <a:ext cx="698500" cy="698500"/>
          </a:xfrm>
          <a:custGeom>
            <a:avLst/>
            <a:gdLst/>
            <a:ahLst/>
            <a:cxnLst/>
            <a:rect l="l" t="t" r="r" b="b"/>
            <a:pathLst>
              <a:path w="698500" h="698500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7445" y="485194"/>
                </a:lnTo>
                <a:lnTo>
                  <a:pt x="47682" y="525524"/>
                </a:lnTo>
                <a:lnTo>
                  <a:pt x="72769" y="562667"/>
                </a:lnTo>
                <a:lnTo>
                  <a:pt x="102292" y="596207"/>
                </a:lnTo>
                <a:lnTo>
                  <a:pt x="135832" y="625730"/>
                </a:lnTo>
                <a:lnTo>
                  <a:pt x="172975" y="650817"/>
                </a:lnTo>
                <a:lnTo>
                  <a:pt x="213305" y="671054"/>
                </a:lnTo>
                <a:lnTo>
                  <a:pt x="256404" y="686024"/>
                </a:lnTo>
                <a:lnTo>
                  <a:pt x="301858" y="695311"/>
                </a:lnTo>
                <a:lnTo>
                  <a:pt x="349250" y="698500"/>
                </a:lnTo>
                <a:lnTo>
                  <a:pt x="396641" y="695311"/>
                </a:lnTo>
                <a:lnTo>
                  <a:pt x="442095" y="686024"/>
                </a:lnTo>
                <a:lnTo>
                  <a:pt x="485194" y="671054"/>
                </a:lnTo>
                <a:lnTo>
                  <a:pt x="525524" y="650817"/>
                </a:lnTo>
                <a:lnTo>
                  <a:pt x="562667" y="625730"/>
                </a:lnTo>
                <a:lnTo>
                  <a:pt x="596207" y="596207"/>
                </a:lnTo>
                <a:lnTo>
                  <a:pt x="625730" y="562667"/>
                </a:lnTo>
                <a:lnTo>
                  <a:pt x="650817" y="525524"/>
                </a:lnTo>
                <a:lnTo>
                  <a:pt x="671054" y="485194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bk object 20"/>
          <p:cNvSpPr/>
          <p:nvPr/>
        </p:nvSpPr>
        <p:spPr>
          <a:xfrm>
            <a:off x="876300" y="2094629"/>
            <a:ext cx="698500" cy="460375"/>
          </a:xfrm>
          <a:custGeom>
            <a:avLst/>
            <a:gdLst/>
            <a:ahLst/>
            <a:cxnLst/>
            <a:rect l="l" t="t" r="r" b="b"/>
            <a:pathLst>
              <a:path w="698500" h="460375">
                <a:moveTo>
                  <a:pt x="679675" y="0"/>
                </a:moveTo>
                <a:lnTo>
                  <a:pt x="18824" y="0"/>
                </a:lnTo>
                <a:lnTo>
                  <a:pt x="12475" y="18279"/>
                </a:lnTo>
                <a:lnTo>
                  <a:pt x="3188" y="63733"/>
                </a:lnTo>
                <a:lnTo>
                  <a:pt x="0" y="111125"/>
                </a:lnTo>
                <a:lnTo>
                  <a:pt x="3188" y="158516"/>
                </a:lnTo>
                <a:lnTo>
                  <a:pt x="12475" y="203970"/>
                </a:lnTo>
                <a:lnTo>
                  <a:pt x="27445" y="247069"/>
                </a:lnTo>
                <a:lnTo>
                  <a:pt x="47682" y="287399"/>
                </a:lnTo>
                <a:lnTo>
                  <a:pt x="72769" y="324542"/>
                </a:lnTo>
                <a:lnTo>
                  <a:pt x="102292" y="358082"/>
                </a:lnTo>
                <a:lnTo>
                  <a:pt x="135832" y="387605"/>
                </a:lnTo>
                <a:lnTo>
                  <a:pt x="172975" y="412692"/>
                </a:lnTo>
                <a:lnTo>
                  <a:pt x="213305" y="432929"/>
                </a:lnTo>
                <a:lnTo>
                  <a:pt x="256404" y="447899"/>
                </a:lnTo>
                <a:lnTo>
                  <a:pt x="301858" y="457186"/>
                </a:lnTo>
                <a:lnTo>
                  <a:pt x="349250" y="460375"/>
                </a:lnTo>
                <a:lnTo>
                  <a:pt x="396641" y="457186"/>
                </a:lnTo>
                <a:lnTo>
                  <a:pt x="442095" y="447899"/>
                </a:lnTo>
                <a:lnTo>
                  <a:pt x="485194" y="432929"/>
                </a:lnTo>
                <a:lnTo>
                  <a:pt x="525524" y="412692"/>
                </a:lnTo>
                <a:lnTo>
                  <a:pt x="562667" y="387605"/>
                </a:lnTo>
                <a:lnTo>
                  <a:pt x="596207" y="358082"/>
                </a:lnTo>
                <a:lnTo>
                  <a:pt x="625730" y="324542"/>
                </a:lnTo>
                <a:lnTo>
                  <a:pt x="650817" y="287399"/>
                </a:lnTo>
                <a:lnTo>
                  <a:pt x="671054" y="247069"/>
                </a:lnTo>
                <a:lnTo>
                  <a:pt x="686024" y="203970"/>
                </a:lnTo>
                <a:lnTo>
                  <a:pt x="695311" y="158516"/>
                </a:lnTo>
                <a:lnTo>
                  <a:pt x="698500" y="111125"/>
                </a:lnTo>
                <a:lnTo>
                  <a:pt x="695311" y="63733"/>
                </a:lnTo>
                <a:lnTo>
                  <a:pt x="686024" y="18279"/>
                </a:lnTo>
                <a:lnTo>
                  <a:pt x="679675" y="0"/>
                </a:lnTo>
                <a:close/>
              </a:path>
            </a:pathLst>
          </a:custGeom>
          <a:solidFill>
            <a:srgbClr val="DD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bk object 21"/>
          <p:cNvSpPr/>
          <p:nvPr/>
        </p:nvSpPr>
        <p:spPr>
          <a:xfrm>
            <a:off x="900638" y="2332754"/>
            <a:ext cx="650240" cy="222250"/>
          </a:xfrm>
          <a:custGeom>
            <a:avLst/>
            <a:gdLst/>
            <a:ahLst/>
            <a:cxnLst/>
            <a:rect l="l" t="t" r="r" b="b"/>
            <a:pathLst>
              <a:path w="650240" h="222250">
                <a:moveTo>
                  <a:pt x="649822" y="0"/>
                </a:moveTo>
                <a:lnTo>
                  <a:pt x="0" y="0"/>
                </a:lnTo>
                <a:lnTo>
                  <a:pt x="3106" y="8944"/>
                </a:lnTo>
                <a:lnTo>
                  <a:pt x="23343" y="49274"/>
                </a:lnTo>
                <a:lnTo>
                  <a:pt x="48431" y="86417"/>
                </a:lnTo>
                <a:lnTo>
                  <a:pt x="77953" y="119957"/>
                </a:lnTo>
                <a:lnTo>
                  <a:pt x="111494" y="149480"/>
                </a:lnTo>
                <a:lnTo>
                  <a:pt x="148637" y="174567"/>
                </a:lnTo>
                <a:lnTo>
                  <a:pt x="188966" y="194804"/>
                </a:lnTo>
                <a:lnTo>
                  <a:pt x="232066" y="209774"/>
                </a:lnTo>
                <a:lnTo>
                  <a:pt x="277519" y="219061"/>
                </a:lnTo>
                <a:lnTo>
                  <a:pt x="324911" y="222250"/>
                </a:lnTo>
                <a:lnTo>
                  <a:pt x="372302" y="219061"/>
                </a:lnTo>
                <a:lnTo>
                  <a:pt x="417756" y="209774"/>
                </a:lnTo>
                <a:lnTo>
                  <a:pt x="460856" y="194804"/>
                </a:lnTo>
                <a:lnTo>
                  <a:pt x="501185" y="174567"/>
                </a:lnTo>
                <a:lnTo>
                  <a:pt x="538328" y="149480"/>
                </a:lnTo>
                <a:lnTo>
                  <a:pt x="571869" y="119957"/>
                </a:lnTo>
                <a:lnTo>
                  <a:pt x="601391" y="86417"/>
                </a:lnTo>
                <a:lnTo>
                  <a:pt x="626478" y="49274"/>
                </a:lnTo>
                <a:lnTo>
                  <a:pt x="646715" y="8944"/>
                </a:lnTo>
                <a:lnTo>
                  <a:pt x="649822" y="0"/>
                </a:lnTo>
                <a:close/>
              </a:path>
            </a:pathLst>
          </a:custGeom>
          <a:solidFill>
            <a:srgbClr val="FFCE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bk object 22"/>
          <p:cNvSpPr/>
          <p:nvPr/>
        </p:nvSpPr>
        <p:spPr>
          <a:xfrm>
            <a:off x="3505200" y="2961404"/>
            <a:ext cx="698500" cy="698500"/>
          </a:xfrm>
          <a:custGeom>
            <a:avLst/>
            <a:gdLst/>
            <a:ahLst/>
            <a:cxnLst/>
            <a:rect l="l" t="t" r="r" b="b"/>
            <a:pathLst>
              <a:path w="698500" h="698500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7445" y="485194"/>
                </a:lnTo>
                <a:lnTo>
                  <a:pt x="47682" y="525524"/>
                </a:lnTo>
                <a:lnTo>
                  <a:pt x="72769" y="562667"/>
                </a:lnTo>
                <a:lnTo>
                  <a:pt x="102292" y="596207"/>
                </a:lnTo>
                <a:lnTo>
                  <a:pt x="135832" y="625730"/>
                </a:lnTo>
                <a:lnTo>
                  <a:pt x="172975" y="650817"/>
                </a:lnTo>
                <a:lnTo>
                  <a:pt x="213305" y="671054"/>
                </a:lnTo>
                <a:lnTo>
                  <a:pt x="256404" y="686024"/>
                </a:lnTo>
                <a:lnTo>
                  <a:pt x="301858" y="695311"/>
                </a:lnTo>
                <a:lnTo>
                  <a:pt x="349250" y="698500"/>
                </a:lnTo>
                <a:lnTo>
                  <a:pt x="396641" y="695311"/>
                </a:lnTo>
                <a:lnTo>
                  <a:pt x="442095" y="686024"/>
                </a:lnTo>
                <a:lnTo>
                  <a:pt x="485194" y="671054"/>
                </a:lnTo>
                <a:lnTo>
                  <a:pt x="525524" y="650817"/>
                </a:lnTo>
                <a:lnTo>
                  <a:pt x="562667" y="625730"/>
                </a:lnTo>
                <a:lnTo>
                  <a:pt x="596207" y="596207"/>
                </a:lnTo>
                <a:lnTo>
                  <a:pt x="625730" y="562667"/>
                </a:lnTo>
                <a:lnTo>
                  <a:pt x="650817" y="525524"/>
                </a:lnTo>
                <a:lnTo>
                  <a:pt x="671054" y="485194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2046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bk object 23"/>
          <p:cNvSpPr/>
          <p:nvPr/>
        </p:nvSpPr>
        <p:spPr>
          <a:xfrm>
            <a:off x="3505200" y="2961404"/>
            <a:ext cx="698500" cy="474345"/>
          </a:xfrm>
          <a:custGeom>
            <a:avLst/>
            <a:gdLst/>
            <a:ahLst/>
            <a:cxnLst/>
            <a:rect l="l" t="t" r="r" b="b"/>
            <a:pathLst>
              <a:path w="698500" h="474345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3601" y="474129"/>
                </a:lnTo>
                <a:lnTo>
                  <a:pt x="674898" y="474129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bk object 24"/>
          <p:cNvSpPr/>
          <p:nvPr/>
        </p:nvSpPr>
        <p:spPr>
          <a:xfrm>
            <a:off x="3526596" y="2961404"/>
            <a:ext cx="655955" cy="231140"/>
          </a:xfrm>
          <a:custGeom>
            <a:avLst/>
            <a:gdLst/>
            <a:ahLst/>
            <a:cxnLst/>
            <a:rect l="l" t="t" r="r" b="b"/>
            <a:pathLst>
              <a:path w="655954" h="231139">
                <a:moveTo>
                  <a:pt x="327853" y="0"/>
                </a:moveTo>
                <a:lnTo>
                  <a:pt x="280462" y="3188"/>
                </a:lnTo>
                <a:lnTo>
                  <a:pt x="235008" y="12475"/>
                </a:lnTo>
                <a:lnTo>
                  <a:pt x="191908" y="27445"/>
                </a:lnTo>
                <a:lnTo>
                  <a:pt x="151579" y="47682"/>
                </a:lnTo>
                <a:lnTo>
                  <a:pt x="114436" y="72769"/>
                </a:lnTo>
                <a:lnTo>
                  <a:pt x="80895" y="102292"/>
                </a:lnTo>
                <a:lnTo>
                  <a:pt x="51373" y="135832"/>
                </a:lnTo>
                <a:lnTo>
                  <a:pt x="26286" y="172975"/>
                </a:lnTo>
                <a:lnTo>
                  <a:pt x="6049" y="213305"/>
                </a:lnTo>
                <a:lnTo>
                  <a:pt x="0" y="230720"/>
                </a:lnTo>
                <a:lnTo>
                  <a:pt x="655707" y="230720"/>
                </a:lnTo>
                <a:lnTo>
                  <a:pt x="629421" y="172975"/>
                </a:lnTo>
                <a:lnTo>
                  <a:pt x="604333" y="135832"/>
                </a:lnTo>
                <a:lnTo>
                  <a:pt x="574811" y="102292"/>
                </a:lnTo>
                <a:lnTo>
                  <a:pt x="541270" y="72769"/>
                </a:lnTo>
                <a:lnTo>
                  <a:pt x="504127" y="47682"/>
                </a:lnTo>
                <a:lnTo>
                  <a:pt x="463798" y="27445"/>
                </a:lnTo>
                <a:lnTo>
                  <a:pt x="420698" y="12475"/>
                </a:lnTo>
                <a:lnTo>
                  <a:pt x="375245" y="3188"/>
                </a:lnTo>
                <a:lnTo>
                  <a:pt x="327853" y="0"/>
                </a:lnTo>
                <a:close/>
              </a:path>
            </a:pathLst>
          </a:custGeom>
          <a:solidFill>
            <a:srgbClr val="AD1C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bk object 25"/>
          <p:cNvSpPr/>
          <p:nvPr/>
        </p:nvSpPr>
        <p:spPr>
          <a:xfrm>
            <a:off x="3517900" y="1856504"/>
            <a:ext cx="698500" cy="698500"/>
          </a:xfrm>
          <a:custGeom>
            <a:avLst/>
            <a:gdLst/>
            <a:ahLst/>
            <a:cxnLst/>
            <a:rect l="l" t="t" r="r" b="b"/>
            <a:pathLst>
              <a:path w="698500" h="698500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7445" y="485194"/>
                </a:lnTo>
                <a:lnTo>
                  <a:pt x="47682" y="525524"/>
                </a:lnTo>
                <a:lnTo>
                  <a:pt x="72769" y="562667"/>
                </a:lnTo>
                <a:lnTo>
                  <a:pt x="102292" y="596207"/>
                </a:lnTo>
                <a:lnTo>
                  <a:pt x="135832" y="625730"/>
                </a:lnTo>
                <a:lnTo>
                  <a:pt x="172975" y="650817"/>
                </a:lnTo>
                <a:lnTo>
                  <a:pt x="213305" y="671054"/>
                </a:lnTo>
                <a:lnTo>
                  <a:pt x="256404" y="686024"/>
                </a:lnTo>
                <a:lnTo>
                  <a:pt x="301858" y="695311"/>
                </a:lnTo>
                <a:lnTo>
                  <a:pt x="349250" y="698500"/>
                </a:lnTo>
                <a:lnTo>
                  <a:pt x="396641" y="695311"/>
                </a:lnTo>
                <a:lnTo>
                  <a:pt x="442095" y="686024"/>
                </a:lnTo>
                <a:lnTo>
                  <a:pt x="485194" y="671054"/>
                </a:lnTo>
                <a:lnTo>
                  <a:pt x="525524" y="650817"/>
                </a:lnTo>
                <a:lnTo>
                  <a:pt x="562667" y="625730"/>
                </a:lnTo>
                <a:lnTo>
                  <a:pt x="596207" y="596207"/>
                </a:lnTo>
                <a:lnTo>
                  <a:pt x="625730" y="562667"/>
                </a:lnTo>
                <a:lnTo>
                  <a:pt x="650817" y="525524"/>
                </a:lnTo>
                <a:lnTo>
                  <a:pt x="671054" y="485194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bk object 26"/>
          <p:cNvSpPr/>
          <p:nvPr/>
        </p:nvSpPr>
        <p:spPr>
          <a:xfrm>
            <a:off x="3517900" y="2094629"/>
            <a:ext cx="698500" cy="460375"/>
          </a:xfrm>
          <a:custGeom>
            <a:avLst/>
            <a:gdLst/>
            <a:ahLst/>
            <a:cxnLst/>
            <a:rect l="l" t="t" r="r" b="b"/>
            <a:pathLst>
              <a:path w="698500" h="460375">
                <a:moveTo>
                  <a:pt x="679675" y="0"/>
                </a:moveTo>
                <a:lnTo>
                  <a:pt x="18824" y="0"/>
                </a:lnTo>
                <a:lnTo>
                  <a:pt x="12475" y="18279"/>
                </a:lnTo>
                <a:lnTo>
                  <a:pt x="3188" y="63733"/>
                </a:lnTo>
                <a:lnTo>
                  <a:pt x="0" y="111125"/>
                </a:lnTo>
                <a:lnTo>
                  <a:pt x="3188" y="158516"/>
                </a:lnTo>
                <a:lnTo>
                  <a:pt x="12475" y="203970"/>
                </a:lnTo>
                <a:lnTo>
                  <a:pt x="27445" y="247069"/>
                </a:lnTo>
                <a:lnTo>
                  <a:pt x="47682" y="287399"/>
                </a:lnTo>
                <a:lnTo>
                  <a:pt x="72769" y="324542"/>
                </a:lnTo>
                <a:lnTo>
                  <a:pt x="102292" y="358082"/>
                </a:lnTo>
                <a:lnTo>
                  <a:pt x="135832" y="387605"/>
                </a:lnTo>
                <a:lnTo>
                  <a:pt x="172975" y="412692"/>
                </a:lnTo>
                <a:lnTo>
                  <a:pt x="213305" y="432929"/>
                </a:lnTo>
                <a:lnTo>
                  <a:pt x="256404" y="447899"/>
                </a:lnTo>
                <a:lnTo>
                  <a:pt x="301858" y="457186"/>
                </a:lnTo>
                <a:lnTo>
                  <a:pt x="349250" y="460375"/>
                </a:lnTo>
                <a:lnTo>
                  <a:pt x="396641" y="457186"/>
                </a:lnTo>
                <a:lnTo>
                  <a:pt x="442095" y="447899"/>
                </a:lnTo>
                <a:lnTo>
                  <a:pt x="485194" y="432929"/>
                </a:lnTo>
                <a:lnTo>
                  <a:pt x="525524" y="412692"/>
                </a:lnTo>
                <a:lnTo>
                  <a:pt x="562667" y="387605"/>
                </a:lnTo>
                <a:lnTo>
                  <a:pt x="596207" y="358082"/>
                </a:lnTo>
                <a:lnTo>
                  <a:pt x="625730" y="324542"/>
                </a:lnTo>
                <a:lnTo>
                  <a:pt x="650817" y="287399"/>
                </a:lnTo>
                <a:lnTo>
                  <a:pt x="671054" y="247069"/>
                </a:lnTo>
                <a:lnTo>
                  <a:pt x="686024" y="203970"/>
                </a:lnTo>
                <a:lnTo>
                  <a:pt x="695311" y="158516"/>
                </a:lnTo>
                <a:lnTo>
                  <a:pt x="698500" y="111125"/>
                </a:lnTo>
                <a:lnTo>
                  <a:pt x="695311" y="63733"/>
                </a:lnTo>
                <a:lnTo>
                  <a:pt x="686024" y="18279"/>
                </a:lnTo>
                <a:lnTo>
                  <a:pt x="679675" y="0"/>
                </a:lnTo>
                <a:close/>
              </a:path>
            </a:pathLst>
          </a:custGeom>
          <a:solidFill>
            <a:srgbClr val="DD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bk object 27"/>
          <p:cNvSpPr/>
          <p:nvPr/>
        </p:nvSpPr>
        <p:spPr>
          <a:xfrm>
            <a:off x="3542238" y="2332754"/>
            <a:ext cx="650240" cy="222250"/>
          </a:xfrm>
          <a:custGeom>
            <a:avLst/>
            <a:gdLst/>
            <a:ahLst/>
            <a:cxnLst/>
            <a:rect l="l" t="t" r="r" b="b"/>
            <a:pathLst>
              <a:path w="650239" h="222250">
                <a:moveTo>
                  <a:pt x="649822" y="0"/>
                </a:moveTo>
                <a:lnTo>
                  <a:pt x="0" y="0"/>
                </a:lnTo>
                <a:lnTo>
                  <a:pt x="3106" y="8944"/>
                </a:lnTo>
                <a:lnTo>
                  <a:pt x="23343" y="49274"/>
                </a:lnTo>
                <a:lnTo>
                  <a:pt x="48431" y="86417"/>
                </a:lnTo>
                <a:lnTo>
                  <a:pt x="77953" y="119957"/>
                </a:lnTo>
                <a:lnTo>
                  <a:pt x="111494" y="149480"/>
                </a:lnTo>
                <a:lnTo>
                  <a:pt x="148637" y="174567"/>
                </a:lnTo>
                <a:lnTo>
                  <a:pt x="188966" y="194804"/>
                </a:lnTo>
                <a:lnTo>
                  <a:pt x="232066" y="209774"/>
                </a:lnTo>
                <a:lnTo>
                  <a:pt x="277519" y="219061"/>
                </a:lnTo>
                <a:lnTo>
                  <a:pt x="324911" y="222250"/>
                </a:lnTo>
                <a:lnTo>
                  <a:pt x="372302" y="219061"/>
                </a:lnTo>
                <a:lnTo>
                  <a:pt x="417756" y="209774"/>
                </a:lnTo>
                <a:lnTo>
                  <a:pt x="460856" y="194804"/>
                </a:lnTo>
                <a:lnTo>
                  <a:pt x="501185" y="174567"/>
                </a:lnTo>
                <a:lnTo>
                  <a:pt x="538328" y="149480"/>
                </a:lnTo>
                <a:lnTo>
                  <a:pt x="571869" y="119957"/>
                </a:lnTo>
                <a:lnTo>
                  <a:pt x="601391" y="86417"/>
                </a:lnTo>
                <a:lnTo>
                  <a:pt x="626478" y="49274"/>
                </a:lnTo>
                <a:lnTo>
                  <a:pt x="646715" y="8944"/>
                </a:lnTo>
                <a:lnTo>
                  <a:pt x="649822" y="0"/>
                </a:lnTo>
                <a:close/>
              </a:path>
            </a:pathLst>
          </a:custGeom>
          <a:solidFill>
            <a:srgbClr val="FFCE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bk object 28"/>
          <p:cNvSpPr/>
          <p:nvPr/>
        </p:nvSpPr>
        <p:spPr>
          <a:xfrm>
            <a:off x="863600" y="4587004"/>
            <a:ext cx="698500" cy="698500"/>
          </a:xfrm>
          <a:custGeom>
            <a:avLst/>
            <a:gdLst/>
            <a:ahLst/>
            <a:cxnLst/>
            <a:rect l="l" t="t" r="r" b="b"/>
            <a:pathLst>
              <a:path w="698500" h="698500">
                <a:moveTo>
                  <a:pt x="349250" y="0"/>
                </a:moveTo>
                <a:lnTo>
                  <a:pt x="301858" y="3188"/>
                </a:lnTo>
                <a:lnTo>
                  <a:pt x="256404" y="12476"/>
                </a:lnTo>
                <a:lnTo>
                  <a:pt x="213305" y="27447"/>
                </a:lnTo>
                <a:lnTo>
                  <a:pt x="172975" y="47685"/>
                </a:lnTo>
                <a:lnTo>
                  <a:pt x="135832" y="72773"/>
                </a:lnTo>
                <a:lnTo>
                  <a:pt x="102292" y="102296"/>
                </a:lnTo>
                <a:lnTo>
                  <a:pt x="72769" y="135838"/>
                </a:lnTo>
                <a:lnTo>
                  <a:pt x="47682" y="172981"/>
                </a:lnTo>
                <a:lnTo>
                  <a:pt x="27445" y="213310"/>
                </a:lnTo>
                <a:lnTo>
                  <a:pt x="12475" y="256409"/>
                </a:lnTo>
                <a:lnTo>
                  <a:pt x="3188" y="301861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7445" y="485194"/>
                </a:lnTo>
                <a:lnTo>
                  <a:pt x="47682" y="525524"/>
                </a:lnTo>
                <a:lnTo>
                  <a:pt x="72769" y="562667"/>
                </a:lnTo>
                <a:lnTo>
                  <a:pt x="102292" y="596207"/>
                </a:lnTo>
                <a:lnTo>
                  <a:pt x="135832" y="625730"/>
                </a:lnTo>
                <a:lnTo>
                  <a:pt x="172975" y="650817"/>
                </a:lnTo>
                <a:lnTo>
                  <a:pt x="213305" y="671054"/>
                </a:lnTo>
                <a:lnTo>
                  <a:pt x="256404" y="686024"/>
                </a:lnTo>
                <a:lnTo>
                  <a:pt x="301858" y="695311"/>
                </a:lnTo>
                <a:lnTo>
                  <a:pt x="349250" y="698500"/>
                </a:lnTo>
                <a:lnTo>
                  <a:pt x="396641" y="695311"/>
                </a:lnTo>
                <a:lnTo>
                  <a:pt x="442095" y="686024"/>
                </a:lnTo>
                <a:lnTo>
                  <a:pt x="485194" y="671054"/>
                </a:lnTo>
                <a:lnTo>
                  <a:pt x="525524" y="650817"/>
                </a:lnTo>
                <a:lnTo>
                  <a:pt x="562667" y="625730"/>
                </a:lnTo>
                <a:lnTo>
                  <a:pt x="596207" y="596207"/>
                </a:lnTo>
                <a:lnTo>
                  <a:pt x="625730" y="562667"/>
                </a:lnTo>
                <a:lnTo>
                  <a:pt x="650817" y="525524"/>
                </a:lnTo>
                <a:lnTo>
                  <a:pt x="671054" y="485194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61"/>
                </a:lnTo>
                <a:lnTo>
                  <a:pt x="686024" y="256409"/>
                </a:lnTo>
                <a:lnTo>
                  <a:pt x="671054" y="213310"/>
                </a:lnTo>
                <a:lnTo>
                  <a:pt x="650817" y="172981"/>
                </a:lnTo>
                <a:lnTo>
                  <a:pt x="625730" y="135838"/>
                </a:lnTo>
                <a:lnTo>
                  <a:pt x="596207" y="102296"/>
                </a:lnTo>
                <a:lnTo>
                  <a:pt x="562667" y="72773"/>
                </a:lnTo>
                <a:lnTo>
                  <a:pt x="525524" y="47685"/>
                </a:lnTo>
                <a:lnTo>
                  <a:pt x="485194" y="27447"/>
                </a:lnTo>
                <a:lnTo>
                  <a:pt x="442095" y="12476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20468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bk object 29"/>
          <p:cNvSpPr/>
          <p:nvPr/>
        </p:nvSpPr>
        <p:spPr>
          <a:xfrm>
            <a:off x="863600" y="4587004"/>
            <a:ext cx="698500" cy="474345"/>
          </a:xfrm>
          <a:custGeom>
            <a:avLst/>
            <a:gdLst/>
            <a:ahLst/>
            <a:cxnLst/>
            <a:rect l="l" t="t" r="r" b="b"/>
            <a:pathLst>
              <a:path w="698500" h="474345">
                <a:moveTo>
                  <a:pt x="349250" y="0"/>
                </a:moveTo>
                <a:lnTo>
                  <a:pt x="301858" y="3188"/>
                </a:lnTo>
                <a:lnTo>
                  <a:pt x="256404" y="12476"/>
                </a:lnTo>
                <a:lnTo>
                  <a:pt x="213305" y="27447"/>
                </a:lnTo>
                <a:lnTo>
                  <a:pt x="172975" y="47685"/>
                </a:lnTo>
                <a:lnTo>
                  <a:pt x="135832" y="72773"/>
                </a:lnTo>
                <a:lnTo>
                  <a:pt x="102292" y="102296"/>
                </a:lnTo>
                <a:lnTo>
                  <a:pt x="72769" y="135838"/>
                </a:lnTo>
                <a:lnTo>
                  <a:pt x="47682" y="172981"/>
                </a:lnTo>
                <a:lnTo>
                  <a:pt x="27445" y="213310"/>
                </a:lnTo>
                <a:lnTo>
                  <a:pt x="12475" y="256409"/>
                </a:lnTo>
                <a:lnTo>
                  <a:pt x="3188" y="301861"/>
                </a:lnTo>
                <a:lnTo>
                  <a:pt x="0" y="349250"/>
                </a:lnTo>
                <a:lnTo>
                  <a:pt x="3188" y="396641"/>
                </a:lnTo>
                <a:lnTo>
                  <a:pt x="12475" y="442095"/>
                </a:lnTo>
                <a:lnTo>
                  <a:pt x="23601" y="474129"/>
                </a:lnTo>
                <a:lnTo>
                  <a:pt x="674898" y="474129"/>
                </a:lnTo>
                <a:lnTo>
                  <a:pt x="686024" y="442095"/>
                </a:lnTo>
                <a:lnTo>
                  <a:pt x="695311" y="396641"/>
                </a:lnTo>
                <a:lnTo>
                  <a:pt x="698500" y="349250"/>
                </a:lnTo>
                <a:lnTo>
                  <a:pt x="695311" y="301861"/>
                </a:lnTo>
                <a:lnTo>
                  <a:pt x="686024" y="256409"/>
                </a:lnTo>
                <a:lnTo>
                  <a:pt x="671054" y="213310"/>
                </a:lnTo>
                <a:lnTo>
                  <a:pt x="650817" y="172981"/>
                </a:lnTo>
                <a:lnTo>
                  <a:pt x="625730" y="135838"/>
                </a:lnTo>
                <a:lnTo>
                  <a:pt x="596207" y="102296"/>
                </a:lnTo>
                <a:lnTo>
                  <a:pt x="562667" y="72773"/>
                </a:lnTo>
                <a:lnTo>
                  <a:pt x="525524" y="47685"/>
                </a:lnTo>
                <a:lnTo>
                  <a:pt x="485194" y="27447"/>
                </a:lnTo>
                <a:lnTo>
                  <a:pt x="442095" y="12476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bk object 30"/>
          <p:cNvSpPr/>
          <p:nvPr/>
        </p:nvSpPr>
        <p:spPr>
          <a:xfrm>
            <a:off x="884998" y="4587004"/>
            <a:ext cx="655955" cy="231140"/>
          </a:xfrm>
          <a:custGeom>
            <a:avLst/>
            <a:gdLst/>
            <a:ahLst/>
            <a:cxnLst/>
            <a:rect l="l" t="t" r="r" b="b"/>
            <a:pathLst>
              <a:path w="655955" h="231139">
                <a:moveTo>
                  <a:pt x="327851" y="0"/>
                </a:moveTo>
                <a:lnTo>
                  <a:pt x="280460" y="3188"/>
                </a:lnTo>
                <a:lnTo>
                  <a:pt x="235006" y="12476"/>
                </a:lnTo>
                <a:lnTo>
                  <a:pt x="191907" y="27447"/>
                </a:lnTo>
                <a:lnTo>
                  <a:pt x="151577" y="47685"/>
                </a:lnTo>
                <a:lnTo>
                  <a:pt x="114434" y="72773"/>
                </a:lnTo>
                <a:lnTo>
                  <a:pt x="80894" y="102296"/>
                </a:lnTo>
                <a:lnTo>
                  <a:pt x="51371" y="135838"/>
                </a:lnTo>
                <a:lnTo>
                  <a:pt x="26284" y="172981"/>
                </a:lnTo>
                <a:lnTo>
                  <a:pt x="6047" y="213310"/>
                </a:lnTo>
                <a:lnTo>
                  <a:pt x="0" y="230720"/>
                </a:lnTo>
                <a:lnTo>
                  <a:pt x="655703" y="230720"/>
                </a:lnTo>
                <a:lnTo>
                  <a:pt x="629419" y="172981"/>
                </a:lnTo>
                <a:lnTo>
                  <a:pt x="604331" y="135838"/>
                </a:lnTo>
                <a:lnTo>
                  <a:pt x="574809" y="102296"/>
                </a:lnTo>
                <a:lnTo>
                  <a:pt x="541269" y="72773"/>
                </a:lnTo>
                <a:lnTo>
                  <a:pt x="504126" y="47685"/>
                </a:lnTo>
                <a:lnTo>
                  <a:pt x="463796" y="27447"/>
                </a:lnTo>
                <a:lnTo>
                  <a:pt x="420697" y="12476"/>
                </a:lnTo>
                <a:lnTo>
                  <a:pt x="375243" y="3188"/>
                </a:lnTo>
                <a:lnTo>
                  <a:pt x="327851" y="0"/>
                </a:lnTo>
                <a:close/>
              </a:path>
            </a:pathLst>
          </a:custGeom>
          <a:solidFill>
            <a:srgbClr val="AD1C2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bk object 31"/>
          <p:cNvSpPr/>
          <p:nvPr/>
        </p:nvSpPr>
        <p:spPr>
          <a:xfrm>
            <a:off x="3517900" y="4548904"/>
            <a:ext cx="698500" cy="698500"/>
          </a:xfrm>
          <a:custGeom>
            <a:avLst/>
            <a:gdLst/>
            <a:ahLst/>
            <a:cxnLst/>
            <a:rect l="l" t="t" r="r" b="b"/>
            <a:pathLst>
              <a:path w="698500" h="698500">
                <a:moveTo>
                  <a:pt x="349250" y="0"/>
                </a:moveTo>
                <a:lnTo>
                  <a:pt x="301858" y="3188"/>
                </a:lnTo>
                <a:lnTo>
                  <a:pt x="256404" y="12475"/>
                </a:lnTo>
                <a:lnTo>
                  <a:pt x="213305" y="27445"/>
                </a:lnTo>
                <a:lnTo>
                  <a:pt x="172975" y="47682"/>
                </a:lnTo>
                <a:lnTo>
                  <a:pt x="135832" y="72769"/>
                </a:lnTo>
                <a:lnTo>
                  <a:pt x="102292" y="102292"/>
                </a:lnTo>
                <a:lnTo>
                  <a:pt x="72769" y="135832"/>
                </a:lnTo>
                <a:lnTo>
                  <a:pt x="47682" y="172975"/>
                </a:lnTo>
                <a:lnTo>
                  <a:pt x="27445" y="213305"/>
                </a:lnTo>
                <a:lnTo>
                  <a:pt x="12475" y="256404"/>
                </a:lnTo>
                <a:lnTo>
                  <a:pt x="3188" y="301858"/>
                </a:lnTo>
                <a:lnTo>
                  <a:pt x="0" y="349250"/>
                </a:lnTo>
                <a:lnTo>
                  <a:pt x="3188" y="396638"/>
                </a:lnTo>
                <a:lnTo>
                  <a:pt x="12475" y="442090"/>
                </a:lnTo>
                <a:lnTo>
                  <a:pt x="27445" y="485189"/>
                </a:lnTo>
                <a:lnTo>
                  <a:pt x="47682" y="525518"/>
                </a:lnTo>
                <a:lnTo>
                  <a:pt x="72769" y="562661"/>
                </a:lnTo>
                <a:lnTo>
                  <a:pt x="102292" y="596203"/>
                </a:lnTo>
                <a:lnTo>
                  <a:pt x="135832" y="625726"/>
                </a:lnTo>
                <a:lnTo>
                  <a:pt x="172975" y="650814"/>
                </a:lnTo>
                <a:lnTo>
                  <a:pt x="213305" y="671052"/>
                </a:lnTo>
                <a:lnTo>
                  <a:pt x="256404" y="686023"/>
                </a:lnTo>
                <a:lnTo>
                  <a:pt x="301858" y="695311"/>
                </a:lnTo>
                <a:lnTo>
                  <a:pt x="349250" y="698500"/>
                </a:lnTo>
                <a:lnTo>
                  <a:pt x="396641" y="695311"/>
                </a:lnTo>
                <a:lnTo>
                  <a:pt x="442095" y="686023"/>
                </a:lnTo>
                <a:lnTo>
                  <a:pt x="485194" y="671052"/>
                </a:lnTo>
                <a:lnTo>
                  <a:pt x="525524" y="650814"/>
                </a:lnTo>
                <a:lnTo>
                  <a:pt x="562667" y="625726"/>
                </a:lnTo>
                <a:lnTo>
                  <a:pt x="596207" y="596203"/>
                </a:lnTo>
                <a:lnTo>
                  <a:pt x="625730" y="562661"/>
                </a:lnTo>
                <a:lnTo>
                  <a:pt x="650817" y="525518"/>
                </a:lnTo>
                <a:lnTo>
                  <a:pt x="671054" y="485189"/>
                </a:lnTo>
                <a:lnTo>
                  <a:pt x="686024" y="442090"/>
                </a:lnTo>
                <a:lnTo>
                  <a:pt x="695311" y="396638"/>
                </a:lnTo>
                <a:lnTo>
                  <a:pt x="698500" y="349250"/>
                </a:lnTo>
                <a:lnTo>
                  <a:pt x="695311" y="301858"/>
                </a:lnTo>
                <a:lnTo>
                  <a:pt x="686024" y="256404"/>
                </a:lnTo>
                <a:lnTo>
                  <a:pt x="671054" y="213305"/>
                </a:lnTo>
                <a:lnTo>
                  <a:pt x="650817" y="172975"/>
                </a:lnTo>
                <a:lnTo>
                  <a:pt x="625730" y="135832"/>
                </a:lnTo>
                <a:lnTo>
                  <a:pt x="596207" y="102292"/>
                </a:lnTo>
                <a:lnTo>
                  <a:pt x="562667" y="72769"/>
                </a:lnTo>
                <a:lnTo>
                  <a:pt x="525524" y="47682"/>
                </a:lnTo>
                <a:lnTo>
                  <a:pt x="485194" y="27445"/>
                </a:lnTo>
                <a:lnTo>
                  <a:pt x="442095" y="12475"/>
                </a:lnTo>
                <a:lnTo>
                  <a:pt x="396641" y="3188"/>
                </a:lnTo>
                <a:lnTo>
                  <a:pt x="34925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bk object 32"/>
          <p:cNvSpPr/>
          <p:nvPr/>
        </p:nvSpPr>
        <p:spPr>
          <a:xfrm>
            <a:off x="3517900" y="4787029"/>
            <a:ext cx="698500" cy="460375"/>
          </a:xfrm>
          <a:custGeom>
            <a:avLst/>
            <a:gdLst/>
            <a:ahLst/>
            <a:cxnLst/>
            <a:rect l="l" t="t" r="r" b="b"/>
            <a:pathLst>
              <a:path w="698500" h="460375">
                <a:moveTo>
                  <a:pt x="679675" y="0"/>
                </a:moveTo>
                <a:lnTo>
                  <a:pt x="18824" y="0"/>
                </a:lnTo>
                <a:lnTo>
                  <a:pt x="12475" y="18279"/>
                </a:lnTo>
                <a:lnTo>
                  <a:pt x="3188" y="63733"/>
                </a:lnTo>
                <a:lnTo>
                  <a:pt x="0" y="111125"/>
                </a:lnTo>
                <a:lnTo>
                  <a:pt x="3188" y="158513"/>
                </a:lnTo>
                <a:lnTo>
                  <a:pt x="12475" y="203965"/>
                </a:lnTo>
                <a:lnTo>
                  <a:pt x="27445" y="247064"/>
                </a:lnTo>
                <a:lnTo>
                  <a:pt x="47682" y="287393"/>
                </a:lnTo>
                <a:lnTo>
                  <a:pt x="72769" y="324536"/>
                </a:lnTo>
                <a:lnTo>
                  <a:pt x="102292" y="358078"/>
                </a:lnTo>
                <a:lnTo>
                  <a:pt x="135832" y="387601"/>
                </a:lnTo>
                <a:lnTo>
                  <a:pt x="172975" y="412689"/>
                </a:lnTo>
                <a:lnTo>
                  <a:pt x="213305" y="432927"/>
                </a:lnTo>
                <a:lnTo>
                  <a:pt x="256404" y="447898"/>
                </a:lnTo>
                <a:lnTo>
                  <a:pt x="301858" y="457186"/>
                </a:lnTo>
                <a:lnTo>
                  <a:pt x="349250" y="460375"/>
                </a:lnTo>
                <a:lnTo>
                  <a:pt x="396641" y="457186"/>
                </a:lnTo>
                <a:lnTo>
                  <a:pt x="442095" y="447898"/>
                </a:lnTo>
                <a:lnTo>
                  <a:pt x="485194" y="432927"/>
                </a:lnTo>
                <a:lnTo>
                  <a:pt x="525524" y="412689"/>
                </a:lnTo>
                <a:lnTo>
                  <a:pt x="562667" y="387601"/>
                </a:lnTo>
                <a:lnTo>
                  <a:pt x="596207" y="358078"/>
                </a:lnTo>
                <a:lnTo>
                  <a:pt x="625730" y="324536"/>
                </a:lnTo>
                <a:lnTo>
                  <a:pt x="650817" y="287393"/>
                </a:lnTo>
                <a:lnTo>
                  <a:pt x="671054" y="247064"/>
                </a:lnTo>
                <a:lnTo>
                  <a:pt x="686024" y="203965"/>
                </a:lnTo>
                <a:lnTo>
                  <a:pt x="695311" y="158513"/>
                </a:lnTo>
                <a:lnTo>
                  <a:pt x="698500" y="111125"/>
                </a:lnTo>
                <a:lnTo>
                  <a:pt x="695311" y="63733"/>
                </a:lnTo>
                <a:lnTo>
                  <a:pt x="686024" y="18279"/>
                </a:lnTo>
                <a:lnTo>
                  <a:pt x="679675" y="0"/>
                </a:lnTo>
                <a:close/>
              </a:path>
            </a:pathLst>
          </a:custGeom>
          <a:solidFill>
            <a:srgbClr val="DD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bk object 33"/>
          <p:cNvSpPr/>
          <p:nvPr/>
        </p:nvSpPr>
        <p:spPr>
          <a:xfrm>
            <a:off x="3542240" y="5025154"/>
            <a:ext cx="650240" cy="222250"/>
          </a:xfrm>
          <a:custGeom>
            <a:avLst/>
            <a:gdLst/>
            <a:ahLst/>
            <a:cxnLst/>
            <a:rect l="l" t="t" r="r" b="b"/>
            <a:pathLst>
              <a:path w="650239" h="222250">
                <a:moveTo>
                  <a:pt x="649819" y="0"/>
                </a:moveTo>
                <a:lnTo>
                  <a:pt x="0" y="0"/>
                </a:lnTo>
                <a:lnTo>
                  <a:pt x="3105" y="8939"/>
                </a:lnTo>
                <a:lnTo>
                  <a:pt x="23341" y="49268"/>
                </a:lnTo>
                <a:lnTo>
                  <a:pt x="48429" y="86411"/>
                </a:lnTo>
                <a:lnTo>
                  <a:pt x="77951" y="119953"/>
                </a:lnTo>
                <a:lnTo>
                  <a:pt x="111492" y="149476"/>
                </a:lnTo>
                <a:lnTo>
                  <a:pt x="148635" y="174564"/>
                </a:lnTo>
                <a:lnTo>
                  <a:pt x="188964" y="194802"/>
                </a:lnTo>
                <a:lnTo>
                  <a:pt x="232064" y="209773"/>
                </a:lnTo>
                <a:lnTo>
                  <a:pt x="277517" y="219061"/>
                </a:lnTo>
                <a:lnTo>
                  <a:pt x="324909" y="222250"/>
                </a:lnTo>
                <a:lnTo>
                  <a:pt x="372301" y="219061"/>
                </a:lnTo>
                <a:lnTo>
                  <a:pt x="417754" y="209773"/>
                </a:lnTo>
                <a:lnTo>
                  <a:pt x="460854" y="194802"/>
                </a:lnTo>
                <a:lnTo>
                  <a:pt x="501183" y="174564"/>
                </a:lnTo>
                <a:lnTo>
                  <a:pt x="538326" y="149476"/>
                </a:lnTo>
                <a:lnTo>
                  <a:pt x="571867" y="119953"/>
                </a:lnTo>
                <a:lnTo>
                  <a:pt x="601389" y="86411"/>
                </a:lnTo>
                <a:lnTo>
                  <a:pt x="626477" y="49268"/>
                </a:lnTo>
                <a:lnTo>
                  <a:pt x="646714" y="8939"/>
                </a:lnTo>
                <a:lnTo>
                  <a:pt x="649819" y="0"/>
                </a:lnTo>
                <a:close/>
              </a:path>
            </a:pathLst>
          </a:custGeom>
          <a:solidFill>
            <a:srgbClr val="FFCE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38200" y="6498809"/>
            <a:ext cx="495300" cy="188119"/>
          </a:xfrm>
        </p:spPr>
        <p:txBody>
          <a:bodyPr/>
          <a:lstStyle/>
          <a:p>
            <a:fld id="{DDD2A080-DA64-4F5C-9131-47EB793B4410}" type="slidenum">
              <a:rPr lang="en-GB" noProof="0" smtClean="0"/>
              <a:pPr/>
              <a:t>9</a:t>
            </a:fld>
            <a:endParaRPr lang="en-GB" noProof="0" dirty="0"/>
          </a:p>
        </p:txBody>
      </p:sp>
      <p:pic>
        <p:nvPicPr>
          <p:cNvPr id="24" name="Picture 72">
            <a:extLst>
              <a:ext uri="{FF2B5EF4-FFF2-40B4-BE49-F238E27FC236}">
                <a16:creationId xmlns:a16="http://schemas.microsoft.com/office/drawing/2014/main" id="{27036A48-6B44-4330-9118-DE11B992E1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8748" y="1505723"/>
            <a:ext cx="10662828" cy="4237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0585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7689"/>
    </mc:Choice>
    <mc:Fallback>
      <p:transition spd="slow" advTm="17689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98755fb961bcb85c763cf62196f86d8244fc"/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-%#m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_AMO_REPORTCONTROLSVISIBLE" val="Empty"/>
  <p:tag name="_AMO_UNIQUEIDENTIFIER" val="dc859e9d-0fc6-4419-8c03-81bec56d1e6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G_PP_Template_16x9_June2015">
  <a:themeElements>
    <a:clrScheme name="ING APRIL 2015">
      <a:dk1>
        <a:srgbClr val="333333"/>
      </a:dk1>
      <a:lt1>
        <a:sysClr val="window" lastClr="FFFFFF"/>
      </a:lt1>
      <a:dk2>
        <a:srgbClr val="FF6200"/>
      </a:dk2>
      <a:lt2>
        <a:srgbClr val="767676"/>
      </a:lt2>
      <a:accent1>
        <a:srgbClr val="FF6200"/>
      </a:accent1>
      <a:accent2>
        <a:srgbClr val="A8A8A8"/>
      </a:accent2>
      <a:accent3>
        <a:srgbClr val="525199"/>
      </a:accent3>
      <a:accent4>
        <a:srgbClr val="60A6DA"/>
      </a:accent4>
      <a:accent5>
        <a:srgbClr val="AB0066"/>
      </a:accent5>
      <a:accent6>
        <a:srgbClr val="D0D93C"/>
      </a:accent6>
      <a:hlink>
        <a:srgbClr val="525199"/>
      </a:hlink>
      <a:folHlink>
        <a:srgbClr val="AB0066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6200"/>
        </a:solidFill>
        <a:ln w="6350">
          <a:solidFill>
            <a:srgbClr val="FF6200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90000"/>
          </a:lnSpc>
          <a:defRPr sz="160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A8A8A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sz="140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NG_PP_Template_16x9_08042015.potx" id="{6D084BF0-9966-4FDC-A0E8-0296637E5E37}" vid="{40DDC393-4B6B-4664-98B0-883141C8FD4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ING ME">
      <a:majorFont>
        <a:latin typeface="ING Me"/>
        <a:ea typeface=""/>
        <a:cs typeface=""/>
      </a:majorFont>
      <a:minorFont>
        <a:latin typeface="ING M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B945356526C2B43A2CE667CA8BF87BF" ma:contentTypeVersion="1" ma:contentTypeDescription="Create a new document." ma:contentTypeScope="" ma:versionID="fee854732b468a7a1ce22056fc36b7a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84CDBF-5EAE-4640-B063-3824C655A9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BAD22DE-37A7-423E-B4CE-B51818BC1129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1649D9FA-143E-418E-90EC-74A3CE19A3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_PP_Template_16x9_ING_Me_Embedded</Template>
  <TotalTime>0</TotalTime>
  <Words>1510</Words>
  <Application>Microsoft Office PowerPoint</Application>
  <PresentationFormat>Breitbild</PresentationFormat>
  <Paragraphs>489</Paragraphs>
  <Slides>27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1" baseType="lpstr">
      <vt:lpstr>ING Me</vt:lpstr>
      <vt:lpstr>Arial</vt:lpstr>
      <vt:lpstr>ING_PP_Template_16x9_June2015</vt:lpstr>
      <vt:lpstr>think-cell Slide</vt:lpstr>
      <vt:lpstr>Architecting an Advanced Analytics  Platform</vt:lpstr>
      <vt:lpstr>ING is a global financial service provider servicing 37 million customers. In the Netherlands we are the banking sector market leader with 10 million primary customers</vt:lpstr>
      <vt:lpstr>PowerPoint-Präsentation</vt:lpstr>
      <vt:lpstr>Exploding expectations, set by tech giants, not banks </vt:lpstr>
      <vt:lpstr>People engage with platforms more than ever</vt:lpstr>
      <vt:lpstr>We must find new ways to be relevant</vt:lpstr>
      <vt:lpstr>How empowering people drives growth</vt:lpstr>
      <vt:lpstr>Center of excellence in advanced analytics</vt:lpstr>
      <vt:lpstr>International Advanced Analytics Team One team split over 2 locations 25 FTEs – 2 STAs</vt:lpstr>
      <vt:lpstr>Show me the platform</vt:lpstr>
      <vt:lpstr>Capability Architecture</vt:lpstr>
      <vt:lpstr>Data Science Model Development Lifecycle</vt:lpstr>
      <vt:lpstr>Data Science Model Development Lifecycle</vt:lpstr>
      <vt:lpstr>ELT Service</vt:lpstr>
      <vt:lpstr>Table Profiler</vt:lpstr>
      <vt:lpstr>Aggregation Principle</vt:lpstr>
      <vt:lpstr>One Super-aggregate Function (one-pass over all data)</vt:lpstr>
      <vt:lpstr>Automatic Feature Generation</vt:lpstr>
      <vt:lpstr>Feature Specification File</vt:lpstr>
      <vt:lpstr>Data Architecture </vt:lpstr>
      <vt:lpstr>PowerPoint-Präsentation</vt:lpstr>
      <vt:lpstr>Secure Enterprise Level Multi-Tenancy (work in progress)</vt:lpstr>
      <vt:lpstr>Production Emulation Layer</vt:lpstr>
      <vt:lpstr>DevOps in a Data Science Team</vt:lpstr>
      <vt:lpstr>Moving Forward</vt:lpstr>
      <vt:lpstr>Analytics within the ING Data Lake</vt:lpstr>
      <vt:lpstr>Thank you!</vt:lpstr>
    </vt:vector>
  </TitlesOfParts>
  <Company>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l, J.W. (Janna)</dc:creator>
  <cp:keywords>ING Me Embedded, Template 16x9</cp:keywords>
  <cp:lastModifiedBy>Georgios Gkekas</cp:lastModifiedBy>
  <cp:revision>327</cp:revision>
  <dcterms:created xsi:type="dcterms:W3CDTF">2017-07-25T13:41:02Z</dcterms:created>
  <dcterms:modified xsi:type="dcterms:W3CDTF">2018-02-26T20:3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B945356526C2B43A2CE667CA8BF87BF</vt:lpwstr>
  </property>
</Properties>
</file>